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052" r:id="rId1"/>
    <p:sldMasterId id="2147484098" r:id="rId2"/>
    <p:sldMasterId id="2147484111" r:id="rId3"/>
  </p:sldMasterIdLst>
  <p:notesMasterIdLst>
    <p:notesMasterId r:id="rId19"/>
  </p:notesMasterIdLst>
  <p:handoutMasterIdLst>
    <p:handoutMasterId r:id="rId20"/>
  </p:handoutMasterIdLst>
  <p:sldIdLst>
    <p:sldId id="500" r:id="rId4"/>
    <p:sldId id="501" r:id="rId5"/>
    <p:sldId id="502" r:id="rId6"/>
    <p:sldId id="442" r:id="rId7"/>
    <p:sldId id="433" r:id="rId8"/>
    <p:sldId id="498" r:id="rId9"/>
    <p:sldId id="450" r:id="rId10"/>
    <p:sldId id="451" r:id="rId11"/>
    <p:sldId id="263" r:id="rId12"/>
    <p:sldId id="454" r:id="rId13"/>
    <p:sldId id="452" r:id="rId14"/>
    <p:sldId id="432" r:id="rId15"/>
    <p:sldId id="453" r:id="rId16"/>
    <p:sldId id="499" r:id="rId17"/>
    <p:sldId id="460" r:id="rId18"/>
  </p:sldIdLst>
  <p:sldSz cx="9144000" cy="6858000" type="screen4x3"/>
  <p:notesSz cx="6858000" cy="9144000"/>
  <p:defaultTextStyle>
    <a:defPPr>
      <a:defRPr lang="en-US"/>
    </a:defPPr>
    <a:lvl1pPr algn="l" rtl="0" eaLnBrk="0" fontAlgn="base" hangingPunct="0">
      <a:spcBef>
        <a:spcPct val="0"/>
      </a:spcBef>
      <a:spcAft>
        <a:spcPct val="0"/>
      </a:spcAft>
      <a:defRPr sz="2400" kern="1200">
        <a:solidFill>
          <a:schemeClr val="tx1"/>
        </a:solidFill>
        <a:latin typeface="Arial" pitchFamily="34"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pitchFamily="34" charset="0"/>
        <a:ea typeface="ＭＳ Ｐゴシック" pitchFamily="1"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1"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1"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1"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1" charset="-128"/>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aba, Vanessa GIZ UG" initials="TVGU"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0053" autoAdjust="0"/>
  </p:normalViewPr>
  <p:slideViewPr>
    <p:cSldViewPr snapToGrid="0">
      <p:cViewPr varScale="1">
        <p:scale>
          <a:sx n="66" d="100"/>
          <a:sy n="66" d="100"/>
        </p:scale>
        <p:origin x="-1518" y="-102"/>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D8E2E0B-CF0C-49A9-8C42-D7217B73F948}" type="doc">
      <dgm:prSet loTypeId="urn:microsoft.com/office/officeart/2005/8/layout/gear1" loCatId="process" qsTypeId="urn:microsoft.com/office/officeart/2005/8/quickstyle/simple1" qsCatId="simple" csTypeId="urn:microsoft.com/office/officeart/2005/8/colors/colorful5" csCatId="colorful" phldr="1"/>
      <dgm:spPr/>
    </dgm:pt>
    <dgm:pt modelId="{05F0C2A8-08AC-462B-9E76-2A8DE6F08C5B}">
      <dgm:prSet phldrT="[Text]" custT="1"/>
      <dgm:spPr>
        <a:solidFill>
          <a:srgbClr val="00CC00"/>
        </a:solidFill>
      </dgm:spPr>
      <dgm:t>
        <a:bodyPr/>
        <a:lstStyle/>
        <a:p>
          <a:r>
            <a:rPr lang="en-GB" sz="1800" dirty="0"/>
            <a:t>WSAIP </a:t>
          </a:r>
        </a:p>
        <a:p>
          <a:r>
            <a:rPr lang="en-GB" sz="1800" dirty="0"/>
            <a:t>Study</a:t>
          </a:r>
        </a:p>
      </dgm:t>
    </dgm:pt>
    <dgm:pt modelId="{75749AD8-64A2-4368-B60E-A1150CDD2AFC}" type="parTrans" cxnId="{E1C84BBD-85EC-4C39-9FB5-537F5D298D48}">
      <dgm:prSet/>
      <dgm:spPr/>
      <dgm:t>
        <a:bodyPr/>
        <a:lstStyle/>
        <a:p>
          <a:endParaRPr lang="en-GB" sz="1400"/>
        </a:p>
      </dgm:t>
    </dgm:pt>
    <dgm:pt modelId="{3F33CD4E-3F57-4507-8926-B85044283B84}" type="sibTrans" cxnId="{E1C84BBD-85EC-4C39-9FB5-537F5D298D48}">
      <dgm:prSet/>
      <dgm:spPr>
        <a:solidFill>
          <a:srgbClr val="00CC00"/>
        </a:solidFill>
      </dgm:spPr>
      <dgm:t>
        <a:bodyPr/>
        <a:lstStyle/>
        <a:p>
          <a:endParaRPr lang="en-GB" sz="1400"/>
        </a:p>
      </dgm:t>
    </dgm:pt>
    <dgm:pt modelId="{9686C579-BC48-4820-9154-FEBC34E6445B}">
      <dgm:prSet phldrT="[Text]" custT="1"/>
      <dgm:spPr>
        <a:solidFill>
          <a:srgbClr val="0000FF"/>
        </a:solidFill>
      </dgm:spPr>
      <dgm:t>
        <a:bodyPr/>
        <a:lstStyle/>
        <a:p>
          <a:r>
            <a:rPr lang="en-GB" sz="1200" dirty="0"/>
            <a:t>Engage</a:t>
          </a:r>
        </a:p>
        <a:p>
          <a:r>
            <a:rPr lang="en-GB" sz="1200" dirty="0"/>
            <a:t>Stakes</a:t>
          </a:r>
        </a:p>
      </dgm:t>
    </dgm:pt>
    <dgm:pt modelId="{E162656C-EF6B-4CD0-8C94-52A2E520061E}" type="parTrans" cxnId="{24F8BB2D-E6A5-465A-8224-1581EAD8D1D4}">
      <dgm:prSet/>
      <dgm:spPr/>
      <dgm:t>
        <a:bodyPr/>
        <a:lstStyle/>
        <a:p>
          <a:endParaRPr lang="en-GB" sz="1400"/>
        </a:p>
      </dgm:t>
    </dgm:pt>
    <dgm:pt modelId="{40CDA03E-AD29-4F37-AAB9-B71E7495860D}" type="sibTrans" cxnId="{24F8BB2D-E6A5-465A-8224-1581EAD8D1D4}">
      <dgm:prSet/>
      <dgm:spPr>
        <a:solidFill>
          <a:srgbClr val="0000FF"/>
        </a:solidFill>
      </dgm:spPr>
      <dgm:t>
        <a:bodyPr/>
        <a:lstStyle/>
        <a:p>
          <a:endParaRPr lang="en-GB" sz="1400"/>
        </a:p>
      </dgm:t>
    </dgm:pt>
    <dgm:pt modelId="{704042C8-DF86-4B3F-A221-F6A6E9DE1B26}">
      <dgm:prSet phldrT="[Text]" custT="1"/>
      <dgm:spPr>
        <a:solidFill>
          <a:srgbClr val="FF0000"/>
        </a:solidFill>
      </dgm:spPr>
      <dgm:t>
        <a:bodyPr/>
        <a:lstStyle/>
        <a:p>
          <a:r>
            <a:rPr lang="en-GB" sz="1400" dirty="0"/>
            <a:t>TAs</a:t>
          </a:r>
        </a:p>
      </dgm:t>
    </dgm:pt>
    <dgm:pt modelId="{909BCF58-AD18-4C68-A45F-54CC993F04FC}" type="parTrans" cxnId="{F5FB6D89-8A39-4EAA-A902-AC82AF6C040C}">
      <dgm:prSet/>
      <dgm:spPr/>
      <dgm:t>
        <a:bodyPr/>
        <a:lstStyle/>
        <a:p>
          <a:endParaRPr lang="en-GB" sz="1400"/>
        </a:p>
      </dgm:t>
    </dgm:pt>
    <dgm:pt modelId="{A4CC0082-487E-45F1-BDDA-973461A57513}" type="sibTrans" cxnId="{F5FB6D89-8A39-4EAA-A902-AC82AF6C040C}">
      <dgm:prSet/>
      <dgm:spPr>
        <a:solidFill>
          <a:srgbClr val="FF0000"/>
        </a:solidFill>
      </dgm:spPr>
      <dgm:t>
        <a:bodyPr/>
        <a:lstStyle/>
        <a:p>
          <a:endParaRPr lang="en-GB" sz="1400"/>
        </a:p>
      </dgm:t>
    </dgm:pt>
    <dgm:pt modelId="{A9F051C0-D2AB-44AB-B39F-8CF503B35A9E}" type="pres">
      <dgm:prSet presAssocID="{2D8E2E0B-CF0C-49A9-8C42-D7217B73F948}" presName="composite" presStyleCnt="0">
        <dgm:presLayoutVars>
          <dgm:chMax val="3"/>
          <dgm:animLvl val="lvl"/>
          <dgm:resizeHandles val="exact"/>
        </dgm:presLayoutVars>
      </dgm:prSet>
      <dgm:spPr/>
    </dgm:pt>
    <dgm:pt modelId="{86AC867F-6B71-4ACC-AB4A-C2A27B7D7F43}" type="pres">
      <dgm:prSet presAssocID="{05F0C2A8-08AC-462B-9E76-2A8DE6F08C5B}" presName="gear1" presStyleLbl="node1" presStyleIdx="0" presStyleCnt="3" custScaleX="119356" custScaleY="122993">
        <dgm:presLayoutVars>
          <dgm:chMax val="1"/>
          <dgm:bulletEnabled val="1"/>
        </dgm:presLayoutVars>
      </dgm:prSet>
      <dgm:spPr/>
      <dgm:t>
        <a:bodyPr/>
        <a:lstStyle/>
        <a:p>
          <a:endParaRPr lang="en-GB"/>
        </a:p>
      </dgm:t>
    </dgm:pt>
    <dgm:pt modelId="{000414D8-8CAE-4EFA-8735-C5A4D80978BC}" type="pres">
      <dgm:prSet presAssocID="{05F0C2A8-08AC-462B-9E76-2A8DE6F08C5B}" presName="gear1srcNode" presStyleLbl="node1" presStyleIdx="0" presStyleCnt="3"/>
      <dgm:spPr/>
      <dgm:t>
        <a:bodyPr/>
        <a:lstStyle/>
        <a:p>
          <a:endParaRPr lang="en-GB"/>
        </a:p>
      </dgm:t>
    </dgm:pt>
    <dgm:pt modelId="{377D5E65-80B4-4A3F-BB8A-C627DD892E1F}" type="pres">
      <dgm:prSet presAssocID="{05F0C2A8-08AC-462B-9E76-2A8DE6F08C5B}" presName="gear1dstNode" presStyleLbl="node1" presStyleIdx="0" presStyleCnt="3"/>
      <dgm:spPr/>
      <dgm:t>
        <a:bodyPr/>
        <a:lstStyle/>
        <a:p>
          <a:endParaRPr lang="en-GB"/>
        </a:p>
      </dgm:t>
    </dgm:pt>
    <dgm:pt modelId="{CB579F40-0E25-468A-B80B-6E4871500689}" type="pres">
      <dgm:prSet presAssocID="{9686C579-BC48-4820-9154-FEBC34E6445B}" presName="gear2" presStyleLbl="node1" presStyleIdx="1" presStyleCnt="3" custScaleX="159372" custScaleY="159486" custLinFactNeighborX="-18249" custLinFactNeighborY="-10647">
        <dgm:presLayoutVars>
          <dgm:chMax val="1"/>
          <dgm:bulletEnabled val="1"/>
        </dgm:presLayoutVars>
      </dgm:prSet>
      <dgm:spPr/>
      <dgm:t>
        <a:bodyPr/>
        <a:lstStyle/>
        <a:p>
          <a:endParaRPr lang="en-GB"/>
        </a:p>
      </dgm:t>
    </dgm:pt>
    <dgm:pt modelId="{ECF95BA3-1678-4AEF-A043-33DDC8DEB114}" type="pres">
      <dgm:prSet presAssocID="{9686C579-BC48-4820-9154-FEBC34E6445B}" presName="gear2srcNode" presStyleLbl="node1" presStyleIdx="1" presStyleCnt="3"/>
      <dgm:spPr/>
      <dgm:t>
        <a:bodyPr/>
        <a:lstStyle/>
        <a:p>
          <a:endParaRPr lang="en-GB"/>
        </a:p>
      </dgm:t>
    </dgm:pt>
    <dgm:pt modelId="{49C37779-CA18-465A-A630-DB6A7E0D4552}" type="pres">
      <dgm:prSet presAssocID="{9686C579-BC48-4820-9154-FEBC34E6445B}" presName="gear2dstNode" presStyleLbl="node1" presStyleIdx="1" presStyleCnt="3"/>
      <dgm:spPr/>
      <dgm:t>
        <a:bodyPr/>
        <a:lstStyle/>
        <a:p>
          <a:endParaRPr lang="en-GB"/>
        </a:p>
      </dgm:t>
    </dgm:pt>
    <dgm:pt modelId="{B4128A86-667C-4A36-8A41-2F7694079DC8}" type="pres">
      <dgm:prSet presAssocID="{704042C8-DF86-4B3F-A221-F6A6E9DE1B26}" presName="gear3" presStyleLbl="node1" presStyleIdx="2" presStyleCnt="3" custLinFactNeighborX="13744" custLinFactNeighborY="8191"/>
      <dgm:spPr/>
      <dgm:t>
        <a:bodyPr/>
        <a:lstStyle/>
        <a:p>
          <a:endParaRPr lang="en-GB"/>
        </a:p>
      </dgm:t>
    </dgm:pt>
    <dgm:pt modelId="{08047A2A-A020-4742-82D2-5E3CF611C24F}" type="pres">
      <dgm:prSet presAssocID="{704042C8-DF86-4B3F-A221-F6A6E9DE1B26}" presName="gear3tx" presStyleLbl="node1" presStyleIdx="2" presStyleCnt="3">
        <dgm:presLayoutVars>
          <dgm:chMax val="1"/>
          <dgm:bulletEnabled val="1"/>
        </dgm:presLayoutVars>
      </dgm:prSet>
      <dgm:spPr/>
      <dgm:t>
        <a:bodyPr/>
        <a:lstStyle/>
        <a:p>
          <a:endParaRPr lang="en-GB"/>
        </a:p>
      </dgm:t>
    </dgm:pt>
    <dgm:pt modelId="{350C59CE-8D08-4FD6-8AEB-EC09C25E6AE5}" type="pres">
      <dgm:prSet presAssocID="{704042C8-DF86-4B3F-A221-F6A6E9DE1B26}" presName="gear3srcNode" presStyleLbl="node1" presStyleIdx="2" presStyleCnt="3"/>
      <dgm:spPr/>
      <dgm:t>
        <a:bodyPr/>
        <a:lstStyle/>
        <a:p>
          <a:endParaRPr lang="en-GB"/>
        </a:p>
      </dgm:t>
    </dgm:pt>
    <dgm:pt modelId="{02DED124-C4D0-4E2C-9482-A1F7FA384F71}" type="pres">
      <dgm:prSet presAssocID="{704042C8-DF86-4B3F-A221-F6A6E9DE1B26}" presName="gear3dstNode" presStyleLbl="node1" presStyleIdx="2" presStyleCnt="3"/>
      <dgm:spPr/>
      <dgm:t>
        <a:bodyPr/>
        <a:lstStyle/>
        <a:p>
          <a:endParaRPr lang="en-GB"/>
        </a:p>
      </dgm:t>
    </dgm:pt>
    <dgm:pt modelId="{F44BE03E-F974-4A2C-9FA7-FE567169C601}" type="pres">
      <dgm:prSet presAssocID="{3F33CD4E-3F57-4507-8926-B85044283B84}" presName="connector1" presStyleLbl="sibTrans2D1" presStyleIdx="0" presStyleCnt="3"/>
      <dgm:spPr/>
      <dgm:t>
        <a:bodyPr/>
        <a:lstStyle/>
        <a:p>
          <a:endParaRPr lang="en-GB"/>
        </a:p>
      </dgm:t>
    </dgm:pt>
    <dgm:pt modelId="{8EEF712A-9E33-4A97-B443-FA63CDEB67A6}" type="pres">
      <dgm:prSet presAssocID="{40CDA03E-AD29-4F37-AAB9-B71E7495860D}" presName="connector2" presStyleLbl="sibTrans2D1" presStyleIdx="1" presStyleCnt="3" custLinFactNeighborX="-24663" custLinFactNeighborY="-6422"/>
      <dgm:spPr/>
      <dgm:t>
        <a:bodyPr/>
        <a:lstStyle/>
        <a:p>
          <a:endParaRPr lang="en-GB"/>
        </a:p>
      </dgm:t>
    </dgm:pt>
    <dgm:pt modelId="{14BAE836-A5DB-4E93-95F7-D8E088015E48}" type="pres">
      <dgm:prSet presAssocID="{A4CC0082-487E-45F1-BDDA-973461A57513}" presName="connector3" presStyleLbl="sibTrans2D1" presStyleIdx="2" presStyleCnt="3" custLinFactNeighborX="10776" custLinFactNeighborY="5046"/>
      <dgm:spPr/>
      <dgm:t>
        <a:bodyPr/>
        <a:lstStyle/>
        <a:p>
          <a:endParaRPr lang="en-GB"/>
        </a:p>
      </dgm:t>
    </dgm:pt>
  </dgm:ptLst>
  <dgm:cxnLst>
    <dgm:cxn modelId="{8077D41E-6F0B-4642-9A5A-C01C750EF345}" type="presOf" srcId="{704042C8-DF86-4B3F-A221-F6A6E9DE1B26}" destId="{08047A2A-A020-4742-82D2-5E3CF611C24F}" srcOrd="1" destOrd="0" presId="urn:microsoft.com/office/officeart/2005/8/layout/gear1"/>
    <dgm:cxn modelId="{451E1185-34EB-45C2-85C5-9894ACCE227B}" type="presOf" srcId="{9686C579-BC48-4820-9154-FEBC34E6445B}" destId="{ECF95BA3-1678-4AEF-A043-33DDC8DEB114}" srcOrd="1" destOrd="0" presId="urn:microsoft.com/office/officeart/2005/8/layout/gear1"/>
    <dgm:cxn modelId="{FDA318BA-0688-4638-AAF3-1AD807E97D9C}" type="presOf" srcId="{05F0C2A8-08AC-462B-9E76-2A8DE6F08C5B}" destId="{377D5E65-80B4-4A3F-BB8A-C627DD892E1F}" srcOrd="2" destOrd="0" presId="urn:microsoft.com/office/officeart/2005/8/layout/gear1"/>
    <dgm:cxn modelId="{6AD75785-E758-4DD2-A0DF-C39A6943D387}" type="presOf" srcId="{9686C579-BC48-4820-9154-FEBC34E6445B}" destId="{CB579F40-0E25-468A-B80B-6E4871500689}" srcOrd="0" destOrd="0" presId="urn:microsoft.com/office/officeart/2005/8/layout/gear1"/>
    <dgm:cxn modelId="{003AE51D-8D2D-4BA1-A6D2-7817FD2FD374}" type="presOf" srcId="{40CDA03E-AD29-4F37-AAB9-B71E7495860D}" destId="{8EEF712A-9E33-4A97-B443-FA63CDEB67A6}" srcOrd="0" destOrd="0" presId="urn:microsoft.com/office/officeart/2005/8/layout/gear1"/>
    <dgm:cxn modelId="{04BEF9AF-873F-492D-BFF1-F9B7580EB791}" type="presOf" srcId="{3F33CD4E-3F57-4507-8926-B85044283B84}" destId="{F44BE03E-F974-4A2C-9FA7-FE567169C601}" srcOrd="0" destOrd="0" presId="urn:microsoft.com/office/officeart/2005/8/layout/gear1"/>
    <dgm:cxn modelId="{CBD33FC2-3C1C-4622-AE72-3912552B9727}" type="presOf" srcId="{05F0C2A8-08AC-462B-9E76-2A8DE6F08C5B}" destId="{000414D8-8CAE-4EFA-8735-C5A4D80978BC}" srcOrd="1" destOrd="0" presId="urn:microsoft.com/office/officeart/2005/8/layout/gear1"/>
    <dgm:cxn modelId="{26CEB2F6-1D80-472D-B735-56E209822884}" type="presOf" srcId="{9686C579-BC48-4820-9154-FEBC34E6445B}" destId="{49C37779-CA18-465A-A630-DB6A7E0D4552}" srcOrd="2" destOrd="0" presId="urn:microsoft.com/office/officeart/2005/8/layout/gear1"/>
    <dgm:cxn modelId="{29303054-3355-4D93-9E3F-346AC1449F5B}" type="presOf" srcId="{704042C8-DF86-4B3F-A221-F6A6E9DE1B26}" destId="{350C59CE-8D08-4FD6-8AEB-EC09C25E6AE5}" srcOrd="2" destOrd="0" presId="urn:microsoft.com/office/officeart/2005/8/layout/gear1"/>
    <dgm:cxn modelId="{06A29EAC-12AF-404C-895D-468E7EE6E222}" type="presOf" srcId="{05F0C2A8-08AC-462B-9E76-2A8DE6F08C5B}" destId="{86AC867F-6B71-4ACC-AB4A-C2A27B7D7F43}" srcOrd="0" destOrd="0" presId="urn:microsoft.com/office/officeart/2005/8/layout/gear1"/>
    <dgm:cxn modelId="{E1C84BBD-85EC-4C39-9FB5-537F5D298D48}" srcId="{2D8E2E0B-CF0C-49A9-8C42-D7217B73F948}" destId="{05F0C2A8-08AC-462B-9E76-2A8DE6F08C5B}" srcOrd="0" destOrd="0" parTransId="{75749AD8-64A2-4368-B60E-A1150CDD2AFC}" sibTransId="{3F33CD4E-3F57-4507-8926-B85044283B84}"/>
    <dgm:cxn modelId="{24F8BB2D-E6A5-465A-8224-1581EAD8D1D4}" srcId="{2D8E2E0B-CF0C-49A9-8C42-D7217B73F948}" destId="{9686C579-BC48-4820-9154-FEBC34E6445B}" srcOrd="1" destOrd="0" parTransId="{E162656C-EF6B-4CD0-8C94-52A2E520061E}" sibTransId="{40CDA03E-AD29-4F37-AAB9-B71E7495860D}"/>
    <dgm:cxn modelId="{4BD96A6E-465C-44D6-9A6C-C2C5C79D2BEA}" type="presOf" srcId="{704042C8-DF86-4B3F-A221-F6A6E9DE1B26}" destId="{02DED124-C4D0-4E2C-9482-A1F7FA384F71}" srcOrd="3" destOrd="0" presId="urn:microsoft.com/office/officeart/2005/8/layout/gear1"/>
    <dgm:cxn modelId="{CFD4640D-7BAA-4130-999B-D5BF063D4344}" type="presOf" srcId="{2D8E2E0B-CF0C-49A9-8C42-D7217B73F948}" destId="{A9F051C0-D2AB-44AB-B39F-8CF503B35A9E}" srcOrd="0" destOrd="0" presId="urn:microsoft.com/office/officeart/2005/8/layout/gear1"/>
    <dgm:cxn modelId="{F5FB6D89-8A39-4EAA-A902-AC82AF6C040C}" srcId="{2D8E2E0B-CF0C-49A9-8C42-D7217B73F948}" destId="{704042C8-DF86-4B3F-A221-F6A6E9DE1B26}" srcOrd="2" destOrd="0" parTransId="{909BCF58-AD18-4C68-A45F-54CC993F04FC}" sibTransId="{A4CC0082-487E-45F1-BDDA-973461A57513}"/>
    <dgm:cxn modelId="{6CCF1F5E-5C8E-4353-B8C2-F70B3394A966}" type="presOf" srcId="{704042C8-DF86-4B3F-A221-F6A6E9DE1B26}" destId="{B4128A86-667C-4A36-8A41-2F7694079DC8}" srcOrd="0" destOrd="0" presId="urn:microsoft.com/office/officeart/2005/8/layout/gear1"/>
    <dgm:cxn modelId="{1A4B45D7-6786-4A46-8CFF-0A6D147014C3}" type="presOf" srcId="{A4CC0082-487E-45F1-BDDA-973461A57513}" destId="{14BAE836-A5DB-4E93-95F7-D8E088015E48}" srcOrd="0" destOrd="0" presId="urn:microsoft.com/office/officeart/2005/8/layout/gear1"/>
    <dgm:cxn modelId="{6D57B545-EF91-44D6-9DE4-31D760A0CD35}" type="presParOf" srcId="{A9F051C0-D2AB-44AB-B39F-8CF503B35A9E}" destId="{86AC867F-6B71-4ACC-AB4A-C2A27B7D7F43}" srcOrd="0" destOrd="0" presId="urn:microsoft.com/office/officeart/2005/8/layout/gear1"/>
    <dgm:cxn modelId="{70048D79-8CC2-4BD8-A1C8-84E86A111972}" type="presParOf" srcId="{A9F051C0-D2AB-44AB-B39F-8CF503B35A9E}" destId="{000414D8-8CAE-4EFA-8735-C5A4D80978BC}" srcOrd="1" destOrd="0" presId="urn:microsoft.com/office/officeart/2005/8/layout/gear1"/>
    <dgm:cxn modelId="{F7B7E332-5932-44EB-B2B3-356995B75D4B}" type="presParOf" srcId="{A9F051C0-D2AB-44AB-B39F-8CF503B35A9E}" destId="{377D5E65-80B4-4A3F-BB8A-C627DD892E1F}" srcOrd="2" destOrd="0" presId="urn:microsoft.com/office/officeart/2005/8/layout/gear1"/>
    <dgm:cxn modelId="{EDC279FE-9ACB-4D7F-B6F3-6EB65E63971A}" type="presParOf" srcId="{A9F051C0-D2AB-44AB-B39F-8CF503B35A9E}" destId="{CB579F40-0E25-468A-B80B-6E4871500689}" srcOrd="3" destOrd="0" presId="urn:microsoft.com/office/officeart/2005/8/layout/gear1"/>
    <dgm:cxn modelId="{E69075D0-25CA-4C6B-B0C8-4393DE16896F}" type="presParOf" srcId="{A9F051C0-D2AB-44AB-B39F-8CF503B35A9E}" destId="{ECF95BA3-1678-4AEF-A043-33DDC8DEB114}" srcOrd="4" destOrd="0" presId="urn:microsoft.com/office/officeart/2005/8/layout/gear1"/>
    <dgm:cxn modelId="{444C89D2-1A01-4DF1-BCE1-FAA025FB9E33}" type="presParOf" srcId="{A9F051C0-D2AB-44AB-B39F-8CF503B35A9E}" destId="{49C37779-CA18-465A-A630-DB6A7E0D4552}" srcOrd="5" destOrd="0" presId="urn:microsoft.com/office/officeart/2005/8/layout/gear1"/>
    <dgm:cxn modelId="{AD0D72D9-4EA2-4281-8FE4-6ABC803E4D92}" type="presParOf" srcId="{A9F051C0-D2AB-44AB-B39F-8CF503B35A9E}" destId="{B4128A86-667C-4A36-8A41-2F7694079DC8}" srcOrd="6" destOrd="0" presId="urn:microsoft.com/office/officeart/2005/8/layout/gear1"/>
    <dgm:cxn modelId="{FBA3DF2C-1BA3-4CB3-85BF-E514A9ACAC99}" type="presParOf" srcId="{A9F051C0-D2AB-44AB-B39F-8CF503B35A9E}" destId="{08047A2A-A020-4742-82D2-5E3CF611C24F}" srcOrd="7" destOrd="0" presId="urn:microsoft.com/office/officeart/2005/8/layout/gear1"/>
    <dgm:cxn modelId="{DDC6C3BA-FEEF-4C2E-AEA6-457C22BC609E}" type="presParOf" srcId="{A9F051C0-D2AB-44AB-B39F-8CF503B35A9E}" destId="{350C59CE-8D08-4FD6-8AEB-EC09C25E6AE5}" srcOrd="8" destOrd="0" presId="urn:microsoft.com/office/officeart/2005/8/layout/gear1"/>
    <dgm:cxn modelId="{3394DCF2-77ED-4578-8D06-4D1A0D43AB60}" type="presParOf" srcId="{A9F051C0-D2AB-44AB-B39F-8CF503B35A9E}" destId="{02DED124-C4D0-4E2C-9482-A1F7FA384F71}" srcOrd="9" destOrd="0" presId="urn:microsoft.com/office/officeart/2005/8/layout/gear1"/>
    <dgm:cxn modelId="{9773B6BB-E7DC-49CB-9645-F1F67D01545B}" type="presParOf" srcId="{A9F051C0-D2AB-44AB-B39F-8CF503B35A9E}" destId="{F44BE03E-F974-4A2C-9FA7-FE567169C601}" srcOrd="10" destOrd="0" presId="urn:microsoft.com/office/officeart/2005/8/layout/gear1"/>
    <dgm:cxn modelId="{E092DEF0-D234-446B-A2BC-C47D7AE0D290}" type="presParOf" srcId="{A9F051C0-D2AB-44AB-B39F-8CF503B35A9E}" destId="{8EEF712A-9E33-4A97-B443-FA63CDEB67A6}" srcOrd="11" destOrd="0" presId="urn:microsoft.com/office/officeart/2005/8/layout/gear1"/>
    <dgm:cxn modelId="{859CE3C6-FCB7-4F82-88E3-54286BFA3682}" type="presParOf" srcId="{A9F051C0-D2AB-44AB-B39F-8CF503B35A9E}" destId="{14BAE836-A5DB-4E93-95F7-D8E088015E48}" srcOrd="12" destOrd="0" presId="urn:microsoft.com/office/officeart/2005/8/layout/gear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B2A8518-C45A-4FCC-AD05-FF0AFD81C1DD}" type="doc">
      <dgm:prSet loTypeId="urn:microsoft.com/office/officeart/2008/layout/SquareAccentList" loCatId="list" qsTypeId="urn:microsoft.com/office/officeart/2005/8/quickstyle/simple1" qsCatId="simple" csTypeId="urn:microsoft.com/office/officeart/2005/8/colors/colorful1" csCatId="colorful" phldr="1"/>
      <dgm:spPr/>
      <dgm:t>
        <a:bodyPr/>
        <a:lstStyle/>
        <a:p>
          <a:endParaRPr lang="en-US"/>
        </a:p>
      </dgm:t>
    </dgm:pt>
    <dgm:pt modelId="{685CD8D7-925C-4195-AC24-2370563316CD}">
      <dgm:prSet phldrT="[Text]" custT="1"/>
      <dgm:spPr>
        <a:xfrm>
          <a:off x="2084" y="0"/>
          <a:ext cx="1567062" cy="331188"/>
        </a:xfrm>
        <a:prstGeom prst="rect">
          <a:avLst/>
        </a:prstGeom>
        <a:noFill/>
        <a:ln>
          <a:noFill/>
        </a:ln>
        <a:effectLst/>
      </dgm:spPr>
      <dgm:t>
        <a:bodyPr/>
        <a:lstStyle/>
        <a:p>
          <a:pPr algn="ctr">
            <a:buNone/>
          </a:pPr>
          <a:r>
            <a:rPr lang="en-US" sz="1600" b="1" dirty="0">
              <a:solidFill>
                <a:sysClr val="windowText" lastClr="000000">
                  <a:hueOff val="0"/>
                  <a:satOff val="0"/>
                  <a:lumOff val="0"/>
                  <a:alphaOff val="0"/>
                </a:sysClr>
              </a:solidFill>
              <a:latin typeface="Calibri" panose="020F0502020204030204"/>
              <a:ea typeface="+mn-ea"/>
              <a:cs typeface="+mn-cs"/>
            </a:rPr>
            <a:t>Land Use, Catchments and Ecosystems</a:t>
          </a:r>
        </a:p>
      </dgm:t>
    </dgm:pt>
    <dgm:pt modelId="{AF5757DE-3E1C-4403-BB88-7E1834E88581}" type="parTrans" cxnId="{C8AE3380-CDFE-49C0-8FBD-B5B5A884BC60}">
      <dgm:prSet/>
      <dgm:spPr/>
      <dgm:t>
        <a:bodyPr/>
        <a:lstStyle/>
        <a:p>
          <a:endParaRPr lang="en-US"/>
        </a:p>
      </dgm:t>
    </dgm:pt>
    <dgm:pt modelId="{A5DA7312-772D-44E5-B41C-7B4B67D9D424}" type="sibTrans" cxnId="{C8AE3380-CDFE-49C0-8FBD-B5B5A884BC60}">
      <dgm:prSet/>
      <dgm:spPr/>
      <dgm:t>
        <a:bodyPr/>
        <a:lstStyle/>
        <a:p>
          <a:endParaRPr lang="en-US"/>
        </a:p>
      </dgm:t>
    </dgm:pt>
    <dgm:pt modelId="{36356071-6FFC-4786-9F20-87D7FEAB11E5}">
      <dgm:prSet phldrT="[Text]" custT="1"/>
      <dgm:spPr>
        <a:xfrm>
          <a:off x="111779" y="592160"/>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Urban Planning &amp; Land Use </a:t>
          </a:r>
        </a:p>
      </dgm:t>
    </dgm:pt>
    <dgm:pt modelId="{C5FC953E-28DA-4C88-AEC9-5A8E99A024A9}" type="parTrans" cxnId="{89405750-8713-40CC-9546-FC327AF52323}">
      <dgm:prSet/>
      <dgm:spPr/>
      <dgm:t>
        <a:bodyPr/>
        <a:lstStyle/>
        <a:p>
          <a:endParaRPr lang="en-US"/>
        </a:p>
      </dgm:t>
    </dgm:pt>
    <dgm:pt modelId="{C332A0FD-510B-4BE0-923C-D5F286ADF6E6}" type="sibTrans" cxnId="{89405750-8713-40CC-9546-FC327AF52323}">
      <dgm:prSet/>
      <dgm:spPr/>
      <dgm:t>
        <a:bodyPr/>
        <a:lstStyle/>
        <a:p>
          <a:endParaRPr lang="en-US"/>
        </a:p>
      </dgm:t>
    </dgm:pt>
    <dgm:pt modelId="{7E811C88-D3F7-4ABA-A1AA-BF6C422F5C2A}">
      <dgm:prSet phldrT="[Text]" custT="1"/>
      <dgm:spPr>
        <a:xfrm>
          <a:off x="111779" y="860504"/>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Catchment Management</a:t>
          </a:r>
        </a:p>
      </dgm:t>
    </dgm:pt>
    <dgm:pt modelId="{8043088E-4E0A-426F-8E8C-1D02E74D5F90}" type="parTrans" cxnId="{F9A28642-62CB-41DA-A538-264E47366ECA}">
      <dgm:prSet/>
      <dgm:spPr/>
      <dgm:t>
        <a:bodyPr/>
        <a:lstStyle/>
        <a:p>
          <a:endParaRPr lang="en-US"/>
        </a:p>
      </dgm:t>
    </dgm:pt>
    <dgm:pt modelId="{55F4D2E7-4ADA-495A-A957-C0AB71308CF4}" type="sibTrans" cxnId="{F9A28642-62CB-41DA-A538-264E47366ECA}">
      <dgm:prSet/>
      <dgm:spPr/>
      <dgm:t>
        <a:bodyPr/>
        <a:lstStyle/>
        <a:p>
          <a:endParaRPr lang="en-US"/>
        </a:p>
      </dgm:t>
    </dgm:pt>
    <dgm:pt modelId="{C8B9426F-DDA3-4B78-8965-52C3CE8C3BA8}">
      <dgm:prSet phldrT="[Text]" custT="1"/>
      <dgm:spPr>
        <a:xfrm>
          <a:off x="111779" y="1128847"/>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Storm Water &amp; Flood Mgt Management</a:t>
          </a:r>
        </a:p>
      </dgm:t>
    </dgm:pt>
    <dgm:pt modelId="{821B96BA-C1C1-4DD4-BF5B-B89C59E15AE5}" type="parTrans" cxnId="{993874A8-5537-45C1-B74A-755A247B2CB8}">
      <dgm:prSet/>
      <dgm:spPr/>
      <dgm:t>
        <a:bodyPr/>
        <a:lstStyle/>
        <a:p>
          <a:endParaRPr lang="en-US"/>
        </a:p>
      </dgm:t>
    </dgm:pt>
    <dgm:pt modelId="{3EE2F7E2-7A71-4DB9-983E-DACCFC22C5B9}" type="sibTrans" cxnId="{993874A8-5537-45C1-B74A-755A247B2CB8}">
      <dgm:prSet/>
      <dgm:spPr/>
      <dgm:t>
        <a:bodyPr/>
        <a:lstStyle/>
        <a:p>
          <a:endParaRPr lang="en-US"/>
        </a:p>
      </dgm:t>
    </dgm:pt>
    <dgm:pt modelId="{7FE19E3B-1D76-4C8D-9AC5-E36EADAF624A}">
      <dgm:prSet phldrT="[Text]" custT="1"/>
      <dgm:spPr>
        <a:xfrm>
          <a:off x="1757195" y="592160"/>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Water </a:t>
          </a:r>
          <a:r>
            <a:rPr lang="en-US" sz="1000" b="1" dirty="0" err="1">
              <a:solidFill>
                <a:sysClr val="windowText" lastClr="000000">
                  <a:hueOff val="0"/>
                  <a:satOff val="0"/>
                  <a:lumOff val="0"/>
                  <a:alphaOff val="0"/>
                </a:sysClr>
              </a:solidFill>
              <a:latin typeface="Calibri" panose="020F0502020204030204"/>
              <a:ea typeface="+mn-ea"/>
              <a:cs typeface="+mn-cs"/>
            </a:rPr>
            <a:t>Suppy</a:t>
          </a:r>
          <a:r>
            <a:rPr lang="en-US" sz="1000" b="1" dirty="0">
              <a:solidFill>
                <a:sysClr val="windowText" lastClr="000000">
                  <a:hueOff val="0"/>
                  <a:satOff val="0"/>
                  <a:lumOff val="0"/>
                  <a:alphaOff val="0"/>
                </a:sysClr>
              </a:solidFill>
              <a:latin typeface="Calibri" panose="020F0502020204030204"/>
              <a:ea typeface="+mn-ea"/>
              <a:cs typeface="+mn-cs"/>
            </a:rPr>
            <a:t> &amp; Sanitation (Informal Settlements)</a:t>
          </a:r>
        </a:p>
      </dgm:t>
    </dgm:pt>
    <dgm:pt modelId="{11A5EAE0-1F9A-472C-B80D-46D709C2A2E1}" type="parTrans" cxnId="{BE49FAF3-F325-44BC-92BD-F11B9087C57B}">
      <dgm:prSet/>
      <dgm:spPr/>
      <dgm:t>
        <a:bodyPr/>
        <a:lstStyle/>
        <a:p>
          <a:endParaRPr lang="en-US"/>
        </a:p>
      </dgm:t>
    </dgm:pt>
    <dgm:pt modelId="{CFC2869E-2A97-4D11-A282-34582B897FCC}" type="sibTrans" cxnId="{BE49FAF3-F325-44BC-92BD-F11B9087C57B}">
      <dgm:prSet/>
      <dgm:spPr/>
      <dgm:t>
        <a:bodyPr/>
        <a:lstStyle/>
        <a:p>
          <a:endParaRPr lang="en-US"/>
        </a:p>
      </dgm:t>
    </dgm:pt>
    <dgm:pt modelId="{7BA56E7F-9276-4CFD-BC2C-689A3185F9F0}">
      <dgm:prSet phldrT="[Text]" custT="1"/>
      <dgm:spPr>
        <a:xfrm>
          <a:off x="1757195" y="860504"/>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Feacal</a:t>
          </a:r>
          <a:r>
            <a:rPr lang="en-US" sz="1000" b="1" baseline="0" dirty="0">
              <a:solidFill>
                <a:sysClr val="windowText" lastClr="000000">
                  <a:hueOff val="0"/>
                  <a:satOff val="0"/>
                  <a:lumOff val="0"/>
                  <a:alphaOff val="0"/>
                </a:sysClr>
              </a:solidFill>
              <a:latin typeface="Calibri" panose="020F0502020204030204"/>
              <a:ea typeface="+mn-ea"/>
              <a:cs typeface="+mn-cs"/>
            </a:rPr>
            <a:t> Sludge Management </a:t>
          </a:r>
          <a:endParaRPr lang="en-US" sz="1000" b="1" dirty="0">
            <a:solidFill>
              <a:sysClr val="windowText" lastClr="000000">
                <a:hueOff val="0"/>
                <a:satOff val="0"/>
                <a:lumOff val="0"/>
                <a:alphaOff val="0"/>
              </a:sysClr>
            </a:solidFill>
            <a:latin typeface="Calibri" panose="020F0502020204030204"/>
            <a:ea typeface="+mn-ea"/>
            <a:cs typeface="+mn-cs"/>
          </a:endParaRPr>
        </a:p>
      </dgm:t>
    </dgm:pt>
    <dgm:pt modelId="{BEC3532C-2A96-4793-9250-733DD5121217}" type="parTrans" cxnId="{4271B995-EED2-4D41-91EE-1AFFCCBF1043}">
      <dgm:prSet/>
      <dgm:spPr/>
      <dgm:t>
        <a:bodyPr/>
        <a:lstStyle/>
        <a:p>
          <a:endParaRPr lang="en-US"/>
        </a:p>
      </dgm:t>
    </dgm:pt>
    <dgm:pt modelId="{3D03F2EA-A0FE-4204-B6CA-1E41D265A0B1}" type="sibTrans" cxnId="{4271B995-EED2-4D41-91EE-1AFFCCBF1043}">
      <dgm:prSet/>
      <dgm:spPr/>
      <dgm:t>
        <a:bodyPr/>
        <a:lstStyle/>
        <a:p>
          <a:endParaRPr lang="en-US"/>
        </a:p>
      </dgm:t>
    </dgm:pt>
    <dgm:pt modelId="{0AE6F285-64A6-4E04-80D0-C04BC4A7711D}">
      <dgm:prSet phldrT="[Text]" custT="1"/>
      <dgm:spPr>
        <a:xfrm>
          <a:off x="1757195" y="1128847"/>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Source Protection (Surface &amp; Groundwater)</a:t>
          </a:r>
        </a:p>
      </dgm:t>
    </dgm:pt>
    <dgm:pt modelId="{861CD14D-4DF5-4BC4-AD88-B117C7EA190C}" type="parTrans" cxnId="{906A4539-ABCD-466F-889B-B60FF2787AE1}">
      <dgm:prSet/>
      <dgm:spPr/>
      <dgm:t>
        <a:bodyPr/>
        <a:lstStyle/>
        <a:p>
          <a:endParaRPr lang="en-US"/>
        </a:p>
      </dgm:t>
    </dgm:pt>
    <dgm:pt modelId="{54AFD3A6-E2DE-4902-9C3E-ECDEFF9C9B77}" type="sibTrans" cxnId="{906A4539-ABCD-466F-889B-B60FF2787AE1}">
      <dgm:prSet/>
      <dgm:spPr/>
      <dgm:t>
        <a:bodyPr/>
        <a:lstStyle/>
        <a:p>
          <a:endParaRPr lang="en-US"/>
        </a:p>
      </dgm:t>
    </dgm:pt>
    <dgm:pt modelId="{1A0C39F8-D2E7-43A5-8754-937C076FF700}">
      <dgm:prSet phldrT="[Text]" custT="1"/>
      <dgm:spPr>
        <a:xfrm>
          <a:off x="3292916" y="0"/>
          <a:ext cx="1567062" cy="331188"/>
        </a:xfrm>
        <a:prstGeom prst="rect">
          <a:avLst/>
        </a:prstGeom>
        <a:noFill/>
        <a:ln>
          <a:noFill/>
        </a:ln>
        <a:effectLst/>
      </dgm:spPr>
      <dgm:t>
        <a:bodyPr/>
        <a:lstStyle/>
        <a:p>
          <a:pPr algn="ctr">
            <a:buNone/>
          </a:pPr>
          <a:r>
            <a:rPr lang="en-US" sz="1600" b="1" dirty="0">
              <a:solidFill>
                <a:sysClr val="windowText" lastClr="000000">
                  <a:hueOff val="0"/>
                  <a:satOff val="0"/>
                  <a:lumOff val="0"/>
                  <a:alphaOff val="0"/>
                </a:sysClr>
              </a:solidFill>
              <a:latin typeface="Calibri" panose="020F0502020204030204"/>
              <a:ea typeface="+mn-ea"/>
              <a:cs typeface="+mn-cs"/>
            </a:rPr>
            <a:t>Solid Waste Management  </a:t>
          </a:r>
        </a:p>
      </dgm:t>
    </dgm:pt>
    <dgm:pt modelId="{D812CE71-CCA4-41ED-8523-1D69A4EDC67C}" type="parTrans" cxnId="{19FE7F37-0E49-4DB7-8D34-A8C6C07AC03C}">
      <dgm:prSet/>
      <dgm:spPr/>
      <dgm:t>
        <a:bodyPr/>
        <a:lstStyle/>
        <a:p>
          <a:endParaRPr lang="en-US"/>
        </a:p>
      </dgm:t>
    </dgm:pt>
    <dgm:pt modelId="{732506D8-35AA-4165-B13A-C4B63AE01585}" type="sibTrans" cxnId="{19FE7F37-0E49-4DB7-8D34-A8C6C07AC03C}">
      <dgm:prSet/>
      <dgm:spPr/>
      <dgm:t>
        <a:bodyPr/>
        <a:lstStyle/>
        <a:p>
          <a:endParaRPr lang="en-US"/>
        </a:p>
      </dgm:t>
    </dgm:pt>
    <dgm:pt modelId="{155D871C-A4F7-4D73-98DD-C81C51098D37}">
      <dgm:prSet phldrT="[Text]" custT="1"/>
      <dgm:spPr>
        <a:xfrm>
          <a:off x="4938332" y="0"/>
          <a:ext cx="1567062" cy="331188"/>
        </a:xfrm>
        <a:prstGeom prst="rect">
          <a:avLst/>
        </a:prstGeom>
        <a:noFill/>
        <a:ln>
          <a:noFill/>
        </a:ln>
        <a:effectLst/>
      </dgm:spPr>
      <dgm:t>
        <a:bodyPr/>
        <a:lstStyle/>
        <a:p>
          <a:pPr algn="ctr">
            <a:buNone/>
          </a:pPr>
          <a:r>
            <a:rPr lang="en-US" sz="1600" b="1" dirty="0">
              <a:solidFill>
                <a:sysClr val="windowText" lastClr="000000">
                  <a:hueOff val="0"/>
                  <a:satOff val="0"/>
                  <a:lumOff val="0"/>
                  <a:alphaOff val="0"/>
                </a:sysClr>
              </a:solidFill>
              <a:latin typeface="Calibri" panose="020F0502020204030204"/>
              <a:ea typeface="+mn-ea"/>
              <a:cs typeface="+mn-cs"/>
            </a:rPr>
            <a:t>Effluent Management </a:t>
          </a:r>
        </a:p>
      </dgm:t>
    </dgm:pt>
    <dgm:pt modelId="{D7EBA159-B0B1-4810-A595-92D509FD5069}" type="parTrans" cxnId="{0580F55A-7363-46CE-91E9-3839403FFE3A}">
      <dgm:prSet/>
      <dgm:spPr/>
      <dgm:t>
        <a:bodyPr/>
        <a:lstStyle/>
        <a:p>
          <a:endParaRPr lang="en-US"/>
        </a:p>
      </dgm:t>
    </dgm:pt>
    <dgm:pt modelId="{C6E6B83E-D9B7-490E-A4AE-D7681064C916}" type="sibTrans" cxnId="{0580F55A-7363-46CE-91E9-3839403FFE3A}">
      <dgm:prSet/>
      <dgm:spPr/>
      <dgm:t>
        <a:bodyPr/>
        <a:lstStyle/>
        <a:p>
          <a:endParaRPr lang="en-US"/>
        </a:p>
      </dgm:t>
    </dgm:pt>
    <dgm:pt modelId="{71A98D3F-66DE-4A29-86A1-B2A44BC648D0}">
      <dgm:prSet custT="1"/>
      <dgm:spPr>
        <a:xfrm>
          <a:off x="1757195" y="1397190"/>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Water Supply &amp; Sanitation (Formal Settlements)</a:t>
          </a:r>
        </a:p>
      </dgm:t>
    </dgm:pt>
    <dgm:pt modelId="{3E2A2F2C-9E43-4FD4-9970-DF978FD354EC}" type="parTrans" cxnId="{63D794E3-5D3B-4C36-AC68-C8049C942193}">
      <dgm:prSet/>
      <dgm:spPr/>
      <dgm:t>
        <a:bodyPr/>
        <a:lstStyle/>
        <a:p>
          <a:endParaRPr lang="en-US"/>
        </a:p>
      </dgm:t>
    </dgm:pt>
    <dgm:pt modelId="{24322D8E-7D08-4312-A0EF-06D7AAC40082}" type="sibTrans" cxnId="{63D794E3-5D3B-4C36-AC68-C8049C942193}">
      <dgm:prSet/>
      <dgm:spPr/>
      <dgm:t>
        <a:bodyPr/>
        <a:lstStyle/>
        <a:p>
          <a:endParaRPr lang="en-US"/>
        </a:p>
      </dgm:t>
    </dgm:pt>
    <dgm:pt modelId="{C626B7FA-201A-4F8D-B199-65A510658916}">
      <dgm:prSet custT="1"/>
      <dgm:spPr>
        <a:xfrm>
          <a:off x="111779" y="1397190"/>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Natural Resource Management (wetlands and green spaces).</a:t>
          </a:r>
        </a:p>
      </dgm:t>
    </dgm:pt>
    <dgm:pt modelId="{30FAAEB2-A93A-451A-A5FB-2AC5D046BFAB}" type="parTrans" cxnId="{F3CFB247-0A1B-4206-9F14-677F3770FFFB}">
      <dgm:prSet/>
      <dgm:spPr/>
      <dgm:t>
        <a:bodyPr/>
        <a:lstStyle/>
        <a:p>
          <a:endParaRPr lang="en-US"/>
        </a:p>
      </dgm:t>
    </dgm:pt>
    <dgm:pt modelId="{69741986-5178-4911-AA42-526F81E86D88}" type="sibTrans" cxnId="{F3CFB247-0A1B-4206-9F14-677F3770FFFB}">
      <dgm:prSet/>
      <dgm:spPr/>
      <dgm:t>
        <a:bodyPr/>
        <a:lstStyle/>
        <a:p>
          <a:endParaRPr lang="en-US"/>
        </a:p>
      </dgm:t>
    </dgm:pt>
    <dgm:pt modelId="{5F220537-B4C8-43EB-B6CC-9DE253539F74}">
      <dgm:prSet custT="1"/>
      <dgm:spPr>
        <a:xfrm>
          <a:off x="5048026" y="592160"/>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Non Point Source Pollution</a:t>
          </a:r>
        </a:p>
      </dgm:t>
    </dgm:pt>
    <dgm:pt modelId="{FA0BF7BA-5994-458C-AA90-9CE0FCBD1305}" type="parTrans" cxnId="{7793C55E-70A2-420A-A01F-C64E97465A84}">
      <dgm:prSet/>
      <dgm:spPr/>
      <dgm:t>
        <a:bodyPr/>
        <a:lstStyle/>
        <a:p>
          <a:endParaRPr lang="en-US"/>
        </a:p>
      </dgm:t>
    </dgm:pt>
    <dgm:pt modelId="{A436E3D9-58C2-4324-97AD-A572CD6F4379}" type="sibTrans" cxnId="{7793C55E-70A2-420A-A01F-C64E97465A84}">
      <dgm:prSet/>
      <dgm:spPr/>
      <dgm:t>
        <a:bodyPr/>
        <a:lstStyle/>
        <a:p>
          <a:endParaRPr lang="en-US"/>
        </a:p>
      </dgm:t>
    </dgm:pt>
    <dgm:pt modelId="{5752BDC6-1A50-426F-89D0-2653D75AFD94}">
      <dgm:prSet custT="1"/>
      <dgm:spPr>
        <a:xfrm>
          <a:off x="3402610" y="1128847"/>
          <a:ext cx="1457368" cy="268343"/>
        </a:xfrm>
        <a:prstGeom prst="rect">
          <a:avLst/>
        </a:prstGeom>
        <a:noFill/>
        <a:ln>
          <a:noFill/>
        </a:ln>
        <a:effectLst/>
      </dgm:spPr>
      <dgm:t>
        <a:bodyPr/>
        <a:lstStyle/>
        <a:p>
          <a:pPr>
            <a:buNone/>
          </a:pPr>
          <a:r>
            <a:rPr lang="en-US" sz="1000" b="1" dirty="0">
              <a:solidFill>
                <a:schemeClr val="tx1">
                  <a:lumMod val="85000"/>
                  <a:lumOff val="15000"/>
                </a:schemeClr>
              </a:solidFill>
              <a:latin typeface="Calibri" panose="020F0502020204030204"/>
              <a:ea typeface="+mn-ea"/>
              <a:cs typeface="+mn-cs"/>
            </a:rPr>
            <a:t>Community Empowerment</a:t>
          </a:r>
        </a:p>
      </dgm:t>
    </dgm:pt>
    <dgm:pt modelId="{38A1C41C-36ED-47B6-8F6B-033B1BE315C3}" type="parTrans" cxnId="{DC5E637C-F899-4F12-B100-4C70A52E654C}">
      <dgm:prSet/>
      <dgm:spPr/>
      <dgm:t>
        <a:bodyPr/>
        <a:lstStyle/>
        <a:p>
          <a:endParaRPr lang="en-US"/>
        </a:p>
      </dgm:t>
    </dgm:pt>
    <dgm:pt modelId="{B3BF21CB-6EFE-4DA2-951E-CFE4BF4398B0}" type="sibTrans" cxnId="{DC5E637C-F899-4F12-B100-4C70A52E654C}">
      <dgm:prSet/>
      <dgm:spPr/>
      <dgm:t>
        <a:bodyPr/>
        <a:lstStyle/>
        <a:p>
          <a:endParaRPr lang="en-US"/>
        </a:p>
      </dgm:t>
    </dgm:pt>
    <dgm:pt modelId="{E17F00AC-A30B-4178-B3E0-6E5D66A5E935}">
      <dgm:prSet custT="1"/>
      <dgm:spPr>
        <a:xfrm>
          <a:off x="5048026" y="860504"/>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Industrial Pollution</a:t>
          </a:r>
        </a:p>
      </dgm:t>
    </dgm:pt>
    <dgm:pt modelId="{43DF8504-479C-4FC9-BD8F-9056545A4D12}" type="parTrans" cxnId="{5D07118C-5085-4947-8788-F9268CDCCA4B}">
      <dgm:prSet/>
      <dgm:spPr/>
      <dgm:t>
        <a:bodyPr/>
        <a:lstStyle/>
        <a:p>
          <a:endParaRPr lang="en-US"/>
        </a:p>
      </dgm:t>
    </dgm:pt>
    <dgm:pt modelId="{4C608369-2A90-4561-B09D-CC355EACD623}" type="sibTrans" cxnId="{5D07118C-5085-4947-8788-F9268CDCCA4B}">
      <dgm:prSet/>
      <dgm:spPr/>
      <dgm:t>
        <a:bodyPr/>
        <a:lstStyle/>
        <a:p>
          <a:endParaRPr lang="en-US"/>
        </a:p>
      </dgm:t>
    </dgm:pt>
    <dgm:pt modelId="{BDA80702-6BB4-44A1-84D4-85A3BE0027D5}">
      <dgm:prSet custT="1"/>
      <dgm:spPr>
        <a:xfrm>
          <a:off x="5048026" y="1128847"/>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Commercial &amp; Residential Pollution </a:t>
          </a:r>
        </a:p>
      </dgm:t>
    </dgm:pt>
    <dgm:pt modelId="{39558ECB-FC56-4762-B695-891B13F5A3E6}" type="parTrans" cxnId="{E9A0BC86-EAD9-47C1-BA89-07A8075991C2}">
      <dgm:prSet/>
      <dgm:spPr/>
      <dgm:t>
        <a:bodyPr/>
        <a:lstStyle/>
        <a:p>
          <a:endParaRPr lang="en-US"/>
        </a:p>
      </dgm:t>
    </dgm:pt>
    <dgm:pt modelId="{4490ACF7-BB8A-4A0C-B3E9-2BA04717E079}" type="sibTrans" cxnId="{E9A0BC86-EAD9-47C1-BA89-07A8075991C2}">
      <dgm:prSet/>
      <dgm:spPr/>
      <dgm:t>
        <a:bodyPr/>
        <a:lstStyle/>
        <a:p>
          <a:endParaRPr lang="en-US"/>
        </a:p>
      </dgm:t>
    </dgm:pt>
    <dgm:pt modelId="{D1EE2B96-29B0-40DD-9C79-7923E69CB537}">
      <dgm:prSet custT="1"/>
      <dgm:spPr>
        <a:xfrm>
          <a:off x="5048026" y="1397190"/>
          <a:ext cx="1457368" cy="268343"/>
        </a:xfrm>
        <a:prstGeom prst="rect">
          <a:avLst/>
        </a:prstGeom>
        <a:noFill/>
        <a:ln>
          <a:noFill/>
        </a:ln>
        <a:effectLst/>
      </dgm:spPr>
      <dgm:t>
        <a:bodyPr/>
        <a:lstStyle/>
        <a:p>
          <a:pPr>
            <a:buNone/>
          </a:pPr>
          <a:r>
            <a:rPr lang="en-US" sz="1000" b="1" i="0" dirty="0">
              <a:solidFill>
                <a:sysClr val="windowText" lastClr="000000">
                  <a:hueOff val="0"/>
                  <a:satOff val="0"/>
                  <a:lumOff val="0"/>
                  <a:alphaOff val="0"/>
                </a:sysClr>
              </a:solidFill>
              <a:latin typeface="Calibri" panose="020F0502020204030204"/>
              <a:ea typeface="+mn-ea"/>
              <a:cs typeface="+mn-cs"/>
            </a:rPr>
            <a:t>Regulations &amp; Enforcement</a:t>
          </a:r>
        </a:p>
      </dgm:t>
    </dgm:pt>
    <dgm:pt modelId="{1DD3339C-EC97-4B60-B5C5-F9AE6F2AFC2B}" type="parTrans" cxnId="{2616BDA5-CBD5-40C5-BABD-2EE74880B6CF}">
      <dgm:prSet/>
      <dgm:spPr/>
      <dgm:t>
        <a:bodyPr/>
        <a:lstStyle/>
        <a:p>
          <a:endParaRPr lang="en-US"/>
        </a:p>
      </dgm:t>
    </dgm:pt>
    <dgm:pt modelId="{5AAF82A2-68F3-43FF-A341-D35343839741}" type="sibTrans" cxnId="{2616BDA5-CBD5-40C5-BABD-2EE74880B6CF}">
      <dgm:prSet/>
      <dgm:spPr/>
      <dgm:t>
        <a:bodyPr/>
        <a:lstStyle/>
        <a:p>
          <a:endParaRPr lang="en-US"/>
        </a:p>
      </dgm:t>
    </dgm:pt>
    <dgm:pt modelId="{7DFCCFF5-A510-427B-A295-275D34E32D82}">
      <dgm:prSet custT="1"/>
      <dgm:spPr>
        <a:xfrm>
          <a:off x="5048026" y="1665534"/>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Institutional Strengthening</a:t>
          </a:r>
        </a:p>
      </dgm:t>
    </dgm:pt>
    <dgm:pt modelId="{8CE7595E-A94E-4DC2-89BA-428E9D00B6F7}" type="parTrans" cxnId="{9F1F3D2F-0D5E-46EB-BF33-BB2591ECE264}">
      <dgm:prSet/>
      <dgm:spPr/>
      <dgm:t>
        <a:bodyPr/>
        <a:lstStyle/>
        <a:p>
          <a:endParaRPr lang="en-US"/>
        </a:p>
      </dgm:t>
    </dgm:pt>
    <dgm:pt modelId="{757E4AC5-4F7F-406F-98D6-0FF8D52EF5DA}" type="sibTrans" cxnId="{9F1F3D2F-0D5E-46EB-BF33-BB2591ECE264}">
      <dgm:prSet/>
      <dgm:spPr/>
      <dgm:t>
        <a:bodyPr/>
        <a:lstStyle/>
        <a:p>
          <a:endParaRPr lang="en-US"/>
        </a:p>
      </dgm:t>
    </dgm:pt>
    <dgm:pt modelId="{DFC0B71F-0233-46DB-B0AB-29026E4F9A78}">
      <dgm:prSet custT="1"/>
      <dgm:spPr>
        <a:xfrm>
          <a:off x="111779" y="1665534"/>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Community Empowerment &amp; Institutional Strengthening </a:t>
          </a:r>
        </a:p>
      </dgm:t>
    </dgm:pt>
    <dgm:pt modelId="{F7A538BB-64F5-489E-A31D-745EF80E07F5}" type="parTrans" cxnId="{7B85FFDB-C104-41E1-8093-F8CEEB24DD68}">
      <dgm:prSet/>
      <dgm:spPr/>
      <dgm:t>
        <a:bodyPr/>
        <a:lstStyle/>
        <a:p>
          <a:endParaRPr lang="en-US"/>
        </a:p>
      </dgm:t>
    </dgm:pt>
    <dgm:pt modelId="{91296AB0-3E99-4912-B97B-5B890D3AEA13}" type="sibTrans" cxnId="{7B85FFDB-C104-41E1-8093-F8CEEB24DD68}">
      <dgm:prSet/>
      <dgm:spPr/>
      <dgm:t>
        <a:bodyPr/>
        <a:lstStyle/>
        <a:p>
          <a:endParaRPr lang="en-US"/>
        </a:p>
      </dgm:t>
    </dgm:pt>
    <dgm:pt modelId="{EB7B0CC3-7789-46EE-8D5D-0508BFB05DF3}">
      <dgm:prSet custT="1"/>
      <dgm:spPr>
        <a:xfrm>
          <a:off x="3402610" y="592160"/>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Solid Waste Management (Informal Settlements) </a:t>
          </a:r>
        </a:p>
      </dgm:t>
    </dgm:pt>
    <dgm:pt modelId="{1A0E8668-42EF-4B63-9C2D-C7323E431276}" type="parTrans" cxnId="{349FF903-BC78-4D29-8372-991256DA9CB2}">
      <dgm:prSet/>
      <dgm:spPr/>
      <dgm:t>
        <a:bodyPr/>
        <a:lstStyle/>
        <a:p>
          <a:endParaRPr lang="en-US"/>
        </a:p>
      </dgm:t>
    </dgm:pt>
    <dgm:pt modelId="{C69A52C3-C7EB-40AB-A005-FCB1311E46B1}" type="sibTrans" cxnId="{349FF903-BC78-4D29-8372-991256DA9CB2}">
      <dgm:prSet/>
      <dgm:spPr/>
      <dgm:t>
        <a:bodyPr/>
        <a:lstStyle/>
        <a:p>
          <a:endParaRPr lang="en-US"/>
        </a:p>
      </dgm:t>
    </dgm:pt>
    <dgm:pt modelId="{2258EAF1-A158-4ECC-B9B7-3E74C1D36121}">
      <dgm:prSet phldrT="[Text]" custT="1"/>
      <dgm:spPr>
        <a:xfrm>
          <a:off x="1647500" y="0"/>
          <a:ext cx="1567062" cy="331188"/>
        </a:xfrm>
        <a:prstGeom prst="rect">
          <a:avLst/>
        </a:prstGeom>
        <a:noFill/>
        <a:ln>
          <a:noFill/>
        </a:ln>
        <a:effectLst/>
      </dgm:spPr>
      <dgm:t>
        <a:bodyPr/>
        <a:lstStyle/>
        <a:p>
          <a:pPr algn="ctr">
            <a:buNone/>
          </a:pPr>
          <a:r>
            <a:rPr lang="en-US" sz="1600" b="1" dirty="0">
              <a:solidFill>
                <a:sysClr val="windowText" lastClr="000000">
                  <a:hueOff val="0"/>
                  <a:satOff val="0"/>
                  <a:lumOff val="0"/>
                  <a:alphaOff val="0"/>
                </a:sysClr>
              </a:solidFill>
              <a:latin typeface="Calibri" panose="020F0502020204030204"/>
              <a:ea typeface="+mn-ea"/>
              <a:cs typeface="+mn-cs"/>
            </a:rPr>
            <a:t>Water Supply and Sanitation</a:t>
          </a:r>
        </a:p>
      </dgm:t>
    </dgm:pt>
    <dgm:pt modelId="{F9E79A56-1E14-4A3A-B5D9-0E8696B8E220}" type="sibTrans" cxnId="{39B25F07-BB00-42CE-8CD6-DA3684C5D47B}">
      <dgm:prSet/>
      <dgm:spPr/>
      <dgm:t>
        <a:bodyPr/>
        <a:lstStyle/>
        <a:p>
          <a:endParaRPr lang="en-US"/>
        </a:p>
      </dgm:t>
    </dgm:pt>
    <dgm:pt modelId="{1E31D95A-F566-4A5E-83E2-346AE3713D05}" type="parTrans" cxnId="{39B25F07-BB00-42CE-8CD6-DA3684C5D47B}">
      <dgm:prSet/>
      <dgm:spPr/>
      <dgm:t>
        <a:bodyPr/>
        <a:lstStyle/>
        <a:p>
          <a:endParaRPr lang="en-US"/>
        </a:p>
      </dgm:t>
    </dgm:pt>
    <dgm:pt modelId="{E72B67AA-C1B1-4ADD-A891-97652838B029}">
      <dgm:prSet custT="1"/>
      <dgm:spPr>
        <a:xfrm>
          <a:off x="3402610" y="1397190"/>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Regulations &amp; Enforcement</a:t>
          </a:r>
        </a:p>
      </dgm:t>
    </dgm:pt>
    <dgm:pt modelId="{FC1A4927-F335-452B-83D0-536D5F5DEDB5}" type="parTrans" cxnId="{C4A14A0F-3CB0-4FDE-829E-52388008C926}">
      <dgm:prSet/>
      <dgm:spPr/>
      <dgm:t>
        <a:bodyPr/>
        <a:lstStyle/>
        <a:p>
          <a:endParaRPr lang="en-US"/>
        </a:p>
      </dgm:t>
    </dgm:pt>
    <dgm:pt modelId="{2BAE50FB-BACC-43E6-826E-91F34D7216E4}" type="sibTrans" cxnId="{C4A14A0F-3CB0-4FDE-829E-52388008C926}">
      <dgm:prSet/>
      <dgm:spPr/>
      <dgm:t>
        <a:bodyPr/>
        <a:lstStyle/>
        <a:p>
          <a:endParaRPr lang="en-US"/>
        </a:p>
      </dgm:t>
    </dgm:pt>
    <dgm:pt modelId="{3783F4F3-5B4F-4AE9-88DE-206BCB5D853B}">
      <dgm:prSet custT="1"/>
      <dgm:spPr>
        <a:xfrm>
          <a:off x="3402610" y="860504"/>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Solid Waste Management Services (3Rs</a:t>
          </a:r>
          <a:r>
            <a:rPr lang="en-US" sz="850" dirty="0">
              <a:solidFill>
                <a:sysClr val="windowText" lastClr="000000">
                  <a:hueOff val="0"/>
                  <a:satOff val="0"/>
                  <a:lumOff val="0"/>
                  <a:alphaOff val="0"/>
                </a:sysClr>
              </a:solidFill>
              <a:latin typeface="Calibri" panose="020F0502020204030204"/>
              <a:ea typeface="+mn-ea"/>
              <a:cs typeface="+mn-cs"/>
            </a:rPr>
            <a:t>) </a:t>
          </a:r>
        </a:p>
      </dgm:t>
    </dgm:pt>
    <dgm:pt modelId="{7A2EEBB1-D383-4796-BE89-CD7F742BB4E5}" type="parTrans" cxnId="{CAE02422-BC09-42E2-9BE6-C48C73A6EA9A}">
      <dgm:prSet/>
      <dgm:spPr/>
      <dgm:t>
        <a:bodyPr/>
        <a:lstStyle/>
        <a:p>
          <a:endParaRPr lang="en-US"/>
        </a:p>
      </dgm:t>
    </dgm:pt>
    <dgm:pt modelId="{9618397F-078C-4131-8278-0F2697CE72C4}" type="sibTrans" cxnId="{CAE02422-BC09-42E2-9BE6-C48C73A6EA9A}">
      <dgm:prSet/>
      <dgm:spPr/>
      <dgm:t>
        <a:bodyPr/>
        <a:lstStyle/>
        <a:p>
          <a:endParaRPr lang="en-US"/>
        </a:p>
      </dgm:t>
    </dgm:pt>
    <dgm:pt modelId="{20D7EA94-1346-4017-B25C-5F6BC67E79A7}">
      <dgm:prSet custT="1"/>
      <dgm:spPr>
        <a:xfrm>
          <a:off x="1757195" y="1665534"/>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Institutional Framework on Sanitation Management.</a:t>
          </a:r>
        </a:p>
      </dgm:t>
    </dgm:pt>
    <dgm:pt modelId="{7B3CA000-E1D3-41BD-B3D4-8DBEF65A513E}" type="parTrans" cxnId="{D681F8AC-AD63-4B38-AF57-CF4C1AD98CBB}">
      <dgm:prSet/>
      <dgm:spPr/>
      <dgm:t>
        <a:bodyPr/>
        <a:lstStyle/>
        <a:p>
          <a:endParaRPr lang="en-US"/>
        </a:p>
      </dgm:t>
    </dgm:pt>
    <dgm:pt modelId="{E02A798B-9753-4FDD-84A6-815EFD79735F}" type="sibTrans" cxnId="{D681F8AC-AD63-4B38-AF57-CF4C1AD98CBB}">
      <dgm:prSet/>
      <dgm:spPr/>
      <dgm:t>
        <a:bodyPr/>
        <a:lstStyle/>
        <a:p>
          <a:endParaRPr lang="en-US"/>
        </a:p>
      </dgm:t>
    </dgm:pt>
    <dgm:pt modelId="{E08B9841-5616-477F-B421-F6A684A19157}">
      <dgm:prSet custT="1"/>
      <dgm:spPr>
        <a:xfrm>
          <a:off x="3402610" y="1665534"/>
          <a:ext cx="1457368" cy="268343"/>
        </a:xfrm>
        <a:prstGeom prst="rect">
          <a:avLst/>
        </a:prstGeom>
        <a:noFill/>
        <a:ln>
          <a:noFill/>
        </a:ln>
        <a:effectLst/>
      </dgm:spPr>
      <dgm:t>
        <a:bodyPr/>
        <a:lstStyle/>
        <a:p>
          <a:pPr>
            <a:buNone/>
          </a:pPr>
          <a:r>
            <a:rPr lang="en-US" sz="1000" b="1" dirty="0">
              <a:solidFill>
                <a:sysClr val="windowText" lastClr="000000">
                  <a:hueOff val="0"/>
                  <a:satOff val="0"/>
                  <a:lumOff val="0"/>
                  <a:alphaOff val="0"/>
                </a:sysClr>
              </a:solidFill>
              <a:latin typeface="Calibri" panose="020F0502020204030204"/>
              <a:ea typeface="+mn-ea"/>
              <a:cs typeface="+mn-cs"/>
            </a:rPr>
            <a:t>Community Empowerment &amp; Institutional Strengthening.</a:t>
          </a:r>
        </a:p>
      </dgm:t>
    </dgm:pt>
    <dgm:pt modelId="{9ECE84F2-849B-4CFE-B539-CE48348B5F1E}" type="parTrans" cxnId="{D6D36FE1-4F46-4967-93E4-5CC3E2F49974}">
      <dgm:prSet/>
      <dgm:spPr/>
      <dgm:t>
        <a:bodyPr/>
        <a:lstStyle/>
        <a:p>
          <a:endParaRPr lang="en-US"/>
        </a:p>
      </dgm:t>
    </dgm:pt>
    <dgm:pt modelId="{EE890840-DA07-4C3D-8D2C-C1BD8A0A6799}" type="sibTrans" cxnId="{D6D36FE1-4F46-4967-93E4-5CC3E2F49974}">
      <dgm:prSet/>
      <dgm:spPr/>
      <dgm:t>
        <a:bodyPr/>
        <a:lstStyle/>
        <a:p>
          <a:endParaRPr lang="en-US"/>
        </a:p>
      </dgm:t>
    </dgm:pt>
    <dgm:pt modelId="{C5A5C400-E00D-47E0-960E-DBDC5C100660}" type="pres">
      <dgm:prSet presAssocID="{1B2A8518-C45A-4FCC-AD05-FF0AFD81C1DD}" presName="layout" presStyleCnt="0">
        <dgm:presLayoutVars>
          <dgm:chMax/>
          <dgm:chPref/>
          <dgm:dir/>
          <dgm:resizeHandles/>
        </dgm:presLayoutVars>
      </dgm:prSet>
      <dgm:spPr/>
      <dgm:t>
        <a:bodyPr/>
        <a:lstStyle/>
        <a:p>
          <a:endParaRPr lang="en-GB"/>
        </a:p>
      </dgm:t>
    </dgm:pt>
    <dgm:pt modelId="{63A87658-4161-467E-AEB2-647D2819757B}" type="pres">
      <dgm:prSet presAssocID="{685CD8D7-925C-4195-AC24-2370563316CD}" presName="root" presStyleCnt="0">
        <dgm:presLayoutVars>
          <dgm:chMax/>
          <dgm:chPref/>
        </dgm:presLayoutVars>
      </dgm:prSet>
      <dgm:spPr/>
    </dgm:pt>
    <dgm:pt modelId="{78D47382-D714-46D9-89E0-98D5532A8EDE}" type="pres">
      <dgm:prSet presAssocID="{685CD8D7-925C-4195-AC24-2370563316CD}" presName="rootComposite" presStyleCnt="0">
        <dgm:presLayoutVars/>
      </dgm:prSet>
      <dgm:spPr/>
    </dgm:pt>
    <dgm:pt modelId="{2BD0617D-5CFB-43E5-9055-EC316A35D3A0}" type="pres">
      <dgm:prSet presAssocID="{685CD8D7-925C-4195-AC24-2370563316CD}" presName="ParentAccent" presStyleLbl="alignNode1" presStyleIdx="0" presStyleCnt="4"/>
      <dgm:spPr>
        <a:xfrm>
          <a:off x="2084" y="331188"/>
          <a:ext cx="1567062" cy="184360"/>
        </a:xfrm>
        <a:prstGeom prst="rect">
          <a:avLst/>
        </a:prstGeom>
        <a:solidFill>
          <a:srgbClr val="ED7D31">
            <a:hueOff val="0"/>
            <a:satOff val="0"/>
            <a:lumOff val="0"/>
            <a:alphaOff val="0"/>
          </a:srgbClr>
        </a:solidFill>
        <a:ln w="12700" cap="flat" cmpd="sng" algn="ctr">
          <a:solidFill>
            <a:srgbClr val="ED7D31">
              <a:hueOff val="0"/>
              <a:satOff val="0"/>
              <a:lumOff val="0"/>
              <a:alphaOff val="0"/>
            </a:srgbClr>
          </a:solidFill>
          <a:prstDash val="solid"/>
          <a:miter lim="800000"/>
        </a:ln>
        <a:effectLst/>
      </dgm:spPr>
    </dgm:pt>
    <dgm:pt modelId="{4B500B80-00BE-4786-9B19-647CE25FC4B5}" type="pres">
      <dgm:prSet presAssocID="{685CD8D7-925C-4195-AC24-2370563316CD}" presName="ParentSmallAccent" presStyleLbl="fgAcc1" presStyleIdx="0" presStyleCnt="4"/>
      <dgm:spPr>
        <a:xfrm>
          <a:off x="2084" y="400426"/>
          <a:ext cx="115122" cy="115122"/>
        </a:xfrm>
        <a:prstGeom prst="rect">
          <a:avLst/>
        </a:prstGeom>
        <a:solidFill>
          <a:sysClr val="window" lastClr="FFFFFF">
            <a:alpha val="90000"/>
            <a:hueOff val="0"/>
            <a:satOff val="0"/>
            <a:lumOff val="0"/>
            <a:alphaOff val="0"/>
          </a:sysClr>
        </a:solidFill>
        <a:ln w="12700" cap="flat" cmpd="sng" algn="ctr">
          <a:solidFill>
            <a:srgbClr val="ED7D31">
              <a:hueOff val="0"/>
              <a:satOff val="0"/>
              <a:lumOff val="0"/>
              <a:alphaOff val="0"/>
            </a:srgbClr>
          </a:solidFill>
          <a:prstDash val="solid"/>
          <a:miter lim="800000"/>
        </a:ln>
        <a:effectLst/>
      </dgm:spPr>
    </dgm:pt>
    <dgm:pt modelId="{981AA7CC-7ECD-4D1A-91CC-269B584BD190}" type="pres">
      <dgm:prSet presAssocID="{685CD8D7-925C-4195-AC24-2370563316CD}" presName="Parent" presStyleLbl="revTx" presStyleIdx="0" presStyleCnt="24">
        <dgm:presLayoutVars>
          <dgm:chMax/>
          <dgm:chPref val="4"/>
          <dgm:bulletEnabled val="1"/>
        </dgm:presLayoutVars>
      </dgm:prSet>
      <dgm:spPr/>
      <dgm:t>
        <a:bodyPr/>
        <a:lstStyle/>
        <a:p>
          <a:endParaRPr lang="en-GB"/>
        </a:p>
      </dgm:t>
    </dgm:pt>
    <dgm:pt modelId="{AA8010FA-EEF6-4D4A-9374-F29A432EBF6D}" type="pres">
      <dgm:prSet presAssocID="{685CD8D7-925C-4195-AC24-2370563316CD}" presName="childShape" presStyleCnt="0">
        <dgm:presLayoutVars>
          <dgm:chMax val="0"/>
          <dgm:chPref val="0"/>
        </dgm:presLayoutVars>
      </dgm:prSet>
      <dgm:spPr/>
    </dgm:pt>
    <dgm:pt modelId="{C916CF91-26B9-4DFC-90CD-D8E513E8B22C}" type="pres">
      <dgm:prSet presAssocID="{36356071-6FFC-4786-9F20-87D7FEAB11E5}" presName="childComposite" presStyleCnt="0">
        <dgm:presLayoutVars>
          <dgm:chMax val="0"/>
          <dgm:chPref val="0"/>
        </dgm:presLayoutVars>
      </dgm:prSet>
      <dgm:spPr/>
    </dgm:pt>
    <dgm:pt modelId="{91A2957E-8EE5-43F2-93CF-B7801ECB7D13}" type="pres">
      <dgm:prSet presAssocID="{36356071-6FFC-4786-9F20-87D7FEAB11E5}" presName="ChildAccent" presStyleLbl="solidFgAcc1" presStyleIdx="0" presStyleCnt="20"/>
      <dgm:spPr>
        <a:xfrm>
          <a:off x="2084" y="668772"/>
          <a:ext cx="115119" cy="115119"/>
        </a:xfrm>
        <a:prstGeom prst="rect">
          <a:avLst/>
        </a:prstGeom>
        <a:solidFill>
          <a:sysClr val="window" lastClr="FFFFFF">
            <a:hueOff val="0"/>
            <a:satOff val="0"/>
            <a:lumOff val="0"/>
            <a:alphaOff val="0"/>
          </a:sysClr>
        </a:solidFill>
        <a:ln w="12700" cap="flat" cmpd="sng" algn="ctr">
          <a:solidFill>
            <a:srgbClr val="ED7D31">
              <a:hueOff val="0"/>
              <a:satOff val="0"/>
              <a:lumOff val="0"/>
              <a:alphaOff val="0"/>
            </a:srgbClr>
          </a:solidFill>
          <a:prstDash val="solid"/>
          <a:miter lim="800000"/>
        </a:ln>
        <a:effectLst/>
      </dgm:spPr>
    </dgm:pt>
    <dgm:pt modelId="{932BCDBF-AA8F-4F8B-867E-3E169E06636A}" type="pres">
      <dgm:prSet presAssocID="{36356071-6FFC-4786-9F20-87D7FEAB11E5}" presName="Child" presStyleLbl="revTx" presStyleIdx="1" presStyleCnt="24">
        <dgm:presLayoutVars>
          <dgm:chMax val="0"/>
          <dgm:chPref val="0"/>
          <dgm:bulletEnabled val="1"/>
        </dgm:presLayoutVars>
      </dgm:prSet>
      <dgm:spPr/>
      <dgm:t>
        <a:bodyPr/>
        <a:lstStyle/>
        <a:p>
          <a:endParaRPr lang="en-GB"/>
        </a:p>
      </dgm:t>
    </dgm:pt>
    <dgm:pt modelId="{A80F2032-7C88-43AA-9C26-6422A49AEFC7}" type="pres">
      <dgm:prSet presAssocID="{7E811C88-D3F7-4ABA-A1AA-BF6C422F5C2A}" presName="childComposite" presStyleCnt="0">
        <dgm:presLayoutVars>
          <dgm:chMax val="0"/>
          <dgm:chPref val="0"/>
        </dgm:presLayoutVars>
      </dgm:prSet>
      <dgm:spPr/>
    </dgm:pt>
    <dgm:pt modelId="{58F472D0-EC5C-426A-A92F-1725F4311D76}" type="pres">
      <dgm:prSet presAssocID="{7E811C88-D3F7-4ABA-A1AA-BF6C422F5C2A}" presName="ChildAccent" presStyleLbl="solidFgAcc1" presStyleIdx="1" presStyleCnt="20"/>
      <dgm:spPr>
        <a:xfrm>
          <a:off x="2084" y="937116"/>
          <a:ext cx="115119" cy="115119"/>
        </a:xfrm>
        <a:prstGeom prst="rect">
          <a:avLst/>
        </a:prstGeom>
        <a:solidFill>
          <a:sysClr val="window" lastClr="FFFFFF">
            <a:hueOff val="0"/>
            <a:satOff val="0"/>
            <a:lumOff val="0"/>
            <a:alphaOff val="0"/>
          </a:sysClr>
        </a:solidFill>
        <a:ln w="12700" cap="flat" cmpd="sng" algn="ctr">
          <a:solidFill>
            <a:srgbClr val="A5A5A5">
              <a:hueOff val="0"/>
              <a:satOff val="0"/>
              <a:lumOff val="0"/>
              <a:alphaOff val="0"/>
            </a:srgbClr>
          </a:solidFill>
          <a:prstDash val="solid"/>
          <a:miter lim="800000"/>
        </a:ln>
        <a:effectLst/>
      </dgm:spPr>
    </dgm:pt>
    <dgm:pt modelId="{4DD694F8-3934-4E9C-84A0-012F19CBB087}" type="pres">
      <dgm:prSet presAssocID="{7E811C88-D3F7-4ABA-A1AA-BF6C422F5C2A}" presName="Child" presStyleLbl="revTx" presStyleIdx="2" presStyleCnt="24">
        <dgm:presLayoutVars>
          <dgm:chMax val="0"/>
          <dgm:chPref val="0"/>
          <dgm:bulletEnabled val="1"/>
        </dgm:presLayoutVars>
      </dgm:prSet>
      <dgm:spPr/>
      <dgm:t>
        <a:bodyPr/>
        <a:lstStyle/>
        <a:p>
          <a:endParaRPr lang="en-GB"/>
        </a:p>
      </dgm:t>
    </dgm:pt>
    <dgm:pt modelId="{4C3C6B37-5894-4610-AC1C-5BF0EFA69A2F}" type="pres">
      <dgm:prSet presAssocID="{C8B9426F-DDA3-4B78-8965-52C3CE8C3BA8}" presName="childComposite" presStyleCnt="0">
        <dgm:presLayoutVars>
          <dgm:chMax val="0"/>
          <dgm:chPref val="0"/>
        </dgm:presLayoutVars>
      </dgm:prSet>
      <dgm:spPr/>
    </dgm:pt>
    <dgm:pt modelId="{D8DD3657-0445-4FEB-83FF-91CF9BFC21B9}" type="pres">
      <dgm:prSet presAssocID="{C8B9426F-DDA3-4B78-8965-52C3CE8C3BA8}" presName="ChildAccent" presStyleLbl="solidFgAcc1" presStyleIdx="2" presStyleCnt="20"/>
      <dgm:spPr>
        <a:xfrm>
          <a:off x="2084" y="1205459"/>
          <a:ext cx="115119" cy="115119"/>
        </a:xfrm>
        <a:prstGeom prst="rect">
          <a:avLst/>
        </a:prstGeom>
        <a:solidFill>
          <a:sysClr val="window" lastClr="FFFFFF">
            <a:hueOff val="0"/>
            <a:satOff val="0"/>
            <a:lumOff val="0"/>
            <a:alphaOff val="0"/>
          </a:sysClr>
        </a:solidFill>
        <a:ln w="12700" cap="flat" cmpd="sng" algn="ctr">
          <a:solidFill>
            <a:srgbClr val="FFC000">
              <a:hueOff val="0"/>
              <a:satOff val="0"/>
              <a:lumOff val="0"/>
              <a:alphaOff val="0"/>
            </a:srgbClr>
          </a:solidFill>
          <a:prstDash val="solid"/>
          <a:miter lim="800000"/>
        </a:ln>
        <a:effectLst/>
      </dgm:spPr>
    </dgm:pt>
    <dgm:pt modelId="{A2EACC7B-B204-4FD1-B975-5D4A13BEF185}" type="pres">
      <dgm:prSet presAssocID="{C8B9426F-DDA3-4B78-8965-52C3CE8C3BA8}" presName="Child" presStyleLbl="revTx" presStyleIdx="3" presStyleCnt="24">
        <dgm:presLayoutVars>
          <dgm:chMax val="0"/>
          <dgm:chPref val="0"/>
          <dgm:bulletEnabled val="1"/>
        </dgm:presLayoutVars>
      </dgm:prSet>
      <dgm:spPr/>
      <dgm:t>
        <a:bodyPr/>
        <a:lstStyle/>
        <a:p>
          <a:endParaRPr lang="en-GB"/>
        </a:p>
      </dgm:t>
    </dgm:pt>
    <dgm:pt modelId="{8D0D74BD-B5B9-4580-939E-6A561D68C574}" type="pres">
      <dgm:prSet presAssocID="{C626B7FA-201A-4F8D-B199-65A510658916}" presName="childComposite" presStyleCnt="0">
        <dgm:presLayoutVars>
          <dgm:chMax val="0"/>
          <dgm:chPref val="0"/>
        </dgm:presLayoutVars>
      </dgm:prSet>
      <dgm:spPr/>
    </dgm:pt>
    <dgm:pt modelId="{FF464B75-7282-47C1-92CC-C7D057E9E7EE}" type="pres">
      <dgm:prSet presAssocID="{C626B7FA-201A-4F8D-B199-65A510658916}" presName="ChildAccent" presStyleLbl="solidFgAcc1" presStyleIdx="3" presStyleCnt="20"/>
      <dgm:spPr>
        <a:xfrm>
          <a:off x="2084" y="1473802"/>
          <a:ext cx="115119" cy="115119"/>
        </a:xfrm>
        <a:prstGeom prst="rect">
          <a:avLst/>
        </a:prstGeom>
        <a:solidFill>
          <a:sysClr val="window" lastClr="FFFFFF">
            <a:hueOff val="0"/>
            <a:satOff val="0"/>
            <a:lumOff val="0"/>
            <a:alphaOff val="0"/>
          </a:sysClr>
        </a:solidFill>
        <a:ln w="12700" cap="flat" cmpd="sng" algn="ctr">
          <a:solidFill>
            <a:srgbClr val="5B9BD5">
              <a:hueOff val="0"/>
              <a:satOff val="0"/>
              <a:lumOff val="0"/>
              <a:alphaOff val="0"/>
            </a:srgbClr>
          </a:solidFill>
          <a:prstDash val="solid"/>
          <a:miter lim="800000"/>
        </a:ln>
        <a:effectLst/>
      </dgm:spPr>
    </dgm:pt>
    <dgm:pt modelId="{C6EE381F-DF9D-4E6E-90EA-276760EB9725}" type="pres">
      <dgm:prSet presAssocID="{C626B7FA-201A-4F8D-B199-65A510658916}" presName="Child" presStyleLbl="revTx" presStyleIdx="4" presStyleCnt="24">
        <dgm:presLayoutVars>
          <dgm:chMax val="0"/>
          <dgm:chPref val="0"/>
          <dgm:bulletEnabled val="1"/>
        </dgm:presLayoutVars>
      </dgm:prSet>
      <dgm:spPr/>
      <dgm:t>
        <a:bodyPr/>
        <a:lstStyle/>
        <a:p>
          <a:endParaRPr lang="en-GB"/>
        </a:p>
      </dgm:t>
    </dgm:pt>
    <dgm:pt modelId="{9667AC41-297E-44C7-8CEE-F00619BC086B}" type="pres">
      <dgm:prSet presAssocID="{DFC0B71F-0233-46DB-B0AB-29026E4F9A78}" presName="childComposite" presStyleCnt="0">
        <dgm:presLayoutVars>
          <dgm:chMax val="0"/>
          <dgm:chPref val="0"/>
        </dgm:presLayoutVars>
      </dgm:prSet>
      <dgm:spPr/>
    </dgm:pt>
    <dgm:pt modelId="{99AF0B02-346E-4E9E-A1AB-638362D2559F}" type="pres">
      <dgm:prSet presAssocID="{DFC0B71F-0233-46DB-B0AB-29026E4F9A78}" presName="ChildAccent" presStyleLbl="solidFgAcc1" presStyleIdx="4" presStyleCnt="20"/>
      <dgm:spPr>
        <a:xfrm>
          <a:off x="2084" y="1742146"/>
          <a:ext cx="115119" cy="115119"/>
        </a:xfrm>
        <a:prstGeom prst="rect">
          <a:avLst/>
        </a:prstGeom>
        <a:solidFill>
          <a:sysClr val="window" lastClr="FFFFFF">
            <a:hueOff val="0"/>
            <a:satOff val="0"/>
            <a:lumOff val="0"/>
            <a:alphaOff val="0"/>
          </a:sysClr>
        </a:solidFill>
        <a:ln w="12700" cap="flat" cmpd="sng" algn="ctr">
          <a:solidFill>
            <a:srgbClr val="70AD47">
              <a:hueOff val="0"/>
              <a:satOff val="0"/>
              <a:lumOff val="0"/>
              <a:alphaOff val="0"/>
            </a:srgbClr>
          </a:solidFill>
          <a:prstDash val="solid"/>
          <a:miter lim="800000"/>
        </a:ln>
        <a:effectLst/>
      </dgm:spPr>
    </dgm:pt>
    <dgm:pt modelId="{035F242A-6E8E-4442-A459-400E284C02CC}" type="pres">
      <dgm:prSet presAssocID="{DFC0B71F-0233-46DB-B0AB-29026E4F9A78}" presName="Child" presStyleLbl="revTx" presStyleIdx="5" presStyleCnt="24">
        <dgm:presLayoutVars>
          <dgm:chMax val="0"/>
          <dgm:chPref val="0"/>
          <dgm:bulletEnabled val="1"/>
        </dgm:presLayoutVars>
      </dgm:prSet>
      <dgm:spPr/>
      <dgm:t>
        <a:bodyPr/>
        <a:lstStyle/>
        <a:p>
          <a:endParaRPr lang="en-GB"/>
        </a:p>
      </dgm:t>
    </dgm:pt>
    <dgm:pt modelId="{95F93725-4016-4DD0-97EA-C508B5486528}" type="pres">
      <dgm:prSet presAssocID="{2258EAF1-A158-4ECC-B9B7-3E74C1D36121}" presName="root" presStyleCnt="0">
        <dgm:presLayoutVars>
          <dgm:chMax/>
          <dgm:chPref/>
        </dgm:presLayoutVars>
      </dgm:prSet>
      <dgm:spPr/>
    </dgm:pt>
    <dgm:pt modelId="{897098F1-05F3-4445-B9B6-B9585098EE3E}" type="pres">
      <dgm:prSet presAssocID="{2258EAF1-A158-4ECC-B9B7-3E74C1D36121}" presName="rootComposite" presStyleCnt="0">
        <dgm:presLayoutVars/>
      </dgm:prSet>
      <dgm:spPr/>
    </dgm:pt>
    <dgm:pt modelId="{2529CB57-8CF6-4AE6-8E5C-1065C255E6AA}" type="pres">
      <dgm:prSet presAssocID="{2258EAF1-A158-4ECC-B9B7-3E74C1D36121}" presName="ParentAccent" presStyleLbl="alignNode1" presStyleIdx="1" presStyleCnt="4"/>
      <dgm:spPr>
        <a:xfrm>
          <a:off x="1647500" y="331188"/>
          <a:ext cx="1567062" cy="184360"/>
        </a:xfrm>
        <a:prstGeom prst="rect">
          <a:avLst/>
        </a:prstGeom>
        <a:solidFill>
          <a:srgbClr val="00B050"/>
        </a:solidFill>
        <a:ln w="12700" cap="flat" cmpd="sng" algn="ctr">
          <a:noFill/>
          <a:prstDash val="solid"/>
          <a:miter lim="800000"/>
        </a:ln>
        <a:effectLst/>
      </dgm:spPr>
    </dgm:pt>
    <dgm:pt modelId="{076EDFDB-624E-49DD-B996-116638746457}" type="pres">
      <dgm:prSet presAssocID="{2258EAF1-A158-4ECC-B9B7-3E74C1D36121}" presName="ParentSmallAccent" presStyleLbl="fgAcc1" presStyleIdx="1" presStyleCnt="4"/>
      <dgm:spPr>
        <a:xfrm>
          <a:off x="1647500" y="400426"/>
          <a:ext cx="115122" cy="115122"/>
        </a:xfrm>
        <a:prstGeom prst="rect">
          <a:avLst/>
        </a:prstGeom>
        <a:solidFill>
          <a:sysClr val="window" lastClr="FFFFFF">
            <a:alpha val="90000"/>
            <a:hueOff val="0"/>
            <a:satOff val="0"/>
            <a:lumOff val="0"/>
            <a:alphaOff val="0"/>
          </a:sysClr>
        </a:solidFill>
        <a:ln w="12700" cap="flat" cmpd="sng" algn="ctr">
          <a:solidFill>
            <a:srgbClr val="A5A5A5">
              <a:hueOff val="0"/>
              <a:satOff val="0"/>
              <a:lumOff val="0"/>
              <a:alphaOff val="0"/>
            </a:srgbClr>
          </a:solidFill>
          <a:prstDash val="solid"/>
          <a:miter lim="800000"/>
        </a:ln>
        <a:effectLst/>
      </dgm:spPr>
    </dgm:pt>
    <dgm:pt modelId="{0677D817-7938-4357-921E-9CB483D4C745}" type="pres">
      <dgm:prSet presAssocID="{2258EAF1-A158-4ECC-B9B7-3E74C1D36121}" presName="Parent" presStyleLbl="revTx" presStyleIdx="6" presStyleCnt="24">
        <dgm:presLayoutVars>
          <dgm:chMax/>
          <dgm:chPref val="4"/>
          <dgm:bulletEnabled val="1"/>
        </dgm:presLayoutVars>
      </dgm:prSet>
      <dgm:spPr/>
      <dgm:t>
        <a:bodyPr/>
        <a:lstStyle/>
        <a:p>
          <a:endParaRPr lang="en-GB"/>
        </a:p>
      </dgm:t>
    </dgm:pt>
    <dgm:pt modelId="{7CAE7F88-ACEA-4947-9399-91CA7599B9F0}" type="pres">
      <dgm:prSet presAssocID="{2258EAF1-A158-4ECC-B9B7-3E74C1D36121}" presName="childShape" presStyleCnt="0">
        <dgm:presLayoutVars>
          <dgm:chMax val="0"/>
          <dgm:chPref val="0"/>
        </dgm:presLayoutVars>
      </dgm:prSet>
      <dgm:spPr/>
    </dgm:pt>
    <dgm:pt modelId="{8F21320E-AEFA-4995-8665-E8288277C642}" type="pres">
      <dgm:prSet presAssocID="{7FE19E3B-1D76-4C8D-9AC5-E36EADAF624A}" presName="childComposite" presStyleCnt="0">
        <dgm:presLayoutVars>
          <dgm:chMax val="0"/>
          <dgm:chPref val="0"/>
        </dgm:presLayoutVars>
      </dgm:prSet>
      <dgm:spPr/>
    </dgm:pt>
    <dgm:pt modelId="{71622090-C491-4E34-A400-70AA808F60C1}" type="pres">
      <dgm:prSet presAssocID="{7FE19E3B-1D76-4C8D-9AC5-E36EADAF624A}" presName="ChildAccent" presStyleLbl="solidFgAcc1" presStyleIdx="5" presStyleCnt="20"/>
      <dgm:spPr>
        <a:xfrm>
          <a:off x="1647500" y="668772"/>
          <a:ext cx="115119" cy="115119"/>
        </a:xfrm>
        <a:prstGeom prst="rect">
          <a:avLst/>
        </a:prstGeom>
        <a:solidFill>
          <a:sysClr val="window" lastClr="FFFFFF">
            <a:hueOff val="0"/>
            <a:satOff val="0"/>
            <a:lumOff val="0"/>
            <a:alphaOff val="0"/>
          </a:sysClr>
        </a:solidFill>
        <a:ln w="12700" cap="flat" cmpd="sng" algn="ctr">
          <a:solidFill>
            <a:srgbClr val="ED7D31">
              <a:hueOff val="0"/>
              <a:satOff val="0"/>
              <a:lumOff val="0"/>
              <a:alphaOff val="0"/>
            </a:srgbClr>
          </a:solidFill>
          <a:prstDash val="solid"/>
          <a:miter lim="800000"/>
        </a:ln>
        <a:effectLst/>
      </dgm:spPr>
    </dgm:pt>
    <dgm:pt modelId="{E5529D63-CC96-4A88-A2B2-029ACA536BA5}" type="pres">
      <dgm:prSet presAssocID="{7FE19E3B-1D76-4C8D-9AC5-E36EADAF624A}" presName="Child" presStyleLbl="revTx" presStyleIdx="7" presStyleCnt="24">
        <dgm:presLayoutVars>
          <dgm:chMax val="0"/>
          <dgm:chPref val="0"/>
          <dgm:bulletEnabled val="1"/>
        </dgm:presLayoutVars>
      </dgm:prSet>
      <dgm:spPr/>
      <dgm:t>
        <a:bodyPr/>
        <a:lstStyle/>
        <a:p>
          <a:endParaRPr lang="en-GB"/>
        </a:p>
      </dgm:t>
    </dgm:pt>
    <dgm:pt modelId="{E03A2499-E117-4436-942B-2DDB686D41D4}" type="pres">
      <dgm:prSet presAssocID="{7BA56E7F-9276-4CFD-BC2C-689A3185F9F0}" presName="childComposite" presStyleCnt="0">
        <dgm:presLayoutVars>
          <dgm:chMax val="0"/>
          <dgm:chPref val="0"/>
        </dgm:presLayoutVars>
      </dgm:prSet>
      <dgm:spPr/>
    </dgm:pt>
    <dgm:pt modelId="{45486FC4-71F8-4A59-B6D9-FEF4DB635842}" type="pres">
      <dgm:prSet presAssocID="{7BA56E7F-9276-4CFD-BC2C-689A3185F9F0}" presName="ChildAccent" presStyleLbl="solidFgAcc1" presStyleIdx="6" presStyleCnt="20"/>
      <dgm:spPr>
        <a:xfrm>
          <a:off x="1647500" y="937116"/>
          <a:ext cx="115119" cy="115119"/>
        </a:xfrm>
        <a:prstGeom prst="rect">
          <a:avLst/>
        </a:prstGeom>
        <a:solidFill>
          <a:sysClr val="window" lastClr="FFFFFF">
            <a:hueOff val="0"/>
            <a:satOff val="0"/>
            <a:lumOff val="0"/>
            <a:alphaOff val="0"/>
          </a:sysClr>
        </a:solidFill>
        <a:ln w="12700" cap="flat" cmpd="sng" algn="ctr">
          <a:solidFill>
            <a:srgbClr val="A5A5A5">
              <a:hueOff val="0"/>
              <a:satOff val="0"/>
              <a:lumOff val="0"/>
              <a:alphaOff val="0"/>
            </a:srgbClr>
          </a:solidFill>
          <a:prstDash val="solid"/>
          <a:miter lim="800000"/>
        </a:ln>
        <a:effectLst/>
      </dgm:spPr>
    </dgm:pt>
    <dgm:pt modelId="{FA3AED4F-7D19-47C8-A870-2F88AA1F0C76}" type="pres">
      <dgm:prSet presAssocID="{7BA56E7F-9276-4CFD-BC2C-689A3185F9F0}" presName="Child" presStyleLbl="revTx" presStyleIdx="8" presStyleCnt="24">
        <dgm:presLayoutVars>
          <dgm:chMax val="0"/>
          <dgm:chPref val="0"/>
          <dgm:bulletEnabled val="1"/>
        </dgm:presLayoutVars>
      </dgm:prSet>
      <dgm:spPr/>
      <dgm:t>
        <a:bodyPr/>
        <a:lstStyle/>
        <a:p>
          <a:endParaRPr lang="en-GB"/>
        </a:p>
      </dgm:t>
    </dgm:pt>
    <dgm:pt modelId="{D8E2FD65-DDFA-4115-9C2A-18FD89D223C4}" type="pres">
      <dgm:prSet presAssocID="{0AE6F285-64A6-4E04-80D0-C04BC4A7711D}" presName="childComposite" presStyleCnt="0">
        <dgm:presLayoutVars>
          <dgm:chMax val="0"/>
          <dgm:chPref val="0"/>
        </dgm:presLayoutVars>
      </dgm:prSet>
      <dgm:spPr/>
    </dgm:pt>
    <dgm:pt modelId="{4E66DB93-23DF-44BA-8B95-AF5245072076}" type="pres">
      <dgm:prSet presAssocID="{0AE6F285-64A6-4E04-80D0-C04BC4A7711D}" presName="ChildAccent" presStyleLbl="solidFgAcc1" presStyleIdx="7" presStyleCnt="20"/>
      <dgm:spPr>
        <a:xfrm>
          <a:off x="1647500" y="1205459"/>
          <a:ext cx="115119" cy="115119"/>
        </a:xfrm>
        <a:prstGeom prst="rect">
          <a:avLst/>
        </a:prstGeom>
        <a:solidFill>
          <a:sysClr val="window" lastClr="FFFFFF">
            <a:hueOff val="0"/>
            <a:satOff val="0"/>
            <a:lumOff val="0"/>
            <a:alphaOff val="0"/>
          </a:sysClr>
        </a:solidFill>
        <a:ln w="12700" cap="flat" cmpd="sng" algn="ctr">
          <a:solidFill>
            <a:srgbClr val="FFC000">
              <a:hueOff val="0"/>
              <a:satOff val="0"/>
              <a:lumOff val="0"/>
              <a:alphaOff val="0"/>
            </a:srgbClr>
          </a:solidFill>
          <a:prstDash val="solid"/>
          <a:miter lim="800000"/>
        </a:ln>
        <a:effectLst/>
      </dgm:spPr>
    </dgm:pt>
    <dgm:pt modelId="{9DDCDDB4-D757-42E3-B7F3-DA87BEBDB8BE}" type="pres">
      <dgm:prSet presAssocID="{0AE6F285-64A6-4E04-80D0-C04BC4A7711D}" presName="Child" presStyleLbl="revTx" presStyleIdx="9" presStyleCnt="24">
        <dgm:presLayoutVars>
          <dgm:chMax val="0"/>
          <dgm:chPref val="0"/>
          <dgm:bulletEnabled val="1"/>
        </dgm:presLayoutVars>
      </dgm:prSet>
      <dgm:spPr/>
      <dgm:t>
        <a:bodyPr/>
        <a:lstStyle/>
        <a:p>
          <a:endParaRPr lang="en-GB"/>
        </a:p>
      </dgm:t>
    </dgm:pt>
    <dgm:pt modelId="{D25E22A3-1772-4489-AEBF-B36470841714}" type="pres">
      <dgm:prSet presAssocID="{71A98D3F-66DE-4A29-86A1-B2A44BC648D0}" presName="childComposite" presStyleCnt="0">
        <dgm:presLayoutVars>
          <dgm:chMax val="0"/>
          <dgm:chPref val="0"/>
        </dgm:presLayoutVars>
      </dgm:prSet>
      <dgm:spPr/>
    </dgm:pt>
    <dgm:pt modelId="{0C51504B-31FF-4281-8CBF-29920C81364E}" type="pres">
      <dgm:prSet presAssocID="{71A98D3F-66DE-4A29-86A1-B2A44BC648D0}" presName="ChildAccent" presStyleLbl="solidFgAcc1" presStyleIdx="8" presStyleCnt="20"/>
      <dgm:spPr>
        <a:xfrm>
          <a:off x="1647500" y="1473802"/>
          <a:ext cx="115119" cy="115119"/>
        </a:xfrm>
        <a:prstGeom prst="rect">
          <a:avLst/>
        </a:prstGeom>
        <a:solidFill>
          <a:sysClr val="window" lastClr="FFFFFF">
            <a:hueOff val="0"/>
            <a:satOff val="0"/>
            <a:lumOff val="0"/>
            <a:alphaOff val="0"/>
          </a:sysClr>
        </a:solidFill>
        <a:ln w="12700" cap="flat" cmpd="sng" algn="ctr">
          <a:solidFill>
            <a:srgbClr val="5B9BD5">
              <a:hueOff val="0"/>
              <a:satOff val="0"/>
              <a:lumOff val="0"/>
              <a:alphaOff val="0"/>
            </a:srgbClr>
          </a:solidFill>
          <a:prstDash val="solid"/>
          <a:miter lim="800000"/>
        </a:ln>
        <a:effectLst/>
      </dgm:spPr>
    </dgm:pt>
    <dgm:pt modelId="{E6A6AF7B-AAF5-47B5-9807-289CD7E66AB1}" type="pres">
      <dgm:prSet presAssocID="{71A98D3F-66DE-4A29-86A1-B2A44BC648D0}" presName="Child" presStyleLbl="revTx" presStyleIdx="10" presStyleCnt="24">
        <dgm:presLayoutVars>
          <dgm:chMax val="0"/>
          <dgm:chPref val="0"/>
          <dgm:bulletEnabled val="1"/>
        </dgm:presLayoutVars>
      </dgm:prSet>
      <dgm:spPr/>
      <dgm:t>
        <a:bodyPr/>
        <a:lstStyle/>
        <a:p>
          <a:endParaRPr lang="en-GB"/>
        </a:p>
      </dgm:t>
    </dgm:pt>
    <dgm:pt modelId="{BCF3ED39-23E6-4D7C-AD27-834AEC950AAD}" type="pres">
      <dgm:prSet presAssocID="{20D7EA94-1346-4017-B25C-5F6BC67E79A7}" presName="childComposite" presStyleCnt="0">
        <dgm:presLayoutVars>
          <dgm:chMax val="0"/>
          <dgm:chPref val="0"/>
        </dgm:presLayoutVars>
      </dgm:prSet>
      <dgm:spPr/>
    </dgm:pt>
    <dgm:pt modelId="{BBA1E8E6-D5E2-483D-8093-E990C06364F4}" type="pres">
      <dgm:prSet presAssocID="{20D7EA94-1346-4017-B25C-5F6BC67E79A7}" presName="ChildAccent" presStyleLbl="solidFgAcc1" presStyleIdx="9" presStyleCnt="20"/>
      <dgm:spPr>
        <a:xfrm>
          <a:off x="1647500" y="1742146"/>
          <a:ext cx="115119" cy="115119"/>
        </a:xfrm>
        <a:prstGeom prst="rect">
          <a:avLst/>
        </a:prstGeom>
        <a:solidFill>
          <a:sysClr val="window" lastClr="FFFFFF">
            <a:hueOff val="0"/>
            <a:satOff val="0"/>
            <a:lumOff val="0"/>
            <a:alphaOff val="0"/>
          </a:sysClr>
        </a:solidFill>
        <a:ln w="12700" cap="flat" cmpd="sng" algn="ctr">
          <a:solidFill>
            <a:srgbClr val="70AD47">
              <a:hueOff val="0"/>
              <a:satOff val="0"/>
              <a:lumOff val="0"/>
              <a:alphaOff val="0"/>
            </a:srgbClr>
          </a:solidFill>
          <a:prstDash val="solid"/>
          <a:miter lim="800000"/>
        </a:ln>
        <a:effectLst/>
      </dgm:spPr>
    </dgm:pt>
    <dgm:pt modelId="{1977538E-9341-4969-94CF-461C786C8B9A}" type="pres">
      <dgm:prSet presAssocID="{20D7EA94-1346-4017-B25C-5F6BC67E79A7}" presName="Child" presStyleLbl="revTx" presStyleIdx="11" presStyleCnt="24">
        <dgm:presLayoutVars>
          <dgm:chMax val="0"/>
          <dgm:chPref val="0"/>
          <dgm:bulletEnabled val="1"/>
        </dgm:presLayoutVars>
      </dgm:prSet>
      <dgm:spPr/>
      <dgm:t>
        <a:bodyPr/>
        <a:lstStyle/>
        <a:p>
          <a:endParaRPr lang="en-GB"/>
        </a:p>
      </dgm:t>
    </dgm:pt>
    <dgm:pt modelId="{D3E41C37-7986-4384-AEA9-47D33F520478}" type="pres">
      <dgm:prSet presAssocID="{1A0C39F8-D2E7-43A5-8754-937C076FF700}" presName="root" presStyleCnt="0">
        <dgm:presLayoutVars>
          <dgm:chMax/>
          <dgm:chPref/>
        </dgm:presLayoutVars>
      </dgm:prSet>
      <dgm:spPr/>
    </dgm:pt>
    <dgm:pt modelId="{A0E6770E-EC20-433C-8F24-39A2D9B217EC}" type="pres">
      <dgm:prSet presAssocID="{1A0C39F8-D2E7-43A5-8754-937C076FF700}" presName="rootComposite" presStyleCnt="0">
        <dgm:presLayoutVars/>
      </dgm:prSet>
      <dgm:spPr/>
    </dgm:pt>
    <dgm:pt modelId="{B81A3773-8024-4A1A-92D8-69EFC37FB323}" type="pres">
      <dgm:prSet presAssocID="{1A0C39F8-D2E7-43A5-8754-937C076FF700}" presName="ParentAccent" presStyleLbl="alignNode1" presStyleIdx="2" presStyleCnt="4" custLinFactNeighborX="-2208" custLinFactNeighborY="-13438"/>
      <dgm:spPr>
        <a:xfrm>
          <a:off x="3292916" y="331188"/>
          <a:ext cx="1567062" cy="184360"/>
        </a:xfrm>
        <a:prstGeom prst="rect">
          <a:avLst/>
        </a:prstGeom>
        <a:solidFill>
          <a:srgbClr val="FFC000">
            <a:hueOff val="0"/>
            <a:satOff val="0"/>
            <a:lumOff val="0"/>
            <a:alphaOff val="0"/>
          </a:srgbClr>
        </a:solidFill>
        <a:ln w="12700" cap="flat" cmpd="sng" algn="ctr">
          <a:noFill/>
          <a:prstDash val="solid"/>
          <a:miter lim="800000"/>
        </a:ln>
        <a:effectLst/>
      </dgm:spPr>
    </dgm:pt>
    <dgm:pt modelId="{60AFB8A1-904D-442A-95F3-D2D251F3FEC9}" type="pres">
      <dgm:prSet presAssocID="{1A0C39F8-D2E7-43A5-8754-937C076FF700}" presName="ParentSmallAccent" presStyleLbl="fgAcc1" presStyleIdx="2" presStyleCnt="4"/>
      <dgm:spPr>
        <a:xfrm>
          <a:off x="3292916" y="400426"/>
          <a:ext cx="115122" cy="115122"/>
        </a:xfrm>
        <a:prstGeom prst="rect">
          <a:avLst/>
        </a:prstGeom>
        <a:solidFill>
          <a:sysClr val="window" lastClr="FFFFFF">
            <a:alpha val="90000"/>
            <a:hueOff val="0"/>
            <a:satOff val="0"/>
            <a:lumOff val="0"/>
            <a:alphaOff val="0"/>
          </a:sysClr>
        </a:solidFill>
        <a:ln w="12700" cap="flat" cmpd="sng" algn="ctr">
          <a:solidFill>
            <a:srgbClr val="FFC000">
              <a:hueOff val="0"/>
              <a:satOff val="0"/>
              <a:lumOff val="0"/>
              <a:alphaOff val="0"/>
            </a:srgbClr>
          </a:solidFill>
          <a:prstDash val="solid"/>
          <a:miter lim="800000"/>
        </a:ln>
        <a:effectLst/>
      </dgm:spPr>
    </dgm:pt>
    <dgm:pt modelId="{0E676114-6B23-487E-A403-FDDDBA86C2CC}" type="pres">
      <dgm:prSet presAssocID="{1A0C39F8-D2E7-43A5-8754-937C076FF700}" presName="Parent" presStyleLbl="revTx" presStyleIdx="12" presStyleCnt="24">
        <dgm:presLayoutVars>
          <dgm:chMax/>
          <dgm:chPref val="4"/>
          <dgm:bulletEnabled val="1"/>
        </dgm:presLayoutVars>
      </dgm:prSet>
      <dgm:spPr/>
      <dgm:t>
        <a:bodyPr/>
        <a:lstStyle/>
        <a:p>
          <a:endParaRPr lang="en-GB"/>
        </a:p>
      </dgm:t>
    </dgm:pt>
    <dgm:pt modelId="{76D8CFBA-A397-49E7-8448-A2850DA31751}" type="pres">
      <dgm:prSet presAssocID="{1A0C39F8-D2E7-43A5-8754-937C076FF700}" presName="childShape" presStyleCnt="0">
        <dgm:presLayoutVars>
          <dgm:chMax val="0"/>
          <dgm:chPref val="0"/>
        </dgm:presLayoutVars>
      </dgm:prSet>
      <dgm:spPr/>
    </dgm:pt>
    <dgm:pt modelId="{693C1B6C-60A2-4224-A14F-9B418C289811}" type="pres">
      <dgm:prSet presAssocID="{EB7B0CC3-7789-46EE-8D5D-0508BFB05DF3}" presName="childComposite" presStyleCnt="0">
        <dgm:presLayoutVars>
          <dgm:chMax val="0"/>
          <dgm:chPref val="0"/>
        </dgm:presLayoutVars>
      </dgm:prSet>
      <dgm:spPr/>
    </dgm:pt>
    <dgm:pt modelId="{12129C4F-F2B2-4EB7-A210-F6A545606288}" type="pres">
      <dgm:prSet presAssocID="{EB7B0CC3-7789-46EE-8D5D-0508BFB05DF3}" presName="ChildAccent" presStyleLbl="solidFgAcc1" presStyleIdx="10" presStyleCnt="20"/>
      <dgm:spPr>
        <a:xfrm>
          <a:off x="3292916" y="668772"/>
          <a:ext cx="115119" cy="115119"/>
        </a:xfrm>
        <a:prstGeom prst="rect">
          <a:avLst/>
        </a:prstGeom>
        <a:solidFill>
          <a:sysClr val="window" lastClr="FFFFFF">
            <a:hueOff val="0"/>
            <a:satOff val="0"/>
            <a:lumOff val="0"/>
            <a:alphaOff val="0"/>
          </a:sysClr>
        </a:solidFill>
        <a:ln w="12700" cap="flat" cmpd="sng" algn="ctr">
          <a:solidFill>
            <a:srgbClr val="ED7D31">
              <a:hueOff val="0"/>
              <a:satOff val="0"/>
              <a:lumOff val="0"/>
              <a:alphaOff val="0"/>
            </a:srgbClr>
          </a:solidFill>
          <a:prstDash val="solid"/>
          <a:miter lim="800000"/>
        </a:ln>
        <a:effectLst/>
      </dgm:spPr>
    </dgm:pt>
    <dgm:pt modelId="{6AD7A256-446E-4333-8137-D9C4DEA5A58B}" type="pres">
      <dgm:prSet presAssocID="{EB7B0CC3-7789-46EE-8D5D-0508BFB05DF3}" presName="Child" presStyleLbl="revTx" presStyleIdx="13" presStyleCnt="24">
        <dgm:presLayoutVars>
          <dgm:chMax val="0"/>
          <dgm:chPref val="0"/>
          <dgm:bulletEnabled val="1"/>
        </dgm:presLayoutVars>
      </dgm:prSet>
      <dgm:spPr/>
      <dgm:t>
        <a:bodyPr/>
        <a:lstStyle/>
        <a:p>
          <a:endParaRPr lang="en-GB"/>
        </a:p>
      </dgm:t>
    </dgm:pt>
    <dgm:pt modelId="{04C4DCE0-4E27-469C-AF69-E90990353993}" type="pres">
      <dgm:prSet presAssocID="{3783F4F3-5B4F-4AE9-88DE-206BCB5D853B}" presName="childComposite" presStyleCnt="0">
        <dgm:presLayoutVars>
          <dgm:chMax val="0"/>
          <dgm:chPref val="0"/>
        </dgm:presLayoutVars>
      </dgm:prSet>
      <dgm:spPr/>
    </dgm:pt>
    <dgm:pt modelId="{E17A7075-08DB-4887-B635-AC6183C5056A}" type="pres">
      <dgm:prSet presAssocID="{3783F4F3-5B4F-4AE9-88DE-206BCB5D853B}" presName="ChildAccent" presStyleLbl="solidFgAcc1" presStyleIdx="11" presStyleCnt="20"/>
      <dgm:spPr>
        <a:xfrm>
          <a:off x="3292916" y="937116"/>
          <a:ext cx="115119" cy="115119"/>
        </a:xfrm>
        <a:prstGeom prst="rect">
          <a:avLst/>
        </a:prstGeom>
        <a:solidFill>
          <a:sysClr val="window" lastClr="FFFFFF">
            <a:hueOff val="0"/>
            <a:satOff val="0"/>
            <a:lumOff val="0"/>
            <a:alphaOff val="0"/>
          </a:sysClr>
        </a:solidFill>
        <a:ln w="12700" cap="flat" cmpd="sng" algn="ctr">
          <a:solidFill>
            <a:srgbClr val="A5A5A5">
              <a:hueOff val="0"/>
              <a:satOff val="0"/>
              <a:lumOff val="0"/>
              <a:alphaOff val="0"/>
            </a:srgbClr>
          </a:solidFill>
          <a:prstDash val="solid"/>
          <a:miter lim="800000"/>
        </a:ln>
        <a:effectLst/>
      </dgm:spPr>
    </dgm:pt>
    <dgm:pt modelId="{A5B01EC5-C672-49C7-8C47-19C6E5A0D914}" type="pres">
      <dgm:prSet presAssocID="{3783F4F3-5B4F-4AE9-88DE-206BCB5D853B}" presName="Child" presStyleLbl="revTx" presStyleIdx="14" presStyleCnt="24">
        <dgm:presLayoutVars>
          <dgm:chMax val="0"/>
          <dgm:chPref val="0"/>
          <dgm:bulletEnabled val="1"/>
        </dgm:presLayoutVars>
      </dgm:prSet>
      <dgm:spPr/>
      <dgm:t>
        <a:bodyPr/>
        <a:lstStyle/>
        <a:p>
          <a:endParaRPr lang="en-GB"/>
        </a:p>
      </dgm:t>
    </dgm:pt>
    <dgm:pt modelId="{4C87B41A-4A64-48D6-B7FB-CFB2E0E18EEE}" type="pres">
      <dgm:prSet presAssocID="{5752BDC6-1A50-426F-89D0-2653D75AFD94}" presName="childComposite" presStyleCnt="0">
        <dgm:presLayoutVars>
          <dgm:chMax val="0"/>
          <dgm:chPref val="0"/>
        </dgm:presLayoutVars>
      </dgm:prSet>
      <dgm:spPr/>
    </dgm:pt>
    <dgm:pt modelId="{D1C2F8E8-26D5-4474-8179-918F5C899DFF}" type="pres">
      <dgm:prSet presAssocID="{5752BDC6-1A50-426F-89D0-2653D75AFD94}" presName="ChildAccent" presStyleLbl="solidFgAcc1" presStyleIdx="12" presStyleCnt="20"/>
      <dgm:spPr>
        <a:xfrm>
          <a:off x="3292916" y="1205459"/>
          <a:ext cx="115119" cy="115119"/>
        </a:xfrm>
        <a:prstGeom prst="rect">
          <a:avLst/>
        </a:prstGeom>
        <a:solidFill>
          <a:sysClr val="window" lastClr="FFFFFF">
            <a:hueOff val="0"/>
            <a:satOff val="0"/>
            <a:lumOff val="0"/>
            <a:alphaOff val="0"/>
          </a:sysClr>
        </a:solidFill>
        <a:ln w="12700" cap="flat" cmpd="sng" algn="ctr">
          <a:solidFill>
            <a:srgbClr val="FFC000">
              <a:hueOff val="0"/>
              <a:satOff val="0"/>
              <a:lumOff val="0"/>
              <a:alphaOff val="0"/>
            </a:srgbClr>
          </a:solidFill>
          <a:prstDash val="solid"/>
          <a:miter lim="800000"/>
        </a:ln>
        <a:effectLst/>
      </dgm:spPr>
    </dgm:pt>
    <dgm:pt modelId="{CA8A3CC6-AB1E-4C7F-808A-64E6276495D4}" type="pres">
      <dgm:prSet presAssocID="{5752BDC6-1A50-426F-89D0-2653D75AFD94}" presName="Child" presStyleLbl="revTx" presStyleIdx="15" presStyleCnt="24">
        <dgm:presLayoutVars>
          <dgm:chMax val="0"/>
          <dgm:chPref val="0"/>
          <dgm:bulletEnabled val="1"/>
        </dgm:presLayoutVars>
      </dgm:prSet>
      <dgm:spPr/>
      <dgm:t>
        <a:bodyPr/>
        <a:lstStyle/>
        <a:p>
          <a:endParaRPr lang="en-GB"/>
        </a:p>
      </dgm:t>
    </dgm:pt>
    <dgm:pt modelId="{989DD185-723C-4190-AC1D-B2ED423AF518}" type="pres">
      <dgm:prSet presAssocID="{E72B67AA-C1B1-4ADD-A891-97652838B029}" presName="childComposite" presStyleCnt="0">
        <dgm:presLayoutVars>
          <dgm:chMax val="0"/>
          <dgm:chPref val="0"/>
        </dgm:presLayoutVars>
      </dgm:prSet>
      <dgm:spPr/>
    </dgm:pt>
    <dgm:pt modelId="{5C424BFD-EAAA-4C3D-8EC3-76F576E17E1B}" type="pres">
      <dgm:prSet presAssocID="{E72B67AA-C1B1-4ADD-A891-97652838B029}" presName="ChildAccent" presStyleLbl="solidFgAcc1" presStyleIdx="13" presStyleCnt="20"/>
      <dgm:spPr>
        <a:xfrm>
          <a:off x="3292916" y="1473802"/>
          <a:ext cx="115119" cy="115119"/>
        </a:xfrm>
        <a:prstGeom prst="rect">
          <a:avLst/>
        </a:prstGeom>
        <a:solidFill>
          <a:sysClr val="window" lastClr="FFFFFF">
            <a:hueOff val="0"/>
            <a:satOff val="0"/>
            <a:lumOff val="0"/>
            <a:alphaOff val="0"/>
          </a:sysClr>
        </a:solidFill>
        <a:ln w="12700" cap="flat" cmpd="sng" algn="ctr">
          <a:solidFill>
            <a:srgbClr val="5B9BD5">
              <a:hueOff val="0"/>
              <a:satOff val="0"/>
              <a:lumOff val="0"/>
              <a:alphaOff val="0"/>
            </a:srgbClr>
          </a:solidFill>
          <a:prstDash val="solid"/>
          <a:miter lim="800000"/>
        </a:ln>
        <a:effectLst/>
      </dgm:spPr>
    </dgm:pt>
    <dgm:pt modelId="{8F9CEADE-E152-4747-9FCB-4C1F1E3D9731}" type="pres">
      <dgm:prSet presAssocID="{E72B67AA-C1B1-4ADD-A891-97652838B029}" presName="Child" presStyleLbl="revTx" presStyleIdx="16" presStyleCnt="24">
        <dgm:presLayoutVars>
          <dgm:chMax val="0"/>
          <dgm:chPref val="0"/>
          <dgm:bulletEnabled val="1"/>
        </dgm:presLayoutVars>
      </dgm:prSet>
      <dgm:spPr/>
      <dgm:t>
        <a:bodyPr/>
        <a:lstStyle/>
        <a:p>
          <a:endParaRPr lang="en-GB"/>
        </a:p>
      </dgm:t>
    </dgm:pt>
    <dgm:pt modelId="{118B04E2-ECAC-4C46-9242-235D59EFDECF}" type="pres">
      <dgm:prSet presAssocID="{E08B9841-5616-477F-B421-F6A684A19157}" presName="childComposite" presStyleCnt="0">
        <dgm:presLayoutVars>
          <dgm:chMax val="0"/>
          <dgm:chPref val="0"/>
        </dgm:presLayoutVars>
      </dgm:prSet>
      <dgm:spPr/>
    </dgm:pt>
    <dgm:pt modelId="{EE50F389-7B9A-4255-835D-D392F8798F7E}" type="pres">
      <dgm:prSet presAssocID="{E08B9841-5616-477F-B421-F6A684A19157}" presName="ChildAccent" presStyleLbl="solidFgAcc1" presStyleIdx="14" presStyleCnt="20"/>
      <dgm:spPr>
        <a:xfrm>
          <a:off x="3292916" y="1742146"/>
          <a:ext cx="115119" cy="115119"/>
        </a:xfrm>
        <a:prstGeom prst="rect">
          <a:avLst/>
        </a:prstGeom>
        <a:solidFill>
          <a:sysClr val="window" lastClr="FFFFFF">
            <a:hueOff val="0"/>
            <a:satOff val="0"/>
            <a:lumOff val="0"/>
            <a:alphaOff val="0"/>
          </a:sysClr>
        </a:solidFill>
        <a:ln w="12700" cap="flat" cmpd="sng" algn="ctr">
          <a:solidFill>
            <a:srgbClr val="70AD47">
              <a:hueOff val="0"/>
              <a:satOff val="0"/>
              <a:lumOff val="0"/>
              <a:alphaOff val="0"/>
            </a:srgbClr>
          </a:solidFill>
          <a:prstDash val="solid"/>
          <a:miter lim="800000"/>
        </a:ln>
        <a:effectLst/>
      </dgm:spPr>
    </dgm:pt>
    <dgm:pt modelId="{C4058905-38A0-4240-BB83-71CD79B1D9D9}" type="pres">
      <dgm:prSet presAssocID="{E08B9841-5616-477F-B421-F6A684A19157}" presName="Child" presStyleLbl="revTx" presStyleIdx="17" presStyleCnt="24">
        <dgm:presLayoutVars>
          <dgm:chMax val="0"/>
          <dgm:chPref val="0"/>
          <dgm:bulletEnabled val="1"/>
        </dgm:presLayoutVars>
      </dgm:prSet>
      <dgm:spPr/>
      <dgm:t>
        <a:bodyPr/>
        <a:lstStyle/>
        <a:p>
          <a:endParaRPr lang="en-GB"/>
        </a:p>
      </dgm:t>
    </dgm:pt>
    <dgm:pt modelId="{06AC8004-84EC-4E0D-8E3C-F3849F3A173B}" type="pres">
      <dgm:prSet presAssocID="{155D871C-A4F7-4D73-98DD-C81C51098D37}" presName="root" presStyleCnt="0">
        <dgm:presLayoutVars>
          <dgm:chMax/>
          <dgm:chPref/>
        </dgm:presLayoutVars>
      </dgm:prSet>
      <dgm:spPr/>
    </dgm:pt>
    <dgm:pt modelId="{7C59D1E6-5418-4BDF-B763-B776804F3EFF}" type="pres">
      <dgm:prSet presAssocID="{155D871C-A4F7-4D73-98DD-C81C51098D37}" presName="rootComposite" presStyleCnt="0">
        <dgm:presLayoutVars/>
      </dgm:prSet>
      <dgm:spPr/>
    </dgm:pt>
    <dgm:pt modelId="{F6DF5B83-AFF5-4565-93F3-6831AA6F3736}" type="pres">
      <dgm:prSet presAssocID="{155D871C-A4F7-4D73-98DD-C81C51098D37}" presName="ParentAccent" presStyleLbl="alignNode1" presStyleIdx="3" presStyleCnt="4"/>
      <dgm:spPr>
        <a:xfrm>
          <a:off x="4938332" y="331188"/>
          <a:ext cx="1567062" cy="184360"/>
        </a:xfrm>
        <a:prstGeom prst="rect">
          <a:avLst/>
        </a:prstGeom>
        <a:solidFill>
          <a:srgbClr val="5B9BD5">
            <a:hueOff val="0"/>
            <a:satOff val="0"/>
            <a:lumOff val="0"/>
            <a:alphaOff val="0"/>
          </a:srgbClr>
        </a:solidFill>
        <a:ln w="12700" cap="flat" cmpd="sng" algn="ctr">
          <a:noFill/>
          <a:prstDash val="solid"/>
          <a:miter lim="800000"/>
        </a:ln>
        <a:effectLst/>
      </dgm:spPr>
    </dgm:pt>
    <dgm:pt modelId="{7110C2F5-158E-4451-8B93-4EEABC44FD26}" type="pres">
      <dgm:prSet presAssocID="{155D871C-A4F7-4D73-98DD-C81C51098D37}" presName="ParentSmallAccent" presStyleLbl="fgAcc1" presStyleIdx="3" presStyleCnt="4"/>
      <dgm:spPr>
        <a:xfrm>
          <a:off x="4938332" y="400426"/>
          <a:ext cx="115122" cy="115122"/>
        </a:xfrm>
        <a:prstGeom prst="rect">
          <a:avLst/>
        </a:prstGeom>
        <a:solidFill>
          <a:sysClr val="window" lastClr="FFFFFF">
            <a:alpha val="90000"/>
            <a:hueOff val="0"/>
            <a:satOff val="0"/>
            <a:lumOff val="0"/>
            <a:alphaOff val="0"/>
          </a:sysClr>
        </a:solidFill>
        <a:ln w="12700" cap="flat" cmpd="sng" algn="ctr">
          <a:solidFill>
            <a:srgbClr val="5B9BD5">
              <a:hueOff val="0"/>
              <a:satOff val="0"/>
              <a:lumOff val="0"/>
              <a:alphaOff val="0"/>
            </a:srgbClr>
          </a:solidFill>
          <a:prstDash val="solid"/>
          <a:miter lim="800000"/>
        </a:ln>
        <a:effectLst/>
      </dgm:spPr>
    </dgm:pt>
    <dgm:pt modelId="{8DD8E0E3-F101-4B4E-81AC-AFFEC08CF403}" type="pres">
      <dgm:prSet presAssocID="{155D871C-A4F7-4D73-98DD-C81C51098D37}" presName="Parent" presStyleLbl="revTx" presStyleIdx="18" presStyleCnt="24">
        <dgm:presLayoutVars>
          <dgm:chMax/>
          <dgm:chPref val="4"/>
          <dgm:bulletEnabled val="1"/>
        </dgm:presLayoutVars>
      </dgm:prSet>
      <dgm:spPr/>
      <dgm:t>
        <a:bodyPr/>
        <a:lstStyle/>
        <a:p>
          <a:endParaRPr lang="en-GB"/>
        </a:p>
      </dgm:t>
    </dgm:pt>
    <dgm:pt modelId="{7F6EAE2C-472F-46E7-A83C-4D3743AE66EF}" type="pres">
      <dgm:prSet presAssocID="{155D871C-A4F7-4D73-98DD-C81C51098D37}" presName="childShape" presStyleCnt="0">
        <dgm:presLayoutVars>
          <dgm:chMax val="0"/>
          <dgm:chPref val="0"/>
        </dgm:presLayoutVars>
      </dgm:prSet>
      <dgm:spPr/>
    </dgm:pt>
    <dgm:pt modelId="{488B5CBC-DEC3-4FDF-86D1-4FB30B9F5984}" type="pres">
      <dgm:prSet presAssocID="{5F220537-B4C8-43EB-B6CC-9DE253539F74}" presName="childComposite" presStyleCnt="0">
        <dgm:presLayoutVars>
          <dgm:chMax val="0"/>
          <dgm:chPref val="0"/>
        </dgm:presLayoutVars>
      </dgm:prSet>
      <dgm:spPr/>
    </dgm:pt>
    <dgm:pt modelId="{55CC54B6-6348-44DF-B402-77788ACE3C0B}" type="pres">
      <dgm:prSet presAssocID="{5F220537-B4C8-43EB-B6CC-9DE253539F74}" presName="ChildAccent" presStyleLbl="solidFgAcc1" presStyleIdx="15" presStyleCnt="20"/>
      <dgm:spPr>
        <a:xfrm>
          <a:off x="4938332" y="668772"/>
          <a:ext cx="115119" cy="115119"/>
        </a:xfrm>
        <a:prstGeom prst="rect">
          <a:avLst/>
        </a:prstGeom>
        <a:solidFill>
          <a:sysClr val="window" lastClr="FFFFFF">
            <a:hueOff val="0"/>
            <a:satOff val="0"/>
            <a:lumOff val="0"/>
            <a:alphaOff val="0"/>
          </a:sysClr>
        </a:solidFill>
        <a:ln w="12700" cap="flat" cmpd="sng" algn="ctr">
          <a:solidFill>
            <a:srgbClr val="ED7D31">
              <a:hueOff val="0"/>
              <a:satOff val="0"/>
              <a:lumOff val="0"/>
              <a:alphaOff val="0"/>
            </a:srgbClr>
          </a:solidFill>
          <a:prstDash val="solid"/>
          <a:miter lim="800000"/>
        </a:ln>
        <a:effectLst/>
      </dgm:spPr>
    </dgm:pt>
    <dgm:pt modelId="{E0CF2773-C9EF-4C9A-A179-0A6D56F9F167}" type="pres">
      <dgm:prSet presAssocID="{5F220537-B4C8-43EB-B6CC-9DE253539F74}" presName="Child" presStyleLbl="revTx" presStyleIdx="19" presStyleCnt="24">
        <dgm:presLayoutVars>
          <dgm:chMax val="0"/>
          <dgm:chPref val="0"/>
          <dgm:bulletEnabled val="1"/>
        </dgm:presLayoutVars>
      </dgm:prSet>
      <dgm:spPr/>
      <dgm:t>
        <a:bodyPr/>
        <a:lstStyle/>
        <a:p>
          <a:endParaRPr lang="en-GB"/>
        </a:p>
      </dgm:t>
    </dgm:pt>
    <dgm:pt modelId="{B78EFB91-32BB-4453-A07F-E2BFB2FEBA55}" type="pres">
      <dgm:prSet presAssocID="{E17F00AC-A30B-4178-B3E0-6E5D66A5E935}" presName="childComposite" presStyleCnt="0">
        <dgm:presLayoutVars>
          <dgm:chMax val="0"/>
          <dgm:chPref val="0"/>
        </dgm:presLayoutVars>
      </dgm:prSet>
      <dgm:spPr/>
    </dgm:pt>
    <dgm:pt modelId="{71ADC35A-9416-4D74-8FC1-30B10E0A0C1D}" type="pres">
      <dgm:prSet presAssocID="{E17F00AC-A30B-4178-B3E0-6E5D66A5E935}" presName="ChildAccent" presStyleLbl="solidFgAcc1" presStyleIdx="16" presStyleCnt="20"/>
      <dgm:spPr>
        <a:xfrm>
          <a:off x="4938332" y="937116"/>
          <a:ext cx="115119" cy="115119"/>
        </a:xfrm>
        <a:prstGeom prst="rect">
          <a:avLst/>
        </a:prstGeom>
        <a:solidFill>
          <a:sysClr val="window" lastClr="FFFFFF">
            <a:hueOff val="0"/>
            <a:satOff val="0"/>
            <a:lumOff val="0"/>
            <a:alphaOff val="0"/>
          </a:sysClr>
        </a:solidFill>
        <a:ln w="12700" cap="flat" cmpd="sng" algn="ctr">
          <a:solidFill>
            <a:srgbClr val="A5A5A5">
              <a:hueOff val="0"/>
              <a:satOff val="0"/>
              <a:lumOff val="0"/>
              <a:alphaOff val="0"/>
            </a:srgbClr>
          </a:solidFill>
          <a:prstDash val="solid"/>
          <a:miter lim="800000"/>
        </a:ln>
        <a:effectLst/>
      </dgm:spPr>
    </dgm:pt>
    <dgm:pt modelId="{2313F6E6-CF76-445B-92A0-9F0F5BB88CCE}" type="pres">
      <dgm:prSet presAssocID="{E17F00AC-A30B-4178-B3E0-6E5D66A5E935}" presName="Child" presStyleLbl="revTx" presStyleIdx="20" presStyleCnt="24">
        <dgm:presLayoutVars>
          <dgm:chMax val="0"/>
          <dgm:chPref val="0"/>
          <dgm:bulletEnabled val="1"/>
        </dgm:presLayoutVars>
      </dgm:prSet>
      <dgm:spPr/>
      <dgm:t>
        <a:bodyPr/>
        <a:lstStyle/>
        <a:p>
          <a:endParaRPr lang="en-GB"/>
        </a:p>
      </dgm:t>
    </dgm:pt>
    <dgm:pt modelId="{024C82F6-E256-4AE8-8369-C5C23DCA67C0}" type="pres">
      <dgm:prSet presAssocID="{BDA80702-6BB4-44A1-84D4-85A3BE0027D5}" presName="childComposite" presStyleCnt="0">
        <dgm:presLayoutVars>
          <dgm:chMax val="0"/>
          <dgm:chPref val="0"/>
        </dgm:presLayoutVars>
      </dgm:prSet>
      <dgm:spPr/>
    </dgm:pt>
    <dgm:pt modelId="{17D73BFB-F702-4A99-A85C-D41091D5EE86}" type="pres">
      <dgm:prSet presAssocID="{BDA80702-6BB4-44A1-84D4-85A3BE0027D5}" presName="ChildAccent" presStyleLbl="solidFgAcc1" presStyleIdx="17" presStyleCnt="20"/>
      <dgm:spPr>
        <a:xfrm>
          <a:off x="4938332" y="1205459"/>
          <a:ext cx="115119" cy="115119"/>
        </a:xfrm>
        <a:prstGeom prst="rect">
          <a:avLst/>
        </a:prstGeom>
        <a:solidFill>
          <a:sysClr val="window" lastClr="FFFFFF">
            <a:hueOff val="0"/>
            <a:satOff val="0"/>
            <a:lumOff val="0"/>
            <a:alphaOff val="0"/>
          </a:sysClr>
        </a:solidFill>
        <a:ln w="12700" cap="flat" cmpd="sng" algn="ctr">
          <a:solidFill>
            <a:srgbClr val="FFC000">
              <a:hueOff val="0"/>
              <a:satOff val="0"/>
              <a:lumOff val="0"/>
              <a:alphaOff val="0"/>
            </a:srgbClr>
          </a:solidFill>
          <a:prstDash val="solid"/>
          <a:miter lim="800000"/>
        </a:ln>
        <a:effectLst/>
      </dgm:spPr>
    </dgm:pt>
    <dgm:pt modelId="{B83A27CB-CD68-4A98-BF3E-5A44538ABEA3}" type="pres">
      <dgm:prSet presAssocID="{BDA80702-6BB4-44A1-84D4-85A3BE0027D5}" presName="Child" presStyleLbl="revTx" presStyleIdx="21" presStyleCnt="24">
        <dgm:presLayoutVars>
          <dgm:chMax val="0"/>
          <dgm:chPref val="0"/>
          <dgm:bulletEnabled val="1"/>
        </dgm:presLayoutVars>
      </dgm:prSet>
      <dgm:spPr/>
      <dgm:t>
        <a:bodyPr/>
        <a:lstStyle/>
        <a:p>
          <a:endParaRPr lang="en-GB"/>
        </a:p>
      </dgm:t>
    </dgm:pt>
    <dgm:pt modelId="{3133CD80-5C34-42DE-800E-1D260E67C49A}" type="pres">
      <dgm:prSet presAssocID="{D1EE2B96-29B0-40DD-9C79-7923E69CB537}" presName="childComposite" presStyleCnt="0">
        <dgm:presLayoutVars>
          <dgm:chMax val="0"/>
          <dgm:chPref val="0"/>
        </dgm:presLayoutVars>
      </dgm:prSet>
      <dgm:spPr/>
    </dgm:pt>
    <dgm:pt modelId="{BF822A7D-FA92-49B0-88B4-EC3FE092E273}" type="pres">
      <dgm:prSet presAssocID="{D1EE2B96-29B0-40DD-9C79-7923E69CB537}" presName="ChildAccent" presStyleLbl="solidFgAcc1" presStyleIdx="18" presStyleCnt="20"/>
      <dgm:spPr>
        <a:xfrm>
          <a:off x="4938332" y="1473802"/>
          <a:ext cx="115119" cy="115119"/>
        </a:xfrm>
        <a:prstGeom prst="rect">
          <a:avLst/>
        </a:prstGeom>
        <a:solidFill>
          <a:sysClr val="window" lastClr="FFFFFF">
            <a:hueOff val="0"/>
            <a:satOff val="0"/>
            <a:lumOff val="0"/>
            <a:alphaOff val="0"/>
          </a:sysClr>
        </a:solidFill>
        <a:ln w="12700" cap="flat" cmpd="sng" algn="ctr">
          <a:solidFill>
            <a:srgbClr val="5B9BD5">
              <a:hueOff val="0"/>
              <a:satOff val="0"/>
              <a:lumOff val="0"/>
              <a:alphaOff val="0"/>
            </a:srgbClr>
          </a:solidFill>
          <a:prstDash val="solid"/>
          <a:miter lim="800000"/>
        </a:ln>
        <a:effectLst/>
      </dgm:spPr>
    </dgm:pt>
    <dgm:pt modelId="{A954ADEF-A953-4ADC-B5A9-A305FFE2D7C5}" type="pres">
      <dgm:prSet presAssocID="{D1EE2B96-29B0-40DD-9C79-7923E69CB537}" presName="Child" presStyleLbl="revTx" presStyleIdx="22" presStyleCnt="24">
        <dgm:presLayoutVars>
          <dgm:chMax val="0"/>
          <dgm:chPref val="0"/>
          <dgm:bulletEnabled val="1"/>
        </dgm:presLayoutVars>
      </dgm:prSet>
      <dgm:spPr/>
      <dgm:t>
        <a:bodyPr/>
        <a:lstStyle/>
        <a:p>
          <a:endParaRPr lang="en-GB"/>
        </a:p>
      </dgm:t>
    </dgm:pt>
    <dgm:pt modelId="{C2AFEC29-74E0-40FB-B328-13EC978389F0}" type="pres">
      <dgm:prSet presAssocID="{7DFCCFF5-A510-427B-A295-275D34E32D82}" presName="childComposite" presStyleCnt="0">
        <dgm:presLayoutVars>
          <dgm:chMax val="0"/>
          <dgm:chPref val="0"/>
        </dgm:presLayoutVars>
      </dgm:prSet>
      <dgm:spPr/>
    </dgm:pt>
    <dgm:pt modelId="{8D856E33-834A-4E6A-A4B3-3632FD56BBDC}" type="pres">
      <dgm:prSet presAssocID="{7DFCCFF5-A510-427B-A295-275D34E32D82}" presName="ChildAccent" presStyleLbl="solidFgAcc1" presStyleIdx="19" presStyleCnt="20"/>
      <dgm:spPr>
        <a:xfrm>
          <a:off x="4938332" y="1742146"/>
          <a:ext cx="115119" cy="115119"/>
        </a:xfrm>
        <a:prstGeom prst="rect">
          <a:avLst/>
        </a:prstGeom>
        <a:solidFill>
          <a:sysClr val="window" lastClr="FFFFFF">
            <a:hueOff val="0"/>
            <a:satOff val="0"/>
            <a:lumOff val="0"/>
            <a:alphaOff val="0"/>
          </a:sysClr>
        </a:solidFill>
        <a:ln w="12700" cap="flat" cmpd="sng" algn="ctr">
          <a:solidFill>
            <a:srgbClr val="70AD47">
              <a:hueOff val="0"/>
              <a:satOff val="0"/>
              <a:lumOff val="0"/>
              <a:alphaOff val="0"/>
            </a:srgbClr>
          </a:solidFill>
          <a:prstDash val="solid"/>
          <a:miter lim="800000"/>
        </a:ln>
        <a:effectLst/>
      </dgm:spPr>
    </dgm:pt>
    <dgm:pt modelId="{4CD4422A-2B9A-48AB-A58C-9F78837A2029}" type="pres">
      <dgm:prSet presAssocID="{7DFCCFF5-A510-427B-A295-275D34E32D82}" presName="Child" presStyleLbl="revTx" presStyleIdx="23" presStyleCnt="24">
        <dgm:presLayoutVars>
          <dgm:chMax val="0"/>
          <dgm:chPref val="0"/>
          <dgm:bulletEnabled val="1"/>
        </dgm:presLayoutVars>
      </dgm:prSet>
      <dgm:spPr/>
      <dgm:t>
        <a:bodyPr/>
        <a:lstStyle/>
        <a:p>
          <a:endParaRPr lang="en-GB"/>
        </a:p>
      </dgm:t>
    </dgm:pt>
  </dgm:ptLst>
  <dgm:cxnLst>
    <dgm:cxn modelId="{0CFBE443-C209-42AA-9865-6832AC913773}" type="presOf" srcId="{71A98D3F-66DE-4A29-86A1-B2A44BC648D0}" destId="{E6A6AF7B-AAF5-47B5-9807-289CD7E66AB1}" srcOrd="0" destOrd="0" presId="urn:microsoft.com/office/officeart/2008/layout/SquareAccentList"/>
    <dgm:cxn modelId="{001D31EA-F3C5-465A-80BC-20AE88B28207}" type="presOf" srcId="{E08B9841-5616-477F-B421-F6A684A19157}" destId="{C4058905-38A0-4240-BB83-71CD79B1D9D9}" srcOrd="0" destOrd="0" presId="urn:microsoft.com/office/officeart/2008/layout/SquareAccentList"/>
    <dgm:cxn modelId="{906A4539-ABCD-466F-889B-B60FF2787AE1}" srcId="{2258EAF1-A158-4ECC-B9B7-3E74C1D36121}" destId="{0AE6F285-64A6-4E04-80D0-C04BC4A7711D}" srcOrd="2" destOrd="0" parTransId="{861CD14D-4DF5-4BC4-AD88-B117C7EA190C}" sibTransId="{54AFD3A6-E2DE-4902-9C3E-ECDEFF9C9B77}"/>
    <dgm:cxn modelId="{F9A28642-62CB-41DA-A538-264E47366ECA}" srcId="{685CD8D7-925C-4195-AC24-2370563316CD}" destId="{7E811C88-D3F7-4ABA-A1AA-BF6C422F5C2A}" srcOrd="1" destOrd="0" parTransId="{8043088E-4E0A-426F-8E8C-1D02E74D5F90}" sibTransId="{55F4D2E7-4ADA-495A-A957-C0AB71308CF4}"/>
    <dgm:cxn modelId="{7793C55E-70A2-420A-A01F-C64E97465A84}" srcId="{155D871C-A4F7-4D73-98DD-C81C51098D37}" destId="{5F220537-B4C8-43EB-B6CC-9DE253539F74}" srcOrd="0" destOrd="0" parTransId="{FA0BF7BA-5994-458C-AA90-9CE0FCBD1305}" sibTransId="{A436E3D9-58C2-4324-97AD-A572CD6F4379}"/>
    <dgm:cxn modelId="{D6D36FE1-4F46-4967-93E4-5CC3E2F49974}" srcId="{1A0C39F8-D2E7-43A5-8754-937C076FF700}" destId="{E08B9841-5616-477F-B421-F6A684A19157}" srcOrd="4" destOrd="0" parTransId="{9ECE84F2-849B-4CFE-B539-CE48348B5F1E}" sibTransId="{EE890840-DA07-4C3D-8D2C-C1BD8A0A6799}"/>
    <dgm:cxn modelId="{CAE02422-BC09-42E2-9BE6-C48C73A6EA9A}" srcId="{1A0C39F8-D2E7-43A5-8754-937C076FF700}" destId="{3783F4F3-5B4F-4AE9-88DE-206BCB5D853B}" srcOrd="1" destOrd="0" parTransId="{7A2EEBB1-D383-4796-BE89-CD7F742BB4E5}" sibTransId="{9618397F-078C-4131-8278-0F2697CE72C4}"/>
    <dgm:cxn modelId="{37D96F5D-5621-44D8-8D23-CF158F351FA6}" type="presOf" srcId="{7DFCCFF5-A510-427B-A295-275D34E32D82}" destId="{4CD4422A-2B9A-48AB-A58C-9F78837A2029}" srcOrd="0" destOrd="0" presId="urn:microsoft.com/office/officeart/2008/layout/SquareAccentList"/>
    <dgm:cxn modelId="{EA8CD7D1-8CCC-4A91-9C62-7B35441022A8}" type="presOf" srcId="{20D7EA94-1346-4017-B25C-5F6BC67E79A7}" destId="{1977538E-9341-4969-94CF-461C786C8B9A}" srcOrd="0" destOrd="0" presId="urn:microsoft.com/office/officeart/2008/layout/SquareAccentList"/>
    <dgm:cxn modelId="{5D07118C-5085-4947-8788-F9268CDCCA4B}" srcId="{155D871C-A4F7-4D73-98DD-C81C51098D37}" destId="{E17F00AC-A30B-4178-B3E0-6E5D66A5E935}" srcOrd="1" destOrd="0" parTransId="{43DF8504-479C-4FC9-BD8F-9056545A4D12}" sibTransId="{4C608369-2A90-4561-B09D-CC355EACD623}"/>
    <dgm:cxn modelId="{7FF91310-C5A5-492A-AD35-A44602BA307E}" type="presOf" srcId="{DFC0B71F-0233-46DB-B0AB-29026E4F9A78}" destId="{035F242A-6E8E-4442-A459-400E284C02CC}" srcOrd="0" destOrd="0" presId="urn:microsoft.com/office/officeart/2008/layout/SquareAccentList"/>
    <dgm:cxn modelId="{F4610F1E-EBCC-41A8-A6C7-B2B75B4C2B53}" type="presOf" srcId="{7E811C88-D3F7-4ABA-A1AA-BF6C422F5C2A}" destId="{4DD694F8-3934-4E9C-84A0-012F19CBB087}" srcOrd="0" destOrd="0" presId="urn:microsoft.com/office/officeart/2008/layout/SquareAccentList"/>
    <dgm:cxn modelId="{9F1F3D2F-0D5E-46EB-BF33-BB2591ECE264}" srcId="{155D871C-A4F7-4D73-98DD-C81C51098D37}" destId="{7DFCCFF5-A510-427B-A295-275D34E32D82}" srcOrd="4" destOrd="0" parTransId="{8CE7595E-A94E-4DC2-89BA-428E9D00B6F7}" sibTransId="{757E4AC5-4F7F-406F-98D6-0FF8D52EF5DA}"/>
    <dgm:cxn modelId="{C4A14A0F-3CB0-4FDE-829E-52388008C926}" srcId="{1A0C39F8-D2E7-43A5-8754-937C076FF700}" destId="{E72B67AA-C1B1-4ADD-A891-97652838B029}" srcOrd="3" destOrd="0" parTransId="{FC1A4927-F335-452B-83D0-536D5F5DEDB5}" sibTransId="{2BAE50FB-BACC-43E6-826E-91F34D7216E4}"/>
    <dgm:cxn modelId="{993874A8-5537-45C1-B74A-755A247B2CB8}" srcId="{685CD8D7-925C-4195-AC24-2370563316CD}" destId="{C8B9426F-DDA3-4B78-8965-52C3CE8C3BA8}" srcOrd="2" destOrd="0" parTransId="{821B96BA-C1C1-4DD4-BF5B-B89C59E15AE5}" sibTransId="{3EE2F7E2-7A71-4DB9-983E-DACCFC22C5B9}"/>
    <dgm:cxn modelId="{ED2CEF8B-7181-461A-94BD-868AA2F24D0B}" type="presOf" srcId="{7BA56E7F-9276-4CFD-BC2C-689A3185F9F0}" destId="{FA3AED4F-7D19-47C8-A870-2F88AA1F0C76}" srcOrd="0" destOrd="0" presId="urn:microsoft.com/office/officeart/2008/layout/SquareAccentList"/>
    <dgm:cxn modelId="{C5F656C1-A7FC-40C3-B900-8960046FC8B5}" type="presOf" srcId="{2258EAF1-A158-4ECC-B9B7-3E74C1D36121}" destId="{0677D817-7938-4357-921E-9CB483D4C745}" srcOrd="0" destOrd="0" presId="urn:microsoft.com/office/officeart/2008/layout/SquareAccentList"/>
    <dgm:cxn modelId="{BDC0978D-47BC-4218-8CA5-BF6E537D2654}" type="presOf" srcId="{1B2A8518-C45A-4FCC-AD05-FF0AFD81C1DD}" destId="{C5A5C400-E00D-47E0-960E-DBDC5C100660}" srcOrd="0" destOrd="0" presId="urn:microsoft.com/office/officeart/2008/layout/SquareAccentList"/>
    <dgm:cxn modelId="{0CA366F2-BAD8-43C4-82A7-BCB567A62504}" type="presOf" srcId="{E72B67AA-C1B1-4ADD-A891-97652838B029}" destId="{8F9CEADE-E152-4747-9FCB-4C1F1E3D9731}" srcOrd="0" destOrd="0" presId="urn:microsoft.com/office/officeart/2008/layout/SquareAccentList"/>
    <dgm:cxn modelId="{521F9110-5753-432B-A2EA-6F1C9E9F0603}" type="presOf" srcId="{C626B7FA-201A-4F8D-B199-65A510658916}" destId="{C6EE381F-DF9D-4E6E-90EA-276760EB9725}" srcOrd="0" destOrd="0" presId="urn:microsoft.com/office/officeart/2008/layout/SquareAccentList"/>
    <dgm:cxn modelId="{89405750-8713-40CC-9546-FC327AF52323}" srcId="{685CD8D7-925C-4195-AC24-2370563316CD}" destId="{36356071-6FFC-4786-9F20-87D7FEAB11E5}" srcOrd="0" destOrd="0" parTransId="{C5FC953E-28DA-4C88-AEC9-5A8E99A024A9}" sibTransId="{C332A0FD-510B-4BE0-923C-D5F286ADF6E6}"/>
    <dgm:cxn modelId="{9B4EE137-4C83-4765-AC64-923E20835955}" type="presOf" srcId="{E17F00AC-A30B-4178-B3E0-6E5D66A5E935}" destId="{2313F6E6-CF76-445B-92A0-9F0F5BB88CCE}" srcOrd="0" destOrd="0" presId="urn:microsoft.com/office/officeart/2008/layout/SquareAccentList"/>
    <dgm:cxn modelId="{CA812B88-31ED-48ED-8C61-642414A0F86E}" type="presOf" srcId="{D1EE2B96-29B0-40DD-9C79-7923E69CB537}" destId="{A954ADEF-A953-4ADC-B5A9-A305FFE2D7C5}" srcOrd="0" destOrd="0" presId="urn:microsoft.com/office/officeart/2008/layout/SquareAccentList"/>
    <dgm:cxn modelId="{EDCBDE7A-EEA7-4CC1-B9F1-E59DD4B56845}" type="presOf" srcId="{5752BDC6-1A50-426F-89D0-2653D75AFD94}" destId="{CA8A3CC6-AB1E-4C7F-808A-64E6276495D4}" srcOrd="0" destOrd="0" presId="urn:microsoft.com/office/officeart/2008/layout/SquareAccentList"/>
    <dgm:cxn modelId="{5ED49110-0BF4-436B-96D7-75F4F7F62ECF}" type="presOf" srcId="{5F220537-B4C8-43EB-B6CC-9DE253539F74}" destId="{E0CF2773-C9EF-4C9A-A179-0A6D56F9F167}" srcOrd="0" destOrd="0" presId="urn:microsoft.com/office/officeart/2008/layout/SquareAccentList"/>
    <dgm:cxn modelId="{3E5E8AA1-F7A4-48C2-9D67-B07154149E6F}" type="presOf" srcId="{155D871C-A4F7-4D73-98DD-C81C51098D37}" destId="{8DD8E0E3-F101-4B4E-81AC-AFFEC08CF403}" srcOrd="0" destOrd="0" presId="urn:microsoft.com/office/officeart/2008/layout/SquareAccentList"/>
    <dgm:cxn modelId="{A86B020F-4ADE-4108-9223-C9FF06702151}" type="presOf" srcId="{EB7B0CC3-7789-46EE-8D5D-0508BFB05DF3}" destId="{6AD7A256-446E-4333-8137-D9C4DEA5A58B}" srcOrd="0" destOrd="0" presId="urn:microsoft.com/office/officeart/2008/layout/SquareAccentList"/>
    <dgm:cxn modelId="{7B85FFDB-C104-41E1-8093-F8CEEB24DD68}" srcId="{685CD8D7-925C-4195-AC24-2370563316CD}" destId="{DFC0B71F-0233-46DB-B0AB-29026E4F9A78}" srcOrd="4" destOrd="0" parTransId="{F7A538BB-64F5-489E-A31D-745EF80E07F5}" sibTransId="{91296AB0-3E99-4912-B97B-5B890D3AEA13}"/>
    <dgm:cxn modelId="{349FF903-BC78-4D29-8372-991256DA9CB2}" srcId="{1A0C39F8-D2E7-43A5-8754-937C076FF700}" destId="{EB7B0CC3-7789-46EE-8D5D-0508BFB05DF3}" srcOrd="0" destOrd="0" parTransId="{1A0E8668-42EF-4B63-9C2D-C7323E431276}" sibTransId="{C69A52C3-C7EB-40AB-A005-FCB1311E46B1}"/>
    <dgm:cxn modelId="{C12255F6-45E5-4CFA-A850-E1B7921A8F0E}" type="presOf" srcId="{36356071-6FFC-4786-9F20-87D7FEAB11E5}" destId="{932BCDBF-AA8F-4F8B-867E-3E169E06636A}" srcOrd="0" destOrd="0" presId="urn:microsoft.com/office/officeart/2008/layout/SquareAccentList"/>
    <dgm:cxn modelId="{E7703F09-8625-4D09-9CF7-304AF2384F22}" type="presOf" srcId="{685CD8D7-925C-4195-AC24-2370563316CD}" destId="{981AA7CC-7ECD-4D1A-91CC-269B584BD190}" srcOrd="0" destOrd="0" presId="urn:microsoft.com/office/officeart/2008/layout/SquareAccentList"/>
    <dgm:cxn modelId="{0580F55A-7363-46CE-91E9-3839403FFE3A}" srcId="{1B2A8518-C45A-4FCC-AD05-FF0AFD81C1DD}" destId="{155D871C-A4F7-4D73-98DD-C81C51098D37}" srcOrd="3" destOrd="0" parTransId="{D7EBA159-B0B1-4810-A595-92D509FD5069}" sibTransId="{C6E6B83E-D9B7-490E-A4AE-D7681064C916}"/>
    <dgm:cxn modelId="{590409EA-9AAD-4223-A77E-E579DE251652}" type="presOf" srcId="{7FE19E3B-1D76-4C8D-9AC5-E36EADAF624A}" destId="{E5529D63-CC96-4A88-A2B2-029ACA536BA5}" srcOrd="0" destOrd="0" presId="urn:microsoft.com/office/officeart/2008/layout/SquareAccentList"/>
    <dgm:cxn modelId="{BE49FAF3-F325-44BC-92BD-F11B9087C57B}" srcId="{2258EAF1-A158-4ECC-B9B7-3E74C1D36121}" destId="{7FE19E3B-1D76-4C8D-9AC5-E36EADAF624A}" srcOrd="0" destOrd="0" parTransId="{11A5EAE0-1F9A-472C-B80D-46D709C2A2E1}" sibTransId="{CFC2869E-2A97-4D11-A282-34582B897FCC}"/>
    <dgm:cxn modelId="{2616BDA5-CBD5-40C5-BABD-2EE74880B6CF}" srcId="{155D871C-A4F7-4D73-98DD-C81C51098D37}" destId="{D1EE2B96-29B0-40DD-9C79-7923E69CB537}" srcOrd="3" destOrd="0" parTransId="{1DD3339C-EC97-4B60-B5C5-F9AE6F2AFC2B}" sibTransId="{5AAF82A2-68F3-43FF-A341-D35343839741}"/>
    <dgm:cxn modelId="{3AE6EBF3-D74A-435A-9575-AD5EE0DB646F}" type="presOf" srcId="{0AE6F285-64A6-4E04-80D0-C04BC4A7711D}" destId="{9DDCDDB4-D757-42E3-B7F3-DA87BEBDB8BE}" srcOrd="0" destOrd="0" presId="urn:microsoft.com/office/officeart/2008/layout/SquareAccentList"/>
    <dgm:cxn modelId="{39B25F07-BB00-42CE-8CD6-DA3684C5D47B}" srcId="{1B2A8518-C45A-4FCC-AD05-FF0AFD81C1DD}" destId="{2258EAF1-A158-4ECC-B9B7-3E74C1D36121}" srcOrd="1" destOrd="0" parTransId="{1E31D95A-F566-4A5E-83E2-346AE3713D05}" sibTransId="{F9E79A56-1E14-4A3A-B5D9-0E8696B8E220}"/>
    <dgm:cxn modelId="{C8AE3380-CDFE-49C0-8FBD-B5B5A884BC60}" srcId="{1B2A8518-C45A-4FCC-AD05-FF0AFD81C1DD}" destId="{685CD8D7-925C-4195-AC24-2370563316CD}" srcOrd="0" destOrd="0" parTransId="{AF5757DE-3E1C-4403-BB88-7E1834E88581}" sibTransId="{A5DA7312-772D-44E5-B41C-7B4B67D9D424}"/>
    <dgm:cxn modelId="{E9A0BC86-EAD9-47C1-BA89-07A8075991C2}" srcId="{155D871C-A4F7-4D73-98DD-C81C51098D37}" destId="{BDA80702-6BB4-44A1-84D4-85A3BE0027D5}" srcOrd="2" destOrd="0" parTransId="{39558ECB-FC56-4762-B695-891B13F5A3E6}" sibTransId="{4490ACF7-BB8A-4A0C-B3E9-2BA04717E079}"/>
    <dgm:cxn modelId="{19FE7F37-0E49-4DB7-8D34-A8C6C07AC03C}" srcId="{1B2A8518-C45A-4FCC-AD05-FF0AFD81C1DD}" destId="{1A0C39F8-D2E7-43A5-8754-937C076FF700}" srcOrd="2" destOrd="0" parTransId="{D812CE71-CCA4-41ED-8523-1D69A4EDC67C}" sibTransId="{732506D8-35AA-4165-B13A-C4B63AE01585}"/>
    <dgm:cxn modelId="{C1F2FE5E-7303-486D-AA86-3666F323484E}" type="presOf" srcId="{C8B9426F-DDA3-4B78-8965-52C3CE8C3BA8}" destId="{A2EACC7B-B204-4FD1-B975-5D4A13BEF185}" srcOrd="0" destOrd="0" presId="urn:microsoft.com/office/officeart/2008/layout/SquareAccentList"/>
    <dgm:cxn modelId="{DC5E637C-F899-4F12-B100-4C70A52E654C}" srcId="{1A0C39F8-D2E7-43A5-8754-937C076FF700}" destId="{5752BDC6-1A50-426F-89D0-2653D75AFD94}" srcOrd="2" destOrd="0" parTransId="{38A1C41C-36ED-47B6-8F6B-033B1BE315C3}" sibTransId="{B3BF21CB-6EFE-4DA2-951E-CFE4BF4398B0}"/>
    <dgm:cxn modelId="{4271B995-EED2-4D41-91EE-1AFFCCBF1043}" srcId="{2258EAF1-A158-4ECC-B9B7-3E74C1D36121}" destId="{7BA56E7F-9276-4CFD-BC2C-689A3185F9F0}" srcOrd="1" destOrd="0" parTransId="{BEC3532C-2A96-4793-9250-733DD5121217}" sibTransId="{3D03F2EA-A0FE-4204-B6CA-1E41D265A0B1}"/>
    <dgm:cxn modelId="{4C04CF22-6BF7-43D1-86D3-F1E1517C0A48}" type="presOf" srcId="{BDA80702-6BB4-44A1-84D4-85A3BE0027D5}" destId="{B83A27CB-CD68-4A98-BF3E-5A44538ABEA3}" srcOrd="0" destOrd="0" presId="urn:microsoft.com/office/officeart/2008/layout/SquareAccentList"/>
    <dgm:cxn modelId="{D681F8AC-AD63-4B38-AF57-CF4C1AD98CBB}" srcId="{2258EAF1-A158-4ECC-B9B7-3E74C1D36121}" destId="{20D7EA94-1346-4017-B25C-5F6BC67E79A7}" srcOrd="4" destOrd="0" parTransId="{7B3CA000-E1D3-41BD-B3D4-8DBEF65A513E}" sibTransId="{E02A798B-9753-4FDD-84A6-815EFD79735F}"/>
    <dgm:cxn modelId="{F3CFB247-0A1B-4206-9F14-677F3770FFFB}" srcId="{685CD8D7-925C-4195-AC24-2370563316CD}" destId="{C626B7FA-201A-4F8D-B199-65A510658916}" srcOrd="3" destOrd="0" parTransId="{30FAAEB2-A93A-451A-A5FB-2AC5D046BFAB}" sibTransId="{69741986-5178-4911-AA42-526F81E86D88}"/>
    <dgm:cxn modelId="{2F6FD3D1-E6B7-400F-A0C8-BD4075015F50}" type="presOf" srcId="{3783F4F3-5B4F-4AE9-88DE-206BCB5D853B}" destId="{A5B01EC5-C672-49C7-8C47-19C6E5A0D914}" srcOrd="0" destOrd="0" presId="urn:microsoft.com/office/officeart/2008/layout/SquareAccentList"/>
    <dgm:cxn modelId="{63D794E3-5D3B-4C36-AC68-C8049C942193}" srcId="{2258EAF1-A158-4ECC-B9B7-3E74C1D36121}" destId="{71A98D3F-66DE-4A29-86A1-B2A44BC648D0}" srcOrd="3" destOrd="0" parTransId="{3E2A2F2C-9E43-4FD4-9970-DF978FD354EC}" sibTransId="{24322D8E-7D08-4312-A0EF-06D7AAC40082}"/>
    <dgm:cxn modelId="{DDB4AE27-A170-43A6-AC5B-6198019D78AF}" type="presOf" srcId="{1A0C39F8-D2E7-43A5-8754-937C076FF700}" destId="{0E676114-6B23-487E-A403-FDDDBA86C2CC}" srcOrd="0" destOrd="0" presId="urn:microsoft.com/office/officeart/2008/layout/SquareAccentList"/>
    <dgm:cxn modelId="{49C52B02-B96B-4262-8DE3-EBB313321FA6}" type="presParOf" srcId="{C5A5C400-E00D-47E0-960E-DBDC5C100660}" destId="{63A87658-4161-467E-AEB2-647D2819757B}" srcOrd="0" destOrd="0" presId="urn:microsoft.com/office/officeart/2008/layout/SquareAccentList"/>
    <dgm:cxn modelId="{C8BA639B-390D-4D43-B0B2-0BC769BAAE02}" type="presParOf" srcId="{63A87658-4161-467E-AEB2-647D2819757B}" destId="{78D47382-D714-46D9-89E0-98D5532A8EDE}" srcOrd="0" destOrd="0" presId="urn:microsoft.com/office/officeart/2008/layout/SquareAccentList"/>
    <dgm:cxn modelId="{C86BB2DF-2E63-4F01-89D6-0066FA2E2CE4}" type="presParOf" srcId="{78D47382-D714-46D9-89E0-98D5532A8EDE}" destId="{2BD0617D-5CFB-43E5-9055-EC316A35D3A0}" srcOrd="0" destOrd="0" presId="urn:microsoft.com/office/officeart/2008/layout/SquareAccentList"/>
    <dgm:cxn modelId="{3666CC2F-F14E-4053-82B3-114DE4B52693}" type="presParOf" srcId="{78D47382-D714-46D9-89E0-98D5532A8EDE}" destId="{4B500B80-00BE-4786-9B19-647CE25FC4B5}" srcOrd="1" destOrd="0" presId="urn:microsoft.com/office/officeart/2008/layout/SquareAccentList"/>
    <dgm:cxn modelId="{B5296F22-2AC3-41E6-BE6C-00E4E0D0CE38}" type="presParOf" srcId="{78D47382-D714-46D9-89E0-98D5532A8EDE}" destId="{981AA7CC-7ECD-4D1A-91CC-269B584BD190}" srcOrd="2" destOrd="0" presId="urn:microsoft.com/office/officeart/2008/layout/SquareAccentList"/>
    <dgm:cxn modelId="{6F41445B-01B5-4942-A3B5-8A03CE394B69}" type="presParOf" srcId="{63A87658-4161-467E-AEB2-647D2819757B}" destId="{AA8010FA-EEF6-4D4A-9374-F29A432EBF6D}" srcOrd="1" destOrd="0" presId="urn:microsoft.com/office/officeart/2008/layout/SquareAccentList"/>
    <dgm:cxn modelId="{5283EB52-51C6-41C4-B0F4-3A3F1666E97B}" type="presParOf" srcId="{AA8010FA-EEF6-4D4A-9374-F29A432EBF6D}" destId="{C916CF91-26B9-4DFC-90CD-D8E513E8B22C}" srcOrd="0" destOrd="0" presId="urn:microsoft.com/office/officeart/2008/layout/SquareAccentList"/>
    <dgm:cxn modelId="{C93F36A2-3CE8-4AF7-8E0D-D0F4469DBE24}" type="presParOf" srcId="{C916CF91-26B9-4DFC-90CD-D8E513E8B22C}" destId="{91A2957E-8EE5-43F2-93CF-B7801ECB7D13}" srcOrd="0" destOrd="0" presId="urn:microsoft.com/office/officeart/2008/layout/SquareAccentList"/>
    <dgm:cxn modelId="{1DD66563-6885-4CFE-B03E-BAACA08320FD}" type="presParOf" srcId="{C916CF91-26B9-4DFC-90CD-D8E513E8B22C}" destId="{932BCDBF-AA8F-4F8B-867E-3E169E06636A}" srcOrd="1" destOrd="0" presId="urn:microsoft.com/office/officeart/2008/layout/SquareAccentList"/>
    <dgm:cxn modelId="{8EC7B7D8-F18D-4E7F-A17D-07171C84B186}" type="presParOf" srcId="{AA8010FA-EEF6-4D4A-9374-F29A432EBF6D}" destId="{A80F2032-7C88-43AA-9C26-6422A49AEFC7}" srcOrd="1" destOrd="0" presId="urn:microsoft.com/office/officeart/2008/layout/SquareAccentList"/>
    <dgm:cxn modelId="{66060909-2AC2-4470-B2D1-B15442D7078F}" type="presParOf" srcId="{A80F2032-7C88-43AA-9C26-6422A49AEFC7}" destId="{58F472D0-EC5C-426A-A92F-1725F4311D76}" srcOrd="0" destOrd="0" presId="urn:microsoft.com/office/officeart/2008/layout/SquareAccentList"/>
    <dgm:cxn modelId="{9E2027B0-6188-444F-B690-786D7FDEAEAD}" type="presParOf" srcId="{A80F2032-7C88-43AA-9C26-6422A49AEFC7}" destId="{4DD694F8-3934-4E9C-84A0-012F19CBB087}" srcOrd="1" destOrd="0" presId="urn:microsoft.com/office/officeart/2008/layout/SquareAccentList"/>
    <dgm:cxn modelId="{293A6B90-4ABA-46DD-9D75-F82A5AEB81C0}" type="presParOf" srcId="{AA8010FA-EEF6-4D4A-9374-F29A432EBF6D}" destId="{4C3C6B37-5894-4610-AC1C-5BF0EFA69A2F}" srcOrd="2" destOrd="0" presId="urn:microsoft.com/office/officeart/2008/layout/SquareAccentList"/>
    <dgm:cxn modelId="{4B2B5125-919F-489E-AF8D-64E93558AAD2}" type="presParOf" srcId="{4C3C6B37-5894-4610-AC1C-5BF0EFA69A2F}" destId="{D8DD3657-0445-4FEB-83FF-91CF9BFC21B9}" srcOrd="0" destOrd="0" presId="urn:microsoft.com/office/officeart/2008/layout/SquareAccentList"/>
    <dgm:cxn modelId="{ECCF9EA6-79B4-451C-827E-5F62C560BE2B}" type="presParOf" srcId="{4C3C6B37-5894-4610-AC1C-5BF0EFA69A2F}" destId="{A2EACC7B-B204-4FD1-B975-5D4A13BEF185}" srcOrd="1" destOrd="0" presId="urn:microsoft.com/office/officeart/2008/layout/SquareAccentList"/>
    <dgm:cxn modelId="{D3BC4EE5-FCF1-4CE8-A980-DE1DCD559CC2}" type="presParOf" srcId="{AA8010FA-EEF6-4D4A-9374-F29A432EBF6D}" destId="{8D0D74BD-B5B9-4580-939E-6A561D68C574}" srcOrd="3" destOrd="0" presId="urn:microsoft.com/office/officeart/2008/layout/SquareAccentList"/>
    <dgm:cxn modelId="{3014FF04-614C-44B5-B9C8-D74BC9DD061D}" type="presParOf" srcId="{8D0D74BD-B5B9-4580-939E-6A561D68C574}" destId="{FF464B75-7282-47C1-92CC-C7D057E9E7EE}" srcOrd="0" destOrd="0" presId="urn:microsoft.com/office/officeart/2008/layout/SquareAccentList"/>
    <dgm:cxn modelId="{A59D4FE8-E8C4-466B-B785-6C5DFDFACE23}" type="presParOf" srcId="{8D0D74BD-B5B9-4580-939E-6A561D68C574}" destId="{C6EE381F-DF9D-4E6E-90EA-276760EB9725}" srcOrd="1" destOrd="0" presId="urn:microsoft.com/office/officeart/2008/layout/SquareAccentList"/>
    <dgm:cxn modelId="{32F086FA-3628-4B18-ABBC-187027E91170}" type="presParOf" srcId="{AA8010FA-EEF6-4D4A-9374-F29A432EBF6D}" destId="{9667AC41-297E-44C7-8CEE-F00619BC086B}" srcOrd="4" destOrd="0" presId="urn:microsoft.com/office/officeart/2008/layout/SquareAccentList"/>
    <dgm:cxn modelId="{EF28560A-D319-4907-8FBE-B2199DCDB021}" type="presParOf" srcId="{9667AC41-297E-44C7-8CEE-F00619BC086B}" destId="{99AF0B02-346E-4E9E-A1AB-638362D2559F}" srcOrd="0" destOrd="0" presId="urn:microsoft.com/office/officeart/2008/layout/SquareAccentList"/>
    <dgm:cxn modelId="{0F30CE69-A15B-4695-A4CE-579339889ABA}" type="presParOf" srcId="{9667AC41-297E-44C7-8CEE-F00619BC086B}" destId="{035F242A-6E8E-4442-A459-400E284C02CC}" srcOrd="1" destOrd="0" presId="urn:microsoft.com/office/officeart/2008/layout/SquareAccentList"/>
    <dgm:cxn modelId="{78EDF34B-DB9D-4A34-BA41-822A71F0CE11}" type="presParOf" srcId="{C5A5C400-E00D-47E0-960E-DBDC5C100660}" destId="{95F93725-4016-4DD0-97EA-C508B5486528}" srcOrd="1" destOrd="0" presId="urn:microsoft.com/office/officeart/2008/layout/SquareAccentList"/>
    <dgm:cxn modelId="{8C82573A-0549-44FA-8545-DE7ABC5DD00C}" type="presParOf" srcId="{95F93725-4016-4DD0-97EA-C508B5486528}" destId="{897098F1-05F3-4445-B9B6-B9585098EE3E}" srcOrd="0" destOrd="0" presId="urn:microsoft.com/office/officeart/2008/layout/SquareAccentList"/>
    <dgm:cxn modelId="{600B5996-166C-4CAE-BA7C-67B922220BAF}" type="presParOf" srcId="{897098F1-05F3-4445-B9B6-B9585098EE3E}" destId="{2529CB57-8CF6-4AE6-8E5C-1065C255E6AA}" srcOrd="0" destOrd="0" presId="urn:microsoft.com/office/officeart/2008/layout/SquareAccentList"/>
    <dgm:cxn modelId="{A635A043-7665-4D5F-A4C0-63DC1EE1EB41}" type="presParOf" srcId="{897098F1-05F3-4445-B9B6-B9585098EE3E}" destId="{076EDFDB-624E-49DD-B996-116638746457}" srcOrd="1" destOrd="0" presId="urn:microsoft.com/office/officeart/2008/layout/SquareAccentList"/>
    <dgm:cxn modelId="{A5731C47-BC0D-4751-A65A-2D482067D04E}" type="presParOf" srcId="{897098F1-05F3-4445-B9B6-B9585098EE3E}" destId="{0677D817-7938-4357-921E-9CB483D4C745}" srcOrd="2" destOrd="0" presId="urn:microsoft.com/office/officeart/2008/layout/SquareAccentList"/>
    <dgm:cxn modelId="{417F8FE9-469B-4C77-A467-357AAC78A546}" type="presParOf" srcId="{95F93725-4016-4DD0-97EA-C508B5486528}" destId="{7CAE7F88-ACEA-4947-9399-91CA7599B9F0}" srcOrd="1" destOrd="0" presId="urn:microsoft.com/office/officeart/2008/layout/SquareAccentList"/>
    <dgm:cxn modelId="{9E95C80C-8214-4622-821B-67CE0314F430}" type="presParOf" srcId="{7CAE7F88-ACEA-4947-9399-91CA7599B9F0}" destId="{8F21320E-AEFA-4995-8665-E8288277C642}" srcOrd="0" destOrd="0" presId="urn:microsoft.com/office/officeart/2008/layout/SquareAccentList"/>
    <dgm:cxn modelId="{8C87E757-71BB-42B4-9DE0-B4ECA14AC141}" type="presParOf" srcId="{8F21320E-AEFA-4995-8665-E8288277C642}" destId="{71622090-C491-4E34-A400-70AA808F60C1}" srcOrd="0" destOrd="0" presId="urn:microsoft.com/office/officeart/2008/layout/SquareAccentList"/>
    <dgm:cxn modelId="{8C6F7E1F-CBE1-451C-B483-B7FB4EEF22AF}" type="presParOf" srcId="{8F21320E-AEFA-4995-8665-E8288277C642}" destId="{E5529D63-CC96-4A88-A2B2-029ACA536BA5}" srcOrd="1" destOrd="0" presId="urn:microsoft.com/office/officeart/2008/layout/SquareAccentList"/>
    <dgm:cxn modelId="{A1C1C4DC-32F1-4487-BDC9-296BF930DA56}" type="presParOf" srcId="{7CAE7F88-ACEA-4947-9399-91CA7599B9F0}" destId="{E03A2499-E117-4436-942B-2DDB686D41D4}" srcOrd="1" destOrd="0" presId="urn:microsoft.com/office/officeart/2008/layout/SquareAccentList"/>
    <dgm:cxn modelId="{F36C88B0-729C-4D8E-BCAA-8532FD0374C8}" type="presParOf" srcId="{E03A2499-E117-4436-942B-2DDB686D41D4}" destId="{45486FC4-71F8-4A59-B6D9-FEF4DB635842}" srcOrd="0" destOrd="0" presId="urn:microsoft.com/office/officeart/2008/layout/SquareAccentList"/>
    <dgm:cxn modelId="{615720F9-8678-4F1F-8801-6EAC0841AA51}" type="presParOf" srcId="{E03A2499-E117-4436-942B-2DDB686D41D4}" destId="{FA3AED4F-7D19-47C8-A870-2F88AA1F0C76}" srcOrd="1" destOrd="0" presId="urn:microsoft.com/office/officeart/2008/layout/SquareAccentList"/>
    <dgm:cxn modelId="{F35DA5B4-0D8B-469F-9C46-9DFCB99EE224}" type="presParOf" srcId="{7CAE7F88-ACEA-4947-9399-91CA7599B9F0}" destId="{D8E2FD65-DDFA-4115-9C2A-18FD89D223C4}" srcOrd="2" destOrd="0" presId="urn:microsoft.com/office/officeart/2008/layout/SquareAccentList"/>
    <dgm:cxn modelId="{5CAF02B8-9A47-4A5D-96FC-751FEB10DE76}" type="presParOf" srcId="{D8E2FD65-DDFA-4115-9C2A-18FD89D223C4}" destId="{4E66DB93-23DF-44BA-8B95-AF5245072076}" srcOrd="0" destOrd="0" presId="urn:microsoft.com/office/officeart/2008/layout/SquareAccentList"/>
    <dgm:cxn modelId="{9E3DD662-09B8-465A-BC4A-02E39F2D7E9A}" type="presParOf" srcId="{D8E2FD65-DDFA-4115-9C2A-18FD89D223C4}" destId="{9DDCDDB4-D757-42E3-B7F3-DA87BEBDB8BE}" srcOrd="1" destOrd="0" presId="urn:microsoft.com/office/officeart/2008/layout/SquareAccentList"/>
    <dgm:cxn modelId="{AE04CC0D-CAF9-4C78-8BCB-30D0B51807FA}" type="presParOf" srcId="{7CAE7F88-ACEA-4947-9399-91CA7599B9F0}" destId="{D25E22A3-1772-4489-AEBF-B36470841714}" srcOrd="3" destOrd="0" presId="urn:microsoft.com/office/officeart/2008/layout/SquareAccentList"/>
    <dgm:cxn modelId="{88F2F47F-C470-4CE3-A988-51172CD13197}" type="presParOf" srcId="{D25E22A3-1772-4489-AEBF-B36470841714}" destId="{0C51504B-31FF-4281-8CBF-29920C81364E}" srcOrd="0" destOrd="0" presId="urn:microsoft.com/office/officeart/2008/layout/SquareAccentList"/>
    <dgm:cxn modelId="{2DB0D57B-8036-4D91-B433-23F8B08E7872}" type="presParOf" srcId="{D25E22A3-1772-4489-AEBF-B36470841714}" destId="{E6A6AF7B-AAF5-47B5-9807-289CD7E66AB1}" srcOrd="1" destOrd="0" presId="urn:microsoft.com/office/officeart/2008/layout/SquareAccentList"/>
    <dgm:cxn modelId="{DA4634B9-F722-431E-B141-5228EEA70407}" type="presParOf" srcId="{7CAE7F88-ACEA-4947-9399-91CA7599B9F0}" destId="{BCF3ED39-23E6-4D7C-AD27-834AEC950AAD}" srcOrd="4" destOrd="0" presId="urn:microsoft.com/office/officeart/2008/layout/SquareAccentList"/>
    <dgm:cxn modelId="{61902E96-9026-400B-9A15-5AA91AA59F4F}" type="presParOf" srcId="{BCF3ED39-23E6-4D7C-AD27-834AEC950AAD}" destId="{BBA1E8E6-D5E2-483D-8093-E990C06364F4}" srcOrd="0" destOrd="0" presId="urn:microsoft.com/office/officeart/2008/layout/SquareAccentList"/>
    <dgm:cxn modelId="{08E0E691-BE88-4532-A889-545E61BAD5D3}" type="presParOf" srcId="{BCF3ED39-23E6-4D7C-AD27-834AEC950AAD}" destId="{1977538E-9341-4969-94CF-461C786C8B9A}" srcOrd="1" destOrd="0" presId="urn:microsoft.com/office/officeart/2008/layout/SquareAccentList"/>
    <dgm:cxn modelId="{B5DFD7AF-559F-45C7-8A38-14DC1D83BDAE}" type="presParOf" srcId="{C5A5C400-E00D-47E0-960E-DBDC5C100660}" destId="{D3E41C37-7986-4384-AEA9-47D33F520478}" srcOrd="2" destOrd="0" presId="urn:microsoft.com/office/officeart/2008/layout/SquareAccentList"/>
    <dgm:cxn modelId="{ABE48C65-8D71-4766-A62F-2642FF8A315B}" type="presParOf" srcId="{D3E41C37-7986-4384-AEA9-47D33F520478}" destId="{A0E6770E-EC20-433C-8F24-39A2D9B217EC}" srcOrd="0" destOrd="0" presId="urn:microsoft.com/office/officeart/2008/layout/SquareAccentList"/>
    <dgm:cxn modelId="{9AE4D8B1-39B0-4B3C-A71A-B85256D362D1}" type="presParOf" srcId="{A0E6770E-EC20-433C-8F24-39A2D9B217EC}" destId="{B81A3773-8024-4A1A-92D8-69EFC37FB323}" srcOrd="0" destOrd="0" presId="urn:microsoft.com/office/officeart/2008/layout/SquareAccentList"/>
    <dgm:cxn modelId="{DCBB83C7-CA66-47F6-8B1A-D14E592B4CE5}" type="presParOf" srcId="{A0E6770E-EC20-433C-8F24-39A2D9B217EC}" destId="{60AFB8A1-904D-442A-95F3-D2D251F3FEC9}" srcOrd="1" destOrd="0" presId="urn:microsoft.com/office/officeart/2008/layout/SquareAccentList"/>
    <dgm:cxn modelId="{E9F74346-0576-4C0D-852E-8B7B03319CEC}" type="presParOf" srcId="{A0E6770E-EC20-433C-8F24-39A2D9B217EC}" destId="{0E676114-6B23-487E-A403-FDDDBA86C2CC}" srcOrd="2" destOrd="0" presId="urn:microsoft.com/office/officeart/2008/layout/SquareAccentList"/>
    <dgm:cxn modelId="{F5E78CB8-6882-4B68-AC1C-CAE0D6850D96}" type="presParOf" srcId="{D3E41C37-7986-4384-AEA9-47D33F520478}" destId="{76D8CFBA-A397-49E7-8448-A2850DA31751}" srcOrd="1" destOrd="0" presId="urn:microsoft.com/office/officeart/2008/layout/SquareAccentList"/>
    <dgm:cxn modelId="{34CEA9AF-7EA8-4357-88E4-BAB7D64DED63}" type="presParOf" srcId="{76D8CFBA-A397-49E7-8448-A2850DA31751}" destId="{693C1B6C-60A2-4224-A14F-9B418C289811}" srcOrd="0" destOrd="0" presId="urn:microsoft.com/office/officeart/2008/layout/SquareAccentList"/>
    <dgm:cxn modelId="{5C59840A-A2AD-4850-896A-73992E3CFD33}" type="presParOf" srcId="{693C1B6C-60A2-4224-A14F-9B418C289811}" destId="{12129C4F-F2B2-4EB7-A210-F6A545606288}" srcOrd="0" destOrd="0" presId="urn:microsoft.com/office/officeart/2008/layout/SquareAccentList"/>
    <dgm:cxn modelId="{007C9B08-C222-4B83-B5A6-9AD3C72B1693}" type="presParOf" srcId="{693C1B6C-60A2-4224-A14F-9B418C289811}" destId="{6AD7A256-446E-4333-8137-D9C4DEA5A58B}" srcOrd="1" destOrd="0" presId="urn:microsoft.com/office/officeart/2008/layout/SquareAccentList"/>
    <dgm:cxn modelId="{EF4E6D59-5F40-4C06-AC07-D2FDD9FB91D0}" type="presParOf" srcId="{76D8CFBA-A397-49E7-8448-A2850DA31751}" destId="{04C4DCE0-4E27-469C-AF69-E90990353993}" srcOrd="1" destOrd="0" presId="urn:microsoft.com/office/officeart/2008/layout/SquareAccentList"/>
    <dgm:cxn modelId="{9333DC52-1F44-4681-99C4-67683A60190C}" type="presParOf" srcId="{04C4DCE0-4E27-469C-AF69-E90990353993}" destId="{E17A7075-08DB-4887-B635-AC6183C5056A}" srcOrd="0" destOrd="0" presId="urn:microsoft.com/office/officeart/2008/layout/SquareAccentList"/>
    <dgm:cxn modelId="{91C8FB83-AFA1-4A04-B82B-531BC9682049}" type="presParOf" srcId="{04C4DCE0-4E27-469C-AF69-E90990353993}" destId="{A5B01EC5-C672-49C7-8C47-19C6E5A0D914}" srcOrd="1" destOrd="0" presId="urn:microsoft.com/office/officeart/2008/layout/SquareAccentList"/>
    <dgm:cxn modelId="{12F7B71C-734A-43CE-9638-B1D278D34E62}" type="presParOf" srcId="{76D8CFBA-A397-49E7-8448-A2850DA31751}" destId="{4C87B41A-4A64-48D6-B7FB-CFB2E0E18EEE}" srcOrd="2" destOrd="0" presId="urn:microsoft.com/office/officeart/2008/layout/SquareAccentList"/>
    <dgm:cxn modelId="{3B0FAE01-9D8D-4E57-8AD9-159DB0DE40F1}" type="presParOf" srcId="{4C87B41A-4A64-48D6-B7FB-CFB2E0E18EEE}" destId="{D1C2F8E8-26D5-4474-8179-918F5C899DFF}" srcOrd="0" destOrd="0" presId="urn:microsoft.com/office/officeart/2008/layout/SquareAccentList"/>
    <dgm:cxn modelId="{65474B28-495A-43B7-B64D-E54BBAAABEC8}" type="presParOf" srcId="{4C87B41A-4A64-48D6-B7FB-CFB2E0E18EEE}" destId="{CA8A3CC6-AB1E-4C7F-808A-64E6276495D4}" srcOrd="1" destOrd="0" presId="urn:microsoft.com/office/officeart/2008/layout/SquareAccentList"/>
    <dgm:cxn modelId="{78045567-BBC7-4CAC-A379-79D8C623A0CD}" type="presParOf" srcId="{76D8CFBA-A397-49E7-8448-A2850DA31751}" destId="{989DD185-723C-4190-AC1D-B2ED423AF518}" srcOrd="3" destOrd="0" presId="urn:microsoft.com/office/officeart/2008/layout/SquareAccentList"/>
    <dgm:cxn modelId="{FD5CDBFB-41A8-4336-B3B6-75D19454E22B}" type="presParOf" srcId="{989DD185-723C-4190-AC1D-B2ED423AF518}" destId="{5C424BFD-EAAA-4C3D-8EC3-76F576E17E1B}" srcOrd="0" destOrd="0" presId="urn:microsoft.com/office/officeart/2008/layout/SquareAccentList"/>
    <dgm:cxn modelId="{D04CB232-9FEF-4765-BE19-9529DFF3116D}" type="presParOf" srcId="{989DD185-723C-4190-AC1D-B2ED423AF518}" destId="{8F9CEADE-E152-4747-9FCB-4C1F1E3D9731}" srcOrd="1" destOrd="0" presId="urn:microsoft.com/office/officeart/2008/layout/SquareAccentList"/>
    <dgm:cxn modelId="{317D9D24-5A4A-4A87-888E-534BCD9148AE}" type="presParOf" srcId="{76D8CFBA-A397-49E7-8448-A2850DA31751}" destId="{118B04E2-ECAC-4C46-9242-235D59EFDECF}" srcOrd="4" destOrd="0" presId="urn:microsoft.com/office/officeart/2008/layout/SquareAccentList"/>
    <dgm:cxn modelId="{6499076B-C97B-4BB2-B7EB-9989FC5DFB30}" type="presParOf" srcId="{118B04E2-ECAC-4C46-9242-235D59EFDECF}" destId="{EE50F389-7B9A-4255-835D-D392F8798F7E}" srcOrd="0" destOrd="0" presId="urn:microsoft.com/office/officeart/2008/layout/SquareAccentList"/>
    <dgm:cxn modelId="{8362A0AF-33E2-4CCC-8F20-E26A748952B5}" type="presParOf" srcId="{118B04E2-ECAC-4C46-9242-235D59EFDECF}" destId="{C4058905-38A0-4240-BB83-71CD79B1D9D9}" srcOrd="1" destOrd="0" presId="urn:microsoft.com/office/officeart/2008/layout/SquareAccentList"/>
    <dgm:cxn modelId="{607F4086-7F6C-4BF3-9EB2-12E0742B5C85}" type="presParOf" srcId="{C5A5C400-E00D-47E0-960E-DBDC5C100660}" destId="{06AC8004-84EC-4E0D-8E3C-F3849F3A173B}" srcOrd="3" destOrd="0" presId="urn:microsoft.com/office/officeart/2008/layout/SquareAccentList"/>
    <dgm:cxn modelId="{635FC2A4-3614-4862-8BD1-AA7A9DA3A701}" type="presParOf" srcId="{06AC8004-84EC-4E0D-8E3C-F3849F3A173B}" destId="{7C59D1E6-5418-4BDF-B763-B776804F3EFF}" srcOrd="0" destOrd="0" presId="urn:microsoft.com/office/officeart/2008/layout/SquareAccentList"/>
    <dgm:cxn modelId="{3612F5F4-46B6-4A2D-90CE-9BD8E460AE71}" type="presParOf" srcId="{7C59D1E6-5418-4BDF-B763-B776804F3EFF}" destId="{F6DF5B83-AFF5-4565-93F3-6831AA6F3736}" srcOrd="0" destOrd="0" presId="urn:microsoft.com/office/officeart/2008/layout/SquareAccentList"/>
    <dgm:cxn modelId="{5187790C-2E23-4DBA-B3FE-57F8ACC459FD}" type="presParOf" srcId="{7C59D1E6-5418-4BDF-B763-B776804F3EFF}" destId="{7110C2F5-158E-4451-8B93-4EEABC44FD26}" srcOrd="1" destOrd="0" presId="urn:microsoft.com/office/officeart/2008/layout/SquareAccentList"/>
    <dgm:cxn modelId="{1E6BE506-E2C1-4CAD-A176-A6B7D91530BD}" type="presParOf" srcId="{7C59D1E6-5418-4BDF-B763-B776804F3EFF}" destId="{8DD8E0E3-F101-4B4E-81AC-AFFEC08CF403}" srcOrd="2" destOrd="0" presId="urn:microsoft.com/office/officeart/2008/layout/SquareAccentList"/>
    <dgm:cxn modelId="{915B2F97-575D-43DF-ACB8-396DE3C31997}" type="presParOf" srcId="{06AC8004-84EC-4E0D-8E3C-F3849F3A173B}" destId="{7F6EAE2C-472F-46E7-A83C-4D3743AE66EF}" srcOrd="1" destOrd="0" presId="urn:microsoft.com/office/officeart/2008/layout/SquareAccentList"/>
    <dgm:cxn modelId="{F331AC3C-E4D2-419C-9786-FFD608BD3FB3}" type="presParOf" srcId="{7F6EAE2C-472F-46E7-A83C-4D3743AE66EF}" destId="{488B5CBC-DEC3-4FDF-86D1-4FB30B9F5984}" srcOrd="0" destOrd="0" presId="urn:microsoft.com/office/officeart/2008/layout/SquareAccentList"/>
    <dgm:cxn modelId="{780AC632-71AB-479F-8C95-D4C0961069FB}" type="presParOf" srcId="{488B5CBC-DEC3-4FDF-86D1-4FB30B9F5984}" destId="{55CC54B6-6348-44DF-B402-77788ACE3C0B}" srcOrd="0" destOrd="0" presId="urn:microsoft.com/office/officeart/2008/layout/SquareAccentList"/>
    <dgm:cxn modelId="{4E014E68-3277-467E-9322-C04B049F346B}" type="presParOf" srcId="{488B5CBC-DEC3-4FDF-86D1-4FB30B9F5984}" destId="{E0CF2773-C9EF-4C9A-A179-0A6D56F9F167}" srcOrd="1" destOrd="0" presId="urn:microsoft.com/office/officeart/2008/layout/SquareAccentList"/>
    <dgm:cxn modelId="{23B52E42-43A7-472E-B9FB-04CFFCCA0C8D}" type="presParOf" srcId="{7F6EAE2C-472F-46E7-A83C-4D3743AE66EF}" destId="{B78EFB91-32BB-4453-A07F-E2BFB2FEBA55}" srcOrd="1" destOrd="0" presId="urn:microsoft.com/office/officeart/2008/layout/SquareAccentList"/>
    <dgm:cxn modelId="{81116755-E238-41B8-BFFF-69DD82D0390A}" type="presParOf" srcId="{B78EFB91-32BB-4453-A07F-E2BFB2FEBA55}" destId="{71ADC35A-9416-4D74-8FC1-30B10E0A0C1D}" srcOrd="0" destOrd="0" presId="urn:microsoft.com/office/officeart/2008/layout/SquareAccentList"/>
    <dgm:cxn modelId="{D7401699-EDE3-4D7E-928E-123E90C48101}" type="presParOf" srcId="{B78EFB91-32BB-4453-A07F-E2BFB2FEBA55}" destId="{2313F6E6-CF76-445B-92A0-9F0F5BB88CCE}" srcOrd="1" destOrd="0" presId="urn:microsoft.com/office/officeart/2008/layout/SquareAccentList"/>
    <dgm:cxn modelId="{3C80B5AD-54DE-49A2-94F1-E6E0EB4AE8F4}" type="presParOf" srcId="{7F6EAE2C-472F-46E7-A83C-4D3743AE66EF}" destId="{024C82F6-E256-4AE8-8369-C5C23DCA67C0}" srcOrd="2" destOrd="0" presId="urn:microsoft.com/office/officeart/2008/layout/SquareAccentList"/>
    <dgm:cxn modelId="{5BD0AA1A-237D-40BC-8322-32773C202A88}" type="presParOf" srcId="{024C82F6-E256-4AE8-8369-C5C23DCA67C0}" destId="{17D73BFB-F702-4A99-A85C-D41091D5EE86}" srcOrd="0" destOrd="0" presId="urn:microsoft.com/office/officeart/2008/layout/SquareAccentList"/>
    <dgm:cxn modelId="{0BE7C06D-6B14-469E-9670-7A09440859F5}" type="presParOf" srcId="{024C82F6-E256-4AE8-8369-C5C23DCA67C0}" destId="{B83A27CB-CD68-4A98-BF3E-5A44538ABEA3}" srcOrd="1" destOrd="0" presId="urn:microsoft.com/office/officeart/2008/layout/SquareAccentList"/>
    <dgm:cxn modelId="{A829600C-B41C-4D9F-A891-1B69561592B6}" type="presParOf" srcId="{7F6EAE2C-472F-46E7-A83C-4D3743AE66EF}" destId="{3133CD80-5C34-42DE-800E-1D260E67C49A}" srcOrd="3" destOrd="0" presId="urn:microsoft.com/office/officeart/2008/layout/SquareAccentList"/>
    <dgm:cxn modelId="{2C30E6A1-769C-41C7-B6E7-7401F7096F75}" type="presParOf" srcId="{3133CD80-5C34-42DE-800E-1D260E67C49A}" destId="{BF822A7D-FA92-49B0-88B4-EC3FE092E273}" srcOrd="0" destOrd="0" presId="urn:microsoft.com/office/officeart/2008/layout/SquareAccentList"/>
    <dgm:cxn modelId="{B99585CA-B75D-487C-AE37-84A90E5A8362}" type="presParOf" srcId="{3133CD80-5C34-42DE-800E-1D260E67C49A}" destId="{A954ADEF-A953-4ADC-B5A9-A305FFE2D7C5}" srcOrd="1" destOrd="0" presId="urn:microsoft.com/office/officeart/2008/layout/SquareAccentList"/>
    <dgm:cxn modelId="{A4A66707-06AF-47FD-B154-ABE179FE9410}" type="presParOf" srcId="{7F6EAE2C-472F-46E7-A83C-4D3743AE66EF}" destId="{C2AFEC29-74E0-40FB-B328-13EC978389F0}" srcOrd="4" destOrd="0" presId="urn:microsoft.com/office/officeart/2008/layout/SquareAccentList"/>
    <dgm:cxn modelId="{8ACE8987-4CCE-43B7-9D8E-D74B7F6310F7}" type="presParOf" srcId="{C2AFEC29-74E0-40FB-B328-13EC978389F0}" destId="{8D856E33-834A-4E6A-A4B3-3632FD56BBDC}" srcOrd="0" destOrd="0" presId="urn:microsoft.com/office/officeart/2008/layout/SquareAccentList"/>
    <dgm:cxn modelId="{8862C17A-7B46-487E-A89C-B380316CA709}" type="presParOf" srcId="{C2AFEC29-74E0-40FB-B328-13EC978389F0}" destId="{4CD4422A-2B9A-48AB-A58C-9F78837A2029}" srcOrd="1" destOrd="0" presId="urn:microsoft.com/office/officeart/2008/layout/SquareAccent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8758349-D97F-4FF5-9F4B-97B2342F4E69}"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8F1D7BED-06A9-49B8-8E35-FB3744A06DD8}">
      <dgm:prSet phldrT="[Text]" custT="1"/>
      <dgm:spPr>
        <a:xfrm>
          <a:off x="2319248" y="2057155"/>
          <a:ext cx="1524178" cy="1524178"/>
        </a:xfrm>
        <a:solidFill>
          <a:schemeClr val="tx2"/>
        </a:solidFill>
      </dgm:spPr>
      <dgm:t>
        <a:bodyPr/>
        <a:lstStyle/>
        <a:p>
          <a:r>
            <a:rPr lang="en-US" sz="1800" b="1" dirty="0" smtClean="0"/>
            <a:t>47 Multi-Stakeholder  Projects                              </a:t>
          </a:r>
          <a:r>
            <a:rPr lang="en-US" sz="1800" b="1" dirty="0" smtClean="0">
              <a:solidFill>
                <a:srgbClr val="FFC000"/>
              </a:solidFill>
            </a:rPr>
            <a:t>30</a:t>
          </a:r>
          <a:r>
            <a:rPr lang="en-US" sz="1800" b="1" baseline="30000" dirty="0" smtClean="0">
              <a:solidFill>
                <a:srgbClr val="FFC000"/>
              </a:solidFill>
            </a:rPr>
            <a:t>th</a:t>
          </a:r>
          <a:r>
            <a:rPr lang="en-US" sz="1800" b="1" dirty="0" smtClean="0">
              <a:solidFill>
                <a:srgbClr val="FFC000"/>
              </a:solidFill>
            </a:rPr>
            <a:t>  July 2019</a:t>
          </a:r>
          <a:endParaRPr lang="en-US" sz="1050" b="1" dirty="0">
            <a:solidFill>
              <a:srgbClr val="FFC000"/>
            </a:solidFill>
          </a:endParaRPr>
        </a:p>
      </dgm:t>
    </dgm:pt>
    <dgm:pt modelId="{026841EC-CB20-4615-8CE5-EBA634B3B753}" type="parTrans" cxnId="{F8D6881B-1DFF-42A3-8A19-EC80964CE296}">
      <dgm:prSet/>
      <dgm:spPr/>
      <dgm:t>
        <a:bodyPr/>
        <a:lstStyle/>
        <a:p>
          <a:endParaRPr lang="en-US"/>
        </a:p>
      </dgm:t>
    </dgm:pt>
    <dgm:pt modelId="{F4EA75BF-6A4C-4293-9C95-E760DC3457D7}" type="sibTrans" cxnId="{F8D6881B-1DFF-42A3-8A19-EC80964CE296}">
      <dgm:prSet/>
      <dgm:spPr/>
      <dgm:t>
        <a:bodyPr/>
        <a:lstStyle/>
        <a:p>
          <a:endParaRPr lang="en-US"/>
        </a:p>
      </dgm:t>
    </dgm:pt>
    <dgm:pt modelId="{5D670A12-726E-464C-9BDC-C096A4C2CEEA}">
      <dgm:prSet phldrT="[Text]"/>
      <dgm:spPr>
        <a:xfrm>
          <a:off x="117361" y="2240056"/>
          <a:ext cx="1447969" cy="1158375"/>
        </a:xfrm>
        <a:solidFill>
          <a:schemeClr val="tx2"/>
        </a:solidFill>
        <a:ln>
          <a:noFill/>
        </a:ln>
      </dgm:spPr>
      <dgm:t>
        <a:bodyPr/>
        <a:lstStyle/>
        <a:p>
          <a:r>
            <a:rPr lang="en-US" b="1" dirty="0"/>
            <a:t>Internal ideation Meetings- Lead Partners &amp; Line agencies</a:t>
          </a:r>
        </a:p>
        <a:p>
          <a:r>
            <a:rPr lang="en-US" b="1" dirty="0">
              <a:solidFill>
                <a:srgbClr val="FFC000"/>
              </a:solidFill>
            </a:rPr>
            <a:t>(25 June to 10 July)</a:t>
          </a:r>
          <a:endParaRPr lang="en-US" dirty="0">
            <a:solidFill>
              <a:schemeClr val="accent4">
                <a:lumMod val="75000"/>
              </a:schemeClr>
            </a:solidFill>
          </a:endParaRPr>
        </a:p>
      </dgm:t>
    </dgm:pt>
    <dgm:pt modelId="{65E9DC32-1D85-4BA2-9D19-E782F109CEAE}" type="parTrans" cxnId="{C1A4D54F-AC22-4EA8-841C-8C87C8E24D0C}">
      <dgm:prSet/>
      <dgm:spPr>
        <a:xfrm rot="10800000">
          <a:off x="841346" y="2602049"/>
          <a:ext cx="1396616" cy="434390"/>
        </a:xfrm>
        <a:solidFill>
          <a:schemeClr val="accent3">
            <a:lumMod val="40000"/>
            <a:lumOff val="60000"/>
          </a:schemeClr>
        </a:solidFill>
      </dgm:spPr>
      <dgm:t>
        <a:bodyPr/>
        <a:lstStyle/>
        <a:p>
          <a:endParaRPr lang="en-US"/>
        </a:p>
      </dgm:t>
    </dgm:pt>
    <dgm:pt modelId="{6BEB3676-DFF0-49C9-849A-ED239587E718}" type="sibTrans" cxnId="{C1A4D54F-AC22-4EA8-841C-8C87C8E24D0C}">
      <dgm:prSet/>
      <dgm:spPr/>
      <dgm:t>
        <a:bodyPr/>
        <a:lstStyle/>
        <a:p>
          <a:endParaRPr lang="en-US"/>
        </a:p>
      </dgm:t>
    </dgm:pt>
    <dgm:pt modelId="{153F6D42-4023-47B4-A0CD-405948B8CA83}">
      <dgm:prSet phldrT="[Text]"/>
      <dgm:spPr>
        <a:xfrm>
          <a:off x="773439" y="656144"/>
          <a:ext cx="1447969" cy="1158375"/>
        </a:xfrm>
        <a:solidFill>
          <a:schemeClr val="tx2"/>
        </a:solidFill>
        <a:ln>
          <a:noFill/>
        </a:ln>
      </dgm:spPr>
      <dgm:t>
        <a:bodyPr/>
        <a:lstStyle/>
        <a:p>
          <a:r>
            <a:rPr lang="en-US" b="1" dirty="0"/>
            <a:t>CSO Ideation workshop</a:t>
          </a:r>
        </a:p>
        <a:p>
          <a:r>
            <a:rPr lang="en-US" b="1" dirty="0">
              <a:solidFill>
                <a:srgbClr val="FFC000"/>
              </a:solidFill>
            </a:rPr>
            <a:t>(21st June 2019) </a:t>
          </a:r>
        </a:p>
      </dgm:t>
    </dgm:pt>
    <dgm:pt modelId="{A0D39736-19F4-4D86-9F40-4EA8644D285E}" type="parTrans" cxnId="{CBFA1691-6E8B-466A-B674-3FB014B0B0ED}">
      <dgm:prSet/>
      <dgm:spPr>
        <a:xfrm rot="13500000">
          <a:off x="1350044" y="1427389"/>
          <a:ext cx="1396616" cy="451041"/>
        </a:xfrm>
        <a:solidFill>
          <a:schemeClr val="accent3">
            <a:lumMod val="40000"/>
            <a:lumOff val="60000"/>
          </a:schemeClr>
        </a:solidFill>
      </dgm:spPr>
      <dgm:t>
        <a:bodyPr/>
        <a:lstStyle/>
        <a:p>
          <a:endParaRPr lang="en-US"/>
        </a:p>
      </dgm:t>
    </dgm:pt>
    <dgm:pt modelId="{E691853D-4780-424D-9ED6-60CABB1FBCC0}" type="sibTrans" cxnId="{CBFA1691-6E8B-466A-B674-3FB014B0B0ED}">
      <dgm:prSet/>
      <dgm:spPr/>
      <dgm:t>
        <a:bodyPr/>
        <a:lstStyle/>
        <a:p>
          <a:endParaRPr lang="en-US"/>
        </a:p>
      </dgm:t>
    </dgm:pt>
    <dgm:pt modelId="{1AFDD055-EB73-492D-8916-A570B675D8DB}">
      <dgm:prSet phldrT="[Text]"/>
      <dgm:spPr>
        <a:xfrm>
          <a:off x="2357352" y="65"/>
          <a:ext cx="1447969" cy="1158375"/>
        </a:xfrm>
        <a:solidFill>
          <a:schemeClr val="tx2"/>
        </a:solidFill>
        <a:ln>
          <a:noFill/>
        </a:ln>
      </dgm:spPr>
      <dgm:t>
        <a:bodyPr/>
        <a:lstStyle/>
        <a:p>
          <a:r>
            <a:rPr lang="en-US" b="1"/>
            <a:t>Technical Team Ideation workshop</a:t>
          </a:r>
        </a:p>
        <a:p>
          <a:r>
            <a:rPr lang="en-US" b="1">
              <a:solidFill>
                <a:srgbClr val="FFC000"/>
              </a:solidFill>
            </a:rPr>
            <a:t>(28 May 2019)</a:t>
          </a:r>
        </a:p>
      </dgm:t>
    </dgm:pt>
    <dgm:pt modelId="{0A5EF526-9538-46AE-A443-5FCB391AAC78}" type="parTrans" cxnId="{31A27AA4-84E2-4228-9899-284421ACCC8E}">
      <dgm:prSet/>
      <dgm:spPr>
        <a:xfrm rot="16200000">
          <a:off x="2354454" y="1053720"/>
          <a:ext cx="1396616" cy="447683"/>
        </a:xfrm>
        <a:solidFill>
          <a:schemeClr val="accent3">
            <a:lumMod val="40000"/>
            <a:lumOff val="60000"/>
          </a:schemeClr>
        </a:solidFill>
      </dgm:spPr>
      <dgm:t>
        <a:bodyPr/>
        <a:lstStyle/>
        <a:p>
          <a:endParaRPr lang="en-US"/>
        </a:p>
      </dgm:t>
    </dgm:pt>
    <dgm:pt modelId="{8A0BC49C-C7EC-4F75-8500-275FC1E92027}" type="sibTrans" cxnId="{31A27AA4-84E2-4228-9899-284421ACCC8E}">
      <dgm:prSet/>
      <dgm:spPr/>
      <dgm:t>
        <a:bodyPr/>
        <a:lstStyle/>
        <a:p>
          <a:endParaRPr lang="en-US"/>
        </a:p>
      </dgm:t>
    </dgm:pt>
    <dgm:pt modelId="{85AF3290-4674-46EE-90C4-AE7D7060F7D5}">
      <dgm:prSet/>
      <dgm:spPr>
        <a:xfrm>
          <a:off x="3941265" y="656144"/>
          <a:ext cx="1447969" cy="1158375"/>
        </a:xfrm>
        <a:solidFill>
          <a:schemeClr val="tx2"/>
        </a:solidFill>
        <a:ln>
          <a:noFill/>
        </a:ln>
      </dgm:spPr>
      <dgm:t>
        <a:bodyPr/>
        <a:lstStyle/>
        <a:p>
          <a:r>
            <a:rPr lang="en-US" b="1" dirty="0"/>
            <a:t>Private Sector Ideation workshop</a:t>
          </a:r>
        </a:p>
        <a:p>
          <a:r>
            <a:rPr lang="en-US" b="1" dirty="0">
              <a:solidFill>
                <a:srgbClr val="FFC000"/>
              </a:solidFill>
            </a:rPr>
            <a:t>(29</a:t>
          </a:r>
          <a:r>
            <a:rPr lang="en-US" b="1" baseline="30000" dirty="0">
              <a:solidFill>
                <a:srgbClr val="FFC000"/>
              </a:solidFill>
            </a:rPr>
            <a:t>th</a:t>
          </a:r>
          <a:r>
            <a:rPr lang="en-US" b="1" dirty="0">
              <a:solidFill>
                <a:srgbClr val="FFC000"/>
              </a:solidFill>
            </a:rPr>
            <a:t> May &amp; 04 July 2019)</a:t>
          </a:r>
        </a:p>
      </dgm:t>
    </dgm:pt>
    <dgm:pt modelId="{21341D1F-AB13-48C2-9A14-C7866BB58670}" type="parTrans" cxnId="{39CC3522-A409-47E1-89C1-9CB9998950DB}">
      <dgm:prSet/>
      <dgm:spPr>
        <a:xfrm rot="18900000">
          <a:off x="3396963" y="1464292"/>
          <a:ext cx="1396616" cy="434390"/>
        </a:xfrm>
        <a:solidFill>
          <a:schemeClr val="accent3">
            <a:lumMod val="40000"/>
            <a:lumOff val="60000"/>
          </a:schemeClr>
        </a:solidFill>
      </dgm:spPr>
      <dgm:t>
        <a:bodyPr/>
        <a:lstStyle/>
        <a:p>
          <a:endParaRPr lang="en-US"/>
        </a:p>
      </dgm:t>
    </dgm:pt>
    <dgm:pt modelId="{0E3DA650-8A20-4F8A-A71B-45B59AA35395}" type="sibTrans" cxnId="{39CC3522-A409-47E1-89C1-9CB9998950DB}">
      <dgm:prSet/>
      <dgm:spPr/>
      <dgm:t>
        <a:bodyPr/>
        <a:lstStyle/>
        <a:p>
          <a:endParaRPr lang="en-US"/>
        </a:p>
      </dgm:t>
    </dgm:pt>
    <dgm:pt modelId="{D50EB706-D1A1-40FF-B186-892ECDA16EC7}">
      <dgm:prSet/>
      <dgm:spPr>
        <a:xfrm>
          <a:off x="4540202" y="2249575"/>
          <a:ext cx="1447969" cy="1158375"/>
        </a:xfrm>
        <a:solidFill>
          <a:schemeClr val="tx2"/>
        </a:solidFill>
        <a:ln>
          <a:noFill/>
        </a:ln>
      </dgm:spPr>
      <dgm:t>
        <a:bodyPr/>
        <a:lstStyle/>
        <a:p>
          <a:r>
            <a:rPr lang="en-US" b="1" dirty="0"/>
            <a:t>Bi-lateral engagements local partners &amp;  Int'l partners (EU ) </a:t>
          </a:r>
        </a:p>
        <a:p>
          <a:r>
            <a:rPr lang="en-US" b="1" dirty="0">
              <a:solidFill>
                <a:srgbClr val="FFC000"/>
              </a:solidFill>
            </a:rPr>
            <a:t>20 May to 15 July 2019</a:t>
          </a:r>
        </a:p>
        <a:p>
          <a:endParaRPr lang="en-US" dirty="0"/>
        </a:p>
      </dgm:t>
    </dgm:pt>
    <dgm:pt modelId="{E4E2CDD3-9526-4731-B7EB-281487CB6788}" type="parTrans" cxnId="{62C31240-D89E-4FF4-9022-623CBE9AEBDE}">
      <dgm:prSet/>
      <dgm:spPr>
        <a:xfrm rot="14990">
          <a:off x="3921555" y="2608640"/>
          <a:ext cx="1342638" cy="434390"/>
        </a:xfrm>
        <a:solidFill>
          <a:schemeClr val="accent3">
            <a:lumMod val="40000"/>
            <a:lumOff val="60000"/>
          </a:schemeClr>
        </a:solidFill>
      </dgm:spPr>
      <dgm:t>
        <a:bodyPr/>
        <a:lstStyle/>
        <a:p>
          <a:endParaRPr lang="en-US"/>
        </a:p>
      </dgm:t>
    </dgm:pt>
    <dgm:pt modelId="{8762FCA6-B9FF-4844-BCA5-76CBE8449446}" type="sibTrans" cxnId="{62C31240-D89E-4FF4-9022-623CBE9AEBDE}">
      <dgm:prSet/>
      <dgm:spPr/>
      <dgm:t>
        <a:bodyPr/>
        <a:lstStyle/>
        <a:p>
          <a:endParaRPr lang="en-US"/>
        </a:p>
      </dgm:t>
    </dgm:pt>
    <dgm:pt modelId="{3F61127F-C0BC-4E2A-9F1C-C1B83B2C4A25}">
      <dgm:prSet/>
      <dgm:spPr>
        <a:xfrm>
          <a:off x="4540202" y="2249575"/>
          <a:ext cx="1447969" cy="1158375"/>
        </a:xfrm>
        <a:solidFill>
          <a:schemeClr val="tx2"/>
        </a:solidFill>
        <a:ln>
          <a:noFill/>
        </a:ln>
      </dgm:spPr>
      <dgm:t>
        <a:bodyPr/>
        <a:lstStyle/>
        <a:p>
          <a:r>
            <a:rPr lang="en-US" b="1" dirty="0"/>
            <a:t>TA ideas (one on one follow-up and literature review - case studies elsewhere)</a:t>
          </a:r>
        </a:p>
        <a:p>
          <a:r>
            <a:rPr lang="en-US" b="1" dirty="0">
              <a:solidFill>
                <a:srgbClr val="FFC000"/>
              </a:solidFill>
            </a:rPr>
            <a:t>01 June to 25 July 2019</a:t>
          </a:r>
        </a:p>
      </dgm:t>
    </dgm:pt>
    <dgm:pt modelId="{1678BCC1-F6F2-438D-B8EF-D316429BDDC3}" type="parTrans" cxnId="{E98A3A5B-70FB-4DE4-AC09-5069FF57F880}">
      <dgm:prSet/>
      <dgm:spPr>
        <a:solidFill>
          <a:schemeClr val="accent3">
            <a:lumMod val="40000"/>
            <a:lumOff val="60000"/>
          </a:schemeClr>
        </a:solidFill>
      </dgm:spPr>
      <dgm:t>
        <a:bodyPr/>
        <a:lstStyle/>
        <a:p>
          <a:endParaRPr lang="en-US"/>
        </a:p>
      </dgm:t>
    </dgm:pt>
    <dgm:pt modelId="{0F026499-270E-42DB-AE47-C37C70AAB385}" type="sibTrans" cxnId="{E98A3A5B-70FB-4DE4-AC09-5069FF57F880}">
      <dgm:prSet/>
      <dgm:spPr/>
      <dgm:t>
        <a:bodyPr/>
        <a:lstStyle/>
        <a:p>
          <a:endParaRPr lang="en-US"/>
        </a:p>
      </dgm:t>
    </dgm:pt>
    <dgm:pt modelId="{36318929-70C6-41D7-AE52-448318CA3166}" type="pres">
      <dgm:prSet presAssocID="{28758349-D97F-4FF5-9F4B-97B2342F4E69}" presName="cycle" presStyleCnt="0">
        <dgm:presLayoutVars>
          <dgm:chMax val="1"/>
          <dgm:dir/>
          <dgm:animLvl val="ctr"/>
          <dgm:resizeHandles val="exact"/>
        </dgm:presLayoutVars>
      </dgm:prSet>
      <dgm:spPr/>
      <dgm:t>
        <a:bodyPr/>
        <a:lstStyle/>
        <a:p>
          <a:endParaRPr lang="en-GB"/>
        </a:p>
      </dgm:t>
    </dgm:pt>
    <dgm:pt modelId="{FF5E137F-3F3B-4726-9670-13984C693172}" type="pres">
      <dgm:prSet presAssocID="{8F1D7BED-06A9-49B8-8E35-FB3744A06DD8}" presName="centerShape" presStyleLbl="node0" presStyleIdx="0" presStyleCnt="1" custScaleX="157772" custScaleY="111349" custLinFactNeighborX="-3048" custLinFactNeighborY="-2000"/>
      <dgm:spPr>
        <a:prstGeom prst="ellipse">
          <a:avLst/>
        </a:prstGeom>
      </dgm:spPr>
      <dgm:t>
        <a:bodyPr/>
        <a:lstStyle/>
        <a:p>
          <a:endParaRPr lang="en-GB"/>
        </a:p>
      </dgm:t>
    </dgm:pt>
    <dgm:pt modelId="{4D2E0470-1B2A-4C81-91FA-9A55E0E8BDBC}" type="pres">
      <dgm:prSet presAssocID="{65E9DC32-1D85-4BA2-9D19-E782F109CEAE}" presName="parTrans" presStyleLbl="bgSibTrans2D1" presStyleIdx="0" presStyleCnt="6"/>
      <dgm:spPr>
        <a:prstGeom prst="leftArrow">
          <a:avLst>
            <a:gd name="adj1" fmla="val 60000"/>
            <a:gd name="adj2" fmla="val 50000"/>
          </a:avLst>
        </a:prstGeom>
      </dgm:spPr>
      <dgm:t>
        <a:bodyPr/>
        <a:lstStyle/>
        <a:p>
          <a:endParaRPr lang="en-GB"/>
        </a:p>
      </dgm:t>
    </dgm:pt>
    <dgm:pt modelId="{73052EB0-0390-4FDC-B57B-AE11226E4A4B}" type="pres">
      <dgm:prSet presAssocID="{5D670A12-726E-464C-9BDC-C096A4C2CEEA}" presName="node" presStyleLbl="node1" presStyleIdx="0" presStyleCnt="6">
        <dgm:presLayoutVars>
          <dgm:bulletEnabled val="1"/>
        </dgm:presLayoutVars>
      </dgm:prSet>
      <dgm:spPr>
        <a:prstGeom prst="roundRect">
          <a:avLst>
            <a:gd name="adj" fmla="val 10000"/>
          </a:avLst>
        </a:prstGeom>
      </dgm:spPr>
      <dgm:t>
        <a:bodyPr/>
        <a:lstStyle/>
        <a:p>
          <a:endParaRPr lang="en-GB"/>
        </a:p>
      </dgm:t>
    </dgm:pt>
    <dgm:pt modelId="{49285CFA-34D3-47FB-AC92-CBDE04E94E3D}" type="pres">
      <dgm:prSet presAssocID="{A0D39736-19F4-4D86-9F40-4EA8644D285E}" presName="parTrans" presStyleLbl="bgSibTrans2D1" presStyleIdx="1" presStyleCnt="6"/>
      <dgm:spPr>
        <a:prstGeom prst="leftArrow">
          <a:avLst>
            <a:gd name="adj1" fmla="val 60000"/>
            <a:gd name="adj2" fmla="val 50000"/>
          </a:avLst>
        </a:prstGeom>
      </dgm:spPr>
      <dgm:t>
        <a:bodyPr/>
        <a:lstStyle/>
        <a:p>
          <a:endParaRPr lang="en-GB"/>
        </a:p>
      </dgm:t>
    </dgm:pt>
    <dgm:pt modelId="{21FCE096-FC2B-4B40-B12D-AED1EDB5D1CB}" type="pres">
      <dgm:prSet presAssocID="{153F6D42-4023-47B4-A0CD-405948B8CA83}" presName="node" presStyleLbl="node1" presStyleIdx="1" presStyleCnt="6">
        <dgm:presLayoutVars>
          <dgm:bulletEnabled val="1"/>
        </dgm:presLayoutVars>
      </dgm:prSet>
      <dgm:spPr>
        <a:prstGeom prst="roundRect">
          <a:avLst>
            <a:gd name="adj" fmla="val 10000"/>
          </a:avLst>
        </a:prstGeom>
      </dgm:spPr>
      <dgm:t>
        <a:bodyPr/>
        <a:lstStyle/>
        <a:p>
          <a:endParaRPr lang="en-GB"/>
        </a:p>
      </dgm:t>
    </dgm:pt>
    <dgm:pt modelId="{3987308C-3A42-4A87-95A7-BF0F0DA6738A}" type="pres">
      <dgm:prSet presAssocID="{0A5EF526-9538-46AE-A443-5FCB391AAC78}" presName="parTrans" presStyleLbl="bgSibTrans2D1" presStyleIdx="2" presStyleCnt="6" custLinFactNeighborX="-4420" custLinFactNeighborY="4772"/>
      <dgm:spPr>
        <a:prstGeom prst="leftArrow">
          <a:avLst>
            <a:gd name="adj1" fmla="val 60000"/>
            <a:gd name="adj2" fmla="val 50000"/>
          </a:avLst>
        </a:prstGeom>
      </dgm:spPr>
      <dgm:t>
        <a:bodyPr/>
        <a:lstStyle/>
        <a:p>
          <a:endParaRPr lang="en-GB"/>
        </a:p>
      </dgm:t>
    </dgm:pt>
    <dgm:pt modelId="{E0AA4594-319E-4A87-8677-FE7B4D51AD04}" type="pres">
      <dgm:prSet presAssocID="{1AFDD055-EB73-492D-8916-A570B675D8DB}" presName="node" presStyleLbl="node1" presStyleIdx="2" presStyleCnt="6" custRadScaleRad="97411" custRadScaleInc="7550">
        <dgm:presLayoutVars>
          <dgm:bulletEnabled val="1"/>
        </dgm:presLayoutVars>
      </dgm:prSet>
      <dgm:spPr>
        <a:prstGeom prst="roundRect">
          <a:avLst>
            <a:gd name="adj" fmla="val 10000"/>
          </a:avLst>
        </a:prstGeom>
      </dgm:spPr>
      <dgm:t>
        <a:bodyPr/>
        <a:lstStyle/>
        <a:p>
          <a:endParaRPr lang="en-GB"/>
        </a:p>
      </dgm:t>
    </dgm:pt>
    <dgm:pt modelId="{948836FE-8C16-4623-AF15-FBD6FDC2B31D}" type="pres">
      <dgm:prSet presAssocID="{21341D1F-AB13-48C2-9A14-C7866BB58670}" presName="parTrans" presStyleLbl="bgSibTrans2D1" presStyleIdx="3" presStyleCnt="6" custLinFactNeighborX="4249" custLinFactNeighborY="9543"/>
      <dgm:spPr>
        <a:prstGeom prst="leftArrow">
          <a:avLst>
            <a:gd name="adj1" fmla="val 60000"/>
            <a:gd name="adj2" fmla="val 50000"/>
          </a:avLst>
        </a:prstGeom>
      </dgm:spPr>
      <dgm:t>
        <a:bodyPr/>
        <a:lstStyle/>
        <a:p>
          <a:endParaRPr lang="en-GB"/>
        </a:p>
      </dgm:t>
    </dgm:pt>
    <dgm:pt modelId="{526B0953-7D34-4583-8DCF-BBD6CA26483E}" type="pres">
      <dgm:prSet presAssocID="{85AF3290-4674-46EE-90C4-AE7D7060F7D5}" presName="node" presStyleLbl="node1" presStyleIdx="3" presStyleCnt="6">
        <dgm:presLayoutVars>
          <dgm:bulletEnabled val="1"/>
        </dgm:presLayoutVars>
      </dgm:prSet>
      <dgm:spPr>
        <a:prstGeom prst="roundRect">
          <a:avLst>
            <a:gd name="adj" fmla="val 10000"/>
          </a:avLst>
        </a:prstGeom>
      </dgm:spPr>
      <dgm:t>
        <a:bodyPr/>
        <a:lstStyle/>
        <a:p>
          <a:endParaRPr lang="en-GB"/>
        </a:p>
      </dgm:t>
    </dgm:pt>
    <dgm:pt modelId="{A22EC6AC-E23E-47C4-AE81-A6A6E859429E}" type="pres">
      <dgm:prSet presAssocID="{E4E2CDD3-9526-4731-B7EB-281487CB6788}" presName="parTrans" presStyleLbl="bgSibTrans2D1" presStyleIdx="4" presStyleCnt="6"/>
      <dgm:spPr>
        <a:prstGeom prst="leftArrow">
          <a:avLst>
            <a:gd name="adj1" fmla="val 60000"/>
            <a:gd name="adj2" fmla="val 50000"/>
          </a:avLst>
        </a:prstGeom>
      </dgm:spPr>
      <dgm:t>
        <a:bodyPr/>
        <a:lstStyle/>
        <a:p>
          <a:endParaRPr lang="en-GB"/>
        </a:p>
      </dgm:t>
    </dgm:pt>
    <dgm:pt modelId="{74F16716-B44F-4E0A-BD25-3F3C09B8C300}" type="pres">
      <dgm:prSet presAssocID="{D50EB706-D1A1-40FF-B186-892ECDA16EC7}" presName="node" presStyleLbl="node1" presStyleIdx="4" presStyleCnt="6">
        <dgm:presLayoutVars>
          <dgm:bulletEnabled val="1"/>
        </dgm:presLayoutVars>
      </dgm:prSet>
      <dgm:spPr>
        <a:prstGeom prst="roundRect">
          <a:avLst>
            <a:gd name="adj" fmla="val 10000"/>
          </a:avLst>
        </a:prstGeom>
      </dgm:spPr>
      <dgm:t>
        <a:bodyPr/>
        <a:lstStyle/>
        <a:p>
          <a:endParaRPr lang="en-GB"/>
        </a:p>
      </dgm:t>
    </dgm:pt>
    <dgm:pt modelId="{1894DAC9-0419-4DBB-9846-F886D7A76911}" type="pres">
      <dgm:prSet presAssocID="{1678BCC1-F6F2-438D-B8EF-D316429BDDC3}" presName="parTrans" presStyleLbl="bgSibTrans2D1" presStyleIdx="5" presStyleCnt="6"/>
      <dgm:spPr/>
      <dgm:t>
        <a:bodyPr/>
        <a:lstStyle/>
        <a:p>
          <a:endParaRPr lang="en-GB"/>
        </a:p>
      </dgm:t>
    </dgm:pt>
    <dgm:pt modelId="{D7EEA42D-C4A8-4293-9F70-2D9A0D04A8A3}" type="pres">
      <dgm:prSet presAssocID="{3F61127F-C0BC-4E2A-9F1C-C1B83B2C4A25}" presName="node" presStyleLbl="node1" presStyleIdx="5" presStyleCnt="6" custScaleX="131888" custScaleY="126827" custRadScaleRad="94747" custRadScaleInc="-1766">
        <dgm:presLayoutVars>
          <dgm:bulletEnabled val="1"/>
        </dgm:presLayoutVars>
      </dgm:prSet>
      <dgm:spPr/>
      <dgm:t>
        <a:bodyPr/>
        <a:lstStyle/>
        <a:p>
          <a:endParaRPr lang="en-GB"/>
        </a:p>
      </dgm:t>
    </dgm:pt>
  </dgm:ptLst>
  <dgm:cxnLst>
    <dgm:cxn modelId="{F8D6881B-1DFF-42A3-8A19-EC80964CE296}" srcId="{28758349-D97F-4FF5-9F4B-97B2342F4E69}" destId="{8F1D7BED-06A9-49B8-8E35-FB3744A06DD8}" srcOrd="0" destOrd="0" parTransId="{026841EC-CB20-4615-8CE5-EBA634B3B753}" sibTransId="{F4EA75BF-6A4C-4293-9C95-E760DC3457D7}"/>
    <dgm:cxn modelId="{31A27AA4-84E2-4228-9899-284421ACCC8E}" srcId="{8F1D7BED-06A9-49B8-8E35-FB3744A06DD8}" destId="{1AFDD055-EB73-492D-8916-A570B675D8DB}" srcOrd="2" destOrd="0" parTransId="{0A5EF526-9538-46AE-A443-5FCB391AAC78}" sibTransId="{8A0BC49C-C7EC-4F75-8500-275FC1E92027}"/>
    <dgm:cxn modelId="{F31918B0-D461-4C16-8CDB-D5569FFEAA76}" type="presOf" srcId="{8F1D7BED-06A9-49B8-8E35-FB3744A06DD8}" destId="{FF5E137F-3F3B-4726-9670-13984C693172}" srcOrd="0" destOrd="0" presId="urn:microsoft.com/office/officeart/2005/8/layout/radial4"/>
    <dgm:cxn modelId="{5D98FC57-1B98-4335-8C53-C1F01A4110D3}" type="presOf" srcId="{153F6D42-4023-47B4-A0CD-405948B8CA83}" destId="{21FCE096-FC2B-4B40-B12D-AED1EDB5D1CB}" srcOrd="0" destOrd="0" presId="urn:microsoft.com/office/officeart/2005/8/layout/radial4"/>
    <dgm:cxn modelId="{C1A4D54F-AC22-4EA8-841C-8C87C8E24D0C}" srcId="{8F1D7BED-06A9-49B8-8E35-FB3744A06DD8}" destId="{5D670A12-726E-464C-9BDC-C096A4C2CEEA}" srcOrd="0" destOrd="0" parTransId="{65E9DC32-1D85-4BA2-9D19-E782F109CEAE}" sibTransId="{6BEB3676-DFF0-49C9-849A-ED239587E718}"/>
    <dgm:cxn modelId="{8E618D8F-24AC-49BF-96F5-1A70022D73F1}" type="presOf" srcId="{3F61127F-C0BC-4E2A-9F1C-C1B83B2C4A25}" destId="{D7EEA42D-C4A8-4293-9F70-2D9A0D04A8A3}" srcOrd="0" destOrd="0" presId="urn:microsoft.com/office/officeart/2005/8/layout/radial4"/>
    <dgm:cxn modelId="{2D4A81FF-774C-471F-9B0F-6BDB081A0036}" type="presOf" srcId="{1678BCC1-F6F2-438D-B8EF-D316429BDDC3}" destId="{1894DAC9-0419-4DBB-9846-F886D7A76911}" srcOrd="0" destOrd="0" presId="urn:microsoft.com/office/officeart/2005/8/layout/radial4"/>
    <dgm:cxn modelId="{AFE40E14-8DE8-4E4A-980D-C47B5C882B8B}" type="presOf" srcId="{0A5EF526-9538-46AE-A443-5FCB391AAC78}" destId="{3987308C-3A42-4A87-95A7-BF0F0DA6738A}" srcOrd="0" destOrd="0" presId="urn:microsoft.com/office/officeart/2005/8/layout/radial4"/>
    <dgm:cxn modelId="{62C31240-D89E-4FF4-9022-623CBE9AEBDE}" srcId="{8F1D7BED-06A9-49B8-8E35-FB3744A06DD8}" destId="{D50EB706-D1A1-40FF-B186-892ECDA16EC7}" srcOrd="4" destOrd="0" parTransId="{E4E2CDD3-9526-4731-B7EB-281487CB6788}" sibTransId="{8762FCA6-B9FF-4844-BCA5-76CBE8449446}"/>
    <dgm:cxn modelId="{F1F80112-5D15-4915-9EA0-77F2B9BC1CEF}" type="presOf" srcId="{A0D39736-19F4-4D86-9F40-4EA8644D285E}" destId="{49285CFA-34D3-47FB-AC92-CBDE04E94E3D}" srcOrd="0" destOrd="0" presId="urn:microsoft.com/office/officeart/2005/8/layout/radial4"/>
    <dgm:cxn modelId="{E675AB42-D029-4709-89BD-C41C74989E7D}" type="presOf" srcId="{28758349-D97F-4FF5-9F4B-97B2342F4E69}" destId="{36318929-70C6-41D7-AE52-448318CA3166}" srcOrd="0" destOrd="0" presId="urn:microsoft.com/office/officeart/2005/8/layout/radial4"/>
    <dgm:cxn modelId="{39CC3522-A409-47E1-89C1-9CB9998950DB}" srcId="{8F1D7BED-06A9-49B8-8E35-FB3744A06DD8}" destId="{85AF3290-4674-46EE-90C4-AE7D7060F7D5}" srcOrd="3" destOrd="0" parTransId="{21341D1F-AB13-48C2-9A14-C7866BB58670}" sibTransId="{0E3DA650-8A20-4F8A-A71B-45B59AA35395}"/>
    <dgm:cxn modelId="{2E71E490-9D1D-4BF9-B8DA-7478A302B81B}" type="presOf" srcId="{E4E2CDD3-9526-4731-B7EB-281487CB6788}" destId="{A22EC6AC-E23E-47C4-AE81-A6A6E859429E}" srcOrd="0" destOrd="0" presId="urn:microsoft.com/office/officeart/2005/8/layout/radial4"/>
    <dgm:cxn modelId="{A7BE303A-AB4D-4208-B6D7-2955960D9DAE}" type="presOf" srcId="{85AF3290-4674-46EE-90C4-AE7D7060F7D5}" destId="{526B0953-7D34-4583-8DCF-BBD6CA26483E}" srcOrd="0" destOrd="0" presId="urn:microsoft.com/office/officeart/2005/8/layout/radial4"/>
    <dgm:cxn modelId="{A1EDD8F5-F858-46BA-964C-1D09C64BBAA4}" type="presOf" srcId="{21341D1F-AB13-48C2-9A14-C7866BB58670}" destId="{948836FE-8C16-4623-AF15-FBD6FDC2B31D}" srcOrd="0" destOrd="0" presId="urn:microsoft.com/office/officeart/2005/8/layout/radial4"/>
    <dgm:cxn modelId="{2BA69D72-99AC-4382-9DB9-ADE912EAA4E6}" type="presOf" srcId="{D50EB706-D1A1-40FF-B186-892ECDA16EC7}" destId="{74F16716-B44F-4E0A-BD25-3F3C09B8C300}" srcOrd="0" destOrd="0" presId="urn:microsoft.com/office/officeart/2005/8/layout/radial4"/>
    <dgm:cxn modelId="{C3618C9A-5E57-4AF5-B437-5289478BBC26}" type="presOf" srcId="{5D670A12-726E-464C-9BDC-C096A4C2CEEA}" destId="{73052EB0-0390-4FDC-B57B-AE11226E4A4B}" srcOrd="0" destOrd="0" presId="urn:microsoft.com/office/officeart/2005/8/layout/radial4"/>
    <dgm:cxn modelId="{4AB3376C-78AC-4D47-9130-FDD6EF2A3E68}" type="presOf" srcId="{1AFDD055-EB73-492D-8916-A570B675D8DB}" destId="{E0AA4594-319E-4A87-8677-FE7B4D51AD04}" srcOrd="0" destOrd="0" presId="urn:microsoft.com/office/officeart/2005/8/layout/radial4"/>
    <dgm:cxn modelId="{CBFA1691-6E8B-466A-B674-3FB014B0B0ED}" srcId="{8F1D7BED-06A9-49B8-8E35-FB3744A06DD8}" destId="{153F6D42-4023-47B4-A0CD-405948B8CA83}" srcOrd="1" destOrd="0" parTransId="{A0D39736-19F4-4D86-9F40-4EA8644D285E}" sibTransId="{E691853D-4780-424D-9ED6-60CABB1FBCC0}"/>
    <dgm:cxn modelId="{E98A3A5B-70FB-4DE4-AC09-5069FF57F880}" srcId="{8F1D7BED-06A9-49B8-8E35-FB3744A06DD8}" destId="{3F61127F-C0BC-4E2A-9F1C-C1B83B2C4A25}" srcOrd="5" destOrd="0" parTransId="{1678BCC1-F6F2-438D-B8EF-D316429BDDC3}" sibTransId="{0F026499-270E-42DB-AE47-C37C70AAB385}"/>
    <dgm:cxn modelId="{5089E97E-5583-457D-BD62-AA02EE9963AC}" type="presOf" srcId="{65E9DC32-1D85-4BA2-9D19-E782F109CEAE}" destId="{4D2E0470-1B2A-4C81-91FA-9A55E0E8BDBC}" srcOrd="0" destOrd="0" presId="urn:microsoft.com/office/officeart/2005/8/layout/radial4"/>
    <dgm:cxn modelId="{BA1D2132-8E02-4281-9CC8-B0DA6C021D2F}" type="presParOf" srcId="{36318929-70C6-41D7-AE52-448318CA3166}" destId="{FF5E137F-3F3B-4726-9670-13984C693172}" srcOrd="0" destOrd="0" presId="urn:microsoft.com/office/officeart/2005/8/layout/radial4"/>
    <dgm:cxn modelId="{DB3CC780-77C3-4528-9A60-A74666E41033}" type="presParOf" srcId="{36318929-70C6-41D7-AE52-448318CA3166}" destId="{4D2E0470-1B2A-4C81-91FA-9A55E0E8BDBC}" srcOrd="1" destOrd="0" presId="urn:microsoft.com/office/officeart/2005/8/layout/radial4"/>
    <dgm:cxn modelId="{2EFF54BD-BEFF-4E91-9211-C2AF859BA08F}" type="presParOf" srcId="{36318929-70C6-41D7-AE52-448318CA3166}" destId="{73052EB0-0390-4FDC-B57B-AE11226E4A4B}" srcOrd="2" destOrd="0" presId="urn:microsoft.com/office/officeart/2005/8/layout/radial4"/>
    <dgm:cxn modelId="{E5AE71E8-6B60-49AB-966D-B633D92333BF}" type="presParOf" srcId="{36318929-70C6-41D7-AE52-448318CA3166}" destId="{49285CFA-34D3-47FB-AC92-CBDE04E94E3D}" srcOrd="3" destOrd="0" presId="urn:microsoft.com/office/officeart/2005/8/layout/radial4"/>
    <dgm:cxn modelId="{77E0A09E-751B-4751-9F6C-BD15A2493CAD}" type="presParOf" srcId="{36318929-70C6-41D7-AE52-448318CA3166}" destId="{21FCE096-FC2B-4B40-B12D-AED1EDB5D1CB}" srcOrd="4" destOrd="0" presId="urn:microsoft.com/office/officeart/2005/8/layout/radial4"/>
    <dgm:cxn modelId="{8E746B15-003E-490B-8F79-B7E8987EF380}" type="presParOf" srcId="{36318929-70C6-41D7-AE52-448318CA3166}" destId="{3987308C-3A42-4A87-95A7-BF0F0DA6738A}" srcOrd="5" destOrd="0" presId="urn:microsoft.com/office/officeart/2005/8/layout/radial4"/>
    <dgm:cxn modelId="{EF41E55B-998F-4F19-AE11-0A5F11B2832A}" type="presParOf" srcId="{36318929-70C6-41D7-AE52-448318CA3166}" destId="{E0AA4594-319E-4A87-8677-FE7B4D51AD04}" srcOrd="6" destOrd="0" presId="urn:microsoft.com/office/officeart/2005/8/layout/radial4"/>
    <dgm:cxn modelId="{7B5CD00A-DB7A-46BB-955F-07CF1A257553}" type="presParOf" srcId="{36318929-70C6-41D7-AE52-448318CA3166}" destId="{948836FE-8C16-4623-AF15-FBD6FDC2B31D}" srcOrd="7" destOrd="0" presId="urn:microsoft.com/office/officeart/2005/8/layout/radial4"/>
    <dgm:cxn modelId="{65F9E61D-A516-439C-BA42-131B5D7D94E8}" type="presParOf" srcId="{36318929-70C6-41D7-AE52-448318CA3166}" destId="{526B0953-7D34-4583-8DCF-BBD6CA26483E}" srcOrd="8" destOrd="0" presId="urn:microsoft.com/office/officeart/2005/8/layout/radial4"/>
    <dgm:cxn modelId="{3EA35751-E22D-47C2-BFE3-98559CCC77CA}" type="presParOf" srcId="{36318929-70C6-41D7-AE52-448318CA3166}" destId="{A22EC6AC-E23E-47C4-AE81-A6A6E859429E}" srcOrd="9" destOrd="0" presId="urn:microsoft.com/office/officeart/2005/8/layout/radial4"/>
    <dgm:cxn modelId="{B4143A41-173A-4F80-8F1A-16F3D575443D}" type="presParOf" srcId="{36318929-70C6-41D7-AE52-448318CA3166}" destId="{74F16716-B44F-4E0A-BD25-3F3C09B8C300}" srcOrd="10" destOrd="0" presId="urn:microsoft.com/office/officeart/2005/8/layout/radial4"/>
    <dgm:cxn modelId="{6336858E-D26B-4874-B7AD-14A2C62F0CD9}" type="presParOf" srcId="{36318929-70C6-41D7-AE52-448318CA3166}" destId="{1894DAC9-0419-4DBB-9846-F886D7A76911}" srcOrd="11" destOrd="0" presId="urn:microsoft.com/office/officeart/2005/8/layout/radial4"/>
    <dgm:cxn modelId="{9FDDEF38-E190-4DE3-8A02-98CB106DCFD5}" type="presParOf" srcId="{36318929-70C6-41D7-AE52-448318CA3166}" destId="{D7EEA42D-C4A8-4293-9F70-2D9A0D04A8A3}" srcOrd="12" destOrd="0" presId="urn:microsoft.com/office/officeart/2005/8/layout/radial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AC867F-6B71-4ACC-AB4A-C2A27B7D7F43}">
      <dsp:nvSpPr>
        <dsp:cNvPr id="0" name=""/>
        <dsp:cNvSpPr/>
      </dsp:nvSpPr>
      <dsp:spPr>
        <a:xfrm>
          <a:off x="1097387" y="638260"/>
          <a:ext cx="1179745" cy="1215694"/>
        </a:xfrm>
        <a:prstGeom prst="gear9">
          <a:avLst/>
        </a:prstGeom>
        <a:solidFill>
          <a:srgbClr val="00CC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GB" sz="1800" kern="1200" dirty="0"/>
            <a:t>WSAIP </a:t>
          </a:r>
        </a:p>
        <a:p>
          <a:pPr lvl="0" algn="ctr" defTabSz="800100">
            <a:lnSpc>
              <a:spcPct val="90000"/>
            </a:lnSpc>
            <a:spcBef>
              <a:spcPct val="0"/>
            </a:spcBef>
            <a:spcAft>
              <a:spcPct val="35000"/>
            </a:spcAft>
          </a:pPr>
          <a:r>
            <a:rPr lang="en-GB" sz="1800" kern="1200" dirty="0"/>
            <a:t>Study</a:t>
          </a:r>
        </a:p>
      </dsp:txBody>
      <dsp:txXfrm>
        <a:off x="1334568" y="920642"/>
        <a:ext cx="705383" cy="629512"/>
      </dsp:txXfrm>
    </dsp:sp>
    <dsp:sp modelId="{CB579F40-0E25-468A-B80B-6E4871500689}">
      <dsp:nvSpPr>
        <dsp:cNvPr id="0" name=""/>
        <dsp:cNvSpPr/>
      </dsp:nvSpPr>
      <dsp:spPr>
        <a:xfrm>
          <a:off x="273379" y="227921"/>
          <a:ext cx="1145653" cy="1146473"/>
        </a:xfrm>
        <a:prstGeom prst="gear6">
          <a:avLst/>
        </a:prstGeom>
        <a:solidFill>
          <a:srgbClr val="0000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en-GB" sz="1200" kern="1200" dirty="0"/>
            <a:t>Engage</a:t>
          </a:r>
        </a:p>
        <a:p>
          <a:pPr lvl="0" algn="ctr" defTabSz="533400">
            <a:lnSpc>
              <a:spcPct val="90000"/>
            </a:lnSpc>
            <a:spcBef>
              <a:spcPct val="0"/>
            </a:spcBef>
            <a:spcAft>
              <a:spcPct val="35000"/>
            </a:spcAft>
          </a:pPr>
          <a:r>
            <a:rPr lang="en-GB" sz="1200" kern="1200" dirty="0"/>
            <a:t>Stakes</a:t>
          </a:r>
        </a:p>
      </dsp:txBody>
      <dsp:txXfrm>
        <a:off x="561801" y="518207"/>
        <a:ext cx="568809" cy="565901"/>
      </dsp:txXfrm>
    </dsp:sp>
    <dsp:sp modelId="{B4128A86-667C-4A36-8A41-2F7694079DC8}">
      <dsp:nvSpPr>
        <dsp:cNvPr id="0" name=""/>
        <dsp:cNvSpPr/>
      </dsp:nvSpPr>
      <dsp:spPr>
        <a:xfrm rot="20700000">
          <a:off x="1139154" y="92987"/>
          <a:ext cx="704331" cy="704331"/>
        </a:xfrm>
        <a:prstGeom prst="gear6">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GB" sz="1400" kern="1200" dirty="0"/>
            <a:t>TAs</a:t>
          </a:r>
        </a:p>
      </dsp:txBody>
      <dsp:txXfrm rot="-20700000">
        <a:off x="1293635" y="247468"/>
        <a:ext cx="395370" cy="395370"/>
      </dsp:txXfrm>
    </dsp:sp>
    <dsp:sp modelId="{F44BE03E-F974-4A2C-9FA7-FE567169C601}">
      <dsp:nvSpPr>
        <dsp:cNvPr id="0" name=""/>
        <dsp:cNvSpPr/>
      </dsp:nvSpPr>
      <dsp:spPr>
        <a:xfrm>
          <a:off x="1093378" y="615669"/>
          <a:ext cx="1265185" cy="1265185"/>
        </a:xfrm>
        <a:prstGeom prst="circularArrow">
          <a:avLst>
            <a:gd name="adj1" fmla="val 4688"/>
            <a:gd name="adj2" fmla="val 299029"/>
            <a:gd name="adj3" fmla="val 2403717"/>
            <a:gd name="adj4" fmla="val 16129247"/>
            <a:gd name="adj5" fmla="val 5469"/>
          </a:avLst>
        </a:prstGeom>
        <a:solidFill>
          <a:srgbClr val="00CC00"/>
        </a:solidFill>
        <a:ln>
          <a:noFill/>
        </a:ln>
        <a:effectLst/>
      </dsp:spPr>
      <dsp:style>
        <a:lnRef idx="0">
          <a:scrgbClr r="0" g="0" b="0"/>
        </a:lnRef>
        <a:fillRef idx="1">
          <a:scrgbClr r="0" g="0" b="0"/>
        </a:fillRef>
        <a:effectRef idx="0">
          <a:scrgbClr r="0" g="0" b="0"/>
        </a:effectRef>
        <a:fontRef idx="minor">
          <a:schemeClr val="lt1"/>
        </a:fontRef>
      </dsp:style>
    </dsp:sp>
    <dsp:sp modelId="{8EEF712A-9E33-4A97-B443-FA63CDEB67A6}">
      <dsp:nvSpPr>
        <dsp:cNvPr id="0" name=""/>
        <dsp:cNvSpPr/>
      </dsp:nvSpPr>
      <dsp:spPr>
        <a:xfrm>
          <a:off x="263943" y="310465"/>
          <a:ext cx="919236" cy="919236"/>
        </a:xfrm>
        <a:prstGeom prst="leftCircularArrow">
          <a:avLst>
            <a:gd name="adj1" fmla="val 6452"/>
            <a:gd name="adj2" fmla="val 429999"/>
            <a:gd name="adj3" fmla="val 10489124"/>
            <a:gd name="adj4" fmla="val 14837806"/>
            <a:gd name="adj5" fmla="val 7527"/>
          </a:avLst>
        </a:prstGeom>
        <a:solidFill>
          <a:srgbClr val="0000FF"/>
        </a:solidFill>
        <a:ln>
          <a:noFill/>
        </a:ln>
        <a:effectLst/>
      </dsp:spPr>
      <dsp:style>
        <a:lnRef idx="0">
          <a:scrgbClr r="0" g="0" b="0"/>
        </a:lnRef>
        <a:fillRef idx="1">
          <a:scrgbClr r="0" g="0" b="0"/>
        </a:fillRef>
        <a:effectRef idx="0">
          <a:scrgbClr r="0" g="0" b="0"/>
        </a:effectRef>
        <a:fontRef idx="minor">
          <a:schemeClr val="lt1"/>
        </a:fontRef>
      </dsp:style>
    </dsp:sp>
    <dsp:sp modelId="{14BAE836-A5DB-4E93-95F7-D8E088015E48}">
      <dsp:nvSpPr>
        <dsp:cNvPr id="0" name=""/>
        <dsp:cNvSpPr/>
      </dsp:nvSpPr>
      <dsp:spPr>
        <a:xfrm>
          <a:off x="964479" y="-71645"/>
          <a:ext cx="991121" cy="991121"/>
        </a:xfrm>
        <a:prstGeom prst="circularArrow">
          <a:avLst>
            <a:gd name="adj1" fmla="val 5984"/>
            <a:gd name="adj2" fmla="val 394124"/>
            <a:gd name="adj3" fmla="val 13313824"/>
            <a:gd name="adj4" fmla="val 10508221"/>
            <a:gd name="adj5" fmla="val 6981"/>
          </a:avLst>
        </a:prstGeom>
        <a:solidFill>
          <a:srgbClr val="FF0000"/>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D0617D-5CFB-43E5-9055-EC316A35D3A0}">
      <dsp:nvSpPr>
        <dsp:cNvPr id="0" name=""/>
        <dsp:cNvSpPr/>
      </dsp:nvSpPr>
      <dsp:spPr>
        <a:xfrm>
          <a:off x="28" y="436579"/>
          <a:ext cx="2065733" cy="243027"/>
        </a:xfrm>
        <a:prstGeom prst="rect">
          <a:avLst/>
        </a:prstGeom>
        <a:solidFill>
          <a:srgbClr val="ED7D31">
            <a:hueOff val="0"/>
            <a:satOff val="0"/>
            <a:lumOff val="0"/>
            <a:alphaOff val="0"/>
          </a:srgbClr>
        </a:solidFill>
        <a:ln w="12700" cap="flat" cmpd="sng" algn="ctr">
          <a:solidFill>
            <a:srgbClr val="ED7D31">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B500B80-00BE-4786-9B19-647CE25FC4B5}">
      <dsp:nvSpPr>
        <dsp:cNvPr id="0" name=""/>
        <dsp:cNvSpPr/>
      </dsp:nvSpPr>
      <dsp:spPr>
        <a:xfrm>
          <a:off x="28" y="527850"/>
          <a:ext cx="151756" cy="151756"/>
        </a:xfrm>
        <a:prstGeom prst="rect">
          <a:avLst/>
        </a:prstGeom>
        <a:solidFill>
          <a:sysClr val="window" lastClr="FFFFFF">
            <a:alpha val="90000"/>
            <a:hueOff val="0"/>
            <a:satOff val="0"/>
            <a:lumOff val="0"/>
            <a:alphaOff val="0"/>
          </a:sysClr>
        </a:solidFill>
        <a:ln w="12700" cap="flat" cmpd="sng" algn="ctr">
          <a:solidFill>
            <a:srgbClr val="ED7D31">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981AA7CC-7ECD-4D1A-91CC-269B584BD190}">
      <dsp:nvSpPr>
        <dsp:cNvPr id="0" name=""/>
        <dsp:cNvSpPr/>
      </dsp:nvSpPr>
      <dsp:spPr>
        <a:xfrm>
          <a:off x="28" y="0"/>
          <a:ext cx="2065733" cy="4365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buNone/>
          </a:pPr>
          <a:r>
            <a:rPr lang="en-US" sz="1600" b="1" kern="1200" dirty="0">
              <a:solidFill>
                <a:sysClr val="windowText" lastClr="000000">
                  <a:hueOff val="0"/>
                  <a:satOff val="0"/>
                  <a:lumOff val="0"/>
                  <a:alphaOff val="0"/>
                </a:sysClr>
              </a:solidFill>
              <a:latin typeface="Calibri" panose="020F0502020204030204"/>
              <a:ea typeface="+mn-ea"/>
              <a:cs typeface="+mn-cs"/>
            </a:rPr>
            <a:t>Land Use, Catchments and Ecosystems</a:t>
          </a:r>
        </a:p>
      </dsp:txBody>
      <dsp:txXfrm>
        <a:off x="28" y="0"/>
        <a:ext cx="2065733" cy="436579"/>
      </dsp:txXfrm>
    </dsp:sp>
    <dsp:sp modelId="{91A2957E-8EE5-43F2-93CF-B7801ECB7D13}">
      <dsp:nvSpPr>
        <dsp:cNvPr id="0" name=""/>
        <dsp:cNvSpPr/>
      </dsp:nvSpPr>
      <dsp:spPr>
        <a:xfrm>
          <a:off x="28" y="881589"/>
          <a:ext cx="151752" cy="151752"/>
        </a:xfrm>
        <a:prstGeom prst="rect">
          <a:avLst/>
        </a:prstGeom>
        <a:solidFill>
          <a:sysClr val="window" lastClr="FFFFFF">
            <a:hueOff val="0"/>
            <a:satOff val="0"/>
            <a:lumOff val="0"/>
            <a:alphaOff val="0"/>
          </a:sysClr>
        </a:solidFill>
        <a:ln w="12700" cap="flat" cmpd="sng" algn="ctr">
          <a:solidFill>
            <a:srgbClr val="ED7D31">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932BCDBF-AA8F-4F8B-867E-3E169E06636A}">
      <dsp:nvSpPr>
        <dsp:cNvPr id="0" name=""/>
        <dsp:cNvSpPr/>
      </dsp:nvSpPr>
      <dsp:spPr>
        <a:xfrm>
          <a:off x="144629" y="780598"/>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Urban Planning &amp; Land Use </a:t>
          </a:r>
        </a:p>
      </dsp:txBody>
      <dsp:txXfrm>
        <a:off x="144629" y="780598"/>
        <a:ext cx="1921131" cy="353735"/>
      </dsp:txXfrm>
    </dsp:sp>
    <dsp:sp modelId="{58F472D0-EC5C-426A-A92F-1725F4311D76}">
      <dsp:nvSpPr>
        <dsp:cNvPr id="0" name=""/>
        <dsp:cNvSpPr/>
      </dsp:nvSpPr>
      <dsp:spPr>
        <a:xfrm>
          <a:off x="28" y="1235325"/>
          <a:ext cx="151752" cy="151752"/>
        </a:xfrm>
        <a:prstGeom prst="rect">
          <a:avLst/>
        </a:prstGeom>
        <a:solidFill>
          <a:sysClr val="window" lastClr="FFFFFF">
            <a:hueOff val="0"/>
            <a:satOff val="0"/>
            <a:lumOff val="0"/>
            <a:alphaOff val="0"/>
          </a:sysClr>
        </a:solidFill>
        <a:ln w="12700" cap="flat" cmpd="sng" algn="ctr">
          <a:solidFill>
            <a:srgbClr val="A5A5A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4DD694F8-3934-4E9C-84A0-012F19CBB087}">
      <dsp:nvSpPr>
        <dsp:cNvPr id="0" name=""/>
        <dsp:cNvSpPr/>
      </dsp:nvSpPr>
      <dsp:spPr>
        <a:xfrm>
          <a:off x="144629" y="1134333"/>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Catchment Management</a:t>
          </a:r>
        </a:p>
      </dsp:txBody>
      <dsp:txXfrm>
        <a:off x="144629" y="1134333"/>
        <a:ext cx="1921131" cy="353735"/>
      </dsp:txXfrm>
    </dsp:sp>
    <dsp:sp modelId="{D8DD3657-0445-4FEB-83FF-91CF9BFC21B9}">
      <dsp:nvSpPr>
        <dsp:cNvPr id="0" name=""/>
        <dsp:cNvSpPr/>
      </dsp:nvSpPr>
      <dsp:spPr>
        <a:xfrm>
          <a:off x="28" y="1589060"/>
          <a:ext cx="151752" cy="151752"/>
        </a:xfrm>
        <a:prstGeom prst="rect">
          <a:avLst/>
        </a:prstGeom>
        <a:solidFill>
          <a:sysClr val="window" lastClr="FFFFFF">
            <a:hueOff val="0"/>
            <a:satOff val="0"/>
            <a:lumOff val="0"/>
            <a:alphaOff val="0"/>
          </a:sysClr>
        </a:solidFill>
        <a:ln w="12700" cap="flat" cmpd="sng" algn="ctr">
          <a:solidFill>
            <a:srgbClr val="FFC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A2EACC7B-B204-4FD1-B975-5D4A13BEF185}">
      <dsp:nvSpPr>
        <dsp:cNvPr id="0" name=""/>
        <dsp:cNvSpPr/>
      </dsp:nvSpPr>
      <dsp:spPr>
        <a:xfrm>
          <a:off x="144629" y="1488069"/>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Storm Water &amp; Flood Mgt Management</a:t>
          </a:r>
        </a:p>
      </dsp:txBody>
      <dsp:txXfrm>
        <a:off x="144629" y="1488069"/>
        <a:ext cx="1921131" cy="353735"/>
      </dsp:txXfrm>
    </dsp:sp>
    <dsp:sp modelId="{FF464B75-7282-47C1-92CC-C7D057E9E7EE}">
      <dsp:nvSpPr>
        <dsp:cNvPr id="0" name=""/>
        <dsp:cNvSpPr/>
      </dsp:nvSpPr>
      <dsp:spPr>
        <a:xfrm>
          <a:off x="28" y="1942795"/>
          <a:ext cx="151752" cy="151752"/>
        </a:xfrm>
        <a:prstGeom prst="rect">
          <a:avLst/>
        </a:prstGeom>
        <a:solidFill>
          <a:sysClr val="window" lastClr="FFFFFF">
            <a:hueOff val="0"/>
            <a:satOff val="0"/>
            <a:lumOff val="0"/>
            <a:alphaOff val="0"/>
          </a:sysClr>
        </a:solidFill>
        <a:ln w="1270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C6EE381F-DF9D-4E6E-90EA-276760EB9725}">
      <dsp:nvSpPr>
        <dsp:cNvPr id="0" name=""/>
        <dsp:cNvSpPr/>
      </dsp:nvSpPr>
      <dsp:spPr>
        <a:xfrm>
          <a:off x="144629" y="1841804"/>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Natural Resource Management (wetlands and green spaces).</a:t>
          </a:r>
        </a:p>
      </dsp:txBody>
      <dsp:txXfrm>
        <a:off x="144629" y="1841804"/>
        <a:ext cx="1921131" cy="353735"/>
      </dsp:txXfrm>
    </dsp:sp>
    <dsp:sp modelId="{99AF0B02-346E-4E9E-A1AB-638362D2559F}">
      <dsp:nvSpPr>
        <dsp:cNvPr id="0" name=""/>
        <dsp:cNvSpPr/>
      </dsp:nvSpPr>
      <dsp:spPr>
        <a:xfrm>
          <a:off x="28" y="2296531"/>
          <a:ext cx="151752" cy="151752"/>
        </a:xfrm>
        <a:prstGeom prst="rect">
          <a:avLst/>
        </a:prstGeom>
        <a:solidFill>
          <a:sysClr val="window" lastClr="FFFFFF">
            <a:hueOff val="0"/>
            <a:satOff val="0"/>
            <a:lumOff val="0"/>
            <a:alphaOff val="0"/>
          </a:sysClr>
        </a:solidFill>
        <a:ln w="12700" cap="flat" cmpd="sng" algn="ctr">
          <a:solidFill>
            <a:srgbClr val="70AD47">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035F242A-6E8E-4442-A459-400E284C02CC}">
      <dsp:nvSpPr>
        <dsp:cNvPr id="0" name=""/>
        <dsp:cNvSpPr/>
      </dsp:nvSpPr>
      <dsp:spPr>
        <a:xfrm>
          <a:off x="144629" y="2195539"/>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Community Empowerment &amp; Institutional Strengthening </a:t>
          </a:r>
        </a:p>
      </dsp:txBody>
      <dsp:txXfrm>
        <a:off x="144629" y="2195539"/>
        <a:ext cx="1921131" cy="353735"/>
      </dsp:txXfrm>
    </dsp:sp>
    <dsp:sp modelId="{2529CB57-8CF6-4AE6-8E5C-1065C255E6AA}">
      <dsp:nvSpPr>
        <dsp:cNvPr id="0" name=""/>
        <dsp:cNvSpPr/>
      </dsp:nvSpPr>
      <dsp:spPr>
        <a:xfrm>
          <a:off x="2169048" y="436579"/>
          <a:ext cx="2065733" cy="243027"/>
        </a:xfrm>
        <a:prstGeom prst="rect">
          <a:avLst/>
        </a:prstGeom>
        <a:solidFill>
          <a:srgbClr val="00B050"/>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76EDFDB-624E-49DD-B996-116638746457}">
      <dsp:nvSpPr>
        <dsp:cNvPr id="0" name=""/>
        <dsp:cNvSpPr/>
      </dsp:nvSpPr>
      <dsp:spPr>
        <a:xfrm>
          <a:off x="2169048" y="527850"/>
          <a:ext cx="151756" cy="151756"/>
        </a:xfrm>
        <a:prstGeom prst="rect">
          <a:avLst/>
        </a:prstGeom>
        <a:solidFill>
          <a:sysClr val="window" lastClr="FFFFFF">
            <a:alpha val="90000"/>
            <a:hueOff val="0"/>
            <a:satOff val="0"/>
            <a:lumOff val="0"/>
            <a:alphaOff val="0"/>
          </a:sysClr>
        </a:solidFill>
        <a:ln w="12700" cap="flat" cmpd="sng" algn="ctr">
          <a:solidFill>
            <a:srgbClr val="A5A5A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0677D817-7938-4357-921E-9CB483D4C745}">
      <dsp:nvSpPr>
        <dsp:cNvPr id="0" name=""/>
        <dsp:cNvSpPr/>
      </dsp:nvSpPr>
      <dsp:spPr>
        <a:xfrm>
          <a:off x="2169048" y="0"/>
          <a:ext cx="2065733" cy="4365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buNone/>
          </a:pPr>
          <a:r>
            <a:rPr lang="en-US" sz="1600" b="1" kern="1200" dirty="0">
              <a:solidFill>
                <a:sysClr val="windowText" lastClr="000000">
                  <a:hueOff val="0"/>
                  <a:satOff val="0"/>
                  <a:lumOff val="0"/>
                  <a:alphaOff val="0"/>
                </a:sysClr>
              </a:solidFill>
              <a:latin typeface="Calibri" panose="020F0502020204030204"/>
              <a:ea typeface="+mn-ea"/>
              <a:cs typeface="+mn-cs"/>
            </a:rPr>
            <a:t>Water Supply and Sanitation</a:t>
          </a:r>
        </a:p>
      </dsp:txBody>
      <dsp:txXfrm>
        <a:off x="2169048" y="0"/>
        <a:ext cx="2065733" cy="436579"/>
      </dsp:txXfrm>
    </dsp:sp>
    <dsp:sp modelId="{71622090-C491-4E34-A400-70AA808F60C1}">
      <dsp:nvSpPr>
        <dsp:cNvPr id="0" name=""/>
        <dsp:cNvSpPr/>
      </dsp:nvSpPr>
      <dsp:spPr>
        <a:xfrm>
          <a:off x="2169048" y="881589"/>
          <a:ext cx="151752" cy="151752"/>
        </a:xfrm>
        <a:prstGeom prst="rect">
          <a:avLst/>
        </a:prstGeom>
        <a:solidFill>
          <a:sysClr val="window" lastClr="FFFFFF">
            <a:hueOff val="0"/>
            <a:satOff val="0"/>
            <a:lumOff val="0"/>
            <a:alphaOff val="0"/>
          </a:sysClr>
        </a:solidFill>
        <a:ln w="12700" cap="flat" cmpd="sng" algn="ctr">
          <a:solidFill>
            <a:srgbClr val="ED7D31">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E5529D63-CC96-4A88-A2B2-029ACA536BA5}">
      <dsp:nvSpPr>
        <dsp:cNvPr id="0" name=""/>
        <dsp:cNvSpPr/>
      </dsp:nvSpPr>
      <dsp:spPr>
        <a:xfrm>
          <a:off x="2313649" y="780598"/>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Water </a:t>
          </a:r>
          <a:r>
            <a:rPr lang="en-US" sz="1000" b="1" kern="1200" dirty="0" err="1">
              <a:solidFill>
                <a:sysClr val="windowText" lastClr="000000">
                  <a:hueOff val="0"/>
                  <a:satOff val="0"/>
                  <a:lumOff val="0"/>
                  <a:alphaOff val="0"/>
                </a:sysClr>
              </a:solidFill>
              <a:latin typeface="Calibri" panose="020F0502020204030204"/>
              <a:ea typeface="+mn-ea"/>
              <a:cs typeface="+mn-cs"/>
            </a:rPr>
            <a:t>Suppy</a:t>
          </a:r>
          <a:r>
            <a:rPr lang="en-US" sz="1000" b="1" kern="1200" dirty="0">
              <a:solidFill>
                <a:sysClr val="windowText" lastClr="000000">
                  <a:hueOff val="0"/>
                  <a:satOff val="0"/>
                  <a:lumOff val="0"/>
                  <a:alphaOff val="0"/>
                </a:sysClr>
              </a:solidFill>
              <a:latin typeface="Calibri" panose="020F0502020204030204"/>
              <a:ea typeface="+mn-ea"/>
              <a:cs typeface="+mn-cs"/>
            </a:rPr>
            <a:t> &amp; Sanitation (Informal Settlements)</a:t>
          </a:r>
        </a:p>
      </dsp:txBody>
      <dsp:txXfrm>
        <a:off x="2313649" y="780598"/>
        <a:ext cx="1921131" cy="353735"/>
      </dsp:txXfrm>
    </dsp:sp>
    <dsp:sp modelId="{45486FC4-71F8-4A59-B6D9-FEF4DB635842}">
      <dsp:nvSpPr>
        <dsp:cNvPr id="0" name=""/>
        <dsp:cNvSpPr/>
      </dsp:nvSpPr>
      <dsp:spPr>
        <a:xfrm>
          <a:off x="2169048" y="1235325"/>
          <a:ext cx="151752" cy="151752"/>
        </a:xfrm>
        <a:prstGeom prst="rect">
          <a:avLst/>
        </a:prstGeom>
        <a:solidFill>
          <a:sysClr val="window" lastClr="FFFFFF">
            <a:hueOff val="0"/>
            <a:satOff val="0"/>
            <a:lumOff val="0"/>
            <a:alphaOff val="0"/>
          </a:sysClr>
        </a:solidFill>
        <a:ln w="12700" cap="flat" cmpd="sng" algn="ctr">
          <a:solidFill>
            <a:srgbClr val="A5A5A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FA3AED4F-7D19-47C8-A870-2F88AA1F0C76}">
      <dsp:nvSpPr>
        <dsp:cNvPr id="0" name=""/>
        <dsp:cNvSpPr/>
      </dsp:nvSpPr>
      <dsp:spPr>
        <a:xfrm>
          <a:off x="2313649" y="1134333"/>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Feacal</a:t>
          </a:r>
          <a:r>
            <a:rPr lang="en-US" sz="1000" b="1" kern="1200" baseline="0" dirty="0">
              <a:solidFill>
                <a:sysClr val="windowText" lastClr="000000">
                  <a:hueOff val="0"/>
                  <a:satOff val="0"/>
                  <a:lumOff val="0"/>
                  <a:alphaOff val="0"/>
                </a:sysClr>
              </a:solidFill>
              <a:latin typeface="Calibri" panose="020F0502020204030204"/>
              <a:ea typeface="+mn-ea"/>
              <a:cs typeface="+mn-cs"/>
            </a:rPr>
            <a:t> Sludge Management </a:t>
          </a:r>
          <a:endParaRPr lang="en-US" sz="1000" b="1" kern="1200" dirty="0">
            <a:solidFill>
              <a:sysClr val="windowText" lastClr="000000">
                <a:hueOff val="0"/>
                <a:satOff val="0"/>
                <a:lumOff val="0"/>
                <a:alphaOff val="0"/>
              </a:sysClr>
            </a:solidFill>
            <a:latin typeface="Calibri" panose="020F0502020204030204"/>
            <a:ea typeface="+mn-ea"/>
            <a:cs typeface="+mn-cs"/>
          </a:endParaRPr>
        </a:p>
      </dsp:txBody>
      <dsp:txXfrm>
        <a:off x="2313649" y="1134333"/>
        <a:ext cx="1921131" cy="353735"/>
      </dsp:txXfrm>
    </dsp:sp>
    <dsp:sp modelId="{4E66DB93-23DF-44BA-8B95-AF5245072076}">
      <dsp:nvSpPr>
        <dsp:cNvPr id="0" name=""/>
        <dsp:cNvSpPr/>
      </dsp:nvSpPr>
      <dsp:spPr>
        <a:xfrm>
          <a:off x="2169048" y="1589060"/>
          <a:ext cx="151752" cy="151752"/>
        </a:xfrm>
        <a:prstGeom prst="rect">
          <a:avLst/>
        </a:prstGeom>
        <a:solidFill>
          <a:sysClr val="window" lastClr="FFFFFF">
            <a:hueOff val="0"/>
            <a:satOff val="0"/>
            <a:lumOff val="0"/>
            <a:alphaOff val="0"/>
          </a:sysClr>
        </a:solidFill>
        <a:ln w="12700" cap="flat" cmpd="sng" algn="ctr">
          <a:solidFill>
            <a:srgbClr val="FFC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9DDCDDB4-D757-42E3-B7F3-DA87BEBDB8BE}">
      <dsp:nvSpPr>
        <dsp:cNvPr id="0" name=""/>
        <dsp:cNvSpPr/>
      </dsp:nvSpPr>
      <dsp:spPr>
        <a:xfrm>
          <a:off x="2313649" y="1488069"/>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Source Protection (Surface &amp; Groundwater)</a:t>
          </a:r>
        </a:p>
      </dsp:txBody>
      <dsp:txXfrm>
        <a:off x="2313649" y="1488069"/>
        <a:ext cx="1921131" cy="353735"/>
      </dsp:txXfrm>
    </dsp:sp>
    <dsp:sp modelId="{0C51504B-31FF-4281-8CBF-29920C81364E}">
      <dsp:nvSpPr>
        <dsp:cNvPr id="0" name=""/>
        <dsp:cNvSpPr/>
      </dsp:nvSpPr>
      <dsp:spPr>
        <a:xfrm>
          <a:off x="2169048" y="1942795"/>
          <a:ext cx="151752" cy="151752"/>
        </a:xfrm>
        <a:prstGeom prst="rect">
          <a:avLst/>
        </a:prstGeom>
        <a:solidFill>
          <a:sysClr val="window" lastClr="FFFFFF">
            <a:hueOff val="0"/>
            <a:satOff val="0"/>
            <a:lumOff val="0"/>
            <a:alphaOff val="0"/>
          </a:sysClr>
        </a:solidFill>
        <a:ln w="1270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E6A6AF7B-AAF5-47B5-9807-289CD7E66AB1}">
      <dsp:nvSpPr>
        <dsp:cNvPr id="0" name=""/>
        <dsp:cNvSpPr/>
      </dsp:nvSpPr>
      <dsp:spPr>
        <a:xfrm>
          <a:off x="2313649" y="1841804"/>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Water Supply &amp; Sanitation (Formal Settlements)</a:t>
          </a:r>
        </a:p>
      </dsp:txBody>
      <dsp:txXfrm>
        <a:off x="2313649" y="1841804"/>
        <a:ext cx="1921131" cy="353735"/>
      </dsp:txXfrm>
    </dsp:sp>
    <dsp:sp modelId="{BBA1E8E6-D5E2-483D-8093-E990C06364F4}">
      <dsp:nvSpPr>
        <dsp:cNvPr id="0" name=""/>
        <dsp:cNvSpPr/>
      </dsp:nvSpPr>
      <dsp:spPr>
        <a:xfrm>
          <a:off x="2169048" y="2296531"/>
          <a:ext cx="151752" cy="151752"/>
        </a:xfrm>
        <a:prstGeom prst="rect">
          <a:avLst/>
        </a:prstGeom>
        <a:solidFill>
          <a:sysClr val="window" lastClr="FFFFFF">
            <a:hueOff val="0"/>
            <a:satOff val="0"/>
            <a:lumOff val="0"/>
            <a:alphaOff val="0"/>
          </a:sysClr>
        </a:solidFill>
        <a:ln w="12700" cap="flat" cmpd="sng" algn="ctr">
          <a:solidFill>
            <a:srgbClr val="70AD47">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1977538E-9341-4969-94CF-461C786C8B9A}">
      <dsp:nvSpPr>
        <dsp:cNvPr id="0" name=""/>
        <dsp:cNvSpPr/>
      </dsp:nvSpPr>
      <dsp:spPr>
        <a:xfrm>
          <a:off x="2313649" y="2195539"/>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Institutional Framework on Sanitation Management.</a:t>
          </a:r>
        </a:p>
      </dsp:txBody>
      <dsp:txXfrm>
        <a:off x="2313649" y="2195539"/>
        <a:ext cx="1921131" cy="353735"/>
      </dsp:txXfrm>
    </dsp:sp>
    <dsp:sp modelId="{B81A3773-8024-4A1A-92D8-69EFC37FB323}">
      <dsp:nvSpPr>
        <dsp:cNvPr id="0" name=""/>
        <dsp:cNvSpPr/>
      </dsp:nvSpPr>
      <dsp:spPr>
        <a:xfrm>
          <a:off x="4292456" y="403921"/>
          <a:ext cx="2065733" cy="243027"/>
        </a:xfrm>
        <a:prstGeom prst="rect">
          <a:avLst/>
        </a:prstGeom>
        <a:solidFill>
          <a:srgbClr val="FFC000">
            <a:hueOff val="0"/>
            <a:satOff val="0"/>
            <a:lumOff val="0"/>
            <a:alphaOff val="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0AFB8A1-904D-442A-95F3-D2D251F3FEC9}">
      <dsp:nvSpPr>
        <dsp:cNvPr id="0" name=""/>
        <dsp:cNvSpPr/>
      </dsp:nvSpPr>
      <dsp:spPr>
        <a:xfrm>
          <a:off x="4338067" y="527850"/>
          <a:ext cx="151756" cy="151756"/>
        </a:xfrm>
        <a:prstGeom prst="rect">
          <a:avLst/>
        </a:prstGeom>
        <a:solidFill>
          <a:sysClr val="window" lastClr="FFFFFF">
            <a:alpha val="90000"/>
            <a:hueOff val="0"/>
            <a:satOff val="0"/>
            <a:lumOff val="0"/>
            <a:alphaOff val="0"/>
          </a:sysClr>
        </a:solidFill>
        <a:ln w="12700" cap="flat" cmpd="sng" algn="ctr">
          <a:solidFill>
            <a:srgbClr val="FFC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0E676114-6B23-487E-A403-FDDDBA86C2CC}">
      <dsp:nvSpPr>
        <dsp:cNvPr id="0" name=""/>
        <dsp:cNvSpPr/>
      </dsp:nvSpPr>
      <dsp:spPr>
        <a:xfrm>
          <a:off x="4338067" y="0"/>
          <a:ext cx="2065733" cy="4365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buNone/>
          </a:pPr>
          <a:r>
            <a:rPr lang="en-US" sz="1600" b="1" kern="1200" dirty="0">
              <a:solidFill>
                <a:sysClr val="windowText" lastClr="000000">
                  <a:hueOff val="0"/>
                  <a:satOff val="0"/>
                  <a:lumOff val="0"/>
                  <a:alphaOff val="0"/>
                </a:sysClr>
              </a:solidFill>
              <a:latin typeface="Calibri" panose="020F0502020204030204"/>
              <a:ea typeface="+mn-ea"/>
              <a:cs typeface="+mn-cs"/>
            </a:rPr>
            <a:t>Solid Waste Management  </a:t>
          </a:r>
        </a:p>
      </dsp:txBody>
      <dsp:txXfrm>
        <a:off x="4338067" y="0"/>
        <a:ext cx="2065733" cy="436579"/>
      </dsp:txXfrm>
    </dsp:sp>
    <dsp:sp modelId="{12129C4F-F2B2-4EB7-A210-F6A545606288}">
      <dsp:nvSpPr>
        <dsp:cNvPr id="0" name=""/>
        <dsp:cNvSpPr/>
      </dsp:nvSpPr>
      <dsp:spPr>
        <a:xfrm>
          <a:off x="4338067" y="881589"/>
          <a:ext cx="151752" cy="151752"/>
        </a:xfrm>
        <a:prstGeom prst="rect">
          <a:avLst/>
        </a:prstGeom>
        <a:solidFill>
          <a:sysClr val="window" lastClr="FFFFFF">
            <a:hueOff val="0"/>
            <a:satOff val="0"/>
            <a:lumOff val="0"/>
            <a:alphaOff val="0"/>
          </a:sysClr>
        </a:solidFill>
        <a:ln w="12700" cap="flat" cmpd="sng" algn="ctr">
          <a:solidFill>
            <a:srgbClr val="ED7D31">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6AD7A256-446E-4333-8137-D9C4DEA5A58B}">
      <dsp:nvSpPr>
        <dsp:cNvPr id="0" name=""/>
        <dsp:cNvSpPr/>
      </dsp:nvSpPr>
      <dsp:spPr>
        <a:xfrm>
          <a:off x="4482669" y="780598"/>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Solid Waste Management (Informal Settlements) </a:t>
          </a:r>
        </a:p>
      </dsp:txBody>
      <dsp:txXfrm>
        <a:off x="4482669" y="780598"/>
        <a:ext cx="1921131" cy="353735"/>
      </dsp:txXfrm>
    </dsp:sp>
    <dsp:sp modelId="{E17A7075-08DB-4887-B635-AC6183C5056A}">
      <dsp:nvSpPr>
        <dsp:cNvPr id="0" name=""/>
        <dsp:cNvSpPr/>
      </dsp:nvSpPr>
      <dsp:spPr>
        <a:xfrm>
          <a:off x="4338067" y="1235325"/>
          <a:ext cx="151752" cy="151752"/>
        </a:xfrm>
        <a:prstGeom prst="rect">
          <a:avLst/>
        </a:prstGeom>
        <a:solidFill>
          <a:sysClr val="window" lastClr="FFFFFF">
            <a:hueOff val="0"/>
            <a:satOff val="0"/>
            <a:lumOff val="0"/>
            <a:alphaOff val="0"/>
          </a:sysClr>
        </a:solidFill>
        <a:ln w="12700" cap="flat" cmpd="sng" algn="ctr">
          <a:solidFill>
            <a:srgbClr val="A5A5A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A5B01EC5-C672-49C7-8C47-19C6E5A0D914}">
      <dsp:nvSpPr>
        <dsp:cNvPr id="0" name=""/>
        <dsp:cNvSpPr/>
      </dsp:nvSpPr>
      <dsp:spPr>
        <a:xfrm>
          <a:off x="4482669" y="1134333"/>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Solid Waste Management Services (3Rs</a:t>
          </a:r>
          <a:r>
            <a:rPr lang="en-US" sz="850" kern="1200" dirty="0">
              <a:solidFill>
                <a:sysClr val="windowText" lastClr="000000">
                  <a:hueOff val="0"/>
                  <a:satOff val="0"/>
                  <a:lumOff val="0"/>
                  <a:alphaOff val="0"/>
                </a:sysClr>
              </a:solidFill>
              <a:latin typeface="Calibri" panose="020F0502020204030204"/>
              <a:ea typeface="+mn-ea"/>
              <a:cs typeface="+mn-cs"/>
            </a:rPr>
            <a:t>) </a:t>
          </a:r>
        </a:p>
      </dsp:txBody>
      <dsp:txXfrm>
        <a:off x="4482669" y="1134333"/>
        <a:ext cx="1921131" cy="353735"/>
      </dsp:txXfrm>
    </dsp:sp>
    <dsp:sp modelId="{D1C2F8E8-26D5-4474-8179-918F5C899DFF}">
      <dsp:nvSpPr>
        <dsp:cNvPr id="0" name=""/>
        <dsp:cNvSpPr/>
      </dsp:nvSpPr>
      <dsp:spPr>
        <a:xfrm>
          <a:off x="4338067" y="1589060"/>
          <a:ext cx="151752" cy="151752"/>
        </a:xfrm>
        <a:prstGeom prst="rect">
          <a:avLst/>
        </a:prstGeom>
        <a:solidFill>
          <a:sysClr val="window" lastClr="FFFFFF">
            <a:hueOff val="0"/>
            <a:satOff val="0"/>
            <a:lumOff val="0"/>
            <a:alphaOff val="0"/>
          </a:sysClr>
        </a:solidFill>
        <a:ln w="12700" cap="flat" cmpd="sng" algn="ctr">
          <a:solidFill>
            <a:srgbClr val="FFC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CA8A3CC6-AB1E-4C7F-808A-64E6276495D4}">
      <dsp:nvSpPr>
        <dsp:cNvPr id="0" name=""/>
        <dsp:cNvSpPr/>
      </dsp:nvSpPr>
      <dsp:spPr>
        <a:xfrm>
          <a:off x="4482669" y="1488069"/>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chemeClr val="tx1">
                  <a:lumMod val="85000"/>
                  <a:lumOff val="15000"/>
                </a:schemeClr>
              </a:solidFill>
              <a:latin typeface="Calibri" panose="020F0502020204030204"/>
              <a:ea typeface="+mn-ea"/>
              <a:cs typeface="+mn-cs"/>
            </a:rPr>
            <a:t>Community Empowerment</a:t>
          </a:r>
        </a:p>
      </dsp:txBody>
      <dsp:txXfrm>
        <a:off x="4482669" y="1488069"/>
        <a:ext cx="1921131" cy="353735"/>
      </dsp:txXfrm>
    </dsp:sp>
    <dsp:sp modelId="{5C424BFD-EAAA-4C3D-8EC3-76F576E17E1B}">
      <dsp:nvSpPr>
        <dsp:cNvPr id="0" name=""/>
        <dsp:cNvSpPr/>
      </dsp:nvSpPr>
      <dsp:spPr>
        <a:xfrm>
          <a:off x="4338067" y="1942795"/>
          <a:ext cx="151752" cy="151752"/>
        </a:xfrm>
        <a:prstGeom prst="rect">
          <a:avLst/>
        </a:prstGeom>
        <a:solidFill>
          <a:sysClr val="window" lastClr="FFFFFF">
            <a:hueOff val="0"/>
            <a:satOff val="0"/>
            <a:lumOff val="0"/>
            <a:alphaOff val="0"/>
          </a:sysClr>
        </a:solidFill>
        <a:ln w="1270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8F9CEADE-E152-4747-9FCB-4C1F1E3D9731}">
      <dsp:nvSpPr>
        <dsp:cNvPr id="0" name=""/>
        <dsp:cNvSpPr/>
      </dsp:nvSpPr>
      <dsp:spPr>
        <a:xfrm>
          <a:off x="4482669" y="1841804"/>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Regulations &amp; Enforcement</a:t>
          </a:r>
        </a:p>
      </dsp:txBody>
      <dsp:txXfrm>
        <a:off x="4482669" y="1841804"/>
        <a:ext cx="1921131" cy="353735"/>
      </dsp:txXfrm>
    </dsp:sp>
    <dsp:sp modelId="{EE50F389-7B9A-4255-835D-D392F8798F7E}">
      <dsp:nvSpPr>
        <dsp:cNvPr id="0" name=""/>
        <dsp:cNvSpPr/>
      </dsp:nvSpPr>
      <dsp:spPr>
        <a:xfrm>
          <a:off x="4338067" y="2296531"/>
          <a:ext cx="151752" cy="151752"/>
        </a:xfrm>
        <a:prstGeom prst="rect">
          <a:avLst/>
        </a:prstGeom>
        <a:solidFill>
          <a:sysClr val="window" lastClr="FFFFFF">
            <a:hueOff val="0"/>
            <a:satOff val="0"/>
            <a:lumOff val="0"/>
            <a:alphaOff val="0"/>
          </a:sysClr>
        </a:solidFill>
        <a:ln w="12700" cap="flat" cmpd="sng" algn="ctr">
          <a:solidFill>
            <a:srgbClr val="70AD47">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C4058905-38A0-4240-BB83-71CD79B1D9D9}">
      <dsp:nvSpPr>
        <dsp:cNvPr id="0" name=""/>
        <dsp:cNvSpPr/>
      </dsp:nvSpPr>
      <dsp:spPr>
        <a:xfrm>
          <a:off x="4482669" y="2195539"/>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Community Empowerment &amp; Institutional Strengthening.</a:t>
          </a:r>
        </a:p>
      </dsp:txBody>
      <dsp:txXfrm>
        <a:off x="4482669" y="2195539"/>
        <a:ext cx="1921131" cy="353735"/>
      </dsp:txXfrm>
    </dsp:sp>
    <dsp:sp modelId="{F6DF5B83-AFF5-4565-93F3-6831AA6F3736}">
      <dsp:nvSpPr>
        <dsp:cNvPr id="0" name=""/>
        <dsp:cNvSpPr/>
      </dsp:nvSpPr>
      <dsp:spPr>
        <a:xfrm>
          <a:off x="6507087" y="436579"/>
          <a:ext cx="2065733" cy="243027"/>
        </a:xfrm>
        <a:prstGeom prst="rect">
          <a:avLst/>
        </a:prstGeom>
        <a:solidFill>
          <a:srgbClr val="5B9BD5">
            <a:hueOff val="0"/>
            <a:satOff val="0"/>
            <a:lumOff val="0"/>
            <a:alphaOff val="0"/>
          </a:srgbClr>
        </a:solid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110C2F5-158E-4451-8B93-4EEABC44FD26}">
      <dsp:nvSpPr>
        <dsp:cNvPr id="0" name=""/>
        <dsp:cNvSpPr/>
      </dsp:nvSpPr>
      <dsp:spPr>
        <a:xfrm>
          <a:off x="6507087" y="527850"/>
          <a:ext cx="151756" cy="151756"/>
        </a:xfrm>
        <a:prstGeom prst="rect">
          <a:avLst/>
        </a:prstGeom>
        <a:solidFill>
          <a:sysClr val="window" lastClr="FFFFFF">
            <a:alpha val="90000"/>
            <a:hueOff val="0"/>
            <a:satOff val="0"/>
            <a:lumOff val="0"/>
            <a:alphaOff val="0"/>
          </a:sysClr>
        </a:solidFill>
        <a:ln w="1270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8DD8E0E3-F101-4B4E-81AC-AFFEC08CF403}">
      <dsp:nvSpPr>
        <dsp:cNvPr id="0" name=""/>
        <dsp:cNvSpPr/>
      </dsp:nvSpPr>
      <dsp:spPr>
        <a:xfrm>
          <a:off x="6507087" y="0"/>
          <a:ext cx="2065733" cy="4365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ctr" defTabSz="711200">
            <a:lnSpc>
              <a:spcPct val="90000"/>
            </a:lnSpc>
            <a:spcBef>
              <a:spcPct val="0"/>
            </a:spcBef>
            <a:spcAft>
              <a:spcPct val="35000"/>
            </a:spcAft>
            <a:buNone/>
          </a:pPr>
          <a:r>
            <a:rPr lang="en-US" sz="1600" b="1" kern="1200" dirty="0">
              <a:solidFill>
                <a:sysClr val="windowText" lastClr="000000">
                  <a:hueOff val="0"/>
                  <a:satOff val="0"/>
                  <a:lumOff val="0"/>
                  <a:alphaOff val="0"/>
                </a:sysClr>
              </a:solidFill>
              <a:latin typeface="Calibri" panose="020F0502020204030204"/>
              <a:ea typeface="+mn-ea"/>
              <a:cs typeface="+mn-cs"/>
            </a:rPr>
            <a:t>Effluent Management </a:t>
          </a:r>
        </a:p>
      </dsp:txBody>
      <dsp:txXfrm>
        <a:off x="6507087" y="0"/>
        <a:ext cx="2065733" cy="436579"/>
      </dsp:txXfrm>
    </dsp:sp>
    <dsp:sp modelId="{55CC54B6-6348-44DF-B402-77788ACE3C0B}">
      <dsp:nvSpPr>
        <dsp:cNvPr id="0" name=""/>
        <dsp:cNvSpPr/>
      </dsp:nvSpPr>
      <dsp:spPr>
        <a:xfrm>
          <a:off x="6507087" y="881589"/>
          <a:ext cx="151752" cy="151752"/>
        </a:xfrm>
        <a:prstGeom prst="rect">
          <a:avLst/>
        </a:prstGeom>
        <a:solidFill>
          <a:sysClr val="window" lastClr="FFFFFF">
            <a:hueOff val="0"/>
            <a:satOff val="0"/>
            <a:lumOff val="0"/>
            <a:alphaOff val="0"/>
          </a:sysClr>
        </a:solidFill>
        <a:ln w="12700" cap="flat" cmpd="sng" algn="ctr">
          <a:solidFill>
            <a:srgbClr val="ED7D31">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E0CF2773-C9EF-4C9A-A179-0A6D56F9F167}">
      <dsp:nvSpPr>
        <dsp:cNvPr id="0" name=""/>
        <dsp:cNvSpPr/>
      </dsp:nvSpPr>
      <dsp:spPr>
        <a:xfrm>
          <a:off x="6651688" y="780598"/>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Non Point Source Pollution</a:t>
          </a:r>
        </a:p>
      </dsp:txBody>
      <dsp:txXfrm>
        <a:off x="6651688" y="780598"/>
        <a:ext cx="1921131" cy="353735"/>
      </dsp:txXfrm>
    </dsp:sp>
    <dsp:sp modelId="{71ADC35A-9416-4D74-8FC1-30B10E0A0C1D}">
      <dsp:nvSpPr>
        <dsp:cNvPr id="0" name=""/>
        <dsp:cNvSpPr/>
      </dsp:nvSpPr>
      <dsp:spPr>
        <a:xfrm>
          <a:off x="6507087" y="1235325"/>
          <a:ext cx="151752" cy="151752"/>
        </a:xfrm>
        <a:prstGeom prst="rect">
          <a:avLst/>
        </a:prstGeom>
        <a:solidFill>
          <a:sysClr val="window" lastClr="FFFFFF">
            <a:hueOff val="0"/>
            <a:satOff val="0"/>
            <a:lumOff val="0"/>
            <a:alphaOff val="0"/>
          </a:sysClr>
        </a:solidFill>
        <a:ln w="12700" cap="flat" cmpd="sng" algn="ctr">
          <a:solidFill>
            <a:srgbClr val="A5A5A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2313F6E6-CF76-445B-92A0-9F0F5BB88CCE}">
      <dsp:nvSpPr>
        <dsp:cNvPr id="0" name=""/>
        <dsp:cNvSpPr/>
      </dsp:nvSpPr>
      <dsp:spPr>
        <a:xfrm>
          <a:off x="6651688" y="1134333"/>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Industrial Pollution</a:t>
          </a:r>
        </a:p>
      </dsp:txBody>
      <dsp:txXfrm>
        <a:off x="6651688" y="1134333"/>
        <a:ext cx="1921131" cy="353735"/>
      </dsp:txXfrm>
    </dsp:sp>
    <dsp:sp modelId="{17D73BFB-F702-4A99-A85C-D41091D5EE86}">
      <dsp:nvSpPr>
        <dsp:cNvPr id="0" name=""/>
        <dsp:cNvSpPr/>
      </dsp:nvSpPr>
      <dsp:spPr>
        <a:xfrm>
          <a:off x="6507087" y="1589060"/>
          <a:ext cx="151752" cy="151752"/>
        </a:xfrm>
        <a:prstGeom prst="rect">
          <a:avLst/>
        </a:prstGeom>
        <a:solidFill>
          <a:sysClr val="window" lastClr="FFFFFF">
            <a:hueOff val="0"/>
            <a:satOff val="0"/>
            <a:lumOff val="0"/>
            <a:alphaOff val="0"/>
          </a:sysClr>
        </a:solidFill>
        <a:ln w="12700" cap="flat" cmpd="sng" algn="ctr">
          <a:solidFill>
            <a:srgbClr val="FFC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B83A27CB-CD68-4A98-BF3E-5A44538ABEA3}">
      <dsp:nvSpPr>
        <dsp:cNvPr id="0" name=""/>
        <dsp:cNvSpPr/>
      </dsp:nvSpPr>
      <dsp:spPr>
        <a:xfrm>
          <a:off x="6651688" y="1488069"/>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Commercial &amp; Residential Pollution </a:t>
          </a:r>
        </a:p>
      </dsp:txBody>
      <dsp:txXfrm>
        <a:off x="6651688" y="1488069"/>
        <a:ext cx="1921131" cy="353735"/>
      </dsp:txXfrm>
    </dsp:sp>
    <dsp:sp modelId="{BF822A7D-FA92-49B0-88B4-EC3FE092E273}">
      <dsp:nvSpPr>
        <dsp:cNvPr id="0" name=""/>
        <dsp:cNvSpPr/>
      </dsp:nvSpPr>
      <dsp:spPr>
        <a:xfrm>
          <a:off x="6507087" y="1942795"/>
          <a:ext cx="151752" cy="151752"/>
        </a:xfrm>
        <a:prstGeom prst="rect">
          <a:avLst/>
        </a:prstGeom>
        <a:solidFill>
          <a:sysClr val="window" lastClr="FFFFFF">
            <a:hueOff val="0"/>
            <a:satOff val="0"/>
            <a:lumOff val="0"/>
            <a:alphaOff val="0"/>
          </a:sysClr>
        </a:solidFill>
        <a:ln w="12700" cap="flat" cmpd="sng" algn="ctr">
          <a:solidFill>
            <a:srgbClr val="5B9BD5">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A954ADEF-A953-4ADC-B5A9-A305FFE2D7C5}">
      <dsp:nvSpPr>
        <dsp:cNvPr id="0" name=""/>
        <dsp:cNvSpPr/>
      </dsp:nvSpPr>
      <dsp:spPr>
        <a:xfrm>
          <a:off x="6651688" y="1841804"/>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i="0" kern="1200" dirty="0">
              <a:solidFill>
                <a:sysClr val="windowText" lastClr="000000">
                  <a:hueOff val="0"/>
                  <a:satOff val="0"/>
                  <a:lumOff val="0"/>
                  <a:alphaOff val="0"/>
                </a:sysClr>
              </a:solidFill>
              <a:latin typeface="Calibri" panose="020F0502020204030204"/>
              <a:ea typeface="+mn-ea"/>
              <a:cs typeface="+mn-cs"/>
            </a:rPr>
            <a:t>Regulations &amp; Enforcement</a:t>
          </a:r>
        </a:p>
      </dsp:txBody>
      <dsp:txXfrm>
        <a:off x="6651688" y="1841804"/>
        <a:ext cx="1921131" cy="353735"/>
      </dsp:txXfrm>
    </dsp:sp>
    <dsp:sp modelId="{8D856E33-834A-4E6A-A4B3-3632FD56BBDC}">
      <dsp:nvSpPr>
        <dsp:cNvPr id="0" name=""/>
        <dsp:cNvSpPr/>
      </dsp:nvSpPr>
      <dsp:spPr>
        <a:xfrm>
          <a:off x="6507087" y="2296531"/>
          <a:ext cx="151752" cy="151752"/>
        </a:xfrm>
        <a:prstGeom prst="rect">
          <a:avLst/>
        </a:prstGeom>
        <a:solidFill>
          <a:sysClr val="window" lastClr="FFFFFF">
            <a:hueOff val="0"/>
            <a:satOff val="0"/>
            <a:lumOff val="0"/>
            <a:alphaOff val="0"/>
          </a:sysClr>
        </a:solidFill>
        <a:ln w="12700" cap="flat" cmpd="sng" algn="ctr">
          <a:solidFill>
            <a:srgbClr val="70AD47">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4CD4422A-2B9A-48AB-A58C-9F78837A2029}">
      <dsp:nvSpPr>
        <dsp:cNvPr id="0" name=""/>
        <dsp:cNvSpPr/>
      </dsp:nvSpPr>
      <dsp:spPr>
        <a:xfrm>
          <a:off x="6651688" y="2195539"/>
          <a:ext cx="1921131" cy="3537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1120" tIns="71120" rIns="71120" bIns="71120" numCol="1" spcCol="1270" anchor="ctr" anchorCtr="0">
          <a:noAutofit/>
        </a:bodyPr>
        <a:lstStyle/>
        <a:p>
          <a:pPr lvl="0" algn="l" defTabSz="444500">
            <a:lnSpc>
              <a:spcPct val="90000"/>
            </a:lnSpc>
            <a:spcBef>
              <a:spcPct val="0"/>
            </a:spcBef>
            <a:spcAft>
              <a:spcPct val="35000"/>
            </a:spcAft>
            <a:buNone/>
          </a:pPr>
          <a:r>
            <a:rPr lang="en-US" sz="1000" b="1" kern="1200" dirty="0">
              <a:solidFill>
                <a:sysClr val="windowText" lastClr="000000">
                  <a:hueOff val="0"/>
                  <a:satOff val="0"/>
                  <a:lumOff val="0"/>
                  <a:alphaOff val="0"/>
                </a:sysClr>
              </a:solidFill>
              <a:latin typeface="Calibri" panose="020F0502020204030204"/>
              <a:ea typeface="+mn-ea"/>
              <a:cs typeface="+mn-cs"/>
            </a:rPr>
            <a:t>Institutional Strengthening</a:t>
          </a:r>
        </a:p>
      </dsp:txBody>
      <dsp:txXfrm>
        <a:off x="6651688" y="2195539"/>
        <a:ext cx="1921131" cy="3537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5E137F-3F3B-4726-9670-13984C693172}">
      <dsp:nvSpPr>
        <dsp:cNvPr id="0" name=""/>
        <dsp:cNvSpPr/>
      </dsp:nvSpPr>
      <dsp:spPr>
        <a:xfrm>
          <a:off x="2369208" y="2057003"/>
          <a:ext cx="3020059" cy="2131434"/>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b="1" kern="1200" dirty="0" smtClean="0"/>
            <a:t>47 Multi-Stakeholder  Projects                              </a:t>
          </a:r>
          <a:r>
            <a:rPr lang="en-US" sz="1800" b="1" kern="1200" dirty="0" smtClean="0">
              <a:solidFill>
                <a:srgbClr val="FFC000"/>
              </a:solidFill>
            </a:rPr>
            <a:t>30</a:t>
          </a:r>
          <a:r>
            <a:rPr lang="en-US" sz="1800" b="1" kern="1200" baseline="30000" dirty="0" smtClean="0">
              <a:solidFill>
                <a:srgbClr val="FFC000"/>
              </a:solidFill>
            </a:rPr>
            <a:t>th</a:t>
          </a:r>
          <a:r>
            <a:rPr lang="en-US" sz="1800" b="1" kern="1200" dirty="0" smtClean="0">
              <a:solidFill>
                <a:srgbClr val="FFC000"/>
              </a:solidFill>
            </a:rPr>
            <a:t>  July 2019</a:t>
          </a:r>
          <a:endParaRPr lang="en-US" sz="1050" b="1" kern="1200" dirty="0">
            <a:solidFill>
              <a:srgbClr val="FFC000"/>
            </a:solidFill>
          </a:endParaRPr>
        </a:p>
      </dsp:txBody>
      <dsp:txXfrm>
        <a:off x="2811485" y="2369144"/>
        <a:ext cx="2135505" cy="1507152"/>
      </dsp:txXfrm>
    </dsp:sp>
    <dsp:sp modelId="{4D2E0470-1B2A-4C81-91FA-9A55E0E8BDBC}">
      <dsp:nvSpPr>
        <dsp:cNvPr id="0" name=""/>
        <dsp:cNvSpPr/>
      </dsp:nvSpPr>
      <dsp:spPr>
        <a:xfrm rot="10653652">
          <a:off x="1157654" y="2941426"/>
          <a:ext cx="1148058" cy="545544"/>
        </a:xfrm>
        <a:prstGeom prst="leftArrow">
          <a:avLst>
            <a:gd name="adj1" fmla="val 60000"/>
            <a:gd name="adj2" fmla="val 50000"/>
          </a:avLst>
        </a:prstGeom>
        <a:solidFill>
          <a:schemeClr val="accent3">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sp>
    <dsp:sp modelId="{73052EB0-0390-4FDC-B57B-AE11226E4A4B}">
      <dsp:nvSpPr>
        <dsp:cNvPr id="0" name=""/>
        <dsp:cNvSpPr/>
      </dsp:nvSpPr>
      <dsp:spPr>
        <a:xfrm>
          <a:off x="488207" y="2702654"/>
          <a:ext cx="1339934" cy="1071947"/>
        </a:xfrm>
        <a:prstGeom prst="roundRect">
          <a:avLst>
            <a:gd name="adj" fmla="val 10000"/>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444500">
            <a:lnSpc>
              <a:spcPct val="90000"/>
            </a:lnSpc>
            <a:spcBef>
              <a:spcPct val="0"/>
            </a:spcBef>
            <a:spcAft>
              <a:spcPct val="35000"/>
            </a:spcAft>
          </a:pPr>
          <a:r>
            <a:rPr lang="en-US" sz="1000" b="1" kern="1200" dirty="0"/>
            <a:t>Internal ideation Meetings- Lead Partners &amp; Line agencies</a:t>
          </a:r>
        </a:p>
        <a:p>
          <a:pPr lvl="0" algn="ctr" defTabSz="444500">
            <a:lnSpc>
              <a:spcPct val="90000"/>
            </a:lnSpc>
            <a:spcBef>
              <a:spcPct val="0"/>
            </a:spcBef>
            <a:spcAft>
              <a:spcPct val="35000"/>
            </a:spcAft>
          </a:pPr>
          <a:r>
            <a:rPr lang="en-US" sz="1000" b="1" kern="1200" dirty="0">
              <a:solidFill>
                <a:srgbClr val="FFC000"/>
              </a:solidFill>
            </a:rPr>
            <a:t>(25 June to 10 July)</a:t>
          </a:r>
          <a:endParaRPr lang="en-US" sz="1000" kern="1200" dirty="0">
            <a:solidFill>
              <a:schemeClr val="accent4">
                <a:lumMod val="75000"/>
              </a:schemeClr>
            </a:solidFill>
          </a:endParaRPr>
        </a:p>
      </dsp:txBody>
      <dsp:txXfrm>
        <a:off x="519603" y="2734050"/>
        <a:ext cx="1277142" cy="1009155"/>
      </dsp:txXfrm>
    </dsp:sp>
    <dsp:sp modelId="{49285CFA-34D3-47FB-AC92-CBDE04E94E3D}">
      <dsp:nvSpPr>
        <dsp:cNvPr id="0" name=""/>
        <dsp:cNvSpPr/>
      </dsp:nvSpPr>
      <dsp:spPr>
        <a:xfrm rot="12972869">
          <a:off x="1584898" y="1650066"/>
          <a:ext cx="1311557" cy="545544"/>
        </a:xfrm>
        <a:prstGeom prst="leftArrow">
          <a:avLst>
            <a:gd name="adj1" fmla="val 60000"/>
            <a:gd name="adj2" fmla="val 50000"/>
          </a:avLst>
        </a:prstGeom>
        <a:solidFill>
          <a:schemeClr val="accent3">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sp>
    <dsp:sp modelId="{21FCE096-FC2B-4B40-B12D-AED1EDB5D1CB}">
      <dsp:nvSpPr>
        <dsp:cNvPr id="0" name=""/>
        <dsp:cNvSpPr/>
      </dsp:nvSpPr>
      <dsp:spPr>
        <a:xfrm>
          <a:off x="1041620" y="999425"/>
          <a:ext cx="1339934" cy="1071947"/>
        </a:xfrm>
        <a:prstGeom prst="roundRect">
          <a:avLst>
            <a:gd name="adj" fmla="val 10000"/>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444500">
            <a:lnSpc>
              <a:spcPct val="90000"/>
            </a:lnSpc>
            <a:spcBef>
              <a:spcPct val="0"/>
            </a:spcBef>
            <a:spcAft>
              <a:spcPct val="35000"/>
            </a:spcAft>
          </a:pPr>
          <a:r>
            <a:rPr lang="en-US" sz="1000" b="1" kern="1200" dirty="0"/>
            <a:t>CSO Ideation workshop</a:t>
          </a:r>
        </a:p>
        <a:p>
          <a:pPr lvl="0" algn="ctr" defTabSz="444500">
            <a:lnSpc>
              <a:spcPct val="90000"/>
            </a:lnSpc>
            <a:spcBef>
              <a:spcPct val="0"/>
            </a:spcBef>
            <a:spcAft>
              <a:spcPct val="35000"/>
            </a:spcAft>
          </a:pPr>
          <a:r>
            <a:rPr lang="en-US" sz="1000" b="1" kern="1200" dirty="0">
              <a:solidFill>
                <a:srgbClr val="FFC000"/>
              </a:solidFill>
            </a:rPr>
            <a:t>(21st June 2019) </a:t>
          </a:r>
        </a:p>
      </dsp:txBody>
      <dsp:txXfrm>
        <a:off x="1073016" y="1030821"/>
        <a:ext cx="1277142" cy="1009155"/>
      </dsp:txXfrm>
    </dsp:sp>
    <dsp:sp modelId="{3987308C-3A42-4A87-95A7-BF0F0DA6738A}">
      <dsp:nvSpPr>
        <dsp:cNvPr id="0" name=""/>
        <dsp:cNvSpPr/>
      </dsp:nvSpPr>
      <dsp:spPr>
        <a:xfrm rot="15434636">
          <a:off x="2639490" y="1006708"/>
          <a:ext cx="1500490" cy="545544"/>
        </a:xfrm>
        <a:prstGeom prst="leftArrow">
          <a:avLst>
            <a:gd name="adj1" fmla="val 60000"/>
            <a:gd name="adj2" fmla="val 50000"/>
          </a:avLst>
        </a:prstGeom>
        <a:solidFill>
          <a:schemeClr val="accent3">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sp>
    <dsp:sp modelId="{E0AA4594-319E-4A87-8677-FE7B4D51AD04}">
      <dsp:nvSpPr>
        <dsp:cNvPr id="0" name=""/>
        <dsp:cNvSpPr/>
      </dsp:nvSpPr>
      <dsp:spPr>
        <a:xfrm>
          <a:off x="2620435" y="-14254"/>
          <a:ext cx="1339934" cy="1071947"/>
        </a:xfrm>
        <a:prstGeom prst="roundRect">
          <a:avLst>
            <a:gd name="adj" fmla="val 10000"/>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444500">
            <a:lnSpc>
              <a:spcPct val="90000"/>
            </a:lnSpc>
            <a:spcBef>
              <a:spcPct val="0"/>
            </a:spcBef>
            <a:spcAft>
              <a:spcPct val="35000"/>
            </a:spcAft>
          </a:pPr>
          <a:r>
            <a:rPr lang="en-US" sz="1000" b="1" kern="1200"/>
            <a:t>Technical Team Ideation workshop</a:t>
          </a:r>
        </a:p>
        <a:p>
          <a:pPr lvl="0" algn="ctr" defTabSz="444500">
            <a:lnSpc>
              <a:spcPct val="90000"/>
            </a:lnSpc>
            <a:spcBef>
              <a:spcPct val="0"/>
            </a:spcBef>
            <a:spcAft>
              <a:spcPct val="35000"/>
            </a:spcAft>
          </a:pPr>
          <a:r>
            <a:rPr lang="en-US" sz="1000" b="1" kern="1200">
              <a:solidFill>
                <a:srgbClr val="FFC000"/>
              </a:solidFill>
            </a:rPr>
            <a:t>(28 May 2019)</a:t>
          </a:r>
        </a:p>
      </dsp:txBody>
      <dsp:txXfrm>
        <a:off x="2651831" y="17142"/>
        <a:ext cx="1277142" cy="1009155"/>
      </dsp:txXfrm>
    </dsp:sp>
    <dsp:sp modelId="{948836FE-8C16-4623-AF15-FBD6FDC2B31D}">
      <dsp:nvSpPr>
        <dsp:cNvPr id="0" name=""/>
        <dsp:cNvSpPr/>
      </dsp:nvSpPr>
      <dsp:spPr>
        <a:xfrm rot="17526114">
          <a:off x="3887484" y="1025359"/>
          <a:ext cx="1647733" cy="545544"/>
        </a:xfrm>
        <a:prstGeom prst="leftArrow">
          <a:avLst>
            <a:gd name="adj1" fmla="val 60000"/>
            <a:gd name="adj2" fmla="val 50000"/>
          </a:avLst>
        </a:prstGeom>
        <a:solidFill>
          <a:schemeClr val="accent3">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sp>
    <dsp:sp modelId="{526B0953-7D34-4583-8DCF-BBD6CA26483E}">
      <dsp:nvSpPr>
        <dsp:cNvPr id="0" name=""/>
        <dsp:cNvSpPr/>
      </dsp:nvSpPr>
      <dsp:spPr>
        <a:xfrm>
          <a:off x="4281355" y="-53228"/>
          <a:ext cx="1339934" cy="1071947"/>
        </a:xfrm>
        <a:prstGeom prst="roundRect">
          <a:avLst>
            <a:gd name="adj" fmla="val 10000"/>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444500">
            <a:lnSpc>
              <a:spcPct val="90000"/>
            </a:lnSpc>
            <a:spcBef>
              <a:spcPct val="0"/>
            </a:spcBef>
            <a:spcAft>
              <a:spcPct val="35000"/>
            </a:spcAft>
          </a:pPr>
          <a:r>
            <a:rPr lang="en-US" sz="1000" b="1" kern="1200" dirty="0"/>
            <a:t>Private Sector Ideation workshop</a:t>
          </a:r>
        </a:p>
        <a:p>
          <a:pPr lvl="0" algn="ctr" defTabSz="444500">
            <a:lnSpc>
              <a:spcPct val="90000"/>
            </a:lnSpc>
            <a:spcBef>
              <a:spcPct val="0"/>
            </a:spcBef>
            <a:spcAft>
              <a:spcPct val="35000"/>
            </a:spcAft>
          </a:pPr>
          <a:r>
            <a:rPr lang="en-US" sz="1000" b="1" kern="1200" dirty="0">
              <a:solidFill>
                <a:srgbClr val="FFC000"/>
              </a:solidFill>
            </a:rPr>
            <a:t>(29</a:t>
          </a:r>
          <a:r>
            <a:rPr lang="en-US" sz="1000" b="1" kern="1200" baseline="30000" dirty="0">
              <a:solidFill>
                <a:srgbClr val="FFC000"/>
              </a:solidFill>
            </a:rPr>
            <a:t>th</a:t>
          </a:r>
          <a:r>
            <a:rPr lang="en-US" sz="1000" b="1" kern="1200" dirty="0">
              <a:solidFill>
                <a:srgbClr val="FFC000"/>
              </a:solidFill>
            </a:rPr>
            <a:t> May &amp; 04 July 2019)</a:t>
          </a:r>
        </a:p>
      </dsp:txBody>
      <dsp:txXfrm>
        <a:off x="4312751" y="-21832"/>
        <a:ext cx="1277142" cy="1009155"/>
      </dsp:txXfrm>
    </dsp:sp>
    <dsp:sp modelId="{A22EC6AC-E23E-47C4-AE81-A6A6E859429E}">
      <dsp:nvSpPr>
        <dsp:cNvPr id="0" name=""/>
        <dsp:cNvSpPr/>
      </dsp:nvSpPr>
      <dsp:spPr>
        <a:xfrm rot="19668194">
          <a:off x="4962984" y="1677407"/>
          <a:ext cx="1556900" cy="545544"/>
        </a:xfrm>
        <a:prstGeom prst="leftArrow">
          <a:avLst>
            <a:gd name="adj1" fmla="val 60000"/>
            <a:gd name="adj2" fmla="val 50000"/>
          </a:avLst>
        </a:prstGeom>
        <a:solidFill>
          <a:schemeClr val="accent3">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sp>
    <dsp:sp modelId="{74F16716-B44F-4E0A-BD25-3F3C09B8C300}">
      <dsp:nvSpPr>
        <dsp:cNvPr id="0" name=""/>
        <dsp:cNvSpPr/>
      </dsp:nvSpPr>
      <dsp:spPr>
        <a:xfrm>
          <a:off x="5730209" y="999425"/>
          <a:ext cx="1339934" cy="1071947"/>
        </a:xfrm>
        <a:prstGeom prst="roundRect">
          <a:avLst>
            <a:gd name="adj" fmla="val 10000"/>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444500">
            <a:lnSpc>
              <a:spcPct val="90000"/>
            </a:lnSpc>
            <a:spcBef>
              <a:spcPct val="0"/>
            </a:spcBef>
            <a:spcAft>
              <a:spcPct val="35000"/>
            </a:spcAft>
          </a:pPr>
          <a:r>
            <a:rPr lang="en-US" sz="1000" b="1" kern="1200" dirty="0"/>
            <a:t>Bi-lateral engagements local partners &amp;  Int'l partners (EU ) </a:t>
          </a:r>
        </a:p>
        <a:p>
          <a:pPr lvl="0" algn="ctr" defTabSz="444500">
            <a:lnSpc>
              <a:spcPct val="90000"/>
            </a:lnSpc>
            <a:spcBef>
              <a:spcPct val="0"/>
            </a:spcBef>
            <a:spcAft>
              <a:spcPct val="35000"/>
            </a:spcAft>
          </a:pPr>
          <a:r>
            <a:rPr lang="en-US" sz="1000" b="1" kern="1200" dirty="0">
              <a:solidFill>
                <a:srgbClr val="FFC000"/>
              </a:solidFill>
            </a:rPr>
            <a:t>20 May to 15 July 2019</a:t>
          </a:r>
        </a:p>
        <a:p>
          <a:pPr lvl="0" algn="ctr" defTabSz="444500">
            <a:lnSpc>
              <a:spcPct val="90000"/>
            </a:lnSpc>
            <a:spcBef>
              <a:spcPct val="0"/>
            </a:spcBef>
            <a:spcAft>
              <a:spcPct val="35000"/>
            </a:spcAft>
          </a:pPr>
          <a:endParaRPr lang="en-US" sz="1000" kern="1200" dirty="0"/>
        </a:p>
      </dsp:txBody>
      <dsp:txXfrm>
        <a:off x="5761605" y="1030821"/>
        <a:ext cx="1277142" cy="1009155"/>
      </dsp:txXfrm>
    </dsp:sp>
    <dsp:sp modelId="{1894DAC9-0419-4DBB-9846-F886D7A76911}">
      <dsp:nvSpPr>
        <dsp:cNvPr id="0" name=""/>
        <dsp:cNvSpPr/>
      </dsp:nvSpPr>
      <dsp:spPr>
        <a:xfrm rot="106465">
          <a:off x="5465234" y="2919780"/>
          <a:ext cx="1336342" cy="545544"/>
        </a:xfrm>
        <a:prstGeom prst="leftArrow">
          <a:avLst>
            <a:gd name="adj1" fmla="val 60000"/>
            <a:gd name="adj2" fmla="val 50000"/>
          </a:avLst>
        </a:prstGeom>
        <a:solidFill>
          <a:schemeClr val="accent3">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sp>
    <dsp:sp modelId="{D7EEA42D-C4A8-4293-9F70-2D9A0D04A8A3}">
      <dsp:nvSpPr>
        <dsp:cNvPr id="0" name=""/>
        <dsp:cNvSpPr/>
      </dsp:nvSpPr>
      <dsp:spPr>
        <a:xfrm>
          <a:off x="5917649" y="2533482"/>
          <a:ext cx="1767213" cy="1359519"/>
        </a:xfrm>
        <a:prstGeom prst="roundRect">
          <a:avLst>
            <a:gd name="adj" fmla="val 10000"/>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444500">
            <a:lnSpc>
              <a:spcPct val="90000"/>
            </a:lnSpc>
            <a:spcBef>
              <a:spcPct val="0"/>
            </a:spcBef>
            <a:spcAft>
              <a:spcPct val="35000"/>
            </a:spcAft>
          </a:pPr>
          <a:r>
            <a:rPr lang="en-US" sz="1000" b="1" kern="1200" dirty="0"/>
            <a:t>TA ideas (one on one follow-up and literature review - case studies elsewhere)</a:t>
          </a:r>
        </a:p>
        <a:p>
          <a:pPr lvl="0" algn="ctr" defTabSz="444500">
            <a:lnSpc>
              <a:spcPct val="90000"/>
            </a:lnSpc>
            <a:spcBef>
              <a:spcPct val="0"/>
            </a:spcBef>
            <a:spcAft>
              <a:spcPct val="35000"/>
            </a:spcAft>
          </a:pPr>
          <a:r>
            <a:rPr lang="en-US" sz="1000" b="1" kern="1200" dirty="0">
              <a:solidFill>
                <a:srgbClr val="FFC000"/>
              </a:solidFill>
            </a:rPr>
            <a:t>01 June to 25 July 2019</a:t>
          </a:r>
        </a:p>
      </dsp:txBody>
      <dsp:txXfrm>
        <a:off x="5957468" y="2573301"/>
        <a:ext cx="1687575" cy="1279881"/>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charset="0"/>
              </a:defRPr>
            </a:lvl1pPr>
          </a:lstStyle>
          <a:p>
            <a:pPr>
              <a:defRPr/>
            </a:pPr>
            <a:endParaRPr lang="en-US"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atin typeface="Arial" charset="0"/>
              </a:defRPr>
            </a:lvl1pPr>
          </a:lstStyle>
          <a:p>
            <a:pPr>
              <a:defRPr/>
            </a:pPr>
            <a:fld id="{6F4557B1-9A63-41C9-B056-D668E2491DBC}" type="datetimeFigureOut">
              <a:rPr lang="en-US"/>
              <a:pPr>
                <a:defRPr/>
              </a:pPr>
              <a:t>8/7/2019</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atin typeface="Arial" charset="0"/>
              </a:defRPr>
            </a:lvl1pPr>
          </a:lstStyle>
          <a:p>
            <a:pPr>
              <a:defRPr/>
            </a:pPr>
            <a:endParaRPr lang="en-US"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atin typeface="Arial" charset="0"/>
              </a:defRPr>
            </a:lvl1pPr>
          </a:lstStyle>
          <a:p>
            <a:pPr>
              <a:defRPr/>
            </a:pPr>
            <a:fld id="{2F403F14-065F-4647-8969-39028845D7CD}" type="slidenum">
              <a:rPr lang="en-US"/>
              <a:pPr>
                <a:defRPr/>
              </a:pPr>
              <a:t>‹#›</a:t>
            </a:fld>
            <a:endParaRPr lang="en-US" dirty="0"/>
          </a:p>
        </p:txBody>
      </p:sp>
    </p:spTree>
    <p:extLst>
      <p:ext uri="{BB962C8B-B14F-4D97-AF65-F5344CB8AC3E}">
        <p14:creationId xmlns:p14="http://schemas.microsoft.com/office/powerpoint/2010/main" val="1828751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a:latin typeface="Arial" charset="0"/>
              </a:defRPr>
            </a:lvl1pPr>
          </a:lstStyle>
          <a:p>
            <a:pPr>
              <a:defRPr/>
            </a:pPr>
            <a:endParaRPr lang="en-US" dirty="0"/>
          </a:p>
        </p:txBody>
      </p:sp>
      <p:sp>
        <p:nvSpPr>
          <p:cNvPr id="3075" name="Rectangle 3"/>
          <p:cNvSpPr>
            <a:spLocks noGrp="1" noChangeArrowheads="1"/>
          </p:cNvSpPr>
          <p:nvPr>
            <p:ph type="dt"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atin typeface="Arial" charset="0"/>
              </a:defRPr>
            </a:lvl1pPr>
          </a:lstStyle>
          <a:p>
            <a:pPr>
              <a:defRPr/>
            </a:pPr>
            <a:endParaRPr lang="en-US" dirty="0"/>
          </a:p>
        </p:txBody>
      </p:sp>
      <p:sp>
        <p:nvSpPr>
          <p:cNvPr id="17412"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noProof="0"/>
              <a:t>Klik om de tekststijl van het model te bewerken</a:t>
            </a:r>
          </a:p>
          <a:p>
            <a:pPr lvl="1"/>
            <a:r>
              <a:rPr lang="en-US" noProof="0"/>
              <a:t>Tweede niveau</a:t>
            </a:r>
          </a:p>
          <a:p>
            <a:pPr lvl="2"/>
            <a:r>
              <a:rPr lang="en-US" noProof="0"/>
              <a:t>Derde niveau</a:t>
            </a:r>
          </a:p>
          <a:p>
            <a:pPr lvl="3"/>
            <a:r>
              <a:rPr lang="en-US" noProof="0"/>
              <a:t>Vierde niveau</a:t>
            </a:r>
          </a:p>
          <a:p>
            <a:pPr lvl="4"/>
            <a:r>
              <a:rPr lang="en-US" noProof="0"/>
              <a:t>Vijfde niveau</a:t>
            </a:r>
          </a:p>
        </p:txBody>
      </p:sp>
      <p:sp>
        <p:nvSpPr>
          <p:cNvPr id="3078"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1200">
                <a:latin typeface="Arial" charset="0"/>
              </a:defRPr>
            </a:lvl1pPr>
          </a:lstStyle>
          <a:p>
            <a:pPr>
              <a:defRPr/>
            </a:pPr>
            <a:endParaRPr lang="en-US" dirty="0"/>
          </a:p>
        </p:txBody>
      </p:sp>
      <p:sp>
        <p:nvSpPr>
          <p:cNvPr id="3079"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sz="1200">
                <a:latin typeface="Arial" charset="0"/>
              </a:defRPr>
            </a:lvl1pPr>
          </a:lstStyle>
          <a:p>
            <a:pPr>
              <a:defRPr/>
            </a:pPr>
            <a:fld id="{3C132DAF-847D-4945-B76D-207FB40C798E}" type="slidenum">
              <a:rPr lang="en-US"/>
              <a:pPr>
                <a:defRPr/>
              </a:pPr>
              <a:t>‹#›</a:t>
            </a:fld>
            <a:endParaRPr lang="en-US" dirty="0"/>
          </a:p>
        </p:txBody>
      </p:sp>
    </p:spTree>
    <p:extLst>
      <p:ext uri="{BB962C8B-B14F-4D97-AF65-F5344CB8AC3E}">
        <p14:creationId xmlns:p14="http://schemas.microsoft.com/office/powerpoint/2010/main" val="134120515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pitchFamily="1"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1"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1"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1"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1"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ntroduce myself: </a:t>
            </a:r>
          </a:p>
          <a:p>
            <a:endParaRPr lang="en-GB" dirty="0" smtClean="0"/>
          </a:p>
          <a:p>
            <a:r>
              <a:rPr lang="en-GB" dirty="0" smtClean="0"/>
              <a:t>My names is Mathew</a:t>
            </a:r>
            <a:r>
              <a:rPr lang="en-GB" baseline="0" dirty="0" smtClean="0"/>
              <a:t> Parr. I am a Brit, working for the Germans, married to a Dutch lady, living in Uganda</a:t>
            </a:r>
          </a:p>
          <a:p>
            <a:endParaRPr lang="en-GB" dirty="0" smtClean="0"/>
          </a:p>
          <a:p>
            <a:r>
              <a:rPr lang="en-GB" dirty="0" smtClean="0"/>
              <a:t>10</a:t>
            </a:r>
            <a:r>
              <a:rPr lang="en-GB" baseline="0" dirty="0" smtClean="0"/>
              <a:t> years trying to influence corporations and governments in Europe to change the way they did economics. </a:t>
            </a:r>
          </a:p>
          <a:p>
            <a:endParaRPr lang="en-GB" dirty="0" smtClean="0"/>
          </a:p>
          <a:p>
            <a:r>
              <a:rPr lang="en-GB" dirty="0" smtClean="0"/>
              <a:t>Who is GIZ? State owned public benefit corporation. Work in over 120</a:t>
            </a:r>
            <a:r>
              <a:rPr lang="en-GB" baseline="0" dirty="0" smtClean="0"/>
              <a:t> countries, over 20.000 staff worldwide with annual turnover of over €2.4bil dollars. One of the largest development organisation in world. </a:t>
            </a:r>
            <a:endParaRPr lang="en-GB" dirty="0"/>
          </a:p>
        </p:txBody>
      </p:sp>
      <p:sp>
        <p:nvSpPr>
          <p:cNvPr id="4" name="Slide Number Placeholder 3"/>
          <p:cNvSpPr>
            <a:spLocks noGrp="1"/>
          </p:cNvSpPr>
          <p:nvPr>
            <p:ph type="sldNum" sz="quarter" idx="10"/>
          </p:nvPr>
        </p:nvSpPr>
        <p:spPr/>
        <p:txBody>
          <a:bodyPr/>
          <a:lstStyle/>
          <a:p>
            <a:fld id="{2E28E248-F1D8-49F8-87D3-DB7589521D16}" type="slidenum">
              <a:rPr lang="en-GB" smtClean="0">
                <a:solidFill>
                  <a:prstClr val="black"/>
                </a:solidFill>
              </a:rPr>
              <a:pPr/>
              <a:t>1</a:t>
            </a:fld>
            <a:endParaRPr lang="en-GB">
              <a:solidFill>
                <a:prstClr val="black"/>
              </a:solidFill>
            </a:endParaRPr>
          </a:p>
        </p:txBody>
      </p:sp>
    </p:spTree>
    <p:extLst>
      <p:ext uri="{BB962C8B-B14F-4D97-AF65-F5344CB8AC3E}">
        <p14:creationId xmlns:p14="http://schemas.microsoft.com/office/powerpoint/2010/main" val="22854189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274A51E-B6C2-491E-B16E-9CB6F1467AFD}"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1" charset="-128"/>
              <a:cs typeface="+mn-cs"/>
            </a:endParaRPr>
          </a:p>
        </p:txBody>
      </p:sp>
    </p:spTree>
    <p:extLst>
      <p:ext uri="{BB962C8B-B14F-4D97-AF65-F5344CB8AC3E}">
        <p14:creationId xmlns:p14="http://schemas.microsoft.com/office/powerpoint/2010/main" val="23288490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274A51E-B6C2-491E-B16E-9CB6F1467AFD}"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1" charset="-128"/>
              <a:cs typeface="+mn-cs"/>
            </a:endParaRPr>
          </a:p>
        </p:txBody>
      </p:sp>
    </p:spTree>
    <p:extLst>
      <p:ext uri="{BB962C8B-B14F-4D97-AF65-F5344CB8AC3E}">
        <p14:creationId xmlns:p14="http://schemas.microsoft.com/office/powerpoint/2010/main" val="1200972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274A51E-B6C2-491E-B16E-9CB6F1467AFD}"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1" charset="-128"/>
              <a:cs typeface="+mn-cs"/>
            </a:endParaRPr>
          </a:p>
        </p:txBody>
      </p:sp>
    </p:spTree>
    <p:extLst>
      <p:ext uri="{BB962C8B-B14F-4D97-AF65-F5344CB8AC3E}">
        <p14:creationId xmlns:p14="http://schemas.microsoft.com/office/powerpoint/2010/main" val="7765854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274A51E-B6C2-491E-B16E-9CB6F1467AFD}"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1" charset="-128"/>
              <a:cs typeface="+mn-cs"/>
            </a:endParaRPr>
          </a:p>
        </p:txBody>
      </p:sp>
    </p:spTree>
    <p:extLst>
      <p:ext uri="{BB962C8B-B14F-4D97-AF65-F5344CB8AC3E}">
        <p14:creationId xmlns:p14="http://schemas.microsoft.com/office/powerpoint/2010/main" val="239441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132DAF-847D-4945-B76D-207FB40C798E}" type="slidenum">
              <a:rPr lang="en-US" smtClean="0"/>
              <a:pPr>
                <a:defRPr/>
              </a:pPr>
              <a:t>15</a:t>
            </a:fld>
            <a:endParaRPr lang="en-US" dirty="0"/>
          </a:p>
        </p:txBody>
      </p:sp>
    </p:spTree>
    <p:extLst>
      <p:ext uri="{BB962C8B-B14F-4D97-AF65-F5344CB8AC3E}">
        <p14:creationId xmlns:p14="http://schemas.microsoft.com/office/powerpoint/2010/main" val="32209703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Every year global leaders meet at a fancy retreat in place called Davos in Switzerland. Little more luxurious than Royal Suites. They don’t use </a:t>
            </a:r>
            <a:r>
              <a:rPr lang="en-US" sz="1200" b="0" i="0" u="none" strike="noStrike" kern="1200" baseline="0" dirty="0" err="1" smtClean="0">
                <a:solidFill>
                  <a:schemeClr val="tx1"/>
                </a:solidFill>
                <a:latin typeface="+mn-lt"/>
                <a:ea typeface="+mn-ea"/>
                <a:cs typeface="+mn-cs"/>
              </a:rPr>
              <a:t>bodas</a:t>
            </a:r>
            <a:r>
              <a:rPr lang="en-US" sz="1200" b="0" i="0" u="none" strike="noStrike" kern="1200" baseline="0" dirty="0" smtClean="0">
                <a:solidFill>
                  <a:schemeClr val="tx1"/>
                </a:solidFill>
                <a:latin typeface="+mn-lt"/>
                <a:ea typeface="+mn-ea"/>
                <a:cs typeface="+mn-cs"/>
              </a:rPr>
              <a:t> (that I know of). </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Every year since 2012 water crisis has ranked in top 5</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2011 - Honda factory Bangkok - $650 mil to restore and renovate. Affected 5 major </a:t>
            </a:r>
            <a:r>
              <a:rPr lang="en-US" sz="1200" b="0" i="0" u="none" strike="noStrike" kern="1200" baseline="0" dirty="0" err="1" smtClean="0">
                <a:solidFill>
                  <a:schemeClr val="tx1"/>
                </a:solidFill>
                <a:latin typeface="+mn-lt"/>
                <a:ea typeface="+mn-ea"/>
                <a:cs typeface="+mn-cs"/>
              </a:rPr>
              <a:t>Ips</a:t>
            </a:r>
            <a:r>
              <a:rPr lang="en-US" sz="1200" b="0" i="0" u="none" strike="noStrike" kern="1200" baseline="0" dirty="0" smtClean="0">
                <a:solidFill>
                  <a:schemeClr val="tx1"/>
                </a:solidFill>
                <a:latin typeface="+mn-lt"/>
                <a:ea typeface="+mn-ea"/>
                <a:cs typeface="+mn-cs"/>
              </a:rPr>
              <a:t>. Cost Thai economy $3bil. </a:t>
            </a:r>
          </a:p>
          <a:p>
            <a:endParaRPr lang="en-US" sz="1200" b="0" i="0" u="none" strike="noStrike" kern="1200" baseline="0" dirty="0" smtClean="0">
              <a:solidFill>
                <a:schemeClr val="tx1"/>
              </a:solidFill>
              <a:latin typeface="+mn-lt"/>
              <a:ea typeface="+mn-ea"/>
              <a:cs typeface="+mn-cs"/>
            </a:endParaRPr>
          </a:p>
          <a:p>
            <a:r>
              <a:rPr lang="en-US" sz="1200" b="0" i="0" u="none" strike="noStrike" kern="1200" baseline="0" dirty="0" smtClean="0">
                <a:solidFill>
                  <a:schemeClr val="tx1"/>
                </a:solidFill>
                <a:latin typeface="+mn-lt"/>
                <a:ea typeface="+mn-ea"/>
                <a:cs typeface="+mn-cs"/>
              </a:rPr>
              <a:t>“Unsustainable development pathways and governance failures have generated immense pressures on water resources, affecting its quality and availability, and in turn compromising its ability to generate social and economic benefits.” (World Water Development Assessment Report 2015, p.10</a:t>
            </a:r>
            <a:endParaRPr lang="en-US" dirty="0"/>
          </a:p>
        </p:txBody>
      </p:sp>
      <p:sp>
        <p:nvSpPr>
          <p:cNvPr id="4" name="Kopfzeilenplatzhalter 3"/>
          <p:cNvSpPr>
            <a:spLocks noGrp="1"/>
          </p:cNvSpPr>
          <p:nvPr>
            <p:ph type="hdr" sz="quarter" idx="10"/>
          </p:nvPr>
        </p:nvSpPr>
        <p:spPr/>
        <p:txBody>
          <a:bodyPr/>
          <a:lstStyle/>
          <a:p>
            <a:endParaRPr lang="en-ZA">
              <a:solidFill>
                <a:prstClr val="black"/>
              </a:solidFill>
            </a:endParaRPr>
          </a:p>
        </p:txBody>
      </p:sp>
      <p:sp>
        <p:nvSpPr>
          <p:cNvPr id="5" name="Datumsplatzhalter 4"/>
          <p:cNvSpPr>
            <a:spLocks noGrp="1"/>
          </p:cNvSpPr>
          <p:nvPr>
            <p:ph type="dt" idx="11"/>
          </p:nvPr>
        </p:nvSpPr>
        <p:spPr/>
        <p:txBody>
          <a:bodyPr/>
          <a:lstStyle/>
          <a:p>
            <a:fld id="{C1ECA5D7-DB8D-4FE6-87D3-9908BEA56D62}" type="datetime1">
              <a:rPr lang="en-GB" smtClean="0">
                <a:solidFill>
                  <a:prstClr val="black"/>
                </a:solidFill>
              </a:rPr>
              <a:pPr/>
              <a:t>08/08/2019</a:t>
            </a:fld>
            <a:endParaRPr lang="en-ZA">
              <a:solidFill>
                <a:prstClr val="black"/>
              </a:solidFill>
            </a:endParaRPr>
          </a:p>
        </p:txBody>
      </p:sp>
      <p:sp>
        <p:nvSpPr>
          <p:cNvPr id="6" name="Fußzeilenplatzhalter 5"/>
          <p:cNvSpPr>
            <a:spLocks noGrp="1"/>
          </p:cNvSpPr>
          <p:nvPr>
            <p:ph type="ftr" sz="quarter" idx="12"/>
          </p:nvPr>
        </p:nvSpPr>
        <p:spPr/>
        <p:txBody>
          <a:bodyPr/>
          <a:lstStyle/>
          <a:p>
            <a:endParaRPr lang="en-ZA">
              <a:solidFill>
                <a:prstClr val="black"/>
              </a:solidFill>
            </a:endParaRPr>
          </a:p>
        </p:txBody>
      </p:sp>
      <p:sp>
        <p:nvSpPr>
          <p:cNvPr id="7" name="Foliennummernplatzhalter 6"/>
          <p:cNvSpPr>
            <a:spLocks noGrp="1"/>
          </p:cNvSpPr>
          <p:nvPr>
            <p:ph type="sldNum" sz="quarter" idx="13"/>
          </p:nvPr>
        </p:nvSpPr>
        <p:spPr/>
        <p:txBody>
          <a:bodyPr/>
          <a:lstStyle/>
          <a:p>
            <a:fld id="{A35302A1-A772-493F-815E-EE591F549BD7}" type="slidenum">
              <a:rPr lang="en-ZA" smtClean="0">
                <a:solidFill>
                  <a:prstClr val="black"/>
                </a:solidFill>
              </a:rPr>
              <a:pPr/>
              <a:t>2</a:t>
            </a:fld>
            <a:endParaRPr lang="en-ZA">
              <a:solidFill>
                <a:prstClr val="black"/>
              </a:solidFill>
            </a:endParaRPr>
          </a:p>
        </p:txBody>
      </p:sp>
    </p:spTree>
    <p:extLst>
      <p:ext uri="{BB962C8B-B14F-4D97-AF65-F5344CB8AC3E}">
        <p14:creationId xmlns:p14="http://schemas.microsoft.com/office/powerpoint/2010/main" val="2953012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43000" y="685800"/>
            <a:ext cx="4572000" cy="3429000"/>
          </a:xfrm>
        </p:spPr>
      </p:sp>
      <p:sp>
        <p:nvSpPr>
          <p:cNvPr id="3" name="Notizenplatzhalter 2"/>
          <p:cNvSpPr>
            <a:spLocks noGrp="1"/>
          </p:cNvSpPr>
          <p:nvPr>
            <p:ph type="body" idx="1"/>
          </p:nvPr>
        </p:nvSpPr>
        <p:spPr/>
        <p:txBody>
          <a:bodyPr/>
          <a:lstStyle/>
          <a:p>
            <a:r>
              <a:rPr lang="de-DE" dirty="0"/>
              <a:t>Snapshot </a:t>
            </a:r>
            <a:r>
              <a:rPr lang="de-DE" dirty="0" err="1"/>
              <a:t>of</a:t>
            </a:r>
            <a:r>
              <a:rPr lang="de-DE" dirty="0"/>
              <a:t> countries and </a:t>
            </a:r>
            <a:r>
              <a:rPr lang="de-DE" dirty="0" err="1"/>
              <a:t>partners</a:t>
            </a:r>
            <a:r>
              <a:rPr lang="de-DE" dirty="0"/>
              <a:t>. </a:t>
            </a:r>
            <a:endParaRPr lang="de-DE" dirty="0" smtClean="0"/>
          </a:p>
          <a:p>
            <a:endParaRPr lang="de-DE" dirty="0" smtClean="0"/>
          </a:p>
          <a:p>
            <a:r>
              <a:rPr lang="de-DE" dirty="0" smtClean="0"/>
              <a:t>Highlight </a:t>
            </a:r>
            <a:r>
              <a:rPr lang="de-DE" dirty="0" err="1"/>
              <a:t>range</a:t>
            </a:r>
            <a:r>
              <a:rPr lang="de-DE" dirty="0"/>
              <a:t> </a:t>
            </a:r>
            <a:r>
              <a:rPr lang="de-DE" dirty="0" err="1"/>
              <a:t>of</a:t>
            </a:r>
            <a:r>
              <a:rPr lang="de-DE" dirty="0"/>
              <a:t> </a:t>
            </a:r>
            <a:r>
              <a:rPr lang="de-DE" dirty="0" err="1" smtClean="0"/>
              <a:t>sectors</a:t>
            </a:r>
            <a:endParaRPr lang="de-DE" dirty="0" smtClean="0"/>
          </a:p>
          <a:p>
            <a:endParaRPr lang="de-DE" dirty="0" smtClean="0"/>
          </a:p>
          <a:p>
            <a:r>
              <a:rPr lang="de-DE" dirty="0" smtClean="0"/>
              <a:t>Over 30 </a:t>
            </a:r>
            <a:r>
              <a:rPr lang="de-DE" dirty="0" err="1" smtClean="0"/>
              <a:t>partnerships</a:t>
            </a:r>
            <a:endParaRPr lang="de-DE" dirty="0" smtClean="0"/>
          </a:p>
        </p:txBody>
      </p:sp>
      <p:sp>
        <p:nvSpPr>
          <p:cNvPr id="4" name="Foliennummernplatzhalter 3"/>
          <p:cNvSpPr>
            <a:spLocks noGrp="1"/>
          </p:cNvSpPr>
          <p:nvPr>
            <p:ph type="sldNum" sz="quarter" idx="10"/>
          </p:nvPr>
        </p:nvSpPr>
        <p:spPr/>
        <p:txBody>
          <a:bodyPr/>
          <a:lstStyle/>
          <a:p>
            <a:pPr defTabSz="457200">
              <a:defRPr/>
            </a:pPr>
            <a:fld id="{E3428FA8-ECA3-EF4C-ADF7-E44C6BFF596B}" type="slidenum">
              <a:rPr lang="fi-FI" smtClean="0">
                <a:solidFill>
                  <a:prstClr val="black"/>
                </a:solidFill>
              </a:rPr>
              <a:pPr defTabSz="457200">
                <a:defRPr/>
              </a:pPr>
              <a:t>3</a:t>
            </a:fld>
            <a:endParaRPr lang="fi-FI">
              <a:solidFill>
                <a:prstClr val="black"/>
              </a:solidFill>
            </a:endParaRPr>
          </a:p>
        </p:txBody>
      </p:sp>
    </p:spTree>
    <p:extLst>
      <p:ext uri="{BB962C8B-B14F-4D97-AF65-F5344CB8AC3E}">
        <p14:creationId xmlns:p14="http://schemas.microsoft.com/office/powerpoint/2010/main" val="31216698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274A51E-B6C2-491E-B16E-9CB6F1467AFD}"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1" charset="-128"/>
              <a:cs typeface="+mn-cs"/>
            </a:endParaRPr>
          </a:p>
        </p:txBody>
      </p:sp>
    </p:spTree>
    <p:extLst>
      <p:ext uri="{BB962C8B-B14F-4D97-AF65-F5344CB8AC3E}">
        <p14:creationId xmlns:p14="http://schemas.microsoft.com/office/powerpoint/2010/main" val="13171128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C132DAF-847D-4945-B76D-207FB40C798E}" type="slidenum">
              <a:rPr lang="en-US" smtClean="0"/>
              <a:pPr>
                <a:defRPr/>
              </a:pPr>
              <a:t>5</a:t>
            </a:fld>
            <a:endParaRPr lang="en-US" dirty="0"/>
          </a:p>
        </p:txBody>
      </p:sp>
    </p:spTree>
    <p:extLst>
      <p:ext uri="{BB962C8B-B14F-4D97-AF65-F5344CB8AC3E}">
        <p14:creationId xmlns:p14="http://schemas.microsoft.com/office/powerpoint/2010/main" val="23815915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ituation analysis-  </a:t>
            </a:r>
            <a:r>
              <a:rPr lang="en-US" sz="1200" kern="1200" dirty="0">
                <a:solidFill>
                  <a:schemeClr val="tx1"/>
                </a:solidFill>
                <a:effectLst/>
                <a:latin typeface="Arial" charset="0"/>
                <a:ea typeface="ＭＳ Ｐゴシック" pitchFamily="1" charset="-128"/>
                <a:cs typeface="+mn-cs"/>
              </a:rPr>
              <a:t>A detailed situation analysis will be conducted under this assignment to inform the base case scenario for the economic analysis and to identify hotspots where shortlisted projects could ultimately be located. </a:t>
            </a:r>
          </a:p>
          <a:p>
            <a:endParaRPr lang="en-GB" sz="1200" kern="1200" dirty="0">
              <a:solidFill>
                <a:schemeClr val="tx1"/>
              </a:solidFill>
              <a:effectLst/>
              <a:latin typeface="Arial" charset="0"/>
              <a:ea typeface="ＭＳ Ｐゴシック" pitchFamily="1" charset="-128"/>
              <a:cs typeface="+mn-cs"/>
            </a:endParaRPr>
          </a:p>
          <a:p>
            <a:r>
              <a:rPr lang="en-GB" sz="1200" kern="1200" dirty="0">
                <a:solidFill>
                  <a:schemeClr val="tx1"/>
                </a:solidFill>
                <a:effectLst/>
                <a:latin typeface="Arial" charset="0"/>
                <a:ea typeface="ＭＳ Ｐゴシック" pitchFamily="1" charset="-128"/>
                <a:cs typeface="+mn-cs"/>
              </a:rPr>
              <a:t>E</a:t>
            </a:r>
            <a:r>
              <a:rPr lang="en-US" sz="1200" kern="1200" dirty="0" err="1">
                <a:solidFill>
                  <a:schemeClr val="tx1"/>
                </a:solidFill>
                <a:effectLst/>
                <a:latin typeface="Arial" charset="0"/>
                <a:ea typeface="ＭＳ Ｐゴシック" pitchFamily="1" charset="-128"/>
                <a:cs typeface="+mn-cs"/>
              </a:rPr>
              <a:t>conomic</a:t>
            </a:r>
            <a:r>
              <a:rPr lang="en-US" sz="1200" kern="1200" dirty="0">
                <a:solidFill>
                  <a:schemeClr val="tx1"/>
                </a:solidFill>
                <a:effectLst/>
                <a:latin typeface="Arial" charset="0"/>
                <a:ea typeface="ＭＳ Ｐゴシック" pitchFamily="1" charset="-128"/>
                <a:cs typeface="+mn-cs"/>
              </a:rPr>
              <a:t> analysis - This analysis will be illustrative and will draw on a previous national level study of the economic benefits of water resource management. Results from the national study will be adapted to the GKMA area by scaling the national level results based on factors such as the current level of water security indicator achievement and the proportion of population and industry located in the GKMA compared to national figures.</a:t>
            </a:r>
          </a:p>
          <a:p>
            <a:endParaRPr lang="en-GB" sz="1200" kern="1200" dirty="0">
              <a:solidFill>
                <a:schemeClr val="tx1"/>
              </a:solidFill>
              <a:effectLst/>
              <a:latin typeface="Arial" charset="0"/>
              <a:ea typeface="ＭＳ Ｐゴシック" pitchFamily="1" charset="-128"/>
              <a:cs typeface="+mn-cs"/>
            </a:endParaRPr>
          </a:p>
          <a:p>
            <a:r>
              <a:rPr lang="en-US" sz="1200" kern="1200" dirty="0">
                <a:solidFill>
                  <a:schemeClr val="tx1"/>
                </a:solidFill>
                <a:effectLst/>
                <a:latin typeface="Arial" charset="0"/>
                <a:ea typeface="ＭＳ Ｐゴシック" pitchFamily="1" charset="-128"/>
                <a:cs typeface="+mn-cs"/>
              </a:rPr>
              <a:t>The Contribution of Water Resource Development and Environmental Management to Uganda’s Economy” (Industrial Economics, 2016). The purpose of the benefits study is to analyze the economic benefits of water security in Kampala, which can be used to communicate the importance of projects that enhance water security to policy makers and donors.</a:t>
            </a:r>
          </a:p>
          <a:p>
            <a:endParaRPr lang="en-GB" sz="1200" kern="1200" dirty="0">
              <a:solidFill>
                <a:schemeClr val="tx1"/>
              </a:solidFill>
              <a:effectLst/>
              <a:latin typeface="Arial" charset="0"/>
              <a:ea typeface="ＭＳ Ｐゴシック" pitchFamily="1" charset="-128"/>
              <a:cs typeface="+mn-cs"/>
            </a:endParaRP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274A51E-B6C2-491E-B16E-9CB6F1467AFD}"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1" charset="-128"/>
              <a:cs typeface="+mn-cs"/>
            </a:endParaRPr>
          </a:p>
        </p:txBody>
      </p:sp>
    </p:spTree>
    <p:extLst>
      <p:ext uri="{BB962C8B-B14F-4D97-AF65-F5344CB8AC3E}">
        <p14:creationId xmlns:p14="http://schemas.microsoft.com/office/powerpoint/2010/main" val="25165006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274A51E-B6C2-491E-B16E-9CB6F1467AFD}"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1" charset="-128"/>
              <a:cs typeface="+mn-cs"/>
            </a:endParaRPr>
          </a:p>
        </p:txBody>
      </p:sp>
    </p:spTree>
    <p:extLst>
      <p:ext uri="{BB962C8B-B14F-4D97-AF65-F5344CB8AC3E}">
        <p14:creationId xmlns:p14="http://schemas.microsoft.com/office/powerpoint/2010/main" val="41371866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274A51E-B6C2-491E-B16E-9CB6F1467AFD}"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1" charset="-128"/>
              <a:cs typeface="+mn-cs"/>
            </a:endParaRPr>
          </a:p>
        </p:txBody>
      </p:sp>
    </p:spTree>
    <p:extLst>
      <p:ext uri="{BB962C8B-B14F-4D97-AF65-F5344CB8AC3E}">
        <p14:creationId xmlns:p14="http://schemas.microsoft.com/office/powerpoint/2010/main" val="6255055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274A51E-B6C2-491E-B16E-9CB6F1467AFD}" type="slidenum">
              <a:rPr kumimoji="0" lang="en-GB" sz="1200" b="0" i="0" u="none" strike="noStrike" kern="1200" cap="none" spc="0" normalizeH="0" baseline="0" noProof="0" smtClean="0">
                <a:ln>
                  <a:noFill/>
                </a:ln>
                <a:solidFill>
                  <a:prstClr val="black"/>
                </a:solidFill>
                <a:effectLst/>
                <a:uLnTx/>
                <a:uFillTx/>
                <a:latin typeface="Arial" charset="0"/>
                <a:ea typeface="ＭＳ Ｐゴシック" pitchFamily="1"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Arial" charset="0"/>
              <a:ea typeface="ＭＳ Ｐゴシック" pitchFamily="1" charset="-128"/>
              <a:cs typeface="+mn-cs"/>
            </a:endParaRPr>
          </a:p>
        </p:txBody>
      </p:sp>
    </p:spTree>
    <p:extLst>
      <p:ext uri="{BB962C8B-B14F-4D97-AF65-F5344CB8AC3E}">
        <p14:creationId xmlns:p14="http://schemas.microsoft.com/office/powerpoint/2010/main" val="78384689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lgn="ctr">
              <a:defRPr>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sz="2800">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DB7254B6-F222-4E38-900A-5FD0733C02F5}" type="datetimeFigureOut">
              <a:rPr lang="en-US"/>
              <a:pPr>
                <a:defRPr/>
              </a:pPr>
              <a:t>8/7/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4584A1D-6A45-442E-A5E0-684F8166821D}"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1D6B3C7F-31DB-4E02-A70D-A36449895F14}" type="datetimeFigureOut">
              <a:rPr lang="en-US"/>
              <a:pPr>
                <a:defRPr/>
              </a:pPr>
              <a:t>8/7/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80BD432-F866-435E-8A5C-7D58C28D53C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B84C47A-49C5-4BFF-BF50-D8E158732E84}" type="datetimeFigureOut">
              <a:rPr lang="en-US"/>
              <a:pPr>
                <a:defRPr/>
              </a:pPr>
              <a:t>8/7/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58A92724-DA11-4478-876A-E6A4CFDEE539}"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lvl1pPr algn="ctr">
              <a:defRPr>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sz="2800">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lvl1pPr>
          </a:lstStyle>
          <a:p>
            <a:pPr>
              <a:defRPr/>
            </a:pPr>
            <a:fld id="{DB7254B6-F222-4E38-900A-5FD0733C02F5}" type="datetimeFigureOut">
              <a:rPr lang="en-US"/>
              <a:pPr>
                <a:defRPr/>
              </a:pPr>
              <a:t>8/7/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4584A1D-6A45-442E-A5E0-684F8166821D}" type="slidenum">
              <a:rPr lang="en-US"/>
              <a:pPr>
                <a:defRPr/>
              </a:pPr>
              <a:t>‹#›</a:t>
            </a:fld>
            <a:endParaRPr lang="en-US" dirty="0"/>
          </a:p>
        </p:txBody>
      </p:sp>
    </p:spTree>
    <p:extLst>
      <p:ext uri="{BB962C8B-B14F-4D97-AF65-F5344CB8AC3E}">
        <p14:creationId xmlns:p14="http://schemas.microsoft.com/office/powerpoint/2010/main" val="32264529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7620000" cy="762000"/>
          </a:xfrm>
        </p:spPr>
        <p:txBody>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a:xfrm>
            <a:off x="457200" y="1219200"/>
            <a:ext cx="8229600" cy="5105400"/>
          </a:xfrm>
        </p:spPr>
        <p:txBody>
          <a:bodyPr/>
          <a:lstStyle>
            <a:lvl2pPr>
              <a:spcBef>
                <a:spcPts val="0"/>
              </a:spcBef>
              <a:defRPr sz="2400"/>
            </a:lvl2pPr>
            <a:lvl3pPr>
              <a:spcBef>
                <a:spcPts val="0"/>
              </a:spcBef>
              <a:defRPr sz="1800"/>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0" y="6643710"/>
            <a:ext cx="2428860" cy="214290"/>
          </a:xfrm>
        </p:spPr>
        <p:txBody>
          <a:bodyPr/>
          <a:lstStyle>
            <a:lvl1pPr>
              <a:defRPr/>
            </a:lvl1pPr>
          </a:lstStyle>
          <a:p>
            <a:pPr>
              <a:defRPr/>
            </a:pPr>
            <a:fld id="{EEA08D2D-DE5E-473D-90FB-E2EC2D1AD69C}" type="datetimeFigureOut">
              <a:rPr lang="en-US"/>
              <a:pPr>
                <a:defRPr/>
              </a:pPr>
              <a:t>8/7/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6E3C387E-E431-4755-8F04-09AF0688FA74}" type="slidenum">
              <a:rPr lang="en-US"/>
              <a:pPr>
                <a:defRPr/>
              </a:pPr>
              <a:t>‹#›</a:t>
            </a:fld>
            <a:endParaRPr lang="en-US" dirty="0"/>
          </a:p>
        </p:txBody>
      </p:sp>
    </p:spTree>
    <p:extLst>
      <p:ext uri="{BB962C8B-B14F-4D97-AF65-F5344CB8AC3E}">
        <p14:creationId xmlns:p14="http://schemas.microsoft.com/office/powerpoint/2010/main" val="18058383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solidFill>
                  <a:schemeClr val="tx1">
                    <a:lumMod val="50000"/>
                    <a:lumOff val="50000"/>
                  </a:schemeClr>
                </a:solidFill>
              </a:defRPr>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lumMod val="85000"/>
                    <a:lumOff val="1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907542F6-5032-4E36-9F39-1F8DA5C0FD5D}" type="datetimeFigureOut">
              <a:rPr lang="en-US"/>
              <a:pPr>
                <a:defRPr/>
              </a:pPr>
              <a:t>8/7/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BDE462F-719B-4AA9-9CE6-41087253D1CB}" type="slidenum">
              <a:rPr lang="en-US"/>
              <a:pPr>
                <a:defRPr/>
              </a:pPr>
              <a:t>‹#›</a:t>
            </a:fld>
            <a:endParaRPr lang="en-US" dirty="0"/>
          </a:p>
        </p:txBody>
      </p:sp>
    </p:spTree>
    <p:extLst>
      <p:ext uri="{BB962C8B-B14F-4D97-AF65-F5344CB8AC3E}">
        <p14:creationId xmlns:p14="http://schemas.microsoft.com/office/powerpoint/2010/main" val="4143310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3293CE39-8C5D-47D5-85B3-7E42381897BB}" type="datetimeFigureOut">
              <a:rPr lang="en-US"/>
              <a:pPr>
                <a:defRPr/>
              </a:pPr>
              <a:t>8/7/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A28B0409-2974-44CF-8046-BE940B88096D}" type="slidenum">
              <a:rPr lang="en-US"/>
              <a:pPr>
                <a:defRPr/>
              </a:pPr>
              <a:t>‹#›</a:t>
            </a:fld>
            <a:endParaRPr lang="en-US" dirty="0"/>
          </a:p>
        </p:txBody>
      </p:sp>
    </p:spTree>
    <p:extLst>
      <p:ext uri="{BB962C8B-B14F-4D97-AF65-F5344CB8AC3E}">
        <p14:creationId xmlns:p14="http://schemas.microsoft.com/office/powerpoint/2010/main" val="4121439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3C5039D6-4FE5-4070-A369-927D04DDBD8B}" type="datetimeFigureOut">
              <a:rPr lang="en-US"/>
              <a:pPr>
                <a:defRPr/>
              </a:pPr>
              <a:t>8/7/2019</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E013AB34-AC90-43A1-85B3-88312BCDA895}" type="slidenum">
              <a:rPr lang="en-US"/>
              <a:pPr>
                <a:defRPr/>
              </a:pPr>
              <a:t>‹#›</a:t>
            </a:fld>
            <a:endParaRPr lang="en-US" dirty="0"/>
          </a:p>
        </p:txBody>
      </p:sp>
    </p:spTree>
    <p:extLst>
      <p:ext uri="{BB962C8B-B14F-4D97-AF65-F5344CB8AC3E}">
        <p14:creationId xmlns:p14="http://schemas.microsoft.com/office/powerpoint/2010/main" val="1158530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3"/>
          <p:cNvSpPr>
            <a:spLocks noGrp="1"/>
          </p:cNvSpPr>
          <p:nvPr>
            <p:ph type="dt" sz="half" idx="10"/>
          </p:nvPr>
        </p:nvSpPr>
        <p:spPr/>
        <p:txBody>
          <a:bodyPr/>
          <a:lstStyle>
            <a:lvl1pPr>
              <a:defRPr/>
            </a:lvl1pPr>
          </a:lstStyle>
          <a:p>
            <a:pPr>
              <a:defRPr/>
            </a:pPr>
            <a:fld id="{1F8C4F13-5BF0-4F8D-BAD1-AAA0DC31D42D}" type="datetimeFigureOut">
              <a:rPr lang="en-US"/>
              <a:pPr>
                <a:defRPr/>
              </a:pPr>
              <a:t>8/7/2019</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758C0E10-60F0-4928-9342-9DED0EB7BCED}" type="slidenum">
              <a:rPr lang="en-US"/>
              <a:pPr>
                <a:defRPr/>
              </a:pPr>
              <a:t>‹#›</a:t>
            </a:fld>
            <a:endParaRPr lang="en-US" dirty="0"/>
          </a:p>
        </p:txBody>
      </p:sp>
    </p:spTree>
    <p:extLst>
      <p:ext uri="{BB962C8B-B14F-4D97-AF65-F5344CB8AC3E}">
        <p14:creationId xmlns:p14="http://schemas.microsoft.com/office/powerpoint/2010/main" val="30477791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9287140-99C3-41B2-B054-C6C4398AC0E2}" type="datetimeFigureOut">
              <a:rPr lang="en-US"/>
              <a:pPr>
                <a:defRPr/>
              </a:pPr>
              <a:t>8/7/2019</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67FC5F9C-F09E-4593-9BD4-6B21DD38497F}" type="slidenum">
              <a:rPr lang="en-US"/>
              <a:pPr>
                <a:defRPr/>
              </a:pPr>
              <a:t>‹#›</a:t>
            </a:fld>
            <a:endParaRPr lang="en-US" dirty="0"/>
          </a:p>
        </p:txBody>
      </p:sp>
    </p:spTree>
    <p:extLst>
      <p:ext uri="{BB962C8B-B14F-4D97-AF65-F5344CB8AC3E}">
        <p14:creationId xmlns:p14="http://schemas.microsoft.com/office/powerpoint/2010/main" val="10167996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A22A6647-F3E6-4278-99DE-B283CDE749BF}" type="datetimeFigureOut">
              <a:rPr lang="en-US"/>
              <a:pPr>
                <a:defRPr/>
              </a:pPr>
              <a:t>8/7/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B926CE73-6EC0-4F21-877A-FED14B6EDC8E}" type="slidenum">
              <a:rPr lang="en-US"/>
              <a:pPr>
                <a:defRPr/>
              </a:pPr>
              <a:t>‹#›</a:t>
            </a:fld>
            <a:endParaRPr lang="en-US" dirty="0"/>
          </a:p>
        </p:txBody>
      </p:sp>
    </p:spTree>
    <p:extLst>
      <p:ext uri="{BB962C8B-B14F-4D97-AF65-F5344CB8AC3E}">
        <p14:creationId xmlns:p14="http://schemas.microsoft.com/office/powerpoint/2010/main" val="26755903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7620000" cy="762000"/>
          </a:xfrm>
        </p:spPr>
        <p:txBody>
          <a:bodyPr/>
          <a:lstStyle>
            <a:lvl1pPr>
              <a:defRPr sz="3600"/>
            </a:lvl1pPr>
          </a:lstStyle>
          <a:p>
            <a:r>
              <a:rPr lang="en-US"/>
              <a:t>Click to edit Master title style</a:t>
            </a:r>
            <a:endParaRPr lang="en-US" dirty="0"/>
          </a:p>
        </p:txBody>
      </p:sp>
      <p:sp>
        <p:nvSpPr>
          <p:cNvPr id="3" name="Content Placeholder 2"/>
          <p:cNvSpPr>
            <a:spLocks noGrp="1"/>
          </p:cNvSpPr>
          <p:nvPr>
            <p:ph idx="1"/>
          </p:nvPr>
        </p:nvSpPr>
        <p:spPr>
          <a:xfrm>
            <a:off x="457200" y="1219200"/>
            <a:ext cx="8229600" cy="5105400"/>
          </a:xfrm>
        </p:spPr>
        <p:txBody>
          <a:bodyPr/>
          <a:lstStyle>
            <a:lvl2pPr>
              <a:spcBef>
                <a:spcPts val="0"/>
              </a:spcBef>
              <a:defRPr sz="2400"/>
            </a:lvl2pPr>
            <a:lvl3pPr>
              <a:spcBef>
                <a:spcPts val="0"/>
              </a:spcBef>
              <a:defRPr sz="1800"/>
            </a:lvl3pPr>
            <a:lvl4pPr>
              <a:spcBef>
                <a:spcPts val="0"/>
              </a:spcBef>
              <a:defRPr/>
            </a:lvl4pPr>
            <a:lvl5pPr>
              <a:spcBef>
                <a:spcPts val="0"/>
              </a:spcBef>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0" y="6643710"/>
            <a:ext cx="2428860" cy="214290"/>
          </a:xfrm>
        </p:spPr>
        <p:txBody>
          <a:bodyPr/>
          <a:lstStyle>
            <a:lvl1pPr>
              <a:defRPr/>
            </a:lvl1pPr>
          </a:lstStyle>
          <a:p>
            <a:pPr>
              <a:defRPr/>
            </a:pPr>
            <a:fld id="{EEA08D2D-DE5E-473D-90FB-E2EC2D1AD69C}" type="datetimeFigureOut">
              <a:rPr lang="en-US"/>
              <a:pPr>
                <a:defRPr/>
              </a:pPr>
              <a:t>8/7/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6E3C387E-E431-4755-8F04-09AF0688FA74}" type="slidenum">
              <a:rPr lang="en-US"/>
              <a:pPr>
                <a:defRPr/>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F7484EFC-1479-46EE-9CB8-231487BECFCE}" type="datetimeFigureOut">
              <a:rPr lang="en-US"/>
              <a:pPr>
                <a:defRPr/>
              </a:pPr>
              <a:t>8/7/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1A515888-EEB1-4113-A5E1-649067009048}" type="slidenum">
              <a:rPr lang="en-US"/>
              <a:pPr>
                <a:defRPr/>
              </a:pPr>
              <a:t>‹#›</a:t>
            </a:fld>
            <a:endParaRPr lang="en-US" dirty="0"/>
          </a:p>
        </p:txBody>
      </p:sp>
    </p:spTree>
    <p:extLst>
      <p:ext uri="{BB962C8B-B14F-4D97-AF65-F5344CB8AC3E}">
        <p14:creationId xmlns:p14="http://schemas.microsoft.com/office/powerpoint/2010/main" val="33024632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1D6B3C7F-31DB-4E02-A70D-A36449895F14}" type="datetimeFigureOut">
              <a:rPr lang="en-US"/>
              <a:pPr>
                <a:defRPr/>
              </a:pPr>
              <a:t>8/7/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80BD432-F866-435E-8A5C-7D58C28D53C6}" type="slidenum">
              <a:rPr lang="en-US"/>
              <a:pPr>
                <a:defRPr/>
              </a:pPr>
              <a:t>‹#›</a:t>
            </a:fld>
            <a:endParaRPr lang="en-US" dirty="0"/>
          </a:p>
        </p:txBody>
      </p:sp>
    </p:spTree>
    <p:extLst>
      <p:ext uri="{BB962C8B-B14F-4D97-AF65-F5344CB8AC3E}">
        <p14:creationId xmlns:p14="http://schemas.microsoft.com/office/powerpoint/2010/main" val="37579741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B84C47A-49C5-4BFF-BF50-D8E158732E84}" type="datetimeFigureOut">
              <a:rPr lang="en-US"/>
              <a:pPr>
                <a:defRPr/>
              </a:pPr>
              <a:t>8/7/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58A92724-DA11-4478-876A-E6A4CFDEE539}" type="slidenum">
              <a:rPr lang="en-US"/>
              <a:pPr>
                <a:defRPr/>
              </a:pPr>
              <a:t>‹#›</a:t>
            </a:fld>
            <a:endParaRPr lang="en-US" dirty="0"/>
          </a:p>
        </p:txBody>
      </p:sp>
    </p:spTree>
    <p:extLst>
      <p:ext uri="{BB962C8B-B14F-4D97-AF65-F5344CB8AC3E}">
        <p14:creationId xmlns:p14="http://schemas.microsoft.com/office/powerpoint/2010/main" val="363756233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Titelfolie">
    <p:spTree>
      <p:nvGrpSpPr>
        <p:cNvPr id="1" name=""/>
        <p:cNvGrpSpPr/>
        <p:nvPr/>
      </p:nvGrpSpPr>
      <p:grpSpPr>
        <a:xfrm>
          <a:off x="0" y="0"/>
          <a:ext cx="0" cy="0"/>
          <a:chOff x="0" y="0"/>
          <a:chExt cx="0" cy="0"/>
        </a:xfrm>
      </p:grpSpPr>
      <p:sp>
        <p:nvSpPr>
          <p:cNvPr id="15" name="Rechteck 14"/>
          <p:cNvSpPr/>
          <p:nvPr userDrawn="1"/>
        </p:nvSpPr>
        <p:spPr bwMode="auto">
          <a:xfrm>
            <a:off x="0" y="-171400"/>
            <a:ext cx="9144000" cy="7029400"/>
          </a:xfrm>
          <a:prstGeom prst="rect">
            <a:avLst/>
          </a:prstGeom>
          <a:solidFill>
            <a:schemeClr val="bg1"/>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buClr>
                <a:srgbClr val="444D54"/>
              </a:buClr>
            </a:pPr>
            <a:endParaRPr lang="de-DE" dirty="0">
              <a:solidFill>
                <a:srgbClr val="021631"/>
              </a:solidFill>
              <a:latin typeface="Arial" charset="0"/>
              <a:ea typeface="ＭＳ Ｐゴシック" charset="0"/>
            </a:endParaRPr>
          </a:p>
        </p:txBody>
      </p:sp>
      <p:sp>
        <p:nvSpPr>
          <p:cNvPr id="101378" name="Rectangle 2"/>
          <p:cNvSpPr>
            <a:spLocks noGrp="1" noChangeArrowheads="1"/>
          </p:cNvSpPr>
          <p:nvPr>
            <p:ph type="ctrTitle"/>
          </p:nvPr>
        </p:nvSpPr>
        <p:spPr>
          <a:xfrm>
            <a:off x="450928" y="44624"/>
            <a:ext cx="7976271" cy="1080120"/>
          </a:xfrm>
          <a:noFill/>
          <a:extLst>
            <a:ext uri="{909E8E84-426E-40DD-AFC4-6F175D3DCCD1}">
              <a14:hiddenFill xmlns:a14="http://schemas.microsoft.com/office/drawing/2010/main">
                <a:solidFill>
                  <a:schemeClr val="accent1"/>
                </a:solidFill>
              </a14:hiddenFill>
            </a:ext>
          </a:extLst>
        </p:spPr>
        <p:txBody>
          <a:bodyPr lIns="0" tIns="45720" rIns="0"/>
          <a:lstStyle>
            <a:lvl1pPr>
              <a:lnSpc>
                <a:spcPct val="80000"/>
              </a:lnSpc>
              <a:defRPr sz="3600" b="1" i="0">
                <a:solidFill>
                  <a:srgbClr val="2260A8"/>
                </a:solidFill>
                <a:latin typeface="Calibri"/>
                <a:cs typeface="Calibri"/>
              </a:defRPr>
            </a:lvl1pPr>
          </a:lstStyle>
          <a:p>
            <a:pPr lvl="0"/>
            <a:r>
              <a:rPr lang="de-DE" noProof="0" dirty="0"/>
              <a:t>Mastertitelformat bearbeiten</a:t>
            </a:r>
            <a:endParaRPr lang="en-GB" noProof="0" dirty="0"/>
          </a:p>
        </p:txBody>
      </p:sp>
      <p:sp>
        <p:nvSpPr>
          <p:cNvPr id="101379" name="Rectangle 3"/>
          <p:cNvSpPr>
            <a:spLocks noGrp="1" noChangeArrowheads="1"/>
          </p:cNvSpPr>
          <p:nvPr>
            <p:ph type="subTitle" idx="1"/>
          </p:nvPr>
        </p:nvSpPr>
        <p:spPr>
          <a:xfrm>
            <a:off x="450931" y="1124744"/>
            <a:ext cx="7976267" cy="720080"/>
          </a:xfrm>
        </p:spPr>
        <p:txBody>
          <a:bodyPr lIns="0" tIns="45720" rIns="0" bIns="45720"/>
          <a:lstStyle>
            <a:lvl1pPr marL="0" marR="0" indent="0" algn="l" defTabSz="895350" rtl="0" eaLnBrk="0" fontAlgn="base" latinLnBrk="0" hangingPunct="0">
              <a:lnSpc>
                <a:spcPct val="90000"/>
              </a:lnSpc>
              <a:spcBef>
                <a:spcPct val="30000"/>
              </a:spcBef>
              <a:spcAft>
                <a:spcPct val="30000"/>
              </a:spcAft>
              <a:buClrTx/>
              <a:buSzTx/>
              <a:buFontTx/>
              <a:buNone/>
              <a:tabLst/>
              <a:defRPr sz="1800">
                <a:solidFill>
                  <a:srgbClr val="444D54"/>
                </a:solidFill>
                <a:latin typeface="Calibri"/>
                <a:cs typeface="Calibri"/>
              </a:defRPr>
            </a:lvl1pPr>
          </a:lstStyle>
          <a:p>
            <a:pPr lvl="0"/>
            <a:r>
              <a:rPr lang="de-DE" noProof="0" dirty="0"/>
              <a:t>Master-Untertitelformat bearbeiten</a:t>
            </a:r>
            <a:endParaRPr lang="en-GB" noProof="0" dirty="0"/>
          </a:p>
        </p:txBody>
      </p:sp>
      <p:sp>
        <p:nvSpPr>
          <p:cNvPr id="19" name="Oval 18"/>
          <p:cNvSpPr/>
          <p:nvPr userDrawn="1"/>
        </p:nvSpPr>
        <p:spPr bwMode="auto">
          <a:xfrm>
            <a:off x="6632537" y="5157584"/>
            <a:ext cx="2060175" cy="2231856"/>
          </a:xfrm>
          <a:prstGeom prst="ellipse">
            <a:avLst/>
          </a:prstGeom>
          <a:solidFill>
            <a:schemeClr val="bg1"/>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buClr>
                <a:srgbClr val="444D54"/>
              </a:buClr>
            </a:pPr>
            <a:endParaRPr lang="de-DE" dirty="0">
              <a:solidFill>
                <a:srgbClr val="021631"/>
              </a:solidFill>
              <a:latin typeface="Arial" charset="0"/>
              <a:ea typeface="ＭＳ Ｐゴシック" charset="0"/>
            </a:endParaRPr>
          </a:p>
        </p:txBody>
      </p:sp>
      <p:pic>
        <p:nvPicPr>
          <p:cNvPr id="20" name="Bild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962753" y="5661248"/>
            <a:ext cx="1397976" cy="912568"/>
          </a:xfrm>
          <a:prstGeom prst="rect">
            <a:avLst/>
          </a:prstGeom>
        </p:spPr>
      </p:pic>
      <p:sp>
        <p:nvSpPr>
          <p:cNvPr id="8" name="Rechteck 29"/>
          <p:cNvSpPr/>
          <p:nvPr userDrawn="1"/>
        </p:nvSpPr>
        <p:spPr bwMode="auto">
          <a:xfrm>
            <a:off x="-216694" y="1721584"/>
            <a:ext cx="9522125" cy="2499507"/>
          </a:xfrm>
          <a:custGeom>
            <a:avLst/>
            <a:gdLst/>
            <a:ahLst/>
            <a:cxnLst/>
            <a:rect l="l" t="t" r="r" b="b"/>
            <a:pathLst>
              <a:path w="10315635" h="2499507">
                <a:moveTo>
                  <a:pt x="5677348" y="1268"/>
                </a:moveTo>
                <a:cubicBezTo>
                  <a:pt x="6011511" y="-4187"/>
                  <a:pt x="6333946" y="8568"/>
                  <a:pt x="6635487" y="27827"/>
                </a:cubicBezTo>
                <a:cubicBezTo>
                  <a:pt x="7238569" y="66345"/>
                  <a:pt x="8512844" y="208013"/>
                  <a:pt x="9981836" y="848471"/>
                </a:cubicBezTo>
                <a:lnTo>
                  <a:pt x="10303494" y="981118"/>
                </a:lnTo>
                <a:cubicBezTo>
                  <a:pt x="10306483" y="1467963"/>
                  <a:pt x="10312646" y="1951632"/>
                  <a:pt x="10315635" y="2438477"/>
                </a:cubicBezTo>
                <a:lnTo>
                  <a:pt x="0" y="2499507"/>
                </a:lnTo>
                <a:lnTo>
                  <a:pt x="0" y="1955684"/>
                </a:lnTo>
                <a:cubicBezTo>
                  <a:pt x="470631" y="1664288"/>
                  <a:pt x="519549" y="1599747"/>
                  <a:pt x="928562" y="1385592"/>
                </a:cubicBezTo>
                <a:cubicBezTo>
                  <a:pt x="1337575" y="1171437"/>
                  <a:pt x="1834029" y="887694"/>
                  <a:pt x="2454076" y="670756"/>
                </a:cubicBezTo>
                <a:cubicBezTo>
                  <a:pt x="3411199" y="314647"/>
                  <a:pt x="3951941" y="191118"/>
                  <a:pt x="4648843" y="83963"/>
                </a:cubicBezTo>
                <a:cubicBezTo>
                  <a:pt x="4997294" y="30385"/>
                  <a:pt x="5343185" y="6722"/>
                  <a:pt x="5677348" y="1268"/>
                </a:cubicBezTo>
                <a:close/>
              </a:path>
            </a:pathLst>
          </a:custGeom>
          <a:solidFill>
            <a:srgbClr val="659EE0"/>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eaLnBrk="0" fontAlgn="base" hangingPunct="0">
              <a:spcBef>
                <a:spcPct val="0"/>
              </a:spcBef>
              <a:spcAft>
                <a:spcPct val="0"/>
              </a:spcAft>
              <a:buClr>
                <a:srgbClr val="444D54"/>
              </a:buClr>
            </a:pPr>
            <a:endParaRPr lang="de-DE" dirty="0">
              <a:solidFill>
                <a:srgbClr val="021631"/>
              </a:solidFill>
              <a:latin typeface="Arial" charset="0"/>
              <a:ea typeface="ＭＳ Ｐゴシック" charset="0"/>
            </a:endParaRPr>
          </a:p>
        </p:txBody>
      </p:sp>
      <p:sp>
        <p:nvSpPr>
          <p:cNvPr id="9" name="Bildplatzhalter 26"/>
          <p:cNvSpPr>
            <a:spLocks noGrp="1"/>
          </p:cNvSpPr>
          <p:nvPr>
            <p:ph type="pic" sz="quarter" idx="11"/>
          </p:nvPr>
        </p:nvSpPr>
        <p:spPr bwMode="gray">
          <a:xfrm>
            <a:off x="-278241" y="1888989"/>
            <a:ext cx="9627838" cy="5215558"/>
          </a:xfrm>
          <a:custGeom>
            <a:avLst/>
            <a:gdLst>
              <a:gd name="connsiteX0" fmla="*/ 3885745 w 10430158"/>
              <a:gd name="connsiteY0" fmla="*/ 2116273 h 5215558"/>
              <a:gd name="connsiteX1" fmla="*/ 3525640 w 10430158"/>
              <a:gd name="connsiteY1" fmla="*/ 2476378 h 5215558"/>
              <a:gd name="connsiteX2" fmla="*/ 3525640 w 10430158"/>
              <a:gd name="connsiteY2" fmla="*/ 3916755 h 5215558"/>
              <a:gd name="connsiteX3" fmla="*/ 5973822 w 10430158"/>
              <a:gd name="connsiteY3" fmla="*/ 4276860 h 5215558"/>
              <a:gd name="connsiteX4" fmla="*/ 6333927 w 10430158"/>
              <a:gd name="connsiteY4" fmla="*/ 3916755 h 5215558"/>
              <a:gd name="connsiteX5" fmla="*/ 6333927 w 10430158"/>
              <a:gd name="connsiteY5" fmla="*/ 2476378 h 5215558"/>
              <a:gd name="connsiteX6" fmla="*/ 5973822 w 10430158"/>
              <a:gd name="connsiteY6" fmla="*/ 2116273 h 5215558"/>
              <a:gd name="connsiteX7" fmla="*/ 3885745 w 10430158"/>
              <a:gd name="connsiteY7" fmla="*/ 2116273 h 5215558"/>
              <a:gd name="connsiteX8" fmla="*/ 6106509 w 10430158"/>
              <a:gd name="connsiteY8" fmla="*/ 236 h 5215558"/>
              <a:gd name="connsiteX9" fmla="*/ 7527282 w 10430158"/>
              <a:gd name="connsiteY9" fmla="*/ 104013 h 5215558"/>
              <a:gd name="connsiteX10" fmla="*/ 9690353 w 10430158"/>
              <a:gd name="connsiteY10" fmla="*/ 617008 h 5215558"/>
              <a:gd name="connsiteX11" fmla="*/ 10390659 w 10430158"/>
              <a:gd name="connsiteY11" fmla="*/ 885493 h 5215558"/>
              <a:gd name="connsiteX12" fmla="*/ 10429935 w 10430158"/>
              <a:gd name="connsiteY12" fmla="*/ 5192628 h 5215558"/>
              <a:gd name="connsiteX13" fmla="*/ 9391683 w 10430158"/>
              <a:gd name="connsiteY13" fmla="*/ 5173602 h 5215558"/>
              <a:gd name="connsiteX14" fmla="*/ 9718531 w 10430158"/>
              <a:gd name="connsiteY14" fmla="*/ 4384522 h 5215558"/>
              <a:gd name="connsiteX15" fmla="*/ 8602603 w 10430158"/>
              <a:gd name="connsiteY15" fmla="*/ 3268594 h 5215558"/>
              <a:gd name="connsiteX16" fmla="*/ 7486675 w 10430158"/>
              <a:gd name="connsiteY16" fmla="*/ 4384522 h 5215558"/>
              <a:gd name="connsiteX17" fmla="*/ 7813523 w 10430158"/>
              <a:gd name="connsiteY17" fmla="*/ 5173602 h 5215558"/>
              <a:gd name="connsiteX18" fmla="*/ 0 w 10430158"/>
              <a:gd name="connsiteY18" fmla="*/ 5215558 h 5215558"/>
              <a:gd name="connsiteX19" fmla="*/ 63500 w 10430158"/>
              <a:gd name="connsiteY19" fmla="*/ 2055535 h 5215558"/>
              <a:gd name="connsiteX20" fmla="*/ 992062 w 10430158"/>
              <a:gd name="connsiteY20" fmla="*/ 1422336 h 5215558"/>
              <a:gd name="connsiteX21" fmla="*/ 2549130 w 10430158"/>
              <a:gd name="connsiteY21" fmla="*/ 691722 h 5215558"/>
              <a:gd name="connsiteX22" fmla="*/ 4751785 w 10430158"/>
              <a:gd name="connsiteY22" fmla="*/ 104930 h 5215558"/>
              <a:gd name="connsiteX23" fmla="*/ 6106509 w 10430158"/>
              <a:gd name="connsiteY23" fmla="*/ 236 h 5215558"/>
              <a:gd name="connsiteX0" fmla="*/ 3885745 w 10430158"/>
              <a:gd name="connsiteY0" fmla="*/ 2116273 h 5215558"/>
              <a:gd name="connsiteX1" fmla="*/ 3525640 w 10430158"/>
              <a:gd name="connsiteY1" fmla="*/ 2476378 h 5215558"/>
              <a:gd name="connsiteX2" fmla="*/ 5973822 w 10430158"/>
              <a:gd name="connsiteY2" fmla="*/ 4276860 h 5215558"/>
              <a:gd name="connsiteX3" fmla="*/ 6333927 w 10430158"/>
              <a:gd name="connsiteY3" fmla="*/ 3916755 h 5215558"/>
              <a:gd name="connsiteX4" fmla="*/ 6333927 w 10430158"/>
              <a:gd name="connsiteY4" fmla="*/ 2476378 h 5215558"/>
              <a:gd name="connsiteX5" fmla="*/ 5973822 w 10430158"/>
              <a:gd name="connsiteY5" fmla="*/ 2116273 h 5215558"/>
              <a:gd name="connsiteX6" fmla="*/ 3885745 w 10430158"/>
              <a:gd name="connsiteY6" fmla="*/ 2116273 h 5215558"/>
              <a:gd name="connsiteX7" fmla="*/ 6106509 w 10430158"/>
              <a:gd name="connsiteY7" fmla="*/ 236 h 5215558"/>
              <a:gd name="connsiteX8" fmla="*/ 7527282 w 10430158"/>
              <a:gd name="connsiteY8" fmla="*/ 104013 h 5215558"/>
              <a:gd name="connsiteX9" fmla="*/ 9690353 w 10430158"/>
              <a:gd name="connsiteY9" fmla="*/ 617008 h 5215558"/>
              <a:gd name="connsiteX10" fmla="*/ 10390659 w 10430158"/>
              <a:gd name="connsiteY10" fmla="*/ 885493 h 5215558"/>
              <a:gd name="connsiteX11" fmla="*/ 10429935 w 10430158"/>
              <a:gd name="connsiteY11" fmla="*/ 5192628 h 5215558"/>
              <a:gd name="connsiteX12" fmla="*/ 9391683 w 10430158"/>
              <a:gd name="connsiteY12" fmla="*/ 5173602 h 5215558"/>
              <a:gd name="connsiteX13" fmla="*/ 9718531 w 10430158"/>
              <a:gd name="connsiteY13" fmla="*/ 4384522 h 5215558"/>
              <a:gd name="connsiteX14" fmla="*/ 8602603 w 10430158"/>
              <a:gd name="connsiteY14" fmla="*/ 3268594 h 5215558"/>
              <a:gd name="connsiteX15" fmla="*/ 7486675 w 10430158"/>
              <a:gd name="connsiteY15" fmla="*/ 4384522 h 5215558"/>
              <a:gd name="connsiteX16" fmla="*/ 7813523 w 10430158"/>
              <a:gd name="connsiteY16" fmla="*/ 5173602 h 5215558"/>
              <a:gd name="connsiteX17" fmla="*/ 0 w 10430158"/>
              <a:gd name="connsiteY17" fmla="*/ 5215558 h 5215558"/>
              <a:gd name="connsiteX18" fmla="*/ 63500 w 10430158"/>
              <a:gd name="connsiteY18" fmla="*/ 2055535 h 5215558"/>
              <a:gd name="connsiteX19" fmla="*/ 992062 w 10430158"/>
              <a:gd name="connsiteY19" fmla="*/ 1422336 h 5215558"/>
              <a:gd name="connsiteX20" fmla="*/ 2549130 w 10430158"/>
              <a:gd name="connsiteY20" fmla="*/ 691722 h 5215558"/>
              <a:gd name="connsiteX21" fmla="*/ 4751785 w 10430158"/>
              <a:gd name="connsiteY21" fmla="*/ 104930 h 5215558"/>
              <a:gd name="connsiteX22" fmla="*/ 6106509 w 10430158"/>
              <a:gd name="connsiteY22" fmla="*/ 236 h 5215558"/>
              <a:gd name="connsiteX0" fmla="*/ 3885745 w 10430158"/>
              <a:gd name="connsiteY0" fmla="*/ 2116273 h 5215558"/>
              <a:gd name="connsiteX1" fmla="*/ 3525640 w 10430158"/>
              <a:gd name="connsiteY1" fmla="*/ 2476378 h 5215558"/>
              <a:gd name="connsiteX2" fmla="*/ 6333927 w 10430158"/>
              <a:gd name="connsiteY2" fmla="*/ 3916755 h 5215558"/>
              <a:gd name="connsiteX3" fmla="*/ 6333927 w 10430158"/>
              <a:gd name="connsiteY3" fmla="*/ 2476378 h 5215558"/>
              <a:gd name="connsiteX4" fmla="*/ 5973822 w 10430158"/>
              <a:gd name="connsiteY4" fmla="*/ 2116273 h 5215558"/>
              <a:gd name="connsiteX5" fmla="*/ 3885745 w 10430158"/>
              <a:gd name="connsiteY5" fmla="*/ 2116273 h 5215558"/>
              <a:gd name="connsiteX6" fmla="*/ 6106509 w 10430158"/>
              <a:gd name="connsiteY6" fmla="*/ 236 h 5215558"/>
              <a:gd name="connsiteX7" fmla="*/ 7527282 w 10430158"/>
              <a:gd name="connsiteY7" fmla="*/ 104013 h 5215558"/>
              <a:gd name="connsiteX8" fmla="*/ 9690353 w 10430158"/>
              <a:gd name="connsiteY8" fmla="*/ 617008 h 5215558"/>
              <a:gd name="connsiteX9" fmla="*/ 10390659 w 10430158"/>
              <a:gd name="connsiteY9" fmla="*/ 885493 h 5215558"/>
              <a:gd name="connsiteX10" fmla="*/ 10429935 w 10430158"/>
              <a:gd name="connsiteY10" fmla="*/ 5192628 h 5215558"/>
              <a:gd name="connsiteX11" fmla="*/ 9391683 w 10430158"/>
              <a:gd name="connsiteY11" fmla="*/ 5173602 h 5215558"/>
              <a:gd name="connsiteX12" fmla="*/ 9718531 w 10430158"/>
              <a:gd name="connsiteY12" fmla="*/ 4384522 h 5215558"/>
              <a:gd name="connsiteX13" fmla="*/ 8602603 w 10430158"/>
              <a:gd name="connsiteY13" fmla="*/ 3268594 h 5215558"/>
              <a:gd name="connsiteX14" fmla="*/ 7486675 w 10430158"/>
              <a:gd name="connsiteY14" fmla="*/ 4384522 h 5215558"/>
              <a:gd name="connsiteX15" fmla="*/ 7813523 w 10430158"/>
              <a:gd name="connsiteY15" fmla="*/ 5173602 h 5215558"/>
              <a:gd name="connsiteX16" fmla="*/ 0 w 10430158"/>
              <a:gd name="connsiteY16" fmla="*/ 5215558 h 5215558"/>
              <a:gd name="connsiteX17" fmla="*/ 63500 w 10430158"/>
              <a:gd name="connsiteY17" fmla="*/ 2055535 h 5215558"/>
              <a:gd name="connsiteX18" fmla="*/ 992062 w 10430158"/>
              <a:gd name="connsiteY18" fmla="*/ 1422336 h 5215558"/>
              <a:gd name="connsiteX19" fmla="*/ 2549130 w 10430158"/>
              <a:gd name="connsiteY19" fmla="*/ 691722 h 5215558"/>
              <a:gd name="connsiteX20" fmla="*/ 4751785 w 10430158"/>
              <a:gd name="connsiteY20" fmla="*/ 104930 h 5215558"/>
              <a:gd name="connsiteX21" fmla="*/ 6106509 w 10430158"/>
              <a:gd name="connsiteY21" fmla="*/ 236 h 5215558"/>
              <a:gd name="connsiteX0" fmla="*/ 3885745 w 10430158"/>
              <a:gd name="connsiteY0" fmla="*/ 2116273 h 5215558"/>
              <a:gd name="connsiteX1" fmla="*/ 3525640 w 10430158"/>
              <a:gd name="connsiteY1" fmla="*/ 2476378 h 5215558"/>
              <a:gd name="connsiteX2" fmla="*/ 6333927 w 10430158"/>
              <a:gd name="connsiteY2" fmla="*/ 2476378 h 5215558"/>
              <a:gd name="connsiteX3" fmla="*/ 5973822 w 10430158"/>
              <a:gd name="connsiteY3" fmla="*/ 2116273 h 5215558"/>
              <a:gd name="connsiteX4" fmla="*/ 3885745 w 10430158"/>
              <a:gd name="connsiteY4" fmla="*/ 2116273 h 5215558"/>
              <a:gd name="connsiteX5" fmla="*/ 6106509 w 10430158"/>
              <a:gd name="connsiteY5" fmla="*/ 236 h 5215558"/>
              <a:gd name="connsiteX6" fmla="*/ 7527282 w 10430158"/>
              <a:gd name="connsiteY6" fmla="*/ 104013 h 5215558"/>
              <a:gd name="connsiteX7" fmla="*/ 9690353 w 10430158"/>
              <a:gd name="connsiteY7" fmla="*/ 617008 h 5215558"/>
              <a:gd name="connsiteX8" fmla="*/ 10390659 w 10430158"/>
              <a:gd name="connsiteY8" fmla="*/ 885493 h 5215558"/>
              <a:gd name="connsiteX9" fmla="*/ 10429935 w 10430158"/>
              <a:gd name="connsiteY9" fmla="*/ 5192628 h 5215558"/>
              <a:gd name="connsiteX10" fmla="*/ 9391683 w 10430158"/>
              <a:gd name="connsiteY10" fmla="*/ 5173602 h 5215558"/>
              <a:gd name="connsiteX11" fmla="*/ 9718531 w 10430158"/>
              <a:gd name="connsiteY11" fmla="*/ 4384522 h 5215558"/>
              <a:gd name="connsiteX12" fmla="*/ 8602603 w 10430158"/>
              <a:gd name="connsiteY12" fmla="*/ 3268594 h 5215558"/>
              <a:gd name="connsiteX13" fmla="*/ 7486675 w 10430158"/>
              <a:gd name="connsiteY13" fmla="*/ 4384522 h 5215558"/>
              <a:gd name="connsiteX14" fmla="*/ 7813523 w 10430158"/>
              <a:gd name="connsiteY14" fmla="*/ 5173602 h 5215558"/>
              <a:gd name="connsiteX15" fmla="*/ 0 w 10430158"/>
              <a:gd name="connsiteY15" fmla="*/ 5215558 h 5215558"/>
              <a:gd name="connsiteX16" fmla="*/ 63500 w 10430158"/>
              <a:gd name="connsiteY16" fmla="*/ 2055535 h 5215558"/>
              <a:gd name="connsiteX17" fmla="*/ 992062 w 10430158"/>
              <a:gd name="connsiteY17" fmla="*/ 1422336 h 5215558"/>
              <a:gd name="connsiteX18" fmla="*/ 2549130 w 10430158"/>
              <a:gd name="connsiteY18" fmla="*/ 691722 h 5215558"/>
              <a:gd name="connsiteX19" fmla="*/ 4751785 w 10430158"/>
              <a:gd name="connsiteY19" fmla="*/ 104930 h 5215558"/>
              <a:gd name="connsiteX20" fmla="*/ 6106509 w 10430158"/>
              <a:gd name="connsiteY20" fmla="*/ 236 h 5215558"/>
              <a:gd name="connsiteX0" fmla="*/ 3885745 w 10430158"/>
              <a:gd name="connsiteY0" fmla="*/ 2116273 h 5215558"/>
              <a:gd name="connsiteX1" fmla="*/ 3525640 w 10430158"/>
              <a:gd name="connsiteY1" fmla="*/ 2476378 h 5215558"/>
              <a:gd name="connsiteX2" fmla="*/ 5973822 w 10430158"/>
              <a:gd name="connsiteY2" fmla="*/ 2116273 h 5215558"/>
              <a:gd name="connsiteX3" fmla="*/ 3885745 w 10430158"/>
              <a:gd name="connsiteY3" fmla="*/ 2116273 h 5215558"/>
              <a:gd name="connsiteX4" fmla="*/ 6106509 w 10430158"/>
              <a:gd name="connsiteY4" fmla="*/ 236 h 5215558"/>
              <a:gd name="connsiteX5" fmla="*/ 7527282 w 10430158"/>
              <a:gd name="connsiteY5" fmla="*/ 104013 h 5215558"/>
              <a:gd name="connsiteX6" fmla="*/ 9690353 w 10430158"/>
              <a:gd name="connsiteY6" fmla="*/ 617008 h 5215558"/>
              <a:gd name="connsiteX7" fmla="*/ 10390659 w 10430158"/>
              <a:gd name="connsiteY7" fmla="*/ 885493 h 5215558"/>
              <a:gd name="connsiteX8" fmla="*/ 10429935 w 10430158"/>
              <a:gd name="connsiteY8" fmla="*/ 5192628 h 5215558"/>
              <a:gd name="connsiteX9" fmla="*/ 9391683 w 10430158"/>
              <a:gd name="connsiteY9" fmla="*/ 5173602 h 5215558"/>
              <a:gd name="connsiteX10" fmla="*/ 9718531 w 10430158"/>
              <a:gd name="connsiteY10" fmla="*/ 4384522 h 5215558"/>
              <a:gd name="connsiteX11" fmla="*/ 8602603 w 10430158"/>
              <a:gd name="connsiteY11" fmla="*/ 3268594 h 5215558"/>
              <a:gd name="connsiteX12" fmla="*/ 7486675 w 10430158"/>
              <a:gd name="connsiteY12" fmla="*/ 4384522 h 5215558"/>
              <a:gd name="connsiteX13" fmla="*/ 7813523 w 10430158"/>
              <a:gd name="connsiteY13" fmla="*/ 5173602 h 5215558"/>
              <a:gd name="connsiteX14" fmla="*/ 0 w 10430158"/>
              <a:gd name="connsiteY14" fmla="*/ 5215558 h 5215558"/>
              <a:gd name="connsiteX15" fmla="*/ 63500 w 10430158"/>
              <a:gd name="connsiteY15" fmla="*/ 2055535 h 5215558"/>
              <a:gd name="connsiteX16" fmla="*/ 992062 w 10430158"/>
              <a:gd name="connsiteY16" fmla="*/ 1422336 h 5215558"/>
              <a:gd name="connsiteX17" fmla="*/ 2549130 w 10430158"/>
              <a:gd name="connsiteY17" fmla="*/ 691722 h 5215558"/>
              <a:gd name="connsiteX18" fmla="*/ 4751785 w 10430158"/>
              <a:gd name="connsiteY18" fmla="*/ 104930 h 5215558"/>
              <a:gd name="connsiteX19" fmla="*/ 6106509 w 10430158"/>
              <a:gd name="connsiteY19" fmla="*/ 236 h 5215558"/>
              <a:gd name="connsiteX0" fmla="*/ 3885745 w 10430158"/>
              <a:gd name="connsiteY0" fmla="*/ 2116273 h 5215558"/>
              <a:gd name="connsiteX1" fmla="*/ 3525640 w 10430158"/>
              <a:gd name="connsiteY1" fmla="*/ 2476378 h 5215558"/>
              <a:gd name="connsiteX2" fmla="*/ 3885745 w 10430158"/>
              <a:gd name="connsiteY2" fmla="*/ 2116273 h 5215558"/>
              <a:gd name="connsiteX3" fmla="*/ 6106509 w 10430158"/>
              <a:gd name="connsiteY3" fmla="*/ 236 h 5215558"/>
              <a:gd name="connsiteX4" fmla="*/ 7527282 w 10430158"/>
              <a:gd name="connsiteY4" fmla="*/ 104013 h 5215558"/>
              <a:gd name="connsiteX5" fmla="*/ 9690353 w 10430158"/>
              <a:gd name="connsiteY5" fmla="*/ 617008 h 5215558"/>
              <a:gd name="connsiteX6" fmla="*/ 10390659 w 10430158"/>
              <a:gd name="connsiteY6" fmla="*/ 885493 h 5215558"/>
              <a:gd name="connsiteX7" fmla="*/ 10429935 w 10430158"/>
              <a:gd name="connsiteY7" fmla="*/ 5192628 h 5215558"/>
              <a:gd name="connsiteX8" fmla="*/ 9391683 w 10430158"/>
              <a:gd name="connsiteY8" fmla="*/ 5173602 h 5215558"/>
              <a:gd name="connsiteX9" fmla="*/ 9718531 w 10430158"/>
              <a:gd name="connsiteY9" fmla="*/ 4384522 h 5215558"/>
              <a:gd name="connsiteX10" fmla="*/ 8602603 w 10430158"/>
              <a:gd name="connsiteY10" fmla="*/ 3268594 h 5215558"/>
              <a:gd name="connsiteX11" fmla="*/ 7486675 w 10430158"/>
              <a:gd name="connsiteY11" fmla="*/ 4384522 h 5215558"/>
              <a:gd name="connsiteX12" fmla="*/ 7813523 w 10430158"/>
              <a:gd name="connsiteY12" fmla="*/ 5173602 h 5215558"/>
              <a:gd name="connsiteX13" fmla="*/ 0 w 10430158"/>
              <a:gd name="connsiteY13" fmla="*/ 5215558 h 5215558"/>
              <a:gd name="connsiteX14" fmla="*/ 63500 w 10430158"/>
              <a:gd name="connsiteY14" fmla="*/ 2055535 h 5215558"/>
              <a:gd name="connsiteX15" fmla="*/ 992062 w 10430158"/>
              <a:gd name="connsiteY15" fmla="*/ 1422336 h 5215558"/>
              <a:gd name="connsiteX16" fmla="*/ 2549130 w 10430158"/>
              <a:gd name="connsiteY16" fmla="*/ 691722 h 5215558"/>
              <a:gd name="connsiteX17" fmla="*/ 4751785 w 10430158"/>
              <a:gd name="connsiteY17" fmla="*/ 104930 h 5215558"/>
              <a:gd name="connsiteX18" fmla="*/ 6106509 w 10430158"/>
              <a:gd name="connsiteY18" fmla="*/ 236 h 5215558"/>
              <a:gd name="connsiteX0" fmla="*/ 6106509 w 10430158"/>
              <a:gd name="connsiteY0" fmla="*/ 236 h 5215558"/>
              <a:gd name="connsiteX1" fmla="*/ 7527282 w 10430158"/>
              <a:gd name="connsiteY1" fmla="*/ 104013 h 5215558"/>
              <a:gd name="connsiteX2" fmla="*/ 9690353 w 10430158"/>
              <a:gd name="connsiteY2" fmla="*/ 617008 h 5215558"/>
              <a:gd name="connsiteX3" fmla="*/ 10390659 w 10430158"/>
              <a:gd name="connsiteY3" fmla="*/ 885493 h 5215558"/>
              <a:gd name="connsiteX4" fmla="*/ 10429935 w 10430158"/>
              <a:gd name="connsiteY4" fmla="*/ 5192628 h 5215558"/>
              <a:gd name="connsiteX5" fmla="*/ 9391683 w 10430158"/>
              <a:gd name="connsiteY5" fmla="*/ 5173602 h 5215558"/>
              <a:gd name="connsiteX6" fmla="*/ 9718531 w 10430158"/>
              <a:gd name="connsiteY6" fmla="*/ 4384522 h 5215558"/>
              <a:gd name="connsiteX7" fmla="*/ 8602603 w 10430158"/>
              <a:gd name="connsiteY7" fmla="*/ 3268594 h 5215558"/>
              <a:gd name="connsiteX8" fmla="*/ 7486675 w 10430158"/>
              <a:gd name="connsiteY8" fmla="*/ 4384522 h 5215558"/>
              <a:gd name="connsiteX9" fmla="*/ 7813523 w 10430158"/>
              <a:gd name="connsiteY9" fmla="*/ 5173602 h 5215558"/>
              <a:gd name="connsiteX10" fmla="*/ 0 w 10430158"/>
              <a:gd name="connsiteY10" fmla="*/ 5215558 h 5215558"/>
              <a:gd name="connsiteX11" fmla="*/ 63500 w 10430158"/>
              <a:gd name="connsiteY11" fmla="*/ 2055535 h 5215558"/>
              <a:gd name="connsiteX12" fmla="*/ 992062 w 10430158"/>
              <a:gd name="connsiteY12" fmla="*/ 1422336 h 5215558"/>
              <a:gd name="connsiteX13" fmla="*/ 2549130 w 10430158"/>
              <a:gd name="connsiteY13" fmla="*/ 691722 h 5215558"/>
              <a:gd name="connsiteX14" fmla="*/ 4751785 w 10430158"/>
              <a:gd name="connsiteY14" fmla="*/ 104930 h 5215558"/>
              <a:gd name="connsiteX15" fmla="*/ 6106509 w 10430158"/>
              <a:gd name="connsiteY15" fmla="*/ 236 h 5215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30158" h="5215558">
                <a:moveTo>
                  <a:pt x="6106509" y="236"/>
                </a:moveTo>
                <a:cubicBezTo>
                  <a:pt x="6579980" y="3555"/>
                  <a:pt x="7064459" y="41618"/>
                  <a:pt x="7527282" y="104013"/>
                </a:cubicBezTo>
                <a:cubicBezTo>
                  <a:pt x="8452928" y="228802"/>
                  <a:pt x="9252567" y="463095"/>
                  <a:pt x="9690353" y="617008"/>
                </a:cubicBezTo>
                <a:cubicBezTo>
                  <a:pt x="10128139" y="770921"/>
                  <a:pt x="10417545" y="922213"/>
                  <a:pt x="10390659" y="885493"/>
                </a:cubicBezTo>
                <a:cubicBezTo>
                  <a:pt x="10386818" y="1436438"/>
                  <a:pt x="10433776" y="4641683"/>
                  <a:pt x="10429935" y="5192628"/>
                </a:cubicBezTo>
                <a:lnTo>
                  <a:pt x="9391683" y="5173602"/>
                </a:lnTo>
                <a:cubicBezTo>
                  <a:pt x="9593627" y="4971659"/>
                  <a:pt x="9718531" y="4692677"/>
                  <a:pt x="9718531" y="4384522"/>
                </a:cubicBezTo>
                <a:cubicBezTo>
                  <a:pt x="9718531" y="3768212"/>
                  <a:pt x="9218913" y="3268594"/>
                  <a:pt x="8602603" y="3268594"/>
                </a:cubicBezTo>
                <a:cubicBezTo>
                  <a:pt x="7986293" y="3268594"/>
                  <a:pt x="7486675" y="3768212"/>
                  <a:pt x="7486675" y="4384522"/>
                </a:cubicBezTo>
                <a:cubicBezTo>
                  <a:pt x="7486675" y="4692677"/>
                  <a:pt x="7611580" y="4971659"/>
                  <a:pt x="7813523" y="5173602"/>
                </a:cubicBezTo>
                <a:lnTo>
                  <a:pt x="0" y="5215558"/>
                </a:lnTo>
                <a:lnTo>
                  <a:pt x="63500" y="2055535"/>
                </a:lnTo>
                <a:cubicBezTo>
                  <a:pt x="187036" y="1969238"/>
                  <a:pt x="577790" y="1649638"/>
                  <a:pt x="992062" y="1422336"/>
                </a:cubicBezTo>
                <a:cubicBezTo>
                  <a:pt x="1406334" y="1195034"/>
                  <a:pt x="1929083" y="908660"/>
                  <a:pt x="2549130" y="691722"/>
                </a:cubicBezTo>
                <a:cubicBezTo>
                  <a:pt x="3506253" y="335613"/>
                  <a:pt x="3914204" y="258101"/>
                  <a:pt x="4751785" y="104930"/>
                </a:cubicBezTo>
                <a:cubicBezTo>
                  <a:pt x="5170575" y="28344"/>
                  <a:pt x="5633038" y="-3082"/>
                  <a:pt x="6106509" y="236"/>
                </a:cubicBezTo>
                <a:close/>
              </a:path>
            </a:pathLst>
          </a:custGeom>
          <a:solidFill>
            <a:schemeClr val="bg2"/>
          </a:solidFill>
          <a:ln>
            <a:noFill/>
          </a:ln>
          <a:effectLst/>
          <a:extLst>
            <a:ext uri="{FAA26D3D-D897-4be2-8F04-BA451C77F1D7}">
              <ma14:placeholderFlag xmlns:ma14="http://schemas.microsoft.com/office/mac/drawingml/2011/main" xmlns="" val="1"/>
            </a:ext>
          </a:extLst>
        </p:spPr>
        <p:txBody>
          <a:bodyPr/>
          <a:lstStyle/>
          <a:p>
            <a:endParaRPr lang="de-DE" dirty="0"/>
          </a:p>
        </p:txBody>
      </p:sp>
    </p:spTree>
    <p:extLst>
      <p:ext uri="{BB962C8B-B14F-4D97-AF65-F5344CB8AC3E}">
        <p14:creationId xmlns:p14="http://schemas.microsoft.com/office/powerpoint/2010/main" val="4127402795"/>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5" name="Rechteck 14"/>
          <p:cNvSpPr/>
          <p:nvPr userDrawn="1"/>
        </p:nvSpPr>
        <p:spPr bwMode="auto">
          <a:xfrm>
            <a:off x="0" y="-171400"/>
            <a:ext cx="9144000" cy="7029400"/>
          </a:xfrm>
          <a:prstGeom prst="rect">
            <a:avLst/>
          </a:prstGeom>
          <a:solidFill>
            <a:schemeClr val="bg1"/>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buClr>
                <a:srgbClr val="444D54"/>
              </a:buClr>
            </a:pPr>
            <a:endParaRPr lang="de-DE" sz="1800" dirty="0">
              <a:solidFill>
                <a:srgbClr val="021631"/>
              </a:solidFill>
              <a:latin typeface="Arial" charset="0"/>
              <a:ea typeface="ＭＳ Ｐゴシック" charset="0"/>
            </a:endParaRPr>
          </a:p>
        </p:txBody>
      </p:sp>
      <p:sp>
        <p:nvSpPr>
          <p:cNvPr id="101378" name="Rectangle 2"/>
          <p:cNvSpPr>
            <a:spLocks noGrp="1" noChangeArrowheads="1"/>
          </p:cNvSpPr>
          <p:nvPr>
            <p:ph type="ctrTitle"/>
          </p:nvPr>
        </p:nvSpPr>
        <p:spPr>
          <a:xfrm>
            <a:off x="450928" y="44624"/>
            <a:ext cx="7976271" cy="1080120"/>
          </a:xfrm>
          <a:noFill/>
          <a:extLst>
            <a:ext uri="{909E8E84-426E-40DD-AFC4-6F175D3DCCD1}">
              <a14:hiddenFill xmlns:a14="http://schemas.microsoft.com/office/drawing/2010/main">
                <a:solidFill>
                  <a:schemeClr val="accent1"/>
                </a:solidFill>
              </a14:hiddenFill>
            </a:ext>
          </a:extLst>
        </p:spPr>
        <p:txBody>
          <a:bodyPr lIns="0" tIns="45720" rIns="0"/>
          <a:lstStyle>
            <a:lvl1pPr>
              <a:lnSpc>
                <a:spcPct val="80000"/>
              </a:lnSpc>
              <a:defRPr sz="3600" b="1" i="0">
                <a:solidFill>
                  <a:srgbClr val="2260A8"/>
                </a:solidFill>
                <a:latin typeface="Calibri"/>
                <a:cs typeface="Calibri"/>
              </a:defRPr>
            </a:lvl1pPr>
          </a:lstStyle>
          <a:p>
            <a:pPr lvl="0"/>
            <a:r>
              <a:rPr lang="de-DE" noProof="0" dirty="0"/>
              <a:t>Mastertitelformat bearbeiten</a:t>
            </a:r>
            <a:endParaRPr lang="en-GB" noProof="0" dirty="0"/>
          </a:p>
        </p:txBody>
      </p:sp>
      <p:sp>
        <p:nvSpPr>
          <p:cNvPr id="101379" name="Rectangle 3"/>
          <p:cNvSpPr>
            <a:spLocks noGrp="1" noChangeArrowheads="1"/>
          </p:cNvSpPr>
          <p:nvPr>
            <p:ph type="subTitle" idx="1"/>
          </p:nvPr>
        </p:nvSpPr>
        <p:spPr>
          <a:xfrm>
            <a:off x="450931" y="1124744"/>
            <a:ext cx="7976267" cy="720080"/>
          </a:xfrm>
        </p:spPr>
        <p:txBody>
          <a:bodyPr lIns="0" tIns="45720" rIns="0" bIns="45720"/>
          <a:lstStyle>
            <a:lvl1pPr marL="0" marR="0" indent="0" algn="l" defTabSz="895350" rtl="0" eaLnBrk="0" fontAlgn="base" latinLnBrk="0" hangingPunct="0">
              <a:lnSpc>
                <a:spcPct val="90000"/>
              </a:lnSpc>
              <a:spcBef>
                <a:spcPct val="30000"/>
              </a:spcBef>
              <a:spcAft>
                <a:spcPct val="30000"/>
              </a:spcAft>
              <a:buClrTx/>
              <a:buSzTx/>
              <a:buFontTx/>
              <a:buNone/>
              <a:tabLst/>
              <a:defRPr sz="1800">
                <a:solidFill>
                  <a:srgbClr val="444D54"/>
                </a:solidFill>
                <a:latin typeface="Calibri"/>
                <a:cs typeface="Calibri"/>
              </a:defRPr>
            </a:lvl1pPr>
          </a:lstStyle>
          <a:p>
            <a:pPr lvl="0"/>
            <a:r>
              <a:rPr lang="de-DE" noProof="0" dirty="0"/>
              <a:t>Master-Untertitelformat bearbeiten</a:t>
            </a:r>
            <a:endParaRPr lang="en-GB" noProof="0" dirty="0"/>
          </a:p>
        </p:txBody>
      </p:sp>
      <p:sp>
        <p:nvSpPr>
          <p:cNvPr id="19" name="Oval 18"/>
          <p:cNvSpPr/>
          <p:nvPr userDrawn="1"/>
        </p:nvSpPr>
        <p:spPr bwMode="auto">
          <a:xfrm>
            <a:off x="6632537" y="5157584"/>
            <a:ext cx="2060175" cy="2231856"/>
          </a:xfrm>
          <a:prstGeom prst="ellipse">
            <a:avLst/>
          </a:prstGeom>
          <a:solidFill>
            <a:schemeClr val="bg1"/>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buClr>
                <a:srgbClr val="444D54"/>
              </a:buClr>
            </a:pPr>
            <a:endParaRPr lang="de-DE" sz="1800" dirty="0">
              <a:solidFill>
                <a:srgbClr val="021631"/>
              </a:solidFill>
              <a:latin typeface="Arial" charset="0"/>
              <a:ea typeface="ＭＳ Ｐゴシック" charset="0"/>
            </a:endParaRPr>
          </a:p>
        </p:txBody>
      </p:sp>
      <p:pic>
        <p:nvPicPr>
          <p:cNvPr id="20" name="Bild 19"/>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962753" y="5661248"/>
            <a:ext cx="1397976" cy="912568"/>
          </a:xfrm>
          <a:prstGeom prst="rect">
            <a:avLst/>
          </a:prstGeom>
        </p:spPr>
      </p:pic>
      <p:sp>
        <p:nvSpPr>
          <p:cNvPr id="8" name="Rechteck 29"/>
          <p:cNvSpPr/>
          <p:nvPr userDrawn="1"/>
        </p:nvSpPr>
        <p:spPr bwMode="auto">
          <a:xfrm>
            <a:off x="-216694" y="1721584"/>
            <a:ext cx="9522125" cy="2499507"/>
          </a:xfrm>
          <a:custGeom>
            <a:avLst/>
            <a:gdLst/>
            <a:ahLst/>
            <a:cxnLst/>
            <a:rect l="l" t="t" r="r" b="b"/>
            <a:pathLst>
              <a:path w="10315635" h="2499507">
                <a:moveTo>
                  <a:pt x="5677348" y="1268"/>
                </a:moveTo>
                <a:cubicBezTo>
                  <a:pt x="6011511" y="-4187"/>
                  <a:pt x="6333946" y="8568"/>
                  <a:pt x="6635487" y="27827"/>
                </a:cubicBezTo>
                <a:cubicBezTo>
                  <a:pt x="7238569" y="66345"/>
                  <a:pt x="8512844" y="208013"/>
                  <a:pt x="9981836" y="848471"/>
                </a:cubicBezTo>
                <a:lnTo>
                  <a:pt x="10303494" y="981118"/>
                </a:lnTo>
                <a:cubicBezTo>
                  <a:pt x="10306483" y="1467963"/>
                  <a:pt x="10312646" y="1951632"/>
                  <a:pt x="10315635" y="2438477"/>
                </a:cubicBezTo>
                <a:lnTo>
                  <a:pt x="0" y="2499507"/>
                </a:lnTo>
                <a:lnTo>
                  <a:pt x="0" y="1955684"/>
                </a:lnTo>
                <a:cubicBezTo>
                  <a:pt x="470631" y="1664288"/>
                  <a:pt x="519549" y="1599747"/>
                  <a:pt x="928562" y="1385592"/>
                </a:cubicBezTo>
                <a:cubicBezTo>
                  <a:pt x="1337575" y="1171437"/>
                  <a:pt x="1834029" y="887694"/>
                  <a:pt x="2454076" y="670756"/>
                </a:cubicBezTo>
                <a:cubicBezTo>
                  <a:pt x="3411199" y="314647"/>
                  <a:pt x="3951941" y="191118"/>
                  <a:pt x="4648843" y="83963"/>
                </a:cubicBezTo>
                <a:cubicBezTo>
                  <a:pt x="4997294" y="30385"/>
                  <a:pt x="5343185" y="6722"/>
                  <a:pt x="5677348" y="1268"/>
                </a:cubicBezTo>
                <a:close/>
              </a:path>
            </a:pathLst>
          </a:custGeom>
          <a:solidFill>
            <a:srgbClr val="659EE0"/>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buClr>
                <a:srgbClr val="444D54"/>
              </a:buClr>
            </a:pPr>
            <a:endParaRPr lang="de-DE" sz="1800" dirty="0">
              <a:solidFill>
                <a:srgbClr val="021631"/>
              </a:solidFill>
              <a:latin typeface="Arial" charset="0"/>
              <a:ea typeface="ＭＳ Ｐゴシック" charset="0"/>
            </a:endParaRPr>
          </a:p>
        </p:txBody>
      </p:sp>
      <p:sp>
        <p:nvSpPr>
          <p:cNvPr id="9" name="Bildplatzhalter 26"/>
          <p:cNvSpPr>
            <a:spLocks noGrp="1"/>
          </p:cNvSpPr>
          <p:nvPr>
            <p:ph type="pic" sz="quarter" idx="11"/>
          </p:nvPr>
        </p:nvSpPr>
        <p:spPr bwMode="gray">
          <a:xfrm>
            <a:off x="-278241" y="1888989"/>
            <a:ext cx="9627838" cy="5215558"/>
          </a:xfrm>
          <a:custGeom>
            <a:avLst/>
            <a:gdLst>
              <a:gd name="connsiteX0" fmla="*/ 3885745 w 10430158"/>
              <a:gd name="connsiteY0" fmla="*/ 2116273 h 5215558"/>
              <a:gd name="connsiteX1" fmla="*/ 3525640 w 10430158"/>
              <a:gd name="connsiteY1" fmla="*/ 2476378 h 5215558"/>
              <a:gd name="connsiteX2" fmla="*/ 3525640 w 10430158"/>
              <a:gd name="connsiteY2" fmla="*/ 3916755 h 5215558"/>
              <a:gd name="connsiteX3" fmla="*/ 5973822 w 10430158"/>
              <a:gd name="connsiteY3" fmla="*/ 4276860 h 5215558"/>
              <a:gd name="connsiteX4" fmla="*/ 6333927 w 10430158"/>
              <a:gd name="connsiteY4" fmla="*/ 3916755 h 5215558"/>
              <a:gd name="connsiteX5" fmla="*/ 6333927 w 10430158"/>
              <a:gd name="connsiteY5" fmla="*/ 2476378 h 5215558"/>
              <a:gd name="connsiteX6" fmla="*/ 5973822 w 10430158"/>
              <a:gd name="connsiteY6" fmla="*/ 2116273 h 5215558"/>
              <a:gd name="connsiteX7" fmla="*/ 3885745 w 10430158"/>
              <a:gd name="connsiteY7" fmla="*/ 2116273 h 5215558"/>
              <a:gd name="connsiteX8" fmla="*/ 6106509 w 10430158"/>
              <a:gd name="connsiteY8" fmla="*/ 236 h 5215558"/>
              <a:gd name="connsiteX9" fmla="*/ 7527282 w 10430158"/>
              <a:gd name="connsiteY9" fmla="*/ 104013 h 5215558"/>
              <a:gd name="connsiteX10" fmla="*/ 9690353 w 10430158"/>
              <a:gd name="connsiteY10" fmla="*/ 617008 h 5215558"/>
              <a:gd name="connsiteX11" fmla="*/ 10390659 w 10430158"/>
              <a:gd name="connsiteY11" fmla="*/ 885493 h 5215558"/>
              <a:gd name="connsiteX12" fmla="*/ 10429935 w 10430158"/>
              <a:gd name="connsiteY12" fmla="*/ 5192628 h 5215558"/>
              <a:gd name="connsiteX13" fmla="*/ 9391683 w 10430158"/>
              <a:gd name="connsiteY13" fmla="*/ 5173602 h 5215558"/>
              <a:gd name="connsiteX14" fmla="*/ 9718531 w 10430158"/>
              <a:gd name="connsiteY14" fmla="*/ 4384522 h 5215558"/>
              <a:gd name="connsiteX15" fmla="*/ 8602603 w 10430158"/>
              <a:gd name="connsiteY15" fmla="*/ 3268594 h 5215558"/>
              <a:gd name="connsiteX16" fmla="*/ 7486675 w 10430158"/>
              <a:gd name="connsiteY16" fmla="*/ 4384522 h 5215558"/>
              <a:gd name="connsiteX17" fmla="*/ 7813523 w 10430158"/>
              <a:gd name="connsiteY17" fmla="*/ 5173602 h 5215558"/>
              <a:gd name="connsiteX18" fmla="*/ 0 w 10430158"/>
              <a:gd name="connsiteY18" fmla="*/ 5215558 h 5215558"/>
              <a:gd name="connsiteX19" fmla="*/ 63500 w 10430158"/>
              <a:gd name="connsiteY19" fmla="*/ 2055535 h 5215558"/>
              <a:gd name="connsiteX20" fmla="*/ 992062 w 10430158"/>
              <a:gd name="connsiteY20" fmla="*/ 1422336 h 5215558"/>
              <a:gd name="connsiteX21" fmla="*/ 2549130 w 10430158"/>
              <a:gd name="connsiteY21" fmla="*/ 691722 h 5215558"/>
              <a:gd name="connsiteX22" fmla="*/ 4751785 w 10430158"/>
              <a:gd name="connsiteY22" fmla="*/ 104930 h 5215558"/>
              <a:gd name="connsiteX23" fmla="*/ 6106509 w 10430158"/>
              <a:gd name="connsiteY23" fmla="*/ 236 h 5215558"/>
              <a:gd name="connsiteX0" fmla="*/ 3885745 w 10430158"/>
              <a:gd name="connsiteY0" fmla="*/ 2116273 h 5215558"/>
              <a:gd name="connsiteX1" fmla="*/ 3525640 w 10430158"/>
              <a:gd name="connsiteY1" fmla="*/ 2476378 h 5215558"/>
              <a:gd name="connsiteX2" fmla="*/ 5973822 w 10430158"/>
              <a:gd name="connsiteY2" fmla="*/ 4276860 h 5215558"/>
              <a:gd name="connsiteX3" fmla="*/ 6333927 w 10430158"/>
              <a:gd name="connsiteY3" fmla="*/ 3916755 h 5215558"/>
              <a:gd name="connsiteX4" fmla="*/ 6333927 w 10430158"/>
              <a:gd name="connsiteY4" fmla="*/ 2476378 h 5215558"/>
              <a:gd name="connsiteX5" fmla="*/ 5973822 w 10430158"/>
              <a:gd name="connsiteY5" fmla="*/ 2116273 h 5215558"/>
              <a:gd name="connsiteX6" fmla="*/ 3885745 w 10430158"/>
              <a:gd name="connsiteY6" fmla="*/ 2116273 h 5215558"/>
              <a:gd name="connsiteX7" fmla="*/ 6106509 w 10430158"/>
              <a:gd name="connsiteY7" fmla="*/ 236 h 5215558"/>
              <a:gd name="connsiteX8" fmla="*/ 7527282 w 10430158"/>
              <a:gd name="connsiteY8" fmla="*/ 104013 h 5215558"/>
              <a:gd name="connsiteX9" fmla="*/ 9690353 w 10430158"/>
              <a:gd name="connsiteY9" fmla="*/ 617008 h 5215558"/>
              <a:gd name="connsiteX10" fmla="*/ 10390659 w 10430158"/>
              <a:gd name="connsiteY10" fmla="*/ 885493 h 5215558"/>
              <a:gd name="connsiteX11" fmla="*/ 10429935 w 10430158"/>
              <a:gd name="connsiteY11" fmla="*/ 5192628 h 5215558"/>
              <a:gd name="connsiteX12" fmla="*/ 9391683 w 10430158"/>
              <a:gd name="connsiteY12" fmla="*/ 5173602 h 5215558"/>
              <a:gd name="connsiteX13" fmla="*/ 9718531 w 10430158"/>
              <a:gd name="connsiteY13" fmla="*/ 4384522 h 5215558"/>
              <a:gd name="connsiteX14" fmla="*/ 8602603 w 10430158"/>
              <a:gd name="connsiteY14" fmla="*/ 3268594 h 5215558"/>
              <a:gd name="connsiteX15" fmla="*/ 7486675 w 10430158"/>
              <a:gd name="connsiteY15" fmla="*/ 4384522 h 5215558"/>
              <a:gd name="connsiteX16" fmla="*/ 7813523 w 10430158"/>
              <a:gd name="connsiteY16" fmla="*/ 5173602 h 5215558"/>
              <a:gd name="connsiteX17" fmla="*/ 0 w 10430158"/>
              <a:gd name="connsiteY17" fmla="*/ 5215558 h 5215558"/>
              <a:gd name="connsiteX18" fmla="*/ 63500 w 10430158"/>
              <a:gd name="connsiteY18" fmla="*/ 2055535 h 5215558"/>
              <a:gd name="connsiteX19" fmla="*/ 992062 w 10430158"/>
              <a:gd name="connsiteY19" fmla="*/ 1422336 h 5215558"/>
              <a:gd name="connsiteX20" fmla="*/ 2549130 w 10430158"/>
              <a:gd name="connsiteY20" fmla="*/ 691722 h 5215558"/>
              <a:gd name="connsiteX21" fmla="*/ 4751785 w 10430158"/>
              <a:gd name="connsiteY21" fmla="*/ 104930 h 5215558"/>
              <a:gd name="connsiteX22" fmla="*/ 6106509 w 10430158"/>
              <a:gd name="connsiteY22" fmla="*/ 236 h 5215558"/>
              <a:gd name="connsiteX0" fmla="*/ 3885745 w 10430158"/>
              <a:gd name="connsiteY0" fmla="*/ 2116273 h 5215558"/>
              <a:gd name="connsiteX1" fmla="*/ 3525640 w 10430158"/>
              <a:gd name="connsiteY1" fmla="*/ 2476378 h 5215558"/>
              <a:gd name="connsiteX2" fmla="*/ 6333927 w 10430158"/>
              <a:gd name="connsiteY2" fmla="*/ 3916755 h 5215558"/>
              <a:gd name="connsiteX3" fmla="*/ 6333927 w 10430158"/>
              <a:gd name="connsiteY3" fmla="*/ 2476378 h 5215558"/>
              <a:gd name="connsiteX4" fmla="*/ 5973822 w 10430158"/>
              <a:gd name="connsiteY4" fmla="*/ 2116273 h 5215558"/>
              <a:gd name="connsiteX5" fmla="*/ 3885745 w 10430158"/>
              <a:gd name="connsiteY5" fmla="*/ 2116273 h 5215558"/>
              <a:gd name="connsiteX6" fmla="*/ 6106509 w 10430158"/>
              <a:gd name="connsiteY6" fmla="*/ 236 h 5215558"/>
              <a:gd name="connsiteX7" fmla="*/ 7527282 w 10430158"/>
              <a:gd name="connsiteY7" fmla="*/ 104013 h 5215558"/>
              <a:gd name="connsiteX8" fmla="*/ 9690353 w 10430158"/>
              <a:gd name="connsiteY8" fmla="*/ 617008 h 5215558"/>
              <a:gd name="connsiteX9" fmla="*/ 10390659 w 10430158"/>
              <a:gd name="connsiteY9" fmla="*/ 885493 h 5215558"/>
              <a:gd name="connsiteX10" fmla="*/ 10429935 w 10430158"/>
              <a:gd name="connsiteY10" fmla="*/ 5192628 h 5215558"/>
              <a:gd name="connsiteX11" fmla="*/ 9391683 w 10430158"/>
              <a:gd name="connsiteY11" fmla="*/ 5173602 h 5215558"/>
              <a:gd name="connsiteX12" fmla="*/ 9718531 w 10430158"/>
              <a:gd name="connsiteY12" fmla="*/ 4384522 h 5215558"/>
              <a:gd name="connsiteX13" fmla="*/ 8602603 w 10430158"/>
              <a:gd name="connsiteY13" fmla="*/ 3268594 h 5215558"/>
              <a:gd name="connsiteX14" fmla="*/ 7486675 w 10430158"/>
              <a:gd name="connsiteY14" fmla="*/ 4384522 h 5215558"/>
              <a:gd name="connsiteX15" fmla="*/ 7813523 w 10430158"/>
              <a:gd name="connsiteY15" fmla="*/ 5173602 h 5215558"/>
              <a:gd name="connsiteX16" fmla="*/ 0 w 10430158"/>
              <a:gd name="connsiteY16" fmla="*/ 5215558 h 5215558"/>
              <a:gd name="connsiteX17" fmla="*/ 63500 w 10430158"/>
              <a:gd name="connsiteY17" fmla="*/ 2055535 h 5215558"/>
              <a:gd name="connsiteX18" fmla="*/ 992062 w 10430158"/>
              <a:gd name="connsiteY18" fmla="*/ 1422336 h 5215558"/>
              <a:gd name="connsiteX19" fmla="*/ 2549130 w 10430158"/>
              <a:gd name="connsiteY19" fmla="*/ 691722 h 5215558"/>
              <a:gd name="connsiteX20" fmla="*/ 4751785 w 10430158"/>
              <a:gd name="connsiteY20" fmla="*/ 104930 h 5215558"/>
              <a:gd name="connsiteX21" fmla="*/ 6106509 w 10430158"/>
              <a:gd name="connsiteY21" fmla="*/ 236 h 5215558"/>
              <a:gd name="connsiteX0" fmla="*/ 3885745 w 10430158"/>
              <a:gd name="connsiteY0" fmla="*/ 2116273 h 5215558"/>
              <a:gd name="connsiteX1" fmla="*/ 3525640 w 10430158"/>
              <a:gd name="connsiteY1" fmla="*/ 2476378 h 5215558"/>
              <a:gd name="connsiteX2" fmla="*/ 6333927 w 10430158"/>
              <a:gd name="connsiteY2" fmla="*/ 2476378 h 5215558"/>
              <a:gd name="connsiteX3" fmla="*/ 5973822 w 10430158"/>
              <a:gd name="connsiteY3" fmla="*/ 2116273 h 5215558"/>
              <a:gd name="connsiteX4" fmla="*/ 3885745 w 10430158"/>
              <a:gd name="connsiteY4" fmla="*/ 2116273 h 5215558"/>
              <a:gd name="connsiteX5" fmla="*/ 6106509 w 10430158"/>
              <a:gd name="connsiteY5" fmla="*/ 236 h 5215558"/>
              <a:gd name="connsiteX6" fmla="*/ 7527282 w 10430158"/>
              <a:gd name="connsiteY6" fmla="*/ 104013 h 5215558"/>
              <a:gd name="connsiteX7" fmla="*/ 9690353 w 10430158"/>
              <a:gd name="connsiteY7" fmla="*/ 617008 h 5215558"/>
              <a:gd name="connsiteX8" fmla="*/ 10390659 w 10430158"/>
              <a:gd name="connsiteY8" fmla="*/ 885493 h 5215558"/>
              <a:gd name="connsiteX9" fmla="*/ 10429935 w 10430158"/>
              <a:gd name="connsiteY9" fmla="*/ 5192628 h 5215558"/>
              <a:gd name="connsiteX10" fmla="*/ 9391683 w 10430158"/>
              <a:gd name="connsiteY10" fmla="*/ 5173602 h 5215558"/>
              <a:gd name="connsiteX11" fmla="*/ 9718531 w 10430158"/>
              <a:gd name="connsiteY11" fmla="*/ 4384522 h 5215558"/>
              <a:gd name="connsiteX12" fmla="*/ 8602603 w 10430158"/>
              <a:gd name="connsiteY12" fmla="*/ 3268594 h 5215558"/>
              <a:gd name="connsiteX13" fmla="*/ 7486675 w 10430158"/>
              <a:gd name="connsiteY13" fmla="*/ 4384522 h 5215558"/>
              <a:gd name="connsiteX14" fmla="*/ 7813523 w 10430158"/>
              <a:gd name="connsiteY14" fmla="*/ 5173602 h 5215558"/>
              <a:gd name="connsiteX15" fmla="*/ 0 w 10430158"/>
              <a:gd name="connsiteY15" fmla="*/ 5215558 h 5215558"/>
              <a:gd name="connsiteX16" fmla="*/ 63500 w 10430158"/>
              <a:gd name="connsiteY16" fmla="*/ 2055535 h 5215558"/>
              <a:gd name="connsiteX17" fmla="*/ 992062 w 10430158"/>
              <a:gd name="connsiteY17" fmla="*/ 1422336 h 5215558"/>
              <a:gd name="connsiteX18" fmla="*/ 2549130 w 10430158"/>
              <a:gd name="connsiteY18" fmla="*/ 691722 h 5215558"/>
              <a:gd name="connsiteX19" fmla="*/ 4751785 w 10430158"/>
              <a:gd name="connsiteY19" fmla="*/ 104930 h 5215558"/>
              <a:gd name="connsiteX20" fmla="*/ 6106509 w 10430158"/>
              <a:gd name="connsiteY20" fmla="*/ 236 h 5215558"/>
              <a:gd name="connsiteX0" fmla="*/ 3885745 w 10430158"/>
              <a:gd name="connsiteY0" fmla="*/ 2116273 h 5215558"/>
              <a:gd name="connsiteX1" fmla="*/ 3525640 w 10430158"/>
              <a:gd name="connsiteY1" fmla="*/ 2476378 h 5215558"/>
              <a:gd name="connsiteX2" fmla="*/ 5973822 w 10430158"/>
              <a:gd name="connsiteY2" fmla="*/ 2116273 h 5215558"/>
              <a:gd name="connsiteX3" fmla="*/ 3885745 w 10430158"/>
              <a:gd name="connsiteY3" fmla="*/ 2116273 h 5215558"/>
              <a:gd name="connsiteX4" fmla="*/ 6106509 w 10430158"/>
              <a:gd name="connsiteY4" fmla="*/ 236 h 5215558"/>
              <a:gd name="connsiteX5" fmla="*/ 7527282 w 10430158"/>
              <a:gd name="connsiteY5" fmla="*/ 104013 h 5215558"/>
              <a:gd name="connsiteX6" fmla="*/ 9690353 w 10430158"/>
              <a:gd name="connsiteY6" fmla="*/ 617008 h 5215558"/>
              <a:gd name="connsiteX7" fmla="*/ 10390659 w 10430158"/>
              <a:gd name="connsiteY7" fmla="*/ 885493 h 5215558"/>
              <a:gd name="connsiteX8" fmla="*/ 10429935 w 10430158"/>
              <a:gd name="connsiteY8" fmla="*/ 5192628 h 5215558"/>
              <a:gd name="connsiteX9" fmla="*/ 9391683 w 10430158"/>
              <a:gd name="connsiteY9" fmla="*/ 5173602 h 5215558"/>
              <a:gd name="connsiteX10" fmla="*/ 9718531 w 10430158"/>
              <a:gd name="connsiteY10" fmla="*/ 4384522 h 5215558"/>
              <a:gd name="connsiteX11" fmla="*/ 8602603 w 10430158"/>
              <a:gd name="connsiteY11" fmla="*/ 3268594 h 5215558"/>
              <a:gd name="connsiteX12" fmla="*/ 7486675 w 10430158"/>
              <a:gd name="connsiteY12" fmla="*/ 4384522 h 5215558"/>
              <a:gd name="connsiteX13" fmla="*/ 7813523 w 10430158"/>
              <a:gd name="connsiteY13" fmla="*/ 5173602 h 5215558"/>
              <a:gd name="connsiteX14" fmla="*/ 0 w 10430158"/>
              <a:gd name="connsiteY14" fmla="*/ 5215558 h 5215558"/>
              <a:gd name="connsiteX15" fmla="*/ 63500 w 10430158"/>
              <a:gd name="connsiteY15" fmla="*/ 2055535 h 5215558"/>
              <a:gd name="connsiteX16" fmla="*/ 992062 w 10430158"/>
              <a:gd name="connsiteY16" fmla="*/ 1422336 h 5215558"/>
              <a:gd name="connsiteX17" fmla="*/ 2549130 w 10430158"/>
              <a:gd name="connsiteY17" fmla="*/ 691722 h 5215558"/>
              <a:gd name="connsiteX18" fmla="*/ 4751785 w 10430158"/>
              <a:gd name="connsiteY18" fmla="*/ 104930 h 5215558"/>
              <a:gd name="connsiteX19" fmla="*/ 6106509 w 10430158"/>
              <a:gd name="connsiteY19" fmla="*/ 236 h 5215558"/>
              <a:gd name="connsiteX0" fmla="*/ 3885745 w 10430158"/>
              <a:gd name="connsiteY0" fmla="*/ 2116273 h 5215558"/>
              <a:gd name="connsiteX1" fmla="*/ 3525640 w 10430158"/>
              <a:gd name="connsiteY1" fmla="*/ 2476378 h 5215558"/>
              <a:gd name="connsiteX2" fmla="*/ 3885745 w 10430158"/>
              <a:gd name="connsiteY2" fmla="*/ 2116273 h 5215558"/>
              <a:gd name="connsiteX3" fmla="*/ 6106509 w 10430158"/>
              <a:gd name="connsiteY3" fmla="*/ 236 h 5215558"/>
              <a:gd name="connsiteX4" fmla="*/ 7527282 w 10430158"/>
              <a:gd name="connsiteY4" fmla="*/ 104013 h 5215558"/>
              <a:gd name="connsiteX5" fmla="*/ 9690353 w 10430158"/>
              <a:gd name="connsiteY5" fmla="*/ 617008 h 5215558"/>
              <a:gd name="connsiteX6" fmla="*/ 10390659 w 10430158"/>
              <a:gd name="connsiteY6" fmla="*/ 885493 h 5215558"/>
              <a:gd name="connsiteX7" fmla="*/ 10429935 w 10430158"/>
              <a:gd name="connsiteY7" fmla="*/ 5192628 h 5215558"/>
              <a:gd name="connsiteX8" fmla="*/ 9391683 w 10430158"/>
              <a:gd name="connsiteY8" fmla="*/ 5173602 h 5215558"/>
              <a:gd name="connsiteX9" fmla="*/ 9718531 w 10430158"/>
              <a:gd name="connsiteY9" fmla="*/ 4384522 h 5215558"/>
              <a:gd name="connsiteX10" fmla="*/ 8602603 w 10430158"/>
              <a:gd name="connsiteY10" fmla="*/ 3268594 h 5215558"/>
              <a:gd name="connsiteX11" fmla="*/ 7486675 w 10430158"/>
              <a:gd name="connsiteY11" fmla="*/ 4384522 h 5215558"/>
              <a:gd name="connsiteX12" fmla="*/ 7813523 w 10430158"/>
              <a:gd name="connsiteY12" fmla="*/ 5173602 h 5215558"/>
              <a:gd name="connsiteX13" fmla="*/ 0 w 10430158"/>
              <a:gd name="connsiteY13" fmla="*/ 5215558 h 5215558"/>
              <a:gd name="connsiteX14" fmla="*/ 63500 w 10430158"/>
              <a:gd name="connsiteY14" fmla="*/ 2055535 h 5215558"/>
              <a:gd name="connsiteX15" fmla="*/ 992062 w 10430158"/>
              <a:gd name="connsiteY15" fmla="*/ 1422336 h 5215558"/>
              <a:gd name="connsiteX16" fmla="*/ 2549130 w 10430158"/>
              <a:gd name="connsiteY16" fmla="*/ 691722 h 5215558"/>
              <a:gd name="connsiteX17" fmla="*/ 4751785 w 10430158"/>
              <a:gd name="connsiteY17" fmla="*/ 104930 h 5215558"/>
              <a:gd name="connsiteX18" fmla="*/ 6106509 w 10430158"/>
              <a:gd name="connsiteY18" fmla="*/ 236 h 5215558"/>
              <a:gd name="connsiteX0" fmla="*/ 6106509 w 10430158"/>
              <a:gd name="connsiteY0" fmla="*/ 236 h 5215558"/>
              <a:gd name="connsiteX1" fmla="*/ 7527282 w 10430158"/>
              <a:gd name="connsiteY1" fmla="*/ 104013 h 5215558"/>
              <a:gd name="connsiteX2" fmla="*/ 9690353 w 10430158"/>
              <a:gd name="connsiteY2" fmla="*/ 617008 h 5215558"/>
              <a:gd name="connsiteX3" fmla="*/ 10390659 w 10430158"/>
              <a:gd name="connsiteY3" fmla="*/ 885493 h 5215558"/>
              <a:gd name="connsiteX4" fmla="*/ 10429935 w 10430158"/>
              <a:gd name="connsiteY4" fmla="*/ 5192628 h 5215558"/>
              <a:gd name="connsiteX5" fmla="*/ 9391683 w 10430158"/>
              <a:gd name="connsiteY5" fmla="*/ 5173602 h 5215558"/>
              <a:gd name="connsiteX6" fmla="*/ 9718531 w 10430158"/>
              <a:gd name="connsiteY6" fmla="*/ 4384522 h 5215558"/>
              <a:gd name="connsiteX7" fmla="*/ 8602603 w 10430158"/>
              <a:gd name="connsiteY7" fmla="*/ 3268594 h 5215558"/>
              <a:gd name="connsiteX8" fmla="*/ 7486675 w 10430158"/>
              <a:gd name="connsiteY8" fmla="*/ 4384522 h 5215558"/>
              <a:gd name="connsiteX9" fmla="*/ 7813523 w 10430158"/>
              <a:gd name="connsiteY9" fmla="*/ 5173602 h 5215558"/>
              <a:gd name="connsiteX10" fmla="*/ 0 w 10430158"/>
              <a:gd name="connsiteY10" fmla="*/ 5215558 h 5215558"/>
              <a:gd name="connsiteX11" fmla="*/ 63500 w 10430158"/>
              <a:gd name="connsiteY11" fmla="*/ 2055535 h 5215558"/>
              <a:gd name="connsiteX12" fmla="*/ 992062 w 10430158"/>
              <a:gd name="connsiteY12" fmla="*/ 1422336 h 5215558"/>
              <a:gd name="connsiteX13" fmla="*/ 2549130 w 10430158"/>
              <a:gd name="connsiteY13" fmla="*/ 691722 h 5215558"/>
              <a:gd name="connsiteX14" fmla="*/ 4751785 w 10430158"/>
              <a:gd name="connsiteY14" fmla="*/ 104930 h 5215558"/>
              <a:gd name="connsiteX15" fmla="*/ 6106509 w 10430158"/>
              <a:gd name="connsiteY15" fmla="*/ 236 h 5215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30158" h="5215558">
                <a:moveTo>
                  <a:pt x="6106509" y="236"/>
                </a:moveTo>
                <a:cubicBezTo>
                  <a:pt x="6579980" y="3555"/>
                  <a:pt x="7064459" y="41618"/>
                  <a:pt x="7527282" y="104013"/>
                </a:cubicBezTo>
                <a:cubicBezTo>
                  <a:pt x="8452928" y="228802"/>
                  <a:pt x="9252567" y="463095"/>
                  <a:pt x="9690353" y="617008"/>
                </a:cubicBezTo>
                <a:cubicBezTo>
                  <a:pt x="10128139" y="770921"/>
                  <a:pt x="10417545" y="922213"/>
                  <a:pt x="10390659" y="885493"/>
                </a:cubicBezTo>
                <a:cubicBezTo>
                  <a:pt x="10386818" y="1436438"/>
                  <a:pt x="10433776" y="4641683"/>
                  <a:pt x="10429935" y="5192628"/>
                </a:cubicBezTo>
                <a:lnTo>
                  <a:pt x="9391683" y="5173602"/>
                </a:lnTo>
                <a:cubicBezTo>
                  <a:pt x="9593627" y="4971659"/>
                  <a:pt x="9718531" y="4692677"/>
                  <a:pt x="9718531" y="4384522"/>
                </a:cubicBezTo>
                <a:cubicBezTo>
                  <a:pt x="9718531" y="3768212"/>
                  <a:pt x="9218913" y="3268594"/>
                  <a:pt x="8602603" y="3268594"/>
                </a:cubicBezTo>
                <a:cubicBezTo>
                  <a:pt x="7986293" y="3268594"/>
                  <a:pt x="7486675" y="3768212"/>
                  <a:pt x="7486675" y="4384522"/>
                </a:cubicBezTo>
                <a:cubicBezTo>
                  <a:pt x="7486675" y="4692677"/>
                  <a:pt x="7611580" y="4971659"/>
                  <a:pt x="7813523" y="5173602"/>
                </a:cubicBezTo>
                <a:lnTo>
                  <a:pt x="0" y="5215558"/>
                </a:lnTo>
                <a:lnTo>
                  <a:pt x="63500" y="2055535"/>
                </a:lnTo>
                <a:cubicBezTo>
                  <a:pt x="187036" y="1969238"/>
                  <a:pt x="577790" y="1649638"/>
                  <a:pt x="992062" y="1422336"/>
                </a:cubicBezTo>
                <a:cubicBezTo>
                  <a:pt x="1406334" y="1195034"/>
                  <a:pt x="1929083" y="908660"/>
                  <a:pt x="2549130" y="691722"/>
                </a:cubicBezTo>
                <a:cubicBezTo>
                  <a:pt x="3506253" y="335613"/>
                  <a:pt x="3914204" y="258101"/>
                  <a:pt x="4751785" y="104930"/>
                </a:cubicBezTo>
                <a:cubicBezTo>
                  <a:pt x="5170575" y="28344"/>
                  <a:pt x="5633038" y="-3082"/>
                  <a:pt x="6106509" y="236"/>
                </a:cubicBezTo>
                <a:close/>
              </a:path>
            </a:pathLst>
          </a:custGeom>
          <a:solidFill>
            <a:schemeClr val="bg2"/>
          </a:solidFill>
          <a:ln>
            <a:noFill/>
          </a:ln>
          <a:effectLst/>
          <a:extLst>
            <a:ext uri="{FAA26D3D-D897-4be2-8F04-BA451C77F1D7}">
              <ma14:placeholderFlag xmlns="" xmlns:ma14="http://schemas.microsoft.com/office/mac/drawingml/2011/main" val="1"/>
            </a:ext>
          </a:extLst>
        </p:spPr>
        <p:txBody>
          <a:bodyPr/>
          <a:lstStyle/>
          <a:p>
            <a:endParaRPr lang="de-DE" dirty="0"/>
          </a:p>
        </p:txBody>
      </p:sp>
    </p:spTree>
    <p:extLst>
      <p:ext uri="{BB962C8B-B14F-4D97-AF65-F5344CB8AC3E}">
        <p14:creationId xmlns:p14="http://schemas.microsoft.com/office/powerpoint/2010/main" val="3243697834"/>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450927" y="1628800"/>
            <a:ext cx="8321804" cy="4924400"/>
          </a:xfrm>
        </p:spPr>
        <p:txBody>
          <a:bodyPr/>
          <a:lstStyle>
            <a:lvl1pPr>
              <a:defRPr sz="1800"/>
            </a:lvl1pPr>
            <a:lvl2pPr>
              <a:defRPr sz="1800"/>
            </a:lvl2pPr>
            <a:lvl3pPr>
              <a:defRPr sz="1800"/>
            </a:lvl3pPr>
            <a:lvl4pPr>
              <a:defRPr sz="1800"/>
            </a:lvl4pPr>
            <a:lvl5pPr>
              <a:defRPr sz="1800"/>
            </a:lvl5p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GB" noProof="0" dirty="0"/>
          </a:p>
        </p:txBody>
      </p:sp>
      <p:sp>
        <p:nvSpPr>
          <p:cNvPr id="6" name="Slide Number Placeholder 5"/>
          <p:cNvSpPr>
            <a:spLocks noGrp="1" noChangeArrowheads="1"/>
          </p:cNvSpPr>
          <p:nvPr>
            <p:ph type="sldNum" sz="quarter" idx="4"/>
          </p:nvPr>
        </p:nvSpPr>
        <p:spPr bwMode="gray">
          <a:xfrm>
            <a:off x="8427199" y="6553200"/>
            <a:ext cx="517397"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1200" b="1" i="0">
                <a:solidFill>
                  <a:srgbClr val="2260A8"/>
                </a:solidFill>
                <a:latin typeface="Calibri"/>
                <a:cs typeface="Calibri"/>
              </a:defRPr>
            </a:lvl1pPr>
          </a:lstStyle>
          <a:p>
            <a:pPr>
              <a:defRPr/>
            </a:pPr>
            <a:fld id="{61887E8A-04EC-0A44-89DA-36113A2E7601}" type="slidenum">
              <a:rPr lang="de-DE" smtClean="0"/>
              <a:pPr>
                <a:defRPr/>
              </a:pPr>
              <a:t>‹#›</a:t>
            </a:fld>
            <a:endParaRPr lang="de-DE" dirty="0"/>
          </a:p>
        </p:txBody>
      </p:sp>
      <p:sp>
        <p:nvSpPr>
          <p:cNvPr id="2" name="Titel 1"/>
          <p:cNvSpPr>
            <a:spLocks noGrp="1"/>
          </p:cNvSpPr>
          <p:nvPr>
            <p:ph type="title"/>
          </p:nvPr>
        </p:nvSpPr>
        <p:spPr/>
        <p:txBody>
          <a:bodyPr/>
          <a:lstStyle/>
          <a:p>
            <a:r>
              <a:rPr lang="de-DE"/>
              <a:t>Titelmasterformat durch Klicken bearbeiten</a:t>
            </a:r>
            <a:endParaRPr lang="en-GB"/>
          </a:p>
        </p:txBody>
      </p:sp>
    </p:spTree>
    <p:extLst>
      <p:ext uri="{BB962C8B-B14F-4D97-AF65-F5344CB8AC3E}">
        <p14:creationId xmlns:p14="http://schemas.microsoft.com/office/powerpoint/2010/main" val="4167307387"/>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10" name="Rechteck 9"/>
          <p:cNvSpPr/>
          <p:nvPr userDrawn="1"/>
        </p:nvSpPr>
        <p:spPr>
          <a:xfrm>
            <a:off x="317989" y="1556794"/>
            <a:ext cx="9490700" cy="307777"/>
          </a:xfrm>
          <a:prstGeom prst="rect">
            <a:avLst/>
          </a:prstGeom>
          <a:gradFill flip="none" rotWithShape="1">
            <a:gsLst>
              <a:gs pos="0">
                <a:schemeClr val="bg1"/>
              </a:gs>
              <a:gs pos="100000">
                <a:schemeClr val="bg1">
                  <a:alpha val="0"/>
                </a:schemeClr>
              </a:gs>
              <a:gs pos="44000">
                <a:schemeClr val="bg1"/>
              </a:gs>
            </a:gsLst>
            <a:lin ang="0" scaled="1"/>
            <a:tileRect/>
          </a:gradFill>
        </p:spPr>
        <p:txBody>
          <a:bodyPr wrap="square" lIns="684000">
            <a:spAutoFit/>
          </a:bodyPr>
          <a:lstStyle/>
          <a:p>
            <a:pPr>
              <a:buClr>
                <a:srgbClr val="444D54"/>
              </a:buClr>
            </a:pPr>
            <a:endParaRPr lang="en-US" sz="1400" dirty="0">
              <a:solidFill>
                <a:srgbClr val="FFFFFF"/>
              </a:solidFill>
              <a:latin typeface="Calibri"/>
              <a:ea typeface="ＭＳ Ｐゴシック" charset="0"/>
            </a:endParaRPr>
          </a:p>
        </p:txBody>
      </p:sp>
      <p:sp>
        <p:nvSpPr>
          <p:cNvPr id="3" name="Inhaltsplatzhalter 2"/>
          <p:cNvSpPr>
            <a:spLocks noGrp="1"/>
          </p:cNvSpPr>
          <p:nvPr>
            <p:ph idx="1"/>
          </p:nvPr>
        </p:nvSpPr>
        <p:spPr>
          <a:xfrm>
            <a:off x="450927" y="1628800"/>
            <a:ext cx="8321804" cy="4924400"/>
          </a:xfrm>
        </p:spPr>
        <p:txBody>
          <a:bodyPr/>
          <a:lstStyle>
            <a:lvl1pPr>
              <a:defRPr sz="1800">
                <a:solidFill>
                  <a:schemeClr val="accent4"/>
                </a:solidFill>
              </a:defRPr>
            </a:lvl1pPr>
            <a:lvl2pPr>
              <a:defRPr sz="1800"/>
            </a:lvl2pPr>
            <a:lvl3pPr>
              <a:defRPr sz="1800"/>
            </a:lvl3pPr>
            <a:lvl4pPr>
              <a:defRPr sz="1800"/>
            </a:lvl4pPr>
            <a:lvl5pPr>
              <a:defRPr sz="1800"/>
            </a:lvl5p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GB" noProof="0" dirty="0"/>
          </a:p>
        </p:txBody>
      </p:sp>
      <p:sp>
        <p:nvSpPr>
          <p:cNvPr id="6" name="Slide Number Placeholder 5"/>
          <p:cNvSpPr>
            <a:spLocks noGrp="1" noChangeArrowheads="1"/>
          </p:cNvSpPr>
          <p:nvPr>
            <p:ph type="sldNum" sz="quarter" idx="4"/>
          </p:nvPr>
        </p:nvSpPr>
        <p:spPr bwMode="gray">
          <a:xfrm>
            <a:off x="8427199" y="6553200"/>
            <a:ext cx="517397"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1200" b="1" i="0">
                <a:solidFill>
                  <a:srgbClr val="2260A8"/>
                </a:solidFill>
                <a:latin typeface="Calibri"/>
                <a:cs typeface="Calibri"/>
              </a:defRPr>
            </a:lvl1pPr>
          </a:lstStyle>
          <a:p>
            <a:pPr>
              <a:defRPr/>
            </a:pPr>
            <a:fld id="{61887E8A-04EC-0A44-89DA-36113A2E7601}" type="slidenum">
              <a:rPr lang="de-DE" smtClean="0"/>
              <a:pPr>
                <a:defRPr/>
              </a:pPr>
              <a:t>‹#›</a:t>
            </a:fld>
            <a:endParaRPr lang="de-DE" dirty="0"/>
          </a:p>
        </p:txBody>
      </p:sp>
      <p:sp>
        <p:nvSpPr>
          <p:cNvPr id="7" name="Rectangle 4"/>
          <p:cNvSpPr>
            <a:spLocks noGrp="1" noChangeArrowheads="1"/>
          </p:cNvSpPr>
          <p:nvPr>
            <p:ph type="dt" sz="half" idx="2"/>
          </p:nvPr>
        </p:nvSpPr>
        <p:spPr bwMode="gray">
          <a:xfrm>
            <a:off x="4845798" y="6553200"/>
            <a:ext cx="35814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900" b="0" i="0">
                <a:solidFill>
                  <a:srgbClr val="505150"/>
                </a:solidFill>
                <a:latin typeface="Calibri" charset="0"/>
                <a:cs typeface="Calibri" charset="0"/>
              </a:defRPr>
            </a:lvl1pPr>
          </a:lstStyle>
          <a:p>
            <a:pPr>
              <a:defRPr/>
            </a:pPr>
            <a:r>
              <a:rPr lang="en-US"/>
              <a:t>IWaSP Saint Lucia, Jour Fixe 09/07/2018</a:t>
            </a:r>
            <a:endParaRPr lang="de-DE" dirty="0"/>
          </a:p>
        </p:txBody>
      </p:sp>
      <p:sp>
        <p:nvSpPr>
          <p:cNvPr id="8" name="Rectangle 6"/>
          <p:cNvSpPr>
            <a:spLocks noGrp="1" noChangeArrowheads="1"/>
          </p:cNvSpPr>
          <p:nvPr>
            <p:ph type="title" hasCustomPrompt="1"/>
          </p:nvPr>
        </p:nvSpPr>
        <p:spPr bwMode="gray">
          <a:xfrm>
            <a:off x="456931" y="188640"/>
            <a:ext cx="703970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b" anchorCtr="0" compatLnSpc="1">
            <a:prstTxWarp prst="textNoShape">
              <a:avLst/>
            </a:prstTxWarp>
          </a:bodyPr>
          <a:lstStyle>
            <a:lvl1pPr>
              <a:defRPr>
                <a:solidFill>
                  <a:srgbClr val="F4BE28"/>
                </a:solidFill>
              </a:defRPr>
            </a:lvl1pPr>
          </a:lstStyle>
          <a:p>
            <a:pPr lvl="0"/>
            <a:r>
              <a:rPr lang="en-GB" dirty="0" err="1"/>
              <a:t>Mastertitle</a:t>
            </a:r>
            <a:r>
              <a:rPr lang="en-GB" dirty="0"/>
              <a:t> </a:t>
            </a:r>
            <a:r>
              <a:rPr lang="en-GB" dirty="0" err="1"/>
              <a:t>bearbeiten</a:t>
            </a:r>
            <a:endParaRPr lang="en-GB" dirty="0"/>
          </a:p>
        </p:txBody>
      </p:sp>
      <p:sp>
        <p:nvSpPr>
          <p:cNvPr id="9" name="Rechteck 8"/>
          <p:cNvSpPr/>
          <p:nvPr userDrawn="1"/>
        </p:nvSpPr>
        <p:spPr bwMode="auto">
          <a:xfrm>
            <a:off x="-14356" y="1556792"/>
            <a:ext cx="251520" cy="4680520"/>
          </a:xfrm>
          <a:prstGeom prst="rect">
            <a:avLst/>
          </a:prstGeom>
          <a:solidFill>
            <a:schemeClr val="accent4"/>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buClr>
                <a:srgbClr val="444D54"/>
              </a:buClr>
            </a:pPr>
            <a:endParaRPr lang="de-DE" sz="1800" dirty="0">
              <a:solidFill>
                <a:srgbClr val="021631"/>
              </a:solidFill>
              <a:latin typeface="Arial" charset="0"/>
              <a:ea typeface="ＭＳ Ｐゴシック" charset="0"/>
            </a:endParaRPr>
          </a:p>
        </p:txBody>
      </p:sp>
    </p:spTree>
    <p:extLst>
      <p:ext uri="{BB962C8B-B14F-4D97-AF65-F5344CB8AC3E}">
        <p14:creationId xmlns:p14="http://schemas.microsoft.com/office/powerpoint/2010/main" val="2311680274"/>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Titel und Inhalt">
    <p:spTree>
      <p:nvGrpSpPr>
        <p:cNvPr id="1" name=""/>
        <p:cNvGrpSpPr/>
        <p:nvPr/>
      </p:nvGrpSpPr>
      <p:grpSpPr>
        <a:xfrm>
          <a:off x="0" y="0"/>
          <a:ext cx="0" cy="0"/>
          <a:chOff x="0" y="0"/>
          <a:chExt cx="0" cy="0"/>
        </a:xfrm>
      </p:grpSpPr>
      <p:sp>
        <p:nvSpPr>
          <p:cNvPr id="10" name="Rechteck 9"/>
          <p:cNvSpPr/>
          <p:nvPr userDrawn="1"/>
        </p:nvSpPr>
        <p:spPr>
          <a:xfrm>
            <a:off x="317989" y="1556794"/>
            <a:ext cx="9490700" cy="307777"/>
          </a:xfrm>
          <a:prstGeom prst="rect">
            <a:avLst/>
          </a:prstGeom>
          <a:gradFill flip="none" rotWithShape="1">
            <a:gsLst>
              <a:gs pos="0">
                <a:schemeClr val="bg1"/>
              </a:gs>
              <a:gs pos="100000">
                <a:schemeClr val="bg1">
                  <a:alpha val="0"/>
                </a:schemeClr>
              </a:gs>
              <a:gs pos="44000">
                <a:schemeClr val="bg1"/>
              </a:gs>
            </a:gsLst>
            <a:lin ang="0" scaled="1"/>
            <a:tileRect/>
          </a:gradFill>
        </p:spPr>
        <p:txBody>
          <a:bodyPr wrap="square" lIns="684000">
            <a:spAutoFit/>
          </a:bodyPr>
          <a:lstStyle/>
          <a:p>
            <a:pPr>
              <a:buClr>
                <a:srgbClr val="444D54"/>
              </a:buClr>
            </a:pPr>
            <a:endParaRPr lang="en-US" sz="1400" dirty="0">
              <a:solidFill>
                <a:srgbClr val="FFFFFF"/>
              </a:solidFill>
              <a:latin typeface="Calibri"/>
              <a:ea typeface="ＭＳ Ｐゴシック" charset="0"/>
            </a:endParaRPr>
          </a:p>
        </p:txBody>
      </p:sp>
      <p:sp>
        <p:nvSpPr>
          <p:cNvPr id="3" name="Inhaltsplatzhalter 2"/>
          <p:cNvSpPr>
            <a:spLocks noGrp="1"/>
          </p:cNvSpPr>
          <p:nvPr>
            <p:ph idx="1"/>
          </p:nvPr>
        </p:nvSpPr>
        <p:spPr>
          <a:xfrm>
            <a:off x="450927" y="1628800"/>
            <a:ext cx="8321804" cy="4924400"/>
          </a:xfrm>
        </p:spPr>
        <p:txBody>
          <a:bodyPr/>
          <a:lstStyle>
            <a:lvl1pPr>
              <a:defRPr sz="1800">
                <a:solidFill>
                  <a:srgbClr val="E5671D"/>
                </a:solidFill>
              </a:defRPr>
            </a:lvl1pPr>
            <a:lvl2pPr>
              <a:defRPr sz="1800"/>
            </a:lvl2pPr>
            <a:lvl3pPr>
              <a:defRPr sz="1800"/>
            </a:lvl3pPr>
            <a:lvl4pPr>
              <a:defRPr sz="1800"/>
            </a:lvl4pPr>
            <a:lvl5pPr>
              <a:defRPr sz="1800"/>
            </a:lvl5p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GB" noProof="0" dirty="0"/>
          </a:p>
        </p:txBody>
      </p:sp>
      <p:sp>
        <p:nvSpPr>
          <p:cNvPr id="6" name="Slide Number Placeholder 5"/>
          <p:cNvSpPr>
            <a:spLocks noGrp="1" noChangeArrowheads="1"/>
          </p:cNvSpPr>
          <p:nvPr>
            <p:ph type="sldNum" sz="quarter" idx="4"/>
          </p:nvPr>
        </p:nvSpPr>
        <p:spPr bwMode="gray">
          <a:xfrm>
            <a:off x="8427199" y="6553200"/>
            <a:ext cx="517397"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1200" b="1" i="0">
                <a:solidFill>
                  <a:srgbClr val="2260A8"/>
                </a:solidFill>
                <a:latin typeface="Calibri"/>
                <a:cs typeface="Calibri"/>
              </a:defRPr>
            </a:lvl1pPr>
          </a:lstStyle>
          <a:p>
            <a:pPr>
              <a:defRPr/>
            </a:pPr>
            <a:fld id="{61887E8A-04EC-0A44-89DA-36113A2E7601}" type="slidenum">
              <a:rPr lang="de-DE" smtClean="0"/>
              <a:pPr>
                <a:defRPr/>
              </a:pPr>
              <a:t>‹#›</a:t>
            </a:fld>
            <a:endParaRPr lang="de-DE" dirty="0"/>
          </a:p>
        </p:txBody>
      </p:sp>
      <p:sp>
        <p:nvSpPr>
          <p:cNvPr id="7" name="Rectangle 4"/>
          <p:cNvSpPr>
            <a:spLocks noGrp="1" noChangeArrowheads="1"/>
          </p:cNvSpPr>
          <p:nvPr>
            <p:ph type="dt" sz="half" idx="2"/>
          </p:nvPr>
        </p:nvSpPr>
        <p:spPr bwMode="gray">
          <a:xfrm>
            <a:off x="4845798" y="6553200"/>
            <a:ext cx="35814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900" b="0" i="0">
                <a:solidFill>
                  <a:srgbClr val="505150"/>
                </a:solidFill>
                <a:latin typeface="Calibri" charset="0"/>
                <a:cs typeface="Calibri" charset="0"/>
              </a:defRPr>
            </a:lvl1pPr>
          </a:lstStyle>
          <a:p>
            <a:pPr>
              <a:defRPr/>
            </a:pPr>
            <a:r>
              <a:rPr lang="en-US"/>
              <a:t>IWaSP Saint Lucia, Jour Fixe 09/07/2018</a:t>
            </a:r>
            <a:endParaRPr lang="de-DE" dirty="0"/>
          </a:p>
        </p:txBody>
      </p:sp>
      <p:sp>
        <p:nvSpPr>
          <p:cNvPr id="8" name="Rectangle 6"/>
          <p:cNvSpPr>
            <a:spLocks noGrp="1" noChangeArrowheads="1"/>
          </p:cNvSpPr>
          <p:nvPr>
            <p:ph type="title" hasCustomPrompt="1"/>
          </p:nvPr>
        </p:nvSpPr>
        <p:spPr bwMode="gray">
          <a:xfrm>
            <a:off x="456931" y="188640"/>
            <a:ext cx="703970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b" anchorCtr="0" compatLnSpc="1">
            <a:prstTxWarp prst="textNoShape">
              <a:avLst/>
            </a:prstTxWarp>
          </a:bodyPr>
          <a:lstStyle>
            <a:lvl1pPr>
              <a:defRPr>
                <a:solidFill>
                  <a:schemeClr val="accent3"/>
                </a:solidFill>
              </a:defRPr>
            </a:lvl1pPr>
          </a:lstStyle>
          <a:p>
            <a:pPr lvl="0"/>
            <a:r>
              <a:rPr lang="en-GB" dirty="0" err="1"/>
              <a:t>Mastertitle</a:t>
            </a:r>
            <a:r>
              <a:rPr lang="en-GB" dirty="0"/>
              <a:t> </a:t>
            </a:r>
            <a:r>
              <a:rPr lang="en-GB" dirty="0" err="1"/>
              <a:t>bearbeiten</a:t>
            </a:r>
            <a:endParaRPr lang="en-GB" dirty="0"/>
          </a:p>
        </p:txBody>
      </p:sp>
      <p:sp>
        <p:nvSpPr>
          <p:cNvPr id="11" name="Rechteck 10"/>
          <p:cNvSpPr/>
          <p:nvPr userDrawn="1"/>
        </p:nvSpPr>
        <p:spPr bwMode="auto">
          <a:xfrm>
            <a:off x="-14356" y="1556792"/>
            <a:ext cx="251520" cy="4680520"/>
          </a:xfrm>
          <a:prstGeom prst="rect">
            <a:avLst/>
          </a:prstGeom>
          <a:solidFill>
            <a:schemeClr val="accent3"/>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buClr>
                <a:srgbClr val="444D54"/>
              </a:buClr>
            </a:pPr>
            <a:endParaRPr lang="de-DE" sz="1800" dirty="0">
              <a:solidFill>
                <a:srgbClr val="021631"/>
              </a:solidFill>
              <a:latin typeface="Arial" charset="0"/>
              <a:ea typeface="ＭＳ Ｐゴシック" charset="0"/>
            </a:endParaRPr>
          </a:p>
        </p:txBody>
      </p:sp>
    </p:spTree>
    <p:extLst>
      <p:ext uri="{BB962C8B-B14F-4D97-AF65-F5344CB8AC3E}">
        <p14:creationId xmlns:p14="http://schemas.microsoft.com/office/powerpoint/2010/main" val="3896953288"/>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itel und Inhalt">
    <p:spTree>
      <p:nvGrpSpPr>
        <p:cNvPr id="1" name=""/>
        <p:cNvGrpSpPr/>
        <p:nvPr/>
      </p:nvGrpSpPr>
      <p:grpSpPr>
        <a:xfrm>
          <a:off x="0" y="0"/>
          <a:ext cx="0" cy="0"/>
          <a:chOff x="0" y="0"/>
          <a:chExt cx="0" cy="0"/>
        </a:xfrm>
      </p:grpSpPr>
      <p:sp>
        <p:nvSpPr>
          <p:cNvPr id="10" name="Rechteck 9"/>
          <p:cNvSpPr/>
          <p:nvPr userDrawn="1"/>
        </p:nvSpPr>
        <p:spPr>
          <a:xfrm>
            <a:off x="317989" y="1556794"/>
            <a:ext cx="9490700" cy="307777"/>
          </a:xfrm>
          <a:prstGeom prst="rect">
            <a:avLst/>
          </a:prstGeom>
          <a:gradFill flip="none" rotWithShape="1">
            <a:gsLst>
              <a:gs pos="0">
                <a:schemeClr val="bg1"/>
              </a:gs>
              <a:gs pos="100000">
                <a:schemeClr val="bg1">
                  <a:alpha val="0"/>
                </a:schemeClr>
              </a:gs>
              <a:gs pos="44000">
                <a:schemeClr val="bg1"/>
              </a:gs>
            </a:gsLst>
            <a:lin ang="0" scaled="1"/>
            <a:tileRect/>
          </a:gradFill>
        </p:spPr>
        <p:txBody>
          <a:bodyPr wrap="square" lIns="684000">
            <a:spAutoFit/>
          </a:bodyPr>
          <a:lstStyle/>
          <a:p>
            <a:pPr>
              <a:buClr>
                <a:srgbClr val="444D54"/>
              </a:buClr>
            </a:pPr>
            <a:endParaRPr lang="en-US" sz="1400" dirty="0">
              <a:solidFill>
                <a:srgbClr val="FFFFFF"/>
              </a:solidFill>
              <a:latin typeface="Calibri"/>
              <a:ea typeface="ＭＳ Ｐゴシック" charset="0"/>
            </a:endParaRPr>
          </a:p>
        </p:txBody>
      </p:sp>
      <p:sp>
        <p:nvSpPr>
          <p:cNvPr id="3" name="Inhaltsplatzhalter 2"/>
          <p:cNvSpPr>
            <a:spLocks noGrp="1"/>
          </p:cNvSpPr>
          <p:nvPr>
            <p:ph idx="1"/>
          </p:nvPr>
        </p:nvSpPr>
        <p:spPr>
          <a:xfrm>
            <a:off x="450927" y="1628800"/>
            <a:ext cx="8321804" cy="4924400"/>
          </a:xfrm>
        </p:spPr>
        <p:txBody>
          <a:bodyPr/>
          <a:lstStyle>
            <a:lvl1pPr>
              <a:defRPr sz="1800">
                <a:solidFill>
                  <a:schemeClr val="accent5"/>
                </a:solidFill>
              </a:defRPr>
            </a:lvl1pPr>
            <a:lvl2pPr>
              <a:defRPr sz="1800"/>
            </a:lvl2pPr>
            <a:lvl3pPr>
              <a:defRPr sz="1800"/>
            </a:lvl3pPr>
            <a:lvl4pPr>
              <a:defRPr sz="1800"/>
            </a:lvl4pPr>
            <a:lvl5pPr>
              <a:defRPr sz="1800"/>
            </a:lvl5p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GB" noProof="0" dirty="0"/>
          </a:p>
        </p:txBody>
      </p:sp>
      <p:sp>
        <p:nvSpPr>
          <p:cNvPr id="6" name="Slide Number Placeholder 5"/>
          <p:cNvSpPr>
            <a:spLocks noGrp="1" noChangeArrowheads="1"/>
          </p:cNvSpPr>
          <p:nvPr>
            <p:ph type="sldNum" sz="quarter" idx="4"/>
          </p:nvPr>
        </p:nvSpPr>
        <p:spPr bwMode="gray">
          <a:xfrm>
            <a:off x="8427199" y="6553200"/>
            <a:ext cx="517397"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1200" b="1" i="0">
                <a:solidFill>
                  <a:srgbClr val="2260A8"/>
                </a:solidFill>
                <a:latin typeface="Calibri"/>
                <a:cs typeface="Calibri"/>
              </a:defRPr>
            </a:lvl1pPr>
          </a:lstStyle>
          <a:p>
            <a:pPr>
              <a:defRPr/>
            </a:pPr>
            <a:fld id="{61887E8A-04EC-0A44-89DA-36113A2E7601}" type="slidenum">
              <a:rPr lang="de-DE" smtClean="0"/>
              <a:pPr>
                <a:defRPr/>
              </a:pPr>
              <a:t>‹#›</a:t>
            </a:fld>
            <a:endParaRPr lang="de-DE" dirty="0"/>
          </a:p>
        </p:txBody>
      </p:sp>
      <p:sp>
        <p:nvSpPr>
          <p:cNvPr id="7" name="Rectangle 4"/>
          <p:cNvSpPr>
            <a:spLocks noGrp="1" noChangeArrowheads="1"/>
          </p:cNvSpPr>
          <p:nvPr>
            <p:ph type="dt" sz="half" idx="2"/>
          </p:nvPr>
        </p:nvSpPr>
        <p:spPr bwMode="gray">
          <a:xfrm>
            <a:off x="4845798" y="6553200"/>
            <a:ext cx="35814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900" b="0" i="0">
                <a:solidFill>
                  <a:srgbClr val="505150"/>
                </a:solidFill>
                <a:latin typeface="Calibri" charset="0"/>
                <a:cs typeface="Calibri" charset="0"/>
              </a:defRPr>
            </a:lvl1pPr>
          </a:lstStyle>
          <a:p>
            <a:pPr>
              <a:defRPr/>
            </a:pPr>
            <a:r>
              <a:rPr lang="en-US"/>
              <a:t>IWaSP Saint Lucia, Jour Fixe 09/07/2018</a:t>
            </a:r>
            <a:endParaRPr lang="de-DE" dirty="0"/>
          </a:p>
        </p:txBody>
      </p:sp>
      <p:sp>
        <p:nvSpPr>
          <p:cNvPr id="8" name="Rectangle 6"/>
          <p:cNvSpPr>
            <a:spLocks noGrp="1" noChangeArrowheads="1"/>
          </p:cNvSpPr>
          <p:nvPr>
            <p:ph type="title" hasCustomPrompt="1"/>
          </p:nvPr>
        </p:nvSpPr>
        <p:spPr bwMode="gray">
          <a:xfrm>
            <a:off x="456931" y="188640"/>
            <a:ext cx="703970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b" anchorCtr="0" compatLnSpc="1">
            <a:prstTxWarp prst="textNoShape">
              <a:avLst/>
            </a:prstTxWarp>
          </a:bodyPr>
          <a:lstStyle>
            <a:lvl1pPr>
              <a:defRPr>
                <a:solidFill>
                  <a:srgbClr val="88B327"/>
                </a:solidFill>
              </a:defRPr>
            </a:lvl1pPr>
          </a:lstStyle>
          <a:p>
            <a:pPr lvl="0"/>
            <a:r>
              <a:rPr lang="en-GB" dirty="0" err="1"/>
              <a:t>Mastertitle</a:t>
            </a:r>
            <a:r>
              <a:rPr lang="en-GB" dirty="0"/>
              <a:t> </a:t>
            </a:r>
            <a:r>
              <a:rPr lang="en-GB" dirty="0" err="1"/>
              <a:t>bearbeiten</a:t>
            </a:r>
            <a:endParaRPr lang="en-GB" dirty="0"/>
          </a:p>
        </p:txBody>
      </p:sp>
      <p:sp>
        <p:nvSpPr>
          <p:cNvPr id="9" name="Rechteck 8"/>
          <p:cNvSpPr/>
          <p:nvPr userDrawn="1"/>
        </p:nvSpPr>
        <p:spPr bwMode="auto">
          <a:xfrm>
            <a:off x="-14356" y="1556792"/>
            <a:ext cx="251520" cy="4680520"/>
          </a:xfrm>
          <a:prstGeom prst="rect">
            <a:avLst/>
          </a:prstGeom>
          <a:solidFill>
            <a:srgbClr val="88B327"/>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buClr>
                <a:srgbClr val="444D54"/>
              </a:buClr>
            </a:pPr>
            <a:endParaRPr lang="de-DE" sz="1800" dirty="0">
              <a:solidFill>
                <a:srgbClr val="021631"/>
              </a:solidFill>
              <a:latin typeface="Arial" charset="0"/>
              <a:ea typeface="ＭＳ Ｐゴシック" charset="0"/>
            </a:endParaRPr>
          </a:p>
        </p:txBody>
      </p:sp>
    </p:spTree>
    <p:extLst>
      <p:ext uri="{BB962C8B-B14F-4D97-AF65-F5344CB8AC3E}">
        <p14:creationId xmlns:p14="http://schemas.microsoft.com/office/powerpoint/2010/main" val="101349124"/>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de-DE" dirty="0"/>
          </a:p>
        </p:txBody>
      </p:sp>
      <p:sp>
        <p:nvSpPr>
          <p:cNvPr id="3" name="Inhaltsplatzhalter 2"/>
          <p:cNvSpPr>
            <a:spLocks noGrp="1"/>
          </p:cNvSpPr>
          <p:nvPr>
            <p:ph sz="half" idx="1" hasCustomPrompt="1"/>
          </p:nvPr>
        </p:nvSpPr>
        <p:spPr>
          <a:xfrm>
            <a:off x="450927" y="1628800"/>
            <a:ext cx="3987692" cy="4924400"/>
          </a:xfrm>
        </p:spPr>
        <p:txBody>
          <a:bodyPr/>
          <a:lstStyle>
            <a:lvl1pPr marL="0" indent="-378000">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GB" noProof="0" dirty="0"/>
              <a:t>Edit </a:t>
            </a:r>
            <a:r>
              <a:rPr lang="en-GB" noProof="0" dirty="0" err="1"/>
              <a:t>Mastertextformat</a:t>
            </a:r>
            <a:endParaRPr lang="en-GB" noProof="0" dirty="0"/>
          </a:p>
          <a:p>
            <a:pPr lvl="1"/>
            <a:r>
              <a:rPr lang="en-GB" noProof="0" dirty="0"/>
              <a:t>Second Layer</a:t>
            </a:r>
          </a:p>
          <a:p>
            <a:pPr lvl="2"/>
            <a:r>
              <a:rPr lang="en-GB" noProof="0" dirty="0"/>
              <a:t>Third Layer</a:t>
            </a:r>
          </a:p>
          <a:p>
            <a:pPr lvl="3"/>
            <a:r>
              <a:rPr lang="en-GB" noProof="0" dirty="0"/>
              <a:t>Fourth Layer</a:t>
            </a:r>
          </a:p>
          <a:p>
            <a:pPr lvl="4"/>
            <a:r>
              <a:rPr lang="en-GB" noProof="0" dirty="0"/>
              <a:t>Fifth Layer</a:t>
            </a:r>
          </a:p>
        </p:txBody>
      </p:sp>
      <p:sp>
        <p:nvSpPr>
          <p:cNvPr id="4" name="Inhaltsplatzhalter 3"/>
          <p:cNvSpPr>
            <a:spLocks noGrp="1"/>
          </p:cNvSpPr>
          <p:nvPr>
            <p:ph sz="half" idx="2"/>
          </p:nvPr>
        </p:nvSpPr>
        <p:spPr>
          <a:xfrm>
            <a:off x="4771407" y="1628800"/>
            <a:ext cx="3987692" cy="4924400"/>
          </a:xfrm>
        </p:spPr>
        <p:txBody>
          <a:bodyPr/>
          <a:lstStyle>
            <a:lvl1pPr marL="0">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GB" noProof="0" dirty="0"/>
          </a:p>
        </p:txBody>
      </p:sp>
      <p:sp>
        <p:nvSpPr>
          <p:cNvPr id="5" name="Rectangle 5"/>
          <p:cNvSpPr>
            <a:spLocks noGrp="1" noChangeArrowheads="1"/>
          </p:cNvSpPr>
          <p:nvPr>
            <p:ph type="sldNum" sz="quarter" idx="10"/>
          </p:nvPr>
        </p:nvSpPr>
        <p:spPr>
          <a:ln/>
        </p:spPr>
        <p:txBody>
          <a:bodyPr/>
          <a:lstStyle>
            <a:lvl1pPr>
              <a:defRPr/>
            </a:lvl1pPr>
          </a:lstStyle>
          <a:p>
            <a:pPr>
              <a:defRPr/>
            </a:pPr>
            <a:fld id="{A265A1A8-6FF2-734D-9553-7EFA907EE3C1}" type="slidenum">
              <a:rPr lang="de-DE"/>
              <a:pPr>
                <a:defRPr/>
              </a:pPr>
              <a:t>‹#›</a:t>
            </a:fld>
            <a:endParaRPr lang="de-DE" dirty="0"/>
          </a:p>
        </p:txBody>
      </p:sp>
      <p:sp>
        <p:nvSpPr>
          <p:cNvPr id="6" name="Rectangle 4"/>
          <p:cNvSpPr>
            <a:spLocks noGrp="1" noChangeArrowheads="1"/>
          </p:cNvSpPr>
          <p:nvPr>
            <p:ph type="dt" sz="half" idx="11"/>
          </p:nvPr>
        </p:nvSpPr>
        <p:spPr>
          <a:ln/>
        </p:spPr>
        <p:txBody>
          <a:bodyPr/>
          <a:lstStyle>
            <a:lvl1pPr>
              <a:defRPr/>
            </a:lvl1pPr>
          </a:lstStyle>
          <a:p>
            <a:pPr>
              <a:defRPr/>
            </a:pPr>
            <a:r>
              <a:rPr lang="en-US"/>
              <a:t>IWaSP Saint Lucia, Jour Fixe 09/07/2018</a:t>
            </a:r>
            <a:endParaRPr lang="de-DE" dirty="0"/>
          </a:p>
        </p:txBody>
      </p:sp>
    </p:spTree>
    <p:extLst>
      <p:ext uri="{BB962C8B-B14F-4D97-AF65-F5344CB8AC3E}">
        <p14:creationId xmlns:p14="http://schemas.microsoft.com/office/powerpoint/2010/main" val="322134077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solidFill>
                  <a:schemeClr val="tx1">
                    <a:lumMod val="50000"/>
                    <a:lumOff val="50000"/>
                  </a:schemeClr>
                </a:solidFill>
              </a:defRPr>
            </a:lvl1pPr>
          </a:lstStyle>
          <a:p>
            <a:r>
              <a:rPr lang="en-US" dirty="0"/>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lumMod val="85000"/>
                    <a:lumOff val="1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907542F6-5032-4E36-9F39-1F8DA5C0FD5D}" type="datetimeFigureOut">
              <a:rPr lang="en-US"/>
              <a:pPr>
                <a:defRPr/>
              </a:pPr>
              <a:t>8/7/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BDE462F-719B-4AA9-9CE6-41087253D1CB}" type="slidenum">
              <a:rPr lang="en-US"/>
              <a:pPr>
                <a:defRPr/>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de-DE" dirty="0"/>
          </a:p>
        </p:txBody>
      </p:sp>
      <p:sp>
        <p:nvSpPr>
          <p:cNvPr id="3" name="Rectangle 5"/>
          <p:cNvSpPr>
            <a:spLocks noGrp="1" noChangeArrowheads="1"/>
          </p:cNvSpPr>
          <p:nvPr>
            <p:ph type="sldNum" sz="quarter" idx="10"/>
          </p:nvPr>
        </p:nvSpPr>
        <p:spPr>
          <a:ln/>
        </p:spPr>
        <p:txBody>
          <a:bodyPr/>
          <a:lstStyle>
            <a:lvl1pPr>
              <a:defRPr/>
            </a:lvl1pPr>
          </a:lstStyle>
          <a:p>
            <a:pPr>
              <a:defRPr/>
            </a:pPr>
            <a:fld id="{F6975D03-251A-8441-85CE-BC5429BE50C3}" type="slidenum">
              <a:rPr lang="de-DE"/>
              <a:pPr>
                <a:defRPr/>
              </a:pPr>
              <a:t>‹#›</a:t>
            </a:fld>
            <a:endParaRPr lang="de-DE" dirty="0"/>
          </a:p>
        </p:txBody>
      </p:sp>
      <p:sp>
        <p:nvSpPr>
          <p:cNvPr id="4" name="Rectangle 4"/>
          <p:cNvSpPr>
            <a:spLocks noGrp="1" noChangeArrowheads="1"/>
          </p:cNvSpPr>
          <p:nvPr>
            <p:ph type="dt" sz="half" idx="11"/>
          </p:nvPr>
        </p:nvSpPr>
        <p:spPr>
          <a:ln/>
        </p:spPr>
        <p:txBody>
          <a:bodyPr/>
          <a:lstStyle>
            <a:lvl1pPr>
              <a:defRPr/>
            </a:lvl1pPr>
          </a:lstStyle>
          <a:p>
            <a:pPr>
              <a:defRPr/>
            </a:pPr>
            <a:r>
              <a:rPr lang="en-US"/>
              <a:t>IWaSP Saint Lucia, Jour Fixe 09/07/2018</a:t>
            </a:r>
            <a:endParaRPr lang="de-DE" dirty="0"/>
          </a:p>
        </p:txBody>
      </p:sp>
      <p:sp>
        <p:nvSpPr>
          <p:cNvPr id="7" name="Oval 6"/>
          <p:cNvSpPr/>
          <p:nvPr userDrawn="1"/>
        </p:nvSpPr>
        <p:spPr bwMode="auto">
          <a:xfrm>
            <a:off x="3109685" y="2132856"/>
            <a:ext cx="3124039" cy="3384376"/>
          </a:xfrm>
          <a:prstGeom prst="ellipse">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buClr>
                <a:srgbClr val="444D54"/>
              </a:buClr>
            </a:pPr>
            <a:endParaRPr lang="en-GB" sz="1800" dirty="0">
              <a:solidFill>
                <a:srgbClr val="021631"/>
              </a:solidFill>
              <a:latin typeface="Arial" charset="0"/>
              <a:ea typeface="ＭＳ Ｐゴシック" charset="0"/>
            </a:endParaRPr>
          </a:p>
        </p:txBody>
      </p:sp>
    </p:spTree>
    <p:extLst>
      <p:ext uri="{BB962C8B-B14F-4D97-AF65-F5344CB8AC3E}">
        <p14:creationId xmlns:p14="http://schemas.microsoft.com/office/powerpoint/2010/main" val="842223705"/>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Mit runden Bilder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a:t>Mastertitelformat bearbeiten</a:t>
            </a:r>
            <a:endParaRPr lang="de-DE" dirty="0"/>
          </a:p>
        </p:txBody>
      </p:sp>
      <p:sp>
        <p:nvSpPr>
          <p:cNvPr id="3" name="Rectangle 5"/>
          <p:cNvSpPr>
            <a:spLocks noGrp="1" noChangeArrowheads="1"/>
          </p:cNvSpPr>
          <p:nvPr>
            <p:ph type="sldNum" sz="quarter" idx="10"/>
          </p:nvPr>
        </p:nvSpPr>
        <p:spPr>
          <a:ln/>
        </p:spPr>
        <p:txBody>
          <a:bodyPr/>
          <a:lstStyle>
            <a:lvl1pPr>
              <a:defRPr/>
            </a:lvl1pPr>
          </a:lstStyle>
          <a:p>
            <a:pPr>
              <a:defRPr/>
            </a:pPr>
            <a:fld id="{F6975D03-251A-8441-85CE-BC5429BE50C3}" type="slidenum">
              <a:rPr lang="de-DE"/>
              <a:pPr>
                <a:defRPr/>
              </a:pPr>
              <a:t>‹#›</a:t>
            </a:fld>
            <a:endParaRPr lang="de-DE" dirty="0"/>
          </a:p>
        </p:txBody>
      </p:sp>
      <p:sp>
        <p:nvSpPr>
          <p:cNvPr id="4" name="Rectangle 4"/>
          <p:cNvSpPr>
            <a:spLocks noGrp="1" noChangeArrowheads="1"/>
          </p:cNvSpPr>
          <p:nvPr>
            <p:ph type="dt" sz="half" idx="11"/>
          </p:nvPr>
        </p:nvSpPr>
        <p:spPr>
          <a:ln/>
        </p:spPr>
        <p:txBody>
          <a:bodyPr/>
          <a:lstStyle>
            <a:lvl1pPr>
              <a:defRPr/>
            </a:lvl1pPr>
          </a:lstStyle>
          <a:p>
            <a:pPr>
              <a:defRPr/>
            </a:pPr>
            <a:r>
              <a:rPr lang="en-US"/>
              <a:t>IWaSP Saint Lucia, Jour Fixe 09/07/2018</a:t>
            </a:r>
            <a:endParaRPr lang="de-DE" dirty="0"/>
          </a:p>
        </p:txBody>
      </p:sp>
      <p:sp>
        <p:nvSpPr>
          <p:cNvPr id="7" name="Oval 6"/>
          <p:cNvSpPr/>
          <p:nvPr userDrawn="1"/>
        </p:nvSpPr>
        <p:spPr bwMode="auto">
          <a:xfrm>
            <a:off x="3109685" y="2132856"/>
            <a:ext cx="3124039" cy="3384376"/>
          </a:xfrm>
          <a:prstGeom prst="ellipse">
            <a:avLst/>
          </a:prstGeom>
          <a:no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buClr>
                <a:srgbClr val="444D54"/>
              </a:buClr>
            </a:pPr>
            <a:endParaRPr lang="en-GB" sz="1800" dirty="0">
              <a:solidFill>
                <a:srgbClr val="021631"/>
              </a:solidFill>
              <a:latin typeface="Arial" charset="0"/>
              <a:ea typeface="ＭＳ Ｐゴシック" charset="0"/>
            </a:endParaRPr>
          </a:p>
        </p:txBody>
      </p:sp>
      <p:sp>
        <p:nvSpPr>
          <p:cNvPr id="6" name="Bildplatzhalter 5"/>
          <p:cNvSpPr>
            <a:spLocks noGrp="1"/>
          </p:cNvSpPr>
          <p:nvPr>
            <p:ph type="pic" sz="quarter" idx="12"/>
          </p:nvPr>
        </p:nvSpPr>
        <p:spPr>
          <a:xfrm>
            <a:off x="6366662" y="1772816"/>
            <a:ext cx="3323567" cy="3599607"/>
          </a:xfrm>
          <a:prstGeom prst="ellipse">
            <a:avLst/>
          </a:prstGeom>
        </p:spPr>
        <p:txBody>
          <a:bodyPr/>
          <a:lstStyle/>
          <a:p>
            <a:r>
              <a:rPr lang="de-DE" dirty="0"/>
              <a:t>Bild auf Platzhalter ziehen oder durch Klicken auf Symbol hinzufügen</a:t>
            </a:r>
            <a:endParaRPr lang="en-GB" dirty="0"/>
          </a:p>
        </p:txBody>
      </p:sp>
      <p:sp>
        <p:nvSpPr>
          <p:cNvPr id="9" name="Inhaltsplatzhalter 2"/>
          <p:cNvSpPr>
            <a:spLocks noGrp="1"/>
          </p:cNvSpPr>
          <p:nvPr>
            <p:ph idx="1"/>
          </p:nvPr>
        </p:nvSpPr>
        <p:spPr>
          <a:xfrm>
            <a:off x="450928" y="1628800"/>
            <a:ext cx="5849265" cy="4924400"/>
          </a:xfrm>
        </p:spPr>
        <p:txBody>
          <a:body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GB" noProof="0" dirty="0"/>
          </a:p>
        </p:txBody>
      </p:sp>
      <p:sp>
        <p:nvSpPr>
          <p:cNvPr id="10" name="Bildplatzhalter 5"/>
          <p:cNvSpPr>
            <a:spLocks noGrp="1"/>
          </p:cNvSpPr>
          <p:nvPr>
            <p:ph type="pic" sz="quarter" idx="13"/>
          </p:nvPr>
        </p:nvSpPr>
        <p:spPr>
          <a:xfrm>
            <a:off x="583899" y="4941168"/>
            <a:ext cx="1477442" cy="1600150"/>
          </a:xfrm>
          <a:prstGeom prst="ellipse">
            <a:avLst/>
          </a:prstGeom>
        </p:spPr>
        <p:txBody>
          <a:bodyPr/>
          <a:lstStyle/>
          <a:p>
            <a:r>
              <a:rPr lang="de-DE" dirty="0"/>
              <a:t>Bild auf Platzhalter ziehen oder durch Klicken auf Symbol hinzufügen</a:t>
            </a:r>
            <a:endParaRPr lang="en-GB" dirty="0"/>
          </a:p>
        </p:txBody>
      </p:sp>
    </p:spTree>
    <p:extLst>
      <p:ext uri="{BB962C8B-B14F-4D97-AF65-F5344CB8AC3E}">
        <p14:creationId xmlns:p14="http://schemas.microsoft.com/office/powerpoint/2010/main" val="105335804"/>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pPr>
              <a:defRPr/>
            </a:pPr>
            <a:fld id="{730FD34D-385E-2C4B-BC21-D37C5B8E8B99}" type="slidenum">
              <a:rPr lang="de-DE"/>
              <a:pPr>
                <a:defRPr/>
              </a:pPr>
              <a:t>‹#›</a:t>
            </a:fld>
            <a:endParaRPr lang="de-DE" dirty="0"/>
          </a:p>
        </p:txBody>
      </p:sp>
      <p:sp>
        <p:nvSpPr>
          <p:cNvPr id="3" name="Rectangle 4"/>
          <p:cNvSpPr>
            <a:spLocks noGrp="1" noChangeArrowheads="1"/>
          </p:cNvSpPr>
          <p:nvPr>
            <p:ph type="dt" sz="half" idx="11"/>
          </p:nvPr>
        </p:nvSpPr>
        <p:spPr>
          <a:ln/>
        </p:spPr>
        <p:txBody>
          <a:bodyPr/>
          <a:lstStyle>
            <a:lvl1pPr>
              <a:defRPr/>
            </a:lvl1pPr>
          </a:lstStyle>
          <a:p>
            <a:pPr>
              <a:defRPr/>
            </a:pPr>
            <a:r>
              <a:rPr lang="en-US"/>
              <a:t>IWaSP Saint Lucia, Jour Fixe 09/07/2018</a:t>
            </a:r>
            <a:endParaRPr lang="de-DE" dirty="0"/>
          </a:p>
        </p:txBody>
      </p:sp>
    </p:spTree>
    <p:extLst>
      <p:ext uri="{BB962C8B-B14F-4D97-AF65-F5344CB8AC3E}">
        <p14:creationId xmlns:p14="http://schemas.microsoft.com/office/powerpoint/2010/main" val="11407561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Headline, Subhead, Bulletpoints">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noProof="0" smtClean="0"/>
              <a:t>Mastertitelformat bearbeiten</a:t>
            </a:r>
            <a:endParaRPr lang="de-DE" noProof="0"/>
          </a:p>
        </p:txBody>
      </p:sp>
      <p:sp>
        <p:nvSpPr>
          <p:cNvPr id="4" name="Datumsplatzhalter 3"/>
          <p:cNvSpPr>
            <a:spLocks noGrp="1"/>
          </p:cNvSpPr>
          <p:nvPr>
            <p:ph type="dt" sz="half" idx="11"/>
          </p:nvPr>
        </p:nvSpPr>
        <p:spPr/>
        <p:txBody>
          <a:bodyPr/>
          <a:lstStyle/>
          <a:p>
            <a:fld id="{9317A057-C766-48FB-B1EC-CC1898F04EF1}" type="datetime1">
              <a:rPr lang="de-DE" smtClean="0"/>
              <a:pPr/>
              <a:t>08.08.2019</a:t>
            </a:fld>
            <a:endParaRPr lang="de-DE"/>
          </a:p>
        </p:txBody>
      </p:sp>
      <p:sp>
        <p:nvSpPr>
          <p:cNvPr id="7" name="Inhaltsplatzhalter 2"/>
          <p:cNvSpPr>
            <a:spLocks noGrp="1"/>
          </p:cNvSpPr>
          <p:nvPr>
            <p:ph idx="1" hasCustomPrompt="1"/>
          </p:nvPr>
        </p:nvSpPr>
        <p:spPr>
          <a:xfrm>
            <a:off x="1152525" y="2448000"/>
            <a:ext cx="6875860" cy="3816000"/>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C80F0F"/>
              </a:buClr>
              <a:buSzTx/>
              <a:buFontTx/>
              <a:buNone/>
              <a:tabLst>
                <a:tab pos="2190750" algn="l"/>
              </a:tabLst>
              <a:defRPr sz="1800" baseline="0"/>
            </a:lvl1pPr>
            <a:lvl2pPr marL="360000" indent="-360000">
              <a:buClr>
                <a:srgbClr val="C80F0F"/>
              </a:buClr>
              <a:buFont typeface="Arial" pitchFamily="34" charset="0"/>
              <a:buChar char="•"/>
              <a:defRPr sz="1800"/>
            </a:lvl2pPr>
            <a:lvl3pPr marL="720000">
              <a:defRPr sz="1800"/>
            </a:lvl3pPr>
            <a:lvl4pPr marL="1080000">
              <a:defRPr sz="1800" baseline="0"/>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smtClean="0"/>
              <a:t>Text durch klicken hinzufügen</a:t>
            </a:r>
          </a:p>
          <a:p>
            <a:pPr lvl="1"/>
            <a:r>
              <a:rPr lang="de-DE" noProof="0" dirty="0" smtClean="0"/>
              <a:t>Zweite Ebene</a:t>
            </a:r>
          </a:p>
          <a:p>
            <a:pPr lvl="2"/>
            <a:r>
              <a:rPr lang="de-DE" noProof="0" dirty="0" smtClean="0"/>
              <a:t>Dritte Ebene</a:t>
            </a:r>
          </a:p>
          <a:p>
            <a:pPr lvl="3"/>
            <a:r>
              <a:rPr lang="de-DE" noProof="0" dirty="0" smtClean="0"/>
              <a:t>Vierte Ebene</a:t>
            </a:r>
          </a:p>
        </p:txBody>
      </p:sp>
    </p:spTree>
    <p:extLst>
      <p:ext uri="{BB962C8B-B14F-4D97-AF65-F5344CB8AC3E}">
        <p14:creationId xmlns:p14="http://schemas.microsoft.com/office/powerpoint/2010/main" val="428294665"/>
      </p:ext>
    </p:extLst>
  </p:cSld>
  <p:clrMapOvr>
    <a:masterClrMapping/>
  </p:clrMapOvr>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Sisällön paikkamerkki 2"/>
          <p:cNvSpPr>
            <a:spLocks noGrp="1"/>
          </p:cNvSpPr>
          <p:nvPr>
            <p:ph idx="1"/>
          </p:nvPr>
        </p:nvSpPr>
        <p:spPr/>
        <p:txBody>
          <a:bodyPr/>
          <a:lstStyle/>
          <a:p>
            <a:pPr lvl="0"/>
            <a:r>
              <a:rPr lang="en-GB" noProof="0" dirty="0" err="1" smtClean="0"/>
              <a:t>Muokkaa</a:t>
            </a:r>
            <a:r>
              <a:rPr lang="en-GB" noProof="0" dirty="0" smtClean="0"/>
              <a:t> </a:t>
            </a:r>
            <a:r>
              <a:rPr lang="en-GB" noProof="0" dirty="0" err="1" smtClean="0"/>
              <a:t>tekstin</a:t>
            </a:r>
            <a:r>
              <a:rPr lang="en-GB" noProof="0" dirty="0" smtClean="0"/>
              <a:t> </a:t>
            </a:r>
            <a:r>
              <a:rPr lang="en-GB" noProof="0" dirty="0" err="1" smtClean="0"/>
              <a:t>perustyylejä</a:t>
            </a:r>
            <a:r>
              <a:rPr lang="en-GB" noProof="0" dirty="0" smtClean="0"/>
              <a:t> </a:t>
            </a:r>
            <a:r>
              <a:rPr lang="en-GB" noProof="0" dirty="0" err="1" smtClean="0"/>
              <a:t>napsauttamalla</a:t>
            </a:r>
            <a:endParaRPr lang="en-GB" noProof="0" dirty="0" smtClean="0"/>
          </a:p>
          <a:p>
            <a:pPr lvl="1"/>
            <a:r>
              <a:rPr lang="en-GB" noProof="0" dirty="0" err="1" smtClean="0"/>
              <a:t>toinen</a:t>
            </a:r>
            <a:r>
              <a:rPr lang="en-GB" noProof="0" dirty="0" smtClean="0"/>
              <a:t> </a:t>
            </a:r>
            <a:r>
              <a:rPr lang="en-GB" noProof="0" dirty="0" err="1" smtClean="0"/>
              <a:t>taso</a:t>
            </a:r>
            <a:endParaRPr lang="en-GB" noProof="0" dirty="0" smtClean="0"/>
          </a:p>
          <a:p>
            <a:pPr lvl="2"/>
            <a:r>
              <a:rPr lang="en-GB" noProof="0" dirty="0" err="1" smtClean="0"/>
              <a:t>kolmas</a:t>
            </a:r>
            <a:r>
              <a:rPr lang="en-GB" noProof="0" dirty="0" smtClean="0"/>
              <a:t> </a:t>
            </a:r>
            <a:r>
              <a:rPr lang="en-GB" noProof="0" dirty="0" err="1" smtClean="0"/>
              <a:t>taso</a:t>
            </a:r>
            <a:endParaRPr lang="en-GB" noProof="0" dirty="0" smtClean="0"/>
          </a:p>
          <a:p>
            <a:pPr lvl="3"/>
            <a:r>
              <a:rPr lang="en-GB" noProof="0" dirty="0" err="1" smtClean="0"/>
              <a:t>neljäs</a:t>
            </a:r>
            <a:r>
              <a:rPr lang="en-GB" noProof="0" dirty="0" smtClean="0"/>
              <a:t> </a:t>
            </a:r>
            <a:r>
              <a:rPr lang="en-GB" noProof="0" dirty="0" err="1" smtClean="0"/>
              <a:t>taso</a:t>
            </a:r>
            <a:endParaRPr lang="en-GB" noProof="0" dirty="0" smtClean="0"/>
          </a:p>
          <a:p>
            <a:pPr lvl="4"/>
            <a:r>
              <a:rPr lang="en-GB" noProof="0" dirty="0" err="1" smtClean="0"/>
              <a:t>viides</a:t>
            </a:r>
            <a:r>
              <a:rPr lang="en-GB" noProof="0" dirty="0" smtClean="0"/>
              <a:t> </a:t>
            </a:r>
            <a:r>
              <a:rPr lang="en-GB" noProof="0" dirty="0" err="1" smtClean="0"/>
              <a:t>taso</a:t>
            </a:r>
            <a:endParaRPr lang="en-GB" noProof="0" dirty="0"/>
          </a:p>
        </p:txBody>
      </p:sp>
      <p:sp>
        <p:nvSpPr>
          <p:cNvPr id="10" name="Titel 1"/>
          <p:cNvSpPr>
            <a:spLocks noGrp="1"/>
          </p:cNvSpPr>
          <p:nvPr>
            <p:ph type="title"/>
          </p:nvPr>
        </p:nvSpPr>
        <p:spPr>
          <a:xfrm>
            <a:off x="456931" y="188640"/>
            <a:ext cx="7039701" cy="914400"/>
          </a:xfrm>
        </p:spPr>
        <p:txBody>
          <a:bodyPr/>
          <a:lstStyle/>
          <a:p>
            <a:r>
              <a:rPr lang="fi-FI" smtClean="0"/>
              <a:t>Muokkaa perustyylejä naps.</a:t>
            </a:r>
            <a:endParaRPr lang="en-GB"/>
          </a:p>
        </p:txBody>
      </p:sp>
    </p:spTree>
    <p:extLst>
      <p:ext uri="{BB962C8B-B14F-4D97-AF65-F5344CB8AC3E}">
        <p14:creationId xmlns:p14="http://schemas.microsoft.com/office/powerpoint/2010/main" val="278412057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3293CE39-8C5D-47D5-85B3-7E42381897BB}" type="datetimeFigureOut">
              <a:rPr lang="en-US"/>
              <a:pPr>
                <a:defRPr/>
              </a:pPr>
              <a:t>8/7/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A28B0409-2974-44CF-8046-BE940B88096D}"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3C5039D6-4FE5-4070-A369-927D04DDBD8B}" type="datetimeFigureOut">
              <a:rPr lang="en-US"/>
              <a:pPr>
                <a:defRPr/>
              </a:pPr>
              <a:t>8/7/2019</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E013AB34-AC90-43A1-85B3-88312BCDA895}"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3"/>
          <p:cNvSpPr>
            <a:spLocks noGrp="1"/>
          </p:cNvSpPr>
          <p:nvPr>
            <p:ph type="dt" sz="half" idx="10"/>
          </p:nvPr>
        </p:nvSpPr>
        <p:spPr/>
        <p:txBody>
          <a:bodyPr/>
          <a:lstStyle>
            <a:lvl1pPr>
              <a:defRPr/>
            </a:lvl1pPr>
          </a:lstStyle>
          <a:p>
            <a:pPr>
              <a:defRPr/>
            </a:pPr>
            <a:fld id="{1F8C4F13-5BF0-4F8D-BAD1-AAA0DC31D42D}" type="datetimeFigureOut">
              <a:rPr lang="en-US"/>
              <a:pPr>
                <a:defRPr/>
              </a:pPr>
              <a:t>8/7/2019</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758C0E10-60F0-4928-9342-9DED0EB7BCED}"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9287140-99C3-41B2-B054-C6C4398AC0E2}" type="datetimeFigureOut">
              <a:rPr lang="en-US"/>
              <a:pPr>
                <a:defRPr/>
              </a:pPr>
              <a:t>8/7/2019</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67FC5F9C-F09E-4593-9BD4-6B21DD38497F}"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A22A6647-F3E6-4278-99DE-B283CDE749BF}" type="datetimeFigureOut">
              <a:rPr lang="en-US"/>
              <a:pPr>
                <a:defRPr/>
              </a:pPr>
              <a:t>8/7/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B926CE73-6EC0-4F21-877A-FED14B6EDC8E}"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F7484EFC-1479-46EE-9CB8-231487BECFCE}" type="datetimeFigureOut">
              <a:rPr lang="en-US"/>
              <a:pPr>
                <a:defRPr/>
              </a:pPr>
              <a:t>8/7/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1A515888-EEB1-4113-A5E1-64906700904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vmlDrawing" Target="../drawings/vmlDrawing1.vml"/><Relationship Id="rId18" Type="http://schemas.openxmlformats.org/officeDocument/2006/relationships/image" Target="../media/image2.jpe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image" Target="../media/image5.jpeg"/><Relationship Id="rId2" Type="http://schemas.openxmlformats.org/officeDocument/2006/relationships/slideLayout" Target="../slideLayouts/slideLayout25.xml"/><Relationship Id="rId16" Type="http://schemas.openxmlformats.org/officeDocument/2006/relationships/image" Target="../media/image4.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oleObject" Target="../embeddings/oleObject1.bin"/><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Rectangle 12"/>
          <p:cNvSpPr/>
          <p:nvPr userDrawn="1"/>
        </p:nvSpPr>
        <p:spPr>
          <a:xfrm>
            <a:off x="0" y="6613151"/>
            <a:ext cx="9144000" cy="244849"/>
          </a:xfrm>
          <a:prstGeom prst="rect">
            <a:avLst/>
          </a:prstGeom>
          <a:solidFill>
            <a:srgbClr val="003366"/>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 name="Rectangle 1"/>
          <p:cNvSpPr/>
          <p:nvPr userDrawn="1"/>
        </p:nvSpPr>
        <p:spPr>
          <a:xfrm>
            <a:off x="0" y="1"/>
            <a:ext cx="9144000" cy="968560"/>
          </a:xfrm>
          <a:prstGeom prst="rect">
            <a:avLst/>
          </a:prstGeom>
          <a:solidFill>
            <a:srgbClr val="003366"/>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099" name="Title Placeholder 1"/>
          <p:cNvSpPr>
            <a:spLocks noGrp="1"/>
          </p:cNvSpPr>
          <p:nvPr>
            <p:ph type="title"/>
          </p:nvPr>
        </p:nvSpPr>
        <p:spPr bwMode="auto">
          <a:xfrm>
            <a:off x="457200" y="152400"/>
            <a:ext cx="76200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4100" name="Text Placeholder 2"/>
          <p:cNvSpPr>
            <a:spLocks noGrp="1"/>
          </p:cNvSpPr>
          <p:nvPr>
            <p:ph type="body" idx="1"/>
          </p:nvPr>
        </p:nvSpPr>
        <p:spPr bwMode="auto">
          <a:xfrm>
            <a:off x="457200" y="1219200"/>
            <a:ext cx="82296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0" y="6643710"/>
            <a:ext cx="2428860" cy="214290"/>
          </a:xfrm>
          <a:prstGeom prst="rect">
            <a:avLst/>
          </a:prstGeom>
        </p:spPr>
        <p:txBody>
          <a:bodyPr vert="horz" lIns="91440" tIns="45720" rIns="91440" bIns="45720" rtlCol="0" anchor="ctr"/>
          <a:lstStyle>
            <a:lvl1pPr algn="l">
              <a:defRPr sz="1200">
                <a:solidFill>
                  <a:schemeClr val="bg1"/>
                </a:solidFill>
                <a:latin typeface="Arial" charset="0"/>
              </a:defRPr>
            </a:lvl1pPr>
          </a:lstStyle>
          <a:p>
            <a:pPr>
              <a:defRPr/>
            </a:pPr>
            <a:fld id="{99AE65B5-2083-4D49-BD69-851F2EA4BAA8}" type="datetimeFigureOut">
              <a:rPr lang="en-US"/>
              <a:pPr>
                <a:defRPr/>
              </a:pPr>
              <a:t>8/7/2019</a:t>
            </a:fld>
            <a:endParaRPr lang="en-US" dirty="0"/>
          </a:p>
        </p:txBody>
      </p:sp>
      <p:sp>
        <p:nvSpPr>
          <p:cNvPr id="5" name="Footer Placeholder 4"/>
          <p:cNvSpPr>
            <a:spLocks noGrp="1"/>
          </p:cNvSpPr>
          <p:nvPr>
            <p:ph type="ftr" sz="quarter" idx="3"/>
          </p:nvPr>
        </p:nvSpPr>
        <p:spPr>
          <a:xfrm>
            <a:off x="2428860" y="6643710"/>
            <a:ext cx="4429156" cy="214290"/>
          </a:xfrm>
          <a:prstGeom prst="rect">
            <a:avLst/>
          </a:prstGeom>
        </p:spPr>
        <p:txBody>
          <a:bodyPr vert="horz" lIns="91440" tIns="45720" rIns="91440" bIns="45720" rtlCol="0" anchor="ctr"/>
          <a:lstStyle>
            <a:lvl1pPr algn="ctr">
              <a:defRPr sz="1200">
                <a:solidFill>
                  <a:schemeClr val="bg1"/>
                </a:solidFill>
                <a:latin typeface="Arial" charset="0"/>
              </a:defRPr>
            </a:lvl1pPr>
          </a:lstStyle>
          <a:p>
            <a:pPr>
              <a:defRPr/>
            </a:pPr>
            <a:endParaRPr lang="en-US" dirty="0"/>
          </a:p>
        </p:txBody>
      </p:sp>
      <p:sp>
        <p:nvSpPr>
          <p:cNvPr id="6" name="Slide Number Placeholder 5"/>
          <p:cNvSpPr>
            <a:spLocks noGrp="1"/>
          </p:cNvSpPr>
          <p:nvPr>
            <p:ph type="sldNum" sz="quarter" idx="4"/>
          </p:nvPr>
        </p:nvSpPr>
        <p:spPr>
          <a:xfrm>
            <a:off x="6858000" y="6643710"/>
            <a:ext cx="2133600" cy="214290"/>
          </a:xfrm>
          <a:prstGeom prst="rect">
            <a:avLst/>
          </a:prstGeom>
        </p:spPr>
        <p:txBody>
          <a:bodyPr vert="horz" lIns="91440" tIns="45720" rIns="91440" bIns="45720" rtlCol="0" anchor="ctr"/>
          <a:lstStyle>
            <a:lvl1pPr algn="r">
              <a:defRPr sz="1200">
                <a:solidFill>
                  <a:schemeClr val="bg1"/>
                </a:solidFill>
                <a:latin typeface="Arial" charset="0"/>
              </a:defRPr>
            </a:lvl1pPr>
          </a:lstStyle>
          <a:p>
            <a:pPr>
              <a:defRPr/>
            </a:pPr>
            <a:fld id="{386C1D7C-65E4-4CEE-A722-501C9AF97CFF}" type="slidenum">
              <a:rPr lang="en-US"/>
              <a:pPr>
                <a:defRPr/>
              </a:pPr>
              <a:t>‹#›</a:t>
            </a:fld>
            <a:endParaRPr lang="en-US" dirty="0"/>
          </a:p>
        </p:txBody>
      </p:sp>
      <p:sp>
        <p:nvSpPr>
          <p:cNvPr id="12" name="Text Box 28"/>
          <p:cNvSpPr txBox="1">
            <a:spLocks noChangeArrowheads="1"/>
          </p:cNvSpPr>
          <p:nvPr userDrawn="1"/>
        </p:nvSpPr>
        <p:spPr bwMode="auto">
          <a:xfrm>
            <a:off x="6559084" y="6368676"/>
            <a:ext cx="25019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defRPr/>
            </a:pPr>
            <a:r>
              <a:rPr lang="en-US" sz="1000" dirty="0">
                <a:solidFill>
                  <a:srgbClr val="781E07"/>
                </a:solidFill>
                <a:latin typeface="Trebuchet MS" pitchFamily="34" charset="0"/>
              </a:rPr>
              <a:t>INDUSTRIAL ECONOMICS, INCORPORATED</a:t>
            </a:r>
          </a:p>
        </p:txBody>
      </p:sp>
      <p:pic>
        <p:nvPicPr>
          <p:cNvPr id="11" name="Picture 10"/>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109233" y="110817"/>
            <a:ext cx="951751" cy="692518"/>
          </a:xfrm>
          <a:prstGeom prst="rect">
            <a:avLst/>
          </a:prstGeom>
        </p:spPr>
      </p:pic>
    </p:spTree>
  </p:cSld>
  <p:clrMap bg1="lt1" tx1="dk1" bg2="lt2" tx2="dk2" accent1="accent1" accent2="accent2" accent3="accent3" accent4="accent4" accent5="accent5" accent6="accent6" hlink="hlink" folHlink="folHlink"/>
  <p:sldLayoutIdLst>
    <p:sldLayoutId id="2147484086" r:id="rId1"/>
    <p:sldLayoutId id="2147484087" r:id="rId2"/>
    <p:sldLayoutId id="2147484088" r:id="rId3"/>
    <p:sldLayoutId id="2147484089" r:id="rId4"/>
    <p:sldLayoutId id="2147484090" r:id="rId5"/>
    <p:sldLayoutId id="2147484091" r:id="rId6"/>
    <p:sldLayoutId id="2147484092" r:id="rId7"/>
    <p:sldLayoutId id="2147484093" r:id="rId8"/>
    <p:sldLayoutId id="2147484094" r:id="rId9"/>
    <p:sldLayoutId id="2147484095" r:id="rId10"/>
    <p:sldLayoutId id="2147484096" r:id="rId11"/>
  </p:sldLayoutIdLst>
  <p:txStyles>
    <p:titleStyle>
      <a:lvl1pPr algn="l" rtl="0" eaLnBrk="1" fontAlgn="base" hangingPunct="1">
        <a:spcBef>
          <a:spcPct val="0"/>
        </a:spcBef>
        <a:spcAft>
          <a:spcPct val="0"/>
        </a:spcAft>
        <a:defRPr sz="3600" kern="1200">
          <a:solidFill>
            <a:schemeClr val="bg1"/>
          </a:solidFill>
          <a:latin typeface="+mj-lt"/>
          <a:ea typeface="+mj-ea"/>
          <a:cs typeface="+mj-cs"/>
        </a:defRPr>
      </a:lvl1pPr>
      <a:lvl2pPr algn="l" rtl="0" eaLnBrk="1" fontAlgn="base" hangingPunct="1">
        <a:spcBef>
          <a:spcPct val="0"/>
        </a:spcBef>
        <a:spcAft>
          <a:spcPct val="0"/>
        </a:spcAft>
        <a:defRPr sz="3600">
          <a:solidFill>
            <a:srgbClr val="F2F2F2"/>
          </a:solidFill>
          <a:latin typeface="Calibri" pitchFamily="34" charset="0"/>
        </a:defRPr>
      </a:lvl2pPr>
      <a:lvl3pPr algn="l" rtl="0" eaLnBrk="1" fontAlgn="base" hangingPunct="1">
        <a:spcBef>
          <a:spcPct val="0"/>
        </a:spcBef>
        <a:spcAft>
          <a:spcPct val="0"/>
        </a:spcAft>
        <a:defRPr sz="3600">
          <a:solidFill>
            <a:srgbClr val="F2F2F2"/>
          </a:solidFill>
          <a:latin typeface="Calibri" pitchFamily="34" charset="0"/>
        </a:defRPr>
      </a:lvl3pPr>
      <a:lvl4pPr algn="l" rtl="0" eaLnBrk="1" fontAlgn="base" hangingPunct="1">
        <a:spcBef>
          <a:spcPct val="0"/>
        </a:spcBef>
        <a:spcAft>
          <a:spcPct val="0"/>
        </a:spcAft>
        <a:defRPr sz="3600">
          <a:solidFill>
            <a:srgbClr val="F2F2F2"/>
          </a:solidFill>
          <a:latin typeface="Calibri" pitchFamily="34" charset="0"/>
        </a:defRPr>
      </a:lvl4pPr>
      <a:lvl5pPr algn="l" rtl="0" eaLnBrk="1" fontAlgn="base" hangingPunct="1">
        <a:spcBef>
          <a:spcPct val="0"/>
        </a:spcBef>
        <a:spcAft>
          <a:spcPct val="0"/>
        </a:spcAft>
        <a:defRPr sz="3600">
          <a:solidFill>
            <a:srgbClr val="F2F2F2"/>
          </a:solidFill>
          <a:latin typeface="Calibri" pitchFamily="34" charset="0"/>
        </a:defRPr>
      </a:lvl5pPr>
      <a:lvl6pPr marL="457200" algn="l" rtl="0" eaLnBrk="1" fontAlgn="base" hangingPunct="1">
        <a:spcBef>
          <a:spcPct val="0"/>
        </a:spcBef>
        <a:spcAft>
          <a:spcPct val="0"/>
        </a:spcAft>
        <a:defRPr sz="4400">
          <a:solidFill>
            <a:srgbClr val="F2F2F2"/>
          </a:solidFill>
          <a:latin typeface="Calibri" pitchFamily="34" charset="0"/>
        </a:defRPr>
      </a:lvl6pPr>
      <a:lvl7pPr marL="914400" algn="l" rtl="0" eaLnBrk="1" fontAlgn="base" hangingPunct="1">
        <a:spcBef>
          <a:spcPct val="0"/>
        </a:spcBef>
        <a:spcAft>
          <a:spcPct val="0"/>
        </a:spcAft>
        <a:defRPr sz="4400">
          <a:solidFill>
            <a:srgbClr val="F2F2F2"/>
          </a:solidFill>
          <a:latin typeface="Calibri" pitchFamily="34" charset="0"/>
        </a:defRPr>
      </a:lvl7pPr>
      <a:lvl8pPr marL="1371600" algn="l" rtl="0" eaLnBrk="1" fontAlgn="base" hangingPunct="1">
        <a:spcBef>
          <a:spcPct val="0"/>
        </a:spcBef>
        <a:spcAft>
          <a:spcPct val="0"/>
        </a:spcAft>
        <a:defRPr sz="4400">
          <a:solidFill>
            <a:srgbClr val="F2F2F2"/>
          </a:solidFill>
          <a:latin typeface="Calibri" pitchFamily="34" charset="0"/>
        </a:defRPr>
      </a:lvl8pPr>
      <a:lvl9pPr marL="1828800" algn="l" rtl="0" eaLnBrk="1" fontAlgn="base" hangingPunct="1">
        <a:spcBef>
          <a:spcPct val="0"/>
        </a:spcBef>
        <a:spcAft>
          <a:spcPct val="0"/>
        </a:spcAft>
        <a:defRPr sz="4400">
          <a:solidFill>
            <a:srgbClr val="F2F2F2"/>
          </a:solidFill>
          <a:latin typeface="Calibri" pitchFamily="34" charset="0"/>
        </a:defRPr>
      </a:lvl9pPr>
    </p:titleStyle>
    <p:bodyStyle>
      <a:lvl1pPr marL="342900" indent="-342900" algn="l" rtl="0" eaLnBrk="1" fontAlgn="base" hangingPunct="1">
        <a:spcBef>
          <a:spcPct val="20000"/>
        </a:spcBef>
        <a:spcAft>
          <a:spcPct val="0"/>
        </a:spcAft>
        <a:buFont typeface="Arial" pitchFamily="34" charset="0"/>
        <a:buChar char="•"/>
        <a:defRPr sz="2800" kern="1200">
          <a:solidFill>
            <a:schemeClr val="tx1">
              <a:lumMod val="75000"/>
              <a:lumOff val="25000"/>
            </a:schemeClr>
          </a:solidFill>
          <a:latin typeface="+mn-lt"/>
          <a:ea typeface="+mn-ea"/>
          <a:cs typeface="+mn-cs"/>
        </a:defRPr>
      </a:lvl1pPr>
      <a:lvl2pPr marL="742950" indent="-285750" algn="l" rtl="0" eaLnBrk="1" fontAlgn="base" hangingPunct="1">
        <a:spcBef>
          <a:spcPct val="20000"/>
        </a:spcBef>
        <a:spcAft>
          <a:spcPct val="0"/>
        </a:spcAft>
        <a:buFont typeface="Arial" pitchFamily="34" charset="0"/>
        <a:buChar char="–"/>
        <a:defRPr sz="2400" kern="1200">
          <a:solidFill>
            <a:schemeClr val="tx1">
              <a:lumMod val="75000"/>
              <a:lumOff val="25000"/>
            </a:schemeClr>
          </a:solidFill>
          <a:latin typeface="+mn-lt"/>
          <a:ea typeface="+mn-ea"/>
          <a:cs typeface="+mn-cs"/>
        </a:defRPr>
      </a:lvl2pPr>
      <a:lvl3pPr marL="1143000" indent="-228600" algn="l" rtl="0" eaLnBrk="1" fontAlgn="base" hangingPunct="1">
        <a:spcBef>
          <a:spcPct val="20000"/>
        </a:spcBef>
        <a:spcAft>
          <a:spcPct val="0"/>
        </a:spcAft>
        <a:buFont typeface="Arial" pitchFamily="34" charset="0"/>
        <a:buChar char="•"/>
        <a:defRPr sz="2000" kern="1200">
          <a:solidFill>
            <a:schemeClr val="tx1">
              <a:lumMod val="75000"/>
              <a:lumOff val="25000"/>
            </a:schemeClr>
          </a:solidFill>
          <a:latin typeface="+mn-lt"/>
          <a:ea typeface="+mn-ea"/>
          <a:cs typeface="+mn-cs"/>
        </a:defRPr>
      </a:lvl3pPr>
      <a:lvl4pPr marL="16002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4pPr>
      <a:lvl5pPr marL="20574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Rectangle 12"/>
          <p:cNvSpPr/>
          <p:nvPr userDrawn="1"/>
        </p:nvSpPr>
        <p:spPr>
          <a:xfrm>
            <a:off x="0" y="6613151"/>
            <a:ext cx="9144000" cy="244849"/>
          </a:xfrm>
          <a:prstGeom prst="rect">
            <a:avLst/>
          </a:prstGeom>
          <a:solidFill>
            <a:srgbClr val="003366"/>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2" name="Rectangle 1"/>
          <p:cNvSpPr/>
          <p:nvPr userDrawn="1"/>
        </p:nvSpPr>
        <p:spPr>
          <a:xfrm>
            <a:off x="0" y="1"/>
            <a:ext cx="9144000" cy="968560"/>
          </a:xfrm>
          <a:prstGeom prst="rect">
            <a:avLst/>
          </a:prstGeom>
          <a:solidFill>
            <a:srgbClr val="003366"/>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099" name="Title Placeholder 1"/>
          <p:cNvSpPr>
            <a:spLocks noGrp="1"/>
          </p:cNvSpPr>
          <p:nvPr>
            <p:ph type="title"/>
          </p:nvPr>
        </p:nvSpPr>
        <p:spPr bwMode="auto">
          <a:xfrm>
            <a:off x="457200" y="152400"/>
            <a:ext cx="7620000" cy="762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4100" name="Text Placeholder 2"/>
          <p:cNvSpPr>
            <a:spLocks noGrp="1"/>
          </p:cNvSpPr>
          <p:nvPr>
            <p:ph type="body" idx="1"/>
          </p:nvPr>
        </p:nvSpPr>
        <p:spPr bwMode="auto">
          <a:xfrm>
            <a:off x="457200" y="1219200"/>
            <a:ext cx="8229600" cy="4800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0" y="6643710"/>
            <a:ext cx="2428860" cy="214290"/>
          </a:xfrm>
          <a:prstGeom prst="rect">
            <a:avLst/>
          </a:prstGeom>
        </p:spPr>
        <p:txBody>
          <a:bodyPr vert="horz" lIns="91440" tIns="45720" rIns="91440" bIns="45720" rtlCol="0" anchor="ctr"/>
          <a:lstStyle>
            <a:lvl1pPr algn="l">
              <a:defRPr sz="1200">
                <a:solidFill>
                  <a:schemeClr val="bg1"/>
                </a:solidFill>
                <a:latin typeface="Arial" charset="0"/>
              </a:defRPr>
            </a:lvl1pPr>
          </a:lstStyle>
          <a:p>
            <a:pPr>
              <a:defRPr/>
            </a:pPr>
            <a:fld id="{99AE65B5-2083-4D49-BD69-851F2EA4BAA8}" type="datetimeFigureOut">
              <a:rPr lang="en-US"/>
              <a:pPr>
                <a:defRPr/>
              </a:pPr>
              <a:t>8/7/2019</a:t>
            </a:fld>
            <a:endParaRPr lang="en-US" dirty="0"/>
          </a:p>
        </p:txBody>
      </p:sp>
      <p:sp>
        <p:nvSpPr>
          <p:cNvPr id="5" name="Footer Placeholder 4"/>
          <p:cNvSpPr>
            <a:spLocks noGrp="1"/>
          </p:cNvSpPr>
          <p:nvPr>
            <p:ph type="ftr" sz="quarter" idx="3"/>
          </p:nvPr>
        </p:nvSpPr>
        <p:spPr>
          <a:xfrm>
            <a:off x="2428860" y="6643710"/>
            <a:ext cx="4429156" cy="214290"/>
          </a:xfrm>
          <a:prstGeom prst="rect">
            <a:avLst/>
          </a:prstGeom>
        </p:spPr>
        <p:txBody>
          <a:bodyPr vert="horz" lIns="91440" tIns="45720" rIns="91440" bIns="45720" rtlCol="0" anchor="ctr"/>
          <a:lstStyle>
            <a:lvl1pPr algn="ctr">
              <a:defRPr sz="1200">
                <a:solidFill>
                  <a:schemeClr val="bg1"/>
                </a:solidFill>
                <a:latin typeface="Arial" charset="0"/>
              </a:defRPr>
            </a:lvl1pPr>
          </a:lstStyle>
          <a:p>
            <a:pPr>
              <a:defRPr/>
            </a:pPr>
            <a:endParaRPr lang="en-US" dirty="0"/>
          </a:p>
        </p:txBody>
      </p:sp>
      <p:sp>
        <p:nvSpPr>
          <p:cNvPr id="6" name="Slide Number Placeholder 5"/>
          <p:cNvSpPr>
            <a:spLocks noGrp="1"/>
          </p:cNvSpPr>
          <p:nvPr>
            <p:ph type="sldNum" sz="quarter" idx="4"/>
          </p:nvPr>
        </p:nvSpPr>
        <p:spPr>
          <a:xfrm>
            <a:off x="6858000" y="6643710"/>
            <a:ext cx="2133600" cy="214290"/>
          </a:xfrm>
          <a:prstGeom prst="rect">
            <a:avLst/>
          </a:prstGeom>
        </p:spPr>
        <p:txBody>
          <a:bodyPr vert="horz" lIns="91440" tIns="45720" rIns="91440" bIns="45720" rtlCol="0" anchor="ctr"/>
          <a:lstStyle>
            <a:lvl1pPr algn="r">
              <a:defRPr sz="1200">
                <a:solidFill>
                  <a:schemeClr val="bg1"/>
                </a:solidFill>
                <a:latin typeface="Arial" charset="0"/>
              </a:defRPr>
            </a:lvl1pPr>
          </a:lstStyle>
          <a:p>
            <a:pPr>
              <a:defRPr/>
            </a:pPr>
            <a:fld id="{386C1D7C-65E4-4CEE-A722-501C9AF97CFF}" type="slidenum">
              <a:rPr lang="en-US"/>
              <a:pPr>
                <a:defRPr/>
              </a:pPr>
              <a:t>‹#›</a:t>
            </a:fld>
            <a:endParaRPr lang="en-US" dirty="0"/>
          </a:p>
        </p:txBody>
      </p:sp>
      <p:sp>
        <p:nvSpPr>
          <p:cNvPr id="12" name="Text Box 28"/>
          <p:cNvSpPr txBox="1">
            <a:spLocks noChangeArrowheads="1"/>
          </p:cNvSpPr>
          <p:nvPr userDrawn="1"/>
        </p:nvSpPr>
        <p:spPr bwMode="auto">
          <a:xfrm>
            <a:off x="6559084" y="6368676"/>
            <a:ext cx="2501900"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defRPr/>
            </a:pPr>
            <a:r>
              <a:rPr lang="en-US" sz="1000" dirty="0">
                <a:solidFill>
                  <a:srgbClr val="781E07"/>
                </a:solidFill>
                <a:latin typeface="Trebuchet MS" pitchFamily="34" charset="0"/>
              </a:rPr>
              <a:t>INDUSTRIAL ECONOMICS, INCORPORATED</a:t>
            </a:r>
          </a:p>
        </p:txBody>
      </p:sp>
      <p:pic>
        <p:nvPicPr>
          <p:cNvPr id="11" name="Picture 10"/>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109233" y="110817"/>
            <a:ext cx="951751" cy="692518"/>
          </a:xfrm>
          <a:prstGeom prst="rect">
            <a:avLst/>
          </a:prstGeom>
        </p:spPr>
      </p:pic>
    </p:spTree>
    <p:extLst>
      <p:ext uri="{BB962C8B-B14F-4D97-AF65-F5344CB8AC3E}">
        <p14:creationId xmlns:p14="http://schemas.microsoft.com/office/powerpoint/2010/main" val="537050459"/>
      </p:ext>
    </p:extLst>
  </p:cSld>
  <p:clrMap bg1="lt1" tx1="dk1" bg2="lt2" tx2="dk2" accent1="accent1" accent2="accent2" accent3="accent3" accent4="accent4" accent5="accent5" accent6="accent6" hlink="hlink" folHlink="folHlink"/>
  <p:sldLayoutIdLst>
    <p:sldLayoutId id="2147484099" r:id="rId1"/>
    <p:sldLayoutId id="2147484100" r:id="rId2"/>
    <p:sldLayoutId id="2147484101" r:id="rId3"/>
    <p:sldLayoutId id="2147484102" r:id="rId4"/>
    <p:sldLayoutId id="2147484103" r:id="rId5"/>
    <p:sldLayoutId id="2147484104" r:id="rId6"/>
    <p:sldLayoutId id="2147484105" r:id="rId7"/>
    <p:sldLayoutId id="2147484106" r:id="rId8"/>
    <p:sldLayoutId id="2147484107" r:id="rId9"/>
    <p:sldLayoutId id="2147484108" r:id="rId10"/>
    <p:sldLayoutId id="2147484109" r:id="rId11"/>
    <p:sldLayoutId id="2147484110" r:id="rId12"/>
  </p:sldLayoutIdLst>
  <p:txStyles>
    <p:titleStyle>
      <a:lvl1pPr algn="l" rtl="0" eaLnBrk="1" fontAlgn="base" hangingPunct="1">
        <a:spcBef>
          <a:spcPct val="0"/>
        </a:spcBef>
        <a:spcAft>
          <a:spcPct val="0"/>
        </a:spcAft>
        <a:defRPr sz="3600" kern="1200">
          <a:solidFill>
            <a:schemeClr val="bg1"/>
          </a:solidFill>
          <a:latin typeface="+mj-lt"/>
          <a:ea typeface="+mj-ea"/>
          <a:cs typeface="+mj-cs"/>
        </a:defRPr>
      </a:lvl1pPr>
      <a:lvl2pPr algn="l" rtl="0" eaLnBrk="1" fontAlgn="base" hangingPunct="1">
        <a:spcBef>
          <a:spcPct val="0"/>
        </a:spcBef>
        <a:spcAft>
          <a:spcPct val="0"/>
        </a:spcAft>
        <a:defRPr sz="3600">
          <a:solidFill>
            <a:srgbClr val="F2F2F2"/>
          </a:solidFill>
          <a:latin typeface="Calibri" pitchFamily="34" charset="0"/>
        </a:defRPr>
      </a:lvl2pPr>
      <a:lvl3pPr algn="l" rtl="0" eaLnBrk="1" fontAlgn="base" hangingPunct="1">
        <a:spcBef>
          <a:spcPct val="0"/>
        </a:spcBef>
        <a:spcAft>
          <a:spcPct val="0"/>
        </a:spcAft>
        <a:defRPr sz="3600">
          <a:solidFill>
            <a:srgbClr val="F2F2F2"/>
          </a:solidFill>
          <a:latin typeface="Calibri" pitchFamily="34" charset="0"/>
        </a:defRPr>
      </a:lvl3pPr>
      <a:lvl4pPr algn="l" rtl="0" eaLnBrk="1" fontAlgn="base" hangingPunct="1">
        <a:spcBef>
          <a:spcPct val="0"/>
        </a:spcBef>
        <a:spcAft>
          <a:spcPct val="0"/>
        </a:spcAft>
        <a:defRPr sz="3600">
          <a:solidFill>
            <a:srgbClr val="F2F2F2"/>
          </a:solidFill>
          <a:latin typeface="Calibri" pitchFamily="34" charset="0"/>
        </a:defRPr>
      </a:lvl4pPr>
      <a:lvl5pPr algn="l" rtl="0" eaLnBrk="1" fontAlgn="base" hangingPunct="1">
        <a:spcBef>
          <a:spcPct val="0"/>
        </a:spcBef>
        <a:spcAft>
          <a:spcPct val="0"/>
        </a:spcAft>
        <a:defRPr sz="3600">
          <a:solidFill>
            <a:srgbClr val="F2F2F2"/>
          </a:solidFill>
          <a:latin typeface="Calibri" pitchFamily="34" charset="0"/>
        </a:defRPr>
      </a:lvl5pPr>
      <a:lvl6pPr marL="457200" algn="l" rtl="0" eaLnBrk="1" fontAlgn="base" hangingPunct="1">
        <a:spcBef>
          <a:spcPct val="0"/>
        </a:spcBef>
        <a:spcAft>
          <a:spcPct val="0"/>
        </a:spcAft>
        <a:defRPr sz="4400">
          <a:solidFill>
            <a:srgbClr val="F2F2F2"/>
          </a:solidFill>
          <a:latin typeface="Calibri" pitchFamily="34" charset="0"/>
        </a:defRPr>
      </a:lvl6pPr>
      <a:lvl7pPr marL="914400" algn="l" rtl="0" eaLnBrk="1" fontAlgn="base" hangingPunct="1">
        <a:spcBef>
          <a:spcPct val="0"/>
        </a:spcBef>
        <a:spcAft>
          <a:spcPct val="0"/>
        </a:spcAft>
        <a:defRPr sz="4400">
          <a:solidFill>
            <a:srgbClr val="F2F2F2"/>
          </a:solidFill>
          <a:latin typeface="Calibri" pitchFamily="34" charset="0"/>
        </a:defRPr>
      </a:lvl7pPr>
      <a:lvl8pPr marL="1371600" algn="l" rtl="0" eaLnBrk="1" fontAlgn="base" hangingPunct="1">
        <a:spcBef>
          <a:spcPct val="0"/>
        </a:spcBef>
        <a:spcAft>
          <a:spcPct val="0"/>
        </a:spcAft>
        <a:defRPr sz="4400">
          <a:solidFill>
            <a:srgbClr val="F2F2F2"/>
          </a:solidFill>
          <a:latin typeface="Calibri" pitchFamily="34" charset="0"/>
        </a:defRPr>
      </a:lvl8pPr>
      <a:lvl9pPr marL="1828800" algn="l" rtl="0" eaLnBrk="1" fontAlgn="base" hangingPunct="1">
        <a:spcBef>
          <a:spcPct val="0"/>
        </a:spcBef>
        <a:spcAft>
          <a:spcPct val="0"/>
        </a:spcAft>
        <a:defRPr sz="4400">
          <a:solidFill>
            <a:srgbClr val="F2F2F2"/>
          </a:solidFill>
          <a:latin typeface="Calibri" pitchFamily="34" charset="0"/>
        </a:defRPr>
      </a:lvl9pPr>
    </p:titleStyle>
    <p:bodyStyle>
      <a:lvl1pPr marL="342900" indent="-342900" algn="l" rtl="0" eaLnBrk="1" fontAlgn="base" hangingPunct="1">
        <a:spcBef>
          <a:spcPct val="20000"/>
        </a:spcBef>
        <a:spcAft>
          <a:spcPct val="0"/>
        </a:spcAft>
        <a:buFont typeface="Arial" pitchFamily="34" charset="0"/>
        <a:buChar char="•"/>
        <a:defRPr sz="2800" kern="1200">
          <a:solidFill>
            <a:schemeClr val="tx1">
              <a:lumMod val="75000"/>
              <a:lumOff val="25000"/>
            </a:schemeClr>
          </a:solidFill>
          <a:latin typeface="+mn-lt"/>
          <a:ea typeface="+mn-ea"/>
          <a:cs typeface="+mn-cs"/>
        </a:defRPr>
      </a:lvl1pPr>
      <a:lvl2pPr marL="742950" indent="-285750" algn="l" rtl="0" eaLnBrk="1" fontAlgn="base" hangingPunct="1">
        <a:spcBef>
          <a:spcPct val="20000"/>
        </a:spcBef>
        <a:spcAft>
          <a:spcPct val="0"/>
        </a:spcAft>
        <a:buFont typeface="Arial" pitchFamily="34" charset="0"/>
        <a:buChar char="–"/>
        <a:defRPr sz="2400" kern="1200">
          <a:solidFill>
            <a:schemeClr val="tx1">
              <a:lumMod val="75000"/>
              <a:lumOff val="25000"/>
            </a:schemeClr>
          </a:solidFill>
          <a:latin typeface="+mn-lt"/>
          <a:ea typeface="+mn-ea"/>
          <a:cs typeface="+mn-cs"/>
        </a:defRPr>
      </a:lvl2pPr>
      <a:lvl3pPr marL="1143000" indent="-228600" algn="l" rtl="0" eaLnBrk="1" fontAlgn="base" hangingPunct="1">
        <a:spcBef>
          <a:spcPct val="20000"/>
        </a:spcBef>
        <a:spcAft>
          <a:spcPct val="0"/>
        </a:spcAft>
        <a:buFont typeface="Arial" pitchFamily="34" charset="0"/>
        <a:buChar char="•"/>
        <a:defRPr sz="2000" kern="1200">
          <a:solidFill>
            <a:schemeClr val="tx1">
              <a:lumMod val="75000"/>
              <a:lumOff val="25000"/>
            </a:schemeClr>
          </a:solidFill>
          <a:latin typeface="+mn-lt"/>
          <a:ea typeface="+mn-ea"/>
          <a:cs typeface="+mn-cs"/>
        </a:defRPr>
      </a:lvl3pPr>
      <a:lvl4pPr marL="16002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4pPr>
      <a:lvl5pPr marL="20574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alpha val="1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4"/>
            </p:custDataLst>
            <p:extLst>
              <p:ext uri="{D42A27DB-BD31-4B8C-83A1-F6EECF244321}">
                <p14:modId xmlns:p14="http://schemas.microsoft.com/office/powerpoint/2010/main" val="1195145803"/>
              </p:ext>
            </p:ext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spid="_x0000_s1029" name="think-cell Slide" r:id="rId15" imgW="360" imgH="360" progId="TCLayout.ActiveDocument.1">
                  <p:embed/>
                </p:oleObj>
              </mc:Choice>
              <mc:Fallback>
                <p:oleObj name="think-cell Slide" r:id="rId15" imgW="360" imgH="36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467" y="1591"/>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Bild 3"/>
          <p:cNvPicPr>
            <a:picLocks noChangeAspect="1"/>
          </p:cNvPicPr>
          <p:nvPr/>
        </p:nvPicPr>
        <p:blipFill>
          <a:blip r:embed="rId17">
            <a:extLst>
              <a:ext uri="{28A0092B-C50C-407E-A947-70E740481C1C}">
                <a14:useLocalDpi xmlns:a14="http://schemas.microsoft.com/office/drawing/2010/main"/>
              </a:ext>
            </a:extLst>
          </a:blip>
          <a:stretch>
            <a:fillRect/>
          </a:stretch>
        </p:blipFill>
        <p:spPr>
          <a:xfrm>
            <a:off x="-13794" y="-7905"/>
            <a:ext cx="9157793" cy="6863465"/>
          </a:xfrm>
          <a:prstGeom prst="rect">
            <a:avLst/>
          </a:prstGeom>
        </p:spPr>
      </p:pic>
      <p:sp>
        <p:nvSpPr>
          <p:cNvPr id="100354" name="Rectangle 2"/>
          <p:cNvSpPr>
            <a:spLocks noGrp="1" noChangeArrowheads="1"/>
          </p:cNvSpPr>
          <p:nvPr>
            <p:ph type="body" idx="1"/>
          </p:nvPr>
        </p:nvSpPr>
        <p:spPr bwMode="gray">
          <a:xfrm>
            <a:off x="450928" y="1628800"/>
            <a:ext cx="8308615" cy="492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GB" noProof="0" dirty="0"/>
              <a:t>Edit </a:t>
            </a:r>
            <a:r>
              <a:rPr lang="en-GB" noProof="0" dirty="0" err="1"/>
              <a:t>Mastertextformat</a:t>
            </a:r>
            <a:endParaRPr lang="en-GB" noProof="0" dirty="0"/>
          </a:p>
          <a:p>
            <a:pPr lvl="1"/>
            <a:r>
              <a:rPr lang="en-GB" noProof="0" dirty="0"/>
              <a:t>Second Layer</a:t>
            </a:r>
          </a:p>
          <a:p>
            <a:pPr lvl="2"/>
            <a:r>
              <a:rPr lang="en-GB" noProof="0" dirty="0"/>
              <a:t>Third Layer</a:t>
            </a:r>
          </a:p>
          <a:p>
            <a:pPr lvl="3"/>
            <a:r>
              <a:rPr lang="en-GB" noProof="0" dirty="0"/>
              <a:t>Fourth Layer</a:t>
            </a:r>
          </a:p>
          <a:p>
            <a:pPr lvl="4"/>
            <a:r>
              <a:rPr lang="en-GB" noProof="0" dirty="0"/>
              <a:t>Fifth Layer</a:t>
            </a:r>
          </a:p>
        </p:txBody>
      </p:sp>
      <p:sp>
        <p:nvSpPr>
          <p:cNvPr id="100357" name="Rectangle 5"/>
          <p:cNvSpPr>
            <a:spLocks noGrp="1" noChangeArrowheads="1"/>
          </p:cNvSpPr>
          <p:nvPr>
            <p:ph type="sldNum" sz="quarter" idx="4"/>
          </p:nvPr>
        </p:nvSpPr>
        <p:spPr bwMode="gray">
          <a:xfrm>
            <a:off x="8427199" y="6553200"/>
            <a:ext cx="517397"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1200" b="1" i="0">
                <a:solidFill>
                  <a:srgbClr val="2260A8"/>
                </a:solidFill>
                <a:latin typeface="Calibri"/>
                <a:cs typeface="Calibri"/>
              </a:defRPr>
            </a:lvl1pPr>
          </a:lstStyle>
          <a:p>
            <a:pPr>
              <a:defRPr/>
            </a:pPr>
            <a:fld id="{61887E8A-04EC-0A44-89DA-36113A2E7601}" type="slidenum">
              <a:rPr lang="de-DE" smtClean="0">
                <a:ea typeface="ＭＳ Ｐゴシック" charset="0"/>
              </a:rPr>
              <a:pPr>
                <a:defRPr/>
              </a:pPr>
              <a:t>‹#›</a:t>
            </a:fld>
            <a:endParaRPr lang="de-DE" dirty="0">
              <a:ea typeface="ＭＳ Ｐゴシック" charset="0"/>
            </a:endParaRPr>
          </a:p>
        </p:txBody>
      </p:sp>
      <p:sp>
        <p:nvSpPr>
          <p:cNvPr id="1028" name="Rectangle 6"/>
          <p:cNvSpPr>
            <a:spLocks noGrp="1" noChangeArrowheads="1"/>
          </p:cNvSpPr>
          <p:nvPr>
            <p:ph type="title"/>
          </p:nvPr>
        </p:nvSpPr>
        <p:spPr bwMode="gray">
          <a:xfrm>
            <a:off x="456932" y="188640"/>
            <a:ext cx="7039701"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b" anchorCtr="0" compatLnSpc="1">
            <a:prstTxWarp prst="textNoShape">
              <a:avLst/>
            </a:prstTxWarp>
          </a:bodyPr>
          <a:lstStyle/>
          <a:p>
            <a:pPr lvl="0"/>
            <a:r>
              <a:rPr lang="en-GB" dirty="0"/>
              <a:t>Edit </a:t>
            </a:r>
            <a:r>
              <a:rPr lang="en-GB" dirty="0" err="1"/>
              <a:t>Mastertitle</a:t>
            </a:r>
            <a:endParaRPr lang="en-GB" dirty="0"/>
          </a:p>
        </p:txBody>
      </p:sp>
      <p:sp>
        <p:nvSpPr>
          <p:cNvPr id="13" name="Rectangle 4"/>
          <p:cNvSpPr>
            <a:spLocks noGrp="1" noChangeArrowheads="1"/>
          </p:cNvSpPr>
          <p:nvPr>
            <p:ph type="dt" sz="half" idx="2"/>
          </p:nvPr>
        </p:nvSpPr>
        <p:spPr bwMode="gray">
          <a:xfrm>
            <a:off x="4845798" y="6553200"/>
            <a:ext cx="3581400"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 xmlns:ma14="http://schemas.microsoft.com/office/mac/drawingml/2011/main" val="1"/>
            </a:ext>
          </a:extLst>
        </p:spPr>
        <p:txBody>
          <a:bodyPr vert="horz" wrap="none" lIns="0" tIns="45720" rIns="0" bIns="45720" numCol="1" anchor="ctr" anchorCtr="0" compatLnSpc="1">
            <a:prstTxWarp prst="textNoShape">
              <a:avLst/>
            </a:prstTxWarp>
          </a:bodyPr>
          <a:lstStyle>
            <a:lvl1pPr algn="r">
              <a:spcBef>
                <a:spcPct val="50000"/>
              </a:spcBef>
              <a:buClrTx/>
              <a:defRPr sz="900" b="0" i="0">
                <a:solidFill>
                  <a:srgbClr val="505150"/>
                </a:solidFill>
                <a:latin typeface="Calibri" charset="0"/>
                <a:cs typeface="Calibri" charset="0"/>
              </a:defRPr>
            </a:lvl1pPr>
          </a:lstStyle>
          <a:p>
            <a:pPr>
              <a:defRPr/>
            </a:pPr>
            <a:r>
              <a:rPr lang="en-US">
                <a:ea typeface="ＭＳ Ｐゴシック" charset="0"/>
              </a:rPr>
              <a:t>IWaSP Saint Lucia, Jour Fixe 09/07/2018</a:t>
            </a:r>
            <a:endParaRPr lang="de-DE" dirty="0">
              <a:ea typeface="ＭＳ Ｐゴシック" charset="0"/>
            </a:endParaRPr>
          </a:p>
        </p:txBody>
      </p:sp>
      <p:sp>
        <p:nvSpPr>
          <p:cNvPr id="15" name="Oval 14"/>
          <p:cNvSpPr/>
          <p:nvPr/>
        </p:nvSpPr>
        <p:spPr bwMode="auto">
          <a:xfrm>
            <a:off x="7496633" y="-387424"/>
            <a:ext cx="1861130" cy="2016224"/>
          </a:xfrm>
          <a:prstGeom prst="ellipse">
            <a:avLst/>
          </a:prstGeom>
          <a:solidFill>
            <a:schemeClr val="bg1"/>
          </a:solidFill>
          <a:ln w="6350" cap="flat" cmpd="sng" algn="ctr">
            <a:noFill/>
            <a:prstDash val="solid"/>
            <a:round/>
            <a:headEnd type="none" w="med" len="med"/>
            <a:tailEnd type="none" w="med" len="med"/>
          </a:ln>
          <a:effectLst/>
          <a:extLst/>
        </p:spPr>
        <p:txBody>
          <a:bodyPr vert="horz" wrap="none" lIns="90000" tIns="46800" rIns="90000" bIns="46800" numCol="1" rtlCol="0" anchor="ctr" anchorCtr="0" compatLnSpc="1">
            <a:prstTxWarp prst="textNoShape">
              <a:avLst/>
            </a:prstTxWarp>
          </a:bodyPr>
          <a:lstStyle/>
          <a:p>
            <a:pPr algn="ctr">
              <a:buClr>
                <a:srgbClr val="444D54"/>
              </a:buClr>
            </a:pPr>
            <a:endParaRPr lang="de-DE" sz="1800" dirty="0">
              <a:solidFill>
                <a:srgbClr val="021631"/>
              </a:solidFill>
              <a:latin typeface="Arial" charset="0"/>
              <a:ea typeface="ＭＳ Ｐゴシック" charset="0"/>
            </a:endParaRPr>
          </a:p>
        </p:txBody>
      </p:sp>
      <p:pic>
        <p:nvPicPr>
          <p:cNvPr id="16" name="Bild 15"/>
          <p:cNvPicPr>
            <a:picLocks noChangeAspect="1"/>
          </p:cNvPicPr>
          <p:nvPr/>
        </p:nvPicPr>
        <p:blipFill>
          <a:blip r:embed="rId18">
            <a:extLst>
              <a:ext uri="{28A0092B-C50C-407E-A947-70E740481C1C}">
                <a14:useLocalDpi xmlns:a14="http://schemas.microsoft.com/office/drawing/2010/main"/>
              </a:ext>
            </a:extLst>
          </a:blip>
          <a:stretch>
            <a:fillRect/>
          </a:stretch>
        </p:blipFill>
        <p:spPr>
          <a:xfrm>
            <a:off x="7696039" y="188640"/>
            <a:ext cx="1262910" cy="824400"/>
          </a:xfrm>
          <a:prstGeom prst="rect">
            <a:avLst/>
          </a:prstGeom>
        </p:spPr>
      </p:pic>
    </p:spTree>
    <p:extLst>
      <p:ext uri="{BB962C8B-B14F-4D97-AF65-F5344CB8AC3E}">
        <p14:creationId xmlns:p14="http://schemas.microsoft.com/office/powerpoint/2010/main" val="120492516"/>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Lst>
  <p:transition/>
  <p:hf hdr="0" ftr="0"/>
  <p:txStyles>
    <p:titleStyle>
      <a:lvl1pPr algn="l" rtl="0" eaLnBrk="1" fontAlgn="base" hangingPunct="1">
        <a:lnSpc>
          <a:spcPct val="90000"/>
        </a:lnSpc>
        <a:spcBef>
          <a:spcPct val="0"/>
        </a:spcBef>
        <a:spcAft>
          <a:spcPct val="0"/>
        </a:spcAft>
        <a:defRPr kumimoji="1" sz="2800" b="1">
          <a:solidFill>
            <a:srgbClr val="2260A8"/>
          </a:solidFill>
          <a:latin typeface="Calibri"/>
          <a:ea typeface="ＭＳ Ｐゴシック" charset="0"/>
          <a:cs typeface="ＭＳ Ｐゴシック" charset="0"/>
        </a:defRPr>
      </a:lvl1pPr>
      <a:lvl2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2pPr>
      <a:lvl3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3pPr>
      <a:lvl4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4pPr>
      <a:lvl5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5pPr>
      <a:lvl6pPr marL="457200" algn="l" rtl="0" eaLnBrk="1" fontAlgn="base" hangingPunct="1">
        <a:spcBef>
          <a:spcPct val="0"/>
        </a:spcBef>
        <a:spcAft>
          <a:spcPct val="0"/>
        </a:spcAft>
        <a:defRPr kumimoji="1" sz="2800" b="1">
          <a:solidFill>
            <a:srgbClr val="FFFFFF"/>
          </a:solidFill>
          <a:latin typeface="Arial" charset="0"/>
          <a:ea typeface="ＭＳ Ｐゴシック" charset="0"/>
        </a:defRPr>
      </a:lvl6pPr>
      <a:lvl7pPr marL="914400" algn="l" rtl="0" eaLnBrk="1" fontAlgn="base" hangingPunct="1">
        <a:spcBef>
          <a:spcPct val="0"/>
        </a:spcBef>
        <a:spcAft>
          <a:spcPct val="0"/>
        </a:spcAft>
        <a:defRPr kumimoji="1" sz="2800" b="1">
          <a:solidFill>
            <a:srgbClr val="FFFFFF"/>
          </a:solidFill>
          <a:latin typeface="Arial" charset="0"/>
          <a:ea typeface="ＭＳ Ｐゴシック" charset="0"/>
        </a:defRPr>
      </a:lvl7pPr>
      <a:lvl8pPr marL="1371600" algn="l" rtl="0" eaLnBrk="1" fontAlgn="base" hangingPunct="1">
        <a:spcBef>
          <a:spcPct val="0"/>
        </a:spcBef>
        <a:spcAft>
          <a:spcPct val="0"/>
        </a:spcAft>
        <a:defRPr kumimoji="1" sz="2800" b="1">
          <a:solidFill>
            <a:srgbClr val="FFFFFF"/>
          </a:solidFill>
          <a:latin typeface="Arial" charset="0"/>
          <a:ea typeface="ＭＳ Ｐゴシック" charset="0"/>
        </a:defRPr>
      </a:lvl8pPr>
      <a:lvl9pPr marL="1828800" algn="l" rtl="0" eaLnBrk="1" fontAlgn="base" hangingPunct="1">
        <a:spcBef>
          <a:spcPct val="0"/>
        </a:spcBef>
        <a:spcAft>
          <a:spcPct val="0"/>
        </a:spcAft>
        <a:defRPr kumimoji="1" sz="2800" b="1">
          <a:solidFill>
            <a:srgbClr val="FFFFFF"/>
          </a:solidFill>
          <a:latin typeface="Arial" charset="0"/>
          <a:ea typeface="ＭＳ Ｐゴシック" charset="0"/>
        </a:defRPr>
      </a:lvl9pPr>
    </p:titleStyle>
    <p:bodyStyle>
      <a:lvl1pPr marL="342900" indent="-342900" algn="l" defTabSz="895350" rtl="0" eaLnBrk="1" fontAlgn="base" hangingPunct="1">
        <a:spcBef>
          <a:spcPct val="30000"/>
        </a:spcBef>
        <a:spcAft>
          <a:spcPct val="0"/>
        </a:spcAft>
        <a:buClr>
          <a:schemeClr val="accent2"/>
        </a:buClr>
        <a:defRPr kumimoji="1" sz="2400" b="1" i="0">
          <a:solidFill>
            <a:srgbClr val="444D54"/>
          </a:solidFill>
          <a:latin typeface="Cambria"/>
          <a:ea typeface="ＭＳ Ｐゴシック" charset="0"/>
          <a:cs typeface="Cambria"/>
        </a:defRPr>
      </a:lvl1pPr>
      <a:lvl2pPr marL="742950" indent="-733425" algn="l" defTabSz="895350" rtl="0" eaLnBrk="1" fontAlgn="base" hangingPunct="1">
        <a:spcBef>
          <a:spcPct val="30000"/>
        </a:spcBef>
        <a:spcAft>
          <a:spcPct val="0"/>
        </a:spcAft>
        <a:buClr>
          <a:srgbClr val="FFFFFF"/>
        </a:buClr>
        <a:defRPr kumimoji="1">
          <a:solidFill>
            <a:srgbClr val="444D54"/>
          </a:solidFill>
          <a:latin typeface="Cambria"/>
          <a:ea typeface="ＭＳ Ｐゴシック" charset="0"/>
          <a:cs typeface="Cambria"/>
        </a:defRPr>
      </a:lvl2pPr>
      <a:lvl3pPr marL="529200" indent="-279400" algn="l" defTabSz="895350" rtl="0" eaLnBrk="1" fontAlgn="base" hangingPunct="1">
        <a:spcBef>
          <a:spcPct val="30000"/>
        </a:spcBef>
        <a:spcAft>
          <a:spcPct val="0"/>
        </a:spcAft>
        <a:buClr>
          <a:srgbClr val="082957"/>
        </a:buClr>
        <a:buSzPct val="100000"/>
        <a:buFont typeface="Arial" charset="0"/>
        <a:buChar char="•"/>
        <a:defRPr kumimoji="1">
          <a:solidFill>
            <a:srgbClr val="444D54"/>
          </a:solidFill>
          <a:latin typeface="Cambria"/>
          <a:ea typeface="ＭＳ Ｐゴシック" charset="0"/>
          <a:cs typeface="Cambria"/>
        </a:defRPr>
      </a:lvl3pPr>
      <a:lvl4pPr marL="828000" indent="-280800" algn="l" defTabSz="895350" rtl="0" eaLnBrk="1" fontAlgn="base" hangingPunct="1">
        <a:spcBef>
          <a:spcPct val="30000"/>
        </a:spcBef>
        <a:spcAft>
          <a:spcPct val="0"/>
        </a:spcAft>
        <a:buClr>
          <a:srgbClr val="082957"/>
        </a:buClr>
        <a:buChar char="–"/>
        <a:defRPr kumimoji="1">
          <a:solidFill>
            <a:srgbClr val="444D54"/>
          </a:solidFill>
          <a:latin typeface="Cambria"/>
          <a:ea typeface="ＭＳ Ｐゴシック" charset="0"/>
          <a:cs typeface="Cambria"/>
        </a:defRPr>
      </a:lvl4pPr>
      <a:lvl5pPr marL="1116000" indent="-282575" algn="l" defTabSz="895350" rtl="0" eaLnBrk="1" fontAlgn="base" hangingPunct="1">
        <a:spcBef>
          <a:spcPct val="30000"/>
        </a:spcBef>
        <a:spcAft>
          <a:spcPct val="0"/>
        </a:spcAft>
        <a:buClr>
          <a:srgbClr val="082957"/>
        </a:buClr>
        <a:buSzPct val="100000"/>
        <a:buFont typeface="Arial" charset="0"/>
        <a:buChar char="•"/>
        <a:defRPr kumimoji="1">
          <a:solidFill>
            <a:srgbClr val="444D54"/>
          </a:solidFill>
          <a:latin typeface="Cambria"/>
          <a:ea typeface="ＭＳ Ｐゴシック" charset="0"/>
          <a:cs typeface="Cambria"/>
        </a:defRPr>
      </a:lvl5pPr>
      <a:lvl6pPr marL="2170113" indent="-282575" algn="l" defTabSz="895350" rtl="0" eaLnBrk="1" fontAlgn="base" hangingPunct="1">
        <a:spcBef>
          <a:spcPct val="30000"/>
        </a:spcBef>
        <a:spcAft>
          <a:spcPct val="0"/>
        </a:spcAft>
        <a:buClr>
          <a:srgbClr val="8C8C8C"/>
        </a:buClr>
        <a:buSzPct val="100000"/>
        <a:buFont typeface="Webdings" charset="0"/>
        <a:buChar char="4"/>
        <a:defRPr kumimoji="1">
          <a:solidFill>
            <a:srgbClr val="2B5999"/>
          </a:solidFill>
          <a:latin typeface="+mn-lt"/>
          <a:ea typeface="+mn-ea"/>
        </a:defRPr>
      </a:lvl6pPr>
      <a:lvl7pPr marL="2627313" indent="-282575" algn="l" defTabSz="895350" rtl="0" eaLnBrk="1" fontAlgn="base" hangingPunct="1">
        <a:spcBef>
          <a:spcPct val="30000"/>
        </a:spcBef>
        <a:spcAft>
          <a:spcPct val="0"/>
        </a:spcAft>
        <a:buClr>
          <a:srgbClr val="8C8C8C"/>
        </a:buClr>
        <a:buSzPct val="100000"/>
        <a:buFont typeface="Webdings" charset="0"/>
        <a:buChar char="4"/>
        <a:defRPr kumimoji="1">
          <a:solidFill>
            <a:srgbClr val="2B5999"/>
          </a:solidFill>
          <a:latin typeface="+mn-lt"/>
          <a:ea typeface="+mn-ea"/>
        </a:defRPr>
      </a:lvl7pPr>
      <a:lvl8pPr marL="3084513" indent="-282575" algn="l" defTabSz="895350" rtl="0" eaLnBrk="1" fontAlgn="base" hangingPunct="1">
        <a:spcBef>
          <a:spcPct val="30000"/>
        </a:spcBef>
        <a:spcAft>
          <a:spcPct val="0"/>
        </a:spcAft>
        <a:buClr>
          <a:srgbClr val="8C8C8C"/>
        </a:buClr>
        <a:buSzPct val="100000"/>
        <a:buFont typeface="Webdings" charset="0"/>
        <a:buChar char="4"/>
        <a:defRPr kumimoji="1">
          <a:solidFill>
            <a:srgbClr val="2B5999"/>
          </a:solidFill>
          <a:latin typeface="+mn-lt"/>
          <a:ea typeface="+mn-ea"/>
        </a:defRPr>
      </a:lvl8pPr>
      <a:lvl9pPr marL="3541713" indent="-282575" algn="l" defTabSz="895350" rtl="0" eaLnBrk="1" fontAlgn="base" hangingPunct="1">
        <a:spcBef>
          <a:spcPct val="30000"/>
        </a:spcBef>
        <a:spcAft>
          <a:spcPct val="0"/>
        </a:spcAft>
        <a:buClr>
          <a:srgbClr val="8C8C8C"/>
        </a:buClr>
        <a:buSzPct val="100000"/>
        <a:buFont typeface="Webdings" charset="0"/>
        <a:buChar char="4"/>
        <a:defRPr kumimoji="1">
          <a:solidFill>
            <a:srgbClr val="2B5999"/>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image" Target="../media/image120.png"/></Relationships>
</file>

<file path=ppt/slides/_rels/slide11.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image" Target="../media/image121.png"/></Relationships>
</file>

<file path=ppt/slides/_rels/slide12.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109.png"/><Relationship Id="rId7" Type="http://schemas.openxmlformats.org/officeDocument/2006/relationships/diagramColors" Target="../diagrams/colors2.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13.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109.png"/><Relationship Id="rId7" Type="http://schemas.openxmlformats.org/officeDocument/2006/relationships/diagramColors" Target="../diagrams/colors3.xml"/><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14.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34.xml"/><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26" Type="http://schemas.openxmlformats.org/officeDocument/2006/relationships/image" Target="../media/image32.jpeg"/><Relationship Id="rId117" Type="http://schemas.openxmlformats.org/officeDocument/2006/relationships/image" Target="../media/image106.jpeg"/><Relationship Id="rId21" Type="http://schemas.openxmlformats.org/officeDocument/2006/relationships/image" Target="../media/image27.png"/><Relationship Id="rId42" Type="http://schemas.openxmlformats.org/officeDocument/2006/relationships/hyperlink" Target="http://breedegouritzcma.co.za/index.php" TargetMode="External"/><Relationship Id="rId47" Type="http://schemas.openxmlformats.org/officeDocument/2006/relationships/image" Target="../media/image46.png"/><Relationship Id="rId63" Type="http://schemas.openxmlformats.org/officeDocument/2006/relationships/image" Target="../media/image62.jpeg"/><Relationship Id="rId68" Type="http://schemas.openxmlformats.org/officeDocument/2006/relationships/image" Target="../media/image66.png"/><Relationship Id="rId84" Type="http://schemas.openxmlformats.org/officeDocument/2006/relationships/image" Target="../media/image76.png"/><Relationship Id="rId89" Type="http://schemas.openxmlformats.org/officeDocument/2006/relationships/image" Target="../media/image81.jpeg"/><Relationship Id="rId112" Type="http://schemas.openxmlformats.org/officeDocument/2006/relationships/image" Target="../media/image101.png"/><Relationship Id="rId16" Type="http://schemas.openxmlformats.org/officeDocument/2006/relationships/image" Target="../media/image24.png"/><Relationship Id="rId107" Type="http://schemas.openxmlformats.org/officeDocument/2006/relationships/hyperlink" Target="http://www.tesco.com/" TargetMode="External"/><Relationship Id="rId11" Type="http://schemas.openxmlformats.org/officeDocument/2006/relationships/image" Target="../media/image19.png"/><Relationship Id="rId24" Type="http://schemas.openxmlformats.org/officeDocument/2006/relationships/image" Target="../media/image30.png"/><Relationship Id="rId32" Type="http://schemas.openxmlformats.org/officeDocument/2006/relationships/image" Target="../media/image36.jpeg"/><Relationship Id="rId37" Type="http://schemas.openxmlformats.org/officeDocument/2006/relationships/image" Target="../media/image39.png"/><Relationship Id="rId40" Type="http://schemas.openxmlformats.org/officeDocument/2006/relationships/hyperlink" Target="https://www.environment.gov.za/" TargetMode="External"/><Relationship Id="rId45" Type="http://schemas.openxmlformats.org/officeDocument/2006/relationships/image" Target="../media/image44.png"/><Relationship Id="rId53" Type="http://schemas.openxmlformats.org/officeDocument/2006/relationships/image" Target="../media/image52.gif"/><Relationship Id="rId58" Type="http://schemas.openxmlformats.org/officeDocument/2006/relationships/image" Target="../media/image57.jpeg"/><Relationship Id="rId66" Type="http://schemas.openxmlformats.org/officeDocument/2006/relationships/hyperlink" Target="http://www.google.de/url?sa=i&amp;rct=j&amp;q=&amp;esrc=s&amp;source=imgres&amp;cd=&amp;cad=rja&amp;uact=8&amp;ved=0ahUKEwjnq66JgLXSAhULkRQKHQGJA7sQjRwIBw&amp;url=http://www.safika.co.za/investments&amp;psig=AFQjCNEmbKEJv1MkEVUkBCXYSdoTAO8MPA&amp;ust=1488447202141042" TargetMode="External"/><Relationship Id="rId74" Type="http://schemas.openxmlformats.org/officeDocument/2006/relationships/hyperlink" Target="http://www.google.de/url?sa=i&amp;rct=j&amp;q=&amp;esrc=s&amp;source=imgres&amp;cd=&amp;cad=rja&amp;uact=8&amp;ved=0ahUKEwisoueSgbXSAhVEOhoKHZSzDUgQjRwIBw&amp;url=http://www.enviropaedia.com/company/default.php?pk_company_id%3D529&amp;psig=AFQjCNEuhUd9qdQjM6q-9BIvXY_8WpRnmA&amp;ust=1488447494190431" TargetMode="External"/><Relationship Id="rId79" Type="http://schemas.openxmlformats.org/officeDocument/2006/relationships/hyperlink" Target="http://taha.or.tz/" TargetMode="External"/><Relationship Id="rId87" Type="http://schemas.openxmlformats.org/officeDocument/2006/relationships/image" Target="../media/image79.png"/><Relationship Id="rId102" Type="http://schemas.openxmlformats.org/officeDocument/2006/relationships/image" Target="../media/image94.png"/><Relationship Id="rId110" Type="http://schemas.openxmlformats.org/officeDocument/2006/relationships/image" Target="../media/image99.jpeg"/><Relationship Id="rId115" Type="http://schemas.openxmlformats.org/officeDocument/2006/relationships/image" Target="../media/image104.png"/><Relationship Id="rId5" Type="http://schemas.microsoft.com/office/2007/relationships/hdphoto" Target="../media/hdphoto1.wdp"/><Relationship Id="rId61" Type="http://schemas.openxmlformats.org/officeDocument/2006/relationships/image" Target="../media/image60.jpeg"/><Relationship Id="rId82" Type="http://schemas.openxmlformats.org/officeDocument/2006/relationships/hyperlink" Target="http://www.google.de/url?sa=i&amp;rct=j&amp;q=&amp;esrc=s&amp;source=images&amp;cd=&amp;cad=rja&amp;uact=8&amp;ved=0ahUKEwi-w5y5g7XSAhVLWBoKHYVXAd0QjRwIBw&amp;url=http://www.spiceislandbeachresort.com/imagelibrary/Logo.php&amp;psig=AFQjCNEp2P0rpBqdwNMNcpe8LOpPH7warA&amp;ust=1488448101422029" TargetMode="External"/><Relationship Id="rId90" Type="http://schemas.openxmlformats.org/officeDocument/2006/relationships/image" Target="../media/image82.png"/><Relationship Id="rId95" Type="http://schemas.openxmlformats.org/officeDocument/2006/relationships/image" Target="../media/image87.png"/><Relationship Id="rId19" Type="http://schemas.openxmlformats.org/officeDocument/2006/relationships/image" Target="../media/image26.png"/><Relationship Id="rId14" Type="http://schemas.openxmlformats.org/officeDocument/2006/relationships/image" Target="../media/image22.png"/><Relationship Id="rId22" Type="http://schemas.openxmlformats.org/officeDocument/2006/relationships/image" Target="../media/image28.png"/><Relationship Id="rId27" Type="http://schemas.openxmlformats.org/officeDocument/2006/relationships/image" Target="../media/image33.png"/><Relationship Id="rId30" Type="http://schemas.openxmlformats.org/officeDocument/2006/relationships/hyperlink" Target="http://www.eskom.co.za/" TargetMode="External"/><Relationship Id="rId35" Type="http://schemas.openxmlformats.org/officeDocument/2006/relationships/image" Target="../media/image38.png"/><Relationship Id="rId43" Type="http://schemas.openxmlformats.org/officeDocument/2006/relationships/image" Target="../media/image42.gif"/><Relationship Id="rId48" Type="http://schemas.openxmlformats.org/officeDocument/2006/relationships/image" Target="../media/image47.png"/><Relationship Id="rId56" Type="http://schemas.openxmlformats.org/officeDocument/2006/relationships/image" Target="../media/image55.jpeg"/><Relationship Id="rId64" Type="http://schemas.openxmlformats.org/officeDocument/2006/relationships/image" Target="../media/image63.png"/><Relationship Id="rId69" Type="http://schemas.openxmlformats.org/officeDocument/2006/relationships/hyperlink" Target="http://www.riotinto.com/default.aspx" TargetMode="External"/><Relationship Id="rId77" Type="http://schemas.openxmlformats.org/officeDocument/2006/relationships/image" Target="../media/image71.png"/><Relationship Id="rId100" Type="http://schemas.openxmlformats.org/officeDocument/2006/relationships/image" Target="../media/image92.png"/><Relationship Id="rId105" Type="http://schemas.openxmlformats.org/officeDocument/2006/relationships/hyperlink" Target="http://www.j-sainsbury.co.uk/" TargetMode="External"/><Relationship Id="rId113" Type="http://schemas.openxmlformats.org/officeDocument/2006/relationships/image" Target="../media/image102.png"/><Relationship Id="rId118" Type="http://schemas.openxmlformats.org/officeDocument/2006/relationships/image" Target="../media/image107.png"/><Relationship Id="rId8" Type="http://schemas.openxmlformats.org/officeDocument/2006/relationships/image" Target="../media/image16.jpeg"/><Relationship Id="rId51" Type="http://schemas.openxmlformats.org/officeDocument/2006/relationships/image" Target="../media/image50.png"/><Relationship Id="rId72" Type="http://schemas.openxmlformats.org/officeDocument/2006/relationships/image" Target="../media/image68.png"/><Relationship Id="rId80" Type="http://schemas.openxmlformats.org/officeDocument/2006/relationships/image" Target="../media/image73.png"/><Relationship Id="rId85" Type="http://schemas.openxmlformats.org/officeDocument/2006/relationships/image" Target="../media/image77.jpeg"/><Relationship Id="rId93" Type="http://schemas.openxmlformats.org/officeDocument/2006/relationships/image" Target="../media/image85.png"/><Relationship Id="rId98" Type="http://schemas.openxmlformats.org/officeDocument/2006/relationships/image" Target="../media/image90.png"/><Relationship Id="rId3" Type="http://schemas.openxmlformats.org/officeDocument/2006/relationships/image" Target="../media/image12.png"/><Relationship Id="rId12" Type="http://schemas.openxmlformats.org/officeDocument/2006/relationships/image" Target="../media/image20.jpeg"/><Relationship Id="rId17" Type="http://schemas.openxmlformats.org/officeDocument/2006/relationships/image" Target="../media/image25.jpeg"/><Relationship Id="rId25" Type="http://schemas.openxmlformats.org/officeDocument/2006/relationships/image" Target="../media/image31.jpeg"/><Relationship Id="rId33" Type="http://schemas.openxmlformats.org/officeDocument/2006/relationships/hyperlink" Target="http://www.cocacola.co.za/default.html" TargetMode="External"/><Relationship Id="rId38" Type="http://schemas.openxmlformats.org/officeDocument/2006/relationships/hyperlink" Target="http://www.marksandspencer.com/" TargetMode="External"/><Relationship Id="rId46" Type="http://schemas.openxmlformats.org/officeDocument/2006/relationships/image" Target="../media/image45.jpeg"/><Relationship Id="rId59" Type="http://schemas.openxmlformats.org/officeDocument/2006/relationships/image" Target="../media/image58.jpeg"/><Relationship Id="rId67" Type="http://schemas.openxmlformats.org/officeDocument/2006/relationships/image" Target="../media/image65.jpeg"/><Relationship Id="rId103" Type="http://schemas.openxmlformats.org/officeDocument/2006/relationships/image" Target="../media/image95.png"/><Relationship Id="rId108" Type="http://schemas.openxmlformats.org/officeDocument/2006/relationships/image" Target="../media/image98.jpeg"/><Relationship Id="rId116" Type="http://schemas.openxmlformats.org/officeDocument/2006/relationships/image" Target="../media/image105.jpeg"/><Relationship Id="rId20" Type="http://schemas.openxmlformats.org/officeDocument/2006/relationships/hyperlink" Target="https://en.wikipedia.org/wiki/File:St._George's_University_Logo.png" TargetMode="External"/><Relationship Id="rId41" Type="http://schemas.openxmlformats.org/officeDocument/2006/relationships/image" Target="../media/image41.png"/><Relationship Id="rId54" Type="http://schemas.openxmlformats.org/officeDocument/2006/relationships/image" Target="../media/image53.png"/><Relationship Id="rId62" Type="http://schemas.openxmlformats.org/officeDocument/2006/relationships/image" Target="../media/image61.jpeg"/><Relationship Id="rId70" Type="http://schemas.openxmlformats.org/officeDocument/2006/relationships/image" Target="../media/image67.png"/><Relationship Id="rId75" Type="http://schemas.openxmlformats.org/officeDocument/2006/relationships/image" Target="../media/image70.jpeg"/><Relationship Id="rId83" Type="http://schemas.openxmlformats.org/officeDocument/2006/relationships/image" Target="../media/image75.jpeg"/><Relationship Id="rId88" Type="http://schemas.openxmlformats.org/officeDocument/2006/relationships/image" Target="../media/image80.png"/><Relationship Id="rId91" Type="http://schemas.openxmlformats.org/officeDocument/2006/relationships/image" Target="../media/image83.png"/><Relationship Id="rId96" Type="http://schemas.openxmlformats.org/officeDocument/2006/relationships/image" Target="../media/image88.png"/><Relationship Id="rId111" Type="http://schemas.openxmlformats.org/officeDocument/2006/relationships/image" Target="../media/image100.jpeg"/><Relationship Id="rId1" Type="http://schemas.openxmlformats.org/officeDocument/2006/relationships/slideLayout" Target="../slideLayouts/slideLayout25.xml"/><Relationship Id="rId6" Type="http://schemas.openxmlformats.org/officeDocument/2006/relationships/image" Target="../media/image14.jpeg"/><Relationship Id="rId15" Type="http://schemas.openxmlformats.org/officeDocument/2006/relationships/image" Target="../media/image23.jpeg"/><Relationship Id="rId23" Type="http://schemas.openxmlformats.org/officeDocument/2006/relationships/image" Target="../media/image29.png"/><Relationship Id="rId28" Type="http://schemas.openxmlformats.org/officeDocument/2006/relationships/hyperlink" Target="http://www.angloamerican.com/" TargetMode="External"/><Relationship Id="rId36" Type="http://schemas.openxmlformats.org/officeDocument/2006/relationships/hyperlink" Target="http://de.wikipedia.org/w/index.php?title=Datei:Nestle-logo.svg&amp;filetimestamp=20070925160728&amp;" TargetMode="External"/><Relationship Id="rId49" Type="http://schemas.openxmlformats.org/officeDocument/2006/relationships/image" Target="../media/image48.png"/><Relationship Id="rId57" Type="http://schemas.openxmlformats.org/officeDocument/2006/relationships/image" Target="../media/image56.png"/><Relationship Id="rId106" Type="http://schemas.openxmlformats.org/officeDocument/2006/relationships/image" Target="../media/image97.jpeg"/><Relationship Id="rId114" Type="http://schemas.openxmlformats.org/officeDocument/2006/relationships/image" Target="../media/image103.jpeg"/><Relationship Id="rId119" Type="http://schemas.openxmlformats.org/officeDocument/2006/relationships/image" Target="../media/image108.png"/><Relationship Id="rId10" Type="http://schemas.openxmlformats.org/officeDocument/2006/relationships/image" Target="../media/image18.jpeg"/><Relationship Id="rId31" Type="http://schemas.openxmlformats.org/officeDocument/2006/relationships/image" Target="../media/image35.jpeg"/><Relationship Id="rId44" Type="http://schemas.openxmlformats.org/officeDocument/2006/relationships/image" Target="../media/image43.jpeg"/><Relationship Id="rId52" Type="http://schemas.openxmlformats.org/officeDocument/2006/relationships/image" Target="../media/image51.png"/><Relationship Id="rId60" Type="http://schemas.openxmlformats.org/officeDocument/2006/relationships/image" Target="../media/image59.png"/><Relationship Id="rId65" Type="http://schemas.openxmlformats.org/officeDocument/2006/relationships/image" Target="../media/image64.jpeg"/><Relationship Id="rId73" Type="http://schemas.openxmlformats.org/officeDocument/2006/relationships/image" Target="../media/image69.jpeg"/><Relationship Id="rId78" Type="http://schemas.openxmlformats.org/officeDocument/2006/relationships/image" Target="../media/image72.jpeg"/><Relationship Id="rId81" Type="http://schemas.openxmlformats.org/officeDocument/2006/relationships/image" Target="../media/image74.jpeg"/><Relationship Id="rId86" Type="http://schemas.openxmlformats.org/officeDocument/2006/relationships/image" Target="../media/image78.jpeg"/><Relationship Id="rId94" Type="http://schemas.openxmlformats.org/officeDocument/2006/relationships/image" Target="../media/image86.png"/><Relationship Id="rId99" Type="http://schemas.openxmlformats.org/officeDocument/2006/relationships/image" Target="../media/image91.jpeg"/><Relationship Id="rId101" Type="http://schemas.openxmlformats.org/officeDocument/2006/relationships/image" Target="../media/image93.png"/><Relationship Id="rId4" Type="http://schemas.openxmlformats.org/officeDocument/2006/relationships/image" Target="../media/image13.png"/><Relationship Id="rId9" Type="http://schemas.openxmlformats.org/officeDocument/2006/relationships/image" Target="../media/image17.png"/><Relationship Id="rId13" Type="http://schemas.openxmlformats.org/officeDocument/2006/relationships/image" Target="../media/image21.png"/><Relationship Id="rId18" Type="http://schemas.openxmlformats.org/officeDocument/2006/relationships/hyperlink" Target="http://ghta.org/" TargetMode="External"/><Relationship Id="rId39" Type="http://schemas.openxmlformats.org/officeDocument/2006/relationships/image" Target="../media/image40.jpeg"/><Relationship Id="rId109" Type="http://schemas.openxmlformats.org/officeDocument/2006/relationships/hyperlink" Target="http://www.asda.com/" TargetMode="External"/><Relationship Id="rId34" Type="http://schemas.openxmlformats.org/officeDocument/2006/relationships/image" Target="../media/image37.png"/><Relationship Id="rId50" Type="http://schemas.openxmlformats.org/officeDocument/2006/relationships/image" Target="../media/image49.jpeg"/><Relationship Id="rId55" Type="http://schemas.openxmlformats.org/officeDocument/2006/relationships/image" Target="../media/image54.jpeg"/><Relationship Id="rId76" Type="http://schemas.openxmlformats.org/officeDocument/2006/relationships/hyperlink" Target="https://www.google.de/url?sa=i&amp;rct=j&amp;q=&amp;esrc=s&amp;source=imgres&amp;cd=&amp;cad=rja&amp;uact=8&amp;ved=0ahUKEwjbwvC-gbXSAhULVRQKHQJtB2MQjRwIBw&amp;url=https://www.lonmin.com/&amp;psig=AFQjCNGwrUQkBmlA3_BD5t62VfTUAZqoIg&amp;ust=1488447586827338" TargetMode="External"/><Relationship Id="rId97" Type="http://schemas.openxmlformats.org/officeDocument/2006/relationships/image" Target="../media/image89.png"/><Relationship Id="rId104" Type="http://schemas.openxmlformats.org/officeDocument/2006/relationships/image" Target="../media/image96.png"/><Relationship Id="rId7" Type="http://schemas.openxmlformats.org/officeDocument/2006/relationships/image" Target="../media/image15.jpeg"/><Relationship Id="rId71" Type="http://schemas.openxmlformats.org/officeDocument/2006/relationships/hyperlink" Target="http://www.google.de/url?sa=i&amp;rct=j&amp;q=&amp;esrc=s&amp;source=imgres&amp;cd=&amp;cad=rja&amp;uact=8&amp;ved=0ahUKEwjKppLDgLXSAhVBWhoKHfWlCE8QjRwIBw&amp;url=http://northcoastcourier.co.za/58530/tongaat-hulett-accused-of-short-changing-pensioners/&amp;psig=AFQjCNHVIQ5CArxW1JddA7xXFkoRZ_fTWw&amp;ust=1488447327028095" TargetMode="External"/><Relationship Id="rId92" Type="http://schemas.openxmlformats.org/officeDocument/2006/relationships/image" Target="../media/image84.png"/><Relationship Id="rId2" Type="http://schemas.openxmlformats.org/officeDocument/2006/relationships/notesSlide" Target="../notesSlides/notesSlide3.xml"/><Relationship Id="rId29" Type="http://schemas.openxmlformats.org/officeDocument/2006/relationships/image" Target="../media/image34.jpeg"/></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109.png"/><Relationship Id="rId7" Type="http://schemas.openxmlformats.org/officeDocument/2006/relationships/diagramQuickStyle" Target="../diagrams/quickStyle1.xml"/><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diagramLayout" Target="../diagrams/layout1.xml"/><Relationship Id="rId11" Type="http://schemas.openxmlformats.org/officeDocument/2006/relationships/image" Target="../media/image112.png"/><Relationship Id="rId5" Type="http://schemas.openxmlformats.org/officeDocument/2006/relationships/diagramData" Target="../diagrams/data1.xml"/><Relationship Id="rId10" Type="http://schemas.openxmlformats.org/officeDocument/2006/relationships/image" Target="../media/image111.png"/><Relationship Id="rId4" Type="http://schemas.openxmlformats.org/officeDocument/2006/relationships/image" Target="../media/image110.png"/><Relationship Id="rId9" Type="http://schemas.microsoft.com/office/2007/relationships/diagramDrawing" Target="../diagrams/drawing1.xml"/></Relationships>
</file>

<file path=ppt/slides/_rels/slide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113.png"/></Relationships>
</file>

<file path=ppt/slides/_rels/slide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109.png"/></Relationships>
</file>

<file path=ppt/slides/_rels/slide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115.png"/></Relationships>
</file>

<file path=ppt/slides/_rels/slide8.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116.png"/></Relationships>
</file>

<file path=ppt/slides/_rels/slide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17.jpeg"/><Relationship Id="rId1" Type="http://schemas.openxmlformats.org/officeDocument/2006/relationships/slideLayout" Target="../slideLayouts/slideLayout18.xml"/><Relationship Id="rId5" Type="http://schemas.openxmlformats.org/officeDocument/2006/relationships/image" Target="../media/image119.jpeg"/><Relationship Id="rId4" Type="http://schemas.openxmlformats.org/officeDocument/2006/relationships/image" Target="../media/image1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 xmlns:a16="http://schemas.microsoft.com/office/drawing/2014/main" id="{0B61C977-962F-4FE8-ADFA-7869AAAC88DB}"/>
              </a:ext>
            </a:extLst>
          </p:cNvPr>
          <p:cNvSpPr txBox="1"/>
          <p:nvPr/>
        </p:nvSpPr>
        <p:spPr>
          <a:xfrm>
            <a:off x="450927" y="6230338"/>
            <a:ext cx="3589322" cy="646331"/>
          </a:xfrm>
          <a:prstGeom prst="rect">
            <a:avLst/>
          </a:prstGeom>
          <a:noFill/>
        </p:spPr>
        <p:txBody>
          <a:bodyPr wrap="square" rtlCol="0">
            <a:spAutoFit/>
          </a:bodyPr>
          <a:lstStyle/>
          <a:p>
            <a:pPr algn="ctr">
              <a:buClr>
                <a:srgbClr val="444D54"/>
              </a:buClr>
            </a:pPr>
            <a:r>
              <a:rPr lang="en-US" sz="1800" dirty="0" smtClean="0">
                <a:solidFill>
                  <a:srgbClr val="FFFFFF"/>
                </a:solidFill>
                <a:latin typeface="Arial" charset="0"/>
                <a:ea typeface="ＭＳ Ｐゴシック" charset="0"/>
              </a:rPr>
              <a:t>IWaSP workshop, Kampala, </a:t>
            </a:r>
          </a:p>
          <a:p>
            <a:pPr algn="ctr">
              <a:buClr>
                <a:srgbClr val="444D54"/>
              </a:buClr>
            </a:pPr>
            <a:r>
              <a:rPr lang="en-US" sz="1800" dirty="0" smtClean="0">
                <a:solidFill>
                  <a:srgbClr val="FFFFFF"/>
                </a:solidFill>
                <a:latin typeface="Arial" charset="0"/>
                <a:ea typeface="ＭＳ Ｐゴシック" charset="0"/>
              </a:rPr>
              <a:t> 15 Jan 2019</a:t>
            </a:r>
            <a:endParaRPr lang="en-US" sz="1800" dirty="0">
              <a:solidFill>
                <a:srgbClr val="FFFFFF"/>
              </a:solidFill>
              <a:latin typeface="Arial" charset="0"/>
              <a:ea typeface="ＭＳ Ｐゴシック" charset="0"/>
            </a:endParaRPr>
          </a:p>
        </p:txBody>
      </p:sp>
      <p:pic>
        <p:nvPicPr>
          <p:cNvPr id="5" name="Picture Placeholder 4"/>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8459" r="8459"/>
          <a:stretch>
            <a:fillRect/>
          </a:stretch>
        </p:blipFill>
        <p:spPr/>
      </p:pic>
      <p:grpSp>
        <p:nvGrpSpPr>
          <p:cNvPr id="6" name="Group 5"/>
          <p:cNvGrpSpPr/>
          <p:nvPr/>
        </p:nvGrpSpPr>
        <p:grpSpPr>
          <a:xfrm>
            <a:off x="0" y="5852637"/>
            <a:ext cx="5869577" cy="1080000"/>
            <a:chOff x="0" y="5852637"/>
            <a:chExt cx="5869577" cy="1080000"/>
          </a:xfrm>
        </p:grpSpPr>
        <p:sp>
          <p:nvSpPr>
            <p:cNvPr id="7" name="Rechteck 6"/>
            <p:cNvSpPr/>
            <p:nvPr/>
          </p:nvSpPr>
          <p:spPr>
            <a:xfrm>
              <a:off x="0" y="5852637"/>
              <a:ext cx="5869577" cy="1080000"/>
            </a:xfrm>
            <a:prstGeom prst="rect">
              <a:avLst/>
            </a:prstGeom>
            <a:gradFill flip="none" rotWithShape="1">
              <a:gsLst>
                <a:gs pos="14000">
                  <a:schemeClr val="bg1"/>
                </a:gs>
                <a:gs pos="100000">
                  <a:schemeClr val="bg1">
                    <a:alpha val="0"/>
                  </a:schemeClr>
                </a:gs>
                <a:gs pos="69000">
                  <a:schemeClr val="bg1"/>
                </a:gs>
              </a:gsLst>
              <a:lin ang="0" scaled="1"/>
              <a:tileRect/>
            </a:gradFill>
          </p:spPr>
          <p:txBody>
            <a:bodyPr wrap="square" lIns="684000">
              <a:spAutoFit/>
            </a:bodyPr>
            <a:lstStyle/>
            <a:p>
              <a:pPr eaLnBrk="1" fontAlgn="auto" hangingPunct="1">
                <a:spcBef>
                  <a:spcPts val="0"/>
                </a:spcBef>
                <a:spcAft>
                  <a:spcPts val="0"/>
                </a:spcAft>
              </a:pPr>
              <a:endParaRPr lang="en-US" sz="1400" dirty="0">
                <a:solidFill>
                  <a:srgbClr val="FFFFFF"/>
                </a:solidFill>
                <a:latin typeface="Calibri"/>
                <a:ea typeface="+mn-ea"/>
              </a:endParaRPr>
            </a:p>
          </p:txBody>
        </p:sp>
        <p:grpSp>
          <p:nvGrpSpPr>
            <p:cNvPr id="8" name="Group 7"/>
            <p:cNvGrpSpPr>
              <a:grpSpLocks noChangeAspect="1"/>
            </p:cNvGrpSpPr>
            <p:nvPr/>
          </p:nvGrpSpPr>
          <p:grpSpPr>
            <a:xfrm>
              <a:off x="186715" y="5973830"/>
              <a:ext cx="3966103" cy="864000"/>
              <a:chOff x="752771" y="5082499"/>
              <a:chExt cx="4557382" cy="992808"/>
            </a:xfrm>
          </p:grpSpPr>
          <p:pic>
            <p:nvPicPr>
              <p:cNvPr id="9" name="Grafik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2771" y="5082499"/>
                <a:ext cx="873747" cy="962490"/>
              </a:xfrm>
              <a:prstGeom prst="rect">
                <a:avLst/>
              </a:prstGeom>
            </p:spPr>
          </p:pic>
          <p:pic>
            <p:nvPicPr>
              <p:cNvPr id="10" name="Grafik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160240" y="5108680"/>
                <a:ext cx="1728212" cy="966627"/>
              </a:xfrm>
              <a:prstGeom prst="rect">
                <a:avLst/>
              </a:prstGeom>
            </p:spPr>
          </p:pic>
          <p:pic>
            <p:nvPicPr>
              <p:cNvPr id="11" name="Grafik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53839" y="5672018"/>
                <a:ext cx="1056314" cy="274577"/>
              </a:xfrm>
              <a:prstGeom prst="rect">
                <a:avLst/>
              </a:prstGeom>
            </p:spPr>
          </p:pic>
        </p:grpSp>
      </p:grpSp>
      <p:sp>
        <p:nvSpPr>
          <p:cNvPr id="14" name="Title 1"/>
          <p:cNvSpPr txBox="1">
            <a:spLocks/>
          </p:cNvSpPr>
          <p:nvPr/>
        </p:nvSpPr>
        <p:spPr bwMode="gray">
          <a:xfrm>
            <a:off x="317633" y="48789"/>
            <a:ext cx="8254867" cy="8552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lvl1pPr algn="l" rtl="0" eaLnBrk="1" fontAlgn="base" hangingPunct="1">
              <a:lnSpc>
                <a:spcPct val="80000"/>
              </a:lnSpc>
              <a:spcBef>
                <a:spcPct val="0"/>
              </a:spcBef>
              <a:spcAft>
                <a:spcPct val="0"/>
              </a:spcAft>
              <a:defRPr kumimoji="1" sz="3600" b="1" i="0">
                <a:solidFill>
                  <a:srgbClr val="2260A8"/>
                </a:solidFill>
                <a:latin typeface="Calibri"/>
                <a:ea typeface="ＭＳ Ｐゴシック" charset="0"/>
                <a:cs typeface="Calibri"/>
              </a:defRPr>
            </a:lvl1pPr>
            <a:lvl2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2pPr>
            <a:lvl3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3pPr>
            <a:lvl4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4pPr>
            <a:lvl5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5pPr>
            <a:lvl6pPr marL="457200" algn="l" rtl="0" eaLnBrk="1" fontAlgn="base" hangingPunct="1">
              <a:spcBef>
                <a:spcPct val="0"/>
              </a:spcBef>
              <a:spcAft>
                <a:spcPct val="0"/>
              </a:spcAft>
              <a:defRPr kumimoji="1" sz="2800" b="1">
                <a:solidFill>
                  <a:srgbClr val="FFFFFF"/>
                </a:solidFill>
                <a:latin typeface="Arial" charset="0"/>
                <a:ea typeface="ＭＳ Ｐゴシック" charset="0"/>
              </a:defRPr>
            </a:lvl6pPr>
            <a:lvl7pPr marL="914400" algn="l" rtl="0" eaLnBrk="1" fontAlgn="base" hangingPunct="1">
              <a:spcBef>
                <a:spcPct val="0"/>
              </a:spcBef>
              <a:spcAft>
                <a:spcPct val="0"/>
              </a:spcAft>
              <a:defRPr kumimoji="1" sz="2800" b="1">
                <a:solidFill>
                  <a:srgbClr val="FFFFFF"/>
                </a:solidFill>
                <a:latin typeface="Arial" charset="0"/>
                <a:ea typeface="ＭＳ Ｐゴシック" charset="0"/>
              </a:defRPr>
            </a:lvl7pPr>
            <a:lvl8pPr marL="1371600" algn="l" rtl="0" eaLnBrk="1" fontAlgn="base" hangingPunct="1">
              <a:spcBef>
                <a:spcPct val="0"/>
              </a:spcBef>
              <a:spcAft>
                <a:spcPct val="0"/>
              </a:spcAft>
              <a:defRPr kumimoji="1" sz="2800" b="1">
                <a:solidFill>
                  <a:srgbClr val="FFFFFF"/>
                </a:solidFill>
                <a:latin typeface="Arial" charset="0"/>
                <a:ea typeface="ＭＳ Ｐゴシック" charset="0"/>
              </a:defRPr>
            </a:lvl8pPr>
            <a:lvl9pPr marL="1828800" algn="l" rtl="0" eaLnBrk="1" fontAlgn="base" hangingPunct="1">
              <a:spcBef>
                <a:spcPct val="0"/>
              </a:spcBef>
              <a:spcAft>
                <a:spcPct val="0"/>
              </a:spcAft>
              <a:defRPr kumimoji="1" sz="2800" b="1">
                <a:solidFill>
                  <a:srgbClr val="FFFFFF"/>
                </a:solidFill>
                <a:latin typeface="Arial" charset="0"/>
                <a:ea typeface="ＭＳ Ｐゴシック" charset="0"/>
              </a:defRPr>
            </a:lvl9pPr>
          </a:lstStyle>
          <a:p>
            <a:r>
              <a:rPr lang="de-DE" sz="3200" kern="0" dirty="0" smtClean="0"/>
              <a:t>International Water Stewardship Programme</a:t>
            </a:r>
            <a:r>
              <a:rPr lang="en-US" sz="2800" kern="0" dirty="0" smtClean="0"/>
              <a:t/>
            </a:r>
            <a:br>
              <a:rPr lang="en-US" sz="2800" kern="0" dirty="0" smtClean="0"/>
            </a:br>
            <a:r>
              <a:rPr lang="en-GB" sz="1800" kern="0" dirty="0" smtClean="0"/>
              <a:t>Powerful solutions for water security</a:t>
            </a:r>
            <a:endParaRPr lang="en-GB" sz="1800" kern="0" dirty="0"/>
          </a:p>
        </p:txBody>
      </p:sp>
      <p:sp>
        <p:nvSpPr>
          <p:cNvPr id="13" name="TextBox 12"/>
          <p:cNvSpPr txBox="1"/>
          <p:nvPr/>
        </p:nvSpPr>
        <p:spPr>
          <a:xfrm>
            <a:off x="315583" y="1125443"/>
            <a:ext cx="5080620" cy="923330"/>
          </a:xfrm>
          <a:prstGeom prst="rect">
            <a:avLst/>
          </a:prstGeom>
          <a:noFill/>
        </p:spPr>
        <p:txBody>
          <a:bodyPr wrap="square" rtlCol="0">
            <a:spAutoFit/>
          </a:bodyPr>
          <a:lstStyle/>
          <a:p>
            <a:pPr eaLnBrk="1" fontAlgn="auto" hangingPunct="1">
              <a:spcBef>
                <a:spcPts val="0"/>
              </a:spcBef>
              <a:spcAft>
                <a:spcPts val="0"/>
              </a:spcAft>
            </a:pPr>
            <a:r>
              <a:rPr lang="en-GB" sz="1800" dirty="0" smtClean="0">
                <a:solidFill>
                  <a:srgbClr val="021631"/>
                </a:solidFill>
                <a:latin typeface="Calibri"/>
                <a:ea typeface="+mn-ea"/>
              </a:rPr>
              <a:t>Water Security Action and Investment Plan (WSAIP)</a:t>
            </a:r>
          </a:p>
          <a:p>
            <a:pPr eaLnBrk="1" fontAlgn="auto" hangingPunct="1">
              <a:spcBef>
                <a:spcPts val="0"/>
              </a:spcBef>
              <a:spcAft>
                <a:spcPts val="0"/>
              </a:spcAft>
            </a:pPr>
            <a:r>
              <a:rPr lang="en-GB" sz="1800" dirty="0" smtClean="0">
                <a:solidFill>
                  <a:srgbClr val="021631"/>
                </a:solidFill>
                <a:latin typeface="Calibri"/>
                <a:ea typeface="+mn-ea"/>
              </a:rPr>
              <a:t>2</a:t>
            </a:r>
            <a:r>
              <a:rPr lang="en-GB" sz="1800" baseline="30000" dirty="0" smtClean="0">
                <a:solidFill>
                  <a:srgbClr val="021631"/>
                </a:solidFill>
                <a:latin typeface="Calibri"/>
                <a:ea typeface="+mn-ea"/>
              </a:rPr>
              <a:t>nd</a:t>
            </a:r>
            <a:r>
              <a:rPr lang="en-GB" sz="1800" dirty="0" smtClean="0">
                <a:solidFill>
                  <a:srgbClr val="021631"/>
                </a:solidFill>
                <a:latin typeface="Calibri"/>
                <a:ea typeface="+mn-ea"/>
              </a:rPr>
              <a:t> Uganda Waste, Water and Environment Convention 2019</a:t>
            </a:r>
            <a:endParaRPr lang="en-GB" sz="1800" dirty="0">
              <a:solidFill>
                <a:srgbClr val="021631"/>
              </a:solidFill>
              <a:latin typeface="Calibri"/>
              <a:ea typeface="+mn-ea"/>
            </a:endParaRPr>
          </a:p>
        </p:txBody>
      </p:sp>
    </p:spTree>
    <p:extLst>
      <p:ext uri="{BB962C8B-B14F-4D97-AF65-F5344CB8AC3E}">
        <p14:creationId xmlns:p14="http://schemas.microsoft.com/office/powerpoint/2010/main" val="3811361345"/>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xmlns="" id="{8B294B7C-7126-49F3-83DB-980D2C660D6F}"/>
              </a:ext>
            </a:extLst>
          </p:cNvPr>
          <p:cNvPicPr>
            <a:picLocks noChangeAspect="1"/>
          </p:cNvPicPr>
          <p:nvPr/>
        </p:nvPicPr>
        <p:blipFill rotWithShape="1">
          <a:blip r:embed="rId3"/>
          <a:srcRect t="6230" b="8044"/>
          <a:stretch/>
        </p:blipFill>
        <p:spPr>
          <a:xfrm>
            <a:off x="368066" y="39945"/>
            <a:ext cx="8702454" cy="1209998"/>
          </a:xfrm>
          <a:prstGeom prst="rect">
            <a:avLst/>
          </a:prstGeom>
        </p:spPr>
      </p:pic>
      <p:pic>
        <p:nvPicPr>
          <p:cNvPr id="4" name="Picture 3"/>
          <p:cNvPicPr>
            <a:picLocks noChangeAspect="1"/>
          </p:cNvPicPr>
          <p:nvPr/>
        </p:nvPicPr>
        <p:blipFill>
          <a:blip r:embed="rId4"/>
          <a:stretch>
            <a:fillRect/>
          </a:stretch>
        </p:blipFill>
        <p:spPr>
          <a:xfrm>
            <a:off x="1376440" y="1999706"/>
            <a:ext cx="7767560" cy="4669026"/>
          </a:xfrm>
          <a:prstGeom prst="rect">
            <a:avLst/>
          </a:prstGeom>
        </p:spPr>
      </p:pic>
      <p:sp>
        <p:nvSpPr>
          <p:cNvPr id="19" name="Oval 18">
            <a:extLst>
              <a:ext uri="{FF2B5EF4-FFF2-40B4-BE49-F238E27FC236}">
                <a16:creationId xmlns:a16="http://schemas.microsoft.com/office/drawing/2014/main" xmlns="" id="{EB4DA7FB-C5BA-4A7C-9CAE-CA2AECE09BE3}"/>
              </a:ext>
            </a:extLst>
          </p:cNvPr>
          <p:cNvSpPr/>
          <p:nvPr/>
        </p:nvSpPr>
        <p:spPr>
          <a:xfrm>
            <a:off x="144861" y="2291711"/>
            <a:ext cx="593161" cy="59222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GB" sz="1000" b="1" dirty="0">
                <a:solidFill>
                  <a:prstClr val="white"/>
                </a:solidFill>
                <a:latin typeface="Calibri" panose="020F0502020204030204"/>
              </a:rPr>
              <a:t>.Org</a:t>
            </a:r>
            <a:endParaRPr lang="en-US" sz="1000" b="1" dirty="0">
              <a:solidFill>
                <a:prstClr val="white"/>
              </a:solidFill>
              <a:latin typeface="Calibri" panose="020F0502020204030204"/>
            </a:endParaRPr>
          </a:p>
        </p:txBody>
      </p:sp>
      <p:sp>
        <p:nvSpPr>
          <p:cNvPr id="20" name="Oval 19">
            <a:extLst>
              <a:ext uri="{FF2B5EF4-FFF2-40B4-BE49-F238E27FC236}">
                <a16:creationId xmlns:a16="http://schemas.microsoft.com/office/drawing/2014/main" xmlns="" id="{5ACE8869-5C43-48D5-AD3E-A877812E46B4}"/>
              </a:ext>
            </a:extLst>
          </p:cNvPr>
          <p:cNvSpPr/>
          <p:nvPr/>
        </p:nvSpPr>
        <p:spPr>
          <a:xfrm>
            <a:off x="105466" y="6058729"/>
            <a:ext cx="671953" cy="64605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GB" sz="1000" b="1" dirty="0">
                <a:solidFill>
                  <a:prstClr val="white"/>
                </a:solidFill>
                <a:latin typeface="Calibri" panose="020F0502020204030204"/>
              </a:rPr>
              <a:t>.Com</a:t>
            </a:r>
            <a:endParaRPr lang="en-US" sz="1000" b="1" dirty="0">
              <a:solidFill>
                <a:prstClr val="white"/>
              </a:solidFill>
              <a:latin typeface="Calibri" panose="020F0502020204030204"/>
            </a:endParaRPr>
          </a:p>
        </p:txBody>
      </p:sp>
      <p:sp>
        <p:nvSpPr>
          <p:cNvPr id="22" name="Arrow: Left-Right-Up 21">
            <a:extLst>
              <a:ext uri="{FF2B5EF4-FFF2-40B4-BE49-F238E27FC236}">
                <a16:creationId xmlns:a16="http://schemas.microsoft.com/office/drawing/2014/main" xmlns="" id="{2A8F8184-44EC-4712-897D-724347F1F380}"/>
              </a:ext>
            </a:extLst>
          </p:cNvPr>
          <p:cNvSpPr/>
          <p:nvPr/>
        </p:nvSpPr>
        <p:spPr>
          <a:xfrm rot="5400000">
            <a:off x="-850894" y="3797307"/>
            <a:ext cx="3151707" cy="1302960"/>
          </a:xfrm>
          <a:prstGeom prst="leftRightUp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
        <p:nvSpPr>
          <p:cNvPr id="23" name="Oval 22">
            <a:extLst>
              <a:ext uri="{FF2B5EF4-FFF2-40B4-BE49-F238E27FC236}">
                <a16:creationId xmlns:a16="http://schemas.microsoft.com/office/drawing/2014/main" xmlns="" id="{A702B272-BBBA-49F6-8686-533F29A1CE22}"/>
              </a:ext>
            </a:extLst>
          </p:cNvPr>
          <p:cNvSpPr/>
          <p:nvPr/>
        </p:nvSpPr>
        <p:spPr>
          <a:xfrm>
            <a:off x="55640" y="4210811"/>
            <a:ext cx="671953" cy="6023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GB" sz="1050" b="1" dirty="0">
                <a:solidFill>
                  <a:prstClr val="white"/>
                </a:solidFill>
                <a:latin typeface="Calibri" panose="020F0502020204030204"/>
              </a:rPr>
              <a:t>.Gov</a:t>
            </a:r>
            <a:endParaRPr lang="en-US" sz="1050" b="1" dirty="0">
              <a:solidFill>
                <a:prstClr val="white"/>
              </a:solidFill>
              <a:latin typeface="Calibri" panose="020F0502020204030204"/>
            </a:endParaRPr>
          </a:p>
        </p:txBody>
      </p:sp>
      <p:sp>
        <p:nvSpPr>
          <p:cNvPr id="24" name="Rectangle 23">
            <a:extLst>
              <a:ext uri="{FF2B5EF4-FFF2-40B4-BE49-F238E27FC236}">
                <a16:creationId xmlns:a16="http://schemas.microsoft.com/office/drawing/2014/main" xmlns="" id="{B5228A46-C549-4ACC-BF0C-8CF5220DF59B}"/>
              </a:ext>
            </a:extLst>
          </p:cNvPr>
          <p:cNvSpPr/>
          <p:nvPr/>
        </p:nvSpPr>
        <p:spPr>
          <a:xfrm>
            <a:off x="323208" y="1393992"/>
            <a:ext cx="8497583" cy="461665"/>
          </a:xfrm>
          <a:prstGeom prst="rect">
            <a:avLst/>
          </a:prstGeom>
        </p:spPr>
        <p:txBody>
          <a:bodyPr wrap="square">
            <a:spAutoFit/>
          </a:bodyPr>
          <a:lstStyle/>
          <a:p>
            <a:pPr algn="ctr"/>
            <a:r>
              <a:rPr lang="en-GB" dirty="0">
                <a:latin typeface="Clarendon Condensed" panose="02040706040705040204" pitchFamily="18" charset="0"/>
              </a:rPr>
              <a:t>Weights developed from Multi-Stakeholder Engagements</a:t>
            </a:r>
            <a:endParaRPr lang="en-US" dirty="0"/>
          </a:p>
        </p:txBody>
      </p:sp>
    </p:spTree>
    <p:extLst>
      <p:ext uri="{BB962C8B-B14F-4D97-AF65-F5344CB8AC3E}">
        <p14:creationId xmlns:p14="http://schemas.microsoft.com/office/powerpoint/2010/main" val="33335349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xmlns="" id="{8B294B7C-7126-49F3-83DB-980D2C660D6F}"/>
              </a:ext>
            </a:extLst>
          </p:cNvPr>
          <p:cNvPicPr>
            <a:picLocks noChangeAspect="1"/>
          </p:cNvPicPr>
          <p:nvPr/>
        </p:nvPicPr>
        <p:blipFill rotWithShape="1">
          <a:blip r:embed="rId3"/>
          <a:srcRect t="6230" b="8044"/>
          <a:stretch/>
        </p:blipFill>
        <p:spPr>
          <a:xfrm>
            <a:off x="368066" y="39945"/>
            <a:ext cx="8702454" cy="1209998"/>
          </a:xfrm>
          <a:prstGeom prst="rect">
            <a:avLst/>
          </a:prstGeom>
        </p:spPr>
      </p:pic>
      <p:sp>
        <p:nvSpPr>
          <p:cNvPr id="3" name="Content Placeholder 2">
            <a:extLst>
              <a:ext uri="{FF2B5EF4-FFF2-40B4-BE49-F238E27FC236}">
                <a16:creationId xmlns:a16="http://schemas.microsoft.com/office/drawing/2014/main" xmlns="" id="{33D7773F-EB59-4631-95C3-9D7BAA5FAA70}"/>
              </a:ext>
            </a:extLst>
          </p:cNvPr>
          <p:cNvSpPr>
            <a:spLocks noGrp="1"/>
          </p:cNvSpPr>
          <p:nvPr>
            <p:ph sz="half" idx="1"/>
          </p:nvPr>
        </p:nvSpPr>
        <p:spPr>
          <a:xfrm>
            <a:off x="457200" y="1731429"/>
            <a:ext cx="8386916" cy="4525963"/>
          </a:xfrm>
        </p:spPr>
        <p:txBody>
          <a:bodyPr/>
          <a:lstStyle/>
          <a:p>
            <a:pPr>
              <a:buFont typeface="Wingdings" panose="05000000000000000000" pitchFamily="2" charset="2"/>
              <a:buChar char="§"/>
            </a:pPr>
            <a:endParaRPr lang="en-US" sz="2200" dirty="0"/>
          </a:p>
          <a:p>
            <a:pPr marL="0" indent="0">
              <a:buNone/>
            </a:pPr>
            <a:endParaRPr lang="en-US" sz="2200" dirty="0"/>
          </a:p>
        </p:txBody>
      </p:sp>
      <p:sp>
        <p:nvSpPr>
          <p:cNvPr id="15" name="Content Placeholder 2">
            <a:extLst>
              <a:ext uri="{FF2B5EF4-FFF2-40B4-BE49-F238E27FC236}">
                <a16:creationId xmlns:a16="http://schemas.microsoft.com/office/drawing/2014/main" xmlns="" id="{AF59E3E8-250C-4365-8D03-22253828A103}"/>
              </a:ext>
            </a:extLst>
          </p:cNvPr>
          <p:cNvSpPr txBox="1">
            <a:spLocks/>
          </p:cNvSpPr>
          <p:nvPr/>
        </p:nvSpPr>
        <p:spPr bwMode="auto">
          <a:xfrm>
            <a:off x="457200" y="1410623"/>
            <a:ext cx="9118884" cy="56340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Arial" pitchFamily="34" charset="0"/>
              <a:buChar char="•"/>
              <a:defRPr sz="2800" kern="1200">
                <a:solidFill>
                  <a:schemeClr val="tx1">
                    <a:lumMod val="75000"/>
                    <a:lumOff val="25000"/>
                  </a:schemeClr>
                </a:solidFill>
                <a:latin typeface="+mn-lt"/>
                <a:ea typeface="+mn-ea"/>
                <a:cs typeface="+mn-cs"/>
              </a:defRPr>
            </a:lvl1pPr>
            <a:lvl2pPr marL="742950" indent="-285750" algn="l" rtl="0" eaLnBrk="1" fontAlgn="base" hangingPunct="1">
              <a:spcBef>
                <a:spcPct val="20000"/>
              </a:spcBef>
              <a:spcAft>
                <a:spcPct val="0"/>
              </a:spcAft>
              <a:buFont typeface="Arial" pitchFamily="34" charset="0"/>
              <a:buChar char="–"/>
              <a:defRPr sz="2400" kern="1200">
                <a:solidFill>
                  <a:schemeClr val="tx1">
                    <a:lumMod val="75000"/>
                    <a:lumOff val="25000"/>
                  </a:schemeClr>
                </a:solidFill>
                <a:latin typeface="+mn-lt"/>
                <a:ea typeface="+mn-ea"/>
                <a:cs typeface="+mn-cs"/>
              </a:defRPr>
            </a:lvl2pPr>
            <a:lvl3pPr marL="1143000" indent="-228600" algn="l" rtl="0" eaLnBrk="1" fontAlgn="base" hangingPunct="1">
              <a:spcBef>
                <a:spcPct val="20000"/>
              </a:spcBef>
              <a:spcAft>
                <a:spcPct val="0"/>
              </a:spcAft>
              <a:buFont typeface="Arial" pitchFamily="34" charset="0"/>
              <a:buChar char="•"/>
              <a:defRPr sz="2000" kern="1200">
                <a:solidFill>
                  <a:schemeClr val="tx1">
                    <a:lumMod val="75000"/>
                    <a:lumOff val="25000"/>
                  </a:schemeClr>
                </a:solidFill>
                <a:latin typeface="+mn-lt"/>
                <a:ea typeface="+mn-ea"/>
                <a:cs typeface="+mn-cs"/>
              </a:defRPr>
            </a:lvl3pPr>
            <a:lvl4pPr marL="16002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4pPr>
            <a:lvl5pPr marL="20574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GB" sz="2400" b="1" dirty="0">
                <a:solidFill>
                  <a:schemeClr val="tx1">
                    <a:lumMod val="85000"/>
                    <a:lumOff val="15000"/>
                  </a:schemeClr>
                </a:solidFill>
                <a:latin typeface="Clarendon Condensed" panose="02040706040705040204" pitchFamily="18" charset="0"/>
              </a:rPr>
              <a:t>Scenario Development– Project Prioritisation </a:t>
            </a:r>
          </a:p>
          <a:p>
            <a:pPr marL="0" indent="0">
              <a:buNone/>
            </a:pPr>
            <a:r>
              <a:rPr lang="en-GB" sz="2400" b="1" dirty="0">
                <a:solidFill>
                  <a:schemeClr val="tx1">
                    <a:lumMod val="85000"/>
                    <a:lumOff val="15000"/>
                  </a:schemeClr>
                </a:solidFill>
                <a:latin typeface="Clarendon Condensed" panose="02040706040705040204" pitchFamily="18" charset="0"/>
              </a:rPr>
              <a:t>Stage II- Water Security Investment Model </a:t>
            </a:r>
          </a:p>
        </p:txBody>
      </p:sp>
      <p:sp>
        <p:nvSpPr>
          <p:cNvPr id="11" name="Content Placeholder 2">
            <a:extLst>
              <a:ext uri="{FF2B5EF4-FFF2-40B4-BE49-F238E27FC236}">
                <a16:creationId xmlns:a16="http://schemas.microsoft.com/office/drawing/2014/main" xmlns="" id="{D73CB952-E6A4-4EB0-96D7-856AC8C5DC3F}"/>
              </a:ext>
            </a:extLst>
          </p:cNvPr>
          <p:cNvSpPr txBox="1">
            <a:spLocks/>
          </p:cNvSpPr>
          <p:nvPr/>
        </p:nvSpPr>
        <p:spPr bwMode="auto">
          <a:xfrm>
            <a:off x="63100" y="2533511"/>
            <a:ext cx="8781016" cy="120999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Arial" pitchFamily="34" charset="0"/>
              <a:buChar char="•"/>
              <a:defRPr sz="2800" kern="1200">
                <a:solidFill>
                  <a:schemeClr val="tx1">
                    <a:lumMod val="75000"/>
                    <a:lumOff val="25000"/>
                  </a:schemeClr>
                </a:solidFill>
                <a:latin typeface="+mn-lt"/>
                <a:ea typeface="+mn-ea"/>
                <a:cs typeface="+mn-cs"/>
              </a:defRPr>
            </a:lvl1pPr>
            <a:lvl2pPr marL="742950" indent="-285750" algn="l" rtl="0" eaLnBrk="1" fontAlgn="base" hangingPunct="1">
              <a:spcBef>
                <a:spcPct val="20000"/>
              </a:spcBef>
              <a:spcAft>
                <a:spcPct val="0"/>
              </a:spcAft>
              <a:buFont typeface="Arial" pitchFamily="34" charset="0"/>
              <a:buChar char="–"/>
              <a:defRPr sz="2400" kern="1200">
                <a:solidFill>
                  <a:schemeClr val="tx1">
                    <a:lumMod val="75000"/>
                    <a:lumOff val="25000"/>
                  </a:schemeClr>
                </a:solidFill>
                <a:latin typeface="+mn-lt"/>
                <a:ea typeface="+mn-ea"/>
                <a:cs typeface="+mn-cs"/>
              </a:defRPr>
            </a:lvl2pPr>
            <a:lvl3pPr marL="1143000" indent="-228600" algn="l" rtl="0" eaLnBrk="1" fontAlgn="base" hangingPunct="1">
              <a:spcBef>
                <a:spcPct val="20000"/>
              </a:spcBef>
              <a:spcAft>
                <a:spcPct val="0"/>
              </a:spcAft>
              <a:buFont typeface="Arial" pitchFamily="34" charset="0"/>
              <a:buChar char="•"/>
              <a:defRPr sz="2000" kern="1200">
                <a:solidFill>
                  <a:schemeClr val="tx1">
                    <a:lumMod val="75000"/>
                    <a:lumOff val="25000"/>
                  </a:schemeClr>
                </a:solidFill>
                <a:latin typeface="+mn-lt"/>
                <a:ea typeface="+mn-ea"/>
                <a:cs typeface="+mn-cs"/>
              </a:defRPr>
            </a:lvl3pPr>
            <a:lvl4pPr marL="16002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4pPr>
            <a:lvl5pPr marL="20574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a:spcAft>
                <a:spcPts val="1200"/>
              </a:spcAft>
              <a:buFont typeface="Wingdings" panose="05000000000000000000" pitchFamily="2" charset="2"/>
              <a:buChar char="§"/>
            </a:pPr>
            <a:r>
              <a:rPr lang="en-US" sz="2000" b="1" dirty="0">
                <a:solidFill>
                  <a:schemeClr val="tx1">
                    <a:lumMod val="85000"/>
                    <a:lumOff val="15000"/>
                  </a:schemeClr>
                </a:solidFill>
              </a:rPr>
              <a:t>Quantitatively compare </a:t>
            </a:r>
            <a:r>
              <a:rPr lang="en-US" sz="2000" dirty="0">
                <a:solidFill>
                  <a:schemeClr val="tx1">
                    <a:lumMod val="85000"/>
                    <a:lumOff val="15000"/>
                  </a:schemeClr>
                </a:solidFill>
              </a:rPr>
              <a:t>short list projects based on indicator performance for example climate change resilience, economic growth,  etc. </a:t>
            </a:r>
          </a:p>
          <a:p>
            <a:pPr>
              <a:spcAft>
                <a:spcPts val="1200"/>
              </a:spcAft>
              <a:buFont typeface="Wingdings" panose="05000000000000000000" pitchFamily="2" charset="2"/>
              <a:buChar char="§"/>
            </a:pPr>
            <a:endParaRPr lang="en-US" sz="2200" dirty="0"/>
          </a:p>
          <a:p>
            <a:pPr>
              <a:spcAft>
                <a:spcPts val="1200"/>
              </a:spcAft>
              <a:buFont typeface="Wingdings" panose="05000000000000000000" pitchFamily="2" charset="2"/>
              <a:buChar char="§"/>
            </a:pPr>
            <a:endParaRPr lang="en-US" sz="2200" dirty="0"/>
          </a:p>
        </p:txBody>
      </p:sp>
      <p:pic>
        <p:nvPicPr>
          <p:cNvPr id="7" name="Picture 6">
            <a:extLst>
              <a:ext uri="{FF2B5EF4-FFF2-40B4-BE49-F238E27FC236}">
                <a16:creationId xmlns:a16="http://schemas.microsoft.com/office/drawing/2014/main" xmlns="" id="{8074BFB9-0FD7-49F1-83EE-B8F45AC4125E}"/>
              </a:ext>
            </a:extLst>
          </p:cNvPr>
          <p:cNvPicPr>
            <a:picLocks noChangeAspect="1"/>
          </p:cNvPicPr>
          <p:nvPr/>
        </p:nvPicPr>
        <p:blipFill>
          <a:blip r:embed="rId4"/>
          <a:stretch>
            <a:fillRect/>
          </a:stretch>
        </p:blipFill>
        <p:spPr>
          <a:xfrm>
            <a:off x="1041377" y="3339036"/>
            <a:ext cx="6492617" cy="3518964"/>
          </a:xfrm>
          <a:prstGeom prst="rect">
            <a:avLst/>
          </a:prstGeom>
        </p:spPr>
      </p:pic>
    </p:spTree>
    <p:extLst>
      <p:ext uri="{BB962C8B-B14F-4D97-AF65-F5344CB8AC3E}">
        <p14:creationId xmlns:p14="http://schemas.microsoft.com/office/powerpoint/2010/main" val="8590297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xmlns="" id="{8B294B7C-7126-49F3-83DB-980D2C660D6F}"/>
              </a:ext>
            </a:extLst>
          </p:cNvPr>
          <p:cNvPicPr>
            <a:picLocks noChangeAspect="1"/>
          </p:cNvPicPr>
          <p:nvPr/>
        </p:nvPicPr>
        <p:blipFill>
          <a:blip r:embed="rId3"/>
          <a:stretch>
            <a:fillRect/>
          </a:stretch>
        </p:blipFill>
        <p:spPr>
          <a:xfrm>
            <a:off x="266992" y="16042"/>
            <a:ext cx="8625488" cy="1411478"/>
          </a:xfrm>
          <a:prstGeom prst="rect">
            <a:avLst/>
          </a:prstGeom>
        </p:spPr>
      </p:pic>
      <p:sp>
        <p:nvSpPr>
          <p:cNvPr id="5" name="Content Placeholder 2">
            <a:extLst>
              <a:ext uri="{FF2B5EF4-FFF2-40B4-BE49-F238E27FC236}">
                <a16:creationId xmlns:a16="http://schemas.microsoft.com/office/drawing/2014/main" xmlns="" id="{15EF1B89-F685-4D53-93C4-F518E08842A9}"/>
              </a:ext>
            </a:extLst>
          </p:cNvPr>
          <p:cNvSpPr txBox="1">
            <a:spLocks/>
          </p:cNvSpPr>
          <p:nvPr/>
        </p:nvSpPr>
        <p:spPr bwMode="auto">
          <a:xfrm>
            <a:off x="266992" y="1708671"/>
            <a:ext cx="8207478" cy="5170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Arial" pitchFamily="34" charset="0"/>
              <a:buChar char="•"/>
              <a:defRPr sz="2800" kern="1200">
                <a:solidFill>
                  <a:schemeClr val="tx1">
                    <a:lumMod val="75000"/>
                    <a:lumOff val="25000"/>
                  </a:schemeClr>
                </a:solidFill>
                <a:latin typeface="+mn-lt"/>
                <a:ea typeface="+mn-ea"/>
                <a:cs typeface="+mn-cs"/>
              </a:defRPr>
            </a:lvl1pPr>
            <a:lvl2pPr marL="742950" indent="-285750" algn="l" rtl="0" eaLnBrk="1" fontAlgn="base" hangingPunct="1">
              <a:spcBef>
                <a:spcPct val="20000"/>
              </a:spcBef>
              <a:spcAft>
                <a:spcPct val="0"/>
              </a:spcAft>
              <a:buFont typeface="Arial" pitchFamily="34" charset="0"/>
              <a:buChar char="–"/>
              <a:defRPr sz="2400" kern="1200">
                <a:solidFill>
                  <a:schemeClr val="tx1">
                    <a:lumMod val="75000"/>
                    <a:lumOff val="25000"/>
                  </a:schemeClr>
                </a:solidFill>
                <a:latin typeface="+mn-lt"/>
                <a:ea typeface="+mn-ea"/>
                <a:cs typeface="+mn-cs"/>
              </a:defRPr>
            </a:lvl2pPr>
            <a:lvl3pPr marL="1143000" indent="-228600" algn="l" rtl="0" eaLnBrk="1" fontAlgn="base" hangingPunct="1">
              <a:spcBef>
                <a:spcPct val="20000"/>
              </a:spcBef>
              <a:spcAft>
                <a:spcPct val="0"/>
              </a:spcAft>
              <a:buFont typeface="Arial" pitchFamily="34" charset="0"/>
              <a:buChar char="•"/>
              <a:defRPr sz="2000" kern="1200">
                <a:solidFill>
                  <a:schemeClr val="tx1">
                    <a:lumMod val="75000"/>
                    <a:lumOff val="25000"/>
                  </a:schemeClr>
                </a:solidFill>
                <a:latin typeface="+mn-lt"/>
                <a:ea typeface="+mn-ea"/>
                <a:cs typeface="+mn-cs"/>
              </a:defRPr>
            </a:lvl3pPr>
            <a:lvl4pPr marL="16002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4pPr>
            <a:lvl5pPr marL="20574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GB" sz="2400" b="1" dirty="0">
                <a:solidFill>
                  <a:schemeClr val="tx1">
                    <a:lumMod val="85000"/>
                    <a:lumOff val="15000"/>
                  </a:schemeClr>
                </a:solidFill>
                <a:latin typeface="Clarendon Condensed" panose="02040706040705040204" pitchFamily="18" charset="0"/>
              </a:rPr>
              <a:t>d.  Ideation Road Map – Project Idea Action Areas  </a:t>
            </a:r>
          </a:p>
          <a:p>
            <a:pPr marL="0" indent="0">
              <a:buNone/>
            </a:pPr>
            <a:endParaRPr lang="en-GB" sz="2200" b="1" dirty="0">
              <a:latin typeface="Clarendon Condensed" panose="02040706040705040204" pitchFamily="18" charset="0"/>
            </a:endParaRPr>
          </a:p>
        </p:txBody>
      </p:sp>
      <p:graphicFrame>
        <p:nvGraphicFramePr>
          <p:cNvPr id="7" name="Diagram 6">
            <a:extLst>
              <a:ext uri="{FF2B5EF4-FFF2-40B4-BE49-F238E27FC236}">
                <a16:creationId xmlns:a16="http://schemas.microsoft.com/office/drawing/2014/main" xmlns="" id="{93044231-B42B-4C55-8CF1-F90DE27AFD0E}"/>
              </a:ext>
            </a:extLst>
          </p:cNvPr>
          <p:cNvGraphicFramePr/>
          <p:nvPr>
            <p:extLst>
              <p:ext uri="{D42A27DB-BD31-4B8C-83A1-F6EECF244321}">
                <p14:modId xmlns:p14="http://schemas.microsoft.com/office/powerpoint/2010/main" val="3885563883"/>
              </p:ext>
            </p:extLst>
          </p:nvPr>
        </p:nvGraphicFramePr>
        <p:xfrm>
          <a:off x="319631" y="2506872"/>
          <a:ext cx="8572849" cy="32787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5600003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xmlns="" id="{8B294B7C-7126-49F3-83DB-980D2C660D6F}"/>
              </a:ext>
            </a:extLst>
          </p:cNvPr>
          <p:cNvPicPr>
            <a:picLocks noChangeAspect="1"/>
          </p:cNvPicPr>
          <p:nvPr/>
        </p:nvPicPr>
        <p:blipFill rotWithShape="1">
          <a:blip r:embed="rId3"/>
          <a:srcRect t="6230" b="8044"/>
          <a:stretch/>
        </p:blipFill>
        <p:spPr>
          <a:xfrm>
            <a:off x="368066" y="39945"/>
            <a:ext cx="8702454" cy="1209998"/>
          </a:xfrm>
          <a:prstGeom prst="rect">
            <a:avLst/>
          </a:prstGeom>
        </p:spPr>
      </p:pic>
      <p:sp>
        <p:nvSpPr>
          <p:cNvPr id="15" name="Content Placeholder 2">
            <a:extLst>
              <a:ext uri="{FF2B5EF4-FFF2-40B4-BE49-F238E27FC236}">
                <a16:creationId xmlns:a16="http://schemas.microsoft.com/office/drawing/2014/main" xmlns="" id="{AF59E3E8-250C-4365-8D03-22253828A103}"/>
              </a:ext>
            </a:extLst>
          </p:cNvPr>
          <p:cNvSpPr txBox="1">
            <a:spLocks/>
          </p:cNvSpPr>
          <p:nvPr/>
        </p:nvSpPr>
        <p:spPr bwMode="auto">
          <a:xfrm>
            <a:off x="368066" y="1259088"/>
            <a:ext cx="8207478" cy="5170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Arial" pitchFamily="34" charset="0"/>
              <a:buChar char="•"/>
              <a:defRPr sz="2800" kern="1200">
                <a:solidFill>
                  <a:schemeClr val="tx1">
                    <a:lumMod val="75000"/>
                    <a:lumOff val="25000"/>
                  </a:schemeClr>
                </a:solidFill>
                <a:latin typeface="+mn-lt"/>
                <a:ea typeface="+mn-ea"/>
                <a:cs typeface="+mn-cs"/>
              </a:defRPr>
            </a:lvl1pPr>
            <a:lvl2pPr marL="742950" indent="-285750" algn="l" rtl="0" eaLnBrk="1" fontAlgn="base" hangingPunct="1">
              <a:spcBef>
                <a:spcPct val="20000"/>
              </a:spcBef>
              <a:spcAft>
                <a:spcPct val="0"/>
              </a:spcAft>
              <a:buFont typeface="Arial" pitchFamily="34" charset="0"/>
              <a:buChar char="–"/>
              <a:defRPr sz="2400" kern="1200">
                <a:solidFill>
                  <a:schemeClr val="tx1">
                    <a:lumMod val="75000"/>
                    <a:lumOff val="25000"/>
                  </a:schemeClr>
                </a:solidFill>
                <a:latin typeface="+mn-lt"/>
                <a:ea typeface="+mn-ea"/>
                <a:cs typeface="+mn-cs"/>
              </a:defRPr>
            </a:lvl2pPr>
            <a:lvl3pPr marL="1143000" indent="-228600" algn="l" rtl="0" eaLnBrk="1" fontAlgn="base" hangingPunct="1">
              <a:spcBef>
                <a:spcPct val="20000"/>
              </a:spcBef>
              <a:spcAft>
                <a:spcPct val="0"/>
              </a:spcAft>
              <a:buFont typeface="Arial" pitchFamily="34" charset="0"/>
              <a:buChar char="•"/>
              <a:defRPr sz="2000" kern="1200">
                <a:solidFill>
                  <a:schemeClr val="tx1">
                    <a:lumMod val="75000"/>
                    <a:lumOff val="25000"/>
                  </a:schemeClr>
                </a:solidFill>
                <a:latin typeface="+mn-lt"/>
                <a:ea typeface="+mn-ea"/>
                <a:cs typeface="+mn-cs"/>
              </a:defRPr>
            </a:lvl3pPr>
            <a:lvl4pPr marL="16002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4pPr>
            <a:lvl5pPr marL="20574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GB" sz="2400" b="1" dirty="0">
                <a:solidFill>
                  <a:schemeClr val="tx1">
                    <a:lumMod val="85000"/>
                    <a:lumOff val="15000"/>
                  </a:schemeClr>
                </a:solidFill>
                <a:latin typeface="Clarendon Condensed" panose="02040706040705040204" pitchFamily="18" charset="0"/>
              </a:rPr>
              <a:t>Ideation Road Map – Developed Generic Investment Actions</a:t>
            </a:r>
          </a:p>
        </p:txBody>
      </p:sp>
      <p:sp>
        <p:nvSpPr>
          <p:cNvPr id="6" name="Content Placeholder 5">
            <a:extLst>
              <a:ext uri="{FF2B5EF4-FFF2-40B4-BE49-F238E27FC236}">
                <a16:creationId xmlns:a16="http://schemas.microsoft.com/office/drawing/2014/main" xmlns="" id="{44929395-2461-4FD4-8746-8442BA37BE2F}"/>
              </a:ext>
            </a:extLst>
          </p:cNvPr>
          <p:cNvSpPr>
            <a:spLocks noGrp="1"/>
          </p:cNvSpPr>
          <p:nvPr>
            <p:ph idx="1"/>
          </p:nvPr>
        </p:nvSpPr>
        <p:spPr>
          <a:xfrm>
            <a:off x="368065" y="1727639"/>
            <a:ext cx="9020633" cy="1195866"/>
          </a:xfrm>
        </p:spPr>
        <p:txBody>
          <a:bodyPr/>
          <a:lstStyle/>
          <a:p>
            <a:pPr>
              <a:buFont typeface="Wingdings" panose="05000000000000000000" pitchFamily="2" charset="2"/>
              <a:buChar char="§"/>
            </a:pPr>
            <a:r>
              <a:rPr lang="en-GB" sz="2000" dirty="0">
                <a:solidFill>
                  <a:schemeClr val="tx1"/>
                </a:solidFill>
              </a:rPr>
              <a:t>Brainstorming and gathering of ideas (Workshops &amp; Bilateral meetings)</a:t>
            </a:r>
          </a:p>
          <a:p>
            <a:pPr>
              <a:buFont typeface="Wingdings" panose="05000000000000000000" pitchFamily="2" charset="2"/>
              <a:buChar char="§"/>
            </a:pPr>
            <a:r>
              <a:rPr lang="en-GB" sz="2000" dirty="0">
                <a:solidFill>
                  <a:schemeClr val="tx1"/>
                </a:solidFill>
              </a:rPr>
              <a:t>Review of national and institutional strategic plans and programme documents</a:t>
            </a:r>
          </a:p>
        </p:txBody>
      </p:sp>
      <p:graphicFrame>
        <p:nvGraphicFramePr>
          <p:cNvPr id="10" name="Content Placeholder 7">
            <a:extLst>
              <a:ext uri="{FF2B5EF4-FFF2-40B4-BE49-F238E27FC236}">
                <a16:creationId xmlns:a16="http://schemas.microsoft.com/office/drawing/2014/main" xmlns="" id="{ADA5898D-7DEC-4EDC-97F8-69074165C748}"/>
              </a:ext>
            </a:extLst>
          </p:cNvPr>
          <p:cNvGraphicFramePr>
            <a:graphicFrameLocks/>
          </p:cNvGraphicFramePr>
          <p:nvPr>
            <p:extLst>
              <p:ext uri="{D42A27DB-BD31-4B8C-83A1-F6EECF244321}">
                <p14:modId xmlns:p14="http://schemas.microsoft.com/office/powerpoint/2010/main" val="4100004505"/>
              </p:ext>
            </p:extLst>
          </p:nvPr>
        </p:nvGraphicFramePr>
        <p:xfrm>
          <a:off x="450531" y="2606883"/>
          <a:ext cx="8325404" cy="425111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5538294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xmlns="" id="{78A7FBC4-993F-4ECB-BCCD-4644B625570E}"/>
              </a:ext>
            </a:extLst>
          </p:cNvPr>
          <p:cNvSpPr txBox="1"/>
          <p:nvPr/>
        </p:nvSpPr>
        <p:spPr>
          <a:xfrm>
            <a:off x="266991" y="1458367"/>
            <a:ext cx="7041312" cy="461665"/>
          </a:xfrm>
          <a:prstGeom prst="rect">
            <a:avLst/>
          </a:prstGeom>
          <a:noFill/>
        </p:spPr>
        <p:txBody>
          <a:bodyPr wrap="square" rtlCol="0">
            <a:spAutoFit/>
          </a:bodyPr>
          <a:lstStyle/>
          <a:p>
            <a:pPr>
              <a:defRPr/>
            </a:pPr>
            <a:r>
              <a:rPr lang="en-GB" b="1" dirty="0">
                <a:latin typeface="Clarendon Condensed" panose="02040706040705040204" pitchFamily="18" charset="0"/>
                <a:ea typeface="+mn-ea"/>
              </a:rPr>
              <a:t>Ideation: Generic Multi-stakeholder Projects Conceived  </a:t>
            </a:r>
          </a:p>
        </p:txBody>
      </p:sp>
      <p:pic>
        <p:nvPicPr>
          <p:cNvPr id="21" name="Picture 20">
            <a:extLst>
              <a:ext uri="{FF2B5EF4-FFF2-40B4-BE49-F238E27FC236}">
                <a16:creationId xmlns:a16="http://schemas.microsoft.com/office/drawing/2014/main" xmlns="" id="{8B294B7C-7126-49F3-83DB-980D2C660D6F}"/>
              </a:ext>
            </a:extLst>
          </p:cNvPr>
          <p:cNvPicPr>
            <a:picLocks noChangeAspect="1"/>
          </p:cNvPicPr>
          <p:nvPr/>
        </p:nvPicPr>
        <p:blipFill>
          <a:blip r:embed="rId3"/>
          <a:stretch>
            <a:fillRect/>
          </a:stretch>
        </p:blipFill>
        <p:spPr>
          <a:xfrm>
            <a:off x="266992" y="16042"/>
            <a:ext cx="8625488" cy="1411478"/>
          </a:xfrm>
          <a:prstGeom prst="rect">
            <a:avLst/>
          </a:prstGeom>
        </p:spPr>
      </p:pic>
      <p:sp>
        <p:nvSpPr>
          <p:cNvPr id="11" name="Title 10">
            <a:extLst>
              <a:ext uri="{FF2B5EF4-FFF2-40B4-BE49-F238E27FC236}">
                <a16:creationId xmlns:a16="http://schemas.microsoft.com/office/drawing/2014/main" xmlns="" id="{64BFBF09-B96F-4395-8EE3-FB6D063B6564}"/>
              </a:ext>
            </a:extLst>
          </p:cNvPr>
          <p:cNvSpPr>
            <a:spLocks noGrp="1"/>
          </p:cNvSpPr>
          <p:nvPr>
            <p:ph type="title"/>
          </p:nvPr>
        </p:nvSpPr>
        <p:spPr/>
        <p:txBody>
          <a:bodyPr/>
          <a:lstStyle/>
          <a:p>
            <a:endParaRPr lang="en-US"/>
          </a:p>
        </p:txBody>
      </p:sp>
      <p:sp>
        <p:nvSpPr>
          <p:cNvPr id="13" name="Content Placeholder 12">
            <a:extLst>
              <a:ext uri="{FF2B5EF4-FFF2-40B4-BE49-F238E27FC236}">
                <a16:creationId xmlns:a16="http://schemas.microsoft.com/office/drawing/2014/main" xmlns="" id="{BB73E45B-F510-4CD8-A585-82450A73DFB1}"/>
              </a:ext>
            </a:extLst>
          </p:cNvPr>
          <p:cNvSpPr>
            <a:spLocks noGrp="1"/>
          </p:cNvSpPr>
          <p:nvPr>
            <p:ph sz="half" idx="1"/>
          </p:nvPr>
        </p:nvSpPr>
        <p:spPr>
          <a:xfrm>
            <a:off x="266991" y="1940640"/>
            <a:ext cx="4202550" cy="4525963"/>
          </a:xfrm>
        </p:spPr>
        <p:txBody>
          <a:bodyPr/>
          <a:lstStyle/>
          <a:p>
            <a:pPr marL="0" indent="0">
              <a:buNone/>
            </a:pPr>
            <a:endParaRPr lang="en-GB" sz="100" dirty="0"/>
          </a:p>
          <a:p>
            <a:pPr>
              <a:buFont typeface="Wingdings" panose="05000000000000000000" pitchFamily="2" charset="2"/>
              <a:buChar char="§"/>
            </a:pPr>
            <a:r>
              <a:rPr lang="en-US" sz="2000" dirty="0">
                <a:solidFill>
                  <a:schemeClr val="tx1"/>
                </a:solidFill>
              </a:rPr>
              <a:t>Leveraging Public Private Partnerships for Fecal Sludge Management in Municipal Towns </a:t>
            </a:r>
            <a:endParaRPr lang="en-GB" sz="2000" dirty="0">
              <a:solidFill>
                <a:schemeClr val="tx1"/>
              </a:solidFill>
            </a:endParaRPr>
          </a:p>
          <a:p>
            <a:pPr marL="0" indent="0">
              <a:buNone/>
            </a:pPr>
            <a:endParaRPr lang="en-GB" sz="600" dirty="0">
              <a:solidFill>
                <a:schemeClr val="tx1"/>
              </a:solidFill>
            </a:endParaRPr>
          </a:p>
          <a:p>
            <a:pPr>
              <a:buFont typeface="Wingdings" panose="05000000000000000000" pitchFamily="2" charset="2"/>
              <a:buChar char="§"/>
            </a:pPr>
            <a:r>
              <a:rPr lang="en-GB" sz="2000" dirty="0">
                <a:solidFill>
                  <a:schemeClr val="tx1"/>
                </a:solidFill>
              </a:rPr>
              <a:t>Piloting industrial and business symbiosis to manage solid waste – mobile app</a:t>
            </a:r>
          </a:p>
          <a:p>
            <a:pPr>
              <a:buFont typeface="Wingdings" panose="05000000000000000000" pitchFamily="2" charset="2"/>
              <a:buChar char="§"/>
            </a:pPr>
            <a:endParaRPr lang="en-GB" sz="600" dirty="0">
              <a:solidFill>
                <a:schemeClr val="tx1"/>
              </a:solidFill>
            </a:endParaRPr>
          </a:p>
          <a:p>
            <a:pPr>
              <a:buFont typeface="Wingdings" panose="05000000000000000000" pitchFamily="2" charset="2"/>
              <a:buChar char="§"/>
            </a:pPr>
            <a:r>
              <a:rPr lang="en-GB" sz="2000" dirty="0">
                <a:solidFill>
                  <a:schemeClr val="tx1"/>
                </a:solidFill>
              </a:rPr>
              <a:t>Greening Urban Open Spaces (Integrating landscaping into build environment) </a:t>
            </a:r>
          </a:p>
          <a:p>
            <a:pPr>
              <a:buFont typeface="Wingdings" panose="05000000000000000000" pitchFamily="2" charset="2"/>
              <a:buChar char="§"/>
            </a:pPr>
            <a:endParaRPr lang="en-GB" sz="600" dirty="0">
              <a:solidFill>
                <a:schemeClr val="tx1"/>
              </a:solidFill>
            </a:endParaRPr>
          </a:p>
          <a:p>
            <a:pPr>
              <a:buFont typeface="Wingdings" panose="05000000000000000000" pitchFamily="2" charset="2"/>
              <a:buChar char="§"/>
            </a:pPr>
            <a:r>
              <a:rPr lang="en-US" sz="2000" dirty="0">
                <a:solidFill>
                  <a:schemeClr val="tx1"/>
                </a:solidFill>
              </a:rPr>
              <a:t>Sustainable Urban Agriculture </a:t>
            </a:r>
          </a:p>
          <a:p>
            <a:pPr>
              <a:buFont typeface="Wingdings" panose="05000000000000000000" pitchFamily="2" charset="2"/>
              <a:buChar char="§"/>
            </a:pPr>
            <a:endParaRPr lang="en-US" sz="2200" dirty="0"/>
          </a:p>
        </p:txBody>
      </p:sp>
      <p:sp>
        <p:nvSpPr>
          <p:cNvPr id="14" name="Content Placeholder 13">
            <a:extLst>
              <a:ext uri="{FF2B5EF4-FFF2-40B4-BE49-F238E27FC236}">
                <a16:creationId xmlns:a16="http://schemas.microsoft.com/office/drawing/2014/main" xmlns="" id="{E1F3E587-3376-4C49-B74C-68517401D67D}"/>
              </a:ext>
            </a:extLst>
          </p:cNvPr>
          <p:cNvSpPr>
            <a:spLocks noGrp="1"/>
          </p:cNvSpPr>
          <p:nvPr>
            <p:ph sz="half" idx="2"/>
          </p:nvPr>
        </p:nvSpPr>
        <p:spPr>
          <a:xfrm>
            <a:off x="4674460" y="2001025"/>
            <a:ext cx="4388297" cy="4608197"/>
          </a:xfrm>
        </p:spPr>
        <p:txBody>
          <a:bodyPr/>
          <a:lstStyle/>
          <a:p>
            <a:pPr>
              <a:buFont typeface="Wingdings" panose="05000000000000000000" pitchFamily="2" charset="2"/>
              <a:buChar char="§"/>
            </a:pPr>
            <a:r>
              <a:rPr lang="en-GB" sz="2000" dirty="0">
                <a:solidFill>
                  <a:schemeClr val="tx1"/>
                </a:solidFill>
              </a:rPr>
              <a:t>Communal flood management initiative – upstream/downstream management </a:t>
            </a:r>
          </a:p>
          <a:p>
            <a:pPr>
              <a:buFont typeface="Wingdings" panose="05000000000000000000" pitchFamily="2" charset="2"/>
              <a:buChar char="§"/>
            </a:pPr>
            <a:endParaRPr lang="en-GB" sz="600" dirty="0">
              <a:solidFill>
                <a:schemeClr val="tx1"/>
              </a:solidFill>
            </a:endParaRPr>
          </a:p>
          <a:p>
            <a:pPr>
              <a:buFont typeface="Wingdings" panose="05000000000000000000" pitchFamily="2" charset="2"/>
              <a:buChar char="§"/>
            </a:pPr>
            <a:r>
              <a:rPr lang="en-GB" sz="2000" dirty="0">
                <a:solidFill>
                  <a:schemeClr val="tx1"/>
                </a:solidFill>
              </a:rPr>
              <a:t>Lake front management</a:t>
            </a:r>
            <a:endParaRPr lang="en-US" sz="2000" dirty="0">
              <a:solidFill>
                <a:schemeClr val="tx1"/>
              </a:solidFill>
            </a:endParaRPr>
          </a:p>
          <a:p>
            <a:pPr marL="0" indent="0">
              <a:buNone/>
            </a:pPr>
            <a:endParaRPr lang="en-US" sz="600" dirty="0">
              <a:solidFill>
                <a:schemeClr val="tx1"/>
              </a:solidFill>
            </a:endParaRPr>
          </a:p>
          <a:p>
            <a:pPr>
              <a:buFont typeface="Wingdings" panose="05000000000000000000" pitchFamily="2" charset="2"/>
              <a:buChar char="§"/>
            </a:pPr>
            <a:r>
              <a:rPr lang="en-US" sz="2000" dirty="0">
                <a:solidFill>
                  <a:schemeClr val="tx1"/>
                </a:solidFill>
              </a:rPr>
              <a:t>Scaling up water supply options for improved water access in informal settlements</a:t>
            </a:r>
          </a:p>
          <a:p>
            <a:pPr>
              <a:buFont typeface="Wingdings" panose="05000000000000000000" pitchFamily="2" charset="2"/>
              <a:buChar char="§"/>
            </a:pPr>
            <a:endParaRPr lang="en-US" sz="600" dirty="0">
              <a:solidFill>
                <a:schemeClr val="tx1"/>
              </a:solidFill>
            </a:endParaRPr>
          </a:p>
          <a:p>
            <a:pPr>
              <a:buFont typeface="Wingdings" panose="05000000000000000000" pitchFamily="2" charset="2"/>
              <a:buChar char="§"/>
            </a:pPr>
            <a:r>
              <a:rPr lang="en-US" sz="2000" dirty="0">
                <a:solidFill>
                  <a:schemeClr val="tx1"/>
                </a:solidFill>
              </a:rPr>
              <a:t>Upgrade of Informal Settlements</a:t>
            </a:r>
          </a:p>
          <a:p>
            <a:pPr>
              <a:buFont typeface="Wingdings" panose="05000000000000000000" pitchFamily="2" charset="2"/>
              <a:buChar char="§"/>
            </a:pPr>
            <a:endParaRPr lang="en-US" sz="600" dirty="0">
              <a:solidFill>
                <a:schemeClr val="tx1"/>
              </a:solidFill>
            </a:endParaRPr>
          </a:p>
          <a:p>
            <a:pPr>
              <a:buFont typeface="Wingdings" panose="05000000000000000000" pitchFamily="2" charset="2"/>
              <a:buChar char="§"/>
            </a:pPr>
            <a:r>
              <a:rPr lang="en-US" sz="2000" dirty="0">
                <a:solidFill>
                  <a:schemeClr val="tx1"/>
                </a:solidFill>
              </a:rPr>
              <a:t>Industrial/Enterprise Water Demand Management Programme </a:t>
            </a:r>
          </a:p>
        </p:txBody>
      </p:sp>
    </p:spTree>
    <p:extLst>
      <p:ext uri="{BB962C8B-B14F-4D97-AF65-F5344CB8AC3E}">
        <p14:creationId xmlns:p14="http://schemas.microsoft.com/office/powerpoint/2010/main" val="81482529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A14D340-4F1D-45A9-A154-3804934EA07C}"/>
              </a:ext>
            </a:extLst>
          </p:cNvPr>
          <p:cNvSpPr>
            <a:spLocks noGrp="1"/>
          </p:cNvSpPr>
          <p:nvPr>
            <p:ph type="ctrTitle"/>
          </p:nvPr>
        </p:nvSpPr>
        <p:spPr>
          <a:xfrm>
            <a:off x="266992" y="1413829"/>
            <a:ext cx="8877008" cy="1830814"/>
          </a:xfrm>
        </p:spPr>
        <p:txBody>
          <a:bodyPr/>
          <a:lstStyle/>
          <a:p>
            <a:r>
              <a:rPr kumimoji="1" lang="en-GB" sz="3200" b="1" kern="0" dirty="0">
                <a:solidFill>
                  <a:schemeClr val="bg2">
                    <a:lumMod val="25000"/>
                  </a:schemeClr>
                </a:solidFill>
                <a:latin typeface="Clarendon Condensed" panose="02040706040705040204" pitchFamily="18" charset="0"/>
                <a:ea typeface="Cambria" panose="02040503050406030204" pitchFamily="18" charset="0"/>
              </a:rPr>
              <a:t>The Water Security Action and Investment Plan</a:t>
            </a:r>
            <a:endParaRPr lang="en-US" sz="3200" dirty="0">
              <a:solidFill>
                <a:schemeClr val="bg2">
                  <a:lumMod val="25000"/>
                </a:schemeClr>
              </a:solidFill>
              <a:latin typeface="Clarendon Condensed" panose="02040706040705040204" pitchFamily="18" charset="0"/>
              <a:ea typeface="Cambria" panose="02040503050406030204" pitchFamily="18" charset="0"/>
            </a:endParaRPr>
          </a:p>
        </p:txBody>
      </p:sp>
      <p:sp>
        <p:nvSpPr>
          <p:cNvPr id="3" name="Subtitle 2">
            <a:extLst>
              <a:ext uri="{FF2B5EF4-FFF2-40B4-BE49-F238E27FC236}">
                <a16:creationId xmlns:a16="http://schemas.microsoft.com/office/drawing/2014/main" xmlns="" id="{B380CECA-CB56-4608-A855-33A408AEF366}"/>
              </a:ext>
            </a:extLst>
          </p:cNvPr>
          <p:cNvSpPr>
            <a:spLocks noGrp="1"/>
          </p:cNvSpPr>
          <p:nvPr>
            <p:ph type="subTitle" idx="1"/>
          </p:nvPr>
        </p:nvSpPr>
        <p:spPr>
          <a:xfrm>
            <a:off x="1371600" y="3923467"/>
            <a:ext cx="6400800" cy="958687"/>
          </a:xfrm>
        </p:spPr>
        <p:txBody>
          <a:bodyPr/>
          <a:lstStyle/>
          <a:p>
            <a:endParaRPr lang="en-GB" sz="2000" b="1" dirty="0">
              <a:latin typeface="Clarendon Condensed" panose="02040706040705040204" pitchFamily="18" charset="0"/>
            </a:endParaRPr>
          </a:p>
          <a:p>
            <a:r>
              <a:rPr lang="en-GB" sz="2400" b="1" dirty="0">
                <a:latin typeface="Clarendon Condensed" panose="02040706040705040204" pitchFamily="18" charset="0"/>
              </a:rPr>
              <a:t>END</a:t>
            </a:r>
          </a:p>
          <a:p>
            <a:endParaRPr lang="en-US" dirty="0"/>
          </a:p>
        </p:txBody>
      </p:sp>
      <p:pic>
        <p:nvPicPr>
          <p:cNvPr id="6" name="Picture 5">
            <a:extLst>
              <a:ext uri="{FF2B5EF4-FFF2-40B4-BE49-F238E27FC236}">
                <a16:creationId xmlns:a16="http://schemas.microsoft.com/office/drawing/2014/main" xmlns="" id="{F3B30EFA-6331-437A-9932-CF9C3F0AB48E}"/>
              </a:ext>
            </a:extLst>
          </p:cNvPr>
          <p:cNvPicPr>
            <a:picLocks noChangeAspect="1"/>
          </p:cNvPicPr>
          <p:nvPr/>
        </p:nvPicPr>
        <p:blipFill>
          <a:blip r:embed="rId3"/>
          <a:stretch>
            <a:fillRect/>
          </a:stretch>
        </p:blipFill>
        <p:spPr>
          <a:xfrm>
            <a:off x="266992" y="-48127"/>
            <a:ext cx="8610016" cy="1411478"/>
          </a:xfrm>
          <a:prstGeom prst="rect">
            <a:avLst/>
          </a:prstGeom>
        </p:spPr>
      </p:pic>
      <p:sp>
        <p:nvSpPr>
          <p:cNvPr id="7" name="Subtitle 2">
            <a:extLst>
              <a:ext uri="{FF2B5EF4-FFF2-40B4-BE49-F238E27FC236}">
                <a16:creationId xmlns:a16="http://schemas.microsoft.com/office/drawing/2014/main" xmlns="" id="{89CA5321-3000-43E1-A260-5CB13D13F31A}"/>
              </a:ext>
            </a:extLst>
          </p:cNvPr>
          <p:cNvSpPr txBox="1">
            <a:spLocks/>
          </p:cNvSpPr>
          <p:nvPr/>
        </p:nvSpPr>
        <p:spPr bwMode="auto">
          <a:xfrm>
            <a:off x="575556" y="2877463"/>
            <a:ext cx="7992888" cy="73435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ctr" rtl="0" eaLnBrk="1" fontAlgn="base" hangingPunct="1">
              <a:spcBef>
                <a:spcPct val="20000"/>
              </a:spcBef>
              <a:spcAft>
                <a:spcPct val="0"/>
              </a:spcAft>
              <a:buFont typeface="Arial" pitchFamily="34" charset="0"/>
              <a:buNone/>
              <a:defRPr sz="2800" kern="1200">
                <a:solidFill>
                  <a:schemeClr val="tx1">
                    <a:lumMod val="65000"/>
                    <a:lumOff val="35000"/>
                  </a:schemeClr>
                </a:solidFill>
                <a:latin typeface="+mn-lt"/>
                <a:ea typeface="+mn-ea"/>
                <a:cs typeface="+mn-cs"/>
              </a:defRPr>
            </a:lvl1pPr>
            <a:lvl2pPr marL="457200" indent="0" algn="ctr" rtl="0" eaLnBrk="1" fontAlgn="base" hangingPunct="1">
              <a:spcBef>
                <a:spcPct val="20000"/>
              </a:spcBef>
              <a:spcAft>
                <a:spcPct val="0"/>
              </a:spcAft>
              <a:buFont typeface="Arial" pitchFamily="34" charset="0"/>
              <a:buNone/>
              <a:defRPr sz="2400" kern="1200">
                <a:solidFill>
                  <a:schemeClr val="tx1">
                    <a:tint val="75000"/>
                  </a:schemeClr>
                </a:solidFill>
                <a:latin typeface="+mn-lt"/>
                <a:ea typeface="+mn-ea"/>
                <a:cs typeface="+mn-cs"/>
              </a:defRPr>
            </a:lvl2pPr>
            <a:lvl3pPr marL="914400" indent="0" algn="ctr" rtl="0" eaLnBrk="1" fontAlgn="base" hangingPunct="1">
              <a:spcBef>
                <a:spcPct val="20000"/>
              </a:spcBef>
              <a:spcAft>
                <a:spcPct val="0"/>
              </a:spcAft>
              <a:buFont typeface="Arial" pitchFamily="34" charset="0"/>
              <a:buNone/>
              <a:defRPr sz="2000" kern="1200">
                <a:solidFill>
                  <a:schemeClr val="tx1">
                    <a:tint val="75000"/>
                  </a:schemeClr>
                </a:solidFill>
                <a:latin typeface="+mn-lt"/>
                <a:ea typeface="+mn-ea"/>
                <a:cs typeface="+mn-cs"/>
              </a:defRPr>
            </a:lvl3pPr>
            <a:lvl4pPr marL="1371600" indent="0" algn="ctr" rtl="0" eaLnBrk="1" fontAlgn="base" hangingPunct="1">
              <a:spcBef>
                <a:spcPct val="20000"/>
              </a:spcBef>
              <a:spcAft>
                <a:spcPct val="0"/>
              </a:spcAft>
              <a:buFont typeface="Arial" pitchFamily="34" charset="0"/>
              <a:buNone/>
              <a:defRPr sz="1800" kern="1200">
                <a:solidFill>
                  <a:schemeClr val="tx1">
                    <a:tint val="75000"/>
                  </a:schemeClr>
                </a:solidFill>
                <a:latin typeface="+mn-lt"/>
                <a:ea typeface="+mn-ea"/>
                <a:cs typeface="+mn-cs"/>
              </a:defRPr>
            </a:lvl4pPr>
            <a:lvl5pPr marL="1828800" indent="0" algn="ctr" rtl="0" eaLnBrk="1" fontAlgn="base" hangingPunct="1">
              <a:spcBef>
                <a:spcPct val="20000"/>
              </a:spcBef>
              <a:spcAft>
                <a:spcPct val="0"/>
              </a:spcAft>
              <a:buFont typeface="Arial" pitchFamily="34" charset="0"/>
              <a:buNone/>
              <a:defRPr sz="18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en-GB" sz="2400" b="1" dirty="0">
                <a:solidFill>
                  <a:schemeClr val="tx1"/>
                </a:solidFill>
                <a:latin typeface="Clarendon Condensed" panose="02040706040705040204" pitchFamily="18" charset="0"/>
              </a:rPr>
              <a:t>Delivering Powerful Multi-stakeholder Investment Actions for A Water Secure Greater Kampala  </a:t>
            </a:r>
            <a:endParaRPr lang="en-US" sz="2400" b="1" dirty="0">
              <a:solidFill>
                <a:schemeClr val="tx1"/>
              </a:solidFill>
              <a:latin typeface="Clarendon Condensed" panose="02040706040705040204" pitchFamily="18" charset="0"/>
            </a:endParaRPr>
          </a:p>
        </p:txBody>
      </p:sp>
      <p:sp>
        <p:nvSpPr>
          <p:cNvPr id="4" name="TextBox 3"/>
          <p:cNvSpPr txBox="1"/>
          <p:nvPr/>
        </p:nvSpPr>
        <p:spPr>
          <a:xfrm>
            <a:off x="395536" y="5560978"/>
            <a:ext cx="3024336" cy="1015663"/>
          </a:xfrm>
          <a:prstGeom prst="rect">
            <a:avLst/>
          </a:prstGeom>
          <a:noFill/>
        </p:spPr>
        <p:txBody>
          <a:bodyPr wrap="square" rtlCol="0">
            <a:spAutoFit/>
          </a:bodyPr>
          <a:lstStyle/>
          <a:p>
            <a:r>
              <a:rPr lang="en-GB" sz="2000" dirty="0">
                <a:latin typeface="Clarendon Condensed" panose="02040706040705040204" pitchFamily="18" charset="0"/>
              </a:rPr>
              <a:t>Mathew Parr GIZ</a:t>
            </a:r>
          </a:p>
          <a:p>
            <a:r>
              <a:rPr lang="en-GB" sz="2000" dirty="0">
                <a:latin typeface="Clarendon Condensed" panose="02040706040705040204" pitchFamily="18" charset="0"/>
              </a:rPr>
              <a:t>Country Coordinator IWASP </a:t>
            </a:r>
          </a:p>
          <a:p>
            <a:r>
              <a:rPr lang="en-GB" sz="2000" dirty="0">
                <a:latin typeface="Clarendon Condensed" panose="02040706040705040204" pitchFamily="18" charset="0"/>
              </a:rPr>
              <a:t>mathew.parr@giz.de</a:t>
            </a:r>
          </a:p>
        </p:txBody>
      </p:sp>
    </p:spTree>
    <p:extLst>
      <p:ext uri="{BB962C8B-B14F-4D97-AF65-F5344CB8AC3E}">
        <p14:creationId xmlns:p14="http://schemas.microsoft.com/office/powerpoint/2010/main" val="20082440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UserLA6257\Documents\Local IWaSP\5. IWaSP comms\Pictures\floods-thai-201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70834" y="1205870"/>
            <a:ext cx="3331900" cy="1963044"/>
          </a:xfrm>
          <a:prstGeom prst="rect">
            <a:avLst/>
          </a:prstGeom>
          <a:noFill/>
          <a:extLst>
            <a:ext uri="{909E8E84-426E-40DD-AFC4-6F175D3DCCD1}">
              <a14:hiddenFill xmlns:a14="http://schemas.microsoft.com/office/drawing/2010/main">
                <a:solidFill>
                  <a:srgbClr val="FFFFFF"/>
                </a:solidFill>
              </a14:hiddenFill>
            </a:ext>
          </a:extLst>
        </p:spPr>
      </p:pic>
      <p:sp>
        <p:nvSpPr>
          <p:cNvPr id="7" name="Rechteck 6"/>
          <p:cNvSpPr/>
          <p:nvPr/>
        </p:nvSpPr>
        <p:spPr>
          <a:xfrm>
            <a:off x="1269654" y="3385329"/>
            <a:ext cx="6385264" cy="3293209"/>
          </a:xfrm>
          <a:prstGeom prst="rect">
            <a:avLst/>
          </a:prstGeom>
        </p:spPr>
        <p:txBody>
          <a:bodyPr wrap="square">
            <a:spAutoFit/>
          </a:bodyPr>
          <a:lstStyle/>
          <a:p>
            <a:pPr algn="ctr" eaLnBrk="1" fontAlgn="auto" hangingPunct="1">
              <a:spcAft>
                <a:spcPts val="0"/>
              </a:spcAft>
            </a:pPr>
            <a:r>
              <a:rPr lang="en-US" dirty="0">
                <a:solidFill>
                  <a:srgbClr val="237EC6"/>
                </a:solidFill>
                <a:latin typeface="Calibri"/>
                <a:ea typeface="+mn-ea"/>
              </a:rPr>
              <a:t>“With water in short supply, there will be changes in what is produced,</a:t>
            </a:r>
            <a:r>
              <a:rPr lang="de-DE" dirty="0">
                <a:solidFill>
                  <a:srgbClr val="237EC6"/>
                </a:solidFill>
                <a:latin typeface="Calibri"/>
                <a:ea typeface="+mn-ea"/>
              </a:rPr>
              <a:t> </a:t>
            </a:r>
            <a:r>
              <a:rPr lang="en-US" dirty="0">
                <a:solidFill>
                  <a:srgbClr val="237EC6"/>
                </a:solidFill>
                <a:latin typeface="Calibri"/>
                <a:ea typeface="+mn-ea"/>
              </a:rPr>
              <a:t>where it is produced, and the efficiency of production and water use. So, even</a:t>
            </a:r>
            <a:r>
              <a:rPr lang="de-DE" dirty="0">
                <a:solidFill>
                  <a:srgbClr val="237EC6"/>
                </a:solidFill>
                <a:latin typeface="Calibri"/>
                <a:ea typeface="+mn-ea"/>
              </a:rPr>
              <a:t> </a:t>
            </a:r>
            <a:r>
              <a:rPr lang="en-US" dirty="0">
                <a:solidFill>
                  <a:srgbClr val="237EC6"/>
                </a:solidFill>
                <a:latin typeface="Calibri"/>
                <a:ea typeface="+mn-ea"/>
              </a:rPr>
              <a:t>local changes can be transmitted across the globe.” </a:t>
            </a:r>
          </a:p>
          <a:p>
            <a:pPr algn="ctr" eaLnBrk="1" fontAlgn="auto" hangingPunct="1">
              <a:spcAft>
                <a:spcPts val="0"/>
              </a:spcAft>
            </a:pPr>
            <a:r>
              <a:rPr lang="en-US" dirty="0">
                <a:solidFill>
                  <a:srgbClr val="237EC6"/>
                </a:solidFill>
                <a:latin typeface="Calibri"/>
                <a:ea typeface="+mn-ea"/>
              </a:rPr>
              <a:t> </a:t>
            </a:r>
            <a:endParaRPr lang="de-DE" dirty="0">
              <a:solidFill>
                <a:srgbClr val="237EC6"/>
              </a:solidFill>
              <a:latin typeface="Calibri"/>
              <a:ea typeface="+mn-ea"/>
            </a:endParaRPr>
          </a:p>
          <a:p>
            <a:pPr algn="ctr" eaLnBrk="1" fontAlgn="auto" hangingPunct="1">
              <a:spcAft>
                <a:spcPts val="0"/>
              </a:spcAft>
            </a:pPr>
            <a:r>
              <a:rPr lang="en-US" dirty="0">
                <a:solidFill>
                  <a:srgbClr val="237EC6"/>
                </a:solidFill>
                <a:latin typeface="Calibri"/>
                <a:ea typeface="+mn-ea"/>
              </a:rPr>
              <a:t>„Improved water stewardship thus pays high economic dividends.”</a:t>
            </a:r>
            <a:endParaRPr lang="de-DE" sz="2800" dirty="0">
              <a:solidFill>
                <a:srgbClr val="237EC6"/>
              </a:solidFill>
              <a:latin typeface="Calibri"/>
              <a:ea typeface="+mn-ea"/>
            </a:endParaRPr>
          </a:p>
          <a:p>
            <a:pPr algn="ctr" eaLnBrk="1" fontAlgn="auto" hangingPunct="1">
              <a:spcAft>
                <a:spcPts val="0"/>
              </a:spcAft>
            </a:pPr>
            <a:r>
              <a:rPr lang="en-US" sz="1600" dirty="0">
                <a:solidFill>
                  <a:srgbClr val="237EC6"/>
                </a:solidFill>
                <a:latin typeface="Calibri"/>
                <a:ea typeface="+mn-ea"/>
              </a:rPr>
              <a:t>(World Bank Group: High and Dry, 2016)</a:t>
            </a:r>
          </a:p>
        </p:txBody>
      </p:sp>
      <p:grpSp>
        <p:nvGrpSpPr>
          <p:cNvPr id="14" name="Gruppieren 13"/>
          <p:cNvGrpSpPr/>
          <p:nvPr/>
        </p:nvGrpSpPr>
        <p:grpSpPr>
          <a:xfrm>
            <a:off x="9972600" y="1239352"/>
            <a:ext cx="2832462" cy="1590588"/>
            <a:chOff x="-24391" y="1196753"/>
            <a:chExt cx="9168393" cy="4752529"/>
          </a:xfrm>
        </p:grpSpPr>
        <p:pic>
          <p:nvPicPr>
            <p:cNvPr id="15" name="Grafik 14"/>
            <p:cNvPicPr>
              <a:picLocks noChangeAspect="1"/>
            </p:cNvPicPr>
            <p:nvPr/>
          </p:nvPicPr>
          <p:blipFill rotWithShape="1">
            <a:blip r:embed="rId4"/>
            <a:srcRect l="49561" t="47233" b="11695"/>
            <a:stretch/>
          </p:blipFill>
          <p:spPr>
            <a:xfrm>
              <a:off x="-24391" y="1196753"/>
              <a:ext cx="9168393" cy="4752529"/>
            </a:xfrm>
            <a:prstGeom prst="rect">
              <a:avLst/>
            </a:prstGeom>
          </p:spPr>
        </p:pic>
        <p:sp>
          <p:nvSpPr>
            <p:cNvPr id="16" name="Textfeld 15"/>
            <p:cNvSpPr txBox="1">
              <a:spLocks noChangeAspect="1"/>
            </p:cNvSpPr>
            <p:nvPr/>
          </p:nvSpPr>
          <p:spPr>
            <a:xfrm>
              <a:off x="9736" y="2433131"/>
              <a:ext cx="1393912" cy="1103530"/>
            </a:xfrm>
            <a:prstGeom prst="rect">
              <a:avLst/>
            </a:prstGeom>
            <a:noFill/>
            <a:ln w="38100">
              <a:solidFill>
                <a:schemeClr val="accent2">
                  <a:lumMod val="50000"/>
                </a:schemeClr>
              </a:solidFill>
            </a:ln>
          </p:spPr>
          <p:txBody>
            <a:bodyPr wrap="square" rtlCol="0">
              <a:spAutoFit/>
            </a:bodyPr>
            <a:lstStyle/>
            <a:p>
              <a:pPr eaLnBrk="1" fontAlgn="auto" hangingPunct="1">
                <a:spcBef>
                  <a:spcPts val="0"/>
                </a:spcBef>
                <a:spcAft>
                  <a:spcPts val="0"/>
                </a:spcAft>
              </a:pPr>
              <a:endParaRPr lang="en-US" sz="1800" dirty="0">
                <a:solidFill>
                  <a:srgbClr val="021631"/>
                </a:solidFill>
                <a:latin typeface="Calibri"/>
                <a:ea typeface="+mn-ea"/>
              </a:endParaRPr>
            </a:p>
          </p:txBody>
        </p:sp>
        <p:sp>
          <p:nvSpPr>
            <p:cNvPr id="17" name="Textfeld 16"/>
            <p:cNvSpPr txBox="1"/>
            <p:nvPr/>
          </p:nvSpPr>
          <p:spPr>
            <a:xfrm>
              <a:off x="1547664" y="2420887"/>
              <a:ext cx="1393912" cy="1103530"/>
            </a:xfrm>
            <a:prstGeom prst="rect">
              <a:avLst/>
            </a:prstGeom>
            <a:noFill/>
            <a:ln w="38100">
              <a:solidFill>
                <a:schemeClr val="accent2">
                  <a:lumMod val="50000"/>
                </a:schemeClr>
              </a:solidFill>
            </a:ln>
          </p:spPr>
          <p:txBody>
            <a:bodyPr wrap="square" rtlCol="0">
              <a:spAutoFit/>
            </a:bodyPr>
            <a:lstStyle>
              <a:defPPr>
                <a:defRPr lang="fi-FI"/>
              </a:defPPr>
            </a:lstStyle>
            <a:p>
              <a:pPr eaLnBrk="1" fontAlgn="auto" hangingPunct="1">
                <a:spcBef>
                  <a:spcPts val="0"/>
                </a:spcBef>
                <a:spcAft>
                  <a:spcPts val="0"/>
                </a:spcAft>
              </a:pPr>
              <a:endParaRPr lang="en-US" sz="1800" dirty="0">
                <a:solidFill>
                  <a:srgbClr val="021631"/>
                </a:solidFill>
                <a:latin typeface="Calibri"/>
                <a:ea typeface="+mn-ea"/>
              </a:endParaRPr>
            </a:p>
          </p:txBody>
        </p:sp>
        <p:sp>
          <p:nvSpPr>
            <p:cNvPr id="18" name="Textfeld 17"/>
            <p:cNvSpPr txBox="1"/>
            <p:nvPr/>
          </p:nvSpPr>
          <p:spPr>
            <a:xfrm>
              <a:off x="3059830" y="3290520"/>
              <a:ext cx="1393912" cy="1103530"/>
            </a:xfrm>
            <a:prstGeom prst="rect">
              <a:avLst/>
            </a:prstGeom>
            <a:noFill/>
            <a:ln w="38100">
              <a:solidFill>
                <a:schemeClr val="accent2">
                  <a:lumMod val="50000"/>
                </a:schemeClr>
              </a:solidFill>
            </a:ln>
          </p:spPr>
          <p:txBody>
            <a:bodyPr wrap="square" rtlCol="0">
              <a:spAutoFit/>
            </a:bodyPr>
            <a:lstStyle/>
            <a:p>
              <a:pPr eaLnBrk="1" fontAlgn="auto" hangingPunct="1">
                <a:spcBef>
                  <a:spcPts val="0"/>
                </a:spcBef>
                <a:spcAft>
                  <a:spcPts val="0"/>
                </a:spcAft>
              </a:pPr>
              <a:endParaRPr lang="en-US" sz="1800" dirty="0">
                <a:solidFill>
                  <a:srgbClr val="021631"/>
                </a:solidFill>
                <a:latin typeface="Calibri"/>
                <a:ea typeface="+mn-ea"/>
              </a:endParaRPr>
            </a:p>
          </p:txBody>
        </p:sp>
        <p:sp>
          <p:nvSpPr>
            <p:cNvPr id="19" name="Textfeld 18"/>
            <p:cNvSpPr txBox="1"/>
            <p:nvPr/>
          </p:nvSpPr>
          <p:spPr>
            <a:xfrm>
              <a:off x="4546240" y="1556793"/>
              <a:ext cx="1393912" cy="1103530"/>
            </a:xfrm>
            <a:prstGeom prst="rect">
              <a:avLst/>
            </a:prstGeom>
            <a:noFill/>
            <a:ln w="38100">
              <a:solidFill>
                <a:schemeClr val="accent2">
                  <a:lumMod val="50000"/>
                </a:schemeClr>
              </a:solidFill>
            </a:ln>
          </p:spPr>
          <p:txBody>
            <a:bodyPr wrap="square" rtlCol="0">
              <a:spAutoFit/>
            </a:bodyPr>
            <a:lstStyle/>
            <a:p>
              <a:pPr eaLnBrk="1" fontAlgn="auto" hangingPunct="1">
                <a:spcBef>
                  <a:spcPts val="0"/>
                </a:spcBef>
                <a:spcAft>
                  <a:spcPts val="0"/>
                </a:spcAft>
              </a:pPr>
              <a:endParaRPr lang="en-US" sz="1800" dirty="0">
                <a:solidFill>
                  <a:srgbClr val="021631"/>
                </a:solidFill>
                <a:latin typeface="Calibri"/>
                <a:ea typeface="+mn-ea"/>
              </a:endParaRPr>
            </a:p>
          </p:txBody>
        </p:sp>
        <p:sp>
          <p:nvSpPr>
            <p:cNvPr id="20" name="Textfeld 19"/>
            <p:cNvSpPr txBox="1"/>
            <p:nvPr/>
          </p:nvSpPr>
          <p:spPr>
            <a:xfrm>
              <a:off x="6058409" y="3284983"/>
              <a:ext cx="1393912" cy="1103530"/>
            </a:xfrm>
            <a:prstGeom prst="rect">
              <a:avLst/>
            </a:prstGeom>
            <a:noFill/>
            <a:ln w="38100">
              <a:solidFill>
                <a:schemeClr val="accent2">
                  <a:lumMod val="50000"/>
                </a:schemeClr>
              </a:solidFill>
            </a:ln>
          </p:spPr>
          <p:txBody>
            <a:bodyPr wrap="square" rtlCol="0">
              <a:spAutoFit/>
            </a:bodyPr>
            <a:lstStyle/>
            <a:p>
              <a:pPr eaLnBrk="1" fontAlgn="auto" hangingPunct="1">
                <a:spcBef>
                  <a:spcPts val="0"/>
                </a:spcBef>
                <a:spcAft>
                  <a:spcPts val="0"/>
                </a:spcAft>
              </a:pPr>
              <a:endParaRPr lang="en-US" sz="1800" dirty="0">
                <a:solidFill>
                  <a:srgbClr val="021631"/>
                </a:solidFill>
                <a:latin typeface="Calibri"/>
                <a:ea typeface="+mn-ea"/>
              </a:endParaRPr>
            </a:p>
          </p:txBody>
        </p:sp>
        <p:sp>
          <p:nvSpPr>
            <p:cNvPr id="21" name="Textfeld 20"/>
            <p:cNvSpPr txBox="1"/>
            <p:nvPr/>
          </p:nvSpPr>
          <p:spPr>
            <a:xfrm>
              <a:off x="7570575" y="3284983"/>
              <a:ext cx="1393912" cy="1103530"/>
            </a:xfrm>
            <a:prstGeom prst="rect">
              <a:avLst/>
            </a:prstGeom>
            <a:noFill/>
            <a:ln w="38100">
              <a:solidFill>
                <a:schemeClr val="accent2">
                  <a:lumMod val="50000"/>
                </a:schemeClr>
              </a:solidFill>
            </a:ln>
          </p:spPr>
          <p:txBody>
            <a:bodyPr wrap="square" rtlCol="0">
              <a:spAutoFit/>
            </a:bodyPr>
            <a:lstStyle/>
            <a:p>
              <a:pPr eaLnBrk="1" fontAlgn="auto" hangingPunct="1">
                <a:spcBef>
                  <a:spcPts val="0"/>
                </a:spcBef>
                <a:spcAft>
                  <a:spcPts val="0"/>
                </a:spcAft>
              </a:pPr>
              <a:endParaRPr lang="en-US" sz="1800" dirty="0">
                <a:solidFill>
                  <a:srgbClr val="021631"/>
                </a:solidFill>
                <a:latin typeface="Calibri"/>
                <a:ea typeface="+mn-ea"/>
              </a:endParaRPr>
            </a:p>
          </p:txBody>
        </p:sp>
      </p:grpSp>
      <p:sp>
        <p:nvSpPr>
          <p:cNvPr id="22" name="Textfeld 21"/>
          <p:cNvSpPr txBox="1"/>
          <p:nvPr/>
        </p:nvSpPr>
        <p:spPr>
          <a:xfrm>
            <a:off x="412987" y="1210225"/>
            <a:ext cx="4049299" cy="2108269"/>
          </a:xfrm>
          <a:prstGeom prst="rect">
            <a:avLst/>
          </a:prstGeom>
          <a:noFill/>
        </p:spPr>
        <p:txBody>
          <a:bodyPr wrap="square" rtlCol="0">
            <a:spAutoFit/>
          </a:bodyPr>
          <a:lstStyle/>
          <a:p>
            <a:pPr algn="just" eaLnBrk="1" fontAlgn="auto" hangingPunct="1">
              <a:spcAft>
                <a:spcPts val="0"/>
              </a:spcAft>
            </a:pPr>
            <a:r>
              <a:rPr lang="en-US" dirty="0">
                <a:solidFill>
                  <a:srgbClr val="237EC6"/>
                </a:solidFill>
                <a:latin typeface="Calibri"/>
                <a:ea typeface="+mn-ea"/>
              </a:rPr>
              <a:t>Water </a:t>
            </a:r>
            <a:r>
              <a:rPr lang="en-US" dirty="0" smtClean="0">
                <a:solidFill>
                  <a:srgbClr val="237EC6"/>
                </a:solidFill>
                <a:latin typeface="Calibri"/>
                <a:ea typeface="+mn-ea"/>
              </a:rPr>
              <a:t>[security] crisis </a:t>
            </a:r>
            <a:r>
              <a:rPr lang="en-US" dirty="0">
                <a:solidFill>
                  <a:srgbClr val="237EC6"/>
                </a:solidFill>
                <a:latin typeface="Calibri"/>
                <a:ea typeface="+mn-ea"/>
              </a:rPr>
              <a:t>ranks among the Top 5 Global Risks identified by the World Economic Forum every year since 2012.  </a:t>
            </a:r>
          </a:p>
          <a:p>
            <a:pPr algn="ctr" eaLnBrk="1" fontAlgn="auto" hangingPunct="1">
              <a:spcAft>
                <a:spcPts val="0"/>
              </a:spcAft>
            </a:pPr>
            <a:r>
              <a:rPr lang="en-US" sz="1100" dirty="0">
                <a:solidFill>
                  <a:srgbClr val="237EC6"/>
                </a:solidFill>
                <a:latin typeface="Calibri"/>
                <a:ea typeface="+mn-ea"/>
              </a:rPr>
              <a:t>(World Economic Forum: Global Risks Report 2017)</a:t>
            </a:r>
          </a:p>
        </p:txBody>
      </p:sp>
      <p:sp>
        <p:nvSpPr>
          <p:cNvPr id="12" name="Titel 3"/>
          <p:cNvSpPr>
            <a:spLocks noGrp="1"/>
          </p:cNvSpPr>
          <p:nvPr>
            <p:ph type="title"/>
          </p:nvPr>
        </p:nvSpPr>
        <p:spPr>
          <a:xfrm>
            <a:off x="439825" y="188640"/>
            <a:ext cx="6768751" cy="698376"/>
          </a:xfrm>
        </p:spPr>
        <p:txBody>
          <a:bodyPr/>
          <a:lstStyle/>
          <a:p>
            <a:pPr algn="ctr"/>
            <a:r>
              <a:rPr lang="en-GB" b="0" dirty="0"/>
              <a:t>Why leaders put water high on the agenda?</a:t>
            </a:r>
            <a:r>
              <a:rPr lang="de-DE" b="0" i="1" dirty="0"/>
              <a:t/>
            </a:r>
            <a:br>
              <a:rPr lang="de-DE" b="0" i="1" dirty="0"/>
            </a:br>
            <a:r>
              <a:rPr lang="en-GB" dirty="0" smtClean="0"/>
              <a:t>The </a:t>
            </a:r>
            <a:r>
              <a:rPr lang="en-GB" dirty="0" smtClean="0"/>
              <a:t>Economics</a:t>
            </a:r>
            <a:r>
              <a:rPr lang="en-GB" dirty="0" smtClean="0"/>
              <a:t> </a:t>
            </a:r>
            <a:r>
              <a:rPr lang="en-GB" dirty="0" smtClean="0"/>
              <a:t>of Water</a:t>
            </a:r>
            <a:endParaRPr lang="de-DE" b="0" i="1" kern="0" dirty="0"/>
          </a:p>
        </p:txBody>
      </p:sp>
    </p:spTree>
    <p:extLst>
      <p:ext uri="{BB962C8B-B14F-4D97-AF65-F5344CB8AC3E}">
        <p14:creationId xmlns:p14="http://schemas.microsoft.com/office/powerpoint/2010/main" val="19235464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7" name="Gruppieren 126"/>
          <p:cNvGrpSpPr>
            <a:grpSpLocks noChangeAspect="1"/>
          </p:cNvGrpSpPr>
          <p:nvPr/>
        </p:nvGrpSpPr>
        <p:grpSpPr>
          <a:xfrm>
            <a:off x="285357" y="1025838"/>
            <a:ext cx="8566562" cy="5316923"/>
            <a:chOff x="220285" y="1102454"/>
            <a:chExt cx="9273480" cy="5312932"/>
          </a:xfrm>
        </p:grpSpPr>
        <p:grpSp>
          <p:nvGrpSpPr>
            <p:cNvPr id="130" name="Group 1938"/>
            <p:cNvGrpSpPr>
              <a:grpSpLocks/>
            </p:cNvGrpSpPr>
            <p:nvPr/>
          </p:nvGrpSpPr>
          <p:grpSpPr bwMode="auto">
            <a:xfrm>
              <a:off x="220285" y="1102454"/>
              <a:ext cx="5969803" cy="2920503"/>
              <a:chOff x="0" y="486"/>
              <a:chExt cx="3708" cy="1814"/>
            </a:xfrm>
            <a:solidFill>
              <a:schemeClr val="bg1">
                <a:lumMod val="85000"/>
              </a:schemeClr>
            </a:solidFill>
          </p:grpSpPr>
          <p:sp>
            <p:nvSpPr>
              <p:cNvPr id="1690" name="Freeform 1738"/>
              <p:cNvSpPr>
                <a:spLocks/>
              </p:cNvSpPr>
              <p:nvPr/>
            </p:nvSpPr>
            <p:spPr bwMode="auto">
              <a:xfrm>
                <a:off x="3500" y="2277"/>
                <a:ext cx="1" cy="4"/>
              </a:xfrm>
              <a:custGeom>
                <a:avLst/>
                <a:gdLst>
                  <a:gd name="T0" fmla="*/ 0 w 1"/>
                  <a:gd name="T1" fmla="*/ 2 h 4"/>
                  <a:gd name="T2" fmla="*/ 0 w 1"/>
                  <a:gd name="T3" fmla="*/ 2 h 4"/>
                  <a:gd name="T4" fmla="*/ 0 w 1"/>
                  <a:gd name="T5" fmla="*/ 2 h 4"/>
                  <a:gd name="T6" fmla="*/ 0 w 1"/>
                  <a:gd name="T7" fmla="*/ 2 h 4"/>
                  <a:gd name="T8" fmla="*/ 0 w 1"/>
                  <a:gd name="T9" fmla="*/ 2 h 4"/>
                  <a:gd name="T10" fmla="*/ 0 w 1"/>
                  <a:gd name="T11" fmla="*/ 2 h 4"/>
                  <a:gd name="T12" fmla="*/ 0 w 1"/>
                  <a:gd name="T13" fmla="*/ 2 h 4"/>
                  <a:gd name="T14" fmla="*/ 0 w 1"/>
                  <a:gd name="T15" fmla="*/ 2 h 4"/>
                  <a:gd name="T16" fmla="*/ 0 w 1"/>
                  <a:gd name="T17" fmla="*/ 2 h 4"/>
                  <a:gd name="T18" fmla="*/ 0 w 1"/>
                  <a:gd name="T19" fmla="*/ 2 h 4"/>
                  <a:gd name="T20" fmla="*/ 1 w 1"/>
                  <a:gd name="T21" fmla="*/ 4 h 4"/>
                  <a:gd name="T22" fmla="*/ 1 w 1"/>
                  <a:gd name="T23" fmla="*/ 4 h 4"/>
                  <a:gd name="T24" fmla="*/ 1 w 1"/>
                  <a:gd name="T25" fmla="*/ 4 h 4"/>
                  <a:gd name="T26" fmla="*/ 1 w 1"/>
                  <a:gd name="T27" fmla="*/ 2 h 4"/>
                  <a:gd name="T28" fmla="*/ 1 w 1"/>
                  <a:gd name="T29" fmla="*/ 2 h 4"/>
                  <a:gd name="T30" fmla="*/ 1 w 1"/>
                  <a:gd name="T31" fmla="*/ 2 h 4"/>
                  <a:gd name="T32" fmla="*/ 1 w 1"/>
                  <a:gd name="T33" fmla="*/ 2 h 4"/>
                  <a:gd name="T34" fmla="*/ 1 w 1"/>
                  <a:gd name="T35" fmla="*/ 0 h 4"/>
                  <a:gd name="T36" fmla="*/ 1 w 1"/>
                  <a:gd name="T37" fmla="*/ 0 h 4"/>
                  <a:gd name="T38" fmla="*/ 1 w 1"/>
                  <a:gd name="T39" fmla="*/ 0 h 4"/>
                  <a:gd name="T40" fmla="*/ 1 w 1"/>
                  <a:gd name="T41" fmla="*/ 0 h 4"/>
                  <a:gd name="T42" fmla="*/ 0 w 1"/>
                  <a:gd name="T43" fmla="*/ 2 h 4"/>
                  <a:gd name="T44" fmla="*/ 0 w 1"/>
                  <a:gd name="T4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 h="4">
                    <a:moveTo>
                      <a:pt x="0" y="2"/>
                    </a:moveTo>
                    <a:lnTo>
                      <a:pt x="0" y="2"/>
                    </a:lnTo>
                    <a:lnTo>
                      <a:pt x="0" y="2"/>
                    </a:lnTo>
                    <a:lnTo>
                      <a:pt x="0" y="2"/>
                    </a:lnTo>
                    <a:lnTo>
                      <a:pt x="0" y="2"/>
                    </a:lnTo>
                    <a:lnTo>
                      <a:pt x="0" y="2"/>
                    </a:lnTo>
                    <a:lnTo>
                      <a:pt x="0" y="2"/>
                    </a:lnTo>
                    <a:lnTo>
                      <a:pt x="0" y="2"/>
                    </a:lnTo>
                    <a:lnTo>
                      <a:pt x="0" y="2"/>
                    </a:lnTo>
                    <a:lnTo>
                      <a:pt x="0" y="2"/>
                    </a:lnTo>
                    <a:lnTo>
                      <a:pt x="1" y="4"/>
                    </a:lnTo>
                    <a:lnTo>
                      <a:pt x="1" y="4"/>
                    </a:lnTo>
                    <a:lnTo>
                      <a:pt x="1" y="4"/>
                    </a:lnTo>
                    <a:lnTo>
                      <a:pt x="1" y="2"/>
                    </a:lnTo>
                    <a:lnTo>
                      <a:pt x="1" y="2"/>
                    </a:lnTo>
                    <a:lnTo>
                      <a:pt x="1" y="2"/>
                    </a:lnTo>
                    <a:lnTo>
                      <a:pt x="1" y="2"/>
                    </a:lnTo>
                    <a:lnTo>
                      <a:pt x="1" y="0"/>
                    </a:lnTo>
                    <a:lnTo>
                      <a:pt x="1" y="0"/>
                    </a:lnTo>
                    <a:lnTo>
                      <a:pt x="1" y="0"/>
                    </a:lnTo>
                    <a:lnTo>
                      <a:pt x="1" y="0"/>
                    </a:lnTo>
                    <a:lnTo>
                      <a:pt x="0" y="2"/>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91" name="Freeform 1739"/>
              <p:cNvSpPr>
                <a:spLocks/>
              </p:cNvSpPr>
              <p:nvPr/>
            </p:nvSpPr>
            <p:spPr bwMode="auto">
              <a:xfrm>
                <a:off x="3498" y="2277"/>
                <a:ext cx="2" cy="2"/>
              </a:xfrm>
              <a:custGeom>
                <a:avLst/>
                <a:gdLst>
                  <a:gd name="T0" fmla="*/ 2 w 2"/>
                  <a:gd name="T1" fmla="*/ 2 h 2"/>
                  <a:gd name="T2" fmla="*/ 2 w 2"/>
                  <a:gd name="T3" fmla="*/ 2 h 2"/>
                  <a:gd name="T4" fmla="*/ 2 w 2"/>
                  <a:gd name="T5" fmla="*/ 0 h 2"/>
                  <a:gd name="T6" fmla="*/ 2 w 2"/>
                  <a:gd name="T7" fmla="*/ 0 h 2"/>
                  <a:gd name="T8" fmla="*/ 2 w 2"/>
                  <a:gd name="T9" fmla="*/ 0 h 2"/>
                  <a:gd name="T10" fmla="*/ 0 w 2"/>
                  <a:gd name="T11" fmla="*/ 0 h 2"/>
                  <a:gd name="T12" fmla="*/ 0 w 2"/>
                  <a:gd name="T13" fmla="*/ 0 h 2"/>
                  <a:gd name="T14" fmla="*/ 2 w 2"/>
                  <a:gd name="T15" fmla="*/ 2 h 2"/>
                  <a:gd name="T16" fmla="*/ 2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2" y="2"/>
                    </a:moveTo>
                    <a:lnTo>
                      <a:pt x="2" y="2"/>
                    </a:lnTo>
                    <a:lnTo>
                      <a:pt x="2" y="0"/>
                    </a:lnTo>
                    <a:lnTo>
                      <a:pt x="2" y="0"/>
                    </a:lnTo>
                    <a:lnTo>
                      <a:pt x="2" y="0"/>
                    </a:lnTo>
                    <a:lnTo>
                      <a:pt x="0" y="0"/>
                    </a:lnTo>
                    <a:lnTo>
                      <a:pt x="0" y="0"/>
                    </a:lnTo>
                    <a:lnTo>
                      <a:pt x="2" y="2"/>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92" name="Freeform 1740"/>
              <p:cNvSpPr>
                <a:spLocks/>
              </p:cNvSpPr>
              <p:nvPr/>
            </p:nvSpPr>
            <p:spPr bwMode="auto">
              <a:xfrm>
                <a:off x="3503" y="2274"/>
                <a:ext cx="4" cy="3"/>
              </a:xfrm>
              <a:custGeom>
                <a:avLst/>
                <a:gdLst>
                  <a:gd name="T0" fmla="*/ 2 w 4"/>
                  <a:gd name="T1" fmla="*/ 1 h 3"/>
                  <a:gd name="T2" fmla="*/ 2 w 4"/>
                  <a:gd name="T3" fmla="*/ 1 h 3"/>
                  <a:gd name="T4" fmla="*/ 0 w 4"/>
                  <a:gd name="T5" fmla="*/ 1 h 3"/>
                  <a:gd name="T6" fmla="*/ 0 w 4"/>
                  <a:gd name="T7" fmla="*/ 1 h 3"/>
                  <a:gd name="T8" fmla="*/ 0 w 4"/>
                  <a:gd name="T9" fmla="*/ 1 h 3"/>
                  <a:gd name="T10" fmla="*/ 0 w 4"/>
                  <a:gd name="T11" fmla="*/ 1 h 3"/>
                  <a:gd name="T12" fmla="*/ 0 w 4"/>
                  <a:gd name="T13" fmla="*/ 3 h 3"/>
                  <a:gd name="T14" fmla="*/ 0 w 4"/>
                  <a:gd name="T15" fmla="*/ 3 h 3"/>
                  <a:gd name="T16" fmla="*/ 0 w 4"/>
                  <a:gd name="T17" fmla="*/ 3 h 3"/>
                  <a:gd name="T18" fmla="*/ 0 w 4"/>
                  <a:gd name="T19" fmla="*/ 1 h 3"/>
                  <a:gd name="T20" fmla="*/ 0 w 4"/>
                  <a:gd name="T21" fmla="*/ 1 h 3"/>
                  <a:gd name="T22" fmla="*/ 2 w 4"/>
                  <a:gd name="T23" fmla="*/ 1 h 3"/>
                  <a:gd name="T24" fmla="*/ 2 w 4"/>
                  <a:gd name="T25" fmla="*/ 1 h 3"/>
                  <a:gd name="T26" fmla="*/ 2 w 4"/>
                  <a:gd name="T27" fmla="*/ 3 h 3"/>
                  <a:gd name="T28" fmla="*/ 2 w 4"/>
                  <a:gd name="T29" fmla="*/ 3 h 3"/>
                  <a:gd name="T30" fmla="*/ 2 w 4"/>
                  <a:gd name="T31" fmla="*/ 3 h 3"/>
                  <a:gd name="T32" fmla="*/ 2 w 4"/>
                  <a:gd name="T33" fmla="*/ 3 h 3"/>
                  <a:gd name="T34" fmla="*/ 2 w 4"/>
                  <a:gd name="T35" fmla="*/ 3 h 3"/>
                  <a:gd name="T36" fmla="*/ 2 w 4"/>
                  <a:gd name="T37" fmla="*/ 3 h 3"/>
                  <a:gd name="T38" fmla="*/ 2 w 4"/>
                  <a:gd name="T39" fmla="*/ 3 h 3"/>
                  <a:gd name="T40" fmla="*/ 2 w 4"/>
                  <a:gd name="T41" fmla="*/ 3 h 3"/>
                  <a:gd name="T42" fmla="*/ 2 w 4"/>
                  <a:gd name="T43" fmla="*/ 3 h 3"/>
                  <a:gd name="T44" fmla="*/ 2 w 4"/>
                  <a:gd name="T45" fmla="*/ 3 h 3"/>
                  <a:gd name="T46" fmla="*/ 4 w 4"/>
                  <a:gd name="T47" fmla="*/ 1 h 3"/>
                  <a:gd name="T48" fmla="*/ 4 w 4"/>
                  <a:gd name="T49" fmla="*/ 1 h 3"/>
                  <a:gd name="T50" fmla="*/ 2 w 4"/>
                  <a:gd name="T51" fmla="*/ 1 h 3"/>
                  <a:gd name="T52" fmla="*/ 2 w 4"/>
                  <a:gd name="T53" fmla="*/ 1 h 3"/>
                  <a:gd name="T54" fmla="*/ 2 w 4"/>
                  <a:gd name="T55" fmla="*/ 0 h 3"/>
                  <a:gd name="T56" fmla="*/ 2 w 4"/>
                  <a:gd name="T57" fmla="*/ 0 h 3"/>
                  <a:gd name="T58" fmla="*/ 2 w 4"/>
                  <a:gd name="T59" fmla="*/ 1 h 3"/>
                  <a:gd name="T60" fmla="*/ 2 w 4"/>
                  <a:gd name="T6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 h="3">
                    <a:moveTo>
                      <a:pt x="2" y="1"/>
                    </a:moveTo>
                    <a:lnTo>
                      <a:pt x="2" y="1"/>
                    </a:lnTo>
                    <a:lnTo>
                      <a:pt x="0" y="1"/>
                    </a:lnTo>
                    <a:lnTo>
                      <a:pt x="0" y="1"/>
                    </a:lnTo>
                    <a:lnTo>
                      <a:pt x="0" y="1"/>
                    </a:lnTo>
                    <a:lnTo>
                      <a:pt x="0" y="1"/>
                    </a:lnTo>
                    <a:lnTo>
                      <a:pt x="0" y="3"/>
                    </a:lnTo>
                    <a:lnTo>
                      <a:pt x="0" y="3"/>
                    </a:lnTo>
                    <a:lnTo>
                      <a:pt x="0" y="3"/>
                    </a:lnTo>
                    <a:lnTo>
                      <a:pt x="0" y="1"/>
                    </a:lnTo>
                    <a:lnTo>
                      <a:pt x="0" y="1"/>
                    </a:lnTo>
                    <a:lnTo>
                      <a:pt x="2" y="1"/>
                    </a:lnTo>
                    <a:lnTo>
                      <a:pt x="2" y="1"/>
                    </a:lnTo>
                    <a:lnTo>
                      <a:pt x="2" y="3"/>
                    </a:lnTo>
                    <a:lnTo>
                      <a:pt x="2" y="3"/>
                    </a:lnTo>
                    <a:lnTo>
                      <a:pt x="2" y="3"/>
                    </a:lnTo>
                    <a:lnTo>
                      <a:pt x="2" y="3"/>
                    </a:lnTo>
                    <a:lnTo>
                      <a:pt x="2" y="3"/>
                    </a:lnTo>
                    <a:lnTo>
                      <a:pt x="2" y="3"/>
                    </a:lnTo>
                    <a:lnTo>
                      <a:pt x="2" y="3"/>
                    </a:lnTo>
                    <a:lnTo>
                      <a:pt x="2" y="3"/>
                    </a:lnTo>
                    <a:lnTo>
                      <a:pt x="2" y="3"/>
                    </a:lnTo>
                    <a:lnTo>
                      <a:pt x="2" y="3"/>
                    </a:lnTo>
                    <a:lnTo>
                      <a:pt x="4" y="1"/>
                    </a:lnTo>
                    <a:lnTo>
                      <a:pt x="4" y="1"/>
                    </a:lnTo>
                    <a:lnTo>
                      <a:pt x="2" y="1"/>
                    </a:lnTo>
                    <a:lnTo>
                      <a:pt x="2" y="1"/>
                    </a:lnTo>
                    <a:lnTo>
                      <a:pt x="2" y="0"/>
                    </a:lnTo>
                    <a:lnTo>
                      <a:pt x="2" y="0"/>
                    </a:lnTo>
                    <a:lnTo>
                      <a:pt x="2" y="1"/>
                    </a:lnTo>
                    <a:lnTo>
                      <a:pt x="2"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93" name="Freeform 1741"/>
              <p:cNvSpPr>
                <a:spLocks/>
              </p:cNvSpPr>
              <p:nvPr/>
            </p:nvSpPr>
            <p:spPr bwMode="auto">
              <a:xfrm>
                <a:off x="3505" y="2275"/>
                <a:ext cx="2" cy="2"/>
              </a:xfrm>
              <a:custGeom>
                <a:avLst/>
                <a:gdLst>
                  <a:gd name="T0" fmla="*/ 2 w 2"/>
                  <a:gd name="T1" fmla="*/ 0 h 2"/>
                  <a:gd name="T2" fmla="*/ 2 w 2"/>
                  <a:gd name="T3" fmla="*/ 0 h 2"/>
                  <a:gd name="T4" fmla="*/ 2 w 2"/>
                  <a:gd name="T5" fmla="*/ 2 h 2"/>
                  <a:gd name="T6" fmla="*/ 2 w 2"/>
                  <a:gd name="T7" fmla="*/ 2 h 2"/>
                  <a:gd name="T8" fmla="*/ 0 w 2"/>
                  <a:gd name="T9" fmla="*/ 2 h 2"/>
                  <a:gd name="T10" fmla="*/ 0 w 2"/>
                  <a:gd name="T11" fmla="*/ 2 h 2"/>
                  <a:gd name="T12" fmla="*/ 0 w 2"/>
                  <a:gd name="T13" fmla="*/ 2 h 2"/>
                  <a:gd name="T14" fmla="*/ 0 w 2"/>
                  <a:gd name="T15" fmla="*/ 2 h 2"/>
                  <a:gd name="T16" fmla="*/ 2 w 2"/>
                  <a:gd name="T17" fmla="*/ 0 h 2"/>
                  <a:gd name="T18" fmla="*/ 2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0"/>
                    </a:moveTo>
                    <a:lnTo>
                      <a:pt x="2" y="0"/>
                    </a:lnTo>
                    <a:lnTo>
                      <a:pt x="2" y="2"/>
                    </a:lnTo>
                    <a:lnTo>
                      <a:pt x="2" y="2"/>
                    </a:lnTo>
                    <a:lnTo>
                      <a:pt x="0" y="2"/>
                    </a:lnTo>
                    <a:lnTo>
                      <a:pt x="0" y="2"/>
                    </a:lnTo>
                    <a:lnTo>
                      <a:pt x="0" y="2"/>
                    </a:lnTo>
                    <a:lnTo>
                      <a:pt x="0" y="2"/>
                    </a:lnTo>
                    <a:lnTo>
                      <a:pt x="2"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94" name="Freeform 1742"/>
              <p:cNvSpPr>
                <a:spLocks/>
              </p:cNvSpPr>
              <p:nvPr/>
            </p:nvSpPr>
            <p:spPr bwMode="auto">
              <a:xfrm>
                <a:off x="2303" y="1277"/>
                <a:ext cx="177" cy="120"/>
              </a:xfrm>
              <a:custGeom>
                <a:avLst/>
                <a:gdLst>
                  <a:gd name="T0" fmla="*/ 65 w 177"/>
                  <a:gd name="T1" fmla="*/ 109 h 120"/>
                  <a:gd name="T2" fmla="*/ 36 w 177"/>
                  <a:gd name="T3" fmla="*/ 104 h 120"/>
                  <a:gd name="T4" fmla="*/ 34 w 177"/>
                  <a:gd name="T5" fmla="*/ 98 h 120"/>
                  <a:gd name="T6" fmla="*/ 41 w 177"/>
                  <a:gd name="T7" fmla="*/ 84 h 120"/>
                  <a:gd name="T8" fmla="*/ 40 w 177"/>
                  <a:gd name="T9" fmla="*/ 79 h 120"/>
                  <a:gd name="T10" fmla="*/ 32 w 177"/>
                  <a:gd name="T11" fmla="*/ 66 h 120"/>
                  <a:gd name="T12" fmla="*/ 15 w 177"/>
                  <a:gd name="T13" fmla="*/ 70 h 120"/>
                  <a:gd name="T14" fmla="*/ 22 w 177"/>
                  <a:gd name="T15" fmla="*/ 61 h 120"/>
                  <a:gd name="T16" fmla="*/ 36 w 177"/>
                  <a:gd name="T17" fmla="*/ 59 h 120"/>
                  <a:gd name="T18" fmla="*/ 40 w 177"/>
                  <a:gd name="T19" fmla="*/ 55 h 120"/>
                  <a:gd name="T20" fmla="*/ 43 w 177"/>
                  <a:gd name="T21" fmla="*/ 43 h 120"/>
                  <a:gd name="T22" fmla="*/ 36 w 177"/>
                  <a:gd name="T23" fmla="*/ 41 h 120"/>
                  <a:gd name="T24" fmla="*/ 25 w 177"/>
                  <a:gd name="T25" fmla="*/ 38 h 120"/>
                  <a:gd name="T26" fmla="*/ 7 w 177"/>
                  <a:gd name="T27" fmla="*/ 41 h 120"/>
                  <a:gd name="T28" fmla="*/ 13 w 177"/>
                  <a:gd name="T29" fmla="*/ 38 h 120"/>
                  <a:gd name="T30" fmla="*/ 7 w 177"/>
                  <a:gd name="T31" fmla="*/ 29 h 120"/>
                  <a:gd name="T32" fmla="*/ 20 w 177"/>
                  <a:gd name="T33" fmla="*/ 32 h 120"/>
                  <a:gd name="T34" fmla="*/ 16 w 177"/>
                  <a:gd name="T35" fmla="*/ 25 h 120"/>
                  <a:gd name="T36" fmla="*/ 15 w 177"/>
                  <a:gd name="T37" fmla="*/ 18 h 120"/>
                  <a:gd name="T38" fmla="*/ 23 w 177"/>
                  <a:gd name="T39" fmla="*/ 22 h 120"/>
                  <a:gd name="T40" fmla="*/ 31 w 177"/>
                  <a:gd name="T41" fmla="*/ 27 h 120"/>
                  <a:gd name="T42" fmla="*/ 34 w 177"/>
                  <a:gd name="T43" fmla="*/ 18 h 120"/>
                  <a:gd name="T44" fmla="*/ 34 w 177"/>
                  <a:gd name="T45" fmla="*/ 11 h 120"/>
                  <a:gd name="T46" fmla="*/ 23 w 177"/>
                  <a:gd name="T47" fmla="*/ 9 h 120"/>
                  <a:gd name="T48" fmla="*/ 25 w 177"/>
                  <a:gd name="T49" fmla="*/ 2 h 120"/>
                  <a:gd name="T50" fmla="*/ 36 w 177"/>
                  <a:gd name="T51" fmla="*/ 11 h 120"/>
                  <a:gd name="T52" fmla="*/ 48 w 177"/>
                  <a:gd name="T53" fmla="*/ 23 h 120"/>
                  <a:gd name="T54" fmla="*/ 48 w 177"/>
                  <a:gd name="T55" fmla="*/ 34 h 120"/>
                  <a:gd name="T56" fmla="*/ 52 w 177"/>
                  <a:gd name="T57" fmla="*/ 38 h 120"/>
                  <a:gd name="T58" fmla="*/ 56 w 177"/>
                  <a:gd name="T59" fmla="*/ 48 h 120"/>
                  <a:gd name="T60" fmla="*/ 63 w 177"/>
                  <a:gd name="T61" fmla="*/ 34 h 120"/>
                  <a:gd name="T62" fmla="*/ 68 w 177"/>
                  <a:gd name="T63" fmla="*/ 16 h 120"/>
                  <a:gd name="T64" fmla="*/ 82 w 177"/>
                  <a:gd name="T65" fmla="*/ 30 h 120"/>
                  <a:gd name="T66" fmla="*/ 90 w 177"/>
                  <a:gd name="T67" fmla="*/ 16 h 120"/>
                  <a:gd name="T68" fmla="*/ 97 w 177"/>
                  <a:gd name="T69" fmla="*/ 20 h 120"/>
                  <a:gd name="T70" fmla="*/ 100 w 177"/>
                  <a:gd name="T71" fmla="*/ 18 h 120"/>
                  <a:gd name="T72" fmla="*/ 111 w 177"/>
                  <a:gd name="T73" fmla="*/ 22 h 120"/>
                  <a:gd name="T74" fmla="*/ 120 w 177"/>
                  <a:gd name="T75" fmla="*/ 14 h 120"/>
                  <a:gd name="T76" fmla="*/ 129 w 177"/>
                  <a:gd name="T77" fmla="*/ 5 h 120"/>
                  <a:gd name="T78" fmla="*/ 138 w 177"/>
                  <a:gd name="T79" fmla="*/ 4 h 120"/>
                  <a:gd name="T80" fmla="*/ 147 w 177"/>
                  <a:gd name="T81" fmla="*/ 14 h 120"/>
                  <a:gd name="T82" fmla="*/ 156 w 177"/>
                  <a:gd name="T83" fmla="*/ 5 h 120"/>
                  <a:gd name="T84" fmla="*/ 152 w 177"/>
                  <a:gd name="T85" fmla="*/ 20 h 120"/>
                  <a:gd name="T86" fmla="*/ 157 w 177"/>
                  <a:gd name="T87" fmla="*/ 32 h 120"/>
                  <a:gd name="T88" fmla="*/ 170 w 177"/>
                  <a:gd name="T89" fmla="*/ 34 h 120"/>
                  <a:gd name="T90" fmla="*/ 173 w 177"/>
                  <a:gd name="T91" fmla="*/ 54 h 120"/>
                  <a:gd name="T92" fmla="*/ 173 w 177"/>
                  <a:gd name="T93" fmla="*/ 61 h 120"/>
                  <a:gd name="T94" fmla="*/ 165 w 177"/>
                  <a:gd name="T95" fmla="*/ 72 h 120"/>
                  <a:gd name="T96" fmla="*/ 166 w 177"/>
                  <a:gd name="T97" fmla="*/ 72 h 120"/>
                  <a:gd name="T98" fmla="*/ 152 w 177"/>
                  <a:gd name="T99" fmla="*/ 84 h 120"/>
                  <a:gd name="T100" fmla="*/ 123 w 177"/>
                  <a:gd name="T101" fmla="*/ 100 h 120"/>
                  <a:gd name="T102" fmla="*/ 118 w 177"/>
                  <a:gd name="T103" fmla="*/ 105 h 120"/>
                  <a:gd name="T104" fmla="*/ 91 w 177"/>
                  <a:gd name="T105" fmla="*/ 118 h 120"/>
                  <a:gd name="T106" fmla="*/ 73 w 177"/>
                  <a:gd name="T107" fmla="*/ 11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 h="120">
                    <a:moveTo>
                      <a:pt x="73" y="114"/>
                    </a:moveTo>
                    <a:lnTo>
                      <a:pt x="73" y="114"/>
                    </a:lnTo>
                    <a:lnTo>
                      <a:pt x="70" y="113"/>
                    </a:lnTo>
                    <a:lnTo>
                      <a:pt x="68" y="111"/>
                    </a:lnTo>
                    <a:lnTo>
                      <a:pt x="65" y="109"/>
                    </a:lnTo>
                    <a:lnTo>
                      <a:pt x="54" y="102"/>
                    </a:lnTo>
                    <a:lnTo>
                      <a:pt x="50" y="104"/>
                    </a:lnTo>
                    <a:lnTo>
                      <a:pt x="45" y="102"/>
                    </a:lnTo>
                    <a:lnTo>
                      <a:pt x="43" y="104"/>
                    </a:lnTo>
                    <a:lnTo>
                      <a:pt x="36" y="104"/>
                    </a:lnTo>
                    <a:lnTo>
                      <a:pt x="32" y="104"/>
                    </a:lnTo>
                    <a:lnTo>
                      <a:pt x="31" y="104"/>
                    </a:lnTo>
                    <a:lnTo>
                      <a:pt x="31" y="98"/>
                    </a:lnTo>
                    <a:lnTo>
                      <a:pt x="29" y="95"/>
                    </a:lnTo>
                    <a:lnTo>
                      <a:pt x="34" y="98"/>
                    </a:lnTo>
                    <a:lnTo>
                      <a:pt x="36" y="95"/>
                    </a:lnTo>
                    <a:lnTo>
                      <a:pt x="45" y="91"/>
                    </a:lnTo>
                    <a:lnTo>
                      <a:pt x="45" y="84"/>
                    </a:lnTo>
                    <a:lnTo>
                      <a:pt x="40" y="86"/>
                    </a:lnTo>
                    <a:lnTo>
                      <a:pt x="41" y="84"/>
                    </a:lnTo>
                    <a:lnTo>
                      <a:pt x="43" y="82"/>
                    </a:lnTo>
                    <a:lnTo>
                      <a:pt x="41" y="79"/>
                    </a:lnTo>
                    <a:lnTo>
                      <a:pt x="45" y="77"/>
                    </a:lnTo>
                    <a:lnTo>
                      <a:pt x="41" y="77"/>
                    </a:lnTo>
                    <a:lnTo>
                      <a:pt x="40" y="79"/>
                    </a:lnTo>
                    <a:lnTo>
                      <a:pt x="38" y="79"/>
                    </a:lnTo>
                    <a:lnTo>
                      <a:pt x="38" y="77"/>
                    </a:lnTo>
                    <a:lnTo>
                      <a:pt x="36" y="77"/>
                    </a:lnTo>
                    <a:lnTo>
                      <a:pt x="34" y="68"/>
                    </a:lnTo>
                    <a:lnTo>
                      <a:pt x="32" y="66"/>
                    </a:lnTo>
                    <a:lnTo>
                      <a:pt x="29" y="68"/>
                    </a:lnTo>
                    <a:lnTo>
                      <a:pt x="27" y="66"/>
                    </a:lnTo>
                    <a:lnTo>
                      <a:pt x="23" y="66"/>
                    </a:lnTo>
                    <a:lnTo>
                      <a:pt x="18" y="68"/>
                    </a:lnTo>
                    <a:lnTo>
                      <a:pt x="15" y="70"/>
                    </a:lnTo>
                    <a:lnTo>
                      <a:pt x="11" y="70"/>
                    </a:lnTo>
                    <a:lnTo>
                      <a:pt x="11" y="68"/>
                    </a:lnTo>
                    <a:lnTo>
                      <a:pt x="11" y="64"/>
                    </a:lnTo>
                    <a:lnTo>
                      <a:pt x="20" y="63"/>
                    </a:lnTo>
                    <a:lnTo>
                      <a:pt x="22" y="61"/>
                    </a:lnTo>
                    <a:lnTo>
                      <a:pt x="25" y="61"/>
                    </a:lnTo>
                    <a:lnTo>
                      <a:pt x="29" y="59"/>
                    </a:lnTo>
                    <a:lnTo>
                      <a:pt x="31" y="61"/>
                    </a:lnTo>
                    <a:lnTo>
                      <a:pt x="32" y="57"/>
                    </a:lnTo>
                    <a:lnTo>
                      <a:pt x="36" y="59"/>
                    </a:lnTo>
                    <a:lnTo>
                      <a:pt x="43" y="59"/>
                    </a:lnTo>
                    <a:lnTo>
                      <a:pt x="45" y="52"/>
                    </a:lnTo>
                    <a:lnTo>
                      <a:pt x="43" y="54"/>
                    </a:lnTo>
                    <a:lnTo>
                      <a:pt x="41" y="55"/>
                    </a:lnTo>
                    <a:lnTo>
                      <a:pt x="40" y="55"/>
                    </a:lnTo>
                    <a:lnTo>
                      <a:pt x="32" y="54"/>
                    </a:lnTo>
                    <a:lnTo>
                      <a:pt x="32" y="52"/>
                    </a:lnTo>
                    <a:lnTo>
                      <a:pt x="34" y="50"/>
                    </a:lnTo>
                    <a:lnTo>
                      <a:pt x="38" y="48"/>
                    </a:lnTo>
                    <a:lnTo>
                      <a:pt x="43" y="43"/>
                    </a:lnTo>
                    <a:lnTo>
                      <a:pt x="43" y="43"/>
                    </a:lnTo>
                    <a:lnTo>
                      <a:pt x="41" y="41"/>
                    </a:lnTo>
                    <a:lnTo>
                      <a:pt x="40" y="43"/>
                    </a:lnTo>
                    <a:lnTo>
                      <a:pt x="38" y="43"/>
                    </a:lnTo>
                    <a:lnTo>
                      <a:pt x="36" y="41"/>
                    </a:lnTo>
                    <a:lnTo>
                      <a:pt x="36" y="39"/>
                    </a:lnTo>
                    <a:lnTo>
                      <a:pt x="36" y="39"/>
                    </a:lnTo>
                    <a:lnTo>
                      <a:pt x="34" y="38"/>
                    </a:lnTo>
                    <a:lnTo>
                      <a:pt x="27" y="36"/>
                    </a:lnTo>
                    <a:lnTo>
                      <a:pt x="25" y="38"/>
                    </a:lnTo>
                    <a:lnTo>
                      <a:pt x="22" y="41"/>
                    </a:lnTo>
                    <a:lnTo>
                      <a:pt x="20" y="41"/>
                    </a:lnTo>
                    <a:lnTo>
                      <a:pt x="15" y="43"/>
                    </a:lnTo>
                    <a:lnTo>
                      <a:pt x="13" y="43"/>
                    </a:lnTo>
                    <a:lnTo>
                      <a:pt x="7" y="41"/>
                    </a:lnTo>
                    <a:lnTo>
                      <a:pt x="0" y="43"/>
                    </a:lnTo>
                    <a:lnTo>
                      <a:pt x="4" y="36"/>
                    </a:lnTo>
                    <a:lnTo>
                      <a:pt x="6" y="38"/>
                    </a:lnTo>
                    <a:lnTo>
                      <a:pt x="11" y="39"/>
                    </a:lnTo>
                    <a:lnTo>
                      <a:pt x="13" y="38"/>
                    </a:lnTo>
                    <a:lnTo>
                      <a:pt x="9" y="38"/>
                    </a:lnTo>
                    <a:lnTo>
                      <a:pt x="11" y="36"/>
                    </a:lnTo>
                    <a:lnTo>
                      <a:pt x="11" y="34"/>
                    </a:lnTo>
                    <a:lnTo>
                      <a:pt x="7" y="32"/>
                    </a:lnTo>
                    <a:lnTo>
                      <a:pt x="7" y="29"/>
                    </a:lnTo>
                    <a:lnTo>
                      <a:pt x="13" y="32"/>
                    </a:lnTo>
                    <a:lnTo>
                      <a:pt x="16" y="36"/>
                    </a:lnTo>
                    <a:lnTo>
                      <a:pt x="22" y="34"/>
                    </a:lnTo>
                    <a:lnTo>
                      <a:pt x="18" y="32"/>
                    </a:lnTo>
                    <a:lnTo>
                      <a:pt x="20" y="32"/>
                    </a:lnTo>
                    <a:lnTo>
                      <a:pt x="22" y="29"/>
                    </a:lnTo>
                    <a:lnTo>
                      <a:pt x="15" y="30"/>
                    </a:lnTo>
                    <a:lnTo>
                      <a:pt x="13" y="27"/>
                    </a:lnTo>
                    <a:lnTo>
                      <a:pt x="13" y="27"/>
                    </a:lnTo>
                    <a:lnTo>
                      <a:pt x="16" y="25"/>
                    </a:lnTo>
                    <a:lnTo>
                      <a:pt x="11" y="20"/>
                    </a:lnTo>
                    <a:lnTo>
                      <a:pt x="11" y="20"/>
                    </a:lnTo>
                    <a:lnTo>
                      <a:pt x="16" y="22"/>
                    </a:lnTo>
                    <a:lnTo>
                      <a:pt x="16" y="22"/>
                    </a:lnTo>
                    <a:lnTo>
                      <a:pt x="15" y="18"/>
                    </a:lnTo>
                    <a:lnTo>
                      <a:pt x="18" y="20"/>
                    </a:lnTo>
                    <a:lnTo>
                      <a:pt x="15" y="16"/>
                    </a:lnTo>
                    <a:lnTo>
                      <a:pt x="18" y="14"/>
                    </a:lnTo>
                    <a:lnTo>
                      <a:pt x="23" y="18"/>
                    </a:lnTo>
                    <a:lnTo>
                      <a:pt x="23" y="22"/>
                    </a:lnTo>
                    <a:lnTo>
                      <a:pt x="23" y="22"/>
                    </a:lnTo>
                    <a:lnTo>
                      <a:pt x="27" y="23"/>
                    </a:lnTo>
                    <a:lnTo>
                      <a:pt x="27" y="22"/>
                    </a:lnTo>
                    <a:lnTo>
                      <a:pt x="31" y="23"/>
                    </a:lnTo>
                    <a:lnTo>
                      <a:pt x="31" y="27"/>
                    </a:lnTo>
                    <a:lnTo>
                      <a:pt x="32" y="23"/>
                    </a:lnTo>
                    <a:lnTo>
                      <a:pt x="34" y="29"/>
                    </a:lnTo>
                    <a:lnTo>
                      <a:pt x="36" y="23"/>
                    </a:lnTo>
                    <a:lnTo>
                      <a:pt x="34" y="20"/>
                    </a:lnTo>
                    <a:lnTo>
                      <a:pt x="34" y="18"/>
                    </a:lnTo>
                    <a:lnTo>
                      <a:pt x="27" y="13"/>
                    </a:lnTo>
                    <a:lnTo>
                      <a:pt x="29" y="11"/>
                    </a:lnTo>
                    <a:lnTo>
                      <a:pt x="31" y="13"/>
                    </a:lnTo>
                    <a:lnTo>
                      <a:pt x="32" y="13"/>
                    </a:lnTo>
                    <a:lnTo>
                      <a:pt x="34" y="11"/>
                    </a:lnTo>
                    <a:lnTo>
                      <a:pt x="31" y="9"/>
                    </a:lnTo>
                    <a:lnTo>
                      <a:pt x="31" y="7"/>
                    </a:lnTo>
                    <a:lnTo>
                      <a:pt x="29" y="7"/>
                    </a:lnTo>
                    <a:lnTo>
                      <a:pt x="25" y="9"/>
                    </a:lnTo>
                    <a:lnTo>
                      <a:pt x="23" y="9"/>
                    </a:lnTo>
                    <a:lnTo>
                      <a:pt x="23" y="7"/>
                    </a:lnTo>
                    <a:lnTo>
                      <a:pt x="23" y="5"/>
                    </a:lnTo>
                    <a:lnTo>
                      <a:pt x="23" y="4"/>
                    </a:lnTo>
                    <a:lnTo>
                      <a:pt x="27" y="4"/>
                    </a:lnTo>
                    <a:lnTo>
                      <a:pt x="25" y="2"/>
                    </a:lnTo>
                    <a:lnTo>
                      <a:pt x="29" y="5"/>
                    </a:lnTo>
                    <a:lnTo>
                      <a:pt x="31" y="4"/>
                    </a:lnTo>
                    <a:lnTo>
                      <a:pt x="32" y="5"/>
                    </a:lnTo>
                    <a:lnTo>
                      <a:pt x="34" y="5"/>
                    </a:lnTo>
                    <a:lnTo>
                      <a:pt x="36" y="11"/>
                    </a:lnTo>
                    <a:lnTo>
                      <a:pt x="41" y="11"/>
                    </a:lnTo>
                    <a:lnTo>
                      <a:pt x="47" y="18"/>
                    </a:lnTo>
                    <a:lnTo>
                      <a:pt x="48" y="20"/>
                    </a:lnTo>
                    <a:lnTo>
                      <a:pt x="50" y="22"/>
                    </a:lnTo>
                    <a:lnTo>
                      <a:pt x="48" y="23"/>
                    </a:lnTo>
                    <a:lnTo>
                      <a:pt x="52" y="25"/>
                    </a:lnTo>
                    <a:lnTo>
                      <a:pt x="52" y="29"/>
                    </a:lnTo>
                    <a:lnTo>
                      <a:pt x="50" y="30"/>
                    </a:lnTo>
                    <a:lnTo>
                      <a:pt x="50" y="32"/>
                    </a:lnTo>
                    <a:lnTo>
                      <a:pt x="48" y="34"/>
                    </a:lnTo>
                    <a:lnTo>
                      <a:pt x="45" y="32"/>
                    </a:lnTo>
                    <a:lnTo>
                      <a:pt x="47" y="34"/>
                    </a:lnTo>
                    <a:lnTo>
                      <a:pt x="50" y="36"/>
                    </a:lnTo>
                    <a:lnTo>
                      <a:pt x="50" y="39"/>
                    </a:lnTo>
                    <a:lnTo>
                      <a:pt x="52" y="38"/>
                    </a:lnTo>
                    <a:lnTo>
                      <a:pt x="52" y="41"/>
                    </a:lnTo>
                    <a:lnTo>
                      <a:pt x="50" y="43"/>
                    </a:lnTo>
                    <a:lnTo>
                      <a:pt x="54" y="45"/>
                    </a:lnTo>
                    <a:lnTo>
                      <a:pt x="54" y="52"/>
                    </a:lnTo>
                    <a:lnTo>
                      <a:pt x="56" y="48"/>
                    </a:lnTo>
                    <a:lnTo>
                      <a:pt x="56" y="45"/>
                    </a:lnTo>
                    <a:lnTo>
                      <a:pt x="59" y="45"/>
                    </a:lnTo>
                    <a:lnTo>
                      <a:pt x="59" y="38"/>
                    </a:lnTo>
                    <a:lnTo>
                      <a:pt x="61" y="34"/>
                    </a:lnTo>
                    <a:lnTo>
                      <a:pt x="63" y="34"/>
                    </a:lnTo>
                    <a:lnTo>
                      <a:pt x="66" y="41"/>
                    </a:lnTo>
                    <a:lnTo>
                      <a:pt x="68" y="38"/>
                    </a:lnTo>
                    <a:lnTo>
                      <a:pt x="68" y="29"/>
                    </a:lnTo>
                    <a:lnTo>
                      <a:pt x="66" y="18"/>
                    </a:lnTo>
                    <a:lnTo>
                      <a:pt x="68" y="16"/>
                    </a:lnTo>
                    <a:lnTo>
                      <a:pt x="70" y="18"/>
                    </a:lnTo>
                    <a:lnTo>
                      <a:pt x="79" y="29"/>
                    </a:lnTo>
                    <a:lnTo>
                      <a:pt x="79" y="32"/>
                    </a:lnTo>
                    <a:lnTo>
                      <a:pt x="81" y="32"/>
                    </a:lnTo>
                    <a:lnTo>
                      <a:pt x="82" y="30"/>
                    </a:lnTo>
                    <a:lnTo>
                      <a:pt x="82" y="23"/>
                    </a:lnTo>
                    <a:lnTo>
                      <a:pt x="82" y="20"/>
                    </a:lnTo>
                    <a:lnTo>
                      <a:pt x="86" y="18"/>
                    </a:lnTo>
                    <a:lnTo>
                      <a:pt x="88" y="20"/>
                    </a:lnTo>
                    <a:lnTo>
                      <a:pt x="90" y="16"/>
                    </a:lnTo>
                    <a:lnTo>
                      <a:pt x="93" y="14"/>
                    </a:lnTo>
                    <a:lnTo>
                      <a:pt x="93" y="16"/>
                    </a:lnTo>
                    <a:lnTo>
                      <a:pt x="95" y="16"/>
                    </a:lnTo>
                    <a:lnTo>
                      <a:pt x="95" y="18"/>
                    </a:lnTo>
                    <a:lnTo>
                      <a:pt x="97" y="20"/>
                    </a:lnTo>
                    <a:lnTo>
                      <a:pt x="98" y="23"/>
                    </a:lnTo>
                    <a:lnTo>
                      <a:pt x="100" y="25"/>
                    </a:lnTo>
                    <a:lnTo>
                      <a:pt x="104" y="34"/>
                    </a:lnTo>
                    <a:lnTo>
                      <a:pt x="104" y="27"/>
                    </a:lnTo>
                    <a:lnTo>
                      <a:pt x="100" y="18"/>
                    </a:lnTo>
                    <a:lnTo>
                      <a:pt x="100" y="14"/>
                    </a:lnTo>
                    <a:lnTo>
                      <a:pt x="102" y="14"/>
                    </a:lnTo>
                    <a:lnTo>
                      <a:pt x="106" y="14"/>
                    </a:lnTo>
                    <a:lnTo>
                      <a:pt x="109" y="18"/>
                    </a:lnTo>
                    <a:lnTo>
                      <a:pt x="111" y="22"/>
                    </a:lnTo>
                    <a:lnTo>
                      <a:pt x="113" y="22"/>
                    </a:lnTo>
                    <a:lnTo>
                      <a:pt x="115" y="20"/>
                    </a:lnTo>
                    <a:lnTo>
                      <a:pt x="116" y="16"/>
                    </a:lnTo>
                    <a:lnTo>
                      <a:pt x="116" y="14"/>
                    </a:lnTo>
                    <a:lnTo>
                      <a:pt x="120" y="14"/>
                    </a:lnTo>
                    <a:lnTo>
                      <a:pt x="122" y="16"/>
                    </a:lnTo>
                    <a:lnTo>
                      <a:pt x="123" y="18"/>
                    </a:lnTo>
                    <a:lnTo>
                      <a:pt x="127" y="16"/>
                    </a:lnTo>
                    <a:lnTo>
                      <a:pt x="131" y="14"/>
                    </a:lnTo>
                    <a:lnTo>
                      <a:pt x="129" y="5"/>
                    </a:lnTo>
                    <a:lnTo>
                      <a:pt x="129" y="2"/>
                    </a:lnTo>
                    <a:lnTo>
                      <a:pt x="131" y="2"/>
                    </a:lnTo>
                    <a:lnTo>
                      <a:pt x="134" y="0"/>
                    </a:lnTo>
                    <a:lnTo>
                      <a:pt x="136" y="0"/>
                    </a:lnTo>
                    <a:lnTo>
                      <a:pt x="138" y="4"/>
                    </a:lnTo>
                    <a:lnTo>
                      <a:pt x="141" y="5"/>
                    </a:lnTo>
                    <a:lnTo>
                      <a:pt x="141" y="9"/>
                    </a:lnTo>
                    <a:lnTo>
                      <a:pt x="141" y="11"/>
                    </a:lnTo>
                    <a:lnTo>
                      <a:pt x="145" y="14"/>
                    </a:lnTo>
                    <a:lnTo>
                      <a:pt x="147" y="14"/>
                    </a:lnTo>
                    <a:lnTo>
                      <a:pt x="147" y="13"/>
                    </a:lnTo>
                    <a:lnTo>
                      <a:pt x="147" y="11"/>
                    </a:lnTo>
                    <a:lnTo>
                      <a:pt x="152" y="11"/>
                    </a:lnTo>
                    <a:lnTo>
                      <a:pt x="154" y="7"/>
                    </a:lnTo>
                    <a:lnTo>
                      <a:pt x="156" y="5"/>
                    </a:lnTo>
                    <a:lnTo>
                      <a:pt x="159" y="5"/>
                    </a:lnTo>
                    <a:lnTo>
                      <a:pt x="161" y="7"/>
                    </a:lnTo>
                    <a:lnTo>
                      <a:pt x="156" y="9"/>
                    </a:lnTo>
                    <a:lnTo>
                      <a:pt x="150" y="18"/>
                    </a:lnTo>
                    <a:lnTo>
                      <a:pt x="152" y="20"/>
                    </a:lnTo>
                    <a:lnTo>
                      <a:pt x="154" y="22"/>
                    </a:lnTo>
                    <a:lnTo>
                      <a:pt x="157" y="20"/>
                    </a:lnTo>
                    <a:lnTo>
                      <a:pt x="159" y="25"/>
                    </a:lnTo>
                    <a:lnTo>
                      <a:pt x="157" y="29"/>
                    </a:lnTo>
                    <a:lnTo>
                      <a:pt x="157" y="32"/>
                    </a:lnTo>
                    <a:lnTo>
                      <a:pt x="165" y="32"/>
                    </a:lnTo>
                    <a:lnTo>
                      <a:pt x="163" y="34"/>
                    </a:lnTo>
                    <a:lnTo>
                      <a:pt x="165" y="36"/>
                    </a:lnTo>
                    <a:lnTo>
                      <a:pt x="168" y="38"/>
                    </a:lnTo>
                    <a:lnTo>
                      <a:pt x="170" y="34"/>
                    </a:lnTo>
                    <a:lnTo>
                      <a:pt x="170" y="36"/>
                    </a:lnTo>
                    <a:lnTo>
                      <a:pt x="173" y="43"/>
                    </a:lnTo>
                    <a:lnTo>
                      <a:pt x="173" y="47"/>
                    </a:lnTo>
                    <a:lnTo>
                      <a:pt x="172" y="48"/>
                    </a:lnTo>
                    <a:lnTo>
                      <a:pt x="173" y="54"/>
                    </a:lnTo>
                    <a:lnTo>
                      <a:pt x="175" y="54"/>
                    </a:lnTo>
                    <a:lnTo>
                      <a:pt x="177" y="52"/>
                    </a:lnTo>
                    <a:lnTo>
                      <a:pt x="177" y="55"/>
                    </a:lnTo>
                    <a:lnTo>
                      <a:pt x="175" y="59"/>
                    </a:lnTo>
                    <a:lnTo>
                      <a:pt x="173" y="61"/>
                    </a:lnTo>
                    <a:lnTo>
                      <a:pt x="173" y="64"/>
                    </a:lnTo>
                    <a:lnTo>
                      <a:pt x="172" y="64"/>
                    </a:lnTo>
                    <a:lnTo>
                      <a:pt x="170" y="68"/>
                    </a:lnTo>
                    <a:lnTo>
                      <a:pt x="165" y="70"/>
                    </a:lnTo>
                    <a:lnTo>
                      <a:pt x="165" y="72"/>
                    </a:lnTo>
                    <a:lnTo>
                      <a:pt x="161" y="72"/>
                    </a:lnTo>
                    <a:lnTo>
                      <a:pt x="163" y="72"/>
                    </a:lnTo>
                    <a:lnTo>
                      <a:pt x="161" y="73"/>
                    </a:lnTo>
                    <a:lnTo>
                      <a:pt x="163" y="75"/>
                    </a:lnTo>
                    <a:lnTo>
                      <a:pt x="166" y="72"/>
                    </a:lnTo>
                    <a:lnTo>
                      <a:pt x="159" y="82"/>
                    </a:lnTo>
                    <a:lnTo>
                      <a:pt x="156" y="84"/>
                    </a:lnTo>
                    <a:lnTo>
                      <a:pt x="156" y="88"/>
                    </a:lnTo>
                    <a:lnTo>
                      <a:pt x="152" y="86"/>
                    </a:lnTo>
                    <a:lnTo>
                      <a:pt x="152" y="84"/>
                    </a:lnTo>
                    <a:lnTo>
                      <a:pt x="150" y="82"/>
                    </a:lnTo>
                    <a:lnTo>
                      <a:pt x="147" y="80"/>
                    </a:lnTo>
                    <a:lnTo>
                      <a:pt x="147" y="86"/>
                    </a:lnTo>
                    <a:lnTo>
                      <a:pt x="129" y="102"/>
                    </a:lnTo>
                    <a:lnTo>
                      <a:pt x="123" y="100"/>
                    </a:lnTo>
                    <a:lnTo>
                      <a:pt x="122" y="102"/>
                    </a:lnTo>
                    <a:lnTo>
                      <a:pt x="120" y="100"/>
                    </a:lnTo>
                    <a:lnTo>
                      <a:pt x="118" y="102"/>
                    </a:lnTo>
                    <a:lnTo>
                      <a:pt x="118" y="104"/>
                    </a:lnTo>
                    <a:lnTo>
                      <a:pt x="118" y="105"/>
                    </a:lnTo>
                    <a:lnTo>
                      <a:pt x="113" y="107"/>
                    </a:lnTo>
                    <a:lnTo>
                      <a:pt x="104" y="116"/>
                    </a:lnTo>
                    <a:lnTo>
                      <a:pt x="97" y="118"/>
                    </a:lnTo>
                    <a:lnTo>
                      <a:pt x="95" y="120"/>
                    </a:lnTo>
                    <a:lnTo>
                      <a:pt x="91" y="118"/>
                    </a:lnTo>
                    <a:lnTo>
                      <a:pt x="90" y="120"/>
                    </a:lnTo>
                    <a:lnTo>
                      <a:pt x="86" y="116"/>
                    </a:lnTo>
                    <a:lnTo>
                      <a:pt x="82" y="116"/>
                    </a:lnTo>
                    <a:lnTo>
                      <a:pt x="77" y="114"/>
                    </a:lnTo>
                    <a:lnTo>
                      <a:pt x="73" y="11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95" name="Freeform 1743"/>
              <p:cNvSpPr>
                <a:spLocks/>
              </p:cNvSpPr>
              <p:nvPr/>
            </p:nvSpPr>
            <p:spPr bwMode="auto">
              <a:xfrm>
                <a:off x="2303" y="1277"/>
                <a:ext cx="177" cy="120"/>
              </a:xfrm>
              <a:custGeom>
                <a:avLst/>
                <a:gdLst>
                  <a:gd name="T0" fmla="*/ 65 w 177"/>
                  <a:gd name="T1" fmla="*/ 109 h 120"/>
                  <a:gd name="T2" fmla="*/ 36 w 177"/>
                  <a:gd name="T3" fmla="*/ 104 h 120"/>
                  <a:gd name="T4" fmla="*/ 34 w 177"/>
                  <a:gd name="T5" fmla="*/ 98 h 120"/>
                  <a:gd name="T6" fmla="*/ 41 w 177"/>
                  <a:gd name="T7" fmla="*/ 84 h 120"/>
                  <a:gd name="T8" fmla="*/ 40 w 177"/>
                  <a:gd name="T9" fmla="*/ 79 h 120"/>
                  <a:gd name="T10" fmla="*/ 32 w 177"/>
                  <a:gd name="T11" fmla="*/ 66 h 120"/>
                  <a:gd name="T12" fmla="*/ 15 w 177"/>
                  <a:gd name="T13" fmla="*/ 70 h 120"/>
                  <a:gd name="T14" fmla="*/ 22 w 177"/>
                  <a:gd name="T15" fmla="*/ 61 h 120"/>
                  <a:gd name="T16" fmla="*/ 36 w 177"/>
                  <a:gd name="T17" fmla="*/ 59 h 120"/>
                  <a:gd name="T18" fmla="*/ 40 w 177"/>
                  <a:gd name="T19" fmla="*/ 55 h 120"/>
                  <a:gd name="T20" fmla="*/ 43 w 177"/>
                  <a:gd name="T21" fmla="*/ 43 h 120"/>
                  <a:gd name="T22" fmla="*/ 36 w 177"/>
                  <a:gd name="T23" fmla="*/ 41 h 120"/>
                  <a:gd name="T24" fmla="*/ 25 w 177"/>
                  <a:gd name="T25" fmla="*/ 38 h 120"/>
                  <a:gd name="T26" fmla="*/ 7 w 177"/>
                  <a:gd name="T27" fmla="*/ 41 h 120"/>
                  <a:gd name="T28" fmla="*/ 13 w 177"/>
                  <a:gd name="T29" fmla="*/ 38 h 120"/>
                  <a:gd name="T30" fmla="*/ 7 w 177"/>
                  <a:gd name="T31" fmla="*/ 29 h 120"/>
                  <a:gd name="T32" fmla="*/ 20 w 177"/>
                  <a:gd name="T33" fmla="*/ 32 h 120"/>
                  <a:gd name="T34" fmla="*/ 16 w 177"/>
                  <a:gd name="T35" fmla="*/ 25 h 120"/>
                  <a:gd name="T36" fmla="*/ 15 w 177"/>
                  <a:gd name="T37" fmla="*/ 18 h 120"/>
                  <a:gd name="T38" fmla="*/ 23 w 177"/>
                  <a:gd name="T39" fmla="*/ 22 h 120"/>
                  <a:gd name="T40" fmla="*/ 31 w 177"/>
                  <a:gd name="T41" fmla="*/ 27 h 120"/>
                  <a:gd name="T42" fmla="*/ 34 w 177"/>
                  <a:gd name="T43" fmla="*/ 18 h 120"/>
                  <a:gd name="T44" fmla="*/ 34 w 177"/>
                  <a:gd name="T45" fmla="*/ 11 h 120"/>
                  <a:gd name="T46" fmla="*/ 23 w 177"/>
                  <a:gd name="T47" fmla="*/ 9 h 120"/>
                  <a:gd name="T48" fmla="*/ 25 w 177"/>
                  <a:gd name="T49" fmla="*/ 2 h 120"/>
                  <a:gd name="T50" fmla="*/ 36 w 177"/>
                  <a:gd name="T51" fmla="*/ 11 h 120"/>
                  <a:gd name="T52" fmla="*/ 48 w 177"/>
                  <a:gd name="T53" fmla="*/ 23 h 120"/>
                  <a:gd name="T54" fmla="*/ 48 w 177"/>
                  <a:gd name="T55" fmla="*/ 34 h 120"/>
                  <a:gd name="T56" fmla="*/ 52 w 177"/>
                  <a:gd name="T57" fmla="*/ 38 h 120"/>
                  <a:gd name="T58" fmla="*/ 56 w 177"/>
                  <a:gd name="T59" fmla="*/ 48 h 120"/>
                  <a:gd name="T60" fmla="*/ 63 w 177"/>
                  <a:gd name="T61" fmla="*/ 34 h 120"/>
                  <a:gd name="T62" fmla="*/ 68 w 177"/>
                  <a:gd name="T63" fmla="*/ 16 h 120"/>
                  <a:gd name="T64" fmla="*/ 82 w 177"/>
                  <a:gd name="T65" fmla="*/ 30 h 120"/>
                  <a:gd name="T66" fmla="*/ 90 w 177"/>
                  <a:gd name="T67" fmla="*/ 16 h 120"/>
                  <a:gd name="T68" fmla="*/ 97 w 177"/>
                  <a:gd name="T69" fmla="*/ 20 h 120"/>
                  <a:gd name="T70" fmla="*/ 100 w 177"/>
                  <a:gd name="T71" fmla="*/ 18 h 120"/>
                  <a:gd name="T72" fmla="*/ 111 w 177"/>
                  <a:gd name="T73" fmla="*/ 22 h 120"/>
                  <a:gd name="T74" fmla="*/ 120 w 177"/>
                  <a:gd name="T75" fmla="*/ 14 h 120"/>
                  <a:gd name="T76" fmla="*/ 129 w 177"/>
                  <a:gd name="T77" fmla="*/ 5 h 120"/>
                  <a:gd name="T78" fmla="*/ 138 w 177"/>
                  <a:gd name="T79" fmla="*/ 4 h 120"/>
                  <a:gd name="T80" fmla="*/ 147 w 177"/>
                  <a:gd name="T81" fmla="*/ 14 h 120"/>
                  <a:gd name="T82" fmla="*/ 156 w 177"/>
                  <a:gd name="T83" fmla="*/ 5 h 120"/>
                  <a:gd name="T84" fmla="*/ 152 w 177"/>
                  <a:gd name="T85" fmla="*/ 20 h 120"/>
                  <a:gd name="T86" fmla="*/ 157 w 177"/>
                  <a:gd name="T87" fmla="*/ 32 h 120"/>
                  <a:gd name="T88" fmla="*/ 170 w 177"/>
                  <a:gd name="T89" fmla="*/ 34 h 120"/>
                  <a:gd name="T90" fmla="*/ 173 w 177"/>
                  <a:gd name="T91" fmla="*/ 54 h 120"/>
                  <a:gd name="T92" fmla="*/ 173 w 177"/>
                  <a:gd name="T93" fmla="*/ 61 h 120"/>
                  <a:gd name="T94" fmla="*/ 165 w 177"/>
                  <a:gd name="T95" fmla="*/ 72 h 120"/>
                  <a:gd name="T96" fmla="*/ 166 w 177"/>
                  <a:gd name="T97" fmla="*/ 72 h 120"/>
                  <a:gd name="T98" fmla="*/ 152 w 177"/>
                  <a:gd name="T99" fmla="*/ 84 h 120"/>
                  <a:gd name="T100" fmla="*/ 123 w 177"/>
                  <a:gd name="T101" fmla="*/ 100 h 120"/>
                  <a:gd name="T102" fmla="*/ 118 w 177"/>
                  <a:gd name="T103" fmla="*/ 105 h 120"/>
                  <a:gd name="T104" fmla="*/ 91 w 177"/>
                  <a:gd name="T105" fmla="*/ 118 h 120"/>
                  <a:gd name="T106" fmla="*/ 73 w 177"/>
                  <a:gd name="T107" fmla="*/ 11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 h="120">
                    <a:moveTo>
                      <a:pt x="73" y="114"/>
                    </a:moveTo>
                    <a:lnTo>
                      <a:pt x="73" y="114"/>
                    </a:lnTo>
                    <a:lnTo>
                      <a:pt x="70" y="113"/>
                    </a:lnTo>
                    <a:lnTo>
                      <a:pt x="68" y="111"/>
                    </a:lnTo>
                    <a:lnTo>
                      <a:pt x="65" y="109"/>
                    </a:lnTo>
                    <a:lnTo>
                      <a:pt x="54" y="102"/>
                    </a:lnTo>
                    <a:lnTo>
                      <a:pt x="50" y="104"/>
                    </a:lnTo>
                    <a:lnTo>
                      <a:pt x="45" y="102"/>
                    </a:lnTo>
                    <a:lnTo>
                      <a:pt x="43" y="104"/>
                    </a:lnTo>
                    <a:lnTo>
                      <a:pt x="36" y="104"/>
                    </a:lnTo>
                    <a:lnTo>
                      <a:pt x="32" y="104"/>
                    </a:lnTo>
                    <a:lnTo>
                      <a:pt x="31" y="104"/>
                    </a:lnTo>
                    <a:lnTo>
                      <a:pt x="31" y="98"/>
                    </a:lnTo>
                    <a:lnTo>
                      <a:pt x="29" y="95"/>
                    </a:lnTo>
                    <a:lnTo>
                      <a:pt x="34" y="98"/>
                    </a:lnTo>
                    <a:lnTo>
                      <a:pt x="36" y="95"/>
                    </a:lnTo>
                    <a:lnTo>
                      <a:pt x="45" y="91"/>
                    </a:lnTo>
                    <a:lnTo>
                      <a:pt x="45" y="84"/>
                    </a:lnTo>
                    <a:lnTo>
                      <a:pt x="40" y="86"/>
                    </a:lnTo>
                    <a:lnTo>
                      <a:pt x="41" y="84"/>
                    </a:lnTo>
                    <a:lnTo>
                      <a:pt x="43" y="82"/>
                    </a:lnTo>
                    <a:lnTo>
                      <a:pt x="41" y="79"/>
                    </a:lnTo>
                    <a:lnTo>
                      <a:pt x="45" y="77"/>
                    </a:lnTo>
                    <a:lnTo>
                      <a:pt x="41" y="77"/>
                    </a:lnTo>
                    <a:lnTo>
                      <a:pt x="40" y="79"/>
                    </a:lnTo>
                    <a:lnTo>
                      <a:pt x="38" y="79"/>
                    </a:lnTo>
                    <a:lnTo>
                      <a:pt x="38" y="77"/>
                    </a:lnTo>
                    <a:lnTo>
                      <a:pt x="36" y="77"/>
                    </a:lnTo>
                    <a:lnTo>
                      <a:pt x="34" y="68"/>
                    </a:lnTo>
                    <a:lnTo>
                      <a:pt x="32" y="66"/>
                    </a:lnTo>
                    <a:lnTo>
                      <a:pt x="29" y="68"/>
                    </a:lnTo>
                    <a:lnTo>
                      <a:pt x="27" y="66"/>
                    </a:lnTo>
                    <a:lnTo>
                      <a:pt x="23" y="66"/>
                    </a:lnTo>
                    <a:lnTo>
                      <a:pt x="18" y="68"/>
                    </a:lnTo>
                    <a:lnTo>
                      <a:pt x="15" y="70"/>
                    </a:lnTo>
                    <a:lnTo>
                      <a:pt x="11" y="70"/>
                    </a:lnTo>
                    <a:lnTo>
                      <a:pt x="11" y="68"/>
                    </a:lnTo>
                    <a:lnTo>
                      <a:pt x="11" y="64"/>
                    </a:lnTo>
                    <a:lnTo>
                      <a:pt x="20" y="63"/>
                    </a:lnTo>
                    <a:lnTo>
                      <a:pt x="22" y="61"/>
                    </a:lnTo>
                    <a:lnTo>
                      <a:pt x="25" y="61"/>
                    </a:lnTo>
                    <a:lnTo>
                      <a:pt x="29" y="59"/>
                    </a:lnTo>
                    <a:lnTo>
                      <a:pt x="31" y="61"/>
                    </a:lnTo>
                    <a:lnTo>
                      <a:pt x="32" y="57"/>
                    </a:lnTo>
                    <a:lnTo>
                      <a:pt x="36" y="59"/>
                    </a:lnTo>
                    <a:lnTo>
                      <a:pt x="43" y="59"/>
                    </a:lnTo>
                    <a:lnTo>
                      <a:pt x="45" y="52"/>
                    </a:lnTo>
                    <a:lnTo>
                      <a:pt x="43" y="54"/>
                    </a:lnTo>
                    <a:lnTo>
                      <a:pt x="41" y="55"/>
                    </a:lnTo>
                    <a:lnTo>
                      <a:pt x="40" y="55"/>
                    </a:lnTo>
                    <a:lnTo>
                      <a:pt x="32" y="54"/>
                    </a:lnTo>
                    <a:lnTo>
                      <a:pt x="32" y="52"/>
                    </a:lnTo>
                    <a:lnTo>
                      <a:pt x="34" y="50"/>
                    </a:lnTo>
                    <a:lnTo>
                      <a:pt x="38" y="48"/>
                    </a:lnTo>
                    <a:lnTo>
                      <a:pt x="43" y="43"/>
                    </a:lnTo>
                    <a:lnTo>
                      <a:pt x="43" y="43"/>
                    </a:lnTo>
                    <a:lnTo>
                      <a:pt x="41" y="41"/>
                    </a:lnTo>
                    <a:lnTo>
                      <a:pt x="40" y="43"/>
                    </a:lnTo>
                    <a:lnTo>
                      <a:pt x="38" y="43"/>
                    </a:lnTo>
                    <a:lnTo>
                      <a:pt x="36" y="41"/>
                    </a:lnTo>
                    <a:lnTo>
                      <a:pt x="36" y="39"/>
                    </a:lnTo>
                    <a:lnTo>
                      <a:pt x="36" y="39"/>
                    </a:lnTo>
                    <a:lnTo>
                      <a:pt x="34" y="38"/>
                    </a:lnTo>
                    <a:lnTo>
                      <a:pt x="27" y="36"/>
                    </a:lnTo>
                    <a:lnTo>
                      <a:pt x="25" y="38"/>
                    </a:lnTo>
                    <a:lnTo>
                      <a:pt x="22" y="41"/>
                    </a:lnTo>
                    <a:lnTo>
                      <a:pt x="20" y="41"/>
                    </a:lnTo>
                    <a:lnTo>
                      <a:pt x="15" y="43"/>
                    </a:lnTo>
                    <a:lnTo>
                      <a:pt x="13" y="43"/>
                    </a:lnTo>
                    <a:lnTo>
                      <a:pt x="7" y="41"/>
                    </a:lnTo>
                    <a:lnTo>
                      <a:pt x="0" y="43"/>
                    </a:lnTo>
                    <a:lnTo>
                      <a:pt x="4" y="36"/>
                    </a:lnTo>
                    <a:lnTo>
                      <a:pt x="6" y="38"/>
                    </a:lnTo>
                    <a:lnTo>
                      <a:pt x="11" y="39"/>
                    </a:lnTo>
                    <a:lnTo>
                      <a:pt x="13" y="38"/>
                    </a:lnTo>
                    <a:lnTo>
                      <a:pt x="9" y="38"/>
                    </a:lnTo>
                    <a:lnTo>
                      <a:pt x="11" y="36"/>
                    </a:lnTo>
                    <a:lnTo>
                      <a:pt x="11" y="34"/>
                    </a:lnTo>
                    <a:lnTo>
                      <a:pt x="7" y="32"/>
                    </a:lnTo>
                    <a:lnTo>
                      <a:pt x="7" y="29"/>
                    </a:lnTo>
                    <a:lnTo>
                      <a:pt x="13" y="32"/>
                    </a:lnTo>
                    <a:lnTo>
                      <a:pt x="16" y="36"/>
                    </a:lnTo>
                    <a:lnTo>
                      <a:pt x="22" y="34"/>
                    </a:lnTo>
                    <a:lnTo>
                      <a:pt x="18" y="32"/>
                    </a:lnTo>
                    <a:lnTo>
                      <a:pt x="20" y="32"/>
                    </a:lnTo>
                    <a:lnTo>
                      <a:pt x="22" y="29"/>
                    </a:lnTo>
                    <a:lnTo>
                      <a:pt x="15" y="30"/>
                    </a:lnTo>
                    <a:lnTo>
                      <a:pt x="13" y="27"/>
                    </a:lnTo>
                    <a:lnTo>
                      <a:pt x="13" y="27"/>
                    </a:lnTo>
                    <a:lnTo>
                      <a:pt x="16" y="25"/>
                    </a:lnTo>
                    <a:lnTo>
                      <a:pt x="11" y="20"/>
                    </a:lnTo>
                    <a:lnTo>
                      <a:pt x="11" y="20"/>
                    </a:lnTo>
                    <a:lnTo>
                      <a:pt x="16" y="22"/>
                    </a:lnTo>
                    <a:lnTo>
                      <a:pt x="16" y="22"/>
                    </a:lnTo>
                    <a:lnTo>
                      <a:pt x="15" y="18"/>
                    </a:lnTo>
                    <a:lnTo>
                      <a:pt x="18" y="20"/>
                    </a:lnTo>
                    <a:lnTo>
                      <a:pt x="15" y="16"/>
                    </a:lnTo>
                    <a:lnTo>
                      <a:pt x="18" y="14"/>
                    </a:lnTo>
                    <a:lnTo>
                      <a:pt x="23" y="18"/>
                    </a:lnTo>
                    <a:lnTo>
                      <a:pt x="23" y="22"/>
                    </a:lnTo>
                    <a:lnTo>
                      <a:pt x="23" y="22"/>
                    </a:lnTo>
                    <a:lnTo>
                      <a:pt x="27" y="23"/>
                    </a:lnTo>
                    <a:lnTo>
                      <a:pt x="27" y="22"/>
                    </a:lnTo>
                    <a:lnTo>
                      <a:pt x="31" y="23"/>
                    </a:lnTo>
                    <a:lnTo>
                      <a:pt x="31" y="27"/>
                    </a:lnTo>
                    <a:lnTo>
                      <a:pt x="32" y="23"/>
                    </a:lnTo>
                    <a:lnTo>
                      <a:pt x="34" y="29"/>
                    </a:lnTo>
                    <a:lnTo>
                      <a:pt x="36" y="23"/>
                    </a:lnTo>
                    <a:lnTo>
                      <a:pt x="34" y="20"/>
                    </a:lnTo>
                    <a:lnTo>
                      <a:pt x="34" y="18"/>
                    </a:lnTo>
                    <a:lnTo>
                      <a:pt x="27" y="13"/>
                    </a:lnTo>
                    <a:lnTo>
                      <a:pt x="29" y="11"/>
                    </a:lnTo>
                    <a:lnTo>
                      <a:pt x="31" y="13"/>
                    </a:lnTo>
                    <a:lnTo>
                      <a:pt x="32" y="13"/>
                    </a:lnTo>
                    <a:lnTo>
                      <a:pt x="34" y="11"/>
                    </a:lnTo>
                    <a:lnTo>
                      <a:pt x="31" y="9"/>
                    </a:lnTo>
                    <a:lnTo>
                      <a:pt x="31" y="7"/>
                    </a:lnTo>
                    <a:lnTo>
                      <a:pt x="29" y="7"/>
                    </a:lnTo>
                    <a:lnTo>
                      <a:pt x="25" y="9"/>
                    </a:lnTo>
                    <a:lnTo>
                      <a:pt x="23" y="9"/>
                    </a:lnTo>
                    <a:lnTo>
                      <a:pt x="23" y="7"/>
                    </a:lnTo>
                    <a:lnTo>
                      <a:pt x="23" y="5"/>
                    </a:lnTo>
                    <a:lnTo>
                      <a:pt x="23" y="4"/>
                    </a:lnTo>
                    <a:lnTo>
                      <a:pt x="27" y="4"/>
                    </a:lnTo>
                    <a:lnTo>
                      <a:pt x="25" y="2"/>
                    </a:lnTo>
                    <a:lnTo>
                      <a:pt x="29" y="5"/>
                    </a:lnTo>
                    <a:lnTo>
                      <a:pt x="31" y="4"/>
                    </a:lnTo>
                    <a:lnTo>
                      <a:pt x="32" y="5"/>
                    </a:lnTo>
                    <a:lnTo>
                      <a:pt x="34" y="5"/>
                    </a:lnTo>
                    <a:lnTo>
                      <a:pt x="36" y="11"/>
                    </a:lnTo>
                    <a:lnTo>
                      <a:pt x="41" y="11"/>
                    </a:lnTo>
                    <a:lnTo>
                      <a:pt x="47" y="18"/>
                    </a:lnTo>
                    <a:lnTo>
                      <a:pt x="48" y="20"/>
                    </a:lnTo>
                    <a:lnTo>
                      <a:pt x="50" y="22"/>
                    </a:lnTo>
                    <a:lnTo>
                      <a:pt x="48" y="23"/>
                    </a:lnTo>
                    <a:lnTo>
                      <a:pt x="52" y="25"/>
                    </a:lnTo>
                    <a:lnTo>
                      <a:pt x="52" y="29"/>
                    </a:lnTo>
                    <a:lnTo>
                      <a:pt x="50" y="30"/>
                    </a:lnTo>
                    <a:lnTo>
                      <a:pt x="50" y="32"/>
                    </a:lnTo>
                    <a:lnTo>
                      <a:pt x="48" y="34"/>
                    </a:lnTo>
                    <a:lnTo>
                      <a:pt x="45" y="32"/>
                    </a:lnTo>
                    <a:lnTo>
                      <a:pt x="47" y="34"/>
                    </a:lnTo>
                    <a:lnTo>
                      <a:pt x="50" y="36"/>
                    </a:lnTo>
                    <a:lnTo>
                      <a:pt x="50" y="39"/>
                    </a:lnTo>
                    <a:lnTo>
                      <a:pt x="52" y="38"/>
                    </a:lnTo>
                    <a:lnTo>
                      <a:pt x="52" y="41"/>
                    </a:lnTo>
                    <a:lnTo>
                      <a:pt x="50" y="43"/>
                    </a:lnTo>
                    <a:lnTo>
                      <a:pt x="54" y="45"/>
                    </a:lnTo>
                    <a:lnTo>
                      <a:pt x="54" y="52"/>
                    </a:lnTo>
                    <a:lnTo>
                      <a:pt x="56" y="48"/>
                    </a:lnTo>
                    <a:lnTo>
                      <a:pt x="56" y="45"/>
                    </a:lnTo>
                    <a:lnTo>
                      <a:pt x="59" y="45"/>
                    </a:lnTo>
                    <a:lnTo>
                      <a:pt x="59" y="38"/>
                    </a:lnTo>
                    <a:lnTo>
                      <a:pt x="61" y="34"/>
                    </a:lnTo>
                    <a:lnTo>
                      <a:pt x="63" y="34"/>
                    </a:lnTo>
                    <a:lnTo>
                      <a:pt x="66" y="41"/>
                    </a:lnTo>
                    <a:lnTo>
                      <a:pt x="68" y="38"/>
                    </a:lnTo>
                    <a:lnTo>
                      <a:pt x="68" y="29"/>
                    </a:lnTo>
                    <a:lnTo>
                      <a:pt x="66" y="18"/>
                    </a:lnTo>
                    <a:lnTo>
                      <a:pt x="68" y="16"/>
                    </a:lnTo>
                    <a:lnTo>
                      <a:pt x="70" y="18"/>
                    </a:lnTo>
                    <a:lnTo>
                      <a:pt x="79" y="29"/>
                    </a:lnTo>
                    <a:lnTo>
                      <a:pt x="79" y="32"/>
                    </a:lnTo>
                    <a:lnTo>
                      <a:pt x="81" y="32"/>
                    </a:lnTo>
                    <a:lnTo>
                      <a:pt x="82" y="30"/>
                    </a:lnTo>
                    <a:lnTo>
                      <a:pt x="82" y="23"/>
                    </a:lnTo>
                    <a:lnTo>
                      <a:pt x="82" y="20"/>
                    </a:lnTo>
                    <a:lnTo>
                      <a:pt x="86" y="18"/>
                    </a:lnTo>
                    <a:lnTo>
                      <a:pt x="88" y="20"/>
                    </a:lnTo>
                    <a:lnTo>
                      <a:pt x="90" y="16"/>
                    </a:lnTo>
                    <a:lnTo>
                      <a:pt x="93" y="14"/>
                    </a:lnTo>
                    <a:lnTo>
                      <a:pt x="93" y="16"/>
                    </a:lnTo>
                    <a:lnTo>
                      <a:pt x="95" y="16"/>
                    </a:lnTo>
                    <a:lnTo>
                      <a:pt x="95" y="18"/>
                    </a:lnTo>
                    <a:lnTo>
                      <a:pt x="97" y="20"/>
                    </a:lnTo>
                    <a:lnTo>
                      <a:pt x="98" y="23"/>
                    </a:lnTo>
                    <a:lnTo>
                      <a:pt x="100" y="25"/>
                    </a:lnTo>
                    <a:lnTo>
                      <a:pt x="104" y="34"/>
                    </a:lnTo>
                    <a:lnTo>
                      <a:pt x="104" y="27"/>
                    </a:lnTo>
                    <a:lnTo>
                      <a:pt x="100" y="18"/>
                    </a:lnTo>
                    <a:lnTo>
                      <a:pt x="100" y="14"/>
                    </a:lnTo>
                    <a:lnTo>
                      <a:pt x="102" y="14"/>
                    </a:lnTo>
                    <a:lnTo>
                      <a:pt x="106" y="14"/>
                    </a:lnTo>
                    <a:lnTo>
                      <a:pt x="109" y="18"/>
                    </a:lnTo>
                    <a:lnTo>
                      <a:pt x="111" y="22"/>
                    </a:lnTo>
                    <a:lnTo>
                      <a:pt x="113" y="22"/>
                    </a:lnTo>
                    <a:lnTo>
                      <a:pt x="115" y="20"/>
                    </a:lnTo>
                    <a:lnTo>
                      <a:pt x="116" y="16"/>
                    </a:lnTo>
                    <a:lnTo>
                      <a:pt x="116" y="14"/>
                    </a:lnTo>
                    <a:lnTo>
                      <a:pt x="120" y="14"/>
                    </a:lnTo>
                    <a:lnTo>
                      <a:pt x="122" y="16"/>
                    </a:lnTo>
                    <a:lnTo>
                      <a:pt x="123" y="18"/>
                    </a:lnTo>
                    <a:lnTo>
                      <a:pt x="127" y="16"/>
                    </a:lnTo>
                    <a:lnTo>
                      <a:pt x="131" y="14"/>
                    </a:lnTo>
                    <a:lnTo>
                      <a:pt x="129" y="5"/>
                    </a:lnTo>
                    <a:lnTo>
                      <a:pt x="129" y="2"/>
                    </a:lnTo>
                    <a:lnTo>
                      <a:pt x="131" y="2"/>
                    </a:lnTo>
                    <a:lnTo>
                      <a:pt x="134" y="0"/>
                    </a:lnTo>
                    <a:lnTo>
                      <a:pt x="136" y="0"/>
                    </a:lnTo>
                    <a:lnTo>
                      <a:pt x="138" y="4"/>
                    </a:lnTo>
                    <a:lnTo>
                      <a:pt x="141" y="5"/>
                    </a:lnTo>
                    <a:lnTo>
                      <a:pt x="141" y="9"/>
                    </a:lnTo>
                    <a:lnTo>
                      <a:pt x="141" y="11"/>
                    </a:lnTo>
                    <a:lnTo>
                      <a:pt x="145" y="14"/>
                    </a:lnTo>
                    <a:lnTo>
                      <a:pt x="147" y="14"/>
                    </a:lnTo>
                    <a:lnTo>
                      <a:pt x="147" y="13"/>
                    </a:lnTo>
                    <a:lnTo>
                      <a:pt x="147" y="11"/>
                    </a:lnTo>
                    <a:lnTo>
                      <a:pt x="152" y="11"/>
                    </a:lnTo>
                    <a:lnTo>
                      <a:pt x="154" y="7"/>
                    </a:lnTo>
                    <a:lnTo>
                      <a:pt x="156" y="5"/>
                    </a:lnTo>
                    <a:lnTo>
                      <a:pt x="159" y="5"/>
                    </a:lnTo>
                    <a:lnTo>
                      <a:pt x="161" y="7"/>
                    </a:lnTo>
                    <a:lnTo>
                      <a:pt x="156" y="9"/>
                    </a:lnTo>
                    <a:lnTo>
                      <a:pt x="150" y="18"/>
                    </a:lnTo>
                    <a:lnTo>
                      <a:pt x="152" y="20"/>
                    </a:lnTo>
                    <a:lnTo>
                      <a:pt x="154" y="22"/>
                    </a:lnTo>
                    <a:lnTo>
                      <a:pt x="157" y="20"/>
                    </a:lnTo>
                    <a:lnTo>
                      <a:pt x="159" y="25"/>
                    </a:lnTo>
                    <a:lnTo>
                      <a:pt x="157" y="29"/>
                    </a:lnTo>
                    <a:lnTo>
                      <a:pt x="157" y="32"/>
                    </a:lnTo>
                    <a:lnTo>
                      <a:pt x="165" y="32"/>
                    </a:lnTo>
                    <a:lnTo>
                      <a:pt x="163" y="34"/>
                    </a:lnTo>
                    <a:lnTo>
                      <a:pt x="165" y="36"/>
                    </a:lnTo>
                    <a:lnTo>
                      <a:pt x="168" y="38"/>
                    </a:lnTo>
                    <a:lnTo>
                      <a:pt x="170" y="34"/>
                    </a:lnTo>
                    <a:lnTo>
                      <a:pt x="170" y="36"/>
                    </a:lnTo>
                    <a:lnTo>
                      <a:pt x="173" y="43"/>
                    </a:lnTo>
                    <a:lnTo>
                      <a:pt x="173" y="47"/>
                    </a:lnTo>
                    <a:lnTo>
                      <a:pt x="172" y="48"/>
                    </a:lnTo>
                    <a:lnTo>
                      <a:pt x="173" y="54"/>
                    </a:lnTo>
                    <a:lnTo>
                      <a:pt x="175" y="54"/>
                    </a:lnTo>
                    <a:lnTo>
                      <a:pt x="177" y="52"/>
                    </a:lnTo>
                    <a:lnTo>
                      <a:pt x="177" y="55"/>
                    </a:lnTo>
                    <a:lnTo>
                      <a:pt x="175" y="59"/>
                    </a:lnTo>
                    <a:lnTo>
                      <a:pt x="173" y="61"/>
                    </a:lnTo>
                    <a:lnTo>
                      <a:pt x="173" y="64"/>
                    </a:lnTo>
                    <a:lnTo>
                      <a:pt x="172" y="64"/>
                    </a:lnTo>
                    <a:lnTo>
                      <a:pt x="170" y="68"/>
                    </a:lnTo>
                    <a:lnTo>
                      <a:pt x="165" y="70"/>
                    </a:lnTo>
                    <a:lnTo>
                      <a:pt x="165" y="72"/>
                    </a:lnTo>
                    <a:lnTo>
                      <a:pt x="161" y="72"/>
                    </a:lnTo>
                    <a:lnTo>
                      <a:pt x="163" y="72"/>
                    </a:lnTo>
                    <a:lnTo>
                      <a:pt x="161" y="73"/>
                    </a:lnTo>
                    <a:lnTo>
                      <a:pt x="163" y="75"/>
                    </a:lnTo>
                    <a:lnTo>
                      <a:pt x="166" y="72"/>
                    </a:lnTo>
                    <a:lnTo>
                      <a:pt x="159" y="82"/>
                    </a:lnTo>
                    <a:lnTo>
                      <a:pt x="156" y="84"/>
                    </a:lnTo>
                    <a:lnTo>
                      <a:pt x="156" y="88"/>
                    </a:lnTo>
                    <a:lnTo>
                      <a:pt x="152" y="86"/>
                    </a:lnTo>
                    <a:lnTo>
                      <a:pt x="152" y="84"/>
                    </a:lnTo>
                    <a:lnTo>
                      <a:pt x="150" y="82"/>
                    </a:lnTo>
                    <a:lnTo>
                      <a:pt x="147" y="80"/>
                    </a:lnTo>
                    <a:lnTo>
                      <a:pt x="147" y="86"/>
                    </a:lnTo>
                    <a:lnTo>
                      <a:pt x="129" y="102"/>
                    </a:lnTo>
                    <a:lnTo>
                      <a:pt x="123" y="100"/>
                    </a:lnTo>
                    <a:lnTo>
                      <a:pt x="122" y="102"/>
                    </a:lnTo>
                    <a:lnTo>
                      <a:pt x="120" y="100"/>
                    </a:lnTo>
                    <a:lnTo>
                      <a:pt x="118" y="102"/>
                    </a:lnTo>
                    <a:lnTo>
                      <a:pt x="118" y="104"/>
                    </a:lnTo>
                    <a:lnTo>
                      <a:pt x="118" y="105"/>
                    </a:lnTo>
                    <a:lnTo>
                      <a:pt x="113" y="107"/>
                    </a:lnTo>
                    <a:lnTo>
                      <a:pt x="104" y="116"/>
                    </a:lnTo>
                    <a:lnTo>
                      <a:pt x="97" y="118"/>
                    </a:lnTo>
                    <a:lnTo>
                      <a:pt x="95" y="120"/>
                    </a:lnTo>
                    <a:lnTo>
                      <a:pt x="91" y="118"/>
                    </a:lnTo>
                    <a:lnTo>
                      <a:pt x="90" y="120"/>
                    </a:lnTo>
                    <a:lnTo>
                      <a:pt x="86" y="116"/>
                    </a:lnTo>
                    <a:lnTo>
                      <a:pt x="82" y="116"/>
                    </a:lnTo>
                    <a:lnTo>
                      <a:pt x="77" y="114"/>
                    </a:lnTo>
                    <a:lnTo>
                      <a:pt x="73" y="11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96" name="Freeform 1744"/>
              <p:cNvSpPr>
                <a:spLocks/>
              </p:cNvSpPr>
              <p:nvPr/>
            </p:nvSpPr>
            <p:spPr bwMode="auto">
              <a:xfrm>
                <a:off x="1530" y="486"/>
                <a:ext cx="886" cy="1023"/>
              </a:xfrm>
              <a:custGeom>
                <a:avLst/>
                <a:gdLst>
                  <a:gd name="T0" fmla="*/ 93 w 886"/>
                  <a:gd name="T1" fmla="*/ 80 h 1023"/>
                  <a:gd name="T2" fmla="*/ 16 w 886"/>
                  <a:gd name="T3" fmla="*/ 123 h 1023"/>
                  <a:gd name="T4" fmla="*/ 25 w 886"/>
                  <a:gd name="T5" fmla="*/ 180 h 1023"/>
                  <a:gd name="T6" fmla="*/ 104 w 886"/>
                  <a:gd name="T7" fmla="*/ 188 h 1023"/>
                  <a:gd name="T8" fmla="*/ 109 w 886"/>
                  <a:gd name="T9" fmla="*/ 230 h 1023"/>
                  <a:gd name="T10" fmla="*/ 68 w 886"/>
                  <a:gd name="T11" fmla="*/ 266 h 1023"/>
                  <a:gd name="T12" fmla="*/ 125 w 886"/>
                  <a:gd name="T13" fmla="*/ 309 h 1023"/>
                  <a:gd name="T14" fmla="*/ 197 w 886"/>
                  <a:gd name="T15" fmla="*/ 307 h 1023"/>
                  <a:gd name="T16" fmla="*/ 238 w 886"/>
                  <a:gd name="T17" fmla="*/ 368 h 1023"/>
                  <a:gd name="T18" fmla="*/ 268 w 886"/>
                  <a:gd name="T19" fmla="*/ 438 h 1023"/>
                  <a:gd name="T20" fmla="*/ 291 w 886"/>
                  <a:gd name="T21" fmla="*/ 505 h 1023"/>
                  <a:gd name="T22" fmla="*/ 300 w 886"/>
                  <a:gd name="T23" fmla="*/ 559 h 1023"/>
                  <a:gd name="T24" fmla="*/ 329 w 886"/>
                  <a:gd name="T25" fmla="*/ 580 h 1023"/>
                  <a:gd name="T26" fmla="*/ 350 w 886"/>
                  <a:gd name="T27" fmla="*/ 621 h 1023"/>
                  <a:gd name="T28" fmla="*/ 357 w 886"/>
                  <a:gd name="T29" fmla="*/ 657 h 1023"/>
                  <a:gd name="T30" fmla="*/ 350 w 886"/>
                  <a:gd name="T31" fmla="*/ 700 h 1023"/>
                  <a:gd name="T32" fmla="*/ 347 w 886"/>
                  <a:gd name="T33" fmla="*/ 725 h 1023"/>
                  <a:gd name="T34" fmla="*/ 307 w 886"/>
                  <a:gd name="T35" fmla="*/ 750 h 1023"/>
                  <a:gd name="T36" fmla="*/ 311 w 886"/>
                  <a:gd name="T37" fmla="*/ 805 h 1023"/>
                  <a:gd name="T38" fmla="*/ 329 w 886"/>
                  <a:gd name="T39" fmla="*/ 845 h 1023"/>
                  <a:gd name="T40" fmla="*/ 366 w 886"/>
                  <a:gd name="T41" fmla="*/ 864 h 1023"/>
                  <a:gd name="T42" fmla="*/ 355 w 886"/>
                  <a:gd name="T43" fmla="*/ 923 h 1023"/>
                  <a:gd name="T44" fmla="*/ 373 w 886"/>
                  <a:gd name="T45" fmla="*/ 955 h 1023"/>
                  <a:gd name="T46" fmla="*/ 395 w 886"/>
                  <a:gd name="T47" fmla="*/ 975 h 1023"/>
                  <a:gd name="T48" fmla="*/ 397 w 886"/>
                  <a:gd name="T49" fmla="*/ 998 h 1023"/>
                  <a:gd name="T50" fmla="*/ 427 w 886"/>
                  <a:gd name="T51" fmla="*/ 1000 h 1023"/>
                  <a:gd name="T52" fmla="*/ 447 w 886"/>
                  <a:gd name="T53" fmla="*/ 1013 h 1023"/>
                  <a:gd name="T54" fmla="*/ 477 w 886"/>
                  <a:gd name="T55" fmla="*/ 1007 h 1023"/>
                  <a:gd name="T56" fmla="*/ 488 w 886"/>
                  <a:gd name="T57" fmla="*/ 938 h 1023"/>
                  <a:gd name="T58" fmla="*/ 500 w 886"/>
                  <a:gd name="T59" fmla="*/ 918 h 1023"/>
                  <a:gd name="T60" fmla="*/ 513 w 886"/>
                  <a:gd name="T61" fmla="*/ 898 h 1023"/>
                  <a:gd name="T62" fmla="*/ 505 w 886"/>
                  <a:gd name="T63" fmla="*/ 854 h 1023"/>
                  <a:gd name="T64" fmla="*/ 530 w 886"/>
                  <a:gd name="T65" fmla="*/ 825 h 1023"/>
                  <a:gd name="T66" fmla="*/ 554 w 886"/>
                  <a:gd name="T67" fmla="*/ 814 h 1023"/>
                  <a:gd name="T68" fmla="*/ 563 w 886"/>
                  <a:gd name="T69" fmla="*/ 814 h 1023"/>
                  <a:gd name="T70" fmla="*/ 589 w 886"/>
                  <a:gd name="T71" fmla="*/ 813 h 1023"/>
                  <a:gd name="T72" fmla="*/ 616 w 886"/>
                  <a:gd name="T73" fmla="*/ 782 h 1023"/>
                  <a:gd name="T74" fmla="*/ 632 w 886"/>
                  <a:gd name="T75" fmla="*/ 750 h 1023"/>
                  <a:gd name="T76" fmla="*/ 645 w 886"/>
                  <a:gd name="T77" fmla="*/ 707 h 1023"/>
                  <a:gd name="T78" fmla="*/ 668 w 886"/>
                  <a:gd name="T79" fmla="*/ 723 h 1023"/>
                  <a:gd name="T80" fmla="*/ 689 w 886"/>
                  <a:gd name="T81" fmla="*/ 718 h 1023"/>
                  <a:gd name="T82" fmla="*/ 729 w 886"/>
                  <a:gd name="T83" fmla="*/ 707 h 1023"/>
                  <a:gd name="T84" fmla="*/ 755 w 886"/>
                  <a:gd name="T85" fmla="*/ 686 h 1023"/>
                  <a:gd name="T86" fmla="*/ 777 w 886"/>
                  <a:gd name="T87" fmla="*/ 666 h 1023"/>
                  <a:gd name="T88" fmla="*/ 796 w 886"/>
                  <a:gd name="T89" fmla="*/ 648 h 1023"/>
                  <a:gd name="T90" fmla="*/ 738 w 886"/>
                  <a:gd name="T91" fmla="*/ 630 h 1023"/>
                  <a:gd name="T92" fmla="*/ 723 w 886"/>
                  <a:gd name="T93" fmla="*/ 591 h 1023"/>
                  <a:gd name="T94" fmla="*/ 745 w 886"/>
                  <a:gd name="T95" fmla="*/ 563 h 1023"/>
                  <a:gd name="T96" fmla="*/ 818 w 886"/>
                  <a:gd name="T97" fmla="*/ 614 h 1023"/>
                  <a:gd name="T98" fmla="*/ 813 w 886"/>
                  <a:gd name="T99" fmla="*/ 559 h 1023"/>
                  <a:gd name="T100" fmla="*/ 761 w 886"/>
                  <a:gd name="T101" fmla="*/ 534 h 1023"/>
                  <a:gd name="T102" fmla="*/ 766 w 886"/>
                  <a:gd name="T103" fmla="*/ 489 h 1023"/>
                  <a:gd name="T104" fmla="*/ 775 w 886"/>
                  <a:gd name="T105" fmla="*/ 448 h 1023"/>
                  <a:gd name="T106" fmla="*/ 807 w 886"/>
                  <a:gd name="T107" fmla="*/ 432 h 1023"/>
                  <a:gd name="T108" fmla="*/ 854 w 886"/>
                  <a:gd name="T109" fmla="*/ 396 h 1023"/>
                  <a:gd name="T110" fmla="*/ 816 w 886"/>
                  <a:gd name="T111" fmla="*/ 339 h 1023"/>
                  <a:gd name="T112" fmla="*/ 829 w 886"/>
                  <a:gd name="T113" fmla="*/ 291 h 1023"/>
                  <a:gd name="T114" fmla="*/ 809 w 886"/>
                  <a:gd name="T115" fmla="*/ 271 h 1023"/>
                  <a:gd name="T116" fmla="*/ 873 w 886"/>
                  <a:gd name="T117" fmla="*/ 220 h 1023"/>
                  <a:gd name="T118" fmla="*/ 841 w 886"/>
                  <a:gd name="T119" fmla="*/ 191 h 1023"/>
                  <a:gd name="T120" fmla="*/ 829 w 886"/>
                  <a:gd name="T121" fmla="*/ 116 h 1023"/>
                  <a:gd name="T122" fmla="*/ 852 w 886"/>
                  <a:gd name="T123" fmla="*/ 52 h 1023"/>
                  <a:gd name="T124" fmla="*/ 839 w 886"/>
                  <a:gd name="T125" fmla="*/ 5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6" h="1023">
                    <a:moveTo>
                      <a:pt x="125" y="5"/>
                    </a:moveTo>
                    <a:lnTo>
                      <a:pt x="129" y="7"/>
                    </a:lnTo>
                    <a:lnTo>
                      <a:pt x="132" y="7"/>
                    </a:lnTo>
                    <a:lnTo>
                      <a:pt x="136" y="14"/>
                    </a:lnTo>
                    <a:lnTo>
                      <a:pt x="134" y="18"/>
                    </a:lnTo>
                    <a:lnTo>
                      <a:pt x="129" y="20"/>
                    </a:lnTo>
                    <a:lnTo>
                      <a:pt x="125" y="18"/>
                    </a:lnTo>
                    <a:lnTo>
                      <a:pt x="123" y="27"/>
                    </a:lnTo>
                    <a:lnTo>
                      <a:pt x="125" y="29"/>
                    </a:lnTo>
                    <a:lnTo>
                      <a:pt x="129" y="38"/>
                    </a:lnTo>
                    <a:lnTo>
                      <a:pt x="129" y="45"/>
                    </a:lnTo>
                    <a:lnTo>
                      <a:pt x="123" y="52"/>
                    </a:lnTo>
                    <a:lnTo>
                      <a:pt x="122" y="59"/>
                    </a:lnTo>
                    <a:lnTo>
                      <a:pt x="118" y="61"/>
                    </a:lnTo>
                    <a:lnTo>
                      <a:pt x="109" y="80"/>
                    </a:lnTo>
                    <a:lnTo>
                      <a:pt x="107" y="82"/>
                    </a:lnTo>
                    <a:lnTo>
                      <a:pt x="106" y="80"/>
                    </a:lnTo>
                    <a:lnTo>
                      <a:pt x="102" y="80"/>
                    </a:lnTo>
                    <a:lnTo>
                      <a:pt x="97" y="79"/>
                    </a:lnTo>
                    <a:lnTo>
                      <a:pt x="93" y="80"/>
                    </a:lnTo>
                    <a:lnTo>
                      <a:pt x="91" y="75"/>
                    </a:lnTo>
                    <a:lnTo>
                      <a:pt x="81" y="79"/>
                    </a:lnTo>
                    <a:lnTo>
                      <a:pt x="81" y="82"/>
                    </a:lnTo>
                    <a:lnTo>
                      <a:pt x="77" y="80"/>
                    </a:lnTo>
                    <a:lnTo>
                      <a:pt x="66" y="82"/>
                    </a:lnTo>
                    <a:lnTo>
                      <a:pt x="57" y="91"/>
                    </a:lnTo>
                    <a:lnTo>
                      <a:pt x="59" y="95"/>
                    </a:lnTo>
                    <a:lnTo>
                      <a:pt x="63" y="96"/>
                    </a:lnTo>
                    <a:lnTo>
                      <a:pt x="63" y="100"/>
                    </a:lnTo>
                    <a:lnTo>
                      <a:pt x="57" y="98"/>
                    </a:lnTo>
                    <a:lnTo>
                      <a:pt x="56" y="98"/>
                    </a:lnTo>
                    <a:lnTo>
                      <a:pt x="56" y="102"/>
                    </a:lnTo>
                    <a:lnTo>
                      <a:pt x="54" y="104"/>
                    </a:lnTo>
                    <a:lnTo>
                      <a:pt x="45" y="104"/>
                    </a:lnTo>
                    <a:lnTo>
                      <a:pt x="41" y="107"/>
                    </a:lnTo>
                    <a:lnTo>
                      <a:pt x="32" y="109"/>
                    </a:lnTo>
                    <a:lnTo>
                      <a:pt x="31" y="120"/>
                    </a:lnTo>
                    <a:lnTo>
                      <a:pt x="25" y="116"/>
                    </a:lnTo>
                    <a:lnTo>
                      <a:pt x="18" y="118"/>
                    </a:lnTo>
                    <a:lnTo>
                      <a:pt x="16" y="123"/>
                    </a:lnTo>
                    <a:lnTo>
                      <a:pt x="9" y="125"/>
                    </a:lnTo>
                    <a:lnTo>
                      <a:pt x="6" y="129"/>
                    </a:lnTo>
                    <a:lnTo>
                      <a:pt x="4" y="134"/>
                    </a:lnTo>
                    <a:lnTo>
                      <a:pt x="2" y="141"/>
                    </a:lnTo>
                    <a:lnTo>
                      <a:pt x="2" y="143"/>
                    </a:lnTo>
                    <a:lnTo>
                      <a:pt x="7" y="145"/>
                    </a:lnTo>
                    <a:lnTo>
                      <a:pt x="4" y="146"/>
                    </a:lnTo>
                    <a:lnTo>
                      <a:pt x="2" y="152"/>
                    </a:lnTo>
                    <a:lnTo>
                      <a:pt x="0" y="154"/>
                    </a:lnTo>
                    <a:lnTo>
                      <a:pt x="0" y="157"/>
                    </a:lnTo>
                    <a:lnTo>
                      <a:pt x="6" y="161"/>
                    </a:lnTo>
                    <a:lnTo>
                      <a:pt x="9" y="163"/>
                    </a:lnTo>
                    <a:lnTo>
                      <a:pt x="11" y="166"/>
                    </a:lnTo>
                    <a:lnTo>
                      <a:pt x="11" y="170"/>
                    </a:lnTo>
                    <a:lnTo>
                      <a:pt x="11" y="171"/>
                    </a:lnTo>
                    <a:lnTo>
                      <a:pt x="16" y="175"/>
                    </a:lnTo>
                    <a:lnTo>
                      <a:pt x="18" y="173"/>
                    </a:lnTo>
                    <a:lnTo>
                      <a:pt x="22" y="177"/>
                    </a:lnTo>
                    <a:lnTo>
                      <a:pt x="27" y="177"/>
                    </a:lnTo>
                    <a:lnTo>
                      <a:pt x="25" y="180"/>
                    </a:lnTo>
                    <a:lnTo>
                      <a:pt x="27" y="184"/>
                    </a:lnTo>
                    <a:lnTo>
                      <a:pt x="45" y="179"/>
                    </a:lnTo>
                    <a:lnTo>
                      <a:pt x="39" y="186"/>
                    </a:lnTo>
                    <a:lnTo>
                      <a:pt x="38" y="191"/>
                    </a:lnTo>
                    <a:lnTo>
                      <a:pt x="47" y="191"/>
                    </a:lnTo>
                    <a:lnTo>
                      <a:pt x="52" y="188"/>
                    </a:lnTo>
                    <a:lnTo>
                      <a:pt x="52" y="191"/>
                    </a:lnTo>
                    <a:lnTo>
                      <a:pt x="45" y="196"/>
                    </a:lnTo>
                    <a:lnTo>
                      <a:pt x="47" y="202"/>
                    </a:lnTo>
                    <a:lnTo>
                      <a:pt x="63" y="207"/>
                    </a:lnTo>
                    <a:lnTo>
                      <a:pt x="68" y="204"/>
                    </a:lnTo>
                    <a:lnTo>
                      <a:pt x="70" y="198"/>
                    </a:lnTo>
                    <a:lnTo>
                      <a:pt x="66" y="193"/>
                    </a:lnTo>
                    <a:lnTo>
                      <a:pt x="70" y="191"/>
                    </a:lnTo>
                    <a:lnTo>
                      <a:pt x="73" y="196"/>
                    </a:lnTo>
                    <a:lnTo>
                      <a:pt x="75" y="202"/>
                    </a:lnTo>
                    <a:lnTo>
                      <a:pt x="91" y="200"/>
                    </a:lnTo>
                    <a:lnTo>
                      <a:pt x="97" y="193"/>
                    </a:lnTo>
                    <a:lnTo>
                      <a:pt x="100" y="188"/>
                    </a:lnTo>
                    <a:lnTo>
                      <a:pt x="104" y="188"/>
                    </a:lnTo>
                    <a:lnTo>
                      <a:pt x="104" y="191"/>
                    </a:lnTo>
                    <a:lnTo>
                      <a:pt x="98" y="193"/>
                    </a:lnTo>
                    <a:lnTo>
                      <a:pt x="100" y="196"/>
                    </a:lnTo>
                    <a:lnTo>
                      <a:pt x="102" y="195"/>
                    </a:lnTo>
                    <a:lnTo>
                      <a:pt x="106" y="191"/>
                    </a:lnTo>
                    <a:lnTo>
                      <a:pt x="109" y="191"/>
                    </a:lnTo>
                    <a:lnTo>
                      <a:pt x="111" y="193"/>
                    </a:lnTo>
                    <a:lnTo>
                      <a:pt x="111" y="196"/>
                    </a:lnTo>
                    <a:lnTo>
                      <a:pt x="114" y="200"/>
                    </a:lnTo>
                    <a:lnTo>
                      <a:pt x="113" y="205"/>
                    </a:lnTo>
                    <a:lnTo>
                      <a:pt x="111" y="209"/>
                    </a:lnTo>
                    <a:lnTo>
                      <a:pt x="106" y="207"/>
                    </a:lnTo>
                    <a:lnTo>
                      <a:pt x="104" y="211"/>
                    </a:lnTo>
                    <a:lnTo>
                      <a:pt x="104" y="214"/>
                    </a:lnTo>
                    <a:lnTo>
                      <a:pt x="106" y="218"/>
                    </a:lnTo>
                    <a:lnTo>
                      <a:pt x="114" y="221"/>
                    </a:lnTo>
                    <a:lnTo>
                      <a:pt x="116" y="223"/>
                    </a:lnTo>
                    <a:lnTo>
                      <a:pt x="116" y="225"/>
                    </a:lnTo>
                    <a:lnTo>
                      <a:pt x="114" y="229"/>
                    </a:lnTo>
                    <a:lnTo>
                      <a:pt x="109" y="230"/>
                    </a:lnTo>
                    <a:lnTo>
                      <a:pt x="107" y="234"/>
                    </a:lnTo>
                    <a:lnTo>
                      <a:pt x="106" y="234"/>
                    </a:lnTo>
                    <a:lnTo>
                      <a:pt x="84" y="227"/>
                    </a:lnTo>
                    <a:lnTo>
                      <a:pt x="75" y="230"/>
                    </a:lnTo>
                    <a:lnTo>
                      <a:pt x="43" y="225"/>
                    </a:lnTo>
                    <a:lnTo>
                      <a:pt x="34" y="229"/>
                    </a:lnTo>
                    <a:lnTo>
                      <a:pt x="34" y="232"/>
                    </a:lnTo>
                    <a:lnTo>
                      <a:pt x="31" y="232"/>
                    </a:lnTo>
                    <a:lnTo>
                      <a:pt x="23" y="245"/>
                    </a:lnTo>
                    <a:lnTo>
                      <a:pt x="25" y="243"/>
                    </a:lnTo>
                    <a:lnTo>
                      <a:pt x="32" y="248"/>
                    </a:lnTo>
                    <a:lnTo>
                      <a:pt x="32" y="250"/>
                    </a:lnTo>
                    <a:lnTo>
                      <a:pt x="32" y="254"/>
                    </a:lnTo>
                    <a:lnTo>
                      <a:pt x="38" y="257"/>
                    </a:lnTo>
                    <a:lnTo>
                      <a:pt x="43" y="255"/>
                    </a:lnTo>
                    <a:lnTo>
                      <a:pt x="50" y="241"/>
                    </a:lnTo>
                    <a:lnTo>
                      <a:pt x="52" y="243"/>
                    </a:lnTo>
                    <a:lnTo>
                      <a:pt x="47" y="254"/>
                    </a:lnTo>
                    <a:lnTo>
                      <a:pt x="48" y="261"/>
                    </a:lnTo>
                    <a:lnTo>
                      <a:pt x="68" y="266"/>
                    </a:lnTo>
                    <a:lnTo>
                      <a:pt x="77" y="264"/>
                    </a:lnTo>
                    <a:lnTo>
                      <a:pt x="75" y="268"/>
                    </a:lnTo>
                    <a:lnTo>
                      <a:pt x="72" y="273"/>
                    </a:lnTo>
                    <a:lnTo>
                      <a:pt x="64" y="273"/>
                    </a:lnTo>
                    <a:lnTo>
                      <a:pt x="54" y="284"/>
                    </a:lnTo>
                    <a:lnTo>
                      <a:pt x="75" y="309"/>
                    </a:lnTo>
                    <a:lnTo>
                      <a:pt x="106" y="320"/>
                    </a:lnTo>
                    <a:lnTo>
                      <a:pt x="97" y="305"/>
                    </a:lnTo>
                    <a:lnTo>
                      <a:pt x="91" y="302"/>
                    </a:lnTo>
                    <a:lnTo>
                      <a:pt x="95" y="296"/>
                    </a:lnTo>
                    <a:lnTo>
                      <a:pt x="98" y="296"/>
                    </a:lnTo>
                    <a:lnTo>
                      <a:pt x="104" y="304"/>
                    </a:lnTo>
                    <a:lnTo>
                      <a:pt x="107" y="304"/>
                    </a:lnTo>
                    <a:lnTo>
                      <a:pt x="109" y="298"/>
                    </a:lnTo>
                    <a:lnTo>
                      <a:pt x="111" y="293"/>
                    </a:lnTo>
                    <a:lnTo>
                      <a:pt x="120" y="295"/>
                    </a:lnTo>
                    <a:lnTo>
                      <a:pt x="118" y="300"/>
                    </a:lnTo>
                    <a:lnTo>
                      <a:pt x="118" y="307"/>
                    </a:lnTo>
                    <a:lnTo>
                      <a:pt x="122" y="313"/>
                    </a:lnTo>
                    <a:lnTo>
                      <a:pt x="125" y="309"/>
                    </a:lnTo>
                    <a:lnTo>
                      <a:pt x="129" y="304"/>
                    </a:lnTo>
                    <a:lnTo>
                      <a:pt x="132" y="302"/>
                    </a:lnTo>
                    <a:lnTo>
                      <a:pt x="134" y="302"/>
                    </a:lnTo>
                    <a:lnTo>
                      <a:pt x="136" y="298"/>
                    </a:lnTo>
                    <a:lnTo>
                      <a:pt x="139" y="293"/>
                    </a:lnTo>
                    <a:lnTo>
                      <a:pt x="143" y="291"/>
                    </a:lnTo>
                    <a:lnTo>
                      <a:pt x="143" y="296"/>
                    </a:lnTo>
                    <a:lnTo>
                      <a:pt x="147" y="302"/>
                    </a:lnTo>
                    <a:lnTo>
                      <a:pt x="152" y="298"/>
                    </a:lnTo>
                    <a:lnTo>
                      <a:pt x="156" y="289"/>
                    </a:lnTo>
                    <a:lnTo>
                      <a:pt x="161" y="291"/>
                    </a:lnTo>
                    <a:lnTo>
                      <a:pt x="164" y="296"/>
                    </a:lnTo>
                    <a:lnTo>
                      <a:pt x="168" y="298"/>
                    </a:lnTo>
                    <a:lnTo>
                      <a:pt x="170" y="296"/>
                    </a:lnTo>
                    <a:lnTo>
                      <a:pt x="191" y="304"/>
                    </a:lnTo>
                    <a:lnTo>
                      <a:pt x="193" y="309"/>
                    </a:lnTo>
                    <a:lnTo>
                      <a:pt x="195" y="311"/>
                    </a:lnTo>
                    <a:lnTo>
                      <a:pt x="197" y="313"/>
                    </a:lnTo>
                    <a:lnTo>
                      <a:pt x="197" y="307"/>
                    </a:lnTo>
                    <a:lnTo>
                      <a:pt x="197" y="307"/>
                    </a:lnTo>
                    <a:lnTo>
                      <a:pt x="209" y="316"/>
                    </a:lnTo>
                    <a:lnTo>
                      <a:pt x="211" y="314"/>
                    </a:lnTo>
                    <a:lnTo>
                      <a:pt x="213" y="318"/>
                    </a:lnTo>
                    <a:lnTo>
                      <a:pt x="211" y="325"/>
                    </a:lnTo>
                    <a:lnTo>
                      <a:pt x="214" y="325"/>
                    </a:lnTo>
                    <a:lnTo>
                      <a:pt x="220" y="320"/>
                    </a:lnTo>
                    <a:lnTo>
                      <a:pt x="222" y="327"/>
                    </a:lnTo>
                    <a:lnTo>
                      <a:pt x="222" y="327"/>
                    </a:lnTo>
                    <a:lnTo>
                      <a:pt x="225" y="330"/>
                    </a:lnTo>
                    <a:lnTo>
                      <a:pt x="229" y="329"/>
                    </a:lnTo>
                    <a:lnTo>
                      <a:pt x="232" y="336"/>
                    </a:lnTo>
                    <a:lnTo>
                      <a:pt x="232" y="339"/>
                    </a:lnTo>
                    <a:lnTo>
                      <a:pt x="234" y="341"/>
                    </a:lnTo>
                    <a:lnTo>
                      <a:pt x="234" y="343"/>
                    </a:lnTo>
                    <a:lnTo>
                      <a:pt x="230" y="354"/>
                    </a:lnTo>
                    <a:lnTo>
                      <a:pt x="232" y="350"/>
                    </a:lnTo>
                    <a:lnTo>
                      <a:pt x="234" y="354"/>
                    </a:lnTo>
                    <a:lnTo>
                      <a:pt x="234" y="355"/>
                    </a:lnTo>
                    <a:lnTo>
                      <a:pt x="236" y="361"/>
                    </a:lnTo>
                    <a:lnTo>
                      <a:pt x="238" y="368"/>
                    </a:lnTo>
                    <a:lnTo>
                      <a:pt x="239" y="371"/>
                    </a:lnTo>
                    <a:lnTo>
                      <a:pt x="255" y="382"/>
                    </a:lnTo>
                    <a:lnTo>
                      <a:pt x="255" y="386"/>
                    </a:lnTo>
                    <a:lnTo>
                      <a:pt x="254" y="388"/>
                    </a:lnTo>
                    <a:lnTo>
                      <a:pt x="252" y="389"/>
                    </a:lnTo>
                    <a:lnTo>
                      <a:pt x="254" y="393"/>
                    </a:lnTo>
                    <a:lnTo>
                      <a:pt x="259" y="395"/>
                    </a:lnTo>
                    <a:lnTo>
                      <a:pt x="266" y="405"/>
                    </a:lnTo>
                    <a:lnTo>
                      <a:pt x="264" y="407"/>
                    </a:lnTo>
                    <a:lnTo>
                      <a:pt x="257" y="409"/>
                    </a:lnTo>
                    <a:lnTo>
                      <a:pt x="263" y="411"/>
                    </a:lnTo>
                    <a:lnTo>
                      <a:pt x="266" y="409"/>
                    </a:lnTo>
                    <a:lnTo>
                      <a:pt x="266" y="414"/>
                    </a:lnTo>
                    <a:lnTo>
                      <a:pt x="261" y="414"/>
                    </a:lnTo>
                    <a:lnTo>
                      <a:pt x="266" y="418"/>
                    </a:lnTo>
                    <a:lnTo>
                      <a:pt x="268" y="420"/>
                    </a:lnTo>
                    <a:lnTo>
                      <a:pt x="266" y="432"/>
                    </a:lnTo>
                    <a:lnTo>
                      <a:pt x="270" y="430"/>
                    </a:lnTo>
                    <a:lnTo>
                      <a:pt x="272" y="434"/>
                    </a:lnTo>
                    <a:lnTo>
                      <a:pt x="268" y="438"/>
                    </a:lnTo>
                    <a:lnTo>
                      <a:pt x="275" y="443"/>
                    </a:lnTo>
                    <a:lnTo>
                      <a:pt x="273" y="448"/>
                    </a:lnTo>
                    <a:lnTo>
                      <a:pt x="273" y="452"/>
                    </a:lnTo>
                    <a:lnTo>
                      <a:pt x="272" y="450"/>
                    </a:lnTo>
                    <a:lnTo>
                      <a:pt x="270" y="455"/>
                    </a:lnTo>
                    <a:lnTo>
                      <a:pt x="277" y="461"/>
                    </a:lnTo>
                    <a:lnTo>
                      <a:pt x="279" y="466"/>
                    </a:lnTo>
                    <a:lnTo>
                      <a:pt x="277" y="471"/>
                    </a:lnTo>
                    <a:lnTo>
                      <a:pt x="279" y="471"/>
                    </a:lnTo>
                    <a:lnTo>
                      <a:pt x="284" y="468"/>
                    </a:lnTo>
                    <a:lnTo>
                      <a:pt x="282" y="470"/>
                    </a:lnTo>
                    <a:lnTo>
                      <a:pt x="280" y="477"/>
                    </a:lnTo>
                    <a:lnTo>
                      <a:pt x="284" y="480"/>
                    </a:lnTo>
                    <a:lnTo>
                      <a:pt x="280" y="482"/>
                    </a:lnTo>
                    <a:lnTo>
                      <a:pt x="279" y="486"/>
                    </a:lnTo>
                    <a:lnTo>
                      <a:pt x="277" y="488"/>
                    </a:lnTo>
                    <a:lnTo>
                      <a:pt x="291" y="493"/>
                    </a:lnTo>
                    <a:lnTo>
                      <a:pt x="293" y="498"/>
                    </a:lnTo>
                    <a:lnTo>
                      <a:pt x="293" y="504"/>
                    </a:lnTo>
                    <a:lnTo>
                      <a:pt x="291" y="505"/>
                    </a:lnTo>
                    <a:lnTo>
                      <a:pt x="291" y="520"/>
                    </a:lnTo>
                    <a:lnTo>
                      <a:pt x="289" y="520"/>
                    </a:lnTo>
                    <a:lnTo>
                      <a:pt x="291" y="525"/>
                    </a:lnTo>
                    <a:lnTo>
                      <a:pt x="289" y="527"/>
                    </a:lnTo>
                    <a:lnTo>
                      <a:pt x="288" y="532"/>
                    </a:lnTo>
                    <a:lnTo>
                      <a:pt x="282" y="539"/>
                    </a:lnTo>
                    <a:lnTo>
                      <a:pt x="279" y="541"/>
                    </a:lnTo>
                    <a:lnTo>
                      <a:pt x="282" y="546"/>
                    </a:lnTo>
                    <a:lnTo>
                      <a:pt x="289" y="545"/>
                    </a:lnTo>
                    <a:lnTo>
                      <a:pt x="282" y="554"/>
                    </a:lnTo>
                    <a:lnTo>
                      <a:pt x="277" y="555"/>
                    </a:lnTo>
                    <a:lnTo>
                      <a:pt x="275" y="561"/>
                    </a:lnTo>
                    <a:lnTo>
                      <a:pt x="280" y="573"/>
                    </a:lnTo>
                    <a:lnTo>
                      <a:pt x="284" y="570"/>
                    </a:lnTo>
                    <a:lnTo>
                      <a:pt x="288" y="573"/>
                    </a:lnTo>
                    <a:lnTo>
                      <a:pt x="295" y="577"/>
                    </a:lnTo>
                    <a:lnTo>
                      <a:pt x="302" y="571"/>
                    </a:lnTo>
                    <a:lnTo>
                      <a:pt x="302" y="566"/>
                    </a:lnTo>
                    <a:lnTo>
                      <a:pt x="300" y="563"/>
                    </a:lnTo>
                    <a:lnTo>
                      <a:pt x="300" y="559"/>
                    </a:lnTo>
                    <a:lnTo>
                      <a:pt x="304" y="561"/>
                    </a:lnTo>
                    <a:lnTo>
                      <a:pt x="305" y="559"/>
                    </a:lnTo>
                    <a:lnTo>
                      <a:pt x="304" y="555"/>
                    </a:lnTo>
                    <a:lnTo>
                      <a:pt x="309" y="552"/>
                    </a:lnTo>
                    <a:lnTo>
                      <a:pt x="309" y="543"/>
                    </a:lnTo>
                    <a:lnTo>
                      <a:pt x="314" y="554"/>
                    </a:lnTo>
                    <a:lnTo>
                      <a:pt x="320" y="548"/>
                    </a:lnTo>
                    <a:lnTo>
                      <a:pt x="316" y="555"/>
                    </a:lnTo>
                    <a:lnTo>
                      <a:pt x="316" y="559"/>
                    </a:lnTo>
                    <a:lnTo>
                      <a:pt x="322" y="561"/>
                    </a:lnTo>
                    <a:lnTo>
                      <a:pt x="322" y="563"/>
                    </a:lnTo>
                    <a:lnTo>
                      <a:pt x="325" y="563"/>
                    </a:lnTo>
                    <a:lnTo>
                      <a:pt x="336" y="561"/>
                    </a:lnTo>
                    <a:lnTo>
                      <a:pt x="332" y="566"/>
                    </a:lnTo>
                    <a:lnTo>
                      <a:pt x="322" y="570"/>
                    </a:lnTo>
                    <a:lnTo>
                      <a:pt x="318" y="573"/>
                    </a:lnTo>
                    <a:lnTo>
                      <a:pt x="327" y="575"/>
                    </a:lnTo>
                    <a:lnTo>
                      <a:pt x="336" y="571"/>
                    </a:lnTo>
                    <a:lnTo>
                      <a:pt x="330" y="575"/>
                    </a:lnTo>
                    <a:lnTo>
                      <a:pt x="329" y="580"/>
                    </a:lnTo>
                    <a:lnTo>
                      <a:pt x="325" y="586"/>
                    </a:lnTo>
                    <a:lnTo>
                      <a:pt x="339" y="577"/>
                    </a:lnTo>
                    <a:lnTo>
                      <a:pt x="332" y="588"/>
                    </a:lnTo>
                    <a:lnTo>
                      <a:pt x="345" y="586"/>
                    </a:lnTo>
                    <a:lnTo>
                      <a:pt x="343" y="589"/>
                    </a:lnTo>
                    <a:lnTo>
                      <a:pt x="345" y="593"/>
                    </a:lnTo>
                    <a:lnTo>
                      <a:pt x="345" y="595"/>
                    </a:lnTo>
                    <a:lnTo>
                      <a:pt x="336" y="591"/>
                    </a:lnTo>
                    <a:lnTo>
                      <a:pt x="341" y="596"/>
                    </a:lnTo>
                    <a:lnTo>
                      <a:pt x="350" y="600"/>
                    </a:lnTo>
                    <a:lnTo>
                      <a:pt x="354" y="605"/>
                    </a:lnTo>
                    <a:lnTo>
                      <a:pt x="355" y="609"/>
                    </a:lnTo>
                    <a:lnTo>
                      <a:pt x="348" y="607"/>
                    </a:lnTo>
                    <a:lnTo>
                      <a:pt x="354" y="609"/>
                    </a:lnTo>
                    <a:lnTo>
                      <a:pt x="354" y="613"/>
                    </a:lnTo>
                    <a:lnTo>
                      <a:pt x="350" y="613"/>
                    </a:lnTo>
                    <a:lnTo>
                      <a:pt x="352" y="616"/>
                    </a:lnTo>
                    <a:lnTo>
                      <a:pt x="347" y="614"/>
                    </a:lnTo>
                    <a:lnTo>
                      <a:pt x="347" y="618"/>
                    </a:lnTo>
                    <a:lnTo>
                      <a:pt x="350" y="621"/>
                    </a:lnTo>
                    <a:lnTo>
                      <a:pt x="355" y="620"/>
                    </a:lnTo>
                    <a:lnTo>
                      <a:pt x="357" y="623"/>
                    </a:lnTo>
                    <a:lnTo>
                      <a:pt x="355" y="627"/>
                    </a:lnTo>
                    <a:lnTo>
                      <a:pt x="339" y="621"/>
                    </a:lnTo>
                    <a:lnTo>
                      <a:pt x="322" y="605"/>
                    </a:lnTo>
                    <a:lnTo>
                      <a:pt x="304" y="604"/>
                    </a:lnTo>
                    <a:lnTo>
                      <a:pt x="298" y="604"/>
                    </a:lnTo>
                    <a:lnTo>
                      <a:pt x="295" y="609"/>
                    </a:lnTo>
                    <a:lnTo>
                      <a:pt x="304" y="623"/>
                    </a:lnTo>
                    <a:lnTo>
                      <a:pt x="322" y="630"/>
                    </a:lnTo>
                    <a:lnTo>
                      <a:pt x="329" y="638"/>
                    </a:lnTo>
                    <a:lnTo>
                      <a:pt x="343" y="641"/>
                    </a:lnTo>
                    <a:lnTo>
                      <a:pt x="345" y="639"/>
                    </a:lnTo>
                    <a:lnTo>
                      <a:pt x="350" y="641"/>
                    </a:lnTo>
                    <a:lnTo>
                      <a:pt x="352" y="641"/>
                    </a:lnTo>
                    <a:lnTo>
                      <a:pt x="361" y="641"/>
                    </a:lnTo>
                    <a:lnTo>
                      <a:pt x="359" y="646"/>
                    </a:lnTo>
                    <a:lnTo>
                      <a:pt x="361" y="650"/>
                    </a:lnTo>
                    <a:lnTo>
                      <a:pt x="355" y="652"/>
                    </a:lnTo>
                    <a:lnTo>
                      <a:pt x="357" y="657"/>
                    </a:lnTo>
                    <a:lnTo>
                      <a:pt x="354" y="659"/>
                    </a:lnTo>
                    <a:lnTo>
                      <a:pt x="354" y="664"/>
                    </a:lnTo>
                    <a:lnTo>
                      <a:pt x="355" y="664"/>
                    </a:lnTo>
                    <a:lnTo>
                      <a:pt x="352" y="666"/>
                    </a:lnTo>
                    <a:lnTo>
                      <a:pt x="350" y="673"/>
                    </a:lnTo>
                    <a:lnTo>
                      <a:pt x="355" y="677"/>
                    </a:lnTo>
                    <a:lnTo>
                      <a:pt x="361" y="673"/>
                    </a:lnTo>
                    <a:lnTo>
                      <a:pt x="363" y="679"/>
                    </a:lnTo>
                    <a:lnTo>
                      <a:pt x="357" y="682"/>
                    </a:lnTo>
                    <a:lnTo>
                      <a:pt x="361" y="684"/>
                    </a:lnTo>
                    <a:lnTo>
                      <a:pt x="355" y="686"/>
                    </a:lnTo>
                    <a:lnTo>
                      <a:pt x="354" y="680"/>
                    </a:lnTo>
                    <a:lnTo>
                      <a:pt x="350" y="680"/>
                    </a:lnTo>
                    <a:lnTo>
                      <a:pt x="348" y="682"/>
                    </a:lnTo>
                    <a:lnTo>
                      <a:pt x="348" y="691"/>
                    </a:lnTo>
                    <a:lnTo>
                      <a:pt x="350" y="693"/>
                    </a:lnTo>
                    <a:lnTo>
                      <a:pt x="347" y="696"/>
                    </a:lnTo>
                    <a:lnTo>
                      <a:pt x="347" y="698"/>
                    </a:lnTo>
                    <a:lnTo>
                      <a:pt x="352" y="698"/>
                    </a:lnTo>
                    <a:lnTo>
                      <a:pt x="350" y="700"/>
                    </a:lnTo>
                    <a:lnTo>
                      <a:pt x="348" y="705"/>
                    </a:lnTo>
                    <a:lnTo>
                      <a:pt x="341" y="707"/>
                    </a:lnTo>
                    <a:lnTo>
                      <a:pt x="332" y="705"/>
                    </a:lnTo>
                    <a:lnTo>
                      <a:pt x="325" y="707"/>
                    </a:lnTo>
                    <a:lnTo>
                      <a:pt x="325" y="711"/>
                    </a:lnTo>
                    <a:lnTo>
                      <a:pt x="320" y="714"/>
                    </a:lnTo>
                    <a:lnTo>
                      <a:pt x="322" y="718"/>
                    </a:lnTo>
                    <a:lnTo>
                      <a:pt x="322" y="718"/>
                    </a:lnTo>
                    <a:lnTo>
                      <a:pt x="322" y="721"/>
                    </a:lnTo>
                    <a:lnTo>
                      <a:pt x="325" y="720"/>
                    </a:lnTo>
                    <a:lnTo>
                      <a:pt x="329" y="721"/>
                    </a:lnTo>
                    <a:lnTo>
                      <a:pt x="345" y="716"/>
                    </a:lnTo>
                    <a:lnTo>
                      <a:pt x="341" y="713"/>
                    </a:lnTo>
                    <a:lnTo>
                      <a:pt x="347" y="713"/>
                    </a:lnTo>
                    <a:lnTo>
                      <a:pt x="348" y="713"/>
                    </a:lnTo>
                    <a:lnTo>
                      <a:pt x="347" y="716"/>
                    </a:lnTo>
                    <a:lnTo>
                      <a:pt x="343" y="720"/>
                    </a:lnTo>
                    <a:lnTo>
                      <a:pt x="348" y="723"/>
                    </a:lnTo>
                    <a:lnTo>
                      <a:pt x="345" y="721"/>
                    </a:lnTo>
                    <a:lnTo>
                      <a:pt x="347" y="725"/>
                    </a:lnTo>
                    <a:lnTo>
                      <a:pt x="352" y="727"/>
                    </a:lnTo>
                    <a:lnTo>
                      <a:pt x="350" y="729"/>
                    </a:lnTo>
                    <a:lnTo>
                      <a:pt x="347" y="727"/>
                    </a:lnTo>
                    <a:lnTo>
                      <a:pt x="341" y="729"/>
                    </a:lnTo>
                    <a:lnTo>
                      <a:pt x="338" y="729"/>
                    </a:lnTo>
                    <a:lnTo>
                      <a:pt x="325" y="723"/>
                    </a:lnTo>
                    <a:lnTo>
                      <a:pt x="322" y="725"/>
                    </a:lnTo>
                    <a:lnTo>
                      <a:pt x="322" y="727"/>
                    </a:lnTo>
                    <a:lnTo>
                      <a:pt x="314" y="725"/>
                    </a:lnTo>
                    <a:lnTo>
                      <a:pt x="313" y="727"/>
                    </a:lnTo>
                    <a:lnTo>
                      <a:pt x="318" y="727"/>
                    </a:lnTo>
                    <a:lnTo>
                      <a:pt x="322" y="730"/>
                    </a:lnTo>
                    <a:lnTo>
                      <a:pt x="320" y="732"/>
                    </a:lnTo>
                    <a:lnTo>
                      <a:pt x="316" y="730"/>
                    </a:lnTo>
                    <a:lnTo>
                      <a:pt x="318" y="734"/>
                    </a:lnTo>
                    <a:lnTo>
                      <a:pt x="314" y="734"/>
                    </a:lnTo>
                    <a:lnTo>
                      <a:pt x="311" y="736"/>
                    </a:lnTo>
                    <a:lnTo>
                      <a:pt x="311" y="745"/>
                    </a:lnTo>
                    <a:lnTo>
                      <a:pt x="311" y="745"/>
                    </a:lnTo>
                    <a:lnTo>
                      <a:pt x="307" y="750"/>
                    </a:lnTo>
                    <a:lnTo>
                      <a:pt x="311" y="752"/>
                    </a:lnTo>
                    <a:lnTo>
                      <a:pt x="313" y="750"/>
                    </a:lnTo>
                    <a:lnTo>
                      <a:pt x="307" y="755"/>
                    </a:lnTo>
                    <a:lnTo>
                      <a:pt x="307" y="759"/>
                    </a:lnTo>
                    <a:lnTo>
                      <a:pt x="305" y="759"/>
                    </a:lnTo>
                    <a:lnTo>
                      <a:pt x="304" y="763"/>
                    </a:lnTo>
                    <a:lnTo>
                      <a:pt x="304" y="770"/>
                    </a:lnTo>
                    <a:lnTo>
                      <a:pt x="309" y="773"/>
                    </a:lnTo>
                    <a:lnTo>
                      <a:pt x="309" y="777"/>
                    </a:lnTo>
                    <a:lnTo>
                      <a:pt x="313" y="777"/>
                    </a:lnTo>
                    <a:lnTo>
                      <a:pt x="318" y="777"/>
                    </a:lnTo>
                    <a:lnTo>
                      <a:pt x="318" y="782"/>
                    </a:lnTo>
                    <a:lnTo>
                      <a:pt x="316" y="784"/>
                    </a:lnTo>
                    <a:lnTo>
                      <a:pt x="313" y="788"/>
                    </a:lnTo>
                    <a:lnTo>
                      <a:pt x="316" y="793"/>
                    </a:lnTo>
                    <a:lnTo>
                      <a:pt x="311" y="791"/>
                    </a:lnTo>
                    <a:lnTo>
                      <a:pt x="309" y="795"/>
                    </a:lnTo>
                    <a:lnTo>
                      <a:pt x="311" y="802"/>
                    </a:lnTo>
                    <a:lnTo>
                      <a:pt x="314" y="802"/>
                    </a:lnTo>
                    <a:lnTo>
                      <a:pt x="311" y="805"/>
                    </a:lnTo>
                    <a:lnTo>
                      <a:pt x="313" y="807"/>
                    </a:lnTo>
                    <a:lnTo>
                      <a:pt x="316" y="807"/>
                    </a:lnTo>
                    <a:lnTo>
                      <a:pt x="320" y="805"/>
                    </a:lnTo>
                    <a:lnTo>
                      <a:pt x="313" y="813"/>
                    </a:lnTo>
                    <a:lnTo>
                      <a:pt x="313" y="814"/>
                    </a:lnTo>
                    <a:lnTo>
                      <a:pt x="316" y="816"/>
                    </a:lnTo>
                    <a:lnTo>
                      <a:pt x="316" y="820"/>
                    </a:lnTo>
                    <a:lnTo>
                      <a:pt x="322" y="816"/>
                    </a:lnTo>
                    <a:lnTo>
                      <a:pt x="320" y="818"/>
                    </a:lnTo>
                    <a:lnTo>
                      <a:pt x="318" y="821"/>
                    </a:lnTo>
                    <a:lnTo>
                      <a:pt x="318" y="823"/>
                    </a:lnTo>
                    <a:lnTo>
                      <a:pt x="316" y="827"/>
                    </a:lnTo>
                    <a:lnTo>
                      <a:pt x="322" y="825"/>
                    </a:lnTo>
                    <a:lnTo>
                      <a:pt x="323" y="823"/>
                    </a:lnTo>
                    <a:lnTo>
                      <a:pt x="323" y="832"/>
                    </a:lnTo>
                    <a:lnTo>
                      <a:pt x="329" y="832"/>
                    </a:lnTo>
                    <a:lnTo>
                      <a:pt x="329" y="836"/>
                    </a:lnTo>
                    <a:lnTo>
                      <a:pt x="332" y="836"/>
                    </a:lnTo>
                    <a:lnTo>
                      <a:pt x="327" y="839"/>
                    </a:lnTo>
                    <a:lnTo>
                      <a:pt x="329" y="845"/>
                    </a:lnTo>
                    <a:lnTo>
                      <a:pt x="330" y="839"/>
                    </a:lnTo>
                    <a:lnTo>
                      <a:pt x="332" y="845"/>
                    </a:lnTo>
                    <a:lnTo>
                      <a:pt x="330" y="845"/>
                    </a:lnTo>
                    <a:lnTo>
                      <a:pt x="330" y="850"/>
                    </a:lnTo>
                    <a:lnTo>
                      <a:pt x="332" y="852"/>
                    </a:lnTo>
                    <a:lnTo>
                      <a:pt x="334" y="859"/>
                    </a:lnTo>
                    <a:lnTo>
                      <a:pt x="336" y="855"/>
                    </a:lnTo>
                    <a:lnTo>
                      <a:pt x="336" y="857"/>
                    </a:lnTo>
                    <a:lnTo>
                      <a:pt x="338" y="859"/>
                    </a:lnTo>
                    <a:lnTo>
                      <a:pt x="334" y="863"/>
                    </a:lnTo>
                    <a:lnTo>
                      <a:pt x="334" y="880"/>
                    </a:lnTo>
                    <a:lnTo>
                      <a:pt x="336" y="879"/>
                    </a:lnTo>
                    <a:lnTo>
                      <a:pt x="339" y="879"/>
                    </a:lnTo>
                    <a:lnTo>
                      <a:pt x="347" y="863"/>
                    </a:lnTo>
                    <a:lnTo>
                      <a:pt x="348" y="864"/>
                    </a:lnTo>
                    <a:lnTo>
                      <a:pt x="354" y="863"/>
                    </a:lnTo>
                    <a:lnTo>
                      <a:pt x="355" y="859"/>
                    </a:lnTo>
                    <a:lnTo>
                      <a:pt x="361" y="861"/>
                    </a:lnTo>
                    <a:lnTo>
                      <a:pt x="364" y="861"/>
                    </a:lnTo>
                    <a:lnTo>
                      <a:pt x="366" y="864"/>
                    </a:lnTo>
                    <a:lnTo>
                      <a:pt x="357" y="863"/>
                    </a:lnTo>
                    <a:lnTo>
                      <a:pt x="355" y="866"/>
                    </a:lnTo>
                    <a:lnTo>
                      <a:pt x="354" y="868"/>
                    </a:lnTo>
                    <a:lnTo>
                      <a:pt x="359" y="871"/>
                    </a:lnTo>
                    <a:lnTo>
                      <a:pt x="364" y="871"/>
                    </a:lnTo>
                    <a:lnTo>
                      <a:pt x="352" y="875"/>
                    </a:lnTo>
                    <a:lnTo>
                      <a:pt x="350" y="880"/>
                    </a:lnTo>
                    <a:lnTo>
                      <a:pt x="347" y="882"/>
                    </a:lnTo>
                    <a:lnTo>
                      <a:pt x="343" y="882"/>
                    </a:lnTo>
                    <a:lnTo>
                      <a:pt x="343" y="886"/>
                    </a:lnTo>
                    <a:lnTo>
                      <a:pt x="343" y="891"/>
                    </a:lnTo>
                    <a:lnTo>
                      <a:pt x="343" y="898"/>
                    </a:lnTo>
                    <a:lnTo>
                      <a:pt x="347" y="898"/>
                    </a:lnTo>
                    <a:lnTo>
                      <a:pt x="343" y="902"/>
                    </a:lnTo>
                    <a:lnTo>
                      <a:pt x="347" y="909"/>
                    </a:lnTo>
                    <a:lnTo>
                      <a:pt x="348" y="909"/>
                    </a:lnTo>
                    <a:lnTo>
                      <a:pt x="350" y="914"/>
                    </a:lnTo>
                    <a:lnTo>
                      <a:pt x="354" y="921"/>
                    </a:lnTo>
                    <a:lnTo>
                      <a:pt x="355" y="921"/>
                    </a:lnTo>
                    <a:lnTo>
                      <a:pt x="355" y="923"/>
                    </a:lnTo>
                    <a:lnTo>
                      <a:pt x="355" y="925"/>
                    </a:lnTo>
                    <a:lnTo>
                      <a:pt x="361" y="925"/>
                    </a:lnTo>
                    <a:lnTo>
                      <a:pt x="361" y="929"/>
                    </a:lnTo>
                    <a:lnTo>
                      <a:pt x="363" y="932"/>
                    </a:lnTo>
                    <a:lnTo>
                      <a:pt x="363" y="934"/>
                    </a:lnTo>
                    <a:lnTo>
                      <a:pt x="364" y="932"/>
                    </a:lnTo>
                    <a:lnTo>
                      <a:pt x="366" y="932"/>
                    </a:lnTo>
                    <a:lnTo>
                      <a:pt x="364" y="936"/>
                    </a:lnTo>
                    <a:lnTo>
                      <a:pt x="364" y="941"/>
                    </a:lnTo>
                    <a:lnTo>
                      <a:pt x="364" y="943"/>
                    </a:lnTo>
                    <a:lnTo>
                      <a:pt x="368" y="943"/>
                    </a:lnTo>
                    <a:lnTo>
                      <a:pt x="370" y="945"/>
                    </a:lnTo>
                    <a:lnTo>
                      <a:pt x="370" y="946"/>
                    </a:lnTo>
                    <a:lnTo>
                      <a:pt x="370" y="948"/>
                    </a:lnTo>
                    <a:lnTo>
                      <a:pt x="372" y="950"/>
                    </a:lnTo>
                    <a:lnTo>
                      <a:pt x="375" y="950"/>
                    </a:lnTo>
                    <a:lnTo>
                      <a:pt x="372" y="952"/>
                    </a:lnTo>
                    <a:lnTo>
                      <a:pt x="373" y="954"/>
                    </a:lnTo>
                    <a:lnTo>
                      <a:pt x="375" y="954"/>
                    </a:lnTo>
                    <a:lnTo>
                      <a:pt x="373" y="955"/>
                    </a:lnTo>
                    <a:lnTo>
                      <a:pt x="372" y="955"/>
                    </a:lnTo>
                    <a:lnTo>
                      <a:pt x="372" y="957"/>
                    </a:lnTo>
                    <a:lnTo>
                      <a:pt x="373" y="959"/>
                    </a:lnTo>
                    <a:lnTo>
                      <a:pt x="377" y="959"/>
                    </a:lnTo>
                    <a:lnTo>
                      <a:pt x="382" y="954"/>
                    </a:lnTo>
                    <a:lnTo>
                      <a:pt x="382" y="955"/>
                    </a:lnTo>
                    <a:lnTo>
                      <a:pt x="384" y="957"/>
                    </a:lnTo>
                    <a:lnTo>
                      <a:pt x="377" y="961"/>
                    </a:lnTo>
                    <a:lnTo>
                      <a:pt x="377" y="963"/>
                    </a:lnTo>
                    <a:lnTo>
                      <a:pt x="379" y="966"/>
                    </a:lnTo>
                    <a:lnTo>
                      <a:pt x="382" y="968"/>
                    </a:lnTo>
                    <a:lnTo>
                      <a:pt x="382" y="970"/>
                    </a:lnTo>
                    <a:lnTo>
                      <a:pt x="384" y="970"/>
                    </a:lnTo>
                    <a:lnTo>
                      <a:pt x="382" y="971"/>
                    </a:lnTo>
                    <a:lnTo>
                      <a:pt x="379" y="973"/>
                    </a:lnTo>
                    <a:lnTo>
                      <a:pt x="379" y="975"/>
                    </a:lnTo>
                    <a:lnTo>
                      <a:pt x="382" y="977"/>
                    </a:lnTo>
                    <a:lnTo>
                      <a:pt x="389" y="973"/>
                    </a:lnTo>
                    <a:lnTo>
                      <a:pt x="393" y="973"/>
                    </a:lnTo>
                    <a:lnTo>
                      <a:pt x="395" y="975"/>
                    </a:lnTo>
                    <a:lnTo>
                      <a:pt x="382" y="979"/>
                    </a:lnTo>
                    <a:lnTo>
                      <a:pt x="384" y="980"/>
                    </a:lnTo>
                    <a:lnTo>
                      <a:pt x="386" y="979"/>
                    </a:lnTo>
                    <a:lnTo>
                      <a:pt x="389" y="979"/>
                    </a:lnTo>
                    <a:lnTo>
                      <a:pt x="389" y="980"/>
                    </a:lnTo>
                    <a:lnTo>
                      <a:pt x="389" y="980"/>
                    </a:lnTo>
                    <a:lnTo>
                      <a:pt x="389" y="984"/>
                    </a:lnTo>
                    <a:lnTo>
                      <a:pt x="391" y="986"/>
                    </a:lnTo>
                    <a:lnTo>
                      <a:pt x="393" y="986"/>
                    </a:lnTo>
                    <a:lnTo>
                      <a:pt x="395" y="984"/>
                    </a:lnTo>
                    <a:lnTo>
                      <a:pt x="397" y="986"/>
                    </a:lnTo>
                    <a:lnTo>
                      <a:pt x="397" y="988"/>
                    </a:lnTo>
                    <a:lnTo>
                      <a:pt x="398" y="988"/>
                    </a:lnTo>
                    <a:lnTo>
                      <a:pt x="400" y="989"/>
                    </a:lnTo>
                    <a:lnTo>
                      <a:pt x="404" y="989"/>
                    </a:lnTo>
                    <a:lnTo>
                      <a:pt x="404" y="989"/>
                    </a:lnTo>
                    <a:lnTo>
                      <a:pt x="405" y="991"/>
                    </a:lnTo>
                    <a:lnTo>
                      <a:pt x="405" y="991"/>
                    </a:lnTo>
                    <a:lnTo>
                      <a:pt x="398" y="996"/>
                    </a:lnTo>
                    <a:lnTo>
                      <a:pt x="397" y="998"/>
                    </a:lnTo>
                    <a:lnTo>
                      <a:pt x="400" y="996"/>
                    </a:lnTo>
                    <a:lnTo>
                      <a:pt x="402" y="998"/>
                    </a:lnTo>
                    <a:lnTo>
                      <a:pt x="409" y="996"/>
                    </a:lnTo>
                    <a:lnTo>
                      <a:pt x="407" y="995"/>
                    </a:lnTo>
                    <a:lnTo>
                      <a:pt x="407" y="993"/>
                    </a:lnTo>
                    <a:lnTo>
                      <a:pt x="409" y="993"/>
                    </a:lnTo>
                    <a:lnTo>
                      <a:pt x="411" y="995"/>
                    </a:lnTo>
                    <a:lnTo>
                      <a:pt x="414" y="993"/>
                    </a:lnTo>
                    <a:lnTo>
                      <a:pt x="420" y="995"/>
                    </a:lnTo>
                    <a:lnTo>
                      <a:pt x="427" y="991"/>
                    </a:lnTo>
                    <a:lnTo>
                      <a:pt x="427" y="991"/>
                    </a:lnTo>
                    <a:lnTo>
                      <a:pt x="432" y="989"/>
                    </a:lnTo>
                    <a:lnTo>
                      <a:pt x="430" y="991"/>
                    </a:lnTo>
                    <a:lnTo>
                      <a:pt x="430" y="993"/>
                    </a:lnTo>
                    <a:lnTo>
                      <a:pt x="432" y="995"/>
                    </a:lnTo>
                    <a:lnTo>
                      <a:pt x="438" y="993"/>
                    </a:lnTo>
                    <a:lnTo>
                      <a:pt x="436" y="995"/>
                    </a:lnTo>
                    <a:lnTo>
                      <a:pt x="429" y="998"/>
                    </a:lnTo>
                    <a:lnTo>
                      <a:pt x="430" y="998"/>
                    </a:lnTo>
                    <a:lnTo>
                      <a:pt x="427" y="1000"/>
                    </a:lnTo>
                    <a:lnTo>
                      <a:pt x="429" y="1000"/>
                    </a:lnTo>
                    <a:lnTo>
                      <a:pt x="430" y="1000"/>
                    </a:lnTo>
                    <a:lnTo>
                      <a:pt x="432" y="998"/>
                    </a:lnTo>
                    <a:lnTo>
                      <a:pt x="436" y="1000"/>
                    </a:lnTo>
                    <a:lnTo>
                      <a:pt x="438" y="996"/>
                    </a:lnTo>
                    <a:lnTo>
                      <a:pt x="439" y="993"/>
                    </a:lnTo>
                    <a:lnTo>
                      <a:pt x="441" y="995"/>
                    </a:lnTo>
                    <a:lnTo>
                      <a:pt x="439" y="998"/>
                    </a:lnTo>
                    <a:lnTo>
                      <a:pt x="436" y="1000"/>
                    </a:lnTo>
                    <a:lnTo>
                      <a:pt x="434" y="1002"/>
                    </a:lnTo>
                    <a:lnTo>
                      <a:pt x="436" y="1004"/>
                    </a:lnTo>
                    <a:lnTo>
                      <a:pt x="438" y="1009"/>
                    </a:lnTo>
                    <a:lnTo>
                      <a:pt x="441" y="1004"/>
                    </a:lnTo>
                    <a:lnTo>
                      <a:pt x="443" y="1004"/>
                    </a:lnTo>
                    <a:lnTo>
                      <a:pt x="443" y="1004"/>
                    </a:lnTo>
                    <a:lnTo>
                      <a:pt x="441" y="1009"/>
                    </a:lnTo>
                    <a:lnTo>
                      <a:pt x="443" y="1011"/>
                    </a:lnTo>
                    <a:lnTo>
                      <a:pt x="447" y="1009"/>
                    </a:lnTo>
                    <a:lnTo>
                      <a:pt x="448" y="1007"/>
                    </a:lnTo>
                    <a:lnTo>
                      <a:pt x="447" y="1013"/>
                    </a:lnTo>
                    <a:lnTo>
                      <a:pt x="445" y="1016"/>
                    </a:lnTo>
                    <a:lnTo>
                      <a:pt x="445" y="1018"/>
                    </a:lnTo>
                    <a:lnTo>
                      <a:pt x="445" y="1018"/>
                    </a:lnTo>
                    <a:lnTo>
                      <a:pt x="445" y="1021"/>
                    </a:lnTo>
                    <a:lnTo>
                      <a:pt x="447" y="1021"/>
                    </a:lnTo>
                    <a:lnTo>
                      <a:pt x="450" y="1021"/>
                    </a:lnTo>
                    <a:lnTo>
                      <a:pt x="452" y="1023"/>
                    </a:lnTo>
                    <a:lnTo>
                      <a:pt x="455" y="1023"/>
                    </a:lnTo>
                    <a:lnTo>
                      <a:pt x="461" y="1016"/>
                    </a:lnTo>
                    <a:lnTo>
                      <a:pt x="463" y="1020"/>
                    </a:lnTo>
                    <a:lnTo>
                      <a:pt x="477" y="1020"/>
                    </a:lnTo>
                    <a:lnTo>
                      <a:pt x="477" y="1020"/>
                    </a:lnTo>
                    <a:lnTo>
                      <a:pt x="477" y="1018"/>
                    </a:lnTo>
                    <a:lnTo>
                      <a:pt x="477" y="1016"/>
                    </a:lnTo>
                    <a:lnTo>
                      <a:pt x="475" y="1011"/>
                    </a:lnTo>
                    <a:lnTo>
                      <a:pt x="473" y="1011"/>
                    </a:lnTo>
                    <a:lnTo>
                      <a:pt x="468" y="1007"/>
                    </a:lnTo>
                    <a:lnTo>
                      <a:pt x="473" y="1009"/>
                    </a:lnTo>
                    <a:lnTo>
                      <a:pt x="477" y="1007"/>
                    </a:lnTo>
                    <a:lnTo>
                      <a:pt x="477" y="1007"/>
                    </a:lnTo>
                    <a:lnTo>
                      <a:pt x="480" y="1007"/>
                    </a:lnTo>
                    <a:lnTo>
                      <a:pt x="480" y="1005"/>
                    </a:lnTo>
                    <a:lnTo>
                      <a:pt x="482" y="995"/>
                    </a:lnTo>
                    <a:lnTo>
                      <a:pt x="482" y="993"/>
                    </a:lnTo>
                    <a:lnTo>
                      <a:pt x="484" y="984"/>
                    </a:lnTo>
                    <a:lnTo>
                      <a:pt x="484" y="982"/>
                    </a:lnTo>
                    <a:lnTo>
                      <a:pt x="484" y="982"/>
                    </a:lnTo>
                    <a:lnTo>
                      <a:pt x="488" y="979"/>
                    </a:lnTo>
                    <a:lnTo>
                      <a:pt x="488" y="977"/>
                    </a:lnTo>
                    <a:lnTo>
                      <a:pt x="488" y="977"/>
                    </a:lnTo>
                    <a:lnTo>
                      <a:pt x="491" y="968"/>
                    </a:lnTo>
                    <a:lnTo>
                      <a:pt x="493" y="966"/>
                    </a:lnTo>
                    <a:lnTo>
                      <a:pt x="491" y="964"/>
                    </a:lnTo>
                    <a:lnTo>
                      <a:pt x="493" y="961"/>
                    </a:lnTo>
                    <a:lnTo>
                      <a:pt x="493" y="959"/>
                    </a:lnTo>
                    <a:lnTo>
                      <a:pt x="491" y="957"/>
                    </a:lnTo>
                    <a:lnTo>
                      <a:pt x="489" y="945"/>
                    </a:lnTo>
                    <a:lnTo>
                      <a:pt x="488" y="943"/>
                    </a:lnTo>
                    <a:lnTo>
                      <a:pt x="488" y="943"/>
                    </a:lnTo>
                    <a:lnTo>
                      <a:pt x="488" y="938"/>
                    </a:lnTo>
                    <a:lnTo>
                      <a:pt x="482" y="936"/>
                    </a:lnTo>
                    <a:lnTo>
                      <a:pt x="486" y="934"/>
                    </a:lnTo>
                    <a:lnTo>
                      <a:pt x="488" y="934"/>
                    </a:lnTo>
                    <a:lnTo>
                      <a:pt x="488" y="932"/>
                    </a:lnTo>
                    <a:lnTo>
                      <a:pt x="488" y="930"/>
                    </a:lnTo>
                    <a:lnTo>
                      <a:pt x="489" y="930"/>
                    </a:lnTo>
                    <a:lnTo>
                      <a:pt x="491" y="930"/>
                    </a:lnTo>
                    <a:lnTo>
                      <a:pt x="498" y="930"/>
                    </a:lnTo>
                    <a:lnTo>
                      <a:pt x="500" y="927"/>
                    </a:lnTo>
                    <a:lnTo>
                      <a:pt x="502" y="927"/>
                    </a:lnTo>
                    <a:lnTo>
                      <a:pt x="502" y="923"/>
                    </a:lnTo>
                    <a:lnTo>
                      <a:pt x="500" y="925"/>
                    </a:lnTo>
                    <a:lnTo>
                      <a:pt x="493" y="920"/>
                    </a:lnTo>
                    <a:lnTo>
                      <a:pt x="495" y="920"/>
                    </a:lnTo>
                    <a:lnTo>
                      <a:pt x="497" y="921"/>
                    </a:lnTo>
                    <a:lnTo>
                      <a:pt x="498" y="921"/>
                    </a:lnTo>
                    <a:lnTo>
                      <a:pt x="504" y="921"/>
                    </a:lnTo>
                    <a:lnTo>
                      <a:pt x="504" y="920"/>
                    </a:lnTo>
                    <a:lnTo>
                      <a:pt x="500" y="920"/>
                    </a:lnTo>
                    <a:lnTo>
                      <a:pt x="500" y="918"/>
                    </a:lnTo>
                    <a:lnTo>
                      <a:pt x="502" y="916"/>
                    </a:lnTo>
                    <a:lnTo>
                      <a:pt x="502" y="916"/>
                    </a:lnTo>
                    <a:lnTo>
                      <a:pt x="500" y="914"/>
                    </a:lnTo>
                    <a:lnTo>
                      <a:pt x="502" y="913"/>
                    </a:lnTo>
                    <a:lnTo>
                      <a:pt x="504" y="914"/>
                    </a:lnTo>
                    <a:lnTo>
                      <a:pt x="507" y="916"/>
                    </a:lnTo>
                    <a:lnTo>
                      <a:pt x="507" y="913"/>
                    </a:lnTo>
                    <a:lnTo>
                      <a:pt x="509" y="913"/>
                    </a:lnTo>
                    <a:lnTo>
                      <a:pt x="507" y="911"/>
                    </a:lnTo>
                    <a:lnTo>
                      <a:pt x="507" y="909"/>
                    </a:lnTo>
                    <a:lnTo>
                      <a:pt x="509" y="911"/>
                    </a:lnTo>
                    <a:lnTo>
                      <a:pt x="513" y="909"/>
                    </a:lnTo>
                    <a:lnTo>
                      <a:pt x="513" y="907"/>
                    </a:lnTo>
                    <a:lnTo>
                      <a:pt x="513" y="905"/>
                    </a:lnTo>
                    <a:lnTo>
                      <a:pt x="514" y="904"/>
                    </a:lnTo>
                    <a:lnTo>
                      <a:pt x="514" y="902"/>
                    </a:lnTo>
                    <a:lnTo>
                      <a:pt x="514" y="900"/>
                    </a:lnTo>
                    <a:lnTo>
                      <a:pt x="504" y="896"/>
                    </a:lnTo>
                    <a:lnTo>
                      <a:pt x="504" y="895"/>
                    </a:lnTo>
                    <a:lnTo>
                      <a:pt x="513" y="898"/>
                    </a:lnTo>
                    <a:lnTo>
                      <a:pt x="518" y="896"/>
                    </a:lnTo>
                    <a:lnTo>
                      <a:pt x="514" y="888"/>
                    </a:lnTo>
                    <a:lnTo>
                      <a:pt x="516" y="886"/>
                    </a:lnTo>
                    <a:lnTo>
                      <a:pt x="516" y="886"/>
                    </a:lnTo>
                    <a:lnTo>
                      <a:pt x="514" y="882"/>
                    </a:lnTo>
                    <a:lnTo>
                      <a:pt x="504" y="880"/>
                    </a:lnTo>
                    <a:lnTo>
                      <a:pt x="502" y="877"/>
                    </a:lnTo>
                    <a:lnTo>
                      <a:pt x="505" y="877"/>
                    </a:lnTo>
                    <a:lnTo>
                      <a:pt x="513" y="873"/>
                    </a:lnTo>
                    <a:lnTo>
                      <a:pt x="518" y="873"/>
                    </a:lnTo>
                    <a:lnTo>
                      <a:pt x="520" y="875"/>
                    </a:lnTo>
                    <a:lnTo>
                      <a:pt x="522" y="873"/>
                    </a:lnTo>
                    <a:lnTo>
                      <a:pt x="518" y="873"/>
                    </a:lnTo>
                    <a:lnTo>
                      <a:pt x="516" y="871"/>
                    </a:lnTo>
                    <a:lnTo>
                      <a:pt x="514" y="864"/>
                    </a:lnTo>
                    <a:lnTo>
                      <a:pt x="513" y="863"/>
                    </a:lnTo>
                    <a:lnTo>
                      <a:pt x="511" y="859"/>
                    </a:lnTo>
                    <a:lnTo>
                      <a:pt x="509" y="857"/>
                    </a:lnTo>
                    <a:lnTo>
                      <a:pt x="509" y="854"/>
                    </a:lnTo>
                    <a:lnTo>
                      <a:pt x="505" y="854"/>
                    </a:lnTo>
                    <a:lnTo>
                      <a:pt x="509" y="848"/>
                    </a:lnTo>
                    <a:lnTo>
                      <a:pt x="511" y="850"/>
                    </a:lnTo>
                    <a:lnTo>
                      <a:pt x="514" y="848"/>
                    </a:lnTo>
                    <a:lnTo>
                      <a:pt x="516" y="850"/>
                    </a:lnTo>
                    <a:lnTo>
                      <a:pt x="516" y="846"/>
                    </a:lnTo>
                    <a:lnTo>
                      <a:pt x="518" y="848"/>
                    </a:lnTo>
                    <a:lnTo>
                      <a:pt x="520" y="850"/>
                    </a:lnTo>
                    <a:lnTo>
                      <a:pt x="522" y="848"/>
                    </a:lnTo>
                    <a:lnTo>
                      <a:pt x="523" y="850"/>
                    </a:lnTo>
                    <a:lnTo>
                      <a:pt x="525" y="848"/>
                    </a:lnTo>
                    <a:lnTo>
                      <a:pt x="525" y="846"/>
                    </a:lnTo>
                    <a:lnTo>
                      <a:pt x="529" y="841"/>
                    </a:lnTo>
                    <a:lnTo>
                      <a:pt x="527" y="839"/>
                    </a:lnTo>
                    <a:lnTo>
                      <a:pt x="527" y="838"/>
                    </a:lnTo>
                    <a:lnTo>
                      <a:pt x="527" y="834"/>
                    </a:lnTo>
                    <a:lnTo>
                      <a:pt x="523" y="832"/>
                    </a:lnTo>
                    <a:lnTo>
                      <a:pt x="525" y="832"/>
                    </a:lnTo>
                    <a:lnTo>
                      <a:pt x="527" y="830"/>
                    </a:lnTo>
                    <a:lnTo>
                      <a:pt x="529" y="832"/>
                    </a:lnTo>
                    <a:lnTo>
                      <a:pt x="530" y="825"/>
                    </a:lnTo>
                    <a:lnTo>
                      <a:pt x="532" y="827"/>
                    </a:lnTo>
                    <a:lnTo>
                      <a:pt x="534" y="829"/>
                    </a:lnTo>
                    <a:lnTo>
                      <a:pt x="536" y="830"/>
                    </a:lnTo>
                    <a:lnTo>
                      <a:pt x="538" y="825"/>
                    </a:lnTo>
                    <a:lnTo>
                      <a:pt x="539" y="827"/>
                    </a:lnTo>
                    <a:lnTo>
                      <a:pt x="541" y="829"/>
                    </a:lnTo>
                    <a:lnTo>
                      <a:pt x="548" y="829"/>
                    </a:lnTo>
                    <a:lnTo>
                      <a:pt x="547" y="825"/>
                    </a:lnTo>
                    <a:lnTo>
                      <a:pt x="550" y="825"/>
                    </a:lnTo>
                    <a:lnTo>
                      <a:pt x="554" y="827"/>
                    </a:lnTo>
                    <a:lnTo>
                      <a:pt x="554" y="825"/>
                    </a:lnTo>
                    <a:lnTo>
                      <a:pt x="555" y="825"/>
                    </a:lnTo>
                    <a:lnTo>
                      <a:pt x="555" y="821"/>
                    </a:lnTo>
                    <a:lnTo>
                      <a:pt x="555" y="821"/>
                    </a:lnTo>
                    <a:lnTo>
                      <a:pt x="554" y="820"/>
                    </a:lnTo>
                    <a:lnTo>
                      <a:pt x="552" y="820"/>
                    </a:lnTo>
                    <a:lnTo>
                      <a:pt x="550" y="818"/>
                    </a:lnTo>
                    <a:lnTo>
                      <a:pt x="552" y="813"/>
                    </a:lnTo>
                    <a:lnTo>
                      <a:pt x="554" y="816"/>
                    </a:lnTo>
                    <a:lnTo>
                      <a:pt x="554" y="814"/>
                    </a:lnTo>
                    <a:lnTo>
                      <a:pt x="555" y="814"/>
                    </a:lnTo>
                    <a:lnTo>
                      <a:pt x="557" y="814"/>
                    </a:lnTo>
                    <a:lnTo>
                      <a:pt x="559" y="811"/>
                    </a:lnTo>
                    <a:lnTo>
                      <a:pt x="555" y="809"/>
                    </a:lnTo>
                    <a:lnTo>
                      <a:pt x="559" y="807"/>
                    </a:lnTo>
                    <a:lnTo>
                      <a:pt x="559" y="805"/>
                    </a:lnTo>
                    <a:lnTo>
                      <a:pt x="559" y="804"/>
                    </a:lnTo>
                    <a:lnTo>
                      <a:pt x="561" y="804"/>
                    </a:lnTo>
                    <a:lnTo>
                      <a:pt x="557" y="800"/>
                    </a:lnTo>
                    <a:lnTo>
                      <a:pt x="557" y="798"/>
                    </a:lnTo>
                    <a:lnTo>
                      <a:pt x="559" y="800"/>
                    </a:lnTo>
                    <a:lnTo>
                      <a:pt x="561" y="796"/>
                    </a:lnTo>
                    <a:lnTo>
                      <a:pt x="564" y="800"/>
                    </a:lnTo>
                    <a:lnTo>
                      <a:pt x="566" y="800"/>
                    </a:lnTo>
                    <a:lnTo>
                      <a:pt x="568" y="800"/>
                    </a:lnTo>
                    <a:lnTo>
                      <a:pt x="572" y="800"/>
                    </a:lnTo>
                    <a:lnTo>
                      <a:pt x="564" y="805"/>
                    </a:lnTo>
                    <a:lnTo>
                      <a:pt x="564" y="809"/>
                    </a:lnTo>
                    <a:lnTo>
                      <a:pt x="561" y="813"/>
                    </a:lnTo>
                    <a:lnTo>
                      <a:pt x="563" y="814"/>
                    </a:lnTo>
                    <a:lnTo>
                      <a:pt x="563" y="814"/>
                    </a:lnTo>
                    <a:lnTo>
                      <a:pt x="563" y="816"/>
                    </a:lnTo>
                    <a:lnTo>
                      <a:pt x="564" y="816"/>
                    </a:lnTo>
                    <a:lnTo>
                      <a:pt x="570" y="820"/>
                    </a:lnTo>
                    <a:lnTo>
                      <a:pt x="570" y="818"/>
                    </a:lnTo>
                    <a:lnTo>
                      <a:pt x="568" y="814"/>
                    </a:lnTo>
                    <a:lnTo>
                      <a:pt x="572" y="816"/>
                    </a:lnTo>
                    <a:lnTo>
                      <a:pt x="572" y="809"/>
                    </a:lnTo>
                    <a:lnTo>
                      <a:pt x="573" y="813"/>
                    </a:lnTo>
                    <a:lnTo>
                      <a:pt x="575" y="816"/>
                    </a:lnTo>
                    <a:lnTo>
                      <a:pt x="579" y="816"/>
                    </a:lnTo>
                    <a:lnTo>
                      <a:pt x="580" y="820"/>
                    </a:lnTo>
                    <a:lnTo>
                      <a:pt x="582" y="811"/>
                    </a:lnTo>
                    <a:lnTo>
                      <a:pt x="584" y="811"/>
                    </a:lnTo>
                    <a:lnTo>
                      <a:pt x="584" y="814"/>
                    </a:lnTo>
                    <a:lnTo>
                      <a:pt x="586" y="814"/>
                    </a:lnTo>
                    <a:lnTo>
                      <a:pt x="588" y="814"/>
                    </a:lnTo>
                    <a:lnTo>
                      <a:pt x="588" y="814"/>
                    </a:lnTo>
                    <a:lnTo>
                      <a:pt x="589" y="816"/>
                    </a:lnTo>
                    <a:lnTo>
                      <a:pt x="589" y="813"/>
                    </a:lnTo>
                    <a:lnTo>
                      <a:pt x="591" y="809"/>
                    </a:lnTo>
                    <a:lnTo>
                      <a:pt x="595" y="811"/>
                    </a:lnTo>
                    <a:lnTo>
                      <a:pt x="595" y="807"/>
                    </a:lnTo>
                    <a:lnTo>
                      <a:pt x="595" y="804"/>
                    </a:lnTo>
                    <a:lnTo>
                      <a:pt x="593" y="800"/>
                    </a:lnTo>
                    <a:lnTo>
                      <a:pt x="593" y="798"/>
                    </a:lnTo>
                    <a:lnTo>
                      <a:pt x="593" y="796"/>
                    </a:lnTo>
                    <a:lnTo>
                      <a:pt x="597" y="800"/>
                    </a:lnTo>
                    <a:lnTo>
                      <a:pt x="602" y="802"/>
                    </a:lnTo>
                    <a:lnTo>
                      <a:pt x="604" y="802"/>
                    </a:lnTo>
                    <a:lnTo>
                      <a:pt x="602" y="798"/>
                    </a:lnTo>
                    <a:lnTo>
                      <a:pt x="605" y="795"/>
                    </a:lnTo>
                    <a:lnTo>
                      <a:pt x="605" y="798"/>
                    </a:lnTo>
                    <a:lnTo>
                      <a:pt x="607" y="800"/>
                    </a:lnTo>
                    <a:lnTo>
                      <a:pt x="609" y="798"/>
                    </a:lnTo>
                    <a:lnTo>
                      <a:pt x="611" y="798"/>
                    </a:lnTo>
                    <a:lnTo>
                      <a:pt x="613" y="796"/>
                    </a:lnTo>
                    <a:lnTo>
                      <a:pt x="613" y="795"/>
                    </a:lnTo>
                    <a:lnTo>
                      <a:pt x="613" y="793"/>
                    </a:lnTo>
                    <a:lnTo>
                      <a:pt x="616" y="782"/>
                    </a:lnTo>
                    <a:lnTo>
                      <a:pt x="616" y="788"/>
                    </a:lnTo>
                    <a:lnTo>
                      <a:pt x="618" y="784"/>
                    </a:lnTo>
                    <a:lnTo>
                      <a:pt x="618" y="788"/>
                    </a:lnTo>
                    <a:lnTo>
                      <a:pt x="620" y="782"/>
                    </a:lnTo>
                    <a:lnTo>
                      <a:pt x="620" y="780"/>
                    </a:lnTo>
                    <a:lnTo>
                      <a:pt x="622" y="780"/>
                    </a:lnTo>
                    <a:lnTo>
                      <a:pt x="622" y="779"/>
                    </a:lnTo>
                    <a:lnTo>
                      <a:pt x="623" y="780"/>
                    </a:lnTo>
                    <a:lnTo>
                      <a:pt x="622" y="777"/>
                    </a:lnTo>
                    <a:lnTo>
                      <a:pt x="622" y="775"/>
                    </a:lnTo>
                    <a:lnTo>
                      <a:pt x="625" y="773"/>
                    </a:lnTo>
                    <a:lnTo>
                      <a:pt x="625" y="773"/>
                    </a:lnTo>
                    <a:lnTo>
                      <a:pt x="629" y="770"/>
                    </a:lnTo>
                    <a:lnTo>
                      <a:pt x="630" y="763"/>
                    </a:lnTo>
                    <a:lnTo>
                      <a:pt x="630" y="763"/>
                    </a:lnTo>
                    <a:lnTo>
                      <a:pt x="630" y="759"/>
                    </a:lnTo>
                    <a:lnTo>
                      <a:pt x="629" y="757"/>
                    </a:lnTo>
                    <a:lnTo>
                      <a:pt x="630" y="757"/>
                    </a:lnTo>
                    <a:lnTo>
                      <a:pt x="630" y="755"/>
                    </a:lnTo>
                    <a:lnTo>
                      <a:pt x="632" y="750"/>
                    </a:lnTo>
                    <a:lnTo>
                      <a:pt x="634" y="750"/>
                    </a:lnTo>
                    <a:lnTo>
                      <a:pt x="634" y="743"/>
                    </a:lnTo>
                    <a:lnTo>
                      <a:pt x="638" y="745"/>
                    </a:lnTo>
                    <a:lnTo>
                      <a:pt x="641" y="743"/>
                    </a:lnTo>
                    <a:lnTo>
                      <a:pt x="645" y="739"/>
                    </a:lnTo>
                    <a:lnTo>
                      <a:pt x="645" y="738"/>
                    </a:lnTo>
                    <a:lnTo>
                      <a:pt x="647" y="734"/>
                    </a:lnTo>
                    <a:lnTo>
                      <a:pt x="648" y="738"/>
                    </a:lnTo>
                    <a:lnTo>
                      <a:pt x="650" y="736"/>
                    </a:lnTo>
                    <a:lnTo>
                      <a:pt x="650" y="736"/>
                    </a:lnTo>
                    <a:lnTo>
                      <a:pt x="650" y="734"/>
                    </a:lnTo>
                    <a:lnTo>
                      <a:pt x="652" y="732"/>
                    </a:lnTo>
                    <a:lnTo>
                      <a:pt x="652" y="729"/>
                    </a:lnTo>
                    <a:lnTo>
                      <a:pt x="654" y="729"/>
                    </a:lnTo>
                    <a:lnTo>
                      <a:pt x="652" y="725"/>
                    </a:lnTo>
                    <a:lnTo>
                      <a:pt x="647" y="721"/>
                    </a:lnTo>
                    <a:lnTo>
                      <a:pt x="648" y="721"/>
                    </a:lnTo>
                    <a:lnTo>
                      <a:pt x="643" y="711"/>
                    </a:lnTo>
                    <a:lnTo>
                      <a:pt x="641" y="707"/>
                    </a:lnTo>
                    <a:lnTo>
                      <a:pt x="645" y="707"/>
                    </a:lnTo>
                    <a:lnTo>
                      <a:pt x="645" y="704"/>
                    </a:lnTo>
                    <a:lnTo>
                      <a:pt x="648" y="707"/>
                    </a:lnTo>
                    <a:lnTo>
                      <a:pt x="648" y="714"/>
                    </a:lnTo>
                    <a:lnTo>
                      <a:pt x="650" y="711"/>
                    </a:lnTo>
                    <a:lnTo>
                      <a:pt x="652" y="711"/>
                    </a:lnTo>
                    <a:lnTo>
                      <a:pt x="652" y="714"/>
                    </a:lnTo>
                    <a:lnTo>
                      <a:pt x="654" y="716"/>
                    </a:lnTo>
                    <a:lnTo>
                      <a:pt x="654" y="718"/>
                    </a:lnTo>
                    <a:lnTo>
                      <a:pt x="659" y="720"/>
                    </a:lnTo>
                    <a:lnTo>
                      <a:pt x="659" y="723"/>
                    </a:lnTo>
                    <a:lnTo>
                      <a:pt x="655" y="721"/>
                    </a:lnTo>
                    <a:lnTo>
                      <a:pt x="657" y="725"/>
                    </a:lnTo>
                    <a:lnTo>
                      <a:pt x="659" y="727"/>
                    </a:lnTo>
                    <a:lnTo>
                      <a:pt x="659" y="729"/>
                    </a:lnTo>
                    <a:lnTo>
                      <a:pt x="663" y="727"/>
                    </a:lnTo>
                    <a:lnTo>
                      <a:pt x="664" y="727"/>
                    </a:lnTo>
                    <a:lnTo>
                      <a:pt x="670" y="729"/>
                    </a:lnTo>
                    <a:lnTo>
                      <a:pt x="668" y="725"/>
                    </a:lnTo>
                    <a:lnTo>
                      <a:pt x="668" y="725"/>
                    </a:lnTo>
                    <a:lnTo>
                      <a:pt x="668" y="723"/>
                    </a:lnTo>
                    <a:lnTo>
                      <a:pt x="670" y="723"/>
                    </a:lnTo>
                    <a:lnTo>
                      <a:pt x="670" y="725"/>
                    </a:lnTo>
                    <a:lnTo>
                      <a:pt x="675" y="729"/>
                    </a:lnTo>
                    <a:lnTo>
                      <a:pt x="679" y="729"/>
                    </a:lnTo>
                    <a:lnTo>
                      <a:pt x="677" y="725"/>
                    </a:lnTo>
                    <a:lnTo>
                      <a:pt x="673" y="723"/>
                    </a:lnTo>
                    <a:lnTo>
                      <a:pt x="673" y="720"/>
                    </a:lnTo>
                    <a:lnTo>
                      <a:pt x="675" y="720"/>
                    </a:lnTo>
                    <a:lnTo>
                      <a:pt x="679" y="721"/>
                    </a:lnTo>
                    <a:lnTo>
                      <a:pt x="680" y="723"/>
                    </a:lnTo>
                    <a:lnTo>
                      <a:pt x="682" y="727"/>
                    </a:lnTo>
                    <a:lnTo>
                      <a:pt x="684" y="723"/>
                    </a:lnTo>
                    <a:lnTo>
                      <a:pt x="682" y="721"/>
                    </a:lnTo>
                    <a:lnTo>
                      <a:pt x="682" y="720"/>
                    </a:lnTo>
                    <a:lnTo>
                      <a:pt x="686" y="721"/>
                    </a:lnTo>
                    <a:lnTo>
                      <a:pt x="686" y="718"/>
                    </a:lnTo>
                    <a:lnTo>
                      <a:pt x="686" y="714"/>
                    </a:lnTo>
                    <a:lnTo>
                      <a:pt x="688" y="714"/>
                    </a:lnTo>
                    <a:lnTo>
                      <a:pt x="688" y="714"/>
                    </a:lnTo>
                    <a:lnTo>
                      <a:pt x="689" y="718"/>
                    </a:lnTo>
                    <a:lnTo>
                      <a:pt x="693" y="720"/>
                    </a:lnTo>
                    <a:lnTo>
                      <a:pt x="695" y="720"/>
                    </a:lnTo>
                    <a:lnTo>
                      <a:pt x="695" y="720"/>
                    </a:lnTo>
                    <a:lnTo>
                      <a:pt x="697" y="716"/>
                    </a:lnTo>
                    <a:lnTo>
                      <a:pt x="698" y="718"/>
                    </a:lnTo>
                    <a:lnTo>
                      <a:pt x="700" y="716"/>
                    </a:lnTo>
                    <a:lnTo>
                      <a:pt x="707" y="714"/>
                    </a:lnTo>
                    <a:lnTo>
                      <a:pt x="711" y="711"/>
                    </a:lnTo>
                    <a:lnTo>
                      <a:pt x="713" y="713"/>
                    </a:lnTo>
                    <a:lnTo>
                      <a:pt x="713" y="711"/>
                    </a:lnTo>
                    <a:lnTo>
                      <a:pt x="714" y="711"/>
                    </a:lnTo>
                    <a:lnTo>
                      <a:pt x="716" y="711"/>
                    </a:lnTo>
                    <a:lnTo>
                      <a:pt x="718" y="707"/>
                    </a:lnTo>
                    <a:lnTo>
                      <a:pt x="720" y="709"/>
                    </a:lnTo>
                    <a:lnTo>
                      <a:pt x="722" y="711"/>
                    </a:lnTo>
                    <a:lnTo>
                      <a:pt x="723" y="711"/>
                    </a:lnTo>
                    <a:lnTo>
                      <a:pt x="722" y="707"/>
                    </a:lnTo>
                    <a:lnTo>
                      <a:pt x="725" y="707"/>
                    </a:lnTo>
                    <a:lnTo>
                      <a:pt x="727" y="709"/>
                    </a:lnTo>
                    <a:lnTo>
                      <a:pt x="729" y="707"/>
                    </a:lnTo>
                    <a:lnTo>
                      <a:pt x="729" y="705"/>
                    </a:lnTo>
                    <a:lnTo>
                      <a:pt x="730" y="705"/>
                    </a:lnTo>
                    <a:lnTo>
                      <a:pt x="732" y="705"/>
                    </a:lnTo>
                    <a:lnTo>
                      <a:pt x="734" y="705"/>
                    </a:lnTo>
                    <a:lnTo>
                      <a:pt x="734" y="704"/>
                    </a:lnTo>
                    <a:lnTo>
                      <a:pt x="736" y="702"/>
                    </a:lnTo>
                    <a:lnTo>
                      <a:pt x="739" y="700"/>
                    </a:lnTo>
                    <a:lnTo>
                      <a:pt x="739" y="704"/>
                    </a:lnTo>
                    <a:lnTo>
                      <a:pt x="741" y="702"/>
                    </a:lnTo>
                    <a:lnTo>
                      <a:pt x="745" y="702"/>
                    </a:lnTo>
                    <a:lnTo>
                      <a:pt x="745" y="700"/>
                    </a:lnTo>
                    <a:lnTo>
                      <a:pt x="745" y="698"/>
                    </a:lnTo>
                    <a:lnTo>
                      <a:pt x="750" y="696"/>
                    </a:lnTo>
                    <a:lnTo>
                      <a:pt x="752" y="695"/>
                    </a:lnTo>
                    <a:lnTo>
                      <a:pt x="752" y="693"/>
                    </a:lnTo>
                    <a:lnTo>
                      <a:pt x="754" y="693"/>
                    </a:lnTo>
                    <a:lnTo>
                      <a:pt x="755" y="689"/>
                    </a:lnTo>
                    <a:lnTo>
                      <a:pt x="759" y="689"/>
                    </a:lnTo>
                    <a:lnTo>
                      <a:pt x="757" y="688"/>
                    </a:lnTo>
                    <a:lnTo>
                      <a:pt x="755" y="686"/>
                    </a:lnTo>
                    <a:lnTo>
                      <a:pt x="755" y="684"/>
                    </a:lnTo>
                    <a:lnTo>
                      <a:pt x="761" y="686"/>
                    </a:lnTo>
                    <a:lnTo>
                      <a:pt x="761" y="682"/>
                    </a:lnTo>
                    <a:lnTo>
                      <a:pt x="763" y="682"/>
                    </a:lnTo>
                    <a:lnTo>
                      <a:pt x="764" y="684"/>
                    </a:lnTo>
                    <a:lnTo>
                      <a:pt x="764" y="682"/>
                    </a:lnTo>
                    <a:lnTo>
                      <a:pt x="764" y="679"/>
                    </a:lnTo>
                    <a:lnTo>
                      <a:pt x="761" y="677"/>
                    </a:lnTo>
                    <a:lnTo>
                      <a:pt x="764" y="675"/>
                    </a:lnTo>
                    <a:lnTo>
                      <a:pt x="766" y="675"/>
                    </a:lnTo>
                    <a:lnTo>
                      <a:pt x="768" y="677"/>
                    </a:lnTo>
                    <a:lnTo>
                      <a:pt x="770" y="677"/>
                    </a:lnTo>
                    <a:lnTo>
                      <a:pt x="768" y="675"/>
                    </a:lnTo>
                    <a:lnTo>
                      <a:pt x="768" y="675"/>
                    </a:lnTo>
                    <a:lnTo>
                      <a:pt x="772" y="673"/>
                    </a:lnTo>
                    <a:lnTo>
                      <a:pt x="772" y="670"/>
                    </a:lnTo>
                    <a:lnTo>
                      <a:pt x="777" y="670"/>
                    </a:lnTo>
                    <a:lnTo>
                      <a:pt x="775" y="666"/>
                    </a:lnTo>
                    <a:lnTo>
                      <a:pt x="780" y="670"/>
                    </a:lnTo>
                    <a:lnTo>
                      <a:pt x="777" y="666"/>
                    </a:lnTo>
                    <a:lnTo>
                      <a:pt x="780" y="666"/>
                    </a:lnTo>
                    <a:lnTo>
                      <a:pt x="779" y="663"/>
                    </a:lnTo>
                    <a:lnTo>
                      <a:pt x="777" y="663"/>
                    </a:lnTo>
                    <a:lnTo>
                      <a:pt x="777" y="661"/>
                    </a:lnTo>
                    <a:lnTo>
                      <a:pt x="780" y="661"/>
                    </a:lnTo>
                    <a:lnTo>
                      <a:pt x="782" y="659"/>
                    </a:lnTo>
                    <a:lnTo>
                      <a:pt x="784" y="663"/>
                    </a:lnTo>
                    <a:lnTo>
                      <a:pt x="786" y="663"/>
                    </a:lnTo>
                    <a:lnTo>
                      <a:pt x="788" y="661"/>
                    </a:lnTo>
                    <a:lnTo>
                      <a:pt x="786" y="659"/>
                    </a:lnTo>
                    <a:lnTo>
                      <a:pt x="788" y="659"/>
                    </a:lnTo>
                    <a:lnTo>
                      <a:pt x="784" y="654"/>
                    </a:lnTo>
                    <a:lnTo>
                      <a:pt x="788" y="652"/>
                    </a:lnTo>
                    <a:lnTo>
                      <a:pt x="793" y="652"/>
                    </a:lnTo>
                    <a:lnTo>
                      <a:pt x="793" y="648"/>
                    </a:lnTo>
                    <a:lnTo>
                      <a:pt x="798" y="652"/>
                    </a:lnTo>
                    <a:lnTo>
                      <a:pt x="796" y="650"/>
                    </a:lnTo>
                    <a:lnTo>
                      <a:pt x="795" y="650"/>
                    </a:lnTo>
                    <a:lnTo>
                      <a:pt x="795" y="648"/>
                    </a:lnTo>
                    <a:lnTo>
                      <a:pt x="796" y="648"/>
                    </a:lnTo>
                    <a:lnTo>
                      <a:pt x="796" y="645"/>
                    </a:lnTo>
                    <a:lnTo>
                      <a:pt x="798" y="646"/>
                    </a:lnTo>
                    <a:lnTo>
                      <a:pt x="800" y="645"/>
                    </a:lnTo>
                    <a:lnTo>
                      <a:pt x="802" y="645"/>
                    </a:lnTo>
                    <a:lnTo>
                      <a:pt x="804" y="645"/>
                    </a:lnTo>
                    <a:lnTo>
                      <a:pt x="805" y="643"/>
                    </a:lnTo>
                    <a:lnTo>
                      <a:pt x="807" y="645"/>
                    </a:lnTo>
                    <a:lnTo>
                      <a:pt x="811" y="639"/>
                    </a:lnTo>
                    <a:lnTo>
                      <a:pt x="813" y="636"/>
                    </a:lnTo>
                    <a:lnTo>
                      <a:pt x="813" y="636"/>
                    </a:lnTo>
                    <a:lnTo>
                      <a:pt x="805" y="638"/>
                    </a:lnTo>
                    <a:lnTo>
                      <a:pt x="786" y="636"/>
                    </a:lnTo>
                    <a:lnTo>
                      <a:pt x="768" y="629"/>
                    </a:lnTo>
                    <a:lnTo>
                      <a:pt x="766" y="629"/>
                    </a:lnTo>
                    <a:lnTo>
                      <a:pt x="766" y="625"/>
                    </a:lnTo>
                    <a:lnTo>
                      <a:pt x="764" y="627"/>
                    </a:lnTo>
                    <a:lnTo>
                      <a:pt x="761" y="629"/>
                    </a:lnTo>
                    <a:lnTo>
                      <a:pt x="759" y="625"/>
                    </a:lnTo>
                    <a:lnTo>
                      <a:pt x="743" y="634"/>
                    </a:lnTo>
                    <a:lnTo>
                      <a:pt x="738" y="630"/>
                    </a:lnTo>
                    <a:lnTo>
                      <a:pt x="730" y="634"/>
                    </a:lnTo>
                    <a:lnTo>
                      <a:pt x="729" y="641"/>
                    </a:lnTo>
                    <a:lnTo>
                      <a:pt x="707" y="639"/>
                    </a:lnTo>
                    <a:lnTo>
                      <a:pt x="713" y="636"/>
                    </a:lnTo>
                    <a:lnTo>
                      <a:pt x="718" y="638"/>
                    </a:lnTo>
                    <a:lnTo>
                      <a:pt x="732" y="629"/>
                    </a:lnTo>
                    <a:lnTo>
                      <a:pt x="738" y="629"/>
                    </a:lnTo>
                    <a:lnTo>
                      <a:pt x="741" y="625"/>
                    </a:lnTo>
                    <a:lnTo>
                      <a:pt x="739" y="621"/>
                    </a:lnTo>
                    <a:lnTo>
                      <a:pt x="711" y="623"/>
                    </a:lnTo>
                    <a:lnTo>
                      <a:pt x="707" y="620"/>
                    </a:lnTo>
                    <a:lnTo>
                      <a:pt x="702" y="620"/>
                    </a:lnTo>
                    <a:lnTo>
                      <a:pt x="713" y="616"/>
                    </a:lnTo>
                    <a:lnTo>
                      <a:pt x="714" y="613"/>
                    </a:lnTo>
                    <a:lnTo>
                      <a:pt x="716" y="604"/>
                    </a:lnTo>
                    <a:lnTo>
                      <a:pt x="713" y="598"/>
                    </a:lnTo>
                    <a:lnTo>
                      <a:pt x="714" y="596"/>
                    </a:lnTo>
                    <a:lnTo>
                      <a:pt x="720" y="596"/>
                    </a:lnTo>
                    <a:lnTo>
                      <a:pt x="722" y="598"/>
                    </a:lnTo>
                    <a:lnTo>
                      <a:pt x="723" y="591"/>
                    </a:lnTo>
                    <a:lnTo>
                      <a:pt x="727" y="596"/>
                    </a:lnTo>
                    <a:lnTo>
                      <a:pt x="739" y="596"/>
                    </a:lnTo>
                    <a:lnTo>
                      <a:pt x="750" y="589"/>
                    </a:lnTo>
                    <a:lnTo>
                      <a:pt x="754" y="586"/>
                    </a:lnTo>
                    <a:lnTo>
                      <a:pt x="752" y="580"/>
                    </a:lnTo>
                    <a:lnTo>
                      <a:pt x="757" y="584"/>
                    </a:lnTo>
                    <a:lnTo>
                      <a:pt x="755" y="575"/>
                    </a:lnTo>
                    <a:lnTo>
                      <a:pt x="752" y="571"/>
                    </a:lnTo>
                    <a:lnTo>
                      <a:pt x="745" y="570"/>
                    </a:lnTo>
                    <a:lnTo>
                      <a:pt x="739" y="571"/>
                    </a:lnTo>
                    <a:lnTo>
                      <a:pt x="734" y="568"/>
                    </a:lnTo>
                    <a:lnTo>
                      <a:pt x="729" y="570"/>
                    </a:lnTo>
                    <a:lnTo>
                      <a:pt x="729" y="566"/>
                    </a:lnTo>
                    <a:lnTo>
                      <a:pt x="722" y="563"/>
                    </a:lnTo>
                    <a:lnTo>
                      <a:pt x="725" y="561"/>
                    </a:lnTo>
                    <a:lnTo>
                      <a:pt x="723" y="554"/>
                    </a:lnTo>
                    <a:lnTo>
                      <a:pt x="730" y="559"/>
                    </a:lnTo>
                    <a:lnTo>
                      <a:pt x="736" y="564"/>
                    </a:lnTo>
                    <a:lnTo>
                      <a:pt x="741" y="566"/>
                    </a:lnTo>
                    <a:lnTo>
                      <a:pt x="745" y="563"/>
                    </a:lnTo>
                    <a:lnTo>
                      <a:pt x="748" y="566"/>
                    </a:lnTo>
                    <a:lnTo>
                      <a:pt x="754" y="566"/>
                    </a:lnTo>
                    <a:lnTo>
                      <a:pt x="764" y="579"/>
                    </a:lnTo>
                    <a:lnTo>
                      <a:pt x="770" y="577"/>
                    </a:lnTo>
                    <a:lnTo>
                      <a:pt x="772" y="580"/>
                    </a:lnTo>
                    <a:lnTo>
                      <a:pt x="773" y="586"/>
                    </a:lnTo>
                    <a:lnTo>
                      <a:pt x="779" y="591"/>
                    </a:lnTo>
                    <a:lnTo>
                      <a:pt x="780" y="607"/>
                    </a:lnTo>
                    <a:lnTo>
                      <a:pt x="784" y="614"/>
                    </a:lnTo>
                    <a:lnTo>
                      <a:pt x="791" y="620"/>
                    </a:lnTo>
                    <a:lnTo>
                      <a:pt x="798" y="621"/>
                    </a:lnTo>
                    <a:lnTo>
                      <a:pt x="804" y="621"/>
                    </a:lnTo>
                    <a:lnTo>
                      <a:pt x="805" y="604"/>
                    </a:lnTo>
                    <a:lnTo>
                      <a:pt x="807" y="604"/>
                    </a:lnTo>
                    <a:lnTo>
                      <a:pt x="809" y="618"/>
                    </a:lnTo>
                    <a:lnTo>
                      <a:pt x="814" y="618"/>
                    </a:lnTo>
                    <a:lnTo>
                      <a:pt x="816" y="621"/>
                    </a:lnTo>
                    <a:lnTo>
                      <a:pt x="820" y="620"/>
                    </a:lnTo>
                    <a:lnTo>
                      <a:pt x="820" y="614"/>
                    </a:lnTo>
                    <a:lnTo>
                      <a:pt x="818" y="614"/>
                    </a:lnTo>
                    <a:lnTo>
                      <a:pt x="818" y="609"/>
                    </a:lnTo>
                    <a:lnTo>
                      <a:pt x="816" y="604"/>
                    </a:lnTo>
                    <a:lnTo>
                      <a:pt x="818" y="602"/>
                    </a:lnTo>
                    <a:lnTo>
                      <a:pt x="816" y="596"/>
                    </a:lnTo>
                    <a:lnTo>
                      <a:pt x="818" y="595"/>
                    </a:lnTo>
                    <a:lnTo>
                      <a:pt x="816" y="591"/>
                    </a:lnTo>
                    <a:lnTo>
                      <a:pt x="813" y="591"/>
                    </a:lnTo>
                    <a:lnTo>
                      <a:pt x="816" y="589"/>
                    </a:lnTo>
                    <a:lnTo>
                      <a:pt x="816" y="584"/>
                    </a:lnTo>
                    <a:lnTo>
                      <a:pt x="816" y="580"/>
                    </a:lnTo>
                    <a:lnTo>
                      <a:pt x="818" y="579"/>
                    </a:lnTo>
                    <a:lnTo>
                      <a:pt x="818" y="570"/>
                    </a:lnTo>
                    <a:lnTo>
                      <a:pt x="816" y="568"/>
                    </a:lnTo>
                    <a:lnTo>
                      <a:pt x="811" y="573"/>
                    </a:lnTo>
                    <a:lnTo>
                      <a:pt x="809" y="571"/>
                    </a:lnTo>
                    <a:lnTo>
                      <a:pt x="807" y="580"/>
                    </a:lnTo>
                    <a:lnTo>
                      <a:pt x="805" y="580"/>
                    </a:lnTo>
                    <a:lnTo>
                      <a:pt x="805" y="571"/>
                    </a:lnTo>
                    <a:lnTo>
                      <a:pt x="811" y="563"/>
                    </a:lnTo>
                    <a:lnTo>
                      <a:pt x="813" y="559"/>
                    </a:lnTo>
                    <a:lnTo>
                      <a:pt x="811" y="559"/>
                    </a:lnTo>
                    <a:lnTo>
                      <a:pt x="805" y="564"/>
                    </a:lnTo>
                    <a:lnTo>
                      <a:pt x="804" y="566"/>
                    </a:lnTo>
                    <a:lnTo>
                      <a:pt x="805" y="559"/>
                    </a:lnTo>
                    <a:lnTo>
                      <a:pt x="805" y="555"/>
                    </a:lnTo>
                    <a:lnTo>
                      <a:pt x="800" y="559"/>
                    </a:lnTo>
                    <a:lnTo>
                      <a:pt x="796" y="564"/>
                    </a:lnTo>
                    <a:lnTo>
                      <a:pt x="795" y="564"/>
                    </a:lnTo>
                    <a:lnTo>
                      <a:pt x="798" y="559"/>
                    </a:lnTo>
                    <a:lnTo>
                      <a:pt x="802" y="555"/>
                    </a:lnTo>
                    <a:lnTo>
                      <a:pt x="804" y="548"/>
                    </a:lnTo>
                    <a:lnTo>
                      <a:pt x="795" y="545"/>
                    </a:lnTo>
                    <a:lnTo>
                      <a:pt x="793" y="541"/>
                    </a:lnTo>
                    <a:lnTo>
                      <a:pt x="786" y="538"/>
                    </a:lnTo>
                    <a:lnTo>
                      <a:pt x="784" y="534"/>
                    </a:lnTo>
                    <a:lnTo>
                      <a:pt x="772" y="521"/>
                    </a:lnTo>
                    <a:lnTo>
                      <a:pt x="768" y="521"/>
                    </a:lnTo>
                    <a:lnTo>
                      <a:pt x="763" y="525"/>
                    </a:lnTo>
                    <a:lnTo>
                      <a:pt x="761" y="529"/>
                    </a:lnTo>
                    <a:lnTo>
                      <a:pt x="761" y="534"/>
                    </a:lnTo>
                    <a:lnTo>
                      <a:pt x="757" y="539"/>
                    </a:lnTo>
                    <a:lnTo>
                      <a:pt x="761" y="525"/>
                    </a:lnTo>
                    <a:lnTo>
                      <a:pt x="757" y="523"/>
                    </a:lnTo>
                    <a:lnTo>
                      <a:pt x="757" y="521"/>
                    </a:lnTo>
                    <a:lnTo>
                      <a:pt x="770" y="518"/>
                    </a:lnTo>
                    <a:lnTo>
                      <a:pt x="768" y="507"/>
                    </a:lnTo>
                    <a:lnTo>
                      <a:pt x="759" y="502"/>
                    </a:lnTo>
                    <a:lnTo>
                      <a:pt x="754" y="502"/>
                    </a:lnTo>
                    <a:lnTo>
                      <a:pt x="743" y="511"/>
                    </a:lnTo>
                    <a:lnTo>
                      <a:pt x="743" y="511"/>
                    </a:lnTo>
                    <a:lnTo>
                      <a:pt x="743" y="505"/>
                    </a:lnTo>
                    <a:lnTo>
                      <a:pt x="736" y="507"/>
                    </a:lnTo>
                    <a:lnTo>
                      <a:pt x="739" y="505"/>
                    </a:lnTo>
                    <a:lnTo>
                      <a:pt x="741" y="504"/>
                    </a:lnTo>
                    <a:lnTo>
                      <a:pt x="738" y="500"/>
                    </a:lnTo>
                    <a:lnTo>
                      <a:pt x="747" y="502"/>
                    </a:lnTo>
                    <a:lnTo>
                      <a:pt x="752" y="500"/>
                    </a:lnTo>
                    <a:lnTo>
                      <a:pt x="757" y="496"/>
                    </a:lnTo>
                    <a:lnTo>
                      <a:pt x="763" y="496"/>
                    </a:lnTo>
                    <a:lnTo>
                      <a:pt x="766" y="489"/>
                    </a:lnTo>
                    <a:lnTo>
                      <a:pt x="763" y="488"/>
                    </a:lnTo>
                    <a:lnTo>
                      <a:pt x="755" y="486"/>
                    </a:lnTo>
                    <a:lnTo>
                      <a:pt x="752" y="482"/>
                    </a:lnTo>
                    <a:lnTo>
                      <a:pt x="748" y="480"/>
                    </a:lnTo>
                    <a:lnTo>
                      <a:pt x="741" y="482"/>
                    </a:lnTo>
                    <a:lnTo>
                      <a:pt x="736" y="486"/>
                    </a:lnTo>
                    <a:lnTo>
                      <a:pt x="734" y="482"/>
                    </a:lnTo>
                    <a:lnTo>
                      <a:pt x="739" y="480"/>
                    </a:lnTo>
                    <a:lnTo>
                      <a:pt x="741" y="477"/>
                    </a:lnTo>
                    <a:lnTo>
                      <a:pt x="736" y="475"/>
                    </a:lnTo>
                    <a:lnTo>
                      <a:pt x="741" y="473"/>
                    </a:lnTo>
                    <a:lnTo>
                      <a:pt x="747" y="477"/>
                    </a:lnTo>
                    <a:lnTo>
                      <a:pt x="752" y="477"/>
                    </a:lnTo>
                    <a:lnTo>
                      <a:pt x="757" y="471"/>
                    </a:lnTo>
                    <a:lnTo>
                      <a:pt x="761" y="468"/>
                    </a:lnTo>
                    <a:lnTo>
                      <a:pt x="768" y="464"/>
                    </a:lnTo>
                    <a:lnTo>
                      <a:pt x="766" y="455"/>
                    </a:lnTo>
                    <a:lnTo>
                      <a:pt x="772" y="459"/>
                    </a:lnTo>
                    <a:lnTo>
                      <a:pt x="775" y="459"/>
                    </a:lnTo>
                    <a:lnTo>
                      <a:pt x="775" y="448"/>
                    </a:lnTo>
                    <a:lnTo>
                      <a:pt x="779" y="446"/>
                    </a:lnTo>
                    <a:lnTo>
                      <a:pt x="780" y="448"/>
                    </a:lnTo>
                    <a:lnTo>
                      <a:pt x="782" y="455"/>
                    </a:lnTo>
                    <a:lnTo>
                      <a:pt x="796" y="471"/>
                    </a:lnTo>
                    <a:lnTo>
                      <a:pt x="807" y="477"/>
                    </a:lnTo>
                    <a:lnTo>
                      <a:pt x="811" y="477"/>
                    </a:lnTo>
                    <a:lnTo>
                      <a:pt x="813" y="471"/>
                    </a:lnTo>
                    <a:lnTo>
                      <a:pt x="818" y="470"/>
                    </a:lnTo>
                    <a:lnTo>
                      <a:pt x="823" y="463"/>
                    </a:lnTo>
                    <a:lnTo>
                      <a:pt x="829" y="466"/>
                    </a:lnTo>
                    <a:lnTo>
                      <a:pt x="836" y="466"/>
                    </a:lnTo>
                    <a:lnTo>
                      <a:pt x="838" y="463"/>
                    </a:lnTo>
                    <a:lnTo>
                      <a:pt x="838" y="459"/>
                    </a:lnTo>
                    <a:lnTo>
                      <a:pt x="838" y="450"/>
                    </a:lnTo>
                    <a:lnTo>
                      <a:pt x="839" y="446"/>
                    </a:lnTo>
                    <a:lnTo>
                      <a:pt x="839" y="443"/>
                    </a:lnTo>
                    <a:lnTo>
                      <a:pt x="821" y="436"/>
                    </a:lnTo>
                    <a:lnTo>
                      <a:pt x="820" y="432"/>
                    </a:lnTo>
                    <a:lnTo>
                      <a:pt x="813" y="434"/>
                    </a:lnTo>
                    <a:lnTo>
                      <a:pt x="807" y="432"/>
                    </a:lnTo>
                    <a:lnTo>
                      <a:pt x="807" y="430"/>
                    </a:lnTo>
                    <a:lnTo>
                      <a:pt x="809" y="429"/>
                    </a:lnTo>
                    <a:lnTo>
                      <a:pt x="809" y="425"/>
                    </a:lnTo>
                    <a:lnTo>
                      <a:pt x="813" y="421"/>
                    </a:lnTo>
                    <a:lnTo>
                      <a:pt x="811" y="418"/>
                    </a:lnTo>
                    <a:lnTo>
                      <a:pt x="805" y="418"/>
                    </a:lnTo>
                    <a:lnTo>
                      <a:pt x="814" y="414"/>
                    </a:lnTo>
                    <a:lnTo>
                      <a:pt x="813" y="402"/>
                    </a:lnTo>
                    <a:lnTo>
                      <a:pt x="816" y="404"/>
                    </a:lnTo>
                    <a:lnTo>
                      <a:pt x="818" y="407"/>
                    </a:lnTo>
                    <a:lnTo>
                      <a:pt x="827" y="407"/>
                    </a:lnTo>
                    <a:lnTo>
                      <a:pt x="832" y="407"/>
                    </a:lnTo>
                    <a:lnTo>
                      <a:pt x="836" y="407"/>
                    </a:lnTo>
                    <a:lnTo>
                      <a:pt x="841" y="409"/>
                    </a:lnTo>
                    <a:lnTo>
                      <a:pt x="845" y="420"/>
                    </a:lnTo>
                    <a:lnTo>
                      <a:pt x="852" y="421"/>
                    </a:lnTo>
                    <a:lnTo>
                      <a:pt x="861" y="409"/>
                    </a:lnTo>
                    <a:lnTo>
                      <a:pt x="859" y="405"/>
                    </a:lnTo>
                    <a:lnTo>
                      <a:pt x="855" y="402"/>
                    </a:lnTo>
                    <a:lnTo>
                      <a:pt x="854" y="396"/>
                    </a:lnTo>
                    <a:lnTo>
                      <a:pt x="846" y="400"/>
                    </a:lnTo>
                    <a:lnTo>
                      <a:pt x="843" y="396"/>
                    </a:lnTo>
                    <a:lnTo>
                      <a:pt x="834" y="395"/>
                    </a:lnTo>
                    <a:lnTo>
                      <a:pt x="829" y="396"/>
                    </a:lnTo>
                    <a:lnTo>
                      <a:pt x="829" y="395"/>
                    </a:lnTo>
                    <a:lnTo>
                      <a:pt x="832" y="393"/>
                    </a:lnTo>
                    <a:lnTo>
                      <a:pt x="834" y="373"/>
                    </a:lnTo>
                    <a:lnTo>
                      <a:pt x="832" y="371"/>
                    </a:lnTo>
                    <a:lnTo>
                      <a:pt x="829" y="371"/>
                    </a:lnTo>
                    <a:lnTo>
                      <a:pt x="823" y="375"/>
                    </a:lnTo>
                    <a:lnTo>
                      <a:pt x="820" y="375"/>
                    </a:lnTo>
                    <a:lnTo>
                      <a:pt x="825" y="370"/>
                    </a:lnTo>
                    <a:lnTo>
                      <a:pt x="832" y="366"/>
                    </a:lnTo>
                    <a:lnTo>
                      <a:pt x="836" y="366"/>
                    </a:lnTo>
                    <a:lnTo>
                      <a:pt x="836" y="363"/>
                    </a:lnTo>
                    <a:lnTo>
                      <a:pt x="821" y="348"/>
                    </a:lnTo>
                    <a:lnTo>
                      <a:pt x="816" y="348"/>
                    </a:lnTo>
                    <a:lnTo>
                      <a:pt x="813" y="345"/>
                    </a:lnTo>
                    <a:lnTo>
                      <a:pt x="821" y="345"/>
                    </a:lnTo>
                    <a:lnTo>
                      <a:pt x="816" y="339"/>
                    </a:lnTo>
                    <a:lnTo>
                      <a:pt x="843" y="354"/>
                    </a:lnTo>
                    <a:lnTo>
                      <a:pt x="845" y="359"/>
                    </a:lnTo>
                    <a:lnTo>
                      <a:pt x="846" y="364"/>
                    </a:lnTo>
                    <a:lnTo>
                      <a:pt x="850" y="366"/>
                    </a:lnTo>
                    <a:lnTo>
                      <a:pt x="852" y="366"/>
                    </a:lnTo>
                    <a:lnTo>
                      <a:pt x="854" y="329"/>
                    </a:lnTo>
                    <a:lnTo>
                      <a:pt x="845" y="318"/>
                    </a:lnTo>
                    <a:lnTo>
                      <a:pt x="841" y="318"/>
                    </a:lnTo>
                    <a:lnTo>
                      <a:pt x="838" y="318"/>
                    </a:lnTo>
                    <a:lnTo>
                      <a:pt x="834" y="314"/>
                    </a:lnTo>
                    <a:lnTo>
                      <a:pt x="829" y="314"/>
                    </a:lnTo>
                    <a:lnTo>
                      <a:pt x="829" y="311"/>
                    </a:lnTo>
                    <a:lnTo>
                      <a:pt x="841" y="311"/>
                    </a:lnTo>
                    <a:lnTo>
                      <a:pt x="845" y="309"/>
                    </a:lnTo>
                    <a:lnTo>
                      <a:pt x="850" y="307"/>
                    </a:lnTo>
                    <a:lnTo>
                      <a:pt x="850" y="304"/>
                    </a:lnTo>
                    <a:lnTo>
                      <a:pt x="846" y="296"/>
                    </a:lnTo>
                    <a:lnTo>
                      <a:pt x="843" y="296"/>
                    </a:lnTo>
                    <a:lnTo>
                      <a:pt x="838" y="296"/>
                    </a:lnTo>
                    <a:lnTo>
                      <a:pt x="829" y="291"/>
                    </a:lnTo>
                    <a:lnTo>
                      <a:pt x="836" y="302"/>
                    </a:lnTo>
                    <a:lnTo>
                      <a:pt x="832" y="300"/>
                    </a:lnTo>
                    <a:lnTo>
                      <a:pt x="829" y="296"/>
                    </a:lnTo>
                    <a:lnTo>
                      <a:pt x="827" y="293"/>
                    </a:lnTo>
                    <a:lnTo>
                      <a:pt x="829" y="300"/>
                    </a:lnTo>
                    <a:lnTo>
                      <a:pt x="823" y="298"/>
                    </a:lnTo>
                    <a:lnTo>
                      <a:pt x="823" y="296"/>
                    </a:lnTo>
                    <a:lnTo>
                      <a:pt x="820" y="295"/>
                    </a:lnTo>
                    <a:lnTo>
                      <a:pt x="820" y="288"/>
                    </a:lnTo>
                    <a:lnTo>
                      <a:pt x="820" y="288"/>
                    </a:lnTo>
                    <a:lnTo>
                      <a:pt x="820" y="284"/>
                    </a:lnTo>
                    <a:lnTo>
                      <a:pt x="809" y="284"/>
                    </a:lnTo>
                    <a:lnTo>
                      <a:pt x="805" y="282"/>
                    </a:lnTo>
                    <a:lnTo>
                      <a:pt x="807" y="280"/>
                    </a:lnTo>
                    <a:lnTo>
                      <a:pt x="818" y="282"/>
                    </a:lnTo>
                    <a:lnTo>
                      <a:pt x="814" y="280"/>
                    </a:lnTo>
                    <a:lnTo>
                      <a:pt x="816" y="277"/>
                    </a:lnTo>
                    <a:lnTo>
                      <a:pt x="813" y="275"/>
                    </a:lnTo>
                    <a:lnTo>
                      <a:pt x="811" y="271"/>
                    </a:lnTo>
                    <a:lnTo>
                      <a:pt x="809" y="271"/>
                    </a:lnTo>
                    <a:lnTo>
                      <a:pt x="805" y="275"/>
                    </a:lnTo>
                    <a:lnTo>
                      <a:pt x="805" y="271"/>
                    </a:lnTo>
                    <a:lnTo>
                      <a:pt x="804" y="264"/>
                    </a:lnTo>
                    <a:lnTo>
                      <a:pt x="807" y="261"/>
                    </a:lnTo>
                    <a:lnTo>
                      <a:pt x="807" y="257"/>
                    </a:lnTo>
                    <a:lnTo>
                      <a:pt x="813" y="257"/>
                    </a:lnTo>
                    <a:lnTo>
                      <a:pt x="818" y="266"/>
                    </a:lnTo>
                    <a:lnTo>
                      <a:pt x="823" y="263"/>
                    </a:lnTo>
                    <a:lnTo>
                      <a:pt x="827" y="259"/>
                    </a:lnTo>
                    <a:lnTo>
                      <a:pt x="832" y="255"/>
                    </a:lnTo>
                    <a:lnTo>
                      <a:pt x="820" y="252"/>
                    </a:lnTo>
                    <a:lnTo>
                      <a:pt x="821" y="250"/>
                    </a:lnTo>
                    <a:lnTo>
                      <a:pt x="832" y="252"/>
                    </a:lnTo>
                    <a:lnTo>
                      <a:pt x="836" y="250"/>
                    </a:lnTo>
                    <a:lnTo>
                      <a:pt x="834" y="248"/>
                    </a:lnTo>
                    <a:lnTo>
                      <a:pt x="820" y="245"/>
                    </a:lnTo>
                    <a:lnTo>
                      <a:pt x="850" y="248"/>
                    </a:lnTo>
                    <a:lnTo>
                      <a:pt x="871" y="257"/>
                    </a:lnTo>
                    <a:lnTo>
                      <a:pt x="875" y="252"/>
                    </a:lnTo>
                    <a:lnTo>
                      <a:pt x="873" y="220"/>
                    </a:lnTo>
                    <a:lnTo>
                      <a:pt x="873" y="220"/>
                    </a:lnTo>
                    <a:lnTo>
                      <a:pt x="871" y="220"/>
                    </a:lnTo>
                    <a:lnTo>
                      <a:pt x="864" y="216"/>
                    </a:lnTo>
                    <a:lnTo>
                      <a:pt x="861" y="218"/>
                    </a:lnTo>
                    <a:lnTo>
                      <a:pt x="863" y="225"/>
                    </a:lnTo>
                    <a:lnTo>
                      <a:pt x="861" y="225"/>
                    </a:lnTo>
                    <a:lnTo>
                      <a:pt x="857" y="225"/>
                    </a:lnTo>
                    <a:lnTo>
                      <a:pt x="855" y="220"/>
                    </a:lnTo>
                    <a:lnTo>
                      <a:pt x="850" y="214"/>
                    </a:lnTo>
                    <a:lnTo>
                      <a:pt x="838" y="213"/>
                    </a:lnTo>
                    <a:lnTo>
                      <a:pt x="843" y="213"/>
                    </a:lnTo>
                    <a:lnTo>
                      <a:pt x="841" y="209"/>
                    </a:lnTo>
                    <a:lnTo>
                      <a:pt x="836" y="205"/>
                    </a:lnTo>
                    <a:lnTo>
                      <a:pt x="838" y="205"/>
                    </a:lnTo>
                    <a:lnTo>
                      <a:pt x="838" y="202"/>
                    </a:lnTo>
                    <a:lnTo>
                      <a:pt x="843" y="202"/>
                    </a:lnTo>
                    <a:lnTo>
                      <a:pt x="836" y="196"/>
                    </a:lnTo>
                    <a:lnTo>
                      <a:pt x="834" y="195"/>
                    </a:lnTo>
                    <a:lnTo>
                      <a:pt x="838" y="189"/>
                    </a:lnTo>
                    <a:lnTo>
                      <a:pt x="841" y="191"/>
                    </a:lnTo>
                    <a:lnTo>
                      <a:pt x="848" y="191"/>
                    </a:lnTo>
                    <a:lnTo>
                      <a:pt x="857" y="200"/>
                    </a:lnTo>
                    <a:lnTo>
                      <a:pt x="863" y="198"/>
                    </a:lnTo>
                    <a:lnTo>
                      <a:pt x="861" y="191"/>
                    </a:lnTo>
                    <a:lnTo>
                      <a:pt x="859" y="188"/>
                    </a:lnTo>
                    <a:lnTo>
                      <a:pt x="838" y="177"/>
                    </a:lnTo>
                    <a:lnTo>
                      <a:pt x="836" y="171"/>
                    </a:lnTo>
                    <a:lnTo>
                      <a:pt x="834" y="170"/>
                    </a:lnTo>
                    <a:lnTo>
                      <a:pt x="830" y="173"/>
                    </a:lnTo>
                    <a:lnTo>
                      <a:pt x="823" y="193"/>
                    </a:lnTo>
                    <a:lnTo>
                      <a:pt x="818" y="193"/>
                    </a:lnTo>
                    <a:lnTo>
                      <a:pt x="816" y="188"/>
                    </a:lnTo>
                    <a:lnTo>
                      <a:pt x="821" y="168"/>
                    </a:lnTo>
                    <a:lnTo>
                      <a:pt x="825" y="163"/>
                    </a:lnTo>
                    <a:lnTo>
                      <a:pt x="825" y="159"/>
                    </a:lnTo>
                    <a:lnTo>
                      <a:pt x="823" y="155"/>
                    </a:lnTo>
                    <a:lnTo>
                      <a:pt x="830" y="120"/>
                    </a:lnTo>
                    <a:lnTo>
                      <a:pt x="827" y="120"/>
                    </a:lnTo>
                    <a:lnTo>
                      <a:pt x="825" y="118"/>
                    </a:lnTo>
                    <a:lnTo>
                      <a:pt x="829" y="116"/>
                    </a:lnTo>
                    <a:lnTo>
                      <a:pt x="829" y="109"/>
                    </a:lnTo>
                    <a:lnTo>
                      <a:pt x="829" y="105"/>
                    </a:lnTo>
                    <a:lnTo>
                      <a:pt x="829" y="104"/>
                    </a:lnTo>
                    <a:lnTo>
                      <a:pt x="832" y="105"/>
                    </a:lnTo>
                    <a:lnTo>
                      <a:pt x="838" y="100"/>
                    </a:lnTo>
                    <a:lnTo>
                      <a:pt x="843" y="102"/>
                    </a:lnTo>
                    <a:lnTo>
                      <a:pt x="848" y="96"/>
                    </a:lnTo>
                    <a:lnTo>
                      <a:pt x="846" y="79"/>
                    </a:lnTo>
                    <a:lnTo>
                      <a:pt x="848" y="79"/>
                    </a:lnTo>
                    <a:lnTo>
                      <a:pt x="852" y="77"/>
                    </a:lnTo>
                    <a:lnTo>
                      <a:pt x="852" y="79"/>
                    </a:lnTo>
                    <a:lnTo>
                      <a:pt x="854" y="79"/>
                    </a:lnTo>
                    <a:lnTo>
                      <a:pt x="854" y="71"/>
                    </a:lnTo>
                    <a:lnTo>
                      <a:pt x="855" y="68"/>
                    </a:lnTo>
                    <a:lnTo>
                      <a:pt x="857" y="66"/>
                    </a:lnTo>
                    <a:lnTo>
                      <a:pt x="857" y="71"/>
                    </a:lnTo>
                    <a:lnTo>
                      <a:pt x="861" y="63"/>
                    </a:lnTo>
                    <a:lnTo>
                      <a:pt x="854" y="61"/>
                    </a:lnTo>
                    <a:lnTo>
                      <a:pt x="848" y="75"/>
                    </a:lnTo>
                    <a:lnTo>
                      <a:pt x="852" y="52"/>
                    </a:lnTo>
                    <a:lnTo>
                      <a:pt x="850" y="50"/>
                    </a:lnTo>
                    <a:lnTo>
                      <a:pt x="854" y="30"/>
                    </a:lnTo>
                    <a:lnTo>
                      <a:pt x="857" y="23"/>
                    </a:lnTo>
                    <a:lnTo>
                      <a:pt x="859" y="21"/>
                    </a:lnTo>
                    <a:lnTo>
                      <a:pt x="870" y="25"/>
                    </a:lnTo>
                    <a:lnTo>
                      <a:pt x="877" y="21"/>
                    </a:lnTo>
                    <a:lnTo>
                      <a:pt x="880" y="14"/>
                    </a:lnTo>
                    <a:lnTo>
                      <a:pt x="880" y="11"/>
                    </a:lnTo>
                    <a:lnTo>
                      <a:pt x="884" y="5"/>
                    </a:lnTo>
                    <a:lnTo>
                      <a:pt x="884" y="0"/>
                    </a:lnTo>
                    <a:lnTo>
                      <a:pt x="886" y="0"/>
                    </a:lnTo>
                    <a:lnTo>
                      <a:pt x="852" y="0"/>
                    </a:lnTo>
                    <a:lnTo>
                      <a:pt x="846" y="7"/>
                    </a:lnTo>
                    <a:lnTo>
                      <a:pt x="845" y="13"/>
                    </a:lnTo>
                    <a:lnTo>
                      <a:pt x="845" y="18"/>
                    </a:lnTo>
                    <a:lnTo>
                      <a:pt x="848" y="18"/>
                    </a:lnTo>
                    <a:lnTo>
                      <a:pt x="843" y="21"/>
                    </a:lnTo>
                    <a:lnTo>
                      <a:pt x="839" y="14"/>
                    </a:lnTo>
                    <a:lnTo>
                      <a:pt x="836" y="13"/>
                    </a:lnTo>
                    <a:lnTo>
                      <a:pt x="839" y="5"/>
                    </a:lnTo>
                    <a:lnTo>
                      <a:pt x="839" y="2"/>
                    </a:lnTo>
                    <a:lnTo>
                      <a:pt x="839" y="0"/>
                    </a:lnTo>
                    <a:lnTo>
                      <a:pt x="131" y="0"/>
                    </a:lnTo>
                    <a:lnTo>
                      <a:pt x="125" y="5"/>
                    </a:lnTo>
                    <a:lnTo>
                      <a:pt x="125"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97" name="Freeform 1745"/>
              <p:cNvSpPr>
                <a:spLocks/>
              </p:cNvSpPr>
              <p:nvPr/>
            </p:nvSpPr>
            <p:spPr bwMode="auto">
              <a:xfrm>
                <a:off x="1666" y="1791"/>
                <a:ext cx="43" cy="22"/>
              </a:xfrm>
              <a:custGeom>
                <a:avLst/>
                <a:gdLst>
                  <a:gd name="T0" fmla="*/ 9 w 43"/>
                  <a:gd name="T1" fmla="*/ 2 h 22"/>
                  <a:gd name="T2" fmla="*/ 30 w 43"/>
                  <a:gd name="T3" fmla="*/ 9 h 22"/>
                  <a:gd name="T4" fmla="*/ 36 w 43"/>
                  <a:gd name="T5" fmla="*/ 13 h 22"/>
                  <a:gd name="T6" fmla="*/ 37 w 43"/>
                  <a:gd name="T7" fmla="*/ 15 h 22"/>
                  <a:gd name="T8" fmla="*/ 39 w 43"/>
                  <a:gd name="T9" fmla="*/ 15 h 22"/>
                  <a:gd name="T10" fmla="*/ 41 w 43"/>
                  <a:gd name="T11" fmla="*/ 15 h 22"/>
                  <a:gd name="T12" fmla="*/ 41 w 43"/>
                  <a:gd name="T13" fmla="*/ 16 h 22"/>
                  <a:gd name="T14" fmla="*/ 41 w 43"/>
                  <a:gd name="T15" fmla="*/ 16 h 22"/>
                  <a:gd name="T16" fmla="*/ 43 w 43"/>
                  <a:gd name="T17" fmla="*/ 18 h 22"/>
                  <a:gd name="T18" fmla="*/ 43 w 43"/>
                  <a:gd name="T19" fmla="*/ 20 h 22"/>
                  <a:gd name="T20" fmla="*/ 41 w 43"/>
                  <a:gd name="T21" fmla="*/ 22 h 22"/>
                  <a:gd name="T22" fmla="*/ 27 w 43"/>
                  <a:gd name="T23" fmla="*/ 20 h 22"/>
                  <a:gd name="T24" fmla="*/ 16 w 43"/>
                  <a:gd name="T25" fmla="*/ 16 h 22"/>
                  <a:gd name="T26" fmla="*/ 14 w 43"/>
                  <a:gd name="T27" fmla="*/ 13 h 22"/>
                  <a:gd name="T28" fmla="*/ 12 w 43"/>
                  <a:gd name="T29" fmla="*/ 9 h 22"/>
                  <a:gd name="T30" fmla="*/ 0 w 43"/>
                  <a:gd name="T31" fmla="*/ 2 h 22"/>
                  <a:gd name="T32" fmla="*/ 0 w 43"/>
                  <a:gd name="T33" fmla="*/ 0 h 22"/>
                  <a:gd name="T34" fmla="*/ 3 w 43"/>
                  <a:gd name="T35" fmla="*/ 0 h 22"/>
                  <a:gd name="T36" fmla="*/ 9 w 43"/>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22">
                    <a:moveTo>
                      <a:pt x="9" y="2"/>
                    </a:moveTo>
                    <a:lnTo>
                      <a:pt x="30" y="9"/>
                    </a:lnTo>
                    <a:lnTo>
                      <a:pt x="36" y="13"/>
                    </a:lnTo>
                    <a:lnTo>
                      <a:pt x="37" y="15"/>
                    </a:lnTo>
                    <a:lnTo>
                      <a:pt x="39" y="15"/>
                    </a:lnTo>
                    <a:lnTo>
                      <a:pt x="41" y="15"/>
                    </a:lnTo>
                    <a:lnTo>
                      <a:pt x="41" y="16"/>
                    </a:lnTo>
                    <a:lnTo>
                      <a:pt x="41" y="16"/>
                    </a:lnTo>
                    <a:lnTo>
                      <a:pt x="43" y="18"/>
                    </a:lnTo>
                    <a:lnTo>
                      <a:pt x="43" y="20"/>
                    </a:lnTo>
                    <a:lnTo>
                      <a:pt x="41" y="22"/>
                    </a:lnTo>
                    <a:lnTo>
                      <a:pt x="27" y="20"/>
                    </a:lnTo>
                    <a:lnTo>
                      <a:pt x="16" y="16"/>
                    </a:lnTo>
                    <a:lnTo>
                      <a:pt x="14" y="13"/>
                    </a:lnTo>
                    <a:lnTo>
                      <a:pt x="12" y="9"/>
                    </a:lnTo>
                    <a:lnTo>
                      <a:pt x="0" y="2"/>
                    </a:lnTo>
                    <a:lnTo>
                      <a:pt x="0" y="0"/>
                    </a:lnTo>
                    <a:lnTo>
                      <a:pt x="3" y="0"/>
                    </a:lnTo>
                    <a:lnTo>
                      <a:pt x="9"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98" name="Freeform 1746"/>
              <p:cNvSpPr>
                <a:spLocks/>
              </p:cNvSpPr>
              <p:nvPr/>
            </p:nvSpPr>
            <p:spPr bwMode="auto">
              <a:xfrm>
                <a:off x="1666" y="1791"/>
                <a:ext cx="43" cy="22"/>
              </a:xfrm>
              <a:custGeom>
                <a:avLst/>
                <a:gdLst>
                  <a:gd name="T0" fmla="*/ 9 w 43"/>
                  <a:gd name="T1" fmla="*/ 2 h 22"/>
                  <a:gd name="T2" fmla="*/ 30 w 43"/>
                  <a:gd name="T3" fmla="*/ 9 h 22"/>
                  <a:gd name="T4" fmla="*/ 36 w 43"/>
                  <a:gd name="T5" fmla="*/ 13 h 22"/>
                  <a:gd name="T6" fmla="*/ 37 w 43"/>
                  <a:gd name="T7" fmla="*/ 15 h 22"/>
                  <a:gd name="T8" fmla="*/ 39 w 43"/>
                  <a:gd name="T9" fmla="*/ 15 h 22"/>
                  <a:gd name="T10" fmla="*/ 41 w 43"/>
                  <a:gd name="T11" fmla="*/ 15 h 22"/>
                  <a:gd name="T12" fmla="*/ 41 w 43"/>
                  <a:gd name="T13" fmla="*/ 16 h 22"/>
                  <a:gd name="T14" fmla="*/ 41 w 43"/>
                  <a:gd name="T15" fmla="*/ 16 h 22"/>
                  <a:gd name="T16" fmla="*/ 43 w 43"/>
                  <a:gd name="T17" fmla="*/ 18 h 22"/>
                  <a:gd name="T18" fmla="*/ 43 w 43"/>
                  <a:gd name="T19" fmla="*/ 20 h 22"/>
                  <a:gd name="T20" fmla="*/ 41 w 43"/>
                  <a:gd name="T21" fmla="*/ 22 h 22"/>
                  <a:gd name="T22" fmla="*/ 27 w 43"/>
                  <a:gd name="T23" fmla="*/ 20 h 22"/>
                  <a:gd name="T24" fmla="*/ 16 w 43"/>
                  <a:gd name="T25" fmla="*/ 16 h 22"/>
                  <a:gd name="T26" fmla="*/ 14 w 43"/>
                  <a:gd name="T27" fmla="*/ 13 h 22"/>
                  <a:gd name="T28" fmla="*/ 12 w 43"/>
                  <a:gd name="T29" fmla="*/ 9 h 22"/>
                  <a:gd name="T30" fmla="*/ 0 w 43"/>
                  <a:gd name="T31" fmla="*/ 2 h 22"/>
                  <a:gd name="T32" fmla="*/ 0 w 43"/>
                  <a:gd name="T33" fmla="*/ 0 h 22"/>
                  <a:gd name="T34" fmla="*/ 3 w 43"/>
                  <a:gd name="T35" fmla="*/ 0 h 22"/>
                  <a:gd name="T36" fmla="*/ 9 w 43"/>
                  <a:gd name="T37" fmla="*/ 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22">
                    <a:moveTo>
                      <a:pt x="9" y="2"/>
                    </a:moveTo>
                    <a:lnTo>
                      <a:pt x="30" y="9"/>
                    </a:lnTo>
                    <a:lnTo>
                      <a:pt x="36" y="13"/>
                    </a:lnTo>
                    <a:lnTo>
                      <a:pt x="37" y="15"/>
                    </a:lnTo>
                    <a:lnTo>
                      <a:pt x="39" y="15"/>
                    </a:lnTo>
                    <a:lnTo>
                      <a:pt x="41" y="15"/>
                    </a:lnTo>
                    <a:lnTo>
                      <a:pt x="41" y="16"/>
                    </a:lnTo>
                    <a:lnTo>
                      <a:pt x="41" y="16"/>
                    </a:lnTo>
                    <a:lnTo>
                      <a:pt x="43" y="18"/>
                    </a:lnTo>
                    <a:lnTo>
                      <a:pt x="43" y="20"/>
                    </a:lnTo>
                    <a:lnTo>
                      <a:pt x="41" y="22"/>
                    </a:lnTo>
                    <a:lnTo>
                      <a:pt x="27" y="20"/>
                    </a:lnTo>
                    <a:lnTo>
                      <a:pt x="16" y="16"/>
                    </a:lnTo>
                    <a:lnTo>
                      <a:pt x="14" y="13"/>
                    </a:lnTo>
                    <a:lnTo>
                      <a:pt x="12" y="9"/>
                    </a:lnTo>
                    <a:lnTo>
                      <a:pt x="0" y="2"/>
                    </a:lnTo>
                    <a:lnTo>
                      <a:pt x="0" y="0"/>
                    </a:lnTo>
                    <a:lnTo>
                      <a:pt x="3" y="0"/>
                    </a:lnTo>
                    <a:lnTo>
                      <a:pt x="9"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99" name="Freeform 1747"/>
              <p:cNvSpPr>
                <a:spLocks/>
              </p:cNvSpPr>
              <p:nvPr/>
            </p:nvSpPr>
            <p:spPr bwMode="auto">
              <a:xfrm>
                <a:off x="1748" y="1749"/>
                <a:ext cx="105" cy="123"/>
              </a:xfrm>
              <a:custGeom>
                <a:avLst/>
                <a:gdLst>
                  <a:gd name="T0" fmla="*/ 41 w 105"/>
                  <a:gd name="T1" fmla="*/ 10 h 123"/>
                  <a:gd name="T2" fmla="*/ 39 w 105"/>
                  <a:gd name="T3" fmla="*/ 14 h 123"/>
                  <a:gd name="T4" fmla="*/ 34 w 105"/>
                  <a:gd name="T5" fmla="*/ 23 h 123"/>
                  <a:gd name="T6" fmla="*/ 34 w 105"/>
                  <a:gd name="T7" fmla="*/ 26 h 123"/>
                  <a:gd name="T8" fmla="*/ 30 w 105"/>
                  <a:gd name="T9" fmla="*/ 35 h 123"/>
                  <a:gd name="T10" fmla="*/ 23 w 105"/>
                  <a:gd name="T11" fmla="*/ 48 h 123"/>
                  <a:gd name="T12" fmla="*/ 23 w 105"/>
                  <a:gd name="T13" fmla="*/ 53 h 123"/>
                  <a:gd name="T14" fmla="*/ 18 w 105"/>
                  <a:gd name="T15" fmla="*/ 58 h 123"/>
                  <a:gd name="T16" fmla="*/ 20 w 105"/>
                  <a:gd name="T17" fmla="*/ 62 h 123"/>
                  <a:gd name="T18" fmla="*/ 14 w 105"/>
                  <a:gd name="T19" fmla="*/ 64 h 123"/>
                  <a:gd name="T20" fmla="*/ 7 w 105"/>
                  <a:gd name="T21" fmla="*/ 75 h 123"/>
                  <a:gd name="T22" fmla="*/ 9 w 105"/>
                  <a:gd name="T23" fmla="*/ 78 h 123"/>
                  <a:gd name="T24" fmla="*/ 0 w 105"/>
                  <a:gd name="T25" fmla="*/ 92 h 123"/>
                  <a:gd name="T26" fmla="*/ 5 w 105"/>
                  <a:gd name="T27" fmla="*/ 101 h 123"/>
                  <a:gd name="T28" fmla="*/ 32 w 105"/>
                  <a:gd name="T29" fmla="*/ 100 h 123"/>
                  <a:gd name="T30" fmla="*/ 57 w 105"/>
                  <a:gd name="T31" fmla="*/ 94 h 123"/>
                  <a:gd name="T32" fmla="*/ 52 w 105"/>
                  <a:gd name="T33" fmla="*/ 103 h 123"/>
                  <a:gd name="T34" fmla="*/ 61 w 105"/>
                  <a:gd name="T35" fmla="*/ 103 h 123"/>
                  <a:gd name="T36" fmla="*/ 71 w 105"/>
                  <a:gd name="T37" fmla="*/ 100 h 123"/>
                  <a:gd name="T38" fmla="*/ 61 w 105"/>
                  <a:gd name="T39" fmla="*/ 110 h 123"/>
                  <a:gd name="T40" fmla="*/ 57 w 105"/>
                  <a:gd name="T41" fmla="*/ 117 h 123"/>
                  <a:gd name="T42" fmla="*/ 77 w 105"/>
                  <a:gd name="T43" fmla="*/ 103 h 123"/>
                  <a:gd name="T44" fmla="*/ 84 w 105"/>
                  <a:gd name="T45" fmla="*/ 92 h 123"/>
                  <a:gd name="T46" fmla="*/ 86 w 105"/>
                  <a:gd name="T47" fmla="*/ 117 h 123"/>
                  <a:gd name="T48" fmla="*/ 91 w 105"/>
                  <a:gd name="T49" fmla="*/ 116 h 123"/>
                  <a:gd name="T50" fmla="*/ 96 w 105"/>
                  <a:gd name="T51" fmla="*/ 121 h 123"/>
                  <a:gd name="T52" fmla="*/ 105 w 105"/>
                  <a:gd name="T53" fmla="*/ 98 h 123"/>
                  <a:gd name="T54" fmla="*/ 98 w 105"/>
                  <a:gd name="T55" fmla="*/ 101 h 123"/>
                  <a:gd name="T56" fmla="*/ 102 w 105"/>
                  <a:gd name="T57" fmla="*/ 89 h 123"/>
                  <a:gd name="T58" fmla="*/ 93 w 105"/>
                  <a:gd name="T59" fmla="*/ 98 h 123"/>
                  <a:gd name="T60" fmla="*/ 87 w 105"/>
                  <a:gd name="T61" fmla="*/ 96 h 123"/>
                  <a:gd name="T62" fmla="*/ 89 w 105"/>
                  <a:gd name="T63" fmla="*/ 87 h 123"/>
                  <a:gd name="T64" fmla="*/ 95 w 105"/>
                  <a:gd name="T65" fmla="*/ 80 h 123"/>
                  <a:gd name="T66" fmla="*/ 98 w 105"/>
                  <a:gd name="T67" fmla="*/ 75 h 123"/>
                  <a:gd name="T68" fmla="*/ 86 w 105"/>
                  <a:gd name="T69" fmla="*/ 80 h 123"/>
                  <a:gd name="T70" fmla="*/ 87 w 105"/>
                  <a:gd name="T71" fmla="*/ 71 h 123"/>
                  <a:gd name="T72" fmla="*/ 91 w 105"/>
                  <a:gd name="T73" fmla="*/ 64 h 123"/>
                  <a:gd name="T74" fmla="*/ 86 w 105"/>
                  <a:gd name="T75" fmla="*/ 55 h 123"/>
                  <a:gd name="T76" fmla="*/ 66 w 105"/>
                  <a:gd name="T77" fmla="*/ 60 h 123"/>
                  <a:gd name="T78" fmla="*/ 66 w 105"/>
                  <a:gd name="T79" fmla="*/ 53 h 123"/>
                  <a:gd name="T80" fmla="*/ 61 w 105"/>
                  <a:gd name="T81" fmla="*/ 55 h 123"/>
                  <a:gd name="T82" fmla="*/ 52 w 105"/>
                  <a:gd name="T83" fmla="*/ 50 h 123"/>
                  <a:gd name="T84" fmla="*/ 52 w 105"/>
                  <a:gd name="T85" fmla="*/ 42 h 123"/>
                  <a:gd name="T86" fmla="*/ 41 w 105"/>
                  <a:gd name="T87" fmla="*/ 51 h 123"/>
                  <a:gd name="T88" fmla="*/ 41 w 105"/>
                  <a:gd name="T89" fmla="*/ 41 h 123"/>
                  <a:gd name="T90" fmla="*/ 52 w 105"/>
                  <a:gd name="T91" fmla="*/ 21 h 123"/>
                  <a:gd name="T92" fmla="*/ 54 w 105"/>
                  <a:gd name="T93" fmla="*/ 10 h 123"/>
                  <a:gd name="T94" fmla="*/ 61 w 105"/>
                  <a:gd name="T95" fmla="*/ 3 h 123"/>
                  <a:gd name="T96" fmla="*/ 55 w 105"/>
                  <a:gd name="T97" fmla="*/ 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5" h="123">
                    <a:moveTo>
                      <a:pt x="50" y="3"/>
                    </a:moveTo>
                    <a:lnTo>
                      <a:pt x="43" y="8"/>
                    </a:lnTo>
                    <a:lnTo>
                      <a:pt x="41" y="10"/>
                    </a:lnTo>
                    <a:lnTo>
                      <a:pt x="39" y="14"/>
                    </a:lnTo>
                    <a:lnTo>
                      <a:pt x="39" y="14"/>
                    </a:lnTo>
                    <a:lnTo>
                      <a:pt x="39" y="14"/>
                    </a:lnTo>
                    <a:lnTo>
                      <a:pt x="37" y="16"/>
                    </a:lnTo>
                    <a:lnTo>
                      <a:pt x="36" y="21"/>
                    </a:lnTo>
                    <a:lnTo>
                      <a:pt x="34" y="23"/>
                    </a:lnTo>
                    <a:lnTo>
                      <a:pt x="32" y="23"/>
                    </a:lnTo>
                    <a:lnTo>
                      <a:pt x="30" y="25"/>
                    </a:lnTo>
                    <a:lnTo>
                      <a:pt x="34" y="26"/>
                    </a:lnTo>
                    <a:lnTo>
                      <a:pt x="32" y="28"/>
                    </a:lnTo>
                    <a:lnTo>
                      <a:pt x="30" y="35"/>
                    </a:lnTo>
                    <a:lnTo>
                      <a:pt x="30" y="35"/>
                    </a:lnTo>
                    <a:lnTo>
                      <a:pt x="32" y="37"/>
                    </a:lnTo>
                    <a:lnTo>
                      <a:pt x="27" y="39"/>
                    </a:lnTo>
                    <a:lnTo>
                      <a:pt x="23" y="48"/>
                    </a:lnTo>
                    <a:lnTo>
                      <a:pt x="23" y="51"/>
                    </a:lnTo>
                    <a:lnTo>
                      <a:pt x="23" y="51"/>
                    </a:lnTo>
                    <a:lnTo>
                      <a:pt x="23" y="53"/>
                    </a:lnTo>
                    <a:lnTo>
                      <a:pt x="21" y="53"/>
                    </a:lnTo>
                    <a:lnTo>
                      <a:pt x="18" y="57"/>
                    </a:lnTo>
                    <a:lnTo>
                      <a:pt x="18" y="58"/>
                    </a:lnTo>
                    <a:lnTo>
                      <a:pt x="18" y="60"/>
                    </a:lnTo>
                    <a:lnTo>
                      <a:pt x="20" y="60"/>
                    </a:lnTo>
                    <a:lnTo>
                      <a:pt x="20" y="62"/>
                    </a:lnTo>
                    <a:lnTo>
                      <a:pt x="20" y="64"/>
                    </a:lnTo>
                    <a:lnTo>
                      <a:pt x="20" y="66"/>
                    </a:lnTo>
                    <a:lnTo>
                      <a:pt x="14" y="64"/>
                    </a:lnTo>
                    <a:lnTo>
                      <a:pt x="11" y="75"/>
                    </a:lnTo>
                    <a:lnTo>
                      <a:pt x="9" y="76"/>
                    </a:lnTo>
                    <a:lnTo>
                      <a:pt x="7" y="75"/>
                    </a:lnTo>
                    <a:lnTo>
                      <a:pt x="2" y="78"/>
                    </a:lnTo>
                    <a:lnTo>
                      <a:pt x="2" y="78"/>
                    </a:lnTo>
                    <a:lnTo>
                      <a:pt x="9" y="78"/>
                    </a:lnTo>
                    <a:lnTo>
                      <a:pt x="12" y="78"/>
                    </a:lnTo>
                    <a:lnTo>
                      <a:pt x="14" y="80"/>
                    </a:lnTo>
                    <a:lnTo>
                      <a:pt x="0" y="92"/>
                    </a:lnTo>
                    <a:lnTo>
                      <a:pt x="0" y="98"/>
                    </a:lnTo>
                    <a:lnTo>
                      <a:pt x="2" y="100"/>
                    </a:lnTo>
                    <a:lnTo>
                      <a:pt x="5" y="101"/>
                    </a:lnTo>
                    <a:lnTo>
                      <a:pt x="20" y="98"/>
                    </a:lnTo>
                    <a:lnTo>
                      <a:pt x="30" y="100"/>
                    </a:lnTo>
                    <a:lnTo>
                      <a:pt x="32" y="100"/>
                    </a:lnTo>
                    <a:lnTo>
                      <a:pt x="50" y="100"/>
                    </a:lnTo>
                    <a:lnTo>
                      <a:pt x="52" y="96"/>
                    </a:lnTo>
                    <a:lnTo>
                      <a:pt x="57" y="94"/>
                    </a:lnTo>
                    <a:lnTo>
                      <a:pt x="55" y="100"/>
                    </a:lnTo>
                    <a:lnTo>
                      <a:pt x="52" y="101"/>
                    </a:lnTo>
                    <a:lnTo>
                      <a:pt x="52" y="103"/>
                    </a:lnTo>
                    <a:lnTo>
                      <a:pt x="54" y="103"/>
                    </a:lnTo>
                    <a:lnTo>
                      <a:pt x="55" y="103"/>
                    </a:lnTo>
                    <a:lnTo>
                      <a:pt x="61" y="103"/>
                    </a:lnTo>
                    <a:lnTo>
                      <a:pt x="64" y="98"/>
                    </a:lnTo>
                    <a:lnTo>
                      <a:pt x="66" y="100"/>
                    </a:lnTo>
                    <a:lnTo>
                      <a:pt x="71" y="100"/>
                    </a:lnTo>
                    <a:lnTo>
                      <a:pt x="71" y="100"/>
                    </a:lnTo>
                    <a:lnTo>
                      <a:pt x="64" y="105"/>
                    </a:lnTo>
                    <a:lnTo>
                      <a:pt x="61" y="110"/>
                    </a:lnTo>
                    <a:lnTo>
                      <a:pt x="55" y="114"/>
                    </a:lnTo>
                    <a:lnTo>
                      <a:pt x="55" y="116"/>
                    </a:lnTo>
                    <a:lnTo>
                      <a:pt x="57" y="117"/>
                    </a:lnTo>
                    <a:lnTo>
                      <a:pt x="64" y="116"/>
                    </a:lnTo>
                    <a:lnTo>
                      <a:pt x="71" y="105"/>
                    </a:lnTo>
                    <a:lnTo>
                      <a:pt x="77" y="103"/>
                    </a:lnTo>
                    <a:lnTo>
                      <a:pt x="77" y="105"/>
                    </a:lnTo>
                    <a:lnTo>
                      <a:pt x="82" y="92"/>
                    </a:lnTo>
                    <a:lnTo>
                      <a:pt x="84" y="92"/>
                    </a:lnTo>
                    <a:lnTo>
                      <a:pt x="86" y="105"/>
                    </a:lnTo>
                    <a:lnTo>
                      <a:pt x="84" y="117"/>
                    </a:lnTo>
                    <a:lnTo>
                      <a:pt x="86" y="117"/>
                    </a:lnTo>
                    <a:lnTo>
                      <a:pt x="91" y="110"/>
                    </a:lnTo>
                    <a:lnTo>
                      <a:pt x="93" y="112"/>
                    </a:lnTo>
                    <a:lnTo>
                      <a:pt x="91" y="116"/>
                    </a:lnTo>
                    <a:lnTo>
                      <a:pt x="91" y="121"/>
                    </a:lnTo>
                    <a:lnTo>
                      <a:pt x="93" y="123"/>
                    </a:lnTo>
                    <a:lnTo>
                      <a:pt x="96" y="121"/>
                    </a:lnTo>
                    <a:lnTo>
                      <a:pt x="100" y="121"/>
                    </a:lnTo>
                    <a:lnTo>
                      <a:pt x="105" y="103"/>
                    </a:lnTo>
                    <a:lnTo>
                      <a:pt x="105" y="98"/>
                    </a:lnTo>
                    <a:lnTo>
                      <a:pt x="104" y="96"/>
                    </a:lnTo>
                    <a:lnTo>
                      <a:pt x="100" y="103"/>
                    </a:lnTo>
                    <a:lnTo>
                      <a:pt x="98" y="101"/>
                    </a:lnTo>
                    <a:lnTo>
                      <a:pt x="98" y="98"/>
                    </a:lnTo>
                    <a:lnTo>
                      <a:pt x="102" y="91"/>
                    </a:lnTo>
                    <a:lnTo>
                      <a:pt x="102" y="89"/>
                    </a:lnTo>
                    <a:lnTo>
                      <a:pt x="102" y="85"/>
                    </a:lnTo>
                    <a:lnTo>
                      <a:pt x="96" y="91"/>
                    </a:lnTo>
                    <a:lnTo>
                      <a:pt x="93" y="98"/>
                    </a:lnTo>
                    <a:lnTo>
                      <a:pt x="91" y="100"/>
                    </a:lnTo>
                    <a:lnTo>
                      <a:pt x="89" y="98"/>
                    </a:lnTo>
                    <a:lnTo>
                      <a:pt x="87" y="96"/>
                    </a:lnTo>
                    <a:lnTo>
                      <a:pt x="89" y="91"/>
                    </a:lnTo>
                    <a:lnTo>
                      <a:pt x="89" y="89"/>
                    </a:lnTo>
                    <a:lnTo>
                      <a:pt x="89" y="87"/>
                    </a:lnTo>
                    <a:lnTo>
                      <a:pt x="87" y="85"/>
                    </a:lnTo>
                    <a:lnTo>
                      <a:pt x="93" y="83"/>
                    </a:lnTo>
                    <a:lnTo>
                      <a:pt x="95" y="80"/>
                    </a:lnTo>
                    <a:lnTo>
                      <a:pt x="98" y="80"/>
                    </a:lnTo>
                    <a:lnTo>
                      <a:pt x="100" y="76"/>
                    </a:lnTo>
                    <a:lnTo>
                      <a:pt x="98" y="75"/>
                    </a:lnTo>
                    <a:lnTo>
                      <a:pt x="91" y="78"/>
                    </a:lnTo>
                    <a:lnTo>
                      <a:pt x="89" y="78"/>
                    </a:lnTo>
                    <a:lnTo>
                      <a:pt x="86" y="80"/>
                    </a:lnTo>
                    <a:lnTo>
                      <a:pt x="84" y="78"/>
                    </a:lnTo>
                    <a:lnTo>
                      <a:pt x="89" y="73"/>
                    </a:lnTo>
                    <a:lnTo>
                      <a:pt x="87" y="71"/>
                    </a:lnTo>
                    <a:lnTo>
                      <a:pt x="86" y="71"/>
                    </a:lnTo>
                    <a:lnTo>
                      <a:pt x="87" y="67"/>
                    </a:lnTo>
                    <a:lnTo>
                      <a:pt x="91" y="64"/>
                    </a:lnTo>
                    <a:lnTo>
                      <a:pt x="93" y="58"/>
                    </a:lnTo>
                    <a:lnTo>
                      <a:pt x="93" y="58"/>
                    </a:lnTo>
                    <a:lnTo>
                      <a:pt x="86" y="55"/>
                    </a:lnTo>
                    <a:lnTo>
                      <a:pt x="80" y="57"/>
                    </a:lnTo>
                    <a:lnTo>
                      <a:pt x="77" y="55"/>
                    </a:lnTo>
                    <a:lnTo>
                      <a:pt x="66" y="60"/>
                    </a:lnTo>
                    <a:lnTo>
                      <a:pt x="62" y="60"/>
                    </a:lnTo>
                    <a:lnTo>
                      <a:pt x="66" y="55"/>
                    </a:lnTo>
                    <a:lnTo>
                      <a:pt x="66" y="53"/>
                    </a:lnTo>
                    <a:lnTo>
                      <a:pt x="62" y="55"/>
                    </a:lnTo>
                    <a:lnTo>
                      <a:pt x="62" y="55"/>
                    </a:lnTo>
                    <a:lnTo>
                      <a:pt x="61" y="55"/>
                    </a:lnTo>
                    <a:lnTo>
                      <a:pt x="55" y="55"/>
                    </a:lnTo>
                    <a:lnTo>
                      <a:pt x="55" y="51"/>
                    </a:lnTo>
                    <a:lnTo>
                      <a:pt x="52" y="50"/>
                    </a:lnTo>
                    <a:lnTo>
                      <a:pt x="61" y="44"/>
                    </a:lnTo>
                    <a:lnTo>
                      <a:pt x="59" y="42"/>
                    </a:lnTo>
                    <a:lnTo>
                      <a:pt x="52" y="42"/>
                    </a:lnTo>
                    <a:lnTo>
                      <a:pt x="52" y="39"/>
                    </a:lnTo>
                    <a:lnTo>
                      <a:pt x="50" y="39"/>
                    </a:lnTo>
                    <a:lnTo>
                      <a:pt x="41" y="51"/>
                    </a:lnTo>
                    <a:lnTo>
                      <a:pt x="39" y="48"/>
                    </a:lnTo>
                    <a:lnTo>
                      <a:pt x="41" y="44"/>
                    </a:lnTo>
                    <a:lnTo>
                      <a:pt x="41" y="41"/>
                    </a:lnTo>
                    <a:lnTo>
                      <a:pt x="50" y="26"/>
                    </a:lnTo>
                    <a:lnTo>
                      <a:pt x="50" y="19"/>
                    </a:lnTo>
                    <a:lnTo>
                      <a:pt x="52" y="21"/>
                    </a:lnTo>
                    <a:lnTo>
                      <a:pt x="54" y="19"/>
                    </a:lnTo>
                    <a:lnTo>
                      <a:pt x="55" y="12"/>
                    </a:lnTo>
                    <a:lnTo>
                      <a:pt x="54" y="10"/>
                    </a:lnTo>
                    <a:lnTo>
                      <a:pt x="54" y="8"/>
                    </a:lnTo>
                    <a:lnTo>
                      <a:pt x="57" y="8"/>
                    </a:lnTo>
                    <a:lnTo>
                      <a:pt x="61" y="3"/>
                    </a:lnTo>
                    <a:lnTo>
                      <a:pt x="61" y="0"/>
                    </a:lnTo>
                    <a:lnTo>
                      <a:pt x="57" y="3"/>
                    </a:lnTo>
                    <a:lnTo>
                      <a:pt x="55" y="1"/>
                    </a:lnTo>
                    <a:lnTo>
                      <a:pt x="54" y="1"/>
                    </a:lnTo>
                    <a:lnTo>
                      <a:pt x="50"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00" name="Freeform 1748"/>
              <p:cNvSpPr>
                <a:spLocks/>
              </p:cNvSpPr>
              <p:nvPr/>
            </p:nvSpPr>
            <p:spPr bwMode="auto">
              <a:xfrm>
                <a:off x="1748" y="1749"/>
                <a:ext cx="105" cy="123"/>
              </a:xfrm>
              <a:custGeom>
                <a:avLst/>
                <a:gdLst>
                  <a:gd name="T0" fmla="*/ 41 w 105"/>
                  <a:gd name="T1" fmla="*/ 10 h 123"/>
                  <a:gd name="T2" fmla="*/ 39 w 105"/>
                  <a:gd name="T3" fmla="*/ 14 h 123"/>
                  <a:gd name="T4" fmla="*/ 34 w 105"/>
                  <a:gd name="T5" fmla="*/ 23 h 123"/>
                  <a:gd name="T6" fmla="*/ 34 w 105"/>
                  <a:gd name="T7" fmla="*/ 26 h 123"/>
                  <a:gd name="T8" fmla="*/ 30 w 105"/>
                  <a:gd name="T9" fmla="*/ 35 h 123"/>
                  <a:gd name="T10" fmla="*/ 23 w 105"/>
                  <a:gd name="T11" fmla="*/ 48 h 123"/>
                  <a:gd name="T12" fmla="*/ 23 w 105"/>
                  <a:gd name="T13" fmla="*/ 53 h 123"/>
                  <a:gd name="T14" fmla="*/ 18 w 105"/>
                  <a:gd name="T15" fmla="*/ 58 h 123"/>
                  <a:gd name="T16" fmla="*/ 20 w 105"/>
                  <a:gd name="T17" fmla="*/ 62 h 123"/>
                  <a:gd name="T18" fmla="*/ 14 w 105"/>
                  <a:gd name="T19" fmla="*/ 64 h 123"/>
                  <a:gd name="T20" fmla="*/ 7 w 105"/>
                  <a:gd name="T21" fmla="*/ 75 h 123"/>
                  <a:gd name="T22" fmla="*/ 9 w 105"/>
                  <a:gd name="T23" fmla="*/ 78 h 123"/>
                  <a:gd name="T24" fmla="*/ 0 w 105"/>
                  <a:gd name="T25" fmla="*/ 92 h 123"/>
                  <a:gd name="T26" fmla="*/ 5 w 105"/>
                  <a:gd name="T27" fmla="*/ 101 h 123"/>
                  <a:gd name="T28" fmla="*/ 32 w 105"/>
                  <a:gd name="T29" fmla="*/ 100 h 123"/>
                  <a:gd name="T30" fmla="*/ 57 w 105"/>
                  <a:gd name="T31" fmla="*/ 94 h 123"/>
                  <a:gd name="T32" fmla="*/ 52 w 105"/>
                  <a:gd name="T33" fmla="*/ 103 h 123"/>
                  <a:gd name="T34" fmla="*/ 61 w 105"/>
                  <a:gd name="T35" fmla="*/ 103 h 123"/>
                  <a:gd name="T36" fmla="*/ 71 w 105"/>
                  <a:gd name="T37" fmla="*/ 100 h 123"/>
                  <a:gd name="T38" fmla="*/ 61 w 105"/>
                  <a:gd name="T39" fmla="*/ 110 h 123"/>
                  <a:gd name="T40" fmla="*/ 57 w 105"/>
                  <a:gd name="T41" fmla="*/ 117 h 123"/>
                  <a:gd name="T42" fmla="*/ 77 w 105"/>
                  <a:gd name="T43" fmla="*/ 103 h 123"/>
                  <a:gd name="T44" fmla="*/ 84 w 105"/>
                  <a:gd name="T45" fmla="*/ 92 h 123"/>
                  <a:gd name="T46" fmla="*/ 86 w 105"/>
                  <a:gd name="T47" fmla="*/ 117 h 123"/>
                  <a:gd name="T48" fmla="*/ 91 w 105"/>
                  <a:gd name="T49" fmla="*/ 116 h 123"/>
                  <a:gd name="T50" fmla="*/ 96 w 105"/>
                  <a:gd name="T51" fmla="*/ 121 h 123"/>
                  <a:gd name="T52" fmla="*/ 105 w 105"/>
                  <a:gd name="T53" fmla="*/ 98 h 123"/>
                  <a:gd name="T54" fmla="*/ 98 w 105"/>
                  <a:gd name="T55" fmla="*/ 101 h 123"/>
                  <a:gd name="T56" fmla="*/ 102 w 105"/>
                  <a:gd name="T57" fmla="*/ 89 h 123"/>
                  <a:gd name="T58" fmla="*/ 93 w 105"/>
                  <a:gd name="T59" fmla="*/ 98 h 123"/>
                  <a:gd name="T60" fmla="*/ 87 w 105"/>
                  <a:gd name="T61" fmla="*/ 96 h 123"/>
                  <a:gd name="T62" fmla="*/ 89 w 105"/>
                  <a:gd name="T63" fmla="*/ 87 h 123"/>
                  <a:gd name="T64" fmla="*/ 95 w 105"/>
                  <a:gd name="T65" fmla="*/ 80 h 123"/>
                  <a:gd name="T66" fmla="*/ 98 w 105"/>
                  <a:gd name="T67" fmla="*/ 75 h 123"/>
                  <a:gd name="T68" fmla="*/ 86 w 105"/>
                  <a:gd name="T69" fmla="*/ 80 h 123"/>
                  <a:gd name="T70" fmla="*/ 87 w 105"/>
                  <a:gd name="T71" fmla="*/ 71 h 123"/>
                  <a:gd name="T72" fmla="*/ 91 w 105"/>
                  <a:gd name="T73" fmla="*/ 64 h 123"/>
                  <a:gd name="T74" fmla="*/ 86 w 105"/>
                  <a:gd name="T75" fmla="*/ 55 h 123"/>
                  <a:gd name="T76" fmla="*/ 66 w 105"/>
                  <a:gd name="T77" fmla="*/ 60 h 123"/>
                  <a:gd name="T78" fmla="*/ 66 w 105"/>
                  <a:gd name="T79" fmla="*/ 53 h 123"/>
                  <a:gd name="T80" fmla="*/ 61 w 105"/>
                  <a:gd name="T81" fmla="*/ 55 h 123"/>
                  <a:gd name="T82" fmla="*/ 52 w 105"/>
                  <a:gd name="T83" fmla="*/ 50 h 123"/>
                  <a:gd name="T84" fmla="*/ 52 w 105"/>
                  <a:gd name="T85" fmla="*/ 42 h 123"/>
                  <a:gd name="T86" fmla="*/ 41 w 105"/>
                  <a:gd name="T87" fmla="*/ 51 h 123"/>
                  <a:gd name="T88" fmla="*/ 41 w 105"/>
                  <a:gd name="T89" fmla="*/ 41 h 123"/>
                  <a:gd name="T90" fmla="*/ 52 w 105"/>
                  <a:gd name="T91" fmla="*/ 21 h 123"/>
                  <a:gd name="T92" fmla="*/ 54 w 105"/>
                  <a:gd name="T93" fmla="*/ 10 h 123"/>
                  <a:gd name="T94" fmla="*/ 61 w 105"/>
                  <a:gd name="T95" fmla="*/ 3 h 123"/>
                  <a:gd name="T96" fmla="*/ 55 w 105"/>
                  <a:gd name="T97" fmla="*/ 1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5" h="123">
                    <a:moveTo>
                      <a:pt x="50" y="3"/>
                    </a:moveTo>
                    <a:lnTo>
                      <a:pt x="43" y="8"/>
                    </a:lnTo>
                    <a:lnTo>
                      <a:pt x="41" y="10"/>
                    </a:lnTo>
                    <a:lnTo>
                      <a:pt x="39" y="14"/>
                    </a:lnTo>
                    <a:lnTo>
                      <a:pt x="39" y="14"/>
                    </a:lnTo>
                    <a:lnTo>
                      <a:pt x="39" y="14"/>
                    </a:lnTo>
                    <a:lnTo>
                      <a:pt x="37" y="16"/>
                    </a:lnTo>
                    <a:lnTo>
                      <a:pt x="36" y="21"/>
                    </a:lnTo>
                    <a:lnTo>
                      <a:pt x="34" y="23"/>
                    </a:lnTo>
                    <a:lnTo>
                      <a:pt x="32" y="23"/>
                    </a:lnTo>
                    <a:lnTo>
                      <a:pt x="30" y="25"/>
                    </a:lnTo>
                    <a:lnTo>
                      <a:pt x="34" y="26"/>
                    </a:lnTo>
                    <a:lnTo>
                      <a:pt x="32" y="28"/>
                    </a:lnTo>
                    <a:lnTo>
                      <a:pt x="30" y="35"/>
                    </a:lnTo>
                    <a:lnTo>
                      <a:pt x="30" y="35"/>
                    </a:lnTo>
                    <a:lnTo>
                      <a:pt x="32" y="37"/>
                    </a:lnTo>
                    <a:lnTo>
                      <a:pt x="27" y="39"/>
                    </a:lnTo>
                    <a:lnTo>
                      <a:pt x="23" y="48"/>
                    </a:lnTo>
                    <a:lnTo>
                      <a:pt x="23" y="51"/>
                    </a:lnTo>
                    <a:lnTo>
                      <a:pt x="23" y="51"/>
                    </a:lnTo>
                    <a:lnTo>
                      <a:pt x="23" y="53"/>
                    </a:lnTo>
                    <a:lnTo>
                      <a:pt x="21" y="53"/>
                    </a:lnTo>
                    <a:lnTo>
                      <a:pt x="18" y="57"/>
                    </a:lnTo>
                    <a:lnTo>
                      <a:pt x="18" y="58"/>
                    </a:lnTo>
                    <a:lnTo>
                      <a:pt x="18" y="60"/>
                    </a:lnTo>
                    <a:lnTo>
                      <a:pt x="20" y="60"/>
                    </a:lnTo>
                    <a:lnTo>
                      <a:pt x="20" y="62"/>
                    </a:lnTo>
                    <a:lnTo>
                      <a:pt x="20" y="64"/>
                    </a:lnTo>
                    <a:lnTo>
                      <a:pt x="20" y="66"/>
                    </a:lnTo>
                    <a:lnTo>
                      <a:pt x="14" y="64"/>
                    </a:lnTo>
                    <a:lnTo>
                      <a:pt x="11" y="75"/>
                    </a:lnTo>
                    <a:lnTo>
                      <a:pt x="9" y="76"/>
                    </a:lnTo>
                    <a:lnTo>
                      <a:pt x="7" y="75"/>
                    </a:lnTo>
                    <a:lnTo>
                      <a:pt x="2" y="78"/>
                    </a:lnTo>
                    <a:lnTo>
                      <a:pt x="2" y="78"/>
                    </a:lnTo>
                    <a:lnTo>
                      <a:pt x="9" y="78"/>
                    </a:lnTo>
                    <a:lnTo>
                      <a:pt x="12" y="78"/>
                    </a:lnTo>
                    <a:lnTo>
                      <a:pt x="14" y="80"/>
                    </a:lnTo>
                    <a:lnTo>
                      <a:pt x="0" y="92"/>
                    </a:lnTo>
                    <a:lnTo>
                      <a:pt x="0" y="98"/>
                    </a:lnTo>
                    <a:lnTo>
                      <a:pt x="2" y="100"/>
                    </a:lnTo>
                    <a:lnTo>
                      <a:pt x="5" y="101"/>
                    </a:lnTo>
                    <a:lnTo>
                      <a:pt x="20" y="98"/>
                    </a:lnTo>
                    <a:lnTo>
                      <a:pt x="30" y="100"/>
                    </a:lnTo>
                    <a:lnTo>
                      <a:pt x="32" y="100"/>
                    </a:lnTo>
                    <a:lnTo>
                      <a:pt x="50" y="100"/>
                    </a:lnTo>
                    <a:lnTo>
                      <a:pt x="52" y="96"/>
                    </a:lnTo>
                    <a:lnTo>
                      <a:pt x="57" y="94"/>
                    </a:lnTo>
                    <a:lnTo>
                      <a:pt x="55" y="100"/>
                    </a:lnTo>
                    <a:lnTo>
                      <a:pt x="52" y="101"/>
                    </a:lnTo>
                    <a:lnTo>
                      <a:pt x="52" y="103"/>
                    </a:lnTo>
                    <a:lnTo>
                      <a:pt x="54" y="103"/>
                    </a:lnTo>
                    <a:lnTo>
                      <a:pt x="55" y="103"/>
                    </a:lnTo>
                    <a:lnTo>
                      <a:pt x="61" y="103"/>
                    </a:lnTo>
                    <a:lnTo>
                      <a:pt x="64" y="98"/>
                    </a:lnTo>
                    <a:lnTo>
                      <a:pt x="66" y="100"/>
                    </a:lnTo>
                    <a:lnTo>
                      <a:pt x="71" y="100"/>
                    </a:lnTo>
                    <a:lnTo>
                      <a:pt x="71" y="100"/>
                    </a:lnTo>
                    <a:lnTo>
                      <a:pt x="64" y="105"/>
                    </a:lnTo>
                    <a:lnTo>
                      <a:pt x="61" y="110"/>
                    </a:lnTo>
                    <a:lnTo>
                      <a:pt x="55" y="114"/>
                    </a:lnTo>
                    <a:lnTo>
                      <a:pt x="55" y="116"/>
                    </a:lnTo>
                    <a:lnTo>
                      <a:pt x="57" y="117"/>
                    </a:lnTo>
                    <a:lnTo>
                      <a:pt x="64" y="116"/>
                    </a:lnTo>
                    <a:lnTo>
                      <a:pt x="71" y="105"/>
                    </a:lnTo>
                    <a:lnTo>
                      <a:pt x="77" y="103"/>
                    </a:lnTo>
                    <a:lnTo>
                      <a:pt x="77" y="105"/>
                    </a:lnTo>
                    <a:lnTo>
                      <a:pt x="82" y="92"/>
                    </a:lnTo>
                    <a:lnTo>
                      <a:pt x="84" y="92"/>
                    </a:lnTo>
                    <a:lnTo>
                      <a:pt x="86" y="105"/>
                    </a:lnTo>
                    <a:lnTo>
                      <a:pt x="84" y="117"/>
                    </a:lnTo>
                    <a:lnTo>
                      <a:pt x="86" y="117"/>
                    </a:lnTo>
                    <a:lnTo>
                      <a:pt x="91" y="110"/>
                    </a:lnTo>
                    <a:lnTo>
                      <a:pt x="93" y="112"/>
                    </a:lnTo>
                    <a:lnTo>
                      <a:pt x="91" y="116"/>
                    </a:lnTo>
                    <a:lnTo>
                      <a:pt x="91" y="121"/>
                    </a:lnTo>
                    <a:lnTo>
                      <a:pt x="93" y="123"/>
                    </a:lnTo>
                    <a:lnTo>
                      <a:pt x="96" y="121"/>
                    </a:lnTo>
                    <a:lnTo>
                      <a:pt x="100" y="121"/>
                    </a:lnTo>
                    <a:lnTo>
                      <a:pt x="105" y="103"/>
                    </a:lnTo>
                    <a:lnTo>
                      <a:pt x="105" y="98"/>
                    </a:lnTo>
                    <a:lnTo>
                      <a:pt x="104" y="96"/>
                    </a:lnTo>
                    <a:lnTo>
                      <a:pt x="100" y="103"/>
                    </a:lnTo>
                    <a:lnTo>
                      <a:pt x="98" y="101"/>
                    </a:lnTo>
                    <a:lnTo>
                      <a:pt x="98" y="98"/>
                    </a:lnTo>
                    <a:lnTo>
                      <a:pt x="102" y="91"/>
                    </a:lnTo>
                    <a:lnTo>
                      <a:pt x="102" y="89"/>
                    </a:lnTo>
                    <a:lnTo>
                      <a:pt x="102" y="85"/>
                    </a:lnTo>
                    <a:lnTo>
                      <a:pt x="96" y="91"/>
                    </a:lnTo>
                    <a:lnTo>
                      <a:pt x="93" y="98"/>
                    </a:lnTo>
                    <a:lnTo>
                      <a:pt x="91" y="100"/>
                    </a:lnTo>
                    <a:lnTo>
                      <a:pt x="89" y="98"/>
                    </a:lnTo>
                    <a:lnTo>
                      <a:pt x="87" y="96"/>
                    </a:lnTo>
                    <a:lnTo>
                      <a:pt x="89" y="91"/>
                    </a:lnTo>
                    <a:lnTo>
                      <a:pt x="89" y="89"/>
                    </a:lnTo>
                    <a:lnTo>
                      <a:pt x="89" y="87"/>
                    </a:lnTo>
                    <a:lnTo>
                      <a:pt x="87" y="85"/>
                    </a:lnTo>
                    <a:lnTo>
                      <a:pt x="93" y="83"/>
                    </a:lnTo>
                    <a:lnTo>
                      <a:pt x="95" y="80"/>
                    </a:lnTo>
                    <a:lnTo>
                      <a:pt x="98" y="80"/>
                    </a:lnTo>
                    <a:lnTo>
                      <a:pt x="100" y="76"/>
                    </a:lnTo>
                    <a:lnTo>
                      <a:pt x="98" y="75"/>
                    </a:lnTo>
                    <a:lnTo>
                      <a:pt x="91" y="78"/>
                    </a:lnTo>
                    <a:lnTo>
                      <a:pt x="89" y="78"/>
                    </a:lnTo>
                    <a:lnTo>
                      <a:pt x="86" y="80"/>
                    </a:lnTo>
                    <a:lnTo>
                      <a:pt x="84" y="78"/>
                    </a:lnTo>
                    <a:lnTo>
                      <a:pt x="89" y="73"/>
                    </a:lnTo>
                    <a:lnTo>
                      <a:pt x="87" y="71"/>
                    </a:lnTo>
                    <a:lnTo>
                      <a:pt x="86" y="71"/>
                    </a:lnTo>
                    <a:lnTo>
                      <a:pt x="87" y="67"/>
                    </a:lnTo>
                    <a:lnTo>
                      <a:pt x="91" y="64"/>
                    </a:lnTo>
                    <a:lnTo>
                      <a:pt x="93" y="58"/>
                    </a:lnTo>
                    <a:lnTo>
                      <a:pt x="93" y="58"/>
                    </a:lnTo>
                    <a:lnTo>
                      <a:pt x="86" y="55"/>
                    </a:lnTo>
                    <a:lnTo>
                      <a:pt x="80" y="57"/>
                    </a:lnTo>
                    <a:lnTo>
                      <a:pt x="77" y="55"/>
                    </a:lnTo>
                    <a:lnTo>
                      <a:pt x="66" y="60"/>
                    </a:lnTo>
                    <a:lnTo>
                      <a:pt x="62" y="60"/>
                    </a:lnTo>
                    <a:lnTo>
                      <a:pt x="66" y="55"/>
                    </a:lnTo>
                    <a:lnTo>
                      <a:pt x="66" y="53"/>
                    </a:lnTo>
                    <a:lnTo>
                      <a:pt x="62" y="55"/>
                    </a:lnTo>
                    <a:lnTo>
                      <a:pt x="62" y="55"/>
                    </a:lnTo>
                    <a:lnTo>
                      <a:pt x="61" y="55"/>
                    </a:lnTo>
                    <a:lnTo>
                      <a:pt x="55" y="55"/>
                    </a:lnTo>
                    <a:lnTo>
                      <a:pt x="55" y="51"/>
                    </a:lnTo>
                    <a:lnTo>
                      <a:pt x="52" y="50"/>
                    </a:lnTo>
                    <a:lnTo>
                      <a:pt x="61" y="44"/>
                    </a:lnTo>
                    <a:lnTo>
                      <a:pt x="59" y="42"/>
                    </a:lnTo>
                    <a:lnTo>
                      <a:pt x="52" y="42"/>
                    </a:lnTo>
                    <a:lnTo>
                      <a:pt x="52" y="39"/>
                    </a:lnTo>
                    <a:lnTo>
                      <a:pt x="50" y="39"/>
                    </a:lnTo>
                    <a:lnTo>
                      <a:pt x="41" y="51"/>
                    </a:lnTo>
                    <a:lnTo>
                      <a:pt x="39" y="48"/>
                    </a:lnTo>
                    <a:lnTo>
                      <a:pt x="41" y="44"/>
                    </a:lnTo>
                    <a:lnTo>
                      <a:pt x="41" y="41"/>
                    </a:lnTo>
                    <a:lnTo>
                      <a:pt x="50" y="26"/>
                    </a:lnTo>
                    <a:lnTo>
                      <a:pt x="50" y="19"/>
                    </a:lnTo>
                    <a:lnTo>
                      <a:pt x="52" y="21"/>
                    </a:lnTo>
                    <a:lnTo>
                      <a:pt x="54" y="19"/>
                    </a:lnTo>
                    <a:lnTo>
                      <a:pt x="55" y="12"/>
                    </a:lnTo>
                    <a:lnTo>
                      <a:pt x="54" y="10"/>
                    </a:lnTo>
                    <a:lnTo>
                      <a:pt x="54" y="8"/>
                    </a:lnTo>
                    <a:lnTo>
                      <a:pt x="57" y="8"/>
                    </a:lnTo>
                    <a:lnTo>
                      <a:pt x="61" y="3"/>
                    </a:lnTo>
                    <a:lnTo>
                      <a:pt x="61" y="0"/>
                    </a:lnTo>
                    <a:lnTo>
                      <a:pt x="57" y="3"/>
                    </a:lnTo>
                    <a:lnTo>
                      <a:pt x="55" y="1"/>
                    </a:lnTo>
                    <a:lnTo>
                      <a:pt x="54" y="1"/>
                    </a:lnTo>
                    <a:lnTo>
                      <a:pt x="50"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01" name="Freeform 1749"/>
              <p:cNvSpPr>
                <a:spLocks/>
              </p:cNvSpPr>
              <p:nvPr/>
            </p:nvSpPr>
            <p:spPr bwMode="auto">
              <a:xfrm>
                <a:off x="1105" y="1132"/>
                <a:ext cx="68" cy="65"/>
              </a:xfrm>
              <a:custGeom>
                <a:avLst/>
                <a:gdLst>
                  <a:gd name="T0" fmla="*/ 38 w 68"/>
                  <a:gd name="T1" fmla="*/ 11 h 65"/>
                  <a:gd name="T2" fmla="*/ 34 w 68"/>
                  <a:gd name="T3" fmla="*/ 11 h 65"/>
                  <a:gd name="T4" fmla="*/ 34 w 68"/>
                  <a:gd name="T5" fmla="*/ 6 h 65"/>
                  <a:gd name="T6" fmla="*/ 31 w 68"/>
                  <a:gd name="T7" fmla="*/ 2 h 65"/>
                  <a:gd name="T8" fmla="*/ 25 w 68"/>
                  <a:gd name="T9" fmla="*/ 0 h 65"/>
                  <a:gd name="T10" fmla="*/ 22 w 68"/>
                  <a:gd name="T11" fmla="*/ 8 h 65"/>
                  <a:gd name="T12" fmla="*/ 20 w 68"/>
                  <a:gd name="T13" fmla="*/ 17 h 65"/>
                  <a:gd name="T14" fmla="*/ 18 w 68"/>
                  <a:gd name="T15" fmla="*/ 17 h 65"/>
                  <a:gd name="T16" fmla="*/ 15 w 68"/>
                  <a:gd name="T17" fmla="*/ 18 h 65"/>
                  <a:gd name="T18" fmla="*/ 15 w 68"/>
                  <a:gd name="T19" fmla="*/ 22 h 65"/>
                  <a:gd name="T20" fmla="*/ 15 w 68"/>
                  <a:gd name="T21" fmla="*/ 29 h 65"/>
                  <a:gd name="T22" fmla="*/ 11 w 68"/>
                  <a:gd name="T23" fmla="*/ 33 h 65"/>
                  <a:gd name="T24" fmla="*/ 2 w 68"/>
                  <a:gd name="T25" fmla="*/ 36 h 65"/>
                  <a:gd name="T26" fmla="*/ 0 w 68"/>
                  <a:gd name="T27" fmla="*/ 42 h 65"/>
                  <a:gd name="T28" fmla="*/ 2 w 68"/>
                  <a:gd name="T29" fmla="*/ 49 h 65"/>
                  <a:gd name="T30" fmla="*/ 6 w 68"/>
                  <a:gd name="T31" fmla="*/ 47 h 65"/>
                  <a:gd name="T32" fmla="*/ 9 w 68"/>
                  <a:gd name="T33" fmla="*/ 45 h 65"/>
                  <a:gd name="T34" fmla="*/ 13 w 68"/>
                  <a:gd name="T35" fmla="*/ 50 h 65"/>
                  <a:gd name="T36" fmla="*/ 16 w 68"/>
                  <a:gd name="T37" fmla="*/ 52 h 65"/>
                  <a:gd name="T38" fmla="*/ 18 w 68"/>
                  <a:gd name="T39" fmla="*/ 49 h 65"/>
                  <a:gd name="T40" fmla="*/ 20 w 68"/>
                  <a:gd name="T41" fmla="*/ 54 h 65"/>
                  <a:gd name="T42" fmla="*/ 25 w 68"/>
                  <a:gd name="T43" fmla="*/ 54 h 65"/>
                  <a:gd name="T44" fmla="*/ 31 w 68"/>
                  <a:gd name="T45" fmla="*/ 59 h 65"/>
                  <a:gd name="T46" fmla="*/ 38 w 68"/>
                  <a:gd name="T47" fmla="*/ 63 h 65"/>
                  <a:gd name="T48" fmla="*/ 40 w 68"/>
                  <a:gd name="T49" fmla="*/ 59 h 65"/>
                  <a:gd name="T50" fmla="*/ 50 w 68"/>
                  <a:gd name="T51" fmla="*/ 65 h 65"/>
                  <a:gd name="T52" fmla="*/ 56 w 68"/>
                  <a:gd name="T53" fmla="*/ 58 h 65"/>
                  <a:gd name="T54" fmla="*/ 63 w 68"/>
                  <a:gd name="T55" fmla="*/ 52 h 65"/>
                  <a:gd name="T56" fmla="*/ 64 w 68"/>
                  <a:gd name="T57" fmla="*/ 54 h 65"/>
                  <a:gd name="T58" fmla="*/ 68 w 68"/>
                  <a:gd name="T59" fmla="*/ 49 h 65"/>
                  <a:gd name="T60" fmla="*/ 63 w 68"/>
                  <a:gd name="T61" fmla="*/ 50 h 65"/>
                  <a:gd name="T62" fmla="*/ 59 w 68"/>
                  <a:gd name="T63" fmla="*/ 43 h 65"/>
                  <a:gd name="T64" fmla="*/ 56 w 68"/>
                  <a:gd name="T65" fmla="*/ 33 h 65"/>
                  <a:gd name="T66" fmla="*/ 50 w 68"/>
                  <a:gd name="T67" fmla="*/ 27 h 65"/>
                  <a:gd name="T68" fmla="*/ 41 w 68"/>
                  <a:gd name="T69" fmla="*/ 1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 h="65">
                    <a:moveTo>
                      <a:pt x="41" y="17"/>
                    </a:moveTo>
                    <a:lnTo>
                      <a:pt x="38" y="11"/>
                    </a:lnTo>
                    <a:lnTo>
                      <a:pt x="36" y="11"/>
                    </a:lnTo>
                    <a:lnTo>
                      <a:pt x="34" y="11"/>
                    </a:lnTo>
                    <a:lnTo>
                      <a:pt x="34" y="8"/>
                    </a:lnTo>
                    <a:lnTo>
                      <a:pt x="34" y="6"/>
                    </a:lnTo>
                    <a:lnTo>
                      <a:pt x="31" y="6"/>
                    </a:lnTo>
                    <a:lnTo>
                      <a:pt x="31" y="2"/>
                    </a:lnTo>
                    <a:lnTo>
                      <a:pt x="27" y="0"/>
                    </a:lnTo>
                    <a:lnTo>
                      <a:pt x="25" y="0"/>
                    </a:lnTo>
                    <a:lnTo>
                      <a:pt x="23" y="4"/>
                    </a:lnTo>
                    <a:lnTo>
                      <a:pt x="22" y="8"/>
                    </a:lnTo>
                    <a:lnTo>
                      <a:pt x="18" y="15"/>
                    </a:lnTo>
                    <a:lnTo>
                      <a:pt x="20" y="17"/>
                    </a:lnTo>
                    <a:lnTo>
                      <a:pt x="20" y="18"/>
                    </a:lnTo>
                    <a:lnTo>
                      <a:pt x="18" y="17"/>
                    </a:lnTo>
                    <a:lnTo>
                      <a:pt x="16" y="17"/>
                    </a:lnTo>
                    <a:lnTo>
                      <a:pt x="15" y="18"/>
                    </a:lnTo>
                    <a:lnTo>
                      <a:pt x="15" y="18"/>
                    </a:lnTo>
                    <a:lnTo>
                      <a:pt x="15" y="22"/>
                    </a:lnTo>
                    <a:lnTo>
                      <a:pt x="16" y="27"/>
                    </a:lnTo>
                    <a:lnTo>
                      <a:pt x="15" y="29"/>
                    </a:lnTo>
                    <a:lnTo>
                      <a:pt x="13" y="33"/>
                    </a:lnTo>
                    <a:lnTo>
                      <a:pt x="11" y="33"/>
                    </a:lnTo>
                    <a:lnTo>
                      <a:pt x="7" y="34"/>
                    </a:lnTo>
                    <a:lnTo>
                      <a:pt x="2" y="36"/>
                    </a:lnTo>
                    <a:lnTo>
                      <a:pt x="0" y="38"/>
                    </a:lnTo>
                    <a:lnTo>
                      <a:pt x="0" y="42"/>
                    </a:lnTo>
                    <a:lnTo>
                      <a:pt x="0" y="45"/>
                    </a:lnTo>
                    <a:lnTo>
                      <a:pt x="2" y="49"/>
                    </a:lnTo>
                    <a:lnTo>
                      <a:pt x="6" y="50"/>
                    </a:lnTo>
                    <a:lnTo>
                      <a:pt x="6" y="47"/>
                    </a:lnTo>
                    <a:lnTo>
                      <a:pt x="7" y="45"/>
                    </a:lnTo>
                    <a:lnTo>
                      <a:pt x="9" y="45"/>
                    </a:lnTo>
                    <a:lnTo>
                      <a:pt x="11" y="47"/>
                    </a:lnTo>
                    <a:lnTo>
                      <a:pt x="13" y="50"/>
                    </a:lnTo>
                    <a:lnTo>
                      <a:pt x="15" y="50"/>
                    </a:lnTo>
                    <a:lnTo>
                      <a:pt x="16" y="52"/>
                    </a:lnTo>
                    <a:lnTo>
                      <a:pt x="16" y="50"/>
                    </a:lnTo>
                    <a:lnTo>
                      <a:pt x="18" y="49"/>
                    </a:lnTo>
                    <a:lnTo>
                      <a:pt x="20" y="50"/>
                    </a:lnTo>
                    <a:lnTo>
                      <a:pt x="20" y="54"/>
                    </a:lnTo>
                    <a:lnTo>
                      <a:pt x="22" y="54"/>
                    </a:lnTo>
                    <a:lnTo>
                      <a:pt x="25" y="54"/>
                    </a:lnTo>
                    <a:lnTo>
                      <a:pt x="29" y="58"/>
                    </a:lnTo>
                    <a:lnTo>
                      <a:pt x="31" y="59"/>
                    </a:lnTo>
                    <a:lnTo>
                      <a:pt x="38" y="61"/>
                    </a:lnTo>
                    <a:lnTo>
                      <a:pt x="38" y="63"/>
                    </a:lnTo>
                    <a:lnTo>
                      <a:pt x="38" y="59"/>
                    </a:lnTo>
                    <a:lnTo>
                      <a:pt x="40" y="59"/>
                    </a:lnTo>
                    <a:lnTo>
                      <a:pt x="48" y="65"/>
                    </a:lnTo>
                    <a:lnTo>
                      <a:pt x="50" y="65"/>
                    </a:lnTo>
                    <a:lnTo>
                      <a:pt x="54" y="58"/>
                    </a:lnTo>
                    <a:lnTo>
                      <a:pt x="56" y="58"/>
                    </a:lnTo>
                    <a:lnTo>
                      <a:pt x="61" y="54"/>
                    </a:lnTo>
                    <a:lnTo>
                      <a:pt x="63" y="52"/>
                    </a:lnTo>
                    <a:lnTo>
                      <a:pt x="63" y="56"/>
                    </a:lnTo>
                    <a:lnTo>
                      <a:pt x="64" y="54"/>
                    </a:lnTo>
                    <a:lnTo>
                      <a:pt x="68" y="52"/>
                    </a:lnTo>
                    <a:lnTo>
                      <a:pt x="68" y="49"/>
                    </a:lnTo>
                    <a:lnTo>
                      <a:pt x="66" y="49"/>
                    </a:lnTo>
                    <a:lnTo>
                      <a:pt x="63" y="50"/>
                    </a:lnTo>
                    <a:lnTo>
                      <a:pt x="59" y="45"/>
                    </a:lnTo>
                    <a:lnTo>
                      <a:pt x="59" y="43"/>
                    </a:lnTo>
                    <a:lnTo>
                      <a:pt x="59" y="40"/>
                    </a:lnTo>
                    <a:lnTo>
                      <a:pt x="56" y="33"/>
                    </a:lnTo>
                    <a:lnTo>
                      <a:pt x="52" y="31"/>
                    </a:lnTo>
                    <a:lnTo>
                      <a:pt x="50" y="27"/>
                    </a:lnTo>
                    <a:lnTo>
                      <a:pt x="41" y="18"/>
                    </a:lnTo>
                    <a:lnTo>
                      <a:pt x="41" y="1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02" name="Freeform 1750"/>
              <p:cNvSpPr>
                <a:spLocks/>
              </p:cNvSpPr>
              <p:nvPr/>
            </p:nvSpPr>
            <p:spPr bwMode="auto">
              <a:xfrm>
                <a:off x="1105" y="1132"/>
                <a:ext cx="68" cy="65"/>
              </a:xfrm>
              <a:custGeom>
                <a:avLst/>
                <a:gdLst>
                  <a:gd name="T0" fmla="*/ 38 w 68"/>
                  <a:gd name="T1" fmla="*/ 11 h 65"/>
                  <a:gd name="T2" fmla="*/ 34 w 68"/>
                  <a:gd name="T3" fmla="*/ 11 h 65"/>
                  <a:gd name="T4" fmla="*/ 34 w 68"/>
                  <a:gd name="T5" fmla="*/ 6 h 65"/>
                  <a:gd name="T6" fmla="*/ 31 w 68"/>
                  <a:gd name="T7" fmla="*/ 2 h 65"/>
                  <a:gd name="T8" fmla="*/ 25 w 68"/>
                  <a:gd name="T9" fmla="*/ 0 h 65"/>
                  <a:gd name="T10" fmla="*/ 22 w 68"/>
                  <a:gd name="T11" fmla="*/ 8 h 65"/>
                  <a:gd name="T12" fmla="*/ 20 w 68"/>
                  <a:gd name="T13" fmla="*/ 17 h 65"/>
                  <a:gd name="T14" fmla="*/ 18 w 68"/>
                  <a:gd name="T15" fmla="*/ 17 h 65"/>
                  <a:gd name="T16" fmla="*/ 15 w 68"/>
                  <a:gd name="T17" fmla="*/ 18 h 65"/>
                  <a:gd name="T18" fmla="*/ 15 w 68"/>
                  <a:gd name="T19" fmla="*/ 22 h 65"/>
                  <a:gd name="T20" fmla="*/ 15 w 68"/>
                  <a:gd name="T21" fmla="*/ 29 h 65"/>
                  <a:gd name="T22" fmla="*/ 11 w 68"/>
                  <a:gd name="T23" fmla="*/ 33 h 65"/>
                  <a:gd name="T24" fmla="*/ 2 w 68"/>
                  <a:gd name="T25" fmla="*/ 36 h 65"/>
                  <a:gd name="T26" fmla="*/ 0 w 68"/>
                  <a:gd name="T27" fmla="*/ 42 h 65"/>
                  <a:gd name="T28" fmla="*/ 2 w 68"/>
                  <a:gd name="T29" fmla="*/ 49 h 65"/>
                  <a:gd name="T30" fmla="*/ 6 w 68"/>
                  <a:gd name="T31" fmla="*/ 47 h 65"/>
                  <a:gd name="T32" fmla="*/ 9 w 68"/>
                  <a:gd name="T33" fmla="*/ 45 h 65"/>
                  <a:gd name="T34" fmla="*/ 13 w 68"/>
                  <a:gd name="T35" fmla="*/ 50 h 65"/>
                  <a:gd name="T36" fmla="*/ 16 w 68"/>
                  <a:gd name="T37" fmla="*/ 52 h 65"/>
                  <a:gd name="T38" fmla="*/ 18 w 68"/>
                  <a:gd name="T39" fmla="*/ 49 h 65"/>
                  <a:gd name="T40" fmla="*/ 20 w 68"/>
                  <a:gd name="T41" fmla="*/ 54 h 65"/>
                  <a:gd name="T42" fmla="*/ 25 w 68"/>
                  <a:gd name="T43" fmla="*/ 54 h 65"/>
                  <a:gd name="T44" fmla="*/ 31 w 68"/>
                  <a:gd name="T45" fmla="*/ 59 h 65"/>
                  <a:gd name="T46" fmla="*/ 38 w 68"/>
                  <a:gd name="T47" fmla="*/ 63 h 65"/>
                  <a:gd name="T48" fmla="*/ 40 w 68"/>
                  <a:gd name="T49" fmla="*/ 59 h 65"/>
                  <a:gd name="T50" fmla="*/ 50 w 68"/>
                  <a:gd name="T51" fmla="*/ 65 h 65"/>
                  <a:gd name="T52" fmla="*/ 56 w 68"/>
                  <a:gd name="T53" fmla="*/ 58 h 65"/>
                  <a:gd name="T54" fmla="*/ 63 w 68"/>
                  <a:gd name="T55" fmla="*/ 52 h 65"/>
                  <a:gd name="T56" fmla="*/ 64 w 68"/>
                  <a:gd name="T57" fmla="*/ 54 h 65"/>
                  <a:gd name="T58" fmla="*/ 68 w 68"/>
                  <a:gd name="T59" fmla="*/ 49 h 65"/>
                  <a:gd name="T60" fmla="*/ 63 w 68"/>
                  <a:gd name="T61" fmla="*/ 50 h 65"/>
                  <a:gd name="T62" fmla="*/ 59 w 68"/>
                  <a:gd name="T63" fmla="*/ 43 h 65"/>
                  <a:gd name="T64" fmla="*/ 56 w 68"/>
                  <a:gd name="T65" fmla="*/ 33 h 65"/>
                  <a:gd name="T66" fmla="*/ 50 w 68"/>
                  <a:gd name="T67" fmla="*/ 27 h 65"/>
                  <a:gd name="T68" fmla="*/ 41 w 68"/>
                  <a:gd name="T69" fmla="*/ 17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 h="65">
                    <a:moveTo>
                      <a:pt x="41" y="17"/>
                    </a:moveTo>
                    <a:lnTo>
                      <a:pt x="38" y="11"/>
                    </a:lnTo>
                    <a:lnTo>
                      <a:pt x="36" y="11"/>
                    </a:lnTo>
                    <a:lnTo>
                      <a:pt x="34" y="11"/>
                    </a:lnTo>
                    <a:lnTo>
                      <a:pt x="34" y="8"/>
                    </a:lnTo>
                    <a:lnTo>
                      <a:pt x="34" y="6"/>
                    </a:lnTo>
                    <a:lnTo>
                      <a:pt x="31" y="6"/>
                    </a:lnTo>
                    <a:lnTo>
                      <a:pt x="31" y="2"/>
                    </a:lnTo>
                    <a:lnTo>
                      <a:pt x="27" y="0"/>
                    </a:lnTo>
                    <a:lnTo>
                      <a:pt x="25" y="0"/>
                    </a:lnTo>
                    <a:lnTo>
                      <a:pt x="23" y="4"/>
                    </a:lnTo>
                    <a:lnTo>
                      <a:pt x="22" y="8"/>
                    </a:lnTo>
                    <a:lnTo>
                      <a:pt x="18" y="15"/>
                    </a:lnTo>
                    <a:lnTo>
                      <a:pt x="20" y="17"/>
                    </a:lnTo>
                    <a:lnTo>
                      <a:pt x="20" y="18"/>
                    </a:lnTo>
                    <a:lnTo>
                      <a:pt x="18" y="17"/>
                    </a:lnTo>
                    <a:lnTo>
                      <a:pt x="16" y="17"/>
                    </a:lnTo>
                    <a:lnTo>
                      <a:pt x="15" y="18"/>
                    </a:lnTo>
                    <a:lnTo>
                      <a:pt x="15" y="18"/>
                    </a:lnTo>
                    <a:lnTo>
                      <a:pt x="15" y="22"/>
                    </a:lnTo>
                    <a:lnTo>
                      <a:pt x="16" y="27"/>
                    </a:lnTo>
                    <a:lnTo>
                      <a:pt x="15" y="29"/>
                    </a:lnTo>
                    <a:lnTo>
                      <a:pt x="13" y="33"/>
                    </a:lnTo>
                    <a:lnTo>
                      <a:pt x="11" y="33"/>
                    </a:lnTo>
                    <a:lnTo>
                      <a:pt x="7" y="34"/>
                    </a:lnTo>
                    <a:lnTo>
                      <a:pt x="2" y="36"/>
                    </a:lnTo>
                    <a:lnTo>
                      <a:pt x="0" y="38"/>
                    </a:lnTo>
                    <a:lnTo>
                      <a:pt x="0" y="42"/>
                    </a:lnTo>
                    <a:lnTo>
                      <a:pt x="0" y="45"/>
                    </a:lnTo>
                    <a:lnTo>
                      <a:pt x="2" y="49"/>
                    </a:lnTo>
                    <a:lnTo>
                      <a:pt x="6" y="50"/>
                    </a:lnTo>
                    <a:lnTo>
                      <a:pt x="6" y="47"/>
                    </a:lnTo>
                    <a:lnTo>
                      <a:pt x="7" y="45"/>
                    </a:lnTo>
                    <a:lnTo>
                      <a:pt x="9" y="45"/>
                    </a:lnTo>
                    <a:lnTo>
                      <a:pt x="11" y="47"/>
                    </a:lnTo>
                    <a:lnTo>
                      <a:pt x="13" y="50"/>
                    </a:lnTo>
                    <a:lnTo>
                      <a:pt x="15" y="50"/>
                    </a:lnTo>
                    <a:lnTo>
                      <a:pt x="16" y="52"/>
                    </a:lnTo>
                    <a:lnTo>
                      <a:pt x="16" y="50"/>
                    </a:lnTo>
                    <a:lnTo>
                      <a:pt x="18" y="49"/>
                    </a:lnTo>
                    <a:lnTo>
                      <a:pt x="20" y="50"/>
                    </a:lnTo>
                    <a:lnTo>
                      <a:pt x="20" y="54"/>
                    </a:lnTo>
                    <a:lnTo>
                      <a:pt x="22" y="54"/>
                    </a:lnTo>
                    <a:lnTo>
                      <a:pt x="25" y="54"/>
                    </a:lnTo>
                    <a:lnTo>
                      <a:pt x="29" y="58"/>
                    </a:lnTo>
                    <a:lnTo>
                      <a:pt x="31" y="59"/>
                    </a:lnTo>
                    <a:lnTo>
                      <a:pt x="38" y="61"/>
                    </a:lnTo>
                    <a:lnTo>
                      <a:pt x="38" y="63"/>
                    </a:lnTo>
                    <a:lnTo>
                      <a:pt x="38" y="59"/>
                    </a:lnTo>
                    <a:lnTo>
                      <a:pt x="40" y="59"/>
                    </a:lnTo>
                    <a:lnTo>
                      <a:pt x="48" y="65"/>
                    </a:lnTo>
                    <a:lnTo>
                      <a:pt x="50" y="65"/>
                    </a:lnTo>
                    <a:lnTo>
                      <a:pt x="54" y="58"/>
                    </a:lnTo>
                    <a:lnTo>
                      <a:pt x="56" y="58"/>
                    </a:lnTo>
                    <a:lnTo>
                      <a:pt x="61" y="54"/>
                    </a:lnTo>
                    <a:lnTo>
                      <a:pt x="63" y="52"/>
                    </a:lnTo>
                    <a:lnTo>
                      <a:pt x="63" y="56"/>
                    </a:lnTo>
                    <a:lnTo>
                      <a:pt x="64" y="54"/>
                    </a:lnTo>
                    <a:lnTo>
                      <a:pt x="68" y="52"/>
                    </a:lnTo>
                    <a:lnTo>
                      <a:pt x="68" y="49"/>
                    </a:lnTo>
                    <a:lnTo>
                      <a:pt x="66" y="49"/>
                    </a:lnTo>
                    <a:lnTo>
                      <a:pt x="63" y="50"/>
                    </a:lnTo>
                    <a:lnTo>
                      <a:pt x="59" y="45"/>
                    </a:lnTo>
                    <a:lnTo>
                      <a:pt x="59" y="43"/>
                    </a:lnTo>
                    <a:lnTo>
                      <a:pt x="59" y="40"/>
                    </a:lnTo>
                    <a:lnTo>
                      <a:pt x="56" y="33"/>
                    </a:lnTo>
                    <a:lnTo>
                      <a:pt x="52" y="31"/>
                    </a:lnTo>
                    <a:lnTo>
                      <a:pt x="50" y="27"/>
                    </a:lnTo>
                    <a:lnTo>
                      <a:pt x="41" y="18"/>
                    </a:lnTo>
                    <a:lnTo>
                      <a:pt x="41" y="1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03" name="Freeform 1751"/>
              <p:cNvSpPr>
                <a:spLocks/>
              </p:cNvSpPr>
              <p:nvPr/>
            </p:nvSpPr>
            <p:spPr bwMode="auto">
              <a:xfrm>
                <a:off x="1382" y="1709"/>
                <a:ext cx="21" cy="15"/>
              </a:xfrm>
              <a:custGeom>
                <a:avLst/>
                <a:gdLst>
                  <a:gd name="T0" fmla="*/ 2 w 21"/>
                  <a:gd name="T1" fmla="*/ 2 h 15"/>
                  <a:gd name="T2" fmla="*/ 11 w 21"/>
                  <a:gd name="T3" fmla="*/ 0 h 15"/>
                  <a:gd name="T4" fmla="*/ 14 w 21"/>
                  <a:gd name="T5" fmla="*/ 2 h 15"/>
                  <a:gd name="T6" fmla="*/ 18 w 21"/>
                  <a:gd name="T7" fmla="*/ 2 h 15"/>
                  <a:gd name="T8" fmla="*/ 20 w 21"/>
                  <a:gd name="T9" fmla="*/ 4 h 15"/>
                  <a:gd name="T10" fmla="*/ 20 w 21"/>
                  <a:gd name="T11" fmla="*/ 7 h 15"/>
                  <a:gd name="T12" fmla="*/ 21 w 21"/>
                  <a:gd name="T13" fmla="*/ 9 h 15"/>
                  <a:gd name="T14" fmla="*/ 21 w 21"/>
                  <a:gd name="T15" fmla="*/ 13 h 15"/>
                  <a:gd name="T16" fmla="*/ 21 w 21"/>
                  <a:gd name="T17" fmla="*/ 15 h 15"/>
                  <a:gd name="T18" fmla="*/ 20 w 21"/>
                  <a:gd name="T19" fmla="*/ 13 h 15"/>
                  <a:gd name="T20" fmla="*/ 16 w 21"/>
                  <a:gd name="T21" fmla="*/ 13 h 15"/>
                  <a:gd name="T22" fmla="*/ 11 w 21"/>
                  <a:gd name="T23" fmla="*/ 7 h 15"/>
                  <a:gd name="T24" fmla="*/ 5 w 21"/>
                  <a:gd name="T25" fmla="*/ 7 h 15"/>
                  <a:gd name="T26" fmla="*/ 0 w 21"/>
                  <a:gd name="T27" fmla="*/ 6 h 15"/>
                  <a:gd name="T28" fmla="*/ 2 w 21"/>
                  <a:gd name="T29"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15">
                    <a:moveTo>
                      <a:pt x="2" y="2"/>
                    </a:moveTo>
                    <a:lnTo>
                      <a:pt x="11" y="0"/>
                    </a:lnTo>
                    <a:lnTo>
                      <a:pt x="14" y="2"/>
                    </a:lnTo>
                    <a:lnTo>
                      <a:pt x="18" y="2"/>
                    </a:lnTo>
                    <a:lnTo>
                      <a:pt x="20" y="4"/>
                    </a:lnTo>
                    <a:lnTo>
                      <a:pt x="20" y="7"/>
                    </a:lnTo>
                    <a:lnTo>
                      <a:pt x="21" y="9"/>
                    </a:lnTo>
                    <a:lnTo>
                      <a:pt x="21" y="13"/>
                    </a:lnTo>
                    <a:lnTo>
                      <a:pt x="21" y="15"/>
                    </a:lnTo>
                    <a:lnTo>
                      <a:pt x="20" y="13"/>
                    </a:lnTo>
                    <a:lnTo>
                      <a:pt x="16" y="13"/>
                    </a:lnTo>
                    <a:lnTo>
                      <a:pt x="11" y="7"/>
                    </a:lnTo>
                    <a:lnTo>
                      <a:pt x="5" y="7"/>
                    </a:lnTo>
                    <a:lnTo>
                      <a:pt x="0" y="6"/>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04" name="Freeform 1752"/>
              <p:cNvSpPr>
                <a:spLocks/>
              </p:cNvSpPr>
              <p:nvPr/>
            </p:nvSpPr>
            <p:spPr bwMode="auto">
              <a:xfrm>
                <a:off x="1382" y="1709"/>
                <a:ext cx="21" cy="15"/>
              </a:xfrm>
              <a:custGeom>
                <a:avLst/>
                <a:gdLst>
                  <a:gd name="T0" fmla="*/ 2 w 21"/>
                  <a:gd name="T1" fmla="*/ 2 h 15"/>
                  <a:gd name="T2" fmla="*/ 11 w 21"/>
                  <a:gd name="T3" fmla="*/ 0 h 15"/>
                  <a:gd name="T4" fmla="*/ 14 w 21"/>
                  <a:gd name="T5" fmla="*/ 2 h 15"/>
                  <a:gd name="T6" fmla="*/ 18 w 21"/>
                  <a:gd name="T7" fmla="*/ 2 h 15"/>
                  <a:gd name="T8" fmla="*/ 20 w 21"/>
                  <a:gd name="T9" fmla="*/ 4 h 15"/>
                  <a:gd name="T10" fmla="*/ 20 w 21"/>
                  <a:gd name="T11" fmla="*/ 7 h 15"/>
                  <a:gd name="T12" fmla="*/ 21 w 21"/>
                  <a:gd name="T13" fmla="*/ 9 h 15"/>
                  <a:gd name="T14" fmla="*/ 21 w 21"/>
                  <a:gd name="T15" fmla="*/ 13 h 15"/>
                  <a:gd name="T16" fmla="*/ 21 w 21"/>
                  <a:gd name="T17" fmla="*/ 15 h 15"/>
                  <a:gd name="T18" fmla="*/ 20 w 21"/>
                  <a:gd name="T19" fmla="*/ 13 h 15"/>
                  <a:gd name="T20" fmla="*/ 16 w 21"/>
                  <a:gd name="T21" fmla="*/ 13 h 15"/>
                  <a:gd name="T22" fmla="*/ 11 w 21"/>
                  <a:gd name="T23" fmla="*/ 7 h 15"/>
                  <a:gd name="T24" fmla="*/ 5 w 21"/>
                  <a:gd name="T25" fmla="*/ 7 h 15"/>
                  <a:gd name="T26" fmla="*/ 0 w 21"/>
                  <a:gd name="T27" fmla="*/ 6 h 15"/>
                  <a:gd name="T28" fmla="*/ 2 w 21"/>
                  <a:gd name="T29"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15">
                    <a:moveTo>
                      <a:pt x="2" y="2"/>
                    </a:moveTo>
                    <a:lnTo>
                      <a:pt x="11" y="0"/>
                    </a:lnTo>
                    <a:lnTo>
                      <a:pt x="14" y="2"/>
                    </a:lnTo>
                    <a:lnTo>
                      <a:pt x="18" y="2"/>
                    </a:lnTo>
                    <a:lnTo>
                      <a:pt x="20" y="4"/>
                    </a:lnTo>
                    <a:lnTo>
                      <a:pt x="20" y="7"/>
                    </a:lnTo>
                    <a:lnTo>
                      <a:pt x="21" y="9"/>
                    </a:lnTo>
                    <a:lnTo>
                      <a:pt x="21" y="13"/>
                    </a:lnTo>
                    <a:lnTo>
                      <a:pt x="21" y="15"/>
                    </a:lnTo>
                    <a:lnTo>
                      <a:pt x="20" y="13"/>
                    </a:lnTo>
                    <a:lnTo>
                      <a:pt x="16" y="13"/>
                    </a:lnTo>
                    <a:lnTo>
                      <a:pt x="11" y="7"/>
                    </a:lnTo>
                    <a:lnTo>
                      <a:pt x="5" y="7"/>
                    </a:lnTo>
                    <a:lnTo>
                      <a:pt x="0" y="6"/>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05" name="Freeform 1753"/>
              <p:cNvSpPr>
                <a:spLocks/>
              </p:cNvSpPr>
              <p:nvPr/>
            </p:nvSpPr>
            <p:spPr bwMode="auto">
              <a:xfrm>
                <a:off x="791" y="956"/>
                <a:ext cx="291" cy="239"/>
              </a:xfrm>
              <a:custGeom>
                <a:avLst/>
                <a:gdLst>
                  <a:gd name="T0" fmla="*/ 41 w 291"/>
                  <a:gd name="T1" fmla="*/ 193 h 239"/>
                  <a:gd name="T2" fmla="*/ 105 w 291"/>
                  <a:gd name="T3" fmla="*/ 160 h 239"/>
                  <a:gd name="T4" fmla="*/ 109 w 291"/>
                  <a:gd name="T5" fmla="*/ 150 h 239"/>
                  <a:gd name="T6" fmla="*/ 87 w 291"/>
                  <a:gd name="T7" fmla="*/ 141 h 239"/>
                  <a:gd name="T8" fmla="*/ 46 w 291"/>
                  <a:gd name="T9" fmla="*/ 141 h 239"/>
                  <a:gd name="T10" fmla="*/ 14 w 291"/>
                  <a:gd name="T11" fmla="*/ 126 h 239"/>
                  <a:gd name="T12" fmla="*/ 54 w 291"/>
                  <a:gd name="T13" fmla="*/ 105 h 239"/>
                  <a:gd name="T14" fmla="*/ 39 w 291"/>
                  <a:gd name="T15" fmla="*/ 100 h 239"/>
                  <a:gd name="T16" fmla="*/ 25 w 291"/>
                  <a:gd name="T17" fmla="*/ 100 h 239"/>
                  <a:gd name="T18" fmla="*/ 14 w 291"/>
                  <a:gd name="T19" fmla="*/ 105 h 239"/>
                  <a:gd name="T20" fmla="*/ 12 w 291"/>
                  <a:gd name="T21" fmla="*/ 94 h 239"/>
                  <a:gd name="T22" fmla="*/ 11 w 291"/>
                  <a:gd name="T23" fmla="*/ 64 h 239"/>
                  <a:gd name="T24" fmla="*/ 9 w 291"/>
                  <a:gd name="T25" fmla="*/ 48 h 239"/>
                  <a:gd name="T26" fmla="*/ 73 w 291"/>
                  <a:gd name="T27" fmla="*/ 1 h 239"/>
                  <a:gd name="T28" fmla="*/ 75 w 291"/>
                  <a:gd name="T29" fmla="*/ 32 h 239"/>
                  <a:gd name="T30" fmla="*/ 79 w 291"/>
                  <a:gd name="T31" fmla="*/ 37 h 239"/>
                  <a:gd name="T32" fmla="*/ 87 w 291"/>
                  <a:gd name="T33" fmla="*/ 25 h 239"/>
                  <a:gd name="T34" fmla="*/ 116 w 291"/>
                  <a:gd name="T35" fmla="*/ 30 h 239"/>
                  <a:gd name="T36" fmla="*/ 120 w 291"/>
                  <a:gd name="T37" fmla="*/ 55 h 239"/>
                  <a:gd name="T38" fmla="*/ 129 w 291"/>
                  <a:gd name="T39" fmla="*/ 48 h 239"/>
                  <a:gd name="T40" fmla="*/ 143 w 291"/>
                  <a:gd name="T41" fmla="*/ 44 h 239"/>
                  <a:gd name="T42" fmla="*/ 141 w 291"/>
                  <a:gd name="T43" fmla="*/ 37 h 239"/>
                  <a:gd name="T44" fmla="*/ 137 w 291"/>
                  <a:gd name="T45" fmla="*/ 21 h 239"/>
                  <a:gd name="T46" fmla="*/ 157 w 291"/>
                  <a:gd name="T47" fmla="*/ 34 h 239"/>
                  <a:gd name="T48" fmla="*/ 164 w 291"/>
                  <a:gd name="T49" fmla="*/ 41 h 239"/>
                  <a:gd name="T50" fmla="*/ 171 w 291"/>
                  <a:gd name="T51" fmla="*/ 87 h 239"/>
                  <a:gd name="T52" fmla="*/ 184 w 291"/>
                  <a:gd name="T53" fmla="*/ 80 h 239"/>
                  <a:gd name="T54" fmla="*/ 180 w 291"/>
                  <a:gd name="T55" fmla="*/ 55 h 239"/>
                  <a:gd name="T56" fmla="*/ 175 w 291"/>
                  <a:gd name="T57" fmla="*/ 14 h 239"/>
                  <a:gd name="T58" fmla="*/ 177 w 291"/>
                  <a:gd name="T59" fmla="*/ 3 h 239"/>
                  <a:gd name="T60" fmla="*/ 195 w 291"/>
                  <a:gd name="T61" fmla="*/ 12 h 239"/>
                  <a:gd name="T62" fmla="*/ 200 w 291"/>
                  <a:gd name="T63" fmla="*/ 9 h 239"/>
                  <a:gd name="T64" fmla="*/ 218 w 291"/>
                  <a:gd name="T65" fmla="*/ 28 h 239"/>
                  <a:gd name="T66" fmla="*/ 227 w 291"/>
                  <a:gd name="T67" fmla="*/ 80 h 239"/>
                  <a:gd name="T68" fmla="*/ 232 w 291"/>
                  <a:gd name="T69" fmla="*/ 105 h 239"/>
                  <a:gd name="T70" fmla="*/ 250 w 291"/>
                  <a:gd name="T71" fmla="*/ 141 h 239"/>
                  <a:gd name="T72" fmla="*/ 262 w 291"/>
                  <a:gd name="T73" fmla="*/ 141 h 239"/>
                  <a:gd name="T74" fmla="*/ 282 w 291"/>
                  <a:gd name="T75" fmla="*/ 164 h 239"/>
                  <a:gd name="T76" fmla="*/ 291 w 291"/>
                  <a:gd name="T77" fmla="*/ 175 h 239"/>
                  <a:gd name="T78" fmla="*/ 280 w 291"/>
                  <a:gd name="T79" fmla="*/ 185 h 239"/>
                  <a:gd name="T80" fmla="*/ 273 w 291"/>
                  <a:gd name="T81" fmla="*/ 175 h 239"/>
                  <a:gd name="T82" fmla="*/ 264 w 291"/>
                  <a:gd name="T83" fmla="*/ 185 h 239"/>
                  <a:gd name="T84" fmla="*/ 255 w 291"/>
                  <a:gd name="T85" fmla="*/ 193 h 239"/>
                  <a:gd name="T86" fmla="*/ 271 w 291"/>
                  <a:gd name="T87" fmla="*/ 196 h 239"/>
                  <a:gd name="T88" fmla="*/ 270 w 291"/>
                  <a:gd name="T89" fmla="*/ 205 h 239"/>
                  <a:gd name="T90" fmla="*/ 280 w 291"/>
                  <a:gd name="T91" fmla="*/ 212 h 239"/>
                  <a:gd name="T92" fmla="*/ 268 w 291"/>
                  <a:gd name="T93" fmla="*/ 219 h 239"/>
                  <a:gd name="T94" fmla="*/ 255 w 291"/>
                  <a:gd name="T95" fmla="*/ 225 h 239"/>
                  <a:gd name="T96" fmla="*/ 232 w 291"/>
                  <a:gd name="T97" fmla="*/ 221 h 239"/>
                  <a:gd name="T98" fmla="*/ 216 w 291"/>
                  <a:gd name="T99" fmla="*/ 209 h 239"/>
                  <a:gd name="T100" fmla="*/ 200 w 291"/>
                  <a:gd name="T101" fmla="*/ 194 h 239"/>
                  <a:gd name="T102" fmla="*/ 168 w 291"/>
                  <a:gd name="T103" fmla="*/ 219 h 239"/>
                  <a:gd name="T104" fmla="*/ 137 w 291"/>
                  <a:gd name="T105" fmla="*/ 234 h 239"/>
                  <a:gd name="T106" fmla="*/ 125 w 291"/>
                  <a:gd name="T107" fmla="*/ 237 h 239"/>
                  <a:gd name="T108" fmla="*/ 87 w 291"/>
                  <a:gd name="T109" fmla="*/ 221 h 239"/>
                  <a:gd name="T110" fmla="*/ 82 w 291"/>
                  <a:gd name="T111" fmla="*/ 20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1" h="239">
                    <a:moveTo>
                      <a:pt x="68" y="205"/>
                    </a:moveTo>
                    <a:lnTo>
                      <a:pt x="66" y="207"/>
                    </a:lnTo>
                    <a:lnTo>
                      <a:pt x="61" y="207"/>
                    </a:lnTo>
                    <a:lnTo>
                      <a:pt x="57" y="205"/>
                    </a:lnTo>
                    <a:lnTo>
                      <a:pt x="52" y="203"/>
                    </a:lnTo>
                    <a:lnTo>
                      <a:pt x="41" y="196"/>
                    </a:lnTo>
                    <a:lnTo>
                      <a:pt x="41" y="193"/>
                    </a:lnTo>
                    <a:lnTo>
                      <a:pt x="37" y="193"/>
                    </a:lnTo>
                    <a:lnTo>
                      <a:pt x="36" y="191"/>
                    </a:lnTo>
                    <a:lnTo>
                      <a:pt x="34" y="185"/>
                    </a:lnTo>
                    <a:lnTo>
                      <a:pt x="30" y="182"/>
                    </a:lnTo>
                    <a:lnTo>
                      <a:pt x="27" y="171"/>
                    </a:lnTo>
                    <a:lnTo>
                      <a:pt x="79" y="155"/>
                    </a:lnTo>
                    <a:lnTo>
                      <a:pt x="105" y="160"/>
                    </a:lnTo>
                    <a:lnTo>
                      <a:pt x="109" y="157"/>
                    </a:lnTo>
                    <a:lnTo>
                      <a:pt x="107" y="153"/>
                    </a:lnTo>
                    <a:lnTo>
                      <a:pt x="107" y="153"/>
                    </a:lnTo>
                    <a:lnTo>
                      <a:pt x="109" y="155"/>
                    </a:lnTo>
                    <a:lnTo>
                      <a:pt x="112" y="153"/>
                    </a:lnTo>
                    <a:lnTo>
                      <a:pt x="111" y="151"/>
                    </a:lnTo>
                    <a:lnTo>
                      <a:pt x="109" y="150"/>
                    </a:lnTo>
                    <a:lnTo>
                      <a:pt x="107" y="148"/>
                    </a:lnTo>
                    <a:lnTo>
                      <a:pt x="102" y="148"/>
                    </a:lnTo>
                    <a:lnTo>
                      <a:pt x="100" y="144"/>
                    </a:lnTo>
                    <a:lnTo>
                      <a:pt x="98" y="144"/>
                    </a:lnTo>
                    <a:lnTo>
                      <a:pt x="93" y="143"/>
                    </a:lnTo>
                    <a:lnTo>
                      <a:pt x="91" y="141"/>
                    </a:lnTo>
                    <a:lnTo>
                      <a:pt x="87" y="141"/>
                    </a:lnTo>
                    <a:lnTo>
                      <a:pt x="86" y="141"/>
                    </a:lnTo>
                    <a:lnTo>
                      <a:pt x="82" y="139"/>
                    </a:lnTo>
                    <a:lnTo>
                      <a:pt x="57" y="146"/>
                    </a:lnTo>
                    <a:lnTo>
                      <a:pt x="55" y="144"/>
                    </a:lnTo>
                    <a:lnTo>
                      <a:pt x="50" y="144"/>
                    </a:lnTo>
                    <a:lnTo>
                      <a:pt x="48" y="143"/>
                    </a:lnTo>
                    <a:lnTo>
                      <a:pt x="46" y="141"/>
                    </a:lnTo>
                    <a:lnTo>
                      <a:pt x="36" y="143"/>
                    </a:lnTo>
                    <a:lnTo>
                      <a:pt x="30" y="141"/>
                    </a:lnTo>
                    <a:lnTo>
                      <a:pt x="25" y="141"/>
                    </a:lnTo>
                    <a:lnTo>
                      <a:pt x="25" y="139"/>
                    </a:lnTo>
                    <a:lnTo>
                      <a:pt x="25" y="139"/>
                    </a:lnTo>
                    <a:lnTo>
                      <a:pt x="20" y="137"/>
                    </a:lnTo>
                    <a:lnTo>
                      <a:pt x="14" y="126"/>
                    </a:lnTo>
                    <a:lnTo>
                      <a:pt x="12" y="123"/>
                    </a:lnTo>
                    <a:lnTo>
                      <a:pt x="18" y="116"/>
                    </a:lnTo>
                    <a:lnTo>
                      <a:pt x="48" y="105"/>
                    </a:lnTo>
                    <a:lnTo>
                      <a:pt x="46" y="107"/>
                    </a:lnTo>
                    <a:lnTo>
                      <a:pt x="48" y="107"/>
                    </a:lnTo>
                    <a:lnTo>
                      <a:pt x="52" y="107"/>
                    </a:lnTo>
                    <a:lnTo>
                      <a:pt x="54" y="105"/>
                    </a:lnTo>
                    <a:lnTo>
                      <a:pt x="54" y="103"/>
                    </a:lnTo>
                    <a:lnTo>
                      <a:pt x="48" y="103"/>
                    </a:lnTo>
                    <a:lnTo>
                      <a:pt x="52" y="100"/>
                    </a:lnTo>
                    <a:lnTo>
                      <a:pt x="55" y="100"/>
                    </a:lnTo>
                    <a:lnTo>
                      <a:pt x="57" y="98"/>
                    </a:lnTo>
                    <a:lnTo>
                      <a:pt x="57" y="96"/>
                    </a:lnTo>
                    <a:lnTo>
                      <a:pt x="39" y="100"/>
                    </a:lnTo>
                    <a:lnTo>
                      <a:pt x="36" y="101"/>
                    </a:lnTo>
                    <a:lnTo>
                      <a:pt x="32" y="101"/>
                    </a:lnTo>
                    <a:lnTo>
                      <a:pt x="30" y="103"/>
                    </a:lnTo>
                    <a:lnTo>
                      <a:pt x="29" y="103"/>
                    </a:lnTo>
                    <a:lnTo>
                      <a:pt x="27" y="101"/>
                    </a:lnTo>
                    <a:lnTo>
                      <a:pt x="27" y="101"/>
                    </a:lnTo>
                    <a:lnTo>
                      <a:pt x="25" y="100"/>
                    </a:lnTo>
                    <a:lnTo>
                      <a:pt x="23" y="101"/>
                    </a:lnTo>
                    <a:lnTo>
                      <a:pt x="25" y="101"/>
                    </a:lnTo>
                    <a:lnTo>
                      <a:pt x="25" y="103"/>
                    </a:lnTo>
                    <a:lnTo>
                      <a:pt x="20" y="103"/>
                    </a:lnTo>
                    <a:lnTo>
                      <a:pt x="20" y="105"/>
                    </a:lnTo>
                    <a:lnTo>
                      <a:pt x="16" y="105"/>
                    </a:lnTo>
                    <a:lnTo>
                      <a:pt x="14" y="105"/>
                    </a:lnTo>
                    <a:lnTo>
                      <a:pt x="12" y="101"/>
                    </a:lnTo>
                    <a:lnTo>
                      <a:pt x="14" y="100"/>
                    </a:lnTo>
                    <a:lnTo>
                      <a:pt x="16" y="98"/>
                    </a:lnTo>
                    <a:lnTo>
                      <a:pt x="21" y="98"/>
                    </a:lnTo>
                    <a:lnTo>
                      <a:pt x="20" y="91"/>
                    </a:lnTo>
                    <a:lnTo>
                      <a:pt x="16" y="93"/>
                    </a:lnTo>
                    <a:lnTo>
                      <a:pt x="12" y="94"/>
                    </a:lnTo>
                    <a:lnTo>
                      <a:pt x="11" y="94"/>
                    </a:lnTo>
                    <a:lnTo>
                      <a:pt x="11" y="91"/>
                    </a:lnTo>
                    <a:lnTo>
                      <a:pt x="9" y="91"/>
                    </a:lnTo>
                    <a:lnTo>
                      <a:pt x="2" y="93"/>
                    </a:lnTo>
                    <a:lnTo>
                      <a:pt x="0" y="80"/>
                    </a:lnTo>
                    <a:lnTo>
                      <a:pt x="2" y="75"/>
                    </a:lnTo>
                    <a:lnTo>
                      <a:pt x="11" y="64"/>
                    </a:lnTo>
                    <a:lnTo>
                      <a:pt x="16" y="62"/>
                    </a:lnTo>
                    <a:lnTo>
                      <a:pt x="16" y="59"/>
                    </a:lnTo>
                    <a:lnTo>
                      <a:pt x="16" y="57"/>
                    </a:lnTo>
                    <a:lnTo>
                      <a:pt x="14" y="55"/>
                    </a:lnTo>
                    <a:lnTo>
                      <a:pt x="11" y="55"/>
                    </a:lnTo>
                    <a:lnTo>
                      <a:pt x="9" y="53"/>
                    </a:lnTo>
                    <a:lnTo>
                      <a:pt x="9" y="48"/>
                    </a:lnTo>
                    <a:lnTo>
                      <a:pt x="11" y="44"/>
                    </a:lnTo>
                    <a:lnTo>
                      <a:pt x="37" y="18"/>
                    </a:lnTo>
                    <a:lnTo>
                      <a:pt x="41" y="18"/>
                    </a:lnTo>
                    <a:lnTo>
                      <a:pt x="43" y="14"/>
                    </a:lnTo>
                    <a:lnTo>
                      <a:pt x="48" y="12"/>
                    </a:lnTo>
                    <a:lnTo>
                      <a:pt x="70" y="0"/>
                    </a:lnTo>
                    <a:lnTo>
                      <a:pt x="73" y="1"/>
                    </a:lnTo>
                    <a:lnTo>
                      <a:pt x="75" y="3"/>
                    </a:lnTo>
                    <a:lnTo>
                      <a:pt x="77" y="5"/>
                    </a:lnTo>
                    <a:lnTo>
                      <a:pt x="77" y="7"/>
                    </a:lnTo>
                    <a:lnTo>
                      <a:pt x="79" y="9"/>
                    </a:lnTo>
                    <a:lnTo>
                      <a:pt x="80" y="28"/>
                    </a:lnTo>
                    <a:lnTo>
                      <a:pt x="77" y="30"/>
                    </a:lnTo>
                    <a:lnTo>
                      <a:pt x="75" y="32"/>
                    </a:lnTo>
                    <a:lnTo>
                      <a:pt x="75" y="35"/>
                    </a:lnTo>
                    <a:lnTo>
                      <a:pt x="75" y="35"/>
                    </a:lnTo>
                    <a:lnTo>
                      <a:pt x="73" y="37"/>
                    </a:lnTo>
                    <a:lnTo>
                      <a:pt x="70" y="39"/>
                    </a:lnTo>
                    <a:lnTo>
                      <a:pt x="70" y="41"/>
                    </a:lnTo>
                    <a:lnTo>
                      <a:pt x="71" y="43"/>
                    </a:lnTo>
                    <a:lnTo>
                      <a:pt x="79" y="37"/>
                    </a:lnTo>
                    <a:lnTo>
                      <a:pt x="80" y="37"/>
                    </a:lnTo>
                    <a:lnTo>
                      <a:pt x="82" y="41"/>
                    </a:lnTo>
                    <a:lnTo>
                      <a:pt x="87" y="37"/>
                    </a:lnTo>
                    <a:lnTo>
                      <a:pt x="87" y="34"/>
                    </a:lnTo>
                    <a:lnTo>
                      <a:pt x="86" y="32"/>
                    </a:lnTo>
                    <a:lnTo>
                      <a:pt x="86" y="28"/>
                    </a:lnTo>
                    <a:lnTo>
                      <a:pt x="87" y="25"/>
                    </a:lnTo>
                    <a:lnTo>
                      <a:pt x="91" y="23"/>
                    </a:lnTo>
                    <a:lnTo>
                      <a:pt x="91" y="21"/>
                    </a:lnTo>
                    <a:lnTo>
                      <a:pt x="93" y="19"/>
                    </a:lnTo>
                    <a:lnTo>
                      <a:pt x="96" y="19"/>
                    </a:lnTo>
                    <a:lnTo>
                      <a:pt x="104" y="25"/>
                    </a:lnTo>
                    <a:lnTo>
                      <a:pt x="114" y="26"/>
                    </a:lnTo>
                    <a:lnTo>
                      <a:pt x="116" y="30"/>
                    </a:lnTo>
                    <a:lnTo>
                      <a:pt x="120" y="32"/>
                    </a:lnTo>
                    <a:lnTo>
                      <a:pt x="121" y="34"/>
                    </a:lnTo>
                    <a:lnTo>
                      <a:pt x="125" y="37"/>
                    </a:lnTo>
                    <a:lnTo>
                      <a:pt x="125" y="43"/>
                    </a:lnTo>
                    <a:lnTo>
                      <a:pt x="114" y="55"/>
                    </a:lnTo>
                    <a:lnTo>
                      <a:pt x="114" y="57"/>
                    </a:lnTo>
                    <a:lnTo>
                      <a:pt x="120" y="55"/>
                    </a:lnTo>
                    <a:lnTo>
                      <a:pt x="121" y="51"/>
                    </a:lnTo>
                    <a:lnTo>
                      <a:pt x="125" y="50"/>
                    </a:lnTo>
                    <a:lnTo>
                      <a:pt x="125" y="51"/>
                    </a:lnTo>
                    <a:lnTo>
                      <a:pt x="123" y="55"/>
                    </a:lnTo>
                    <a:lnTo>
                      <a:pt x="127" y="57"/>
                    </a:lnTo>
                    <a:lnTo>
                      <a:pt x="127" y="55"/>
                    </a:lnTo>
                    <a:lnTo>
                      <a:pt x="129" y="48"/>
                    </a:lnTo>
                    <a:lnTo>
                      <a:pt x="130" y="46"/>
                    </a:lnTo>
                    <a:lnTo>
                      <a:pt x="132" y="44"/>
                    </a:lnTo>
                    <a:lnTo>
                      <a:pt x="136" y="44"/>
                    </a:lnTo>
                    <a:lnTo>
                      <a:pt x="137" y="43"/>
                    </a:lnTo>
                    <a:lnTo>
                      <a:pt x="143" y="48"/>
                    </a:lnTo>
                    <a:lnTo>
                      <a:pt x="143" y="46"/>
                    </a:lnTo>
                    <a:lnTo>
                      <a:pt x="143" y="44"/>
                    </a:lnTo>
                    <a:lnTo>
                      <a:pt x="141" y="43"/>
                    </a:lnTo>
                    <a:lnTo>
                      <a:pt x="143" y="43"/>
                    </a:lnTo>
                    <a:lnTo>
                      <a:pt x="145" y="44"/>
                    </a:lnTo>
                    <a:lnTo>
                      <a:pt x="146" y="44"/>
                    </a:lnTo>
                    <a:lnTo>
                      <a:pt x="145" y="41"/>
                    </a:lnTo>
                    <a:lnTo>
                      <a:pt x="141" y="39"/>
                    </a:lnTo>
                    <a:lnTo>
                      <a:pt x="141" y="37"/>
                    </a:lnTo>
                    <a:lnTo>
                      <a:pt x="143" y="35"/>
                    </a:lnTo>
                    <a:lnTo>
                      <a:pt x="146" y="39"/>
                    </a:lnTo>
                    <a:lnTo>
                      <a:pt x="146" y="37"/>
                    </a:lnTo>
                    <a:lnTo>
                      <a:pt x="143" y="30"/>
                    </a:lnTo>
                    <a:lnTo>
                      <a:pt x="141" y="30"/>
                    </a:lnTo>
                    <a:lnTo>
                      <a:pt x="137" y="23"/>
                    </a:lnTo>
                    <a:lnTo>
                      <a:pt x="137" y="21"/>
                    </a:lnTo>
                    <a:lnTo>
                      <a:pt x="139" y="19"/>
                    </a:lnTo>
                    <a:lnTo>
                      <a:pt x="148" y="23"/>
                    </a:lnTo>
                    <a:lnTo>
                      <a:pt x="148" y="26"/>
                    </a:lnTo>
                    <a:lnTo>
                      <a:pt x="152" y="26"/>
                    </a:lnTo>
                    <a:lnTo>
                      <a:pt x="152" y="28"/>
                    </a:lnTo>
                    <a:lnTo>
                      <a:pt x="154" y="32"/>
                    </a:lnTo>
                    <a:lnTo>
                      <a:pt x="157" y="34"/>
                    </a:lnTo>
                    <a:lnTo>
                      <a:pt x="157" y="32"/>
                    </a:lnTo>
                    <a:lnTo>
                      <a:pt x="159" y="35"/>
                    </a:lnTo>
                    <a:lnTo>
                      <a:pt x="159" y="35"/>
                    </a:lnTo>
                    <a:lnTo>
                      <a:pt x="162" y="37"/>
                    </a:lnTo>
                    <a:lnTo>
                      <a:pt x="162" y="39"/>
                    </a:lnTo>
                    <a:lnTo>
                      <a:pt x="161" y="41"/>
                    </a:lnTo>
                    <a:lnTo>
                      <a:pt x="164" y="41"/>
                    </a:lnTo>
                    <a:lnTo>
                      <a:pt x="166" y="46"/>
                    </a:lnTo>
                    <a:lnTo>
                      <a:pt x="166" y="59"/>
                    </a:lnTo>
                    <a:lnTo>
                      <a:pt x="168" y="62"/>
                    </a:lnTo>
                    <a:lnTo>
                      <a:pt x="170" y="71"/>
                    </a:lnTo>
                    <a:lnTo>
                      <a:pt x="173" y="76"/>
                    </a:lnTo>
                    <a:lnTo>
                      <a:pt x="171" y="80"/>
                    </a:lnTo>
                    <a:lnTo>
                      <a:pt x="171" y="87"/>
                    </a:lnTo>
                    <a:lnTo>
                      <a:pt x="173" y="87"/>
                    </a:lnTo>
                    <a:lnTo>
                      <a:pt x="175" y="91"/>
                    </a:lnTo>
                    <a:lnTo>
                      <a:pt x="177" y="91"/>
                    </a:lnTo>
                    <a:lnTo>
                      <a:pt x="179" y="89"/>
                    </a:lnTo>
                    <a:lnTo>
                      <a:pt x="182" y="87"/>
                    </a:lnTo>
                    <a:lnTo>
                      <a:pt x="184" y="84"/>
                    </a:lnTo>
                    <a:lnTo>
                      <a:pt x="184" y="80"/>
                    </a:lnTo>
                    <a:lnTo>
                      <a:pt x="187" y="80"/>
                    </a:lnTo>
                    <a:lnTo>
                      <a:pt x="187" y="78"/>
                    </a:lnTo>
                    <a:lnTo>
                      <a:pt x="184" y="73"/>
                    </a:lnTo>
                    <a:lnTo>
                      <a:pt x="182" y="69"/>
                    </a:lnTo>
                    <a:lnTo>
                      <a:pt x="182" y="66"/>
                    </a:lnTo>
                    <a:lnTo>
                      <a:pt x="182" y="64"/>
                    </a:lnTo>
                    <a:lnTo>
                      <a:pt x="180" y="55"/>
                    </a:lnTo>
                    <a:lnTo>
                      <a:pt x="180" y="55"/>
                    </a:lnTo>
                    <a:lnTo>
                      <a:pt x="180" y="50"/>
                    </a:lnTo>
                    <a:lnTo>
                      <a:pt x="179" y="48"/>
                    </a:lnTo>
                    <a:lnTo>
                      <a:pt x="173" y="19"/>
                    </a:lnTo>
                    <a:lnTo>
                      <a:pt x="175" y="19"/>
                    </a:lnTo>
                    <a:lnTo>
                      <a:pt x="175" y="16"/>
                    </a:lnTo>
                    <a:lnTo>
                      <a:pt x="175" y="14"/>
                    </a:lnTo>
                    <a:lnTo>
                      <a:pt x="173" y="12"/>
                    </a:lnTo>
                    <a:lnTo>
                      <a:pt x="175" y="10"/>
                    </a:lnTo>
                    <a:lnTo>
                      <a:pt x="177" y="10"/>
                    </a:lnTo>
                    <a:lnTo>
                      <a:pt x="179" y="9"/>
                    </a:lnTo>
                    <a:lnTo>
                      <a:pt x="175" y="5"/>
                    </a:lnTo>
                    <a:lnTo>
                      <a:pt x="175" y="3"/>
                    </a:lnTo>
                    <a:lnTo>
                      <a:pt x="177" y="3"/>
                    </a:lnTo>
                    <a:lnTo>
                      <a:pt x="177" y="1"/>
                    </a:lnTo>
                    <a:lnTo>
                      <a:pt x="179" y="1"/>
                    </a:lnTo>
                    <a:lnTo>
                      <a:pt x="184" y="3"/>
                    </a:lnTo>
                    <a:lnTo>
                      <a:pt x="184" y="5"/>
                    </a:lnTo>
                    <a:lnTo>
                      <a:pt x="189" y="10"/>
                    </a:lnTo>
                    <a:lnTo>
                      <a:pt x="195" y="12"/>
                    </a:lnTo>
                    <a:lnTo>
                      <a:pt x="195" y="12"/>
                    </a:lnTo>
                    <a:lnTo>
                      <a:pt x="195" y="9"/>
                    </a:lnTo>
                    <a:lnTo>
                      <a:pt x="195" y="9"/>
                    </a:lnTo>
                    <a:lnTo>
                      <a:pt x="193" y="5"/>
                    </a:lnTo>
                    <a:lnTo>
                      <a:pt x="195" y="5"/>
                    </a:lnTo>
                    <a:lnTo>
                      <a:pt x="198" y="5"/>
                    </a:lnTo>
                    <a:lnTo>
                      <a:pt x="198" y="7"/>
                    </a:lnTo>
                    <a:lnTo>
                      <a:pt x="200" y="9"/>
                    </a:lnTo>
                    <a:lnTo>
                      <a:pt x="202" y="14"/>
                    </a:lnTo>
                    <a:lnTo>
                      <a:pt x="204" y="16"/>
                    </a:lnTo>
                    <a:lnTo>
                      <a:pt x="211" y="19"/>
                    </a:lnTo>
                    <a:lnTo>
                      <a:pt x="211" y="21"/>
                    </a:lnTo>
                    <a:lnTo>
                      <a:pt x="214" y="25"/>
                    </a:lnTo>
                    <a:lnTo>
                      <a:pt x="216" y="26"/>
                    </a:lnTo>
                    <a:lnTo>
                      <a:pt x="218" y="28"/>
                    </a:lnTo>
                    <a:lnTo>
                      <a:pt x="220" y="30"/>
                    </a:lnTo>
                    <a:lnTo>
                      <a:pt x="220" y="32"/>
                    </a:lnTo>
                    <a:lnTo>
                      <a:pt x="218" y="35"/>
                    </a:lnTo>
                    <a:lnTo>
                      <a:pt x="220" y="35"/>
                    </a:lnTo>
                    <a:lnTo>
                      <a:pt x="225" y="73"/>
                    </a:lnTo>
                    <a:lnTo>
                      <a:pt x="225" y="73"/>
                    </a:lnTo>
                    <a:lnTo>
                      <a:pt x="227" y="80"/>
                    </a:lnTo>
                    <a:lnTo>
                      <a:pt x="234" y="89"/>
                    </a:lnTo>
                    <a:lnTo>
                      <a:pt x="236" y="94"/>
                    </a:lnTo>
                    <a:lnTo>
                      <a:pt x="234" y="96"/>
                    </a:lnTo>
                    <a:lnTo>
                      <a:pt x="236" y="98"/>
                    </a:lnTo>
                    <a:lnTo>
                      <a:pt x="236" y="103"/>
                    </a:lnTo>
                    <a:lnTo>
                      <a:pt x="236" y="103"/>
                    </a:lnTo>
                    <a:lnTo>
                      <a:pt x="232" y="105"/>
                    </a:lnTo>
                    <a:lnTo>
                      <a:pt x="234" y="112"/>
                    </a:lnTo>
                    <a:lnTo>
                      <a:pt x="232" y="116"/>
                    </a:lnTo>
                    <a:lnTo>
                      <a:pt x="234" y="119"/>
                    </a:lnTo>
                    <a:lnTo>
                      <a:pt x="237" y="123"/>
                    </a:lnTo>
                    <a:lnTo>
                      <a:pt x="243" y="134"/>
                    </a:lnTo>
                    <a:lnTo>
                      <a:pt x="248" y="135"/>
                    </a:lnTo>
                    <a:lnTo>
                      <a:pt x="250" y="141"/>
                    </a:lnTo>
                    <a:lnTo>
                      <a:pt x="252" y="141"/>
                    </a:lnTo>
                    <a:lnTo>
                      <a:pt x="254" y="143"/>
                    </a:lnTo>
                    <a:lnTo>
                      <a:pt x="255" y="144"/>
                    </a:lnTo>
                    <a:lnTo>
                      <a:pt x="257" y="143"/>
                    </a:lnTo>
                    <a:lnTo>
                      <a:pt x="257" y="141"/>
                    </a:lnTo>
                    <a:lnTo>
                      <a:pt x="259" y="139"/>
                    </a:lnTo>
                    <a:lnTo>
                      <a:pt x="262" y="141"/>
                    </a:lnTo>
                    <a:lnTo>
                      <a:pt x="264" y="143"/>
                    </a:lnTo>
                    <a:lnTo>
                      <a:pt x="262" y="144"/>
                    </a:lnTo>
                    <a:lnTo>
                      <a:pt x="277" y="157"/>
                    </a:lnTo>
                    <a:lnTo>
                      <a:pt x="280" y="157"/>
                    </a:lnTo>
                    <a:lnTo>
                      <a:pt x="282" y="159"/>
                    </a:lnTo>
                    <a:lnTo>
                      <a:pt x="280" y="162"/>
                    </a:lnTo>
                    <a:lnTo>
                      <a:pt x="282" y="164"/>
                    </a:lnTo>
                    <a:lnTo>
                      <a:pt x="284" y="164"/>
                    </a:lnTo>
                    <a:lnTo>
                      <a:pt x="286" y="164"/>
                    </a:lnTo>
                    <a:lnTo>
                      <a:pt x="287" y="164"/>
                    </a:lnTo>
                    <a:lnTo>
                      <a:pt x="289" y="164"/>
                    </a:lnTo>
                    <a:lnTo>
                      <a:pt x="291" y="164"/>
                    </a:lnTo>
                    <a:lnTo>
                      <a:pt x="291" y="171"/>
                    </a:lnTo>
                    <a:lnTo>
                      <a:pt x="291" y="175"/>
                    </a:lnTo>
                    <a:lnTo>
                      <a:pt x="291" y="182"/>
                    </a:lnTo>
                    <a:lnTo>
                      <a:pt x="289" y="185"/>
                    </a:lnTo>
                    <a:lnTo>
                      <a:pt x="287" y="187"/>
                    </a:lnTo>
                    <a:lnTo>
                      <a:pt x="286" y="185"/>
                    </a:lnTo>
                    <a:lnTo>
                      <a:pt x="282" y="180"/>
                    </a:lnTo>
                    <a:lnTo>
                      <a:pt x="282" y="175"/>
                    </a:lnTo>
                    <a:lnTo>
                      <a:pt x="280" y="185"/>
                    </a:lnTo>
                    <a:lnTo>
                      <a:pt x="279" y="187"/>
                    </a:lnTo>
                    <a:lnTo>
                      <a:pt x="279" y="184"/>
                    </a:lnTo>
                    <a:lnTo>
                      <a:pt x="277" y="184"/>
                    </a:lnTo>
                    <a:lnTo>
                      <a:pt x="275" y="185"/>
                    </a:lnTo>
                    <a:lnTo>
                      <a:pt x="275" y="182"/>
                    </a:lnTo>
                    <a:lnTo>
                      <a:pt x="273" y="178"/>
                    </a:lnTo>
                    <a:lnTo>
                      <a:pt x="273" y="175"/>
                    </a:lnTo>
                    <a:lnTo>
                      <a:pt x="271" y="176"/>
                    </a:lnTo>
                    <a:lnTo>
                      <a:pt x="270" y="176"/>
                    </a:lnTo>
                    <a:lnTo>
                      <a:pt x="270" y="176"/>
                    </a:lnTo>
                    <a:lnTo>
                      <a:pt x="268" y="180"/>
                    </a:lnTo>
                    <a:lnTo>
                      <a:pt x="268" y="180"/>
                    </a:lnTo>
                    <a:lnTo>
                      <a:pt x="264" y="184"/>
                    </a:lnTo>
                    <a:lnTo>
                      <a:pt x="264" y="185"/>
                    </a:lnTo>
                    <a:lnTo>
                      <a:pt x="264" y="185"/>
                    </a:lnTo>
                    <a:lnTo>
                      <a:pt x="266" y="193"/>
                    </a:lnTo>
                    <a:lnTo>
                      <a:pt x="262" y="193"/>
                    </a:lnTo>
                    <a:lnTo>
                      <a:pt x="261" y="191"/>
                    </a:lnTo>
                    <a:lnTo>
                      <a:pt x="257" y="191"/>
                    </a:lnTo>
                    <a:lnTo>
                      <a:pt x="255" y="191"/>
                    </a:lnTo>
                    <a:lnTo>
                      <a:pt x="255" y="193"/>
                    </a:lnTo>
                    <a:lnTo>
                      <a:pt x="257" y="198"/>
                    </a:lnTo>
                    <a:lnTo>
                      <a:pt x="257" y="205"/>
                    </a:lnTo>
                    <a:lnTo>
                      <a:pt x="259" y="200"/>
                    </a:lnTo>
                    <a:lnTo>
                      <a:pt x="264" y="196"/>
                    </a:lnTo>
                    <a:lnTo>
                      <a:pt x="264" y="194"/>
                    </a:lnTo>
                    <a:lnTo>
                      <a:pt x="271" y="194"/>
                    </a:lnTo>
                    <a:lnTo>
                      <a:pt x="271" y="196"/>
                    </a:lnTo>
                    <a:lnTo>
                      <a:pt x="275" y="196"/>
                    </a:lnTo>
                    <a:lnTo>
                      <a:pt x="273" y="198"/>
                    </a:lnTo>
                    <a:lnTo>
                      <a:pt x="273" y="200"/>
                    </a:lnTo>
                    <a:lnTo>
                      <a:pt x="271" y="201"/>
                    </a:lnTo>
                    <a:lnTo>
                      <a:pt x="271" y="203"/>
                    </a:lnTo>
                    <a:lnTo>
                      <a:pt x="270" y="203"/>
                    </a:lnTo>
                    <a:lnTo>
                      <a:pt x="270" y="205"/>
                    </a:lnTo>
                    <a:lnTo>
                      <a:pt x="271" y="207"/>
                    </a:lnTo>
                    <a:lnTo>
                      <a:pt x="273" y="209"/>
                    </a:lnTo>
                    <a:lnTo>
                      <a:pt x="273" y="205"/>
                    </a:lnTo>
                    <a:lnTo>
                      <a:pt x="277" y="207"/>
                    </a:lnTo>
                    <a:lnTo>
                      <a:pt x="280" y="207"/>
                    </a:lnTo>
                    <a:lnTo>
                      <a:pt x="280" y="210"/>
                    </a:lnTo>
                    <a:lnTo>
                      <a:pt x="280" y="212"/>
                    </a:lnTo>
                    <a:lnTo>
                      <a:pt x="279" y="212"/>
                    </a:lnTo>
                    <a:lnTo>
                      <a:pt x="279" y="212"/>
                    </a:lnTo>
                    <a:lnTo>
                      <a:pt x="277" y="214"/>
                    </a:lnTo>
                    <a:lnTo>
                      <a:pt x="275" y="216"/>
                    </a:lnTo>
                    <a:lnTo>
                      <a:pt x="275" y="218"/>
                    </a:lnTo>
                    <a:lnTo>
                      <a:pt x="273" y="218"/>
                    </a:lnTo>
                    <a:lnTo>
                      <a:pt x="268" y="219"/>
                    </a:lnTo>
                    <a:lnTo>
                      <a:pt x="268" y="223"/>
                    </a:lnTo>
                    <a:lnTo>
                      <a:pt x="262" y="223"/>
                    </a:lnTo>
                    <a:lnTo>
                      <a:pt x="261" y="221"/>
                    </a:lnTo>
                    <a:lnTo>
                      <a:pt x="261" y="225"/>
                    </a:lnTo>
                    <a:lnTo>
                      <a:pt x="259" y="225"/>
                    </a:lnTo>
                    <a:lnTo>
                      <a:pt x="259" y="226"/>
                    </a:lnTo>
                    <a:lnTo>
                      <a:pt x="255" y="225"/>
                    </a:lnTo>
                    <a:lnTo>
                      <a:pt x="252" y="226"/>
                    </a:lnTo>
                    <a:lnTo>
                      <a:pt x="245" y="225"/>
                    </a:lnTo>
                    <a:lnTo>
                      <a:pt x="243" y="223"/>
                    </a:lnTo>
                    <a:lnTo>
                      <a:pt x="237" y="221"/>
                    </a:lnTo>
                    <a:lnTo>
                      <a:pt x="236" y="219"/>
                    </a:lnTo>
                    <a:lnTo>
                      <a:pt x="234" y="219"/>
                    </a:lnTo>
                    <a:lnTo>
                      <a:pt x="232" y="221"/>
                    </a:lnTo>
                    <a:lnTo>
                      <a:pt x="221" y="219"/>
                    </a:lnTo>
                    <a:lnTo>
                      <a:pt x="221" y="218"/>
                    </a:lnTo>
                    <a:lnTo>
                      <a:pt x="227" y="212"/>
                    </a:lnTo>
                    <a:lnTo>
                      <a:pt x="225" y="210"/>
                    </a:lnTo>
                    <a:lnTo>
                      <a:pt x="221" y="212"/>
                    </a:lnTo>
                    <a:lnTo>
                      <a:pt x="218" y="210"/>
                    </a:lnTo>
                    <a:lnTo>
                      <a:pt x="216" y="209"/>
                    </a:lnTo>
                    <a:lnTo>
                      <a:pt x="212" y="209"/>
                    </a:lnTo>
                    <a:lnTo>
                      <a:pt x="211" y="209"/>
                    </a:lnTo>
                    <a:lnTo>
                      <a:pt x="204" y="207"/>
                    </a:lnTo>
                    <a:lnTo>
                      <a:pt x="204" y="205"/>
                    </a:lnTo>
                    <a:lnTo>
                      <a:pt x="205" y="203"/>
                    </a:lnTo>
                    <a:lnTo>
                      <a:pt x="202" y="194"/>
                    </a:lnTo>
                    <a:lnTo>
                      <a:pt x="200" y="194"/>
                    </a:lnTo>
                    <a:lnTo>
                      <a:pt x="196" y="198"/>
                    </a:lnTo>
                    <a:lnTo>
                      <a:pt x="193" y="200"/>
                    </a:lnTo>
                    <a:lnTo>
                      <a:pt x="195" y="205"/>
                    </a:lnTo>
                    <a:lnTo>
                      <a:pt x="195" y="207"/>
                    </a:lnTo>
                    <a:lnTo>
                      <a:pt x="191" y="210"/>
                    </a:lnTo>
                    <a:lnTo>
                      <a:pt x="187" y="218"/>
                    </a:lnTo>
                    <a:lnTo>
                      <a:pt x="168" y="219"/>
                    </a:lnTo>
                    <a:lnTo>
                      <a:pt x="170" y="219"/>
                    </a:lnTo>
                    <a:lnTo>
                      <a:pt x="166" y="225"/>
                    </a:lnTo>
                    <a:lnTo>
                      <a:pt x="152" y="232"/>
                    </a:lnTo>
                    <a:lnTo>
                      <a:pt x="146" y="234"/>
                    </a:lnTo>
                    <a:lnTo>
                      <a:pt x="145" y="232"/>
                    </a:lnTo>
                    <a:lnTo>
                      <a:pt x="141" y="234"/>
                    </a:lnTo>
                    <a:lnTo>
                      <a:pt x="137" y="234"/>
                    </a:lnTo>
                    <a:lnTo>
                      <a:pt x="134" y="235"/>
                    </a:lnTo>
                    <a:lnTo>
                      <a:pt x="134" y="232"/>
                    </a:lnTo>
                    <a:lnTo>
                      <a:pt x="129" y="235"/>
                    </a:lnTo>
                    <a:lnTo>
                      <a:pt x="125" y="235"/>
                    </a:lnTo>
                    <a:lnTo>
                      <a:pt x="123" y="235"/>
                    </a:lnTo>
                    <a:lnTo>
                      <a:pt x="127" y="235"/>
                    </a:lnTo>
                    <a:lnTo>
                      <a:pt x="125" y="237"/>
                    </a:lnTo>
                    <a:lnTo>
                      <a:pt x="114" y="239"/>
                    </a:lnTo>
                    <a:lnTo>
                      <a:pt x="112" y="239"/>
                    </a:lnTo>
                    <a:lnTo>
                      <a:pt x="93" y="239"/>
                    </a:lnTo>
                    <a:lnTo>
                      <a:pt x="95" y="239"/>
                    </a:lnTo>
                    <a:lnTo>
                      <a:pt x="96" y="235"/>
                    </a:lnTo>
                    <a:lnTo>
                      <a:pt x="91" y="234"/>
                    </a:lnTo>
                    <a:lnTo>
                      <a:pt x="87" y="221"/>
                    </a:lnTo>
                    <a:lnTo>
                      <a:pt x="87" y="218"/>
                    </a:lnTo>
                    <a:lnTo>
                      <a:pt x="87" y="214"/>
                    </a:lnTo>
                    <a:lnTo>
                      <a:pt x="87" y="214"/>
                    </a:lnTo>
                    <a:lnTo>
                      <a:pt x="86" y="212"/>
                    </a:lnTo>
                    <a:lnTo>
                      <a:pt x="86" y="210"/>
                    </a:lnTo>
                    <a:lnTo>
                      <a:pt x="84" y="209"/>
                    </a:lnTo>
                    <a:lnTo>
                      <a:pt x="82" y="207"/>
                    </a:lnTo>
                    <a:lnTo>
                      <a:pt x="80" y="205"/>
                    </a:lnTo>
                    <a:lnTo>
                      <a:pt x="77" y="203"/>
                    </a:lnTo>
                    <a:lnTo>
                      <a:pt x="68" y="20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06" name="Freeform 1754"/>
              <p:cNvSpPr>
                <a:spLocks/>
              </p:cNvSpPr>
              <p:nvPr/>
            </p:nvSpPr>
            <p:spPr bwMode="auto">
              <a:xfrm>
                <a:off x="791" y="956"/>
                <a:ext cx="291" cy="239"/>
              </a:xfrm>
              <a:custGeom>
                <a:avLst/>
                <a:gdLst>
                  <a:gd name="T0" fmla="*/ 41 w 291"/>
                  <a:gd name="T1" fmla="*/ 193 h 239"/>
                  <a:gd name="T2" fmla="*/ 105 w 291"/>
                  <a:gd name="T3" fmla="*/ 160 h 239"/>
                  <a:gd name="T4" fmla="*/ 109 w 291"/>
                  <a:gd name="T5" fmla="*/ 150 h 239"/>
                  <a:gd name="T6" fmla="*/ 87 w 291"/>
                  <a:gd name="T7" fmla="*/ 141 h 239"/>
                  <a:gd name="T8" fmla="*/ 46 w 291"/>
                  <a:gd name="T9" fmla="*/ 141 h 239"/>
                  <a:gd name="T10" fmla="*/ 14 w 291"/>
                  <a:gd name="T11" fmla="*/ 126 h 239"/>
                  <a:gd name="T12" fmla="*/ 54 w 291"/>
                  <a:gd name="T13" fmla="*/ 105 h 239"/>
                  <a:gd name="T14" fmla="*/ 39 w 291"/>
                  <a:gd name="T15" fmla="*/ 100 h 239"/>
                  <a:gd name="T16" fmla="*/ 25 w 291"/>
                  <a:gd name="T17" fmla="*/ 100 h 239"/>
                  <a:gd name="T18" fmla="*/ 14 w 291"/>
                  <a:gd name="T19" fmla="*/ 105 h 239"/>
                  <a:gd name="T20" fmla="*/ 12 w 291"/>
                  <a:gd name="T21" fmla="*/ 94 h 239"/>
                  <a:gd name="T22" fmla="*/ 11 w 291"/>
                  <a:gd name="T23" fmla="*/ 64 h 239"/>
                  <a:gd name="T24" fmla="*/ 9 w 291"/>
                  <a:gd name="T25" fmla="*/ 48 h 239"/>
                  <a:gd name="T26" fmla="*/ 73 w 291"/>
                  <a:gd name="T27" fmla="*/ 1 h 239"/>
                  <a:gd name="T28" fmla="*/ 75 w 291"/>
                  <a:gd name="T29" fmla="*/ 32 h 239"/>
                  <a:gd name="T30" fmla="*/ 79 w 291"/>
                  <a:gd name="T31" fmla="*/ 37 h 239"/>
                  <a:gd name="T32" fmla="*/ 87 w 291"/>
                  <a:gd name="T33" fmla="*/ 25 h 239"/>
                  <a:gd name="T34" fmla="*/ 116 w 291"/>
                  <a:gd name="T35" fmla="*/ 30 h 239"/>
                  <a:gd name="T36" fmla="*/ 120 w 291"/>
                  <a:gd name="T37" fmla="*/ 55 h 239"/>
                  <a:gd name="T38" fmla="*/ 129 w 291"/>
                  <a:gd name="T39" fmla="*/ 48 h 239"/>
                  <a:gd name="T40" fmla="*/ 143 w 291"/>
                  <a:gd name="T41" fmla="*/ 44 h 239"/>
                  <a:gd name="T42" fmla="*/ 141 w 291"/>
                  <a:gd name="T43" fmla="*/ 37 h 239"/>
                  <a:gd name="T44" fmla="*/ 137 w 291"/>
                  <a:gd name="T45" fmla="*/ 21 h 239"/>
                  <a:gd name="T46" fmla="*/ 157 w 291"/>
                  <a:gd name="T47" fmla="*/ 34 h 239"/>
                  <a:gd name="T48" fmla="*/ 164 w 291"/>
                  <a:gd name="T49" fmla="*/ 41 h 239"/>
                  <a:gd name="T50" fmla="*/ 171 w 291"/>
                  <a:gd name="T51" fmla="*/ 87 h 239"/>
                  <a:gd name="T52" fmla="*/ 184 w 291"/>
                  <a:gd name="T53" fmla="*/ 80 h 239"/>
                  <a:gd name="T54" fmla="*/ 180 w 291"/>
                  <a:gd name="T55" fmla="*/ 55 h 239"/>
                  <a:gd name="T56" fmla="*/ 175 w 291"/>
                  <a:gd name="T57" fmla="*/ 14 h 239"/>
                  <a:gd name="T58" fmla="*/ 177 w 291"/>
                  <a:gd name="T59" fmla="*/ 3 h 239"/>
                  <a:gd name="T60" fmla="*/ 195 w 291"/>
                  <a:gd name="T61" fmla="*/ 12 h 239"/>
                  <a:gd name="T62" fmla="*/ 200 w 291"/>
                  <a:gd name="T63" fmla="*/ 9 h 239"/>
                  <a:gd name="T64" fmla="*/ 218 w 291"/>
                  <a:gd name="T65" fmla="*/ 28 h 239"/>
                  <a:gd name="T66" fmla="*/ 227 w 291"/>
                  <a:gd name="T67" fmla="*/ 80 h 239"/>
                  <a:gd name="T68" fmla="*/ 232 w 291"/>
                  <a:gd name="T69" fmla="*/ 105 h 239"/>
                  <a:gd name="T70" fmla="*/ 250 w 291"/>
                  <a:gd name="T71" fmla="*/ 141 h 239"/>
                  <a:gd name="T72" fmla="*/ 262 w 291"/>
                  <a:gd name="T73" fmla="*/ 141 h 239"/>
                  <a:gd name="T74" fmla="*/ 282 w 291"/>
                  <a:gd name="T75" fmla="*/ 164 h 239"/>
                  <a:gd name="T76" fmla="*/ 291 w 291"/>
                  <a:gd name="T77" fmla="*/ 175 h 239"/>
                  <a:gd name="T78" fmla="*/ 280 w 291"/>
                  <a:gd name="T79" fmla="*/ 185 h 239"/>
                  <a:gd name="T80" fmla="*/ 273 w 291"/>
                  <a:gd name="T81" fmla="*/ 175 h 239"/>
                  <a:gd name="T82" fmla="*/ 264 w 291"/>
                  <a:gd name="T83" fmla="*/ 185 h 239"/>
                  <a:gd name="T84" fmla="*/ 255 w 291"/>
                  <a:gd name="T85" fmla="*/ 193 h 239"/>
                  <a:gd name="T86" fmla="*/ 271 w 291"/>
                  <a:gd name="T87" fmla="*/ 196 h 239"/>
                  <a:gd name="T88" fmla="*/ 270 w 291"/>
                  <a:gd name="T89" fmla="*/ 205 h 239"/>
                  <a:gd name="T90" fmla="*/ 280 w 291"/>
                  <a:gd name="T91" fmla="*/ 212 h 239"/>
                  <a:gd name="T92" fmla="*/ 268 w 291"/>
                  <a:gd name="T93" fmla="*/ 219 h 239"/>
                  <a:gd name="T94" fmla="*/ 255 w 291"/>
                  <a:gd name="T95" fmla="*/ 225 h 239"/>
                  <a:gd name="T96" fmla="*/ 232 w 291"/>
                  <a:gd name="T97" fmla="*/ 221 h 239"/>
                  <a:gd name="T98" fmla="*/ 216 w 291"/>
                  <a:gd name="T99" fmla="*/ 209 h 239"/>
                  <a:gd name="T100" fmla="*/ 200 w 291"/>
                  <a:gd name="T101" fmla="*/ 194 h 239"/>
                  <a:gd name="T102" fmla="*/ 168 w 291"/>
                  <a:gd name="T103" fmla="*/ 219 h 239"/>
                  <a:gd name="T104" fmla="*/ 137 w 291"/>
                  <a:gd name="T105" fmla="*/ 234 h 239"/>
                  <a:gd name="T106" fmla="*/ 125 w 291"/>
                  <a:gd name="T107" fmla="*/ 237 h 239"/>
                  <a:gd name="T108" fmla="*/ 87 w 291"/>
                  <a:gd name="T109" fmla="*/ 221 h 239"/>
                  <a:gd name="T110" fmla="*/ 82 w 291"/>
                  <a:gd name="T111" fmla="*/ 207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1" h="239">
                    <a:moveTo>
                      <a:pt x="68" y="205"/>
                    </a:moveTo>
                    <a:lnTo>
                      <a:pt x="66" y="207"/>
                    </a:lnTo>
                    <a:lnTo>
                      <a:pt x="61" y="207"/>
                    </a:lnTo>
                    <a:lnTo>
                      <a:pt x="57" y="205"/>
                    </a:lnTo>
                    <a:lnTo>
                      <a:pt x="52" y="203"/>
                    </a:lnTo>
                    <a:lnTo>
                      <a:pt x="41" y="196"/>
                    </a:lnTo>
                    <a:lnTo>
                      <a:pt x="41" y="193"/>
                    </a:lnTo>
                    <a:lnTo>
                      <a:pt x="37" y="193"/>
                    </a:lnTo>
                    <a:lnTo>
                      <a:pt x="36" y="191"/>
                    </a:lnTo>
                    <a:lnTo>
                      <a:pt x="34" y="185"/>
                    </a:lnTo>
                    <a:lnTo>
                      <a:pt x="30" y="182"/>
                    </a:lnTo>
                    <a:lnTo>
                      <a:pt x="27" y="171"/>
                    </a:lnTo>
                    <a:lnTo>
                      <a:pt x="79" y="155"/>
                    </a:lnTo>
                    <a:lnTo>
                      <a:pt x="105" y="160"/>
                    </a:lnTo>
                    <a:lnTo>
                      <a:pt x="109" y="157"/>
                    </a:lnTo>
                    <a:lnTo>
                      <a:pt x="107" y="153"/>
                    </a:lnTo>
                    <a:lnTo>
                      <a:pt x="107" y="153"/>
                    </a:lnTo>
                    <a:lnTo>
                      <a:pt x="109" y="155"/>
                    </a:lnTo>
                    <a:lnTo>
                      <a:pt x="112" y="153"/>
                    </a:lnTo>
                    <a:lnTo>
                      <a:pt x="111" y="151"/>
                    </a:lnTo>
                    <a:lnTo>
                      <a:pt x="109" y="150"/>
                    </a:lnTo>
                    <a:lnTo>
                      <a:pt x="107" y="148"/>
                    </a:lnTo>
                    <a:lnTo>
                      <a:pt x="102" y="148"/>
                    </a:lnTo>
                    <a:lnTo>
                      <a:pt x="100" y="144"/>
                    </a:lnTo>
                    <a:lnTo>
                      <a:pt x="98" y="144"/>
                    </a:lnTo>
                    <a:lnTo>
                      <a:pt x="93" y="143"/>
                    </a:lnTo>
                    <a:lnTo>
                      <a:pt x="91" y="141"/>
                    </a:lnTo>
                    <a:lnTo>
                      <a:pt x="87" y="141"/>
                    </a:lnTo>
                    <a:lnTo>
                      <a:pt x="86" y="141"/>
                    </a:lnTo>
                    <a:lnTo>
                      <a:pt x="82" y="139"/>
                    </a:lnTo>
                    <a:lnTo>
                      <a:pt x="57" y="146"/>
                    </a:lnTo>
                    <a:lnTo>
                      <a:pt x="55" y="144"/>
                    </a:lnTo>
                    <a:lnTo>
                      <a:pt x="50" y="144"/>
                    </a:lnTo>
                    <a:lnTo>
                      <a:pt x="48" y="143"/>
                    </a:lnTo>
                    <a:lnTo>
                      <a:pt x="46" y="141"/>
                    </a:lnTo>
                    <a:lnTo>
                      <a:pt x="36" y="143"/>
                    </a:lnTo>
                    <a:lnTo>
                      <a:pt x="30" y="141"/>
                    </a:lnTo>
                    <a:lnTo>
                      <a:pt x="25" y="141"/>
                    </a:lnTo>
                    <a:lnTo>
                      <a:pt x="25" y="139"/>
                    </a:lnTo>
                    <a:lnTo>
                      <a:pt x="25" y="139"/>
                    </a:lnTo>
                    <a:lnTo>
                      <a:pt x="20" y="137"/>
                    </a:lnTo>
                    <a:lnTo>
                      <a:pt x="14" y="126"/>
                    </a:lnTo>
                    <a:lnTo>
                      <a:pt x="12" y="123"/>
                    </a:lnTo>
                    <a:lnTo>
                      <a:pt x="18" y="116"/>
                    </a:lnTo>
                    <a:lnTo>
                      <a:pt x="48" y="105"/>
                    </a:lnTo>
                    <a:lnTo>
                      <a:pt x="46" y="107"/>
                    </a:lnTo>
                    <a:lnTo>
                      <a:pt x="48" y="107"/>
                    </a:lnTo>
                    <a:lnTo>
                      <a:pt x="52" y="107"/>
                    </a:lnTo>
                    <a:lnTo>
                      <a:pt x="54" y="105"/>
                    </a:lnTo>
                    <a:lnTo>
                      <a:pt x="54" y="103"/>
                    </a:lnTo>
                    <a:lnTo>
                      <a:pt x="48" y="103"/>
                    </a:lnTo>
                    <a:lnTo>
                      <a:pt x="52" y="100"/>
                    </a:lnTo>
                    <a:lnTo>
                      <a:pt x="55" y="100"/>
                    </a:lnTo>
                    <a:lnTo>
                      <a:pt x="57" y="98"/>
                    </a:lnTo>
                    <a:lnTo>
                      <a:pt x="57" y="96"/>
                    </a:lnTo>
                    <a:lnTo>
                      <a:pt x="39" y="100"/>
                    </a:lnTo>
                    <a:lnTo>
                      <a:pt x="36" y="101"/>
                    </a:lnTo>
                    <a:lnTo>
                      <a:pt x="32" y="101"/>
                    </a:lnTo>
                    <a:lnTo>
                      <a:pt x="30" y="103"/>
                    </a:lnTo>
                    <a:lnTo>
                      <a:pt x="29" y="103"/>
                    </a:lnTo>
                    <a:lnTo>
                      <a:pt x="27" y="101"/>
                    </a:lnTo>
                    <a:lnTo>
                      <a:pt x="27" y="101"/>
                    </a:lnTo>
                    <a:lnTo>
                      <a:pt x="25" y="100"/>
                    </a:lnTo>
                    <a:lnTo>
                      <a:pt x="23" y="101"/>
                    </a:lnTo>
                    <a:lnTo>
                      <a:pt x="25" y="101"/>
                    </a:lnTo>
                    <a:lnTo>
                      <a:pt x="25" y="103"/>
                    </a:lnTo>
                    <a:lnTo>
                      <a:pt x="20" y="103"/>
                    </a:lnTo>
                    <a:lnTo>
                      <a:pt x="20" y="105"/>
                    </a:lnTo>
                    <a:lnTo>
                      <a:pt x="16" y="105"/>
                    </a:lnTo>
                    <a:lnTo>
                      <a:pt x="14" y="105"/>
                    </a:lnTo>
                    <a:lnTo>
                      <a:pt x="12" y="101"/>
                    </a:lnTo>
                    <a:lnTo>
                      <a:pt x="14" y="100"/>
                    </a:lnTo>
                    <a:lnTo>
                      <a:pt x="16" y="98"/>
                    </a:lnTo>
                    <a:lnTo>
                      <a:pt x="21" y="98"/>
                    </a:lnTo>
                    <a:lnTo>
                      <a:pt x="20" y="91"/>
                    </a:lnTo>
                    <a:lnTo>
                      <a:pt x="16" y="93"/>
                    </a:lnTo>
                    <a:lnTo>
                      <a:pt x="12" y="94"/>
                    </a:lnTo>
                    <a:lnTo>
                      <a:pt x="11" y="94"/>
                    </a:lnTo>
                    <a:lnTo>
                      <a:pt x="11" y="91"/>
                    </a:lnTo>
                    <a:lnTo>
                      <a:pt x="9" y="91"/>
                    </a:lnTo>
                    <a:lnTo>
                      <a:pt x="2" y="93"/>
                    </a:lnTo>
                    <a:lnTo>
                      <a:pt x="0" y="80"/>
                    </a:lnTo>
                    <a:lnTo>
                      <a:pt x="2" y="75"/>
                    </a:lnTo>
                    <a:lnTo>
                      <a:pt x="11" y="64"/>
                    </a:lnTo>
                    <a:lnTo>
                      <a:pt x="16" y="62"/>
                    </a:lnTo>
                    <a:lnTo>
                      <a:pt x="16" y="59"/>
                    </a:lnTo>
                    <a:lnTo>
                      <a:pt x="16" y="57"/>
                    </a:lnTo>
                    <a:lnTo>
                      <a:pt x="14" y="55"/>
                    </a:lnTo>
                    <a:lnTo>
                      <a:pt x="11" y="55"/>
                    </a:lnTo>
                    <a:lnTo>
                      <a:pt x="9" y="53"/>
                    </a:lnTo>
                    <a:lnTo>
                      <a:pt x="9" y="48"/>
                    </a:lnTo>
                    <a:lnTo>
                      <a:pt x="11" y="44"/>
                    </a:lnTo>
                    <a:lnTo>
                      <a:pt x="37" y="18"/>
                    </a:lnTo>
                    <a:lnTo>
                      <a:pt x="41" y="18"/>
                    </a:lnTo>
                    <a:lnTo>
                      <a:pt x="43" y="14"/>
                    </a:lnTo>
                    <a:lnTo>
                      <a:pt x="48" y="12"/>
                    </a:lnTo>
                    <a:lnTo>
                      <a:pt x="70" y="0"/>
                    </a:lnTo>
                    <a:lnTo>
                      <a:pt x="73" y="1"/>
                    </a:lnTo>
                    <a:lnTo>
                      <a:pt x="75" y="3"/>
                    </a:lnTo>
                    <a:lnTo>
                      <a:pt x="77" y="5"/>
                    </a:lnTo>
                    <a:lnTo>
                      <a:pt x="77" y="7"/>
                    </a:lnTo>
                    <a:lnTo>
                      <a:pt x="79" y="9"/>
                    </a:lnTo>
                    <a:lnTo>
                      <a:pt x="80" y="28"/>
                    </a:lnTo>
                    <a:lnTo>
                      <a:pt x="77" y="30"/>
                    </a:lnTo>
                    <a:lnTo>
                      <a:pt x="75" y="32"/>
                    </a:lnTo>
                    <a:lnTo>
                      <a:pt x="75" y="35"/>
                    </a:lnTo>
                    <a:lnTo>
                      <a:pt x="75" y="35"/>
                    </a:lnTo>
                    <a:lnTo>
                      <a:pt x="73" y="37"/>
                    </a:lnTo>
                    <a:lnTo>
                      <a:pt x="70" y="39"/>
                    </a:lnTo>
                    <a:lnTo>
                      <a:pt x="70" y="41"/>
                    </a:lnTo>
                    <a:lnTo>
                      <a:pt x="71" y="43"/>
                    </a:lnTo>
                    <a:lnTo>
                      <a:pt x="79" y="37"/>
                    </a:lnTo>
                    <a:lnTo>
                      <a:pt x="80" y="37"/>
                    </a:lnTo>
                    <a:lnTo>
                      <a:pt x="82" y="41"/>
                    </a:lnTo>
                    <a:lnTo>
                      <a:pt x="87" y="37"/>
                    </a:lnTo>
                    <a:lnTo>
                      <a:pt x="87" y="34"/>
                    </a:lnTo>
                    <a:lnTo>
                      <a:pt x="86" y="32"/>
                    </a:lnTo>
                    <a:lnTo>
                      <a:pt x="86" y="28"/>
                    </a:lnTo>
                    <a:lnTo>
                      <a:pt x="87" y="25"/>
                    </a:lnTo>
                    <a:lnTo>
                      <a:pt x="91" y="23"/>
                    </a:lnTo>
                    <a:lnTo>
                      <a:pt x="91" y="21"/>
                    </a:lnTo>
                    <a:lnTo>
                      <a:pt x="93" y="19"/>
                    </a:lnTo>
                    <a:lnTo>
                      <a:pt x="96" y="19"/>
                    </a:lnTo>
                    <a:lnTo>
                      <a:pt x="104" y="25"/>
                    </a:lnTo>
                    <a:lnTo>
                      <a:pt x="114" y="26"/>
                    </a:lnTo>
                    <a:lnTo>
                      <a:pt x="116" y="30"/>
                    </a:lnTo>
                    <a:lnTo>
                      <a:pt x="120" y="32"/>
                    </a:lnTo>
                    <a:lnTo>
                      <a:pt x="121" y="34"/>
                    </a:lnTo>
                    <a:lnTo>
                      <a:pt x="125" y="37"/>
                    </a:lnTo>
                    <a:lnTo>
                      <a:pt x="125" y="43"/>
                    </a:lnTo>
                    <a:lnTo>
                      <a:pt x="114" y="55"/>
                    </a:lnTo>
                    <a:lnTo>
                      <a:pt x="114" y="57"/>
                    </a:lnTo>
                    <a:lnTo>
                      <a:pt x="120" y="55"/>
                    </a:lnTo>
                    <a:lnTo>
                      <a:pt x="121" y="51"/>
                    </a:lnTo>
                    <a:lnTo>
                      <a:pt x="125" y="50"/>
                    </a:lnTo>
                    <a:lnTo>
                      <a:pt x="125" y="51"/>
                    </a:lnTo>
                    <a:lnTo>
                      <a:pt x="123" y="55"/>
                    </a:lnTo>
                    <a:lnTo>
                      <a:pt x="127" y="57"/>
                    </a:lnTo>
                    <a:lnTo>
                      <a:pt x="127" y="55"/>
                    </a:lnTo>
                    <a:lnTo>
                      <a:pt x="129" y="48"/>
                    </a:lnTo>
                    <a:lnTo>
                      <a:pt x="130" y="46"/>
                    </a:lnTo>
                    <a:lnTo>
                      <a:pt x="132" y="44"/>
                    </a:lnTo>
                    <a:lnTo>
                      <a:pt x="136" y="44"/>
                    </a:lnTo>
                    <a:lnTo>
                      <a:pt x="137" y="43"/>
                    </a:lnTo>
                    <a:lnTo>
                      <a:pt x="143" y="48"/>
                    </a:lnTo>
                    <a:lnTo>
                      <a:pt x="143" y="46"/>
                    </a:lnTo>
                    <a:lnTo>
                      <a:pt x="143" y="44"/>
                    </a:lnTo>
                    <a:lnTo>
                      <a:pt x="141" y="43"/>
                    </a:lnTo>
                    <a:lnTo>
                      <a:pt x="143" y="43"/>
                    </a:lnTo>
                    <a:lnTo>
                      <a:pt x="145" y="44"/>
                    </a:lnTo>
                    <a:lnTo>
                      <a:pt x="146" y="44"/>
                    </a:lnTo>
                    <a:lnTo>
                      <a:pt x="145" y="41"/>
                    </a:lnTo>
                    <a:lnTo>
                      <a:pt x="141" y="39"/>
                    </a:lnTo>
                    <a:lnTo>
                      <a:pt x="141" y="37"/>
                    </a:lnTo>
                    <a:lnTo>
                      <a:pt x="143" y="35"/>
                    </a:lnTo>
                    <a:lnTo>
                      <a:pt x="146" y="39"/>
                    </a:lnTo>
                    <a:lnTo>
                      <a:pt x="146" y="37"/>
                    </a:lnTo>
                    <a:lnTo>
                      <a:pt x="143" y="30"/>
                    </a:lnTo>
                    <a:lnTo>
                      <a:pt x="141" y="30"/>
                    </a:lnTo>
                    <a:lnTo>
                      <a:pt x="137" y="23"/>
                    </a:lnTo>
                    <a:lnTo>
                      <a:pt x="137" y="21"/>
                    </a:lnTo>
                    <a:lnTo>
                      <a:pt x="139" y="19"/>
                    </a:lnTo>
                    <a:lnTo>
                      <a:pt x="148" y="23"/>
                    </a:lnTo>
                    <a:lnTo>
                      <a:pt x="148" y="26"/>
                    </a:lnTo>
                    <a:lnTo>
                      <a:pt x="152" y="26"/>
                    </a:lnTo>
                    <a:lnTo>
                      <a:pt x="152" y="28"/>
                    </a:lnTo>
                    <a:lnTo>
                      <a:pt x="154" y="32"/>
                    </a:lnTo>
                    <a:lnTo>
                      <a:pt x="157" y="34"/>
                    </a:lnTo>
                    <a:lnTo>
                      <a:pt x="157" y="32"/>
                    </a:lnTo>
                    <a:lnTo>
                      <a:pt x="159" y="35"/>
                    </a:lnTo>
                    <a:lnTo>
                      <a:pt x="159" y="35"/>
                    </a:lnTo>
                    <a:lnTo>
                      <a:pt x="162" y="37"/>
                    </a:lnTo>
                    <a:lnTo>
                      <a:pt x="162" y="39"/>
                    </a:lnTo>
                    <a:lnTo>
                      <a:pt x="161" y="41"/>
                    </a:lnTo>
                    <a:lnTo>
                      <a:pt x="164" y="41"/>
                    </a:lnTo>
                    <a:lnTo>
                      <a:pt x="166" y="46"/>
                    </a:lnTo>
                    <a:lnTo>
                      <a:pt x="166" y="59"/>
                    </a:lnTo>
                    <a:lnTo>
                      <a:pt x="168" y="62"/>
                    </a:lnTo>
                    <a:lnTo>
                      <a:pt x="170" y="71"/>
                    </a:lnTo>
                    <a:lnTo>
                      <a:pt x="173" y="76"/>
                    </a:lnTo>
                    <a:lnTo>
                      <a:pt x="171" y="80"/>
                    </a:lnTo>
                    <a:lnTo>
                      <a:pt x="171" y="87"/>
                    </a:lnTo>
                    <a:lnTo>
                      <a:pt x="173" y="87"/>
                    </a:lnTo>
                    <a:lnTo>
                      <a:pt x="175" y="91"/>
                    </a:lnTo>
                    <a:lnTo>
                      <a:pt x="177" y="91"/>
                    </a:lnTo>
                    <a:lnTo>
                      <a:pt x="179" y="89"/>
                    </a:lnTo>
                    <a:lnTo>
                      <a:pt x="182" y="87"/>
                    </a:lnTo>
                    <a:lnTo>
                      <a:pt x="184" y="84"/>
                    </a:lnTo>
                    <a:lnTo>
                      <a:pt x="184" y="80"/>
                    </a:lnTo>
                    <a:lnTo>
                      <a:pt x="187" y="80"/>
                    </a:lnTo>
                    <a:lnTo>
                      <a:pt x="187" y="78"/>
                    </a:lnTo>
                    <a:lnTo>
                      <a:pt x="184" y="73"/>
                    </a:lnTo>
                    <a:lnTo>
                      <a:pt x="182" y="69"/>
                    </a:lnTo>
                    <a:lnTo>
                      <a:pt x="182" y="66"/>
                    </a:lnTo>
                    <a:lnTo>
                      <a:pt x="182" y="64"/>
                    </a:lnTo>
                    <a:lnTo>
                      <a:pt x="180" y="55"/>
                    </a:lnTo>
                    <a:lnTo>
                      <a:pt x="180" y="55"/>
                    </a:lnTo>
                    <a:lnTo>
                      <a:pt x="180" y="50"/>
                    </a:lnTo>
                    <a:lnTo>
                      <a:pt x="179" y="48"/>
                    </a:lnTo>
                    <a:lnTo>
                      <a:pt x="173" y="19"/>
                    </a:lnTo>
                    <a:lnTo>
                      <a:pt x="175" y="19"/>
                    </a:lnTo>
                    <a:lnTo>
                      <a:pt x="175" y="16"/>
                    </a:lnTo>
                    <a:lnTo>
                      <a:pt x="175" y="14"/>
                    </a:lnTo>
                    <a:lnTo>
                      <a:pt x="173" y="12"/>
                    </a:lnTo>
                    <a:lnTo>
                      <a:pt x="175" y="10"/>
                    </a:lnTo>
                    <a:lnTo>
                      <a:pt x="177" y="10"/>
                    </a:lnTo>
                    <a:lnTo>
                      <a:pt x="179" y="9"/>
                    </a:lnTo>
                    <a:lnTo>
                      <a:pt x="175" y="5"/>
                    </a:lnTo>
                    <a:lnTo>
                      <a:pt x="175" y="3"/>
                    </a:lnTo>
                    <a:lnTo>
                      <a:pt x="177" y="3"/>
                    </a:lnTo>
                    <a:lnTo>
                      <a:pt x="177" y="1"/>
                    </a:lnTo>
                    <a:lnTo>
                      <a:pt x="179" y="1"/>
                    </a:lnTo>
                    <a:lnTo>
                      <a:pt x="184" y="3"/>
                    </a:lnTo>
                    <a:lnTo>
                      <a:pt x="184" y="5"/>
                    </a:lnTo>
                    <a:lnTo>
                      <a:pt x="189" y="10"/>
                    </a:lnTo>
                    <a:lnTo>
                      <a:pt x="195" y="12"/>
                    </a:lnTo>
                    <a:lnTo>
                      <a:pt x="195" y="12"/>
                    </a:lnTo>
                    <a:lnTo>
                      <a:pt x="195" y="9"/>
                    </a:lnTo>
                    <a:lnTo>
                      <a:pt x="195" y="9"/>
                    </a:lnTo>
                    <a:lnTo>
                      <a:pt x="193" y="5"/>
                    </a:lnTo>
                    <a:lnTo>
                      <a:pt x="195" y="5"/>
                    </a:lnTo>
                    <a:lnTo>
                      <a:pt x="198" y="5"/>
                    </a:lnTo>
                    <a:lnTo>
                      <a:pt x="198" y="7"/>
                    </a:lnTo>
                    <a:lnTo>
                      <a:pt x="200" y="9"/>
                    </a:lnTo>
                    <a:lnTo>
                      <a:pt x="202" y="14"/>
                    </a:lnTo>
                    <a:lnTo>
                      <a:pt x="204" y="16"/>
                    </a:lnTo>
                    <a:lnTo>
                      <a:pt x="211" y="19"/>
                    </a:lnTo>
                    <a:lnTo>
                      <a:pt x="211" y="21"/>
                    </a:lnTo>
                    <a:lnTo>
                      <a:pt x="214" y="25"/>
                    </a:lnTo>
                    <a:lnTo>
                      <a:pt x="216" y="26"/>
                    </a:lnTo>
                    <a:lnTo>
                      <a:pt x="218" y="28"/>
                    </a:lnTo>
                    <a:lnTo>
                      <a:pt x="220" y="30"/>
                    </a:lnTo>
                    <a:lnTo>
                      <a:pt x="220" y="32"/>
                    </a:lnTo>
                    <a:lnTo>
                      <a:pt x="218" y="35"/>
                    </a:lnTo>
                    <a:lnTo>
                      <a:pt x="220" y="35"/>
                    </a:lnTo>
                    <a:lnTo>
                      <a:pt x="225" y="73"/>
                    </a:lnTo>
                    <a:lnTo>
                      <a:pt x="225" y="73"/>
                    </a:lnTo>
                    <a:lnTo>
                      <a:pt x="227" y="80"/>
                    </a:lnTo>
                    <a:lnTo>
                      <a:pt x="234" y="89"/>
                    </a:lnTo>
                    <a:lnTo>
                      <a:pt x="236" y="94"/>
                    </a:lnTo>
                    <a:lnTo>
                      <a:pt x="234" y="96"/>
                    </a:lnTo>
                    <a:lnTo>
                      <a:pt x="236" y="98"/>
                    </a:lnTo>
                    <a:lnTo>
                      <a:pt x="236" y="103"/>
                    </a:lnTo>
                    <a:lnTo>
                      <a:pt x="236" y="103"/>
                    </a:lnTo>
                    <a:lnTo>
                      <a:pt x="232" y="105"/>
                    </a:lnTo>
                    <a:lnTo>
                      <a:pt x="234" y="112"/>
                    </a:lnTo>
                    <a:lnTo>
                      <a:pt x="232" y="116"/>
                    </a:lnTo>
                    <a:lnTo>
                      <a:pt x="234" y="119"/>
                    </a:lnTo>
                    <a:lnTo>
                      <a:pt x="237" y="123"/>
                    </a:lnTo>
                    <a:lnTo>
                      <a:pt x="243" y="134"/>
                    </a:lnTo>
                    <a:lnTo>
                      <a:pt x="248" y="135"/>
                    </a:lnTo>
                    <a:lnTo>
                      <a:pt x="250" y="141"/>
                    </a:lnTo>
                    <a:lnTo>
                      <a:pt x="252" y="141"/>
                    </a:lnTo>
                    <a:lnTo>
                      <a:pt x="254" y="143"/>
                    </a:lnTo>
                    <a:lnTo>
                      <a:pt x="255" y="144"/>
                    </a:lnTo>
                    <a:lnTo>
                      <a:pt x="257" y="143"/>
                    </a:lnTo>
                    <a:lnTo>
                      <a:pt x="257" y="141"/>
                    </a:lnTo>
                    <a:lnTo>
                      <a:pt x="259" y="139"/>
                    </a:lnTo>
                    <a:lnTo>
                      <a:pt x="262" y="141"/>
                    </a:lnTo>
                    <a:lnTo>
                      <a:pt x="264" y="143"/>
                    </a:lnTo>
                    <a:lnTo>
                      <a:pt x="262" y="144"/>
                    </a:lnTo>
                    <a:lnTo>
                      <a:pt x="277" y="157"/>
                    </a:lnTo>
                    <a:lnTo>
                      <a:pt x="280" y="157"/>
                    </a:lnTo>
                    <a:lnTo>
                      <a:pt x="282" y="159"/>
                    </a:lnTo>
                    <a:lnTo>
                      <a:pt x="280" y="162"/>
                    </a:lnTo>
                    <a:lnTo>
                      <a:pt x="282" y="164"/>
                    </a:lnTo>
                    <a:lnTo>
                      <a:pt x="284" y="164"/>
                    </a:lnTo>
                    <a:lnTo>
                      <a:pt x="286" y="164"/>
                    </a:lnTo>
                    <a:lnTo>
                      <a:pt x="287" y="164"/>
                    </a:lnTo>
                    <a:lnTo>
                      <a:pt x="289" y="164"/>
                    </a:lnTo>
                    <a:lnTo>
                      <a:pt x="291" y="164"/>
                    </a:lnTo>
                    <a:lnTo>
                      <a:pt x="291" y="171"/>
                    </a:lnTo>
                    <a:lnTo>
                      <a:pt x="291" y="175"/>
                    </a:lnTo>
                    <a:lnTo>
                      <a:pt x="291" y="182"/>
                    </a:lnTo>
                    <a:lnTo>
                      <a:pt x="289" y="185"/>
                    </a:lnTo>
                    <a:lnTo>
                      <a:pt x="287" y="187"/>
                    </a:lnTo>
                    <a:lnTo>
                      <a:pt x="286" y="185"/>
                    </a:lnTo>
                    <a:lnTo>
                      <a:pt x="282" y="180"/>
                    </a:lnTo>
                    <a:lnTo>
                      <a:pt x="282" y="175"/>
                    </a:lnTo>
                    <a:lnTo>
                      <a:pt x="280" y="185"/>
                    </a:lnTo>
                    <a:lnTo>
                      <a:pt x="279" y="187"/>
                    </a:lnTo>
                    <a:lnTo>
                      <a:pt x="279" y="184"/>
                    </a:lnTo>
                    <a:lnTo>
                      <a:pt x="277" y="184"/>
                    </a:lnTo>
                    <a:lnTo>
                      <a:pt x="275" y="185"/>
                    </a:lnTo>
                    <a:lnTo>
                      <a:pt x="275" y="182"/>
                    </a:lnTo>
                    <a:lnTo>
                      <a:pt x="273" y="178"/>
                    </a:lnTo>
                    <a:lnTo>
                      <a:pt x="273" y="175"/>
                    </a:lnTo>
                    <a:lnTo>
                      <a:pt x="271" y="176"/>
                    </a:lnTo>
                    <a:lnTo>
                      <a:pt x="270" y="176"/>
                    </a:lnTo>
                    <a:lnTo>
                      <a:pt x="270" y="176"/>
                    </a:lnTo>
                    <a:lnTo>
                      <a:pt x="268" y="180"/>
                    </a:lnTo>
                    <a:lnTo>
                      <a:pt x="268" y="180"/>
                    </a:lnTo>
                    <a:lnTo>
                      <a:pt x="264" y="184"/>
                    </a:lnTo>
                    <a:lnTo>
                      <a:pt x="264" y="185"/>
                    </a:lnTo>
                    <a:lnTo>
                      <a:pt x="264" y="185"/>
                    </a:lnTo>
                    <a:lnTo>
                      <a:pt x="266" y="193"/>
                    </a:lnTo>
                    <a:lnTo>
                      <a:pt x="262" y="193"/>
                    </a:lnTo>
                    <a:lnTo>
                      <a:pt x="261" y="191"/>
                    </a:lnTo>
                    <a:lnTo>
                      <a:pt x="257" y="191"/>
                    </a:lnTo>
                    <a:lnTo>
                      <a:pt x="255" y="191"/>
                    </a:lnTo>
                    <a:lnTo>
                      <a:pt x="255" y="193"/>
                    </a:lnTo>
                    <a:lnTo>
                      <a:pt x="257" y="198"/>
                    </a:lnTo>
                    <a:lnTo>
                      <a:pt x="257" y="205"/>
                    </a:lnTo>
                    <a:lnTo>
                      <a:pt x="259" y="200"/>
                    </a:lnTo>
                    <a:lnTo>
                      <a:pt x="264" y="196"/>
                    </a:lnTo>
                    <a:lnTo>
                      <a:pt x="264" y="194"/>
                    </a:lnTo>
                    <a:lnTo>
                      <a:pt x="271" y="194"/>
                    </a:lnTo>
                    <a:lnTo>
                      <a:pt x="271" y="196"/>
                    </a:lnTo>
                    <a:lnTo>
                      <a:pt x="275" y="196"/>
                    </a:lnTo>
                    <a:lnTo>
                      <a:pt x="273" y="198"/>
                    </a:lnTo>
                    <a:lnTo>
                      <a:pt x="273" y="200"/>
                    </a:lnTo>
                    <a:lnTo>
                      <a:pt x="271" y="201"/>
                    </a:lnTo>
                    <a:lnTo>
                      <a:pt x="271" y="203"/>
                    </a:lnTo>
                    <a:lnTo>
                      <a:pt x="270" y="203"/>
                    </a:lnTo>
                    <a:lnTo>
                      <a:pt x="270" y="205"/>
                    </a:lnTo>
                    <a:lnTo>
                      <a:pt x="271" y="207"/>
                    </a:lnTo>
                    <a:lnTo>
                      <a:pt x="273" y="209"/>
                    </a:lnTo>
                    <a:lnTo>
                      <a:pt x="273" y="205"/>
                    </a:lnTo>
                    <a:lnTo>
                      <a:pt x="277" y="207"/>
                    </a:lnTo>
                    <a:lnTo>
                      <a:pt x="280" y="207"/>
                    </a:lnTo>
                    <a:lnTo>
                      <a:pt x="280" y="210"/>
                    </a:lnTo>
                    <a:lnTo>
                      <a:pt x="280" y="212"/>
                    </a:lnTo>
                    <a:lnTo>
                      <a:pt x="279" y="212"/>
                    </a:lnTo>
                    <a:lnTo>
                      <a:pt x="279" y="212"/>
                    </a:lnTo>
                    <a:lnTo>
                      <a:pt x="277" y="214"/>
                    </a:lnTo>
                    <a:lnTo>
                      <a:pt x="275" y="216"/>
                    </a:lnTo>
                    <a:lnTo>
                      <a:pt x="275" y="218"/>
                    </a:lnTo>
                    <a:lnTo>
                      <a:pt x="273" y="218"/>
                    </a:lnTo>
                    <a:lnTo>
                      <a:pt x="268" y="219"/>
                    </a:lnTo>
                    <a:lnTo>
                      <a:pt x="268" y="223"/>
                    </a:lnTo>
                    <a:lnTo>
                      <a:pt x="262" y="223"/>
                    </a:lnTo>
                    <a:lnTo>
                      <a:pt x="261" y="221"/>
                    </a:lnTo>
                    <a:lnTo>
                      <a:pt x="261" y="225"/>
                    </a:lnTo>
                    <a:lnTo>
                      <a:pt x="259" y="225"/>
                    </a:lnTo>
                    <a:lnTo>
                      <a:pt x="259" y="226"/>
                    </a:lnTo>
                    <a:lnTo>
                      <a:pt x="255" y="225"/>
                    </a:lnTo>
                    <a:lnTo>
                      <a:pt x="252" y="226"/>
                    </a:lnTo>
                    <a:lnTo>
                      <a:pt x="245" y="225"/>
                    </a:lnTo>
                    <a:lnTo>
                      <a:pt x="243" y="223"/>
                    </a:lnTo>
                    <a:lnTo>
                      <a:pt x="237" y="221"/>
                    </a:lnTo>
                    <a:lnTo>
                      <a:pt x="236" y="219"/>
                    </a:lnTo>
                    <a:lnTo>
                      <a:pt x="234" y="219"/>
                    </a:lnTo>
                    <a:lnTo>
                      <a:pt x="232" y="221"/>
                    </a:lnTo>
                    <a:lnTo>
                      <a:pt x="221" y="219"/>
                    </a:lnTo>
                    <a:lnTo>
                      <a:pt x="221" y="218"/>
                    </a:lnTo>
                    <a:lnTo>
                      <a:pt x="227" y="212"/>
                    </a:lnTo>
                    <a:lnTo>
                      <a:pt x="225" y="210"/>
                    </a:lnTo>
                    <a:lnTo>
                      <a:pt x="221" y="212"/>
                    </a:lnTo>
                    <a:lnTo>
                      <a:pt x="218" y="210"/>
                    </a:lnTo>
                    <a:lnTo>
                      <a:pt x="216" y="209"/>
                    </a:lnTo>
                    <a:lnTo>
                      <a:pt x="212" y="209"/>
                    </a:lnTo>
                    <a:lnTo>
                      <a:pt x="211" y="209"/>
                    </a:lnTo>
                    <a:lnTo>
                      <a:pt x="204" y="207"/>
                    </a:lnTo>
                    <a:lnTo>
                      <a:pt x="204" y="205"/>
                    </a:lnTo>
                    <a:lnTo>
                      <a:pt x="205" y="203"/>
                    </a:lnTo>
                    <a:lnTo>
                      <a:pt x="202" y="194"/>
                    </a:lnTo>
                    <a:lnTo>
                      <a:pt x="200" y="194"/>
                    </a:lnTo>
                    <a:lnTo>
                      <a:pt x="196" y="198"/>
                    </a:lnTo>
                    <a:lnTo>
                      <a:pt x="193" y="200"/>
                    </a:lnTo>
                    <a:lnTo>
                      <a:pt x="195" y="205"/>
                    </a:lnTo>
                    <a:lnTo>
                      <a:pt x="195" y="207"/>
                    </a:lnTo>
                    <a:lnTo>
                      <a:pt x="191" y="210"/>
                    </a:lnTo>
                    <a:lnTo>
                      <a:pt x="187" y="218"/>
                    </a:lnTo>
                    <a:lnTo>
                      <a:pt x="168" y="219"/>
                    </a:lnTo>
                    <a:lnTo>
                      <a:pt x="170" y="219"/>
                    </a:lnTo>
                    <a:lnTo>
                      <a:pt x="166" y="225"/>
                    </a:lnTo>
                    <a:lnTo>
                      <a:pt x="152" y="232"/>
                    </a:lnTo>
                    <a:lnTo>
                      <a:pt x="146" y="234"/>
                    </a:lnTo>
                    <a:lnTo>
                      <a:pt x="145" y="232"/>
                    </a:lnTo>
                    <a:lnTo>
                      <a:pt x="141" y="234"/>
                    </a:lnTo>
                    <a:lnTo>
                      <a:pt x="137" y="234"/>
                    </a:lnTo>
                    <a:lnTo>
                      <a:pt x="134" y="235"/>
                    </a:lnTo>
                    <a:lnTo>
                      <a:pt x="134" y="232"/>
                    </a:lnTo>
                    <a:lnTo>
                      <a:pt x="129" y="235"/>
                    </a:lnTo>
                    <a:lnTo>
                      <a:pt x="125" y="235"/>
                    </a:lnTo>
                    <a:lnTo>
                      <a:pt x="123" y="235"/>
                    </a:lnTo>
                    <a:lnTo>
                      <a:pt x="127" y="235"/>
                    </a:lnTo>
                    <a:lnTo>
                      <a:pt x="125" y="237"/>
                    </a:lnTo>
                    <a:lnTo>
                      <a:pt x="114" y="239"/>
                    </a:lnTo>
                    <a:lnTo>
                      <a:pt x="112" y="239"/>
                    </a:lnTo>
                    <a:lnTo>
                      <a:pt x="93" y="239"/>
                    </a:lnTo>
                    <a:lnTo>
                      <a:pt x="95" y="239"/>
                    </a:lnTo>
                    <a:lnTo>
                      <a:pt x="96" y="235"/>
                    </a:lnTo>
                    <a:lnTo>
                      <a:pt x="91" y="234"/>
                    </a:lnTo>
                    <a:lnTo>
                      <a:pt x="87" y="221"/>
                    </a:lnTo>
                    <a:lnTo>
                      <a:pt x="87" y="218"/>
                    </a:lnTo>
                    <a:lnTo>
                      <a:pt x="87" y="214"/>
                    </a:lnTo>
                    <a:lnTo>
                      <a:pt x="87" y="214"/>
                    </a:lnTo>
                    <a:lnTo>
                      <a:pt x="86" y="212"/>
                    </a:lnTo>
                    <a:lnTo>
                      <a:pt x="86" y="210"/>
                    </a:lnTo>
                    <a:lnTo>
                      <a:pt x="84" y="209"/>
                    </a:lnTo>
                    <a:lnTo>
                      <a:pt x="82" y="207"/>
                    </a:lnTo>
                    <a:lnTo>
                      <a:pt x="80" y="205"/>
                    </a:lnTo>
                    <a:lnTo>
                      <a:pt x="77" y="203"/>
                    </a:lnTo>
                    <a:lnTo>
                      <a:pt x="68" y="20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07" name="Freeform 1755"/>
              <p:cNvSpPr>
                <a:spLocks/>
              </p:cNvSpPr>
              <p:nvPr/>
            </p:nvSpPr>
            <p:spPr bwMode="auto">
              <a:xfrm>
                <a:off x="984" y="934"/>
                <a:ext cx="39" cy="48"/>
              </a:xfrm>
              <a:custGeom>
                <a:avLst/>
                <a:gdLst>
                  <a:gd name="T0" fmla="*/ 34 w 39"/>
                  <a:gd name="T1" fmla="*/ 38 h 48"/>
                  <a:gd name="T2" fmla="*/ 34 w 39"/>
                  <a:gd name="T3" fmla="*/ 36 h 48"/>
                  <a:gd name="T4" fmla="*/ 37 w 39"/>
                  <a:gd name="T5" fmla="*/ 27 h 48"/>
                  <a:gd name="T6" fmla="*/ 39 w 39"/>
                  <a:gd name="T7" fmla="*/ 11 h 48"/>
                  <a:gd name="T8" fmla="*/ 39 w 39"/>
                  <a:gd name="T9" fmla="*/ 9 h 48"/>
                  <a:gd name="T10" fmla="*/ 37 w 39"/>
                  <a:gd name="T11" fmla="*/ 7 h 48"/>
                  <a:gd name="T12" fmla="*/ 36 w 39"/>
                  <a:gd name="T13" fmla="*/ 4 h 48"/>
                  <a:gd name="T14" fmla="*/ 28 w 39"/>
                  <a:gd name="T15" fmla="*/ 0 h 48"/>
                  <a:gd name="T16" fmla="*/ 25 w 39"/>
                  <a:gd name="T17" fmla="*/ 0 h 48"/>
                  <a:gd name="T18" fmla="*/ 19 w 39"/>
                  <a:gd name="T19" fmla="*/ 2 h 48"/>
                  <a:gd name="T20" fmla="*/ 11 w 39"/>
                  <a:gd name="T21" fmla="*/ 2 h 48"/>
                  <a:gd name="T22" fmla="*/ 7 w 39"/>
                  <a:gd name="T23" fmla="*/ 4 h 48"/>
                  <a:gd name="T24" fmla="*/ 0 w 39"/>
                  <a:gd name="T25" fmla="*/ 15 h 48"/>
                  <a:gd name="T26" fmla="*/ 0 w 39"/>
                  <a:gd name="T27" fmla="*/ 16 h 48"/>
                  <a:gd name="T28" fmla="*/ 7 w 39"/>
                  <a:gd name="T29" fmla="*/ 20 h 48"/>
                  <a:gd name="T30" fmla="*/ 19 w 39"/>
                  <a:gd name="T31" fmla="*/ 38 h 48"/>
                  <a:gd name="T32" fmla="*/ 21 w 39"/>
                  <a:gd name="T33" fmla="*/ 41 h 48"/>
                  <a:gd name="T34" fmla="*/ 27 w 39"/>
                  <a:gd name="T35" fmla="*/ 48 h 48"/>
                  <a:gd name="T36" fmla="*/ 28 w 39"/>
                  <a:gd name="T37" fmla="*/ 47 h 48"/>
                  <a:gd name="T38" fmla="*/ 28 w 39"/>
                  <a:gd name="T39" fmla="*/ 47 h 48"/>
                  <a:gd name="T40" fmla="*/ 28 w 39"/>
                  <a:gd name="T41" fmla="*/ 47 h 48"/>
                  <a:gd name="T42" fmla="*/ 34 w 39"/>
                  <a:gd name="T43" fmla="*/ 40 h 48"/>
                  <a:gd name="T44" fmla="*/ 34 w 39"/>
                  <a:gd name="T45"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48">
                    <a:moveTo>
                      <a:pt x="34" y="38"/>
                    </a:moveTo>
                    <a:lnTo>
                      <a:pt x="34" y="36"/>
                    </a:lnTo>
                    <a:lnTo>
                      <a:pt x="37" y="27"/>
                    </a:lnTo>
                    <a:lnTo>
                      <a:pt x="39" y="11"/>
                    </a:lnTo>
                    <a:lnTo>
                      <a:pt x="39" y="9"/>
                    </a:lnTo>
                    <a:lnTo>
                      <a:pt x="37" y="7"/>
                    </a:lnTo>
                    <a:lnTo>
                      <a:pt x="36" y="4"/>
                    </a:lnTo>
                    <a:lnTo>
                      <a:pt x="28" y="0"/>
                    </a:lnTo>
                    <a:lnTo>
                      <a:pt x="25" y="0"/>
                    </a:lnTo>
                    <a:lnTo>
                      <a:pt x="19" y="2"/>
                    </a:lnTo>
                    <a:lnTo>
                      <a:pt x="11" y="2"/>
                    </a:lnTo>
                    <a:lnTo>
                      <a:pt x="7" y="4"/>
                    </a:lnTo>
                    <a:lnTo>
                      <a:pt x="0" y="15"/>
                    </a:lnTo>
                    <a:lnTo>
                      <a:pt x="0" y="16"/>
                    </a:lnTo>
                    <a:lnTo>
                      <a:pt x="7" y="20"/>
                    </a:lnTo>
                    <a:lnTo>
                      <a:pt x="19" y="38"/>
                    </a:lnTo>
                    <a:lnTo>
                      <a:pt x="21" y="41"/>
                    </a:lnTo>
                    <a:lnTo>
                      <a:pt x="27" y="48"/>
                    </a:lnTo>
                    <a:lnTo>
                      <a:pt x="28" y="47"/>
                    </a:lnTo>
                    <a:lnTo>
                      <a:pt x="28" y="47"/>
                    </a:lnTo>
                    <a:lnTo>
                      <a:pt x="28" y="47"/>
                    </a:lnTo>
                    <a:lnTo>
                      <a:pt x="34" y="40"/>
                    </a:lnTo>
                    <a:lnTo>
                      <a:pt x="34" y="3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08" name="Freeform 1756"/>
              <p:cNvSpPr>
                <a:spLocks/>
              </p:cNvSpPr>
              <p:nvPr/>
            </p:nvSpPr>
            <p:spPr bwMode="auto">
              <a:xfrm>
                <a:off x="984" y="934"/>
                <a:ext cx="39" cy="48"/>
              </a:xfrm>
              <a:custGeom>
                <a:avLst/>
                <a:gdLst>
                  <a:gd name="T0" fmla="*/ 34 w 39"/>
                  <a:gd name="T1" fmla="*/ 38 h 48"/>
                  <a:gd name="T2" fmla="*/ 34 w 39"/>
                  <a:gd name="T3" fmla="*/ 36 h 48"/>
                  <a:gd name="T4" fmla="*/ 37 w 39"/>
                  <a:gd name="T5" fmla="*/ 27 h 48"/>
                  <a:gd name="T6" fmla="*/ 39 w 39"/>
                  <a:gd name="T7" fmla="*/ 11 h 48"/>
                  <a:gd name="T8" fmla="*/ 39 w 39"/>
                  <a:gd name="T9" fmla="*/ 9 h 48"/>
                  <a:gd name="T10" fmla="*/ 37 w 39"/>
                  <a:gd name="T11" fmla="*/ 7 h 48"/>
                  <a:gd name="T12" fmla="*/ 36 w 39"/>
                  <a:gd name="T13" fmla="*/ 4 h 48"/>
                  <a:gd name="T14" fmla="*/ 28 w 39"/>
                  <a:gd name="T15" fmla="*/ 0 h 48"/>
                  <a:gd name="T16" fmla="*/ 25 w 39"/>
                  <a:gd name="T17" fmla="*/ 0 h 48"/>
                  <a:gd name="T18" fmla="*/ 19 w 39"/>
                  <a:gd name="T19" fmla="*/ 2 h 48"/>
                  <a:gd name="T20" fmla="*/ 11 w 39"/>
                  <a:gd name="T21" fmla="*/ 2 h 48"/>
                  <a:gd name="T22" fmla="*/ 7 w 39"/>
                  <a:gd name="T23" fmla="*/ 4 h 48"/>
                  <a:gd name="T24" fmla="*/ 0 w 39"/>
                  <a:gd name="T25" fmla="*/ 15 h 48"/>
                  <a:gd name="T26" fmla="*/ 0 w 39"/>
                  <a:gd name="T27" fmla="*/ 16 h 48"/>
                  <a:gd name="T28" fmla="*/ 7 w 39"/>
                  <a:gd name="T29" fmla="*/ 20 h 48"/>
                  <a:gd name="T30" fmla="*/ 19 w 39"/>
                  <a:gd name="T31" fmla="*/ 38 h 48"/>
                  <a:gd name="T32" fmla="*/ 21 w 39"/>
                  <a:gd name="T33" fmla="*/ 41 h 48"/>
                  <a:gd name="T34" fmla="*/ 27 w 39"/>
                  <a:gd name="T35" fmla="*/ 48 h 48"/>
                  <a:gd name="T36" fmla="*/ 28 w 39"/>
                  <a:gd name="T37" fmla="*/ 47 h 48"/>
                  <a:gd name="T38" fmla="*/ 28 w 39"/>
                  <a:gd name="T39" fmla="*/ 47 h 48"/>
                  <a:gd name="T40" fmla="*/ 28 w 39"/>
                  <a:gd name="T41" fmla="*/ 47 h 48"/>
                  <a:gd name="T42" fmla="*/ 34 w 39"/>
                  <a:gd name="T43" fmla="*/ 40 h 48"/>
                  <a:gd name="T44" fmla="*/ 34 w 39"/>
                  <a:gd name="T45"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 h="48">
                    <a:moveTo>
                      <a:pt x="34" y="38"/>
                    </a:moveTo>
                    <a:lnTo>
                      <a:pt x="34" y="36"/>
                    </a:lnTo>
                    <a:lnTo>
                      <a:pt x="37" y="27"/>
                    </a:lnTo>
                    <a:lnTo>
                      <a:pt x="39" y="11"/>
                    </a:lnTo>
                    <a:lnTo>
                      <a:pt x="39" y="9"/>
                    </a:lnTo>
                    <a:lnTo>
                      <a:pt x="37" y="7"/>
                    </a:lnTo>
                    <a:lnTo>
                      <a:pt x="36" y="4"/>
                    </a:lnTo>
                    <a:lnTo>
                      <a:pt x="28" y="0"/>
                    </a:lnTo>
                    <a:lnTo>
                      <a:pt x="25" y="0"/>
                    </a:lnTo>
                    <a:lnTo>
                      <a:pt x="19" y="2"/>
                    </a:lnTo>
                    <a:lnTo>
                      <a:pt x="11" y="2"/>
                    </a:lnTo>
                    <a:lnTo>
                      <a:pt x="7" y="4"/>
                    </a:lnTo>
                    <a:lnTo>
                      <a:pt x="0" y="15"/>
                    </a:lnTo>
                    <a:lnTo>
                      <a:pt x="0" y="16"/>
                    </a:lnTo>
                    <a:lnTo>
                      <a:pt x="7" y="20"/>
                    </a:lnTo>
                    <a:lnTo>
                      <a:pt x="19" y="38"/>
                    </a:lnTo>
                    <a:lnTo>
                      <a:pt x="21" y="41"/>
                    </a:lnTo>
                    <a:lnTo>
                      <a:pt x="27" y="48"/>
                    </a:lnTo>
                    <a:lnTo>
                      <a:pt x="28" y="47"/>
                    </a:lnTo>
                    <a:lnTo>
                      <a:pt x="28" y="47"/>
                    </a:lnTo>
                    <a:lnTo>
                      <a:pt x="28" y="47"/>
                    </a:lnTo>
                    <a:lnTo>
                      <a:pt x="34" y="40"/>
                    </a:lnTo>
                    <a:lnTo>
                      <a:pt x="34" y="3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09" name="Freeform 1757"/>
              <p:cNvSpPr>
                <a:spLocks/>
              </p:cNvSpPr>
              <p:nvPr/>
            </p:nvSpPr>
            <p:spPr bwMode="auto">
              <a:xfrm>
                <a:off x="1057" y="925"/>
                <a:ext cx="96" cy="141"/>
              </a:xfrm>
              <a:custGeom>
                <a:avLst/>
                <a:gdLst>
                  <a:gd name="T0" fmla="*/ 36 w 96"/>
                  <a:gd name="T1" fmla="*/ 104 h 141"/>
                  <a:gd name="T2" fmla="*/ 32 w 96"/>
                  <a:gd name="T3" fmla="*/ 99 h 141"/>
                  <a:gd name="T4" fmla="*/ 23 w 96"/>
                  <a:gd name="T5" fmla="*/ 93 h 141"/>
                  <a:gd name="T6" fmla="*/ 16 w 96"/>
                  <a:gd name="T7" fmla="*/ 91 h 141"/>
                  <a:gd name="T8" fmla="*/ 0 w 96"/>
                  <a:gd name="T9" fmla="*/ 74 h 141"/>
                  <a:gd name="T10" fmla="*/ 9 w 96"/>
                  <a:gd name="T11" fmla="*/ 54 h 141"/>
                  <a:gd name="T12" fmla="*/ 14 w 96"/>
                  <a:gd name="T13" fmla="*/ 57 h 141"/>
                  <a:gd name="T14" fmla="*/ 18 w 96"/>
                  <a:gd name="T15" fmla="*/ 63 h 141"/>
                  <a:gd name="T16" fmla="*/ 21 w 96"/>
                  <a:gd name="T17" fmla="*/ 72 h 141"/>
                  <a:gd name="T18" fmla="*/ 29 w 96"/>
                  <a:gd name="T19" fmla="*/ 70 h 141"/>
                  <a:gd name="T20" fmla="*/ 38 w 96"/>
                  <a:gd name="T21" fmla="*/ 66 h 141"/>
                  <a:gd name="T22" fmla="*/ 36 w 96"/>
                  <a:gd name="T23" fmla="*/ 57 h 141"/>
                  <a:gd name="T24" fmla="*/ 39 w 96"/>
                  <a:gd name="T25" fmla="*/ 57 h 141"/>
                  <a:gd name="T26" fmla="*/ 34 w 96"/>
                  <a:gd name="T27" fmla="*/ 50 h 141"/>
                  <a:gd name="T28" fmla="*/ 34 w 96"/>
                  <a:gd name="T29" fmla="*/ 41 h 141"/>
                  <a:gd name="T30" fmla="*/ 41 w 96"/>
                  <a:gd name="T31" fmla="*/ 43 h 141"/>
                  <a:gd name="T32" fmla="*/ 34 w 96"/>
                  <a:gd name="T33" fmla="*/ 38 h 141"/>
                  <a:gd name="T34" fmla="*/ 21 w 96"/>
                  <a:gd name="T35" fmla="*/ 32 h 141"/>
                  <a:gd name="T36" fmla="*/ 18 w 96"/>
                  <a:gd name="T37" fmla="*/ 24 h 141"/>
                  <a:gd name="T38" fmla="*/ 27 w 96"/>
                  <a:gd name="T39" fmla="*/ 29 h 141"/>
                  <a:gd name="T40" fmla="*/ 29 w 96"/>
                  <a:gd name="T41" fmla="*/ 24 h 141"/>
                  <a:gd name="T42" fmla="*/ 23 w 96"/>
                  <a:gd name="T43" fmla="*/ 18 h 141"/>
                  <a:gd name="T44" fmla="*/ 23 w 96"/>
                  <a:gd name="T45" fmla="*/ 11 h 141"/>
                  <a:gd name="T46" fmla="*/ 34 w 96"/>
                  <a:gd name="T47" fmla="*/ 11 h 141"/>
                  <a:gd name="T48" fmla="*/ 38 w 96"/>
                  <a:gd name="T49" fmla="*/ 7 h 141"/>
                  <a:gd name="T50" fmla="*/ 36 w 96"/>
                  <a:gd name="T51" fmla="*/ 2 h 141"/>
                  <a:gd name="T52" fmla="*/ 43 w 96"/>
                  <a:gd name="T53" fmla="*/ 7 h 141"/>
                  <a:gd name="T54" fmla="*/ 55 w 96"/>
                  <a:gd name="T55" fmla="*/ 11 h 141"/>
                  <a:gd name="T56" fmla="*/ 73 w 96"/>
                  <a:gd name="T57" fmla="*/ 4 h 141"/>
                  <a:gd name="T58" fmla="*/ 84 w 96"/>
                  <a:gd name="T59" fmla="*/ 9 h 141"/>
                  <a:gd name="T60" fmla="*/ 84 w 96"/>
                  <a:gd name="T61" fmla="*/ 20 h 141"/>
                  <a:gd name="T62" fmla="*/ 79 w 96"/>
                  <a:gd name="T63" fmla="*/ 24 h 141"/>
                  <a:gd name="T64" fmla="*/ 82 w 96"/>
                  <a:gd name="T65" fmla="*/ 32 h 141"/>
                  <a:gd name="T66" fmla="*/ 71 w 96"/>
                  <a:gd name="T67" fmla="*/ 45 h 141"/>
                  <a:gd name="T68" fmla="*/ 64 w 96"/>
                  <a:gd name="T69" fmla="*/ 52 h 141"/>
                  <a:gd name="T70" fmla="*/ 75 w 96"/>
                  <a:gd name="T71" fmla="*/ 50 h 141"/>
                  <a:gd name="T72" fmla="*/ 82 w 96"/>
                  <a:gd name="T73" fmla="*/ 59 h 141"/>
                  <a:gd name="T74" fmla="*/ 86 w 96"/>
                  <a:gd name="T75" fmla="*/ 65 h 141"/>
                  <a:gd name="T76" fmla="*/ 86 w 96"/>
                  <a:gd name="T77" fmla="*/ 70 h 141"/>
                  <a:gd name="T78" fmla="*/ 93 w 96"/>
                  <a:gd name="T79" fmla="*/ 70 h 141"/>
                  <a:gd name="T80" fmla="*/ 95 w 96"/>
                  <a:gd name="T81" fmla="*/ 72 h 141"/>
                  <a:gd name="T82" fmla="*/ 96 w 96"/>
                  <a:gd name="T83" fmla="*/ 84 h 141"/>
                  <a:gd name="T84" fmla="*/ 93 w 96"/>
                  <a:gd name="T85" fmla="*/ 90 h 141"/>
                  <a:gd name="T86" fmla="*/ 95 w 96"/>
                  <a:gd name="T87" fmla="*/ 102 h 141"/>
                  <a:gd name="T88" fmla="*/ 95 w 96"/>
                  <a:gd name="T89" fmla="*/ 106 h 141"/>
                  <a:gd name="T90" fmla="*/ 93 w 96"/>
                  <a:gd name="T91" fmla="*/ 113 h 141"/>
                  <a:gd name="T92" fmla="*/ 82 w 96"/>
                  <a:gd name="T93" fmla="*/ 125 h 141"/>
                  <a:gd name="T94" fmla="*/ 70 w 96"/>
                  <a:gd name="T95" fmla="*/ 125 h 141"/>
                  <a:gd name="T96" fmla="*/ 73 w 96"/>
                  <a:gd name="T97" fmla="*/ 134 h 141"/>
                  <a:gd name="T98" fmla="*/ 64 w 96"/>
                  <a:gd name="T99" fmla="*/ 141 h 141"/>
                  <a:gd name="T100" fmla="*/ 59 w 96"/>
                  <a:gd name="T101" fmla="*/ 138 h 141"/>
                  <a:gd name="T102" fmla="*/ 52 w 96"/>
                  <a:gd name="T103" fmla="*/ 127 h 141"/>
                  <a:gd name="T104" fmla="*/ 46 w 96"/>
                  <a:gd name="T105" fmla="*/ 11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6" h="141">
                    <a:moveTo>
                      <a:pt x="41" y="111"/>
                    </a:moveTo>
                    <a:lnTo>
                      <a:pt x="39" y="109"/>
                    </a:lnTo>
                    <a:lnTo>
                      <a:pt x="36" y="104"/>
                    </a:lnTo>
                    <a:lnTo>
                      <a:pt x="36" y="102"/>
                    </a:lnTo>
                    <a:lnTo>
                      <a:pt x="34" y="99"/>
                    </a:lnTo>
                    <a:lnTo>
                      <a:pt x="32" y="99"/>
                    </a:lnTo>
                    <a:lnTo>
                      <a:pt x="29" y="100"/>
                    </a:lnTo>
                    <a:lnTo>
                      <a:pt x="27" y="93"/>
                    </a:lnTo>
                    <a:lnTo>
                      <a:pt x="23" y="93"/>
                    </a:lnTo>
                    <a:lnTo>
                      <a:pt x="23" y="97"/>
                    </a:lnTo>
                    <a:lnTo>
                      <a:pt x="16" y="95"/>
                    </a:lnTo>
                    <a:lnTo>
                      <a:pt x="16" y="91"/>
                    </a:lnTo>
                    <a:lnTo>
                      <a:pt x="13" y="88"/>
                    </a:lnTo>
                    <a:lnTo>
                      <a:pt x="13" y="86"/>
                    </a:lnTo>
                    <a:lnTo>
                      <a:pt x="0" y="74"/>
                    </a:lnTo>
                    <a:lnTo>
                      <a:pt x="2" y="56"/>
                    </a:lnTo>
                    <a:lnTo>
                      <a:pt x="5" y="54"/>
                    </a:lnTo>
                    <a:lnTo>
                      <a:pt x="9" y="54"/>
                    </a:lnTo>
                    <a:lnTo>
                      <a:pt x="11" y="56"/>
                    </a:lnTo>
                    <a:lnTo>
                      <a:pt x="13" y="57"/>
                    </a:lnTo>
                    <a:lnTo>
                      <a:pt x="14" y="57"/>
                    </a:lnTo>
                    <a:lnTo>
                      <a:pt x="13" y="61"/>
                    </a:lnTo>
                    <a:lnTo>
                      <a:pt x="14" y="63"/>
                    </a:lnTo>
                    <a:lnTo>
                      <a:pt x="18" y="63"/>
                    </a:lnTo>
                    <a:lnTo>
                      <a:pt x="20" y="65"/>
                    </a:lnTo>
                    <a:lnTo>
                      <a:pt x="20" y="68"/>
                    </a:lnTo>
                    <a:lnTo>
                      <a:pt x="21" y="72"/>
                    </a:lnTo>
                    <a:lnTo>
                      <a:pt x="27" y="74"/>
                    </a:lnTo>
                    <a:lnTo>
                      <a:pt x="29" y="72"/>
                    </a:lnTo>
                    <a:lnTo>
                      <a:pt x="29" y="70"/>
                    </a:lnTo>
                    <a:lnTo>
                      <a:pt x="32" y="70"/>
                    </a:lnTo>
                    <a:lnTo>
                      <a:pt x="34" y="70"/>
                    </a:lnTo>
                    <a:lnTo>
                      <a:pt x="38" y="66"/>
                    </a:lnTo>
                    <a:lnTo>
                      <a:pt x="36" y="63"/>
                    </a:lnTo>
                    <a:lnTo>
                      <a:pt x="34" y="57"/>
                    </a:lnTo>
                    <a:lnTo>
                      <a:pt x="36" y="57"/>
                    </a:lnTo>
                    <a:lnTo>
                      <a:pt x="38" y="61"/>
                    </a:lnTo>
                    <a:lnTo>
                      <a:pt x="39" y="61"/>
                    </a:lnTo>
                    <a:lnTo>
                      <a:pt x="39" y="57"/>
                    </a:lnTo>
                    <a:lnTo>
                      <a:pt x="38" y="54"/>
                    </a:lnTo>
                    <a:lnTo>
                      <a:pt x="36" y="54"/>
                    </a:lnTo>
                    <a:lnTo>
                      <a:pt x="34" y="50"/>
                    </a:lnTo>
                    <a:lnTo>
                      <a:pt x="34" y="50"/>
                    </a:lnTo>
                    <a:lnTo>
                      <a:pt x="32" y="43"/>
                    </a:lnTo>
                    <a:lnTo>
                      <a:pt x="34" y="41"/>
                    </a:lnTo>
                    <a:lnTo>
                      <a:pt x="36" y="41"/>
                    </a:lnTo>
                    <a:lnTo>
                      <a:pt x="41" y="45"/>
                    </a:lnTo>
                    <a:lnTo>
                      <a:pt x="41" y="43"/>
                    </a:lnTo>
                    <a:lnTo>
                      <a:pt x="36" y="34"/>
                    </a:lnTo>
                    <a:lnTo>
                      <a:pt x="34" y="36"/>
                    </a:lnTo>
                    <a:lnTo>
                      <a:pt x="34" y="38"/>
                    </a:lnTo>
                    <a:lnTo>
                      <a:pt x="27" y="40"/>
                    </a:lnTo>
                    <a:lnTo>
                      <a:pt x="23" y="38"/>
                    </a:lnTo>
                    <a:lnTo>
                      <a:pt x="21" y="32"/>
                    </a:lnTo>
                    <a:lnTo>
                      <a:pt x="18" y="32"/>
                    </a:lnTo>
                    <a:lnTo>
                      <a:pt x="18" y="27"/>
                    </a:lnTo>
                    <a:lnTo>
                      <a:pt x="18" y="24"/>
                    </a:lnTo>
                    <a:lnTo>
                      <a:pt x="23" y="24"/>
                    </a:lnTo>
                    <a:lnTo>
                      <a:pt x="27" y="25"/>
                    </a:lnTo>
                    <a:lnTo>
                      <a:pt x="27" y="29"/>
                    </a:lnTo>
                    <a:lnTo>
                      <a:pt x="30" y="31"/>
                    </a:lnTo>
                    <a:lnTo>
                      <a:pt x="30" y="27"/>
                    </a:lnTo>
                    <a:lnTo>
                      <a:pt x="29" y="24"/>
                    </a:lnTo>
                    <a:lnTo>
                      <a:pt x="29" y="22"/>
                    </a:lnTo>
                    <a:lnTo>
                      <a:pt x="25" y="22"/>
                    </a:lnTo>
                    <a:lnTo>
                      <a:pt x="23" y="18"/>
                    </a:lnTo>
                    <a:lnTo>
                      <a:pt x="21" y="18"/>
                    </a:lnTo>
                    <a:lnTo>
                      <a:pt x="20" y="15"/>
                    </a:lnTo>
                    <a:lnTo>
                      <a:pt x="23" y="11"/>
                    </a:lnTo>
                    <a:lnTo>
                      <a:pt x="29" y="7"/>
                    </a:lnTo>
                    <a:lnTo>
                      <a:pt x="30" y="9"/>
                    </a:lnTo>
                    <a:lnTo>
                      <a:pt x="34" y="11"/>
                    </a:lnTo>
                    <a:lnTo>
                      <a:pt x="36" y="13"/>
                    </a:lnTo>
                    <a:lnTo>
                      <a:pt x="38" y="11"/>
                    </a:lnTo>
                    <a:lnTo>
                      <a:pt x="38" y="7"/>
                    </a:lnTo>
                    <a:lnTo>
                      <a:pt x="34" y="7"/>
                    </a:lnTo>
                    <a:lnTo>
                      <a:pt x="32" y="4"/>
                    </a:lnTo>
                    <a:lnTo>
                      <a:pt x="36" y="2"/>
                    </a:lnTo>
                    <a:lnTo>
                      <a:pt x="38" y="0"/>
                    </a:lnTo>
                    <a:lnTo>
                      <a:pt x="39" y="2"/>
                    </a:lnTo>
                    <a:lnTo>
                      <a:pt x="43" y="7"/>
                    </a:lnTo>
                    <a:lnTo>
                      <a:pt x="45" y="7"/>
                    </a:lnTo>
                    <a:lnTo>
                      <a:pt x="52" y="13"/>
                    </a:lnTo>
                    <a:lnTo>
                      <a:pt x="55" y="11"/>
                    </a:lnTo>
                    <a:lnTo>
                      <a:pt x="57" y="13"/>
                    </a:lnTo>
                    <a:lnTo>
                      <a:pt x="64" y="9"/>
                    </a:lnTo>
                    <a:lnTo>
                      <a:pt x="73" y="4"/>
                    </a:lnTo>
                    <a:lnTo>
                      <a:pt x="80" y="2"/>
                    </a:lnTo>
                    <a:lnTo>
                      <a:pt x="80" y="4"/>
                    </a:lnTo>
                    <a:lnTo>
                      <a:pt x="84" y="9"/>
                    </a:lnTo>
                    <a:lnTo>
                      <a:pt x="86" y="9"/>
                    </a:lnTo>
                    <a:lnTo>
                      <a:pt x="86" y="16"/>
                    </a:lnTo>
                    <a:lnTo>
                      <a:pt x="84" y="20"/>
                    </a:lnTo>
                    <a:lnTo>
                      <a:pt x="79" y="22"/>
                    </a:lnTo>
                    <a:lnTo>
                      <a:pt x="79" y="24"/>
                    </a:lnTo>
                    <a:lnTo>
                      <a:pt x="79" y="24"/>
                    </a:lnTo>
                    <a:lnTo>
                      <a:pt x="82" y="25"/>
                    </a:lnTo>
                    <a:lnTo>
                      <a:pt x="82" y="34"/>
                    </a:lnTo>
                    <a:lnTo>
                      <a:pt x="82" y="32"/>
                    </a:lnTo>
                    <a:lnTo>
                      <a:pt x="79" y="34"/>
                    </a:lnTo>
                    <a:lnTo>
                      <a:pt x="73" y="40"/>
                    </a:lnTo>
                    <a:lnTo>
                      <a:pt x="71" y="45"/>
                    </a:lnTo>
                    <a:lnTo>
                      <a:pt x="68" y="47"/>
                    </a:lnTo>
                    <a:lnTo>
                      <a:pt x="68" y="49"/>
                    </a:lnTo>
                    <a:lnTo>
                      <a:pt x="64" y="52"/>
                    </a:lnTo>
                    <a:lnTo>
                      <a:pt x="64" y="57"/>
                    </a:lnTo>
                    <a:lnTo>
                      <a:pt x="71" y="52"/>
                    </a:lnTo>
                    <a:lnTo>
                      <a:pt x="75" y="50"/>
                    </a:lnTo>
                    <a:lnTo>
                      <a:pt x="79" y="52"/>
                    </a:lnTo>
                    <a:lnTo>
                      <a:pt x="82" y="56"/>
                    </a:lnTo>
                    <a:lnTo>
                      <a:pt x="82" y="59"/>
                    </a:lnTo>
                    <a:lnTo>
                      <a:pt x="82" y="61"/>
                    </a:lnTo>
                    <a:lnTo>
                      <a:pt x="84" y="65"/>
                    </a:lnTo>
                    <a:lnTo>
                      <a:pt x="86" y="65"/>
                    </a:lnTo>
                    <a:lnTo>
                      <a:pt x="86" y="66"/>
                    </a:lnTo>
                    <a:lnTo>
                      <a:pt x="86" y="68"/>
                    </a:lnTo>
                    <a:lnTo>
                      <a:pt x="86" y="70"/>
                    </a:lnTo>
                    <a:lnTo>
                      <a:pt x="86" y="74"/>
                    </a:lnTo>
                    <a:lnTo>
                      <a:pt x="89" y="70"/>
                    </a:lnTo>
                    <a:lnTo>
                      <a:pt x="93" y="70"/>
                    </a:lnTo>
                    <a:lnTo>
                      <a:pt x="93" y="66"/>
                    </a:lnTo>
                    <a:lnTo>
                      <a:pt x="95" y="68"/>
                    </a:lnTo>
                    <a:lnTo>
                      <a:pt x="95" y="72"/>
                    </a:lnTo>
                    <a:lnTo>
                      <a:pt x="95" y="74"/>
                    </a:lnTo>
                    <a:lnTo>
                      <a:pt x="96" y="81"/>
                    </a:lnTo>
                    <a:lnTo>
                      <a:pt x="96" y="84"/>
                    </a:lnTo>
                    <a:lnTo>
                      <a:pt x="96" y="86"/>
                    </a:lnTo>
                    <a:lnTo>
                      <a:pt x="93" y="88"/>
                    </a:lnTo>
                    <a:lnTo>
                      <a:pt x="93" y="90"/>
                    </a:lnTo>
                    <a:lnTo>
                      <a:pt x="95" y="95"/>
                    </a:lnTo>
                    <a:lnTo>
                      <a:pt x="95" y="100"/>
                    </a:lnTo>
                    <a:lnTo>
                      <a:pt x="95" y="102"/>
                    </a:lnTo>
                    <a:lnTo>
                      <a:pt x="93" y="104"/>
                    </a:lnTo>
                    <a:lnTo>
                      <a:pt x="95" y="104"/>
                    </a:lnTo>
                    <a:lnTo>
                      <a:pt x="95" y="106"/>
                    </a:lnTo>
                    <a:lnTo>
                      <a:pt x="96" y="113"/>
                    </a:lnTo>
                    <a:lnTo>
                      <a:pt x="95" y="115"/>
                    </a:lnTo>
                    <a:lnTo>
                      <a:pt x="93" y="113"/>
                    </a:lnTo>
                    <a:lnTo>
                      <a:pt x="91" y="116"/>
                    </a:lnTo>
                    <a:lnTo>
                      <a:pt x="89" y="122"/>
                    </a:lnTo>
                    <a:lnTo>
                      <a:pt x="82" y="125"/>
                    </a:lnTo>
                    <a:lnTo>
                      <a:pt x="79" y="125"/>
                    </a:lnTo>
                    <a:lnTo>
                      <a:pt x="73" y="125"/>
                    </a:lnTo>
                    <a:lnTo>
                      <a:pt x="70" y="125"/>
                    </a:lnTo>
                    <a:lnTo>
                      <a:pt x="70" y="125"/>
                    </a:lnTo>
                    <a:lnTo>
                      <a:pt x="73" y="131"/>
                    </a:lnTo>
                    <a:lnTo>
                      <a:pt x="73" y="134"/>
                    </a:lnTo>
                    <a:lnTo>
                      <a:pt x="68" y="138"/>
                    </a:lnTo>
                    <a:lnTo>
                      <a:pt x="68" y="140"/>
                    </a:lnTo>
                    <a:lnTo>
                      <a:pt x="64" y="141"/>
                    </a:lnTo>
                    <a:lnTo>
                      <a:pt x="63" y="141"/>
                    </a:lnTo>
                    <a:lnTo>
                      <a:pt x="61" y="136"/>
                    </a:lnTo>
                    <a:lnTo>
                      <a:pt x="59" y="138"/>
                    </a:lnTo>
                    <a:lnTo>
                      <a:pt x="57" y="140"/>
                    </a:lnTo>
                    <a:lnTo>
                      <a:pt x="55" y="140"/>
                    </a:lnTo>
                    <a:lnTo>
                      <a:pt x="52" y="127"/>
                    </a:lnTo>
                    <a:lnTo>
                      <a:pt x="50" y="125"/>
                    </a:lnTo>
                    <a:lnTo>
                      <a:pt x="50" y="120"/>
                    </a:lnTo>
                    <a:lnTo>
                      <a:pt x="46" y="116"/>
                    </a:lnTo>
                    <a:lnTo>
                      <a:pt x="43" y="113"/>
                    </a:lnTo>
                    <a:lnTo>
                      <a:pt x="41" y="1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10" name="Freeform 1758"/>
              <p:cNvSpPr>
                <a:spLocks/>
              </p:cNvSpPr>
              <p:nvPr/>
            </p:nvSpPr>
            <p:spPr bwMode="auto">
              <a:xfrm>
                <a:off x="1057" y="925"/>
                <a:ext cx="96" cy="141"/>
              </a:xfrm>
              <a:custGeom>
                <a:avLst/>
                <a:gdLst>
                  <a:gd name="T0" fmla="*/ 36 w 96"/>
                  <a:gd name="T1" fmla="*/ 104 h 141"/>
                  <a:gd name="T2" fmla="*/ 32 w 96"/>
                  <a:gd name="T3" fmla="*/ 99 h 141"/>
                  <a:gd name="T4" fmla="*/ 23 w 96"/>
                  <a:gd name="T5" fmla="*/ 93 h 141"/>
                  <a:gd name="T6" fmla="*/ 16 w 96"/>
                  <a:gd name="T7" fmla="*/ 91 h 141"/>
                  <a:gd name="T8" fmla="*/ 0 w 96"/>
                  <a:gd name="T9" fmla="*/ 74 h 141"/>
                  <a:gd name="T10" fmla="*/ 9 w 96"/>
                  <a:gd name="T11" fmla="*/ 54 h 141"/>
                  <a:gd name="T12" fmla="*/ 14 w 96"/>
                  <a:gd name="T13" fmla="*/ 57 h 141"/>
                  <a:gd name="T14" fmla="*/ 18 w 96"/>
                  <a:gd name="T15" fmla="*/ 63 h 141"/>
                  <a:gd name="T16" fmla="*/ 21 w 96"/>
                  <a:gd name="T17" fmla="*/ 72 h 141"/>
                  <a:gd name="T18" fmla="*/ 29 w 96"/>
                  <a:gd name="T19" fmla="*/ 70 h 141"/>
                  <a:gd name="T20" fmla="*/ 38 w 96"/>
                  <a:gd name="T21" fmla="*/ 66 h 141"/>
                  <a:gd name="T22" fmla="*/ 36 w 96"/>
                  <a:gd name="T23" fmla="*/ 57 h 141"/>
                  <a:gd name="T24" fmla="*/ 39 w 96"/>
                  <a:gd name="T25" fmla="*/ 57 h 141"/>
                  <a:gd name="T26" fmla="*/ 34 w 96"/>
                  <a:gd name="T27" fmla="*/ 50 h 141"/>
                  <a:gd name="T28" fmla="*/ 34 w 96"/>
                  <a:gd name="T29" fmla="*/ 41 h 141"/>
                  <a:gd name="T30" fmla="*/ 41 w 96"/>
                  <a:gd name="T31" fmla="*/ 43 h 141"/>
                  <a:gd name="T32" fmla="*/ 34 w 96"/>
                  <a:gd name="T33" fmla="*/ 38 h 141"/>
                  <a:gd name="T34" fmla="*/ 21 w 96"/>
                  <a:gd name="T35" fmla="*/ 32 h 141"/>
                  <a:gd name="T36" fmla="*/ 18 w 96"/>
                  <a:gd name="T37" fmla="*/ 24 h 141"/>
                  <a:gd name="T38" fmla="*/ 27 w 96"/>
                  <a:gd name="T39" fmla="*/ 29 h 141"/>
                  <a:gd name="T40" fmla="*/ 29 w 96"/>
                  <a:gd name="T41" fmla="*/ 24 h 141"/>
                  <a:gd name="T42" fmla="*/ 23 w 96"/>
                  <a:gd name="T43" fmla="*/ 18 h 141"/>
                  <a:gd name="T44" fmla="*/ 23 w 96"/>
                  <a:gd name="T45" fmla="*/ 11 h 141"/>
                  <a:gd name="T46" fmla="*/ 34 w 96"/>
                  <a:gd name="T47" fmla="*/ 11 h 141"/>
                  <a:gd name="T48" fmla="*/ 38 w 96"/>
                  <a:gd name="T49" fmla="*/ 7 h 141"/>
                  <a:gd name="T50" fmla="*/ 36 w 96"/>
                  <a:gd name="T51" fmla="*/ 2 h 141"/>
                  <a:gd name="T52" fmla="*/ 43 w 96"/>
                  <a:gd name="T53" fmla="*/ 7 h 141"/>
                  <a:gd name="T54" fmla="*/ 55 w 96"/>
                  <a:gd name="T55" fmla="*/ 11 h 141"/>
                  <a:gd name="T56" fmla="*/ 73 w 96"/>
                  <a:gd name="T57" fmla="*/ 4 h 141"/>
                  <a:gd name="T58" fmla="*/ 84 w 96"/>
                  <a:gd name="T59" fmla="*/ 9 h 141"/>
                  <a:gd name="T60" fmla="*/ 84 w 96"/>
                  <a:gd name="T61" fmla="*/ 20 h 141"/>
                  <a:gd name="T62" fmla="*/ 79 w 96"/>
                  <a:gd name="T63" fmla="*/ 24 h 141"/>
                  <a:gd name="T64" fmla="*/ 82 w 96"/>
                  <a:gd name="T65" fmla="*/ 32 h 141"/>
                  <a:gd name="T66" fmla="*/ 71 w 96"/>
                  <a:gd name="T67" fmla="*/ 45 h 141"/>
                  <a:gd name="T68" fmla="*/ 64 w 96"/>
                  <a:gd name="T69" fmla="*/ 52 h 141"/>
                  <a:gd name="T70" fmla="*/ 75 w 96"/>
                  <a:gd name="T71" fmla="*/ 50 h 141"/>
                  <a:gd name="T72" fmla="*/ 82 w 96"/>
                  <a:gd name="T73" fmla="*/ 59 h 141"/>
                  <a:gd name="T74" fmla="*/ 86 w 96"/>
                  <a:gd name="T75" fmla="*/ 65 h 141"/>
                  <a:gd name="T76" fmla="*/ 86 w 96"/>
                  <a:gd name="T77" fmla="*/ 70 h 141"/>
                  <a:gd name="T78" fmla="*/ 93 w 96"/>
                  <a:gd name="T79" fmla="*/ 70 h 141"/>
                  <a:gd name="T80" fmla="*/ 95 w 96"/>
                  <a:gd name="T81" fmla="*/ 72 h 141"/>
                  <a:gd name="T82" fmla="*/ 96 w 96"/>
                  <a:gd name="T83" fmla="*/ 84 h 141"/>
                  <a:gd name="T84" fmla="*/ 93 w 96"/>
                  <a:gd name="T85" fmla="*/ 90 h 141"/>
                  <a:gd name="T86" fmla="*/ 95 w 96"/>
                  <a:gd name="T87" fmla="*/ 102 h 141"/>
                  <a:gd name="T88" fmla="*/ 95 w 96"/>
                  <a:gd name="T89" fmla="*/ 106 h 141"/>
                  <a:gd name="T90" fmla="*/ 93 w 96"/>
                  <a:gd name="T91" fmla="*/ 113 h 141"/>
                  <a:gd name="T92" fmla="*/ 82 w 96"/>
                  <a:gd name="T93" fmla="*/ 125 h 141"/>
                  <a:gd name="T94" fmla="*/ 70 w 96"/>
                  <a:gd name="T95" fmla="*/ 125 h 141"/>
                  <a:gd name="T96" fmla="*/ 73 w 96"/>
                  <a:gd name="T97" fmla="*/ 134 h 141"/>
                  <a:gd name="T98" fmla="*/ 64 w 96"/>
                  <a:gd name="T99" fmla="*/ 141 h 141"/>
                  <a:gd name="T100" fmla="*/ 59 w 96"/>
                  <a:gd name="T101" fmla="*/ 138 h 141"/>
                  <a:gd name="T102" fmla="*/ 52 w 96"/>
                  <a:gd name="T103" fmla="*/ 127 h 141"/>
                  <a:gd name="T104" fmla="*/ 46 w 96"/>
                  <a:gd name="T105" fmla="*/ 116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6" h="141">
                    <a:moveTo>
                      <a:pt x="41" y="111"/>
                    </a:moveTo>
                    <a:lnTo>
                      <a:pt x="39" y="109"/>
                    </a:lnTo>
                    <a:lnTo>
                      <a:pt x="36" y="104"/>
                    </a:lnTo>
                    <a:lnTo>
                      <a:pt x="36" y="102"/>
                    </a:lnTo>
                    <a:lnTo>
                      <a:pt x="34" y="99"/>
                    </a:lnTo>
                    <a:lnTo>
                      <a:pt x="32" y="99"/>
                    </a:lnTo>
                    <a:lnTo>
                      <a:pt x="29" y="100"/>
                    </a:lnTo>
                    <a:lnTo>
                      <a:pt x="27" y="93"/>
                    </a:lnTo>
                    <a:lnTo>
                      <a:pt x="23" y="93"/>
                    </a:lnTo>
                    <a:lnTo>
                      <a:pt x="23" y="97"/>
                    </a:lnTo>
                    <a:lnTo>
                      <a:pt x="16" y="95"/>
                    </a:lnTo>
                    <a:lnTo>
                      <a:pt x="16" y="91"/>
                    </a:lnTo>
                    <a:lnTo>
                      <a:pt x="13" y="88"/>
                    </a:lnTo>
                    <a:lnTo>
                      <a:pt x="13" y="86"/>
                    </a:lnTo>
                    <a:lnTo>
                      <a:pt x="0" y="74"/>
                    </a:lnTo>
                    <a:lnTo>
                      <a:pt x="2" y="56"/>
                    </a:lnTo>
                    <a:lnTo>
                      <a:pt x="5" y="54"/>
                    </a:lnTo>
                    <a:lnTo>
                      <a:pt x="9" y="54"/>
                    </a:lnTo>
                    <a:lnTo>
                      <a:pt x="11" y="56"/>
                    </a:lnTo>
                    <a:lnTo>
                      <a:pt x="13" y="57"/>
                    </a:lnTo>
                    <a:lnTo>
                      <a:pt x="14" y="57"/>
                    </a:lnTo>
                    <a:lnTo>
                      <a:pt x="13" y="61"/>
                    </a:lnTo>
                    <a:lnTo>
                      <a:pt x="14" y="63"/>
                    </a:lnTo>
                    <a:lnTo>
                      <a:pt x="18" y="63"/>
                    </a:lnTo>
                    <a:lnTo>
                      <a:pt x="20" y="65"/>
                    </a:lnTo>
                    <a:lnTo>
                      <a:pt x="20" y="68"/>
                    </a:lnTo>
                    <a:lnTo>
                      <a:pt x="21" y="72"/>
                    </a:lnTo>
                    <a:lnTo>
                      <a:pt x="27" y="74"/>
                    </a:lnTo>
                    <a:lnTo>
                      <a:pt x="29" y="72"/>
                    </a:lnTo>
                    <a:lnTo>
                      <a:pt x="29" y="70"/>
                    </a:lnTo>
                    <a:lnTo>
                      <a:pt x="32" y="70"/>
                    </a:lnTo>
                    <a:lnTo>
                      <a:pt x="34" y="70"/>
                    </a:lnTo>
                    <a:lnTo>
                      <a:pt x="38" y="66"/>
                    </a:lnTo>
                    <a:lnTo>
                      <a:pt x="36" y="63"/>
                    </a:lnTo>
                    <a:lnTo>
                      <a:pt x="34" y="57"/>
                    </a:lnTo>
                    <a:lnTo>
                      <a:pt x="36" y="57"/>
                    </a:lnTo>
                    <a:lnTo>
                      <a:pt x="38" y="61"/>
                    </a:lnTo>
                    <a:lnTo>
                      <a:pt x="39" y="61"/>
                    </a:lnTo>
                    <a:lnTo>
                      <a:pt x="39" y="57"/>
                    </a:lnTo>
                    <a:lnTo>
                      <a:pt x="38" y="54"/>
                    </a:lnTo>
                    <a:lnTo>
                      <a:pt x="36" y="54"/>
                    </a:lnTo>
                    <a:lnTo>
                      <a:pt x="34" y="50"/>
                    </a:lnTo>
                    <a:lnTo>
                      <a:pt x="34" y="50"/>
                    </a:lnTo>
                    <a:lnTo>
                      <a:pt x="32" y="43"/>
                    </a:lnTo>
                    <a:lnTo>
                      <a:pt x="34" y="41"/>
                    </a:lnTo>
                    <a:lnTo>
                      <a:pt x="36" y="41"/>
                    </a:lnTo>
                    <a:lnTo>
                      <a:pt x="41" y="45"/>
                    </a:lnTo>
                    <a:lnTo>
                      <a:pt x="41" y="43"/>
                    </a:lnTo>
                    <a:lnTo>
                      <a:pt x="36" y="34"/>
                    </a:lnTo>
                    <a:lnTo>
                      <a:pt x="34" y="36"/>
                    </a:lnTo>
                    <a:lnTo>
                      <a:pt x="34" y="38"/>
                    </a:lnTo>
                    <a:lnTo>
                      <a:pt x="27" y="40"/>
                    </a:lnTo>
                    <a:lnTo>
                      <a:pt x="23" y="38"/>
                    </a:lnTo>
                    <a:lnTo>
                      <a:pt x="21" y="32"/>
                    </a:lnTo>
                    <a:lnTo>
                      <a:pt x="18" y="32"/>
                    </a:lnTo>
                    <a:lnTo>
                      <a:pt x="18" y="27"/>
                    </a:lnTo>
                    <a:lnTo>
                      <a:pt x="18" y="24"/>
                    </a:lnTo>
                    <a:lnTo>
                      <a:pt x="23" y="24"/>
                    </a:lnTo>
                    <a:lnTo>
                      <a:pt x="27" y="25"/>
                    </a:lnTo>
                    <a:lnTo>
                      <a:pt x="27" y="29"/>
                    </a:lnTo>
                    <a:lnTo>
                      <a:pt x="30" y="31"/>
                    </a:lnTo>
                    <a:lnTo>
                      <a:pt x="30" y="27"/>
                    </a:lnTo>
                    <a:lnTo>
                      <a:pt x="29" y="24"/>
                    </a:lnTo>
                    <a:lnTo>
                      <a:pt x="29" y="22"/>
                    </a:lnTo>
                    <a:lnTo>
                      <a:pt x="25" y="22"/>
                    </a:lnTo>
                    <a:lnTo>
                      <a:pt x="23" y="18"/>
                    </a:lnTo>
                    <a:lnTo>
                      <a:pt x="21" y="18"/>
                    </a:lnTo>
                    <a:lnTo>
                      <a:pt x="20" y="15"/>
                    </a:lnTo>
                    <a:lnTo>
                      <a:pt x="23" y="11"/>
                    </a:lnTo>
                    <a:lnTo>
                      <a:pt x="29" y="7"/>
                    </a:lnTo>
                    <a:lnTo>
                      <a:pt x="30" y="9"/>
                    </a:lnTo>
                    <a:lnTo>
                      <a:pt x="34" y="11"/>
                    </a:lnTo>
                    <a:lnTo>
                      <a:pt x="36" y="13"/>
                    </a:lnTo>
                    <a:lnTo>
                      <a:pt x="38" y="11"/>
                    </a:lnTo>
                    <a:lnTo>
                      <a:pt x="38" y="7"/>
                    </a:lnTo>
                    <a:lnTo>
                      <a:pt x="34" y="7"/>
                    </a:lnTo>
                    <a:lnTo>
                      <a:pt x="32" y="4"/>
                    </a:lnTo>
                    <a:lnTo>
                      <a:pt x="36" y="2"/>
                    </a:lnTo>
                    <a:lnTo>
                      <a:pt x="38" y="0"/>
                    </a:lnTo>
                    <a:lnTo>
                      <a:pt x="39" y="2"/>
                    </a:lnTo>
                    <a:lnTo>
                      <a:pt x="43" y="7"/>
                    </a:lnTo>
                    <a:lnTo>
                      <a:pt x="45" y="7"/>
                    </a:lnTo>
                    <a:lnTo>
                      <a:pt x="52" y="13"/>
                    </a:lnTo>
                    <a:lnTo>
                      <a:pt x="55" y="11"/>
                    </a:lnTo>
                    <a:lnTo>
                      <a:pt x="57" y="13"/>
                    </a:lnTo>
                    <a:lnTo>
                      <a:pt x="64" y="9"/>
                    </a:lnTo>
                    <a:lnTo>
                      <a:pt x="73" y="4"/>
                    </a:lnTo>
                    <a:lnTo>
                      <a:pt x="80" y="2"/>
                    </a:lnTo>
                    <a:lnTo>
                      <a:pt x="80" y="4"/>
                    </a:lnTo>
                    <a:lnTo>
                      <a:pt x="84" y="9"/>
                    </a:lnTo>
                    <a:lnTo>
                      <a:pt x="86" y="9"/>
                    </a:lnTo>
                    <a:lnTo>
                      <a:pt x="86" y="16"/>
                    </a:lnTo>
                    <a:lnTo>
                      <a:pt x="84" y="20"/>
                    </a:lnTo>
                    <a:lnTo>
                      <a:pt x="79" y="22"/>
                    </a:lnTo>
                    <a:lnTo>
                      <a:pt x="79" y="24"/>
                    </a:lnTo>
                    <a:lnTo>
                      <a:pt x="79" y="24"/>
                    </a:lnTo>
                    <a:lnTo>
                      <a:pt x="82" y="25"/>
                    </a:lnTo>
                    <a:lnTo>
                      <a:pt x="82" y="34"/>
                    </a:lnTo>
                    <a:lnTo>
                      <a:pt x="82" y="32"/>
                    </a:lnTo>
                    <a:lnTo>
                      <a:pt x="79" y="34"/>
                    </a:lnTo>
                    <a:lnTo>
                      <a:pt x="73" y="40"/>
                    </a:lnTo>
                    <a:lnTo>
                      <a:pt x="71" y="45"/>
                    </a:lnTo>
                    <a:lnTo>
                      <a:pt x="68" y="47"/>
                    </a:lnTo>
                    <a:lnTo>
                      <a:pt x="68" y="49"/>
                    </a:lnTo>
                    <a:lnTo>
                      <a:pt x="64" y="52"/>
                    </a:lnTo>
                    <a:lnTo>
                      <a:pt x="64" y="57"/>
                    </a:lnTo>
                    <a:lnTo>
                      <a:pt x="71" y="52"/>
                    </a:lnTo>
                    <a:lnTo>
                      <a:pt x="75" y="50"/>
                    </a:lnTo>
                    <a:lnTo>
                      <a:pt x="79" y="52"/>
                    </a:lnTo>
                    <a:lnTo>
                      <a:pt x="82" y="56"/>
                    </a:lnTo>
                    <a:lnTo>
                      <a:pt x="82" y="59"/>
                    </a:lnTo>
                    <a:lnTo>
                      <a:pt x="82" y="61"/>
                    </a:lnTo>
                    <a:lnTo>
                      <a:pt x="84" y="65"/>
                    </a:lnTo>
                    <a:lnTo>
                      <a:pt x="86" y="65"/>
                    </a:lnTo>
                    <a:lnTo>
                      <a:pt x="86" y="66"/>
                    </a:lnTo>
                    <a:lnTo>
                      <a:pt x="86" y="68"/>
                    </a:lnTo>
                    <a:lnTo>
                      <a:pt x="86" y="70"/>
                    </a:lnTo>
                    <a:lnTo>
                      <a:pt x="86" y="74"/>
                    </a:lnTo>
                    <a:lnTo>
                      <a:pt x="89" y="70"/>
                    </a:lnTo>
                    <a:lnTo>
                      <a:pt x="93" y="70"/>
                    </a:lnTo>
                    <a:lnTo>
                      <a:pt x="93" y="66"/>
                    </a:lnTo>
                    <a:lnTo>
                      <a:pt x="95" y="68"/>
                    </a:lnTo>
                    <a:lnTo>
                      <a:pt x="95" y="72"/>
                    </a:lnTo>
                    <a:lnTo>
                      <a:pt x="95" y="74"/>
                    </a:lnTo>
                    <a:lnTo>
                      <a:pt x="96" y="81"/>
                    </a:lnTo>
                    <a:lnTo>
                      <a:pt x="96" y="84"/>
                    </a:lnTo>
                    <a:lnTo>
                      <a:pt x="96" y="86"/>
                    </a:lnTo>
                    <a:lnTo>
                      <a:pt x="93" y="88"/>
                    </a:lnTo>
                    <a:lnTo>
                      <a:pt x="93" y="90"/>
                    </a:lnTo>
                    <a:lnTo>
                      <a:pt x="95" y="95"/>
                    </a:lnTo>
                    <a:lnTo>
                      <a:pt x="95" y="100"/>
                    </a:lnTo>
                    <a:lnTo>
                      <a:pt x="95" y="102"/>
                    </a:lnTo>
                    <a:lnTo>
                      <a:pt x="93" y="104"/>
                    </a:lnTo>
                    <a:lnTo>
                      <a:pt x="95" y="104"/>
                    </a:lnTo>
                    <a:lnTo>
                      <a:pt x="95" y="106"/>
                    </a:lnTo>
                    <a:lnTo>
                      <a:pt x="96" y="113"/>
                    </a:lnTo>
                    <a:lnTo>
                      <a:pt x="95" y="115"/>
                    </a:lnTo>
                    <a:lnTo>
                      <a:pt x="93" y="113"/>
                    </a:lnTo>
                    <a:lnTo>
                      <a:pt x="91" y="116"/>
                    </a:lnTo>
                    <a:lnTo>
                      <a:pt x="89" y="122"/>
                    </a:lnTo>
                    <a:lnTo>
                      <a:pt x="82" y="125"/>
                    </a:lnTo>
                    <a:lnTo>
                      <a:pt x="79" y="125"/>
                    </a:lnTo>
                    <a:lnTo>
                      <a:pt x="73" y="125"/>
                    </a:lnTo>
                    <a:lnTo>
                      <a:pt x="70" y="125"/>
                    </a:lnTo>
                    <a:lnTo>
                      <a:pt x="70" y="125"/>
                    </a:lnTo>
                    <a:lnTo>
                      <a:pt x="73" y="131"/>
                    </a:lnTo>
                    <a:lnTo>
                      <a:pt x="73" y="134"/>
                    </a:lnTo>
                    <a:lnTo>
                      <a:pt x="68" y="138"/>
                    </a:lnTo>
                    <a:lnTo>
                      <a:pt x="68" y="140"/>
                    </a:lnTo>
                    <a:lnTo>
                      <a:pt x="64" y="141"/>
                    </a:lnTo>
                    <a:lnTo>
                      <a:pt x="63" y="141"/>
                    </a:lnTo>
                    <a:lnTo>
                      <a:pt x="61" y="136"/>
                    </a:lnTo>
                    <a:lnTo>
                      <a:pt x="59" y="138"/>
                    </a:lnTo>
                    <a:lnTo>
                      <a:pt x="57" y="140"/>
                    </a:lnTo>
                    <a:lnTo>
                      <a:pt x="55" y="140"/>
                    </a:lnTo>
                    <a:lnTo>
                      <a:pt x="52" y="127"/>
                    </a:lnTo>
                    <a:lnTo>
                      <a:pt x="50" y="125"/>
                    </a:lnTo>
                    <a:lnTo>
                      <a:pt x="50" y="120"/>
                    </a:lnTo>
                    <a:lnTo>
                      <a:pt x="46" y="116"/>
                    </a:lnTo>
                    <a:lnTo>
                      <a:pt x="43" y="113"/>
                    </a:lnTo>
                    <a:lnTo>
                      <a:pt x="41" y="1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11" name="Freeform 1759"/>
              <p:cNvSpPr>
                <a:spLocks/>
              </p:cNvSpPr>
              <p:nvPr/>
            </p:nvSpPr>
            <p:spPr bwMode="auto">
              <a:xfrm>
                <a:off x="1141" y="966"/>
                <a:ext cx="11" cy="16"/>
              </a:xfrm>
              <a:custGeom>
                <a:avLst/>
                <a:gdLst>
                  <a:gd name="T0" fmla="*/ 9 w 11"/>
                  <a:gd name="T1" fmla="*/ 11 h 16"/>
                  <a:gd name="T2" fmla="*/ 11 w 11"/>
                  <a:gd name="T3" fmla="*/ 8 h 16"/>
                  <a:gd name="T4" fmla="*/ 9 w 11"/>
                  <a:gd name="T5" fmla="*/ 4 h 16"/>
                  <a:gd name="T6" fmla="*/ 5 w 11"/>
                  <a:gd name="T7" fmla="*/ 0 h 16"/>
                  <a:gd name="T8" fmla="*/ 0 w 11"/>
                  <a:gd name="T9" fmla="*/ 6 h 16"/>
                  <a:gd name="T10" fmla="*/ 4 w 11"/>
                  <a:gd name="T11" fmla="*/ 16 h 16"/>
                  <a:gd name="T12" fmla="*/ 7 w 11"/>
                  <a:gd name="T13" fmla="*/ 16 h 16"/>
                  <a:gd name="T14" fmla="*/ 9 w 11"/>
                  <a:gd name="T15" fmla="*/ 13 h 16"/>
                  <a:gd name="T16" fmla="*/ 9 w 11"/>
                  <a:gd name="T17"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6">
                    <a:moveTo>
                      <a:pt x="9" y="11"/>
                    </a:moveTo>
                    <a:lnTo>
                      <a:pt x="11" y="8"/>
                    </a:lnTo>
                    <a:lnTo>
                      <a:pt x="9" y="4"/>
                    </a:lnTo>
                    <a:lnTo>
                      <a:pt x="5" y="0"/>
                    </a:lnTo>
                    <a:lnTo>
                      <a:pt x="0" y="6"/>
                    </a:lnTo>
                    <a:lnTo>
                      <a:pt x="4" y="16"/>
                    </a:lnTo>
                    <a:lnTo>
                      <a:pt x="7" y="16"/>
                    </a:lnTo>
                    <a:lnTo>
                      <a:pt x="9" y="13"/>
                    </a:lnTo>
                    <a:lnTo>
                      <a:pt x="9"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12" name="Freeform 1760"/>
              <p:cNvSpPr>
                <a:spLocks/>
              </p:cNvSpPr>
              <p:nvPr/>
            </p:nvSpPr>
            <p:spPr bwMode="auto">
              <a:xfrm>
                <a:off x="1141" y="966"/>
                <a:ext cx="11" cy="16"/>
              </a:xfrm>
              <a:custGeom>
                <a:avLst/>
                <a:gdLst>
                  <a:gd name="T0" fmla="*/ 9 w 11"/>
                  <a:gd name="T1" fmla="*/ 11 h 16"/>
                  <a:gd name="T2" fmla="*/ 11 w 11"/>
                  <a:gd name="T3" fmla="*/ 8 h 16"/>
                  <a:gd name="T4" fmla="*/ 9 w 11"/>
                  <a:gd name="T5" fmla="*/ 4 h 16"/>
                  <a:gd name="T6" fmla="*/ 5 w 11"/>
                  <a:gd name="T7" fmla="*/ 0 h 16"/>
                  <a:gd name="T8" fmla="*/ 0 w 11"/>
                  <a:gd name="T9" fmla="*/ 6 h 16"/>
                  <a:gd name="T10" fmla="*/ 4 w 11"/>
                  <a:gd name="T11" fmla="*/ 16 h 16"/>
                  <a:gd name="T12" fmla="*/ 7 w 11"/>
                  <a:gd name="T13" fmla="*/ 16 h 16"/>
                  <a:gd name="T14" fmla="*/ 9 w 11"/>
                  <a:gd name="T15" fmla="*/ 13 h 16"/>
                  <a:gd name="T16" fmla="*/ 9 w 11"/>
                  <a:gd name="T17"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6">
                    <a:moveTo>
                      <a:pt x="9" y="11"/>
                    </a:moveTo>
                    <a:lnTo>
                      <a:pt x="11" y="8"/>
                    </a:lnTo>
                    <a:lnTo>
                      <a:pt x="9" y="4"/>
                    </a:lnTo>
                    <a:lnTo>
                      <a:pt x="5" y="0"/>
                    </a:lnTo>
                    <a:lnTo>
                      <a:pt x="0" y="6"/>
                    </a:lnTo>
                    <a:lnTo>
                      <a:pt x="4" y="16"/>
                    </a:lnTo>
                    <a:lnTo>
                      <a:pt x="7" y="16"/>
                    </a:lnTo>
                    <a:lnTo>
                      <a:pt x="9" y="13"/>
                    </a:lnTo>
                    <a:lnTo>
                      <a:pt x="9"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13" name="Freeform 1761"/>
              <p:cNvSpPr>
                <a:spLocks/>
              </p:cNvSpPr>
              <p:nvPr/>
            </p:nvSpPr>
            <p:spPr bwMode="auto">
              <a:xfrm>
                <a:off x="1105" y="915"/>
                <a:ext cx="25" cy="17"/>
              </a:xfrm>
              <a:custGeom>
                <a:avLst/>
                <a:gdLst>
                  <a:gd name="T0" fmla="*/ 13 w 25"/>
                  <a:gd name="T1" fmla="*/ 16 h 17"/>
                  <a:gd name="T2" fmla="*/ 18 w 25"/>
                  <a:gd name="T3" fmla="*/ 14 h 17"/>
                  <a:gd name="T4" fmla="*/ 25 w 25"/>
                  <a:gd name="T5" fmla="*/ 7 h 17"/>
                  <a:gd name="T6" fmla="*/ 25 w 25"/>
                  <a:gd name="T7" fmla="*/ 3 h 17"/>
                  <a:gd name="T8" fmla="*/ 25 w 25"/>
                  <a:gd name="T9" fmla="*/ 0 h 17"/>
                  <a:gd name="T10" fmla="*/ 22 w 25"/>
                  <a:gd name="T11" fmla="*/ 0 h 17"/>
                  <a:gd name="T12" fmla="*/ 13 w 25"/>
                  <a:gd name="T13" fmla="*/ 5 h 17"/>
                  <a:gd name="T14" fmla="*/ 9 w 25"/>
                  <a:gd name="T15" fmla="*/ 5 h 17"/>
                  <a:gd name="T16" fmla="*/ 7 w 25"/>
                  <a:gd name="T17" fmla="*/ 9 h 17"/>
                  <a:gd name="T18" fmla="*/ 6 w 25"/>
                  <a:gd name="T19" fmla="*/ 10 h 17"/>
                  <a:gd name="T20" fmla="*/ 0 w 25"/>
                  <a:gd name="T21" fmla="*/ 14 h 17"/>
                  <a:gd name="T22" fmla="*/ 2 w 25"/>
                  <a:gd name="T23" fmla="*/ 14 h 17"/>
                  <a:gd name="T24" fmla="*/ 6 w 25"/>
                  <a:gd name="T25" fmla="*/ 16 h 17"/>
                  <a:gd name="T26" fmla="*/ 7 w 25"/>
                  <a:gd name="T27" fmla="*/ 14 h 17"/>
                  <a:gd name="T28" fmla="*/ 7 w 25"/>
                  <a:gd name="T29" fmla="*/ 14 h 17"/>
                  <a:gd name="T30" fmla="*/ 9 w 25"/>
                  <a:gd name="T31" fmla="*/ 17 h 17"/>
                  <a:gd name="T32" fmla="*/ 11 w 25"/>
                  <a:gd name="T33" fmla="*/ 16 h 17"/>
                  <a:gd name="T34" fmla="*/ 11 w 25"/>
                  <a:gd name="T35" fmla="*/ 16 h 17"/>
                  <a:gd name="T36" fmla="*/ 13 w 25"/>
                  <a:gd name="T37"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7">
                    <a:moveTo>
                      <a:pt x="13" y="16"/>
                    </a:moveTo>
                    <a:lnTo>
                      <a:pt x="18" y="14"/>
                    </a:lnTo>
                    <a:lnTo>
                      <a:pt x="25" y="7"/>
                    </a:lnTo>
                    <a:lnTo>
                      <a:pt x="25" y="3"/>
                    </a:lnTo>
                    <a:lnTo>
                      <a:pt x="25" y="0"/>
                    </a:lnTo>
                    <a:lnTo>
                      <a:pt x="22" y="0"/>
                    </a:lnTo>
                    <a:lnTo>
                      <a:pt x="13" y="5"/>
                    </a:lnTo>
                    <a:lnTo>
                      <a:pt x="9" y="5"/>
                    </a:lnTo>
                    <a:lnTo>
                      <a:pt x="7" y="9"/>
                    </a:lnTo>
                    <a:lnTo>
                      <a:pt x="6" y="10"/>
                    </a:lnTo>
                    <a:lnTo>
                      <a:pt x="0" y="14"/>
                    </a:lnTo>
                    <a:lnTo>
                      <a:pt x="2" y="14"/>
                    </a:lnTo>
                    <a:lnTo>
                      <a:pt x="6" y="16"/>
                    </a:lnTo>
                    <a:lnTo>
                      <a:pt x="7" y="14"/>
                    </a:lnTo>
                    <a:lnTo>
                      <a:pt x="7" y="14"/>
                    </a:lnTo>
                    <a:lnTo>
                      <a:pt x="9" y="17"/>
                    </a:lnTo>
                    <a:lnTo>
                      <a:pt x="11" y="16"/>
                    </a:lnTo>
                    <a:lnTo>
                      <a:pt x="11" y="16"/>
                    </a:lnTo>
                    <a:lnTo>
                      <a:pt x="13" y="1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14" name="Freeform 1762"/>
              <p:cNvSpPr>
                <a:spLocks/>
              </p:cNvSpPr>
              <p:nvPr/>
            </p:nvSpPr>
            <p:spPr bwMode="auto">
              <a:xfrm>
                <a:off x="1105" y="915"/>
                <a:ext cx="25" cy="17"/>
              </a:xfrm>
              <a:custGeom>
                <a:avLst/>
                <a:gdLst>
                  <a:gd name="T0" fmla="*/ 13 w 25"/>
                  <a:gd name="T1" fmla="*/ 16 h 17"/>
                  <a:gd name="T2" fmla="*/ 18 w 25"/>
                  <a:gd name="T3" fmla="*/ 14 h 17"/>
                  <a:gd name="T4" fmla="*/ 25 w 25"/>
                  <a:gd name="T5" fmla="*/ 7 h 17"/>
                  <a:gd name="T6" fmla="*/ 25 w 25"/>
                  <a:gd name="T7" fmla="*/ 3 h 17"/>
                  <a:gd name="T8" fmla="*/ 25 w 25"/>
                  <a:gd name="T9" fmla="*/ 0 h 17"/>
                  <a:gd name="T10" fmla="*/ 22 w 25"/>
                  <a:gd name="T11" fmla="*/ 0 h 17"/>
                  <a:gd name="T12" fmla="*/ 13 w 25"/>
                  <a:gd name="T13" fmla="*/ 5 h 17"/>
                  <a:gd name="T14" fmla="*/ 9 w 25"/>
                  <a:gd name="T15" fmla="*/ 5 h 17"/>
                  <a:gd name="T16" fmla="*/ 7 w 25"/>
                  <a:gd name="T17" fmla="*/ 9 h 17"/>
                  <a:gd name="T18" fmla="*/ 6 w 25"/>
                  <a:gd name="T19" fmla="*/ 10 h 17"/>
                  <a:gd name="T20" fmla="*/ 0 w 25"/>
                  <a:gd name="T21" fmla="*/ 14 h 17"/>
                  <a:gd name="T22" fmla="*/ 2 w 25"/>
                  <a:gd name="T23" fmla="*/ 14 h 17"/>
                  <a:gd name="T24" fmla="*/ 6 w 25"/>
                  <a:gd name="T25" fmla="*/ 16 h 17"/>
                  <a:gd name="T26" fmla="*/ 7 w 25"/>
                  <a:gd name="T27" fmla="*/ 14 h 17"/>
                  <a:gd name="T28" fmla="*/ 7 w 25"/>
                  <a:gd name="T29" fmla="*/ 14 h 17"/>
                  <a:gd name="T30" fmla="*/ 9 w 25"/>
                  <a:gd name="T31" fmla="*/ 17 h 17"/>
                  <a:gd name="T32" fmla="*/ 11 w 25"/>
                  <a:gd name="T33" fmla="*/ 16 h 17"/>
                  <a:gd name="T34" fmla="*/ 11 w 25"/>
                  <a:gd name="T35" fmla="*/ 16 h 17"/>
                  <a:gd name="T36" fmla="*/ 13 w 25"/>
                  <a:gd name="T37" fmla="*/ 1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7">
                    <a:moveTo>
                      <a:pt x="13" y="16"/>
                    </a:moveTo>
                    <a:lnTo>
                      <a:pt x="18" y="14"/>
                    </a:lnTo>
                    <a:lnTo>
                      <a:pt x="25" y="7"/>
                    </a:lnTo>
                    <a:lnTo>
                      <a:pt x="25" y="3"/>
                    </a:lnTo>
                    <a:lnTo>
                      <a:pt x="25" y="0"/>
                    </a:lnTo>
                    <a:lnTo>
                      <a:pt x="22" y="0"/>
                    </a:lnTo>
                    <a:lnTo>
                      <a:pt x="13" y="5"/>
                    </a:lnTo>
                    <a:lnTo>
                      <a:pt x="9" y="5"/>
                    </a:lnTo>
                    <a:lnTo>
                      <a:pt x="7" y="9"/>
                    </a:lnTo>
                    <a:lnTo>
                      <a:pt x="6" y="10"/>
                    </a:lnTo>
                    <a:lnTo>
                      <a:pt x="0" y="14"/>
                    </a:lnTo>
                    <a:lnTo>
                      <a:pt x="2" y="14"/>
                    </a:lnTo>
                    <a:lnTo>
                      <a:pt x="6" y="16"/>
                    </a:lnTo>
                    <a:lnTo>
                      <a:pt x="7" y="14"/>
                    </a:lnTo>
                    <a:lnTo>
                      <a:pt x="7" y="14"/>
                    </a:lnTo>
                    <a:lnTo>
                      <a:pt x="9" y="17"/>
                    </a:lnTo>
                    <a:lnTo>
                      <a:pt x="11" y="16"/>
                    </a:lnTo>
                    <a:lnTo>
                      <a:pt x="11" y="16"/>
                    </a:lnTo>
                    <a:lnTo>
                      <a:pt x="13" y="1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15" name="Freeform 1763"/>
              <p:cNvSpPr>
                <a:spLocks/>
              </p:cNvSpPr>
              <p:nvPr/>
            </p:nvSpPr>
            <p:spPr bwMode="auto">
              <a:xfrm>
                <a:off x="1143" y="815"/>
                <a:ext cx="18" cy="19"/>
              </a:xfrm>
              <a:custGeom>
                <a:avLst/>
                <a:gdLst>
                  <a:gd name="T0" fmla="*/ 10 w 18"/>
                  <a:gd name="T1" fmla="*/ 5 h 19"/>
                  <a:gd name="T2" fmla="*/ 10 w 18"/>
                  <a:gd name="T3" fmla="*/ 5 h 19"/>
                  <a:gd name="T4" fmla="*/ 9 w 18"/>
                  <a:gd name="T5" fmla="*/ 10 h 19"/>
                  <a:gd name="T6" fmla="*/ 9 w 18"/>
                  <a:gd name="T7" fmla="*/ 12 h 19"/>
                  <a:gd name="T8" fmla="*/ 7 w 18"/>
                  <a:gd name="T9" fmla="*/ 14 h 19"/>
                  <a:gd name="T10" fmla="*/ 5 w 18"/>
                  <a:gd name="T11" fmla="*/ 14 h 19"/>
                  <a:gd name="T12" fmla="*/ 7 w 18"/>
                  <a:gd name="T13" fmla="*/ 16 h 19"/>
                  <a:gd name="T14" fmla="*/ 5 w 18"/>
                  <a:gd name="T15" fmla="*/ 17 h 19"/>
                  <a:gd name="T16" fmla="*/ 2 w 18"/>
                  <a:gd name="T17" fmla="*/ 19 h 19"/>
                  <a:gd name="T18" fmla="*/ 2 w 18"/>
                  <a:gd name="T19" fmla="*/ 17 h 19"/>
                  <a:gd name="T20" fmla="*/ 2 w 18"/>
                  <a:gd name="T21" fmla="*/ 14 h 19"/>
                  <a:gd name="T22" fmla="*/ 0 w 18"/>
                  <a:gd name="T23" fmla="*/ 14 h 19"/>
                  <a:gd name="T24" fmla="*/ 0 w 18"/>
                  <a:gd name="T25" fmla="*/ 10 h 19"/>
                  <a:gd name="T26" fmla="*/ 5 w 18"/>
                  <a:gd name="T27" fmla="*/ 5 h 19"/>
                  <a:gd name="T28" fmla="*/ 5 w 18"/>
                  <a:gd name="T29" fmla="*/ 7 h 19"/>
                  <a:gd name="T30" fmla="*/ 7 w 18"/>
                  <a:gd name="T31" fmla="*/ 5 h 19"/>
                  <a:gd name="T32" fmla="*/ 9 w 18"/>
                  <a:gd name="T33" fmla="*/ 3 h 19"/>
                  <a:gd name="T34" fmla="*/ 10 w 18"/>
                  <a:gd name="T35" fmla="*/ 0 h 19"/>
                  <a:gd name="T36" fmla="*/ 16 w 18"/>
                  <a:gd name="T37" fmla="*/ 3 h 19"/>
                  <a:gd name="T38" fmla="*/ 18 w 18"/>
                  <a:gd name="T39" fmla="*/ 9 h 19"/>
                  <a:gd name="T40" fmla="*/ 14 w 18"/>
                  <a:gd name="T41" fmla="*/ 12 h 19"/>
                  <a:gd name="T42" fmla="*/ 14 w 18"/>
                  <a:gd name="T43" fmla="*/ 10 h 19"/>
                  <a:gd name="T44" fmla="*/ 12 w 18"/>
                  <a:gd name="T45" fmla="*/ 9 h 19"/>
                  <a:gd name="T46" fmla="*/ 10 w 18"/>
                  <a:gd name="T47"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9">
                    <a:moveTo>
                      <a:pt x="10" y="5"/>
                    </a:moveTo>
                    <a:lnTo>
                      <a:pt x="10" y="5"/>
                    </a:lnTo>
                    <a:lnTo>
                      <a:pt x="9" y="10"/>
                    </a:lnTo>
                    <a:lnTo>
                      <a:pt x="9" y="12"/>
                    </a:lnTo>
                    <a:lnTo>
                      <a:pt x="7" y="14"/>
                    </a:lnTo>
                    <a:lnTo>
                      <a:pt x="5" y="14"/>
                    </a:lnTo>
                    <a:lnTo>
                      <a:pt x="7" y="16"/>
                    </a:lnTo>
                    <a:lnTo>
                      <a:pt x="5" y="17"/>
                    </a:lnTo>
                    <a:lnTo>
                      <a:pt x="2" y="19"/>
                    </a:lnTo>
                    <a:lnTo>
                      <a:pt x="2" y="17"/>
                    </a:lnTo>
                    <a:lnTo>
                      <a:pt x="2" y="14"/>
                    </a:lnTo>
                    <a:lnTo>
                      <a:pt x="0" y="14"/>
                    </a:lnTo>
                    <a:lnTo>
                      <a:pt x="0" y="10"/>
                    </a:lnTo>
                    <a:lnTo>
                      <a:pt x="5" y="5"/>
                    </a:lnTo>
                    <a:lnTo>
                      <a:pt x="5" y="7"/>
                    </a:lnTo>
                    <a:lnTo>
                      <a:pt x="7" y="5"/>
                    </a:lnTo>
                    <a:lnTo>
                      <a:pt x="9" y="3"/>
                    </a:lnTo>
                    <a:lnTo>
                      <a:pt x="10" y="0"/>
                    </a:lnTo>
                    <a:lnTo>
                      <a:pt x="16" y="3"/>
                    </a:lnTo>
                    <a:lnTo>
                      <a:pt x="18" y="9"/>
                    </a:lnTo>
                    <a:lnTo>
                      <a:pt x="14" y="12"/>
                    </a:lnTo>
                    <a:lnTo>
                      <a:pt x="14" y="10"/>
                    </a:lnTo>
                    <a:lnTo>
                      <a:pt x="12" y="9"/>
                    </a:lnTo>
                    <a:lnTo>
                      <a:pt x="10"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16" name="Freeform 1764"/>
              <p:cNvSpPr>
                <a:spLocks/>
              </p:cNvSpPr>
              <p:nvPr/>
            </p:nvSpPr>
            <p:spPr bwMode="auto">
              <a:xfrm>
                <a:off x="1143" y="815"/>
                <a:ext cx="18" cy="19"/>
              </a:xfrm>
              <a:custGeom>
                <a:avLst/>
                <a:gdLst>
                  <a:gd name="T0" fmla="*/ 10 w 18"/>
                  <a:gd name="T1" fmla="*/ 5 h 19"/>
                  <a:gd name="T2" fmla="*/ 10 w 18"/>
                  <a:gd name="T3" fmla="*/ 5 h 19"/>
                  <a:gd name="T4" fmla="*/ 9 w 18"/>
                  <a:gd name="T5" fmla="*/ 10 h 19"/>
                  <a:gd name="T6" fmla="*/ 9 w 18"/>
                  <a:gd name="T7" fmla="*/ 12 h 19"/>
                  <a:gd name="T8" fmla="*/ 7 w 18"/>
                  <a:gd name="T9" fmla="*/ 14 h 19"/>
                  <a:gd name="T10" fmla="*/ 5 w 18"/>
                  <a:gd name="T11" fmla="*/ 14 h 19"/>
                  <a:gd name="T12" fmla="*/ 7 w 18"/>
                  <a:gd name="T13" fmla="*/ 16 h 19"/>
                  <a:gd name="T14" fmla="*/ 5 w 18"/>
                  <a:gd name="T15" fmla="*/ 17 h 19"/>
                  <a:gd name="T16" fmla="*/ 2 w 18"/>
                  <a:gd name="T17" fmla="*/ 19 h 19"/>
                  <a:gd name="T18" fmla="*/ 2 w 18"/>
                  <a:gd name="T19" fmla="*/ 17 h 19"/>
                  <a:gd name="T20" fmla="*/ 2 w 18"/>
                  <a:gd name="T21" fmla="*/ 14 h 19"/>
                  <a:gd name="T22" fmla="*/ 0 w 18"/>
                  <a:gd name="T23" fmla="*/ 14 h 19"/>
                  <a:gd name="T24" fmla="*/ 0 w 18"/>
                  <a:gd name="T25" fmla="*/ 10 h 19"/>
                  <a:gd name="T26" fmla="*/ 5 w 18"/>
                  <a:gd name="T27" fmla="*/ 5 h 19"/>
                  <a:gd name="T28" fmla="*/ 5 w 18"/>
                  <a:gd name="T29" fmla="*/ 7 h 19"/>
                  <a:gd name="T30" fmla="*/ 7 w 18"/>
                  <a:gd name="T31" fmla="*/ 5 h 19"/>
                  <a:gd name="T32" fmla="*/ 9 w 18"/>
                  <a:gd name="T33" fmla="*/ 3 h 19"/>
                  <a:gd name="T34" fmla="*/ 10 w 18"/>
                  <a:gd name="T35" fmla="*/ 0 h 19"/>
                  <a:gd name="T36" fmla="*/ 16 w 18"/>
                  <a:gd name="T37" fmla="*/ 3 h 19"/>
                  <a:gd name="T38" fmla="*/ 18 w 18"/>
                  <a:gd name="T39" fmla="*/ 9 h 19"/>
                  <a:gd name="T40" fmla="*/ 14 w 18"/>
                  <a:gd name="T41" fmla="*/ 12 h 19"/>
                  <a:gd name="T42" fmla="*/ 14 w 18"/>
                  <a:gd name="T43" fmla="*/ 10 h 19"/>
                  <a:gd name="T44" fmla="*/ 12 w 18"/>
                  <a:gd name="T45" fmla="*/ 9 h 19"/>
                  <a:gd name="T46" fmla="*/ 10 w 18"/>
                  <a:gd name="T47"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 h="19">
                    <a:moveTo>
                      <a:pt x="10" y="5"/>
                    </a:moveTo>
                    <a:lnTo>
                      <a:pt x="10" y="5"/>
                    </a:lnTo>
                    <a:lnTo>
                      <a:pt x="9" y="10"/>
                    </a:lnTo>
                    <a:lnTo>
                      <a:pt x="9" y="12"/>
                    </a:lnTo>
                    <a:lnTo>
                      <a:pt x="7" y="14"/>
                    </a:lnTo>
                    <a:lnTo>
                      <a:pt x="5" y="14"/>
                    </a:lnTo>
                    <a:lnTo>
                      <a:pt x="7" y="16"/>
                    </a:lnTo>
                    <a:lnTo>
                      <a:pt x="5" y="17"/>
                    </a:lnTo>
                    <a:lnTo>
                      <a:pt x="2" y="19"/>
                    </a:lnTo>
                    <a:lnTo>
                      <a:pt x="2" y="17"/>
                    </a:lnTo>
                    <a:lnTo>
                      <a:pt x="2" y="14"/>
                    </a:lnTo>
                    <a:lnTo>
                      <a:pt x="0" y="14"/>
                    </a:lnTo>
                    <a:lnTo>
                      <a:pt x="0" y="10"/>
                    </a:lnTo>
                    <a:lnTo>
                      <a:pt x="5" y="5"/>
                    </a:lnTo>
                    <a:lnTo>
                      <a:pt x="5" y="7"/>
                    </a:lnTo>
                    <a:lnTo>
                      <a:pt x="7" y="5"/>
                    </a:lnTo>
                    <a:lnTo>
                      <a:pt x="9" y="3"/>
                    </a:lnTo>
                    <a:lnTo>
                      <a:pt x="10" y="0"/>
                    </a:lnTo>
                    <a:lnTo>
                      <a:pt x="16" y="3"/>
                    </a:lnTo>
                    <a:lnTo>
                      <a:pt x="18" y="9"/>
                    </a:lnTo>
                    <a:lnTo>
                      <a:pt x="14" y="12"/>
                    </a:lnTo>
                    <a:lnTo>
                      <a:pt x="14" y="10"/>
                    </a:lnTo>
                    <a:lnTo>
                      <a:pt x="12" y="9"/>
                    </a:lnTo>
                    <a:lnTo>
                      <a:pt x="10"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17" name="Freeform 1765"/>
              <p:cNvSpPr>
                <a:spLocks/>
              </p:cNvSpPr>
              <p:nvPr/>
            </p:nvSpPr>
            <p:spPr bwMode="auto">
              <a:xfrm>
                <a:off x="1052" y="749"/>
                <a:ext cx="85" cy="110"/>
              </a:xfrm>
              <a:custGeom>
                <a:avLst/>
                <a:gdLst>
                  <a:gd name="T0" fmla="*/ 82 w 85"/>
                  <a:gd name="T1" fmla="*/ 55 h 110"/>
                  <a:gd name="T2" fmla="*/ 84 w 85"/>
                  <a:gd name="T3" fmla="*/ 62 h 110"/>
                  <a:gd name="T4" fmla="*/ 78 w 85"/>
                  <a:gd name="T5" fmla="*/ 71 h 110"/>
                  <a:gd name="T6" fmla="*/ 78 w 85"/>
                  <a:gd name="T7" fmla="*/ 76 h 110"/>
                  <a:gd name="T8" fmla="*/ 75 w 85"/>
                  <a:gd name="T9" fmla="*/ 78 h 110"/>
                  <a:gd name="T10" fmla="*/ 75 w 85"/>
                  <a:gd name="T11" fmla="*/ 85 h 110"/>
                  <a:gd name="T12" fmla="*/ 73 w 85"/>
                  <a:gd name="T13" fmla="*/ 91 h 110"/>
                  <a:gd name="T14" fmla="*/ 76 w 85"/>
                  <a:gd name="T15" fmla="*/ 101 h 110"/>
                  <a:gd name="T16" fmla="*/ 71 w 85"/>
                  <a:gd name="T17" fmla="*/ 100 h 110"/>
                  <a:gd name="T18" fmla="*/ 75 w 85"/>
                  <a:gd name="T19" fmla="*/ 108 h 110"/>
                  <a:gd name="T20" fmla="*/ 60 w 85"/>
                  <a:gd name="T21" fmla="*/ 108 h 110"/>
                  <a:gd name="T22" fmla="*/ 59 w 85"/>
                  <a:gd name="T23" fmla="*/ 108 h 110"/>
                  <a:gd name="T24" fmla="*/ 51 w 85"/>
                  <a:gd name="T25" fmla="*/ 108 h 110"/>
                  <a:gd name="T26" fmla="*/ 41 w 85"/>
                  <a:gd name="T27" fmla="*/ 110 h 110"/>
                  <a:gd name="T28" fmla="*/ 34 w 85"/>
                  <a:gd name="T29" fmla="*/ 96 h 110"/>
                  <a:gd name="T30" fmla="*/ 37 w 85"/>
                  <a:gd name="T31" fmla="*/ 92 h 110"/>
                  <a:gd name="T32" fmla="*/ 37 w 85"/>
                  <a:gd name="T33" fmla="*/ 85 h 110"/>
                  <a:gd name="T34" fmla="*/ 43 w 85"/>
                  <a:gd name="T35" fmla="*/ 80 h 110"/>
                  <a:gd name="T36" fmla="*/ 41 w 85"/>
                  <a:gd name="T37" fmla="*/ 78 h 110"/>
                  <a:gd name="T38" fmla="*/ 48 w 85"/>
                  <a:gd name="T39" fmla="*/ 71 h 110"/>
                  <a:gd name="T40" fmla="*/ 59 w 85"/>
                  <a:gd name="T41" fmla="*/ 64 h 110"/>
                  <a:gd name="T42" fmla="*/ 50 w 85"/>
                  <a:gd name="T43" fmla="*/ 64 h 110"/>
                  <a:gd name="T44" fmla="*/ 39 w 85"/>
                  <a:gd name="T45" fmla="*/ 66 h 110"/>
                  <a:gd name="T46" fmla="*/ 19 w 85"/>
                  <a:gd name="T47" fmla="*/ 73 h 110"/>
                  <a:gd name="T48" fmla="*/ 5 w 85"/>
                  <a:gd name="T49" fmla="*/ 76 h 110"/>
                  <a:gd name="T50" fmla="*/ 1 w 85"/>
                  <a:gd name="T51" fmla="*/ 67 h 110"/>
                  <a:gd name="T52" fmla="*/ 10 w 85"/>
                  <a:gd name="T53" fmla="*/ 64 h 110"/>
                  <a:gd name="T54" fmla="*/ 7 w 85"/>
                  <a:gd name="T55" fmla="*/ 57 h 110"/>
                  <a:gd name="T56" fmla="*/ 19 w 85"/>
                  <a:gd name="T57" fmla="*/ 60 h 110"/>
                  <a:gd name="T58" fmla="*/ 19 w 85"/>
                  <a:gd name="T59" fmla="*/ 48 h 110"/>
                  <a:gd name="T60" fmla="*/ 14 w 85"/>
                  <a:gd name="T61" fmla="*/ 44 h 110"/>
                  <a:gd name="T62" fmla="*/ 9 w 85"/>
                  <a:gd name="T63" fmla="*/ 32 h 110"/>
                  <a:gd name="T64" fmla="*/ 12 w 85"/>
                  <a:gd name="T65" fmla="*/ 16 h 110"/>
                  <a:gd name="T66" fmla="*/ 23 w 85"/>
                  <a:gd name="T67" fmla="*/ 17 h 110"/>
                  <a:gd name="T68" fmla="*/ 25 w 85"/>
                  <a:gd name="T69" fmla="*/ 28 h 110"/>
                  <a:gd name="T70" fmla="*/ 35 w 85"/>
                  <a:gd name="T71" fmla="*/ 37 h 110"/>
                  <a:gd name="T72" fmla="*/ 46 w 85"/>
                  <a:gd name="T73" fmla="*/ 50 h 110"/>
                  <a:gd name="T74" fmla="*/ 41 w 85"/>
                  <a:gd name="T75" fmla="*/ 33 h 110"/>
                  <a:gd name="T76" fmla="*/ 35 w 85"/>
                  <a:gd name="T77" fmla="*/ 28 h 110"/>
                  <a:gd name="T78" fmla="*/ 43 w 85"/>
                  <a:gd name="T79" fmla="*/ 25 h 110"/>
                  <a:gd name="T80" fmla="*/ 30 w 85"/>
                  <a:gd name="T81" fmla="*/ 19 h 110"/>
                  <a:gd name="T82" fmla="*/ 32 w 85"/>
                  <a:gd name="T83" fmla="*/ 7 h 110"/>
                  <a:gd name="T84" fmla="*/ 53 w 85"/>
                  <a:gd name="T85" fmla="*/ 8 h 110"/>
                  <a:gd name="T86" fmla="*/ 59 w 85"/>
                  <a:gd name="T87" fmla="*/ 14 h 110"/>
                  <a:gd name="T88" fmla="*/ 62 w 85"/>
                  <a:gd name="T89" fmla="*/ 5 h 110"/>
                  <a:gd name="T90" fmla="*/ 69 w 85"/>
                  <a:gd name="T91" fmla="*/ 0 h 110"/>
                  <a:gd name="T92" fmla="*/ 71 w 85"/>
                  <a:gd name="T93" fmla="*/ 8 h 110"/>
                  <a:gd name="T94" fmla="*/ 82 w 85"/>
                  <a:gd name="T95" fmla="*/ 3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5" h="110">
                    <a:moveTo>
                      <a:pt x="82" y="46"/>
                    </a:moveTo>
                    <a:lnTo>
                      <a:pt x="82" y="48"/>
                    </a:lnTo>
                    <a:lnTo>
                      <a:pt x="82" y="48"/>
                    </a:lnTo>
                    <a:lnTo>
                      <a:pt x="82" y="55"/>
                    </a:lnTo>
                    <a:lnTo>
                      <a:pt x="78" y="58"/>
                    </a:lnTo>
                    <a:lnTo>
                      <a:pt x="76" y="60"/>
                    </a:lnTo>
                    <a:lnTo>
                      <a:pt x="82" y="62"/>
                    </a:lnTo>
                    <a:lnTo>
                      <a:pt x="84" y="62"/>
                    </a:lnTo>
                    <a:lnTo>
                      <a:pt x="85" y="83"/>
                    </a:lnTo>
                    <a:lnTo>
                      <a:pt x="80" y="71"/>
                    </a:lnTo>
                    <a:lnTo>
                      <a:pt x="80" y="71"/>
                    </a:lnTo>
                    <a:lnTo>
                      <a:pt x="78" y="71"/>
                    </a:lnTo>
                    <a:lnTo>
                      <a:pt x="76" y="71"/>
                    </a:lnTo>
                    <a:lnTo>
                      <a:pt x="75" y="73"/>
                    </a:lnTo>
                    <a:lnTo>
                      <a:pt x="78" y="75"/>
                    </a:lnTo>
                    <a:lnTo>
                      <a:pt x="78" y="76"/>
                    </a:lnTo>
                    <a:lnTo>
                      <a:pt x="78" y="78"/>
                    </a:lnTo>
                    <a:lnTo>
                      <a:pt x="76" y="76"/>
                    </a:lnTo>
                    <a:lnTo>
                      <a:pt x="75" y="76"/>
                    </a:lnTo>
                    <a:lnTo>
                      <a:pt x="75" y="78"/>
                    </a:lnTo>
                    <a:lnTo>
                      <a:pt x="76" y="82"/>
                    </a:lnTo>
                    <a:lnTo>
                      <a:pt x="75" y="82"/>
                    </a:lnTo>
                    <a:lnTo>
                      <a:pt x="75" y="83"/>
                    </a:lnTo>
                    <a:lnTo>
                      <a:pt x="75" y="85"/>
                    </a:lnTo>
                    <a:lnTo>
                      <a:pt x="75" y="85"/>
                    </a:lnTo>
                    <a:lnTo>
                      <a:pt x="73" y="83"/>
                    </a:lnTo>
                    <a:lnTo>
                      <a:pt x="71" y="89"/>
                    </a:lnTo>
                    <a:lnTo>
                      <a:pt x="73" y="91"/>
                    </a:lnTo>
                    <a:lnTo>
                      <a:pt x="73" y="89"/>
                    </a:lnTo>
                    <a:lnTo>
                      <a:pt x="80" y="101"/>
                    </a:lnTo>
                    <a:lnTo>
                      <a:pt x="78" y="101"/>
                    </a:lnTo>
                    <a:lnTo>
                      <a:pt x="76" y="101"/>
                    </a:lnTo>
                    <a:lnTo>
                      <a:pt x="75" y="98"/>
                    </a:lnTo>
                    <a:lnTo>
                      <a:pt x="73" y="96"/>
                    </a:lnTo>
                    <a:lnTo>
                      <a:pt x="71" y="98"/>
                    </a:lnTo>
                    <a:lnTo>
                      <a:pt x="71" y="100"/>
                    </a:lnTo>
                    <a:lnTo>
                      <a:pt x="73" y="101"/>
                    </a:lnTo>
                    <a:lnTo>
                      <a:pt x="73" y="103"/>
                    </a:lnTo>
                    <a:lnTo>
                      <a:pt x="75" y="105"/>
                    </a:lnTo>
                    <a:lnTo>
                      <a:pt x="75" y="108"/>
                    </a:lnTo>
                    <a:lnTo>
                      <a:pt x="66" y="108"/>
                    </a:lnTo>
                    <a:lnTo>
                      <a:pt x="66" y="107"/>
                    </a:lnTo>
                    <a:lnTo>
                      <a:pt x="62" y="108"/>
                    </a:lnTo>
                    <a:lnTo>
                      <a:pt x="60" y="108"/>
                    </a:lnTo>
                    <a:lnTo>
                      <a:pt x="60" y="108"/>
                    </a:lnTo>
                    <a:lnTo>
                      <a:pt x="60" y="105"/>
                    </a:lnTo>
                    <a:lnTo>
                      <a:pt x="59" y="107"/>
                    </a:lnTo>
                    <a:lnTo>
                      <a:pt x="59" y="108"/>
                    </a:lnTo>
                    <a:lnTo>
                      <a:pt x="55" y="108"/>
                    </a:lnTo>
                    <a:lnTo>
                      <a:pt x="55" y="105"/>
                    </a:lnTo>
                    <a:lnTo>
                      <a:pt x="55" y="107"/>
                    </a:lnTo>
                    <a:lnTo>
                      <a:pt x="51" y="108"/>
                    </a:lnTo>
                    <a:lnTo>
                      <a:pt x="51" y="107"/>
                    </a:lnTo>
                    <a:lnTo>
                      <a:pt x="51" y="103"/>
                    </a:lnTo>
                    <a:lnTo>
                      <a:pt x="48" y="110"/>
                    </a:lnTo>
                    <a:lnTo>
                      <a:pt x="41" y="110"/>
                    </a:lnTo>
                    <a:lnTo>
                      <a:pt x="37" y="108"/>
                    </a:lnTo>
                    <a:lnTo>
                      <a:pt x="35" y="107"/>
                    </a:lnTo>
                    <a:lnTo>
                      <a:pt x="35" y="100"/>
                    </a:lnTo>
                    <a:lnTo>
                      <a:pt x="34" y="96"/>
                    </a:lnTo>
                    <a:lnTo>
                      <a:pt x="34" y="96"/>
                    </a:lnTo>
                    <a:lnTo>
                      <a:pt x="41" y="96"/>
                    </a:lnTo>
                    <a:lnTo>
                      <a:pt x="43" y="94"/>
                    </a:lnTo>
                    <a:lnTo>
                      <a:pt x="37" y="92"/>
                    </a:lnTo>
                    <a:lnTo>
                      <a:pt x="39" y="89"/>
                    </a:lnTo>
                    <a:lnTo>
                      <a:pt x="34" y="91"/>
                    </a:lnTo>
                    <a:lnTo>
                      <a:pt x="34" y="87"/>
                    </a:lnTo>
                    <a:lnTo>
                      <a:pt x="37" y="85"/>
                    </a:lnTo>
                    <a:lnTo>
                      <a:pt x="32" y="82"/>
                    </a:lnTo>
                    <a:lnTo>
                      <a:pt x="37" y="80"/>
                    </a:lnTo>
                    <a:lnTo>
                      <a:pt x="41" y="82"/>
                    </a:lnTo>
                    <a:lnTo>
                      <a:pt x="43" y="80"/>
                    </a:lnTo>
                    <a:lnTo>
                      <a:pt x="41" y="78"/>
                    </a:lnTo>
                    <a:lnTo>
                      <a:pt x="46" y="78"/>
                    </a:lnTo>
                    <a:lnTo>
                      <a:pt x="46" y="76"/>
                    </a:lnTo>
                    <a:lnTo>
                      <a:pt x="41" y="78"/>
                    </a:lnTo>
                    <a:lnTo>
                      <a:pt x="44" y="75"/>
                    </a:lnTo>
                    <a:lnTo>
                      <a:pt x="44" y="73"/>
                    </a:lnTo>
                    <a:lnTo>
                      <a:pt x="44" y="73"/>
                    </a:lnTo>
                    <a:lnTo>
                      <a:pt x="48" y="71"/>
                    </a:lnTo>
                    <a:lnTo>
                      <a:pt x="48" y="69"/>
                    </a:lnTo>
                    <a:lnTo>
                      <a:pt x="48" y="67"/>
                    </a:lnTo>
                    <a:lnTo>
                      <a:pt x="48" y="66"/>
                    </a:lnTo>
                    <a:lnTo>
                      <a:pt x="59" y="64"/>
                    </a:lnTo>
                    <a:lnTo>
                      <a:pt x="60" y="62"/>
                    </a:lnTo>
                    <a:lnTo>
                      <a:pt x="60" y="60"/>
                    </a:lnTo>
                    <a:lnTo>
                      <a:pt x="59" y="62"/>
                    </a:lnTo>
                    <a:lnTo>
                      <a:pt x="50" y="64"/>
                    </a:lnTo>
                    <a:lnTo>
                      <a:pt x="50" y="62"/>
                    </a:lnTo>
                    <a:lnTo>
                      <a:pt x="48" y="64"/>
                    </a:lnTo>
                    <a:lnTo>
                      <a:pt x="44" y="64"/>
                    </a:lnTo>
                    <a:lnTo>
                      <a:pt x="39" y="66"/>
                    </a:lnTo>
                    <a:lnTo>
                      <a:pt x="37" y="66"/>
                    </a:lnTo>
                    <a:lnTo>
                      <a:pt x="26" y="71"/>
                    </a:lnTo>
                    <a:lnTo>
                      <a:pt x="21" y="69"/>
                    </a:lnTo>
                    <a:lnTo>
                      <a:pt x="19" y="73"/>
                    </a:lnTo>
                    <a:lnTo>
                      <a:pt x="18" y="71"/>
                    </a:lnTo>
                    <a:lnTo>
                      <a:pt x="14" y="73"/>
                    </a:lnTo>
                    <a:lnTo>
                      <a:pt x="7" y="75"/>
                    </a:lnTo>
                    <a:lnTo>
                      <a:pt x="5" y="76"/>
                    </a:lnTo>
                    <a:lnTo>
                      <a:pt x="1" y="75"/>
                    </a:lnTo>
                    <a:lnTo>
                      <a:pt x="0" y="71"/>
                    </a:lnTo>
                    <a:lnTo>
                      <a:pt x="1" y="71"/>
                    </a:lnTo>
                    <a:lnTo>
                      <a:pt x="1" y="67"/>
                    </a:lnTo>
                    <a:lnTo>
                      <a:pt x="1" y="66"/>
                    </a:lnTo>
                    <a:lnTo>
                      <a:pt x="5" y="64"/>
                    </a:lnTo>
                    <a:lnTo>
                      <a:pt x="10" y="66"/>
                    </a:lnTo>
                    <a:lnTo>
                      <a:pt x="10" y="64"/>
                    </a:lnTo>
                    <a:lnTo>
                      <a:pt x="9" y="62"/>
                    </a:lnTo>
                    <a:lnTo>
                      <a:pt x="9" y="60"/>
                    </a:lnTo>
                    <a:lnTo>
                      <a:pt x="7" y="60"/>
                    </a:lnTo>
                    <a:lnTo>
                      <a:pt x="7" y="57"/>
                    </a:lnTo>
                    <a:lnTo>
                      <a:pt x="12" y="53"/>
                    </a:lnTo>
                    <a:lnTo>
                      <a:pt x="14" y="53"/>
                    </a:lnTo>
                    <a:lnTo>
                      <a:pt x="19" y="58"/>
                    </a:lnTo>
                    <a:lnTo>
                      <a:pt x="19" y="60"/>
                    </a:lnTo>
                    <a:lnTo>
                      <a:pt x="23" y="60"/>
                    </a:lnTo>
                    <a:lnTo>
                      <a:pt x="23" y="55"/>
                    </a:lnTo>
                    <a:lnTo>
                      <a:pt x="18" y="51"/>
                    </a:lnTo>
                    <a:lnTo>
                      <a:pt x="19" y="48"/>
                    </a:lnTo>
                    <a:lnTo>
                      <a:pt x="23" y="46"/>
                    </a:lnTo>
                    <a:lnTo>
                      <a:pt x="23" y="44"/>
                    </a:lnTo>
                    <a:lnTo>
                      <a:pt x="16" y="46"/>
                    </a:lnTo>
                    <a:lnTo>
                      <a:pt x="14" y="44"/>
                    </a:lnTo>
                    <a:lnTo>
                      <a:pt x="12" y="41"/>
                    </a:lnTo>
                    <a:lnTo>
                      <a:pt x="12" y="35"/>
                    </a:lnTo>
                    <a:lnTo>
                      <a:pt x="14" y="32"/>
                    </a:lnTo>
                    <a:lnTo>
                      <a:pt x="9" y="32"/>
                    </a:lnTo>
                    <a:lnTo>
                      <a:pt x="9" y="25"/>
                    </a:lnTo>
                    <a:lnTo>
                      <a:pt x="12" y="19"/>
                    </a:lnTo>
                    <a:lnTo>
                      <a:pt x="12" y="19"/>
                    </a:lnTo>
                    <a:lnTo>
                      <a:pt x="12" y="16"/>
                    </a:lnTo>
                    <a:lnTo>
                      <a:pt x="16" y="16"/>
                    </a:lnTo>
                    <a:lnTo>
                      <a:pt x="21" y="17"/>
                    </a:lnTo>
                    <a:lnTo>
                      <a:pt x="23" y="17"/>
                    </a:lnTo>
                    <a:lnTo>
                      <a:pt x="23" y="17"/>
                    </a:lnTo>
                    <a:lnTo>
                      <a:pt x="23" y="21"/>
                    </a:lnTo>
                    <a:lnTo>
                      <a:pt x="25" y="21"/>
                    </a:lnTo>
                    <a:lnTo>
                      <a:pt x="28" y="25"/>
                    </a:lnTo>
                    <a:lnTo>
                      <a:pt x="25" y="28"/>
                    </a:lnTo>
                    <a:lnTo>
                      <a:pt x="32" y="35"/>
                    </a:lnTo>
                    <a:lnTo>
                      <a:pt x="32" y="37"/>
                    </a:lnTo>
                    <a:lnTo>
                      <a:pt x="32" y="39"/>
                    </a:lnTo>
                    <a:lnTo>
                      <a:pt x="35" y="37"/>
                    </a:lnTo>
                    <a:lnTo>
                      <a:pt x="37" y="39"/>
                    </a:lnTo>
                    <a:lnTo>
                      <a:pt x="35" y="41"/>
                    </a:lnTo>
                    <a:lnTo>
                      <a:pt x="43" y="48"/>
                    </a:lnTo>
                    <a:lnTo>
                      <a:pt x="46" y="50"/>
                    </a:lnTo>
                    <a:lnTo>
                      <a:pt x="48" y="46"/>
                    </a:lnTo>
                    <a:lnTo>
                      <a:pt x="50" y="46"/>
                    </a:lnTo>
                    <a:lnTo>
                      <a:pt x="46" y="46"/>
                    </a:lnTo>
                    <a:lnTo>
                      <a:pt x="41" y="33"/>
                    </a:lnTo>
                    <a:lnTo>
                      <a:pt x="46" y="33"/>
                    </a:lnTo>
                    <a:lnTo>
                      <a:pt x="44" y="30"/>
                    </a:lnTo>
                    <a:lnTo>
                      <a:pt x="37" y="32"/>
                    </a:lnTo>
                    <a:lnTo>
                      <a:pt x="35" y="28"/>
                    </a:lnTo>
                    <a:lnTo>
                      <a:pt x="35" y="26"/>
                    </a:lnTo>
                    <a:lnTo>
                      <a:pt x="39" y="28"/>
                    </a:lnTo>
                    <a:lnTo>
                      <a:pt x="41" y="25"/>
                    </a:lnTo>
                    <a:lnTo>
                      <a:pt x="43" y="25"/>
                    </a:lnTo>
                    <a:lnTo>
                      <a:pt x="41" y="25"/>
                    </a:lnTo>
                    <a:lnTo>
                      <a:pt x="39" y="21"/>
                    </a:lnTo>
                    <a:lnTo>
                      <a:pt x="34" y="21"/>
                    </a:lnTo>
                    <a:lnTo>
                      <a:pt x="30" y="19"/>
                    </a:lnTo>
                    <a:lnTo>
                      <a:pt x="28" y="14"/>
                    </a:lnTo>
                    <a:lnTo>
                      <a:pt x="28" y="12"/>
                    </a:lnTo>
                    <a:lnTo>
                      <a:pt x="30" y="10"/>
                    </a:lnTo>
                    <a:lnTo>
                      <a:pt x="32" y="7"/>
                    </a:lnTo>
                    <a:lnTo>
                      <a:pt x="37" y="3"/>
                    </a:lnTo>
                    <a:lnTo>
                      <a:pt x="44" y="3"/>
                    </a:lnTo>
                    <a:lnTo>
                      <a:pt x="48" y="1"/>
                    </a:lnTo>
                    <a:lnTo>
                      <a:pt x="53" y="8"/>
                    </a:lnTo>
                    <a:lnTo>
                      <a:pt x="59" y="10"/>
                    </a:lnTo>
                    <a:lnTo>
                      <a:pt x="59" y="14"/>
                    </a:lnTo>
                    <a:lnTo>
                      <a:pt x="59" y="16"/>
                    </a:lnTo>
                    <a:lnTo>
                      <a:pt x="59" y="14"/>
                    </a:lnTo>
                    <a:lnTo>
                      <a:pt x="62" y="14"/>
                    </a:lnTo>
                    <a:lnTo>
                      <a:pt x="64" y="12"/>
                    </a:lnTo>
                    <a:lnTo>
                      <a:pt x="62" y="7"/>
                    </a:lnTo>
                    <a:lnTo>
                      <a:pt x="62" y="5"/>
                    </a:lnTo>
                    <a:lnTo>
                      <a:pt x="68" y="5"/>
                    </a:lnTo>
                    <a:lnTo>
                      <a:pt x="68" y="1"/>
                    </a:lnTo>
                    <a:lnTo>
                      <a:pt x="64" y="0"/>
                    </a:lnTo>
                    <a:lnTo>
                      <a:pt x="69" y="0"/>
                    </a:lnTo>
                    <a:lnTo>
                      <a:pt x="71" y="3"/>
                    </a:lnTo>
                    <a:lnTo>
                      <a:pt x="75" y="7"/>
                    </a:lnTo>
                    <a:lnTo>
                      <a:pt x="69" y="7"/>
                    </a:lnTo>
                    <a:lnTo>
                      <a:pt x="71" y="8"/>
                    </a:lnTo>
                    <a:lnTo>
                      <a:pt x="76" y="10"/>
                    </a:lnTo>
                    <a:lnTo>
                      <a:pt x="80" y="14"/>
                    </a:lnTo>
                    <a:lnTo>
                      <a:pt x="80" y="26"/>
                    </a:lnTo>
                    <a:lnTo>
                      <a:pt x="82" y="32"/>
                    </a:lnTo>
                    <a:lnTo>
                      <a:pt x="82" y="35"/>
                    </a:lnTo>
                    <a:lnTo>
                      <a:pt x="82" y="44"/>
                    </a:lnTo>
                    <a:lnTo>
                      <a:pt x="82" y="4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18" name="Freeform 1766"/>
              <p:cNvSpPr>
                <a:spLocks/>
              </p:cNvSpPr>
              <p:nvPr/>
            </p:nvSpPr>
            <p:spPr bwMode="auto">
              <a:xfrm>
                <a:off x="1052" y="749"/>
                <a:ext cx="85" cy="110"/>
              </a:xfrm>
              <a:custGeom>
                <a:avLst/>
                <a:gdLst>
                  <a:gd name="T0" fmla="*/ 82 w 85"/>
                  <a:gd name="T1" fmla="*/ 55 h 110"/>
                  <a:gd name="T2" fmla="*/ 84 w 85"/>
                  <a:gd name="T3" fmla="*/ 62 h 110"/>
                  <a:gd name="T4" fmla="*/ 78 w 85"/>
                  <a:gd name="T5" fmla="*/ 71 h 110"/>
                  <a:gd name="T6" fmla="*/ 78 w 85"/>
                  <a:gd name="T7" fmla="*/ 76 h 110"/>
                  <a:gd name="T8" fmla="*/ 75 w 85"/>
                  <a:gd name="T9" fmla="*/ 78 h 110"/>
                  <a:gd name="T10" fmla="*/ 75 w 85"/>
                  <a:gd name="T11" fmla="*/ 85 h 110"/>
                  <a:gd name="T12" fmla="*/ 73 w 85"/>
                  <a:gd name="T13" fmla="*/ 91 h 110"/>
                  <a:gd name="T14" fmla="*/ 76 w 85"/>
                  <a:gd name="T15" fmla="*/ 101 h 110"/>
                  <a:gd name="T16" fmla="*/ 71 w 85"/>
                  <a:gd name="T17" fmla="*/ 100 h 110"/>
                  <a:gd name="T18" fmla="*/ 75 w 85"/>
                  <a:gd name="T19" fmla="*/ 108 h 110"/>
                  <a:gd name="T20" fmla="*/ 60 w 85"/>
                  <a:gd name="T21" fmla="*/ 108 h 110"/>
                  <a:gd name="T22" fmla="*/ 59 w 85"/>
                  <a:gd name="T23" fmla="*/ 108 h 110"/>
                  <a:gd name="T24" fmla="*/ 51 w 85"/>
                  <a:gd name="T25" fmla="*/ 108 h 110"/>
                  <a:gd name="T26" fmla="*/ 41 w 85"/>
                  <a:gd name="T27" fmla="*/ 110 h 110"/>
                  <a:gd name="T28" fmla="*/ 34 w 85"/>
                  <a:gd name="T29" fmla="*/ 96 h 110"/>
                  <a:gd name="T30" fmla="*/ 37 w 85"/>
                  <a:gd name="T31" fmla="*/ 92 h 110"/>
                  <a:gd name="T32" fmla="*/ 37 w 85"/>
                  <a:gd name="T33" fmla="*/ 85 h 110"/>
                  <a:gd name="T34" fmla="*/ 43 w 85"/>
                  <a:gd name="T35" fmla="*/ 80 h 110"/>
                  <a:gd name="T36" fmla="*/ 41 w 85"/>
                  <a:gd name="T37" fmla="*/ 78 h 110"/>
                  <a:gd name="T38" fmla="*/ 48 w 85"/>
                  <a:gd name="T39" fmla="*/ 71 h 110"/>
                  <a:gd name="T40" fmla="*/ 59 w 85"/>
                  <a:gd name="T41" fmla="*/ 64 h 110"/>
                  <a:gd name="T42" fmla="*/ 50 w 85"/>
                  <a:gd name="T43" fmla="*/ 64 h 110"/>
                  <a:gd name="T44" fmla="*/ 39 w 85"/>
                  <a:gd name="T45" fmla="*/ 66 h 110"/>
                  <a:gd name="T46" fmla="*/ 19 w 85"/>
                  <a:gd name="T47" fmla="*/ 73 h 110"/>
                  <a:gd name="T48" fmla="*/ 5 w 85"/>
                  <a:gd name="T49" fmla="*/ 76 h 110"/>
                  <a:gd name="T50" fmla="*/ 1 w 85"/>
                  <a:gd name="T51" fmla="*/ 67 h 110"/>
                  <a:gd name="T52" fmla="*/ 10 w 85"/>
                  <a:gd name="T53" fmla="*/ 64 h 110"/>
                  <a:gd name="T54" fmla="*/ 7 w 85"/>
                  <a:gd name="T55" fmla="*/ 57 h 110"/>
                  <a:gd name="T56" fmla="*/ 19 w 85"/>
                  <a:gd name="T57" fmla="*/ 60 h 110"/>
                  <a:gd name="T58" fmla="*/ 19 w 85"/>
                  <a:gd name="T59" fmla="*/ 48 h 110"/>
                  <a:gd name="T60" fmla="*/ 14 w 85"/>
                  <a:gd name="T61" fmla="*/ 44 h 110"/>
                  <a:gd name="T62" fmla="*/ 9 w 85"/>
                  <a:gd name="T63" fmla="*/ 32 h 110"/>
                  <a:gd name="T64" fmla="*/ 12 w 85"/>
                  <a:gd name="T65" fmla="*/ 16 h 110"/>
                  <a:gd name="T66" fmla="*/ 23 w 85"/>
                  <a:gd name="T67" fmla="*/ 17 h 110"/>
                  <a:gd name="T68" fmla="*/ 25 w 85"/>
                  <a:gd name="T69" fmla="*/ 28 h 110"/>
                  <a:gd name="T70" fmla="*/ 35 w 85"/>
                  <a:gd name="T71" fmla="*/ 37 h 110"/>
                  <a:gd name="T72" fmla="*/ 46 w 85"/>
                  <a:gd name="T73" fmla="*/ 50 h 110"/>
                  <a:gd name="T74" fmla="*/ 41 w 85"/>
                  <a:gd name="T75" fmla="*/ 33 h 110"/>
                  <a:gd name="T76" fmla="*/ 35 w 85"/>
                  <a:gd name="T77" fmla="*/ 28 h 110"/>
                  <a:gd name="T78" fmla="*/ 43 w 85"/>
                  <a:gd name="T79" fmla="*/ 25 h 110"/>
                  <a:gd name="T80" fmla="*/ 30 w 85"/>
                  <a:gd name="T81" fmla="*/ 19 h 110"/>
                  <a:gd name="T82" fmla="*/ 32 w 85"/>
                  <a:gd name="T83" fmla="*/ 7 h 110"/>
                  <a:gd name="T84" fmla="*/ 53 w 85"/>
                  <a:gd name="T85" fmla="*/ 8 h 110"/>
                  <a:gd name="T86" fmla="*/ 59 w 85"/>
                  <a:gd name="T87" fmla="*/ 14 h 110"/>
                  <a:gd name="T88" fmla="*/ 62 w 85"/>
                  <a:gd name="T89" fmla="*/ 5 h 110"/>
                  <a:gd name="T90" fmla="*/ 69 w 85"/>
                  <a:gd name="T91" fmla="*/ 0 h 110"/>
                  <a:gd name="T92" fmla="*/ 71 w 85"/>
                  <a:gd name="T93" fmla="*/ 8 h 110"/>
                  <a:gd name="T94" fmla="*/ 82 w 85"/>
                  <a:gd name="T95" fmla="*/ 3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5" h="110">
                    <a:moveTo>
                      <a:pt x="82" y="46"/>
                    </a:moveTo>
                    <a:lnTo>
                      <a:pt x="82" y="48"/>
                    </a:lnTo>
                    <a:lnTo>
                      <a:pt x="82" y="48"/>
                    </a:lnTo>
                    <a:lnTo>
                      <a:pt x="82" y="55"/>
                    </a:lnTo>
                    <a:lnTo>
                      <a:pt x="78" y="58"/>
                    </a:lnTo>
                    <a:lnTo>
                      <a:pt x="76" y="60"/>
                    </a:lnTo>
                    <a:lnTo>
                      <a:pt x="82" y="62"/>
                    </a:lnTo>
                    <a:lnTo>
                      <a:pt x="84" y="62"/>
                    </a:lnTo>
                    <a:lnTo>
                      <a:pt x="85" y="83"/>
                    </a:lnTo>
                    <a:lnTo>
                      <a:pt x="80" y="71"/>
                    </a:lnTo>
                    <a:lnTo>
                      <a:pt x="80" y="71"/>
                    </a:lnTo>
                    <a:lnTo>
                      <a:pt x="78" y="71"/>
                    </a:lnTo>
                    <a:lnTo>
                      <a:pt x="76" y="71"/>
                    </a:lnTo>
                    <a:lnTo>
                      <a:pt x="75" y="73"/>
                    </a:lnTo>
                    <a:lnTo>
                      <a:pt x="78" y="75"/>
                    </a:lnTo>
                    <a:lnTo>
                      <a:pt x="78" y="76"/>
                    </a:lnTo>
                    <a:lnTo>
                      <a:pt x="78" y="78"/>
                    </a:lnTo>
                    <a:lnTo>
                      <a:pt x="76" y="76"/>
                    </a:lnTo>
                    <a:lnTo>
                      <a:pt x="75" y="76"/>
                    </a:lnTo>
                    <a:lnTo>
                      <a:pt x="75" y="78"/>
                    </a:lnTo>
                    <a:lnTo>
                      <a:pt x="76" y="82"/>
                    </a:lnTo>
                    <a:lnTo>
                      <a:pt x="75" y="82"/>
                    </a:lnTo>
                    <a:lnTo>
                      <a:pt x="75" y="83"/>
                    </a:lnTo>
                    <a:lnTo>
                      <a:pt x="75" y="85"/>
                    </a:lnTo>
                    <a:lnTo>
                      <a:pt x="75" y="85"/>
                    </a:lnTo>
                    <a:lnTo>
                      <a:pt x="73" y="83"/>
                    </a:lnTo>
                    <a:lnTo>
                      <a:pt x="71" y="89"/>
                    </a:lnTo>
                    <a:lnTo>
                      <a:pt x="73" y="91"/>
                    </a:lnTo>
                    <a:lnTo>
                      <a:pt x="73" y="89"/>
                    </a:lnTo>
                    <a:lnTo>
                      <a:pt x="80" y="101"/>
                    </a:lnTo>
                    <a:lnTo>
                      <a:pt x="78" y="101"/>
                    </a:lnTo>
                    <a:lnTo>
                      <a:pt x="76" y="101"/>
                    </a:lnTo>
                    <a:lnTo>
                      <a:pt x="75" y="98"/>
                    </a:lnTo>
                    <a:lnTo>
                      <a:pt x="73" y="96"/>
                    </a:lnTo>
                    <a:lnTo>
                      <a:pt x="71" y="98"/>
                    </a:lnTo>
                    <a:lnTo>
                      <a:pt x="71" y="100"/>
                    </a:lnTo>
                    <a:lnTo>
                      <a:pt x="73" y="101"/>
                    </a:lnTo>
                    <a:lnTo>
                      <a:pt x="73" y="103"/>
                    </a:lnTo>
                    <a:lnTo>
                      <a:pt x="75" y="105"/>
                    </a:lnTo>
                    <a:lnTo>
                      <a:pt x="75" y="108"/>
                    </a:lnTo>
                    <a:lnTo>
                      <a:pt x="66" y="108"/>
                    </a:lnTo>
                    <a:lnTo>
                      <a:pt x="66" y="107"/>
                    </a:lnTo>
                    <a:lnTo>
                      <a:pt x="62" y="108"/>
                    </a:lnTo>
                    <a:lnTo>
                      <a:pt x="60" y="108"/>
                    </a:lnTo>
                    <a:lnTo>
                      <a:pt x="60" y="108"/>
                    </a:lnTo>
                    <a:lnTo>
                      <a:pt x="60" y="105"/>
                    </a:lnTo>
                    <a:lnTo>
                      <a:pt x="59" y="107"/>
                    </a:lnTo>
                    <a:lnTo>
                      <a:pt x="59" y="108"/>
                    </a:lnTo>
                    <a:lnTo>
                      <a:pt x="55" y="108"/>
                    </a:lnTo>
                    <a:lnTo>
                      <a:pt x="55" y="105"/>
                    </a:lnTo>
                    <a:lnTo>
                      <a:pt x="55" y="107"/>
                    </a:lnTo>
                    <a:lnTo>
                      <a:pt x="51" y="108"/>
                    </a:lnTo>
                    <a:lnTo>
                      <a:pt x="51" y="107"/>
                    </a:lnTo>
                    <a:lnTo>
                      <a:pt x="51" y="103"/>
                    </a:lnTo>
                    <a:lnTo>
                      <a:pt x="48" y="110"/>
                    </a:lnTo>
                    <a:lnTo>
                      <a:pt x="41" y="110"/>
                    </a:lnTo>
                    <a:lnTo>
                      <a:pt x="37" y="108"/>
                    </a:lnTo>
                    <a:lnTo>
                      <a:pt x="35" y="107"/>
                    </a:lnTo>
                    <a:lnTo>
                      <a:pt x="35" y="100"/>
                    </a:lnTo>
                    <a:lnTo>
                      <a:pt x="34" y="96"/>
                    </a:lnTo>
                    <a:lnTo>
                      <a:pt x="34" y="96"/>
                    </a:lnTo>
                    <a:lnTo>
                      <a:pt x="41" y="96"/>
                    </a:lnTo>
                    <a:lnTo>
                      <a:pt x="43" y="94"/>
                    </a:lnTo>
                    <a:lnTo>
                      <a:pt x="37" y="92"/>
                    </a:lnTo>
                    <a:lnTo>
                      <a:pt x="39" y="89"/>
                    </a:lnTo>
                    <a:lnTo>
                      <a:pt x="34" y="91"/>
                    </a:lnTo>
                    <a:lnTo>
                      <a:pt x="34" y="87"/>
                    </a:lnTo>
                    <a:lnTo>
                      <a:pt x="37" y="85"/>
                    </a:lnTo>
                    <a:lnTo>
                      <a:pt x="32" y="82"/>
                    </a:lnTo>
                    <a:lnTo>
                      <a:pt x="37" y="80"/>
                    </a:lnTo>
                    <a:lnTo>
                      <a:pt x="41" y="82"/>
                    </a:lnTo>
                    <a:lnTo>
                      <a:pt x="43" y="80"/>
                    </a:lnTo>
                    <a:lnTo>
                      <a:pt x="41" y="78"/>
                    </a:lnTo>
                    <a:lnTo>
                      <a:pt x="46" y="78"/>
                    </a:lnTo>
                    <a:lnTo>
                      <a:pt x="46" y="76"/>
                    </a:lnTo>
                    <a:lnTo>
                      <a:pt x="41" y="78"/>
                    </a:lnTo>
                    <a:lnTo>
                      <a:pt x="44" y="75"/>
                    </a:lnTo>
                    <a:lnTo>
                      <a:pt x="44" y="73"/>
                    </a:lnTo>
                    <a:lnTo>
                      <a:pt x="44" y="73"/>
                    </a:lnTo>
                    <a:lnTo>
                      <a:pt x="48" y="71"/>
                    </a:lnTo>
                    <a:lnTo>
                      <a:pt x="48" y="69"/>
                    </a:lnTo>
                    <a:lnTo>
                      <a:pt x="48" y="67"/>
                    </a:lnTo>
                    <a:lnTo>
                      <a:pt x="48" y="66"/>
                    </a:lnTo>
                    <a:lnTo>
                      <a:pt x="59" y="64"/>
                    </a:lnTo>
                    <a:lnTo>
                      <a:pt x="60" y="62"/>
                    </a:lnTo>
                    <a:lnTo>
                      <a:pt x="60" y="60"/>
                    </a:lnTo>
                    <a:lnTo>
                      <a:pt x="59" y="62"/>
                    </a:lnTo>
                    <a:lnTo>
                      <a:pt x="50" y="64"/>
                    </a:lnTo>
                    <a:lnTo>
                      <a:pt x="50" y="62"/>
                    </a:lnTo>
                    <a:lnTo>
                      <a:pt x="48" y="64"/>
                    </a:lnTo>
                    <a:lnTo>
                      <a:pt x="44" y="64"/>
                    </a:lnTo>
                    <a:lnTo>
                      <a:pt x="39" y="66"/>
                    </a:lnTo>
                    <a:lnTo>
                      <a:pt x="37" y="66"/>
                    </a:lnTo>
                    <a:lnTo>
                      <a:pt x="26" y="71"/>
                    </a:lnTo>
                    <a:lnTo>
                      <a:pt x="21" y="69"/>
                    </a:lnTo>
                    <a:lnTo>
                      <a:pt x="19" y="73"/>
                    </a:lnTo>
                    <a:lnTo>
                      <a:pt x="18" y="71"/>
                    </a:lnTo>
                    <a:lnTo>
                      <a:pt x="14" y="73"/>
                    </a:lnTo>
                    <a:lnTo>
                      <a:pt x="7" y="75"/>
                    </a:lnTo>
                    <a:lnTo>
                      <a:pt x="5" y="76"/>
                    </a:lnTo>
                    <a:lnTo>
                      <a:pt x="1" y="75"/>
                    </a:lnTo>
                    <a:lnTo>
                      <a:pt x="0" y="71"/>
                    </a:lnTo>
                    <a:lnTo>
                      <a:pt x="1" y="71"/>
                    </a:lnTo>
                    <a:lnTo>
                      <a:pt x="1" y="67"/>
                    </a:lnTo>
                    <a:lnTo>
                      <a:pt x="1" y="66"/>
                    </a:lnTo>
                    <a:lnTo>
                      <a:pt x="5" y="64"/>
                    </a:lnTo>
                    <a:lnTo>
                      <a:pt x="10" y="66"/>
                    </a:lnTo>
                    <a:lnTo>
                      <a:pt x="10" y="64"/>
                    </a:lnTo>
                    <a:lnTo>
                      <a:pt x="9" y="62"/>
                    </a:lnTo>
                    <a:lnTo>
                      <a:pt x="9" y="60"/>
                    </a:lnTo>
                    <a:lnTo>
                      <a:pt x="7" y="60"/>
                    </a:lnTo>
                    <a:lnTo>
                      <a:pt x="7" y="57"/>
                    </a:lnTo>
                    <a:lnTo>
                      <a:pt x="12" y="53"/>
                    </a:lnTo>
                    <a:lnTo>
                      <a:pt x="14" y="53"/>
                    </a:lnTo>
                    <a:lnTo>
                      <a:pt x="19" y="58"/>
                    </a:lnTo>
                    <a:lnTo>
                      <a:pt x="19" y="60"/>
                    </a:lnTo>
                    <a:lnTo>
                      <a:pt x="23" y="60"/>
                    </a:lnTo>
                    <a:lnTo>
                      <a:pt x="23" y="55"/>
                    </a:lnTo>
                    <a:lnTo>
                      <a:pt x="18" y="51"/>
                    </a:lnTo>
                    <a:lnTo>
                      <a:pt x="19" y="48"/>
                    </a:lnTo>
                    <a:lnTo>
                      <a:pt x="23" y="46"/>
                    </a:lnTo>
                    <a:lnTo>
                      <a:pt x="23" y="44"/>
                    </a:lnTo>
                    <a:lnTo>
                      <a:pt x="16" y="46"/>
                    </a:lnTo>
                    <a:lnTo>
                      <a:pt x="14" y="44"/>
                    </a:lnTo>
                    <a:lnTo>
                      <a:pt x="12" y="41"/>
                    </a:lnTo>
                    <a:lnTo>
                      <a:pt x="12" y="35"/>
                    </a:lnTo>
                    <a:lnTo>
                      <a:pt x="14" y="32"/>
                    </a:lnTo>
                    <a:lnTo>
                      <a:pt x="9" y="32"/>
                    </a:lnTo>
                    <a:lnTo>
                      <a:pt x="9" y="25"/>
                    </a:lnTo>
                    <a:lnTo>
                      <a:pt x="12" y="19"/>
                    </a:lnTo>
                    <a:lnTo>
                      <a:pt x="12" y="19"/>
                    </a:lnTo>
                    <a:lnTo>
                      <a:pt x="12" y="16"/>
                    </a:lnTo>
                    <a:lnTo>
                      <a:pt x="16" y="16"/>
                    </a:lnTo>
                    <a:lnTo>
                      <a:pt x="21" y="17"/>
                    </a:lnTo>
                    <a:lnTo>
                      <a:pt x="23" y="17"/>
                    </a:lnTo>
                    <a:lnTo>
                      <a:pt x="23" y="17"/>
                    </a:lnTo>
                    <a:lnTo>
                      <a:pt x="23" y="21"/>
                    </a:lnTo>
                    <a:lnTo>
                      <a:pt x="25" y="21"/>
                    </a:lnTo>
                    <a:lnTo>
                      <a:pt x="28" y="25"/>
                    </a:lnTo>
                    <a:lnTo>
                      <a:pt x="25" y="28"/>
                    </a:lnTo>
                    <a:lnTo>
                      <a:pt x="32" y="35"/>
                    </a:lnTo>
                    <a:lnTo>
                      <a:pt x="32" y="37"/>
                    </a:lnTo>
                    <a:lnTo>
                      <a:pt x="32" y="39"/>
                    </a:lnTo>
                    <a:lnTo>
                      <a:pt x="35" y="37"/>
                    </a:lnTo>
                    <a:lnTo>
                      <a:pt x="37" y="39"/>
                    </a:lnTo>
                    <a:lnTo>
                      <a:pt x="35" y="41"/>
                    </a:lnTo>
                    <a:lnTo>
                      <a:pt x="43" y="48"/>
                    </a:lnTo>
                    <a:lnTo>
                      <a:pt x="46" y="50"/>
                    </a:lnTo>
                    <a:lnTo>
                      <a:pt x="48" y="46"/>
                    </a:lnTo>
                    <a:lnTo>
                      <a:pt x="50" y="46"/>
                    </a:lnTo>
                    <a:lnTo>
                      <a:pt x="46" y="46"/>
                    </a:lnTo>
                    <a:lnTo>
                      <a:pt x="41" y="33"/>
                    </a:lnTo>
                    <a:lnTo>
                      <a:pt x="46" y="33"/>
                    </a:lnTo>
                    <a:lnTo>
                      <a:pt x="44" y="30"/>
                    </a:lnTo>
                    <a:lnTo>
                      <a:pt x="37" y="32"/>
                    </a:lnTo>
                    <a:lnTo>
                      <a:pt x="35" y="28"/>
                    </a:lnTo>
                    <a:lnTo>
                      <a:pt x="35" y="26"/>
                    </a:lnTo>
                    <a:lnTo>
                      <a:pt x="39" y="28"/>
                    </a:lnTo>
                    <a:lnTo>
                      <a:pt x="41" y="25"/>
                    </a:lnTo>
                    <a:lnTo>
                      <a:pt x="43" y="25"/>
                    </a:lnTo>
                    <a:lnTo>
                      <a:pt x="41" y="25"/>
                    </a:lnTo>
                    <a:lnTo>
                      <a:pt x="39" y="21"/>
                    </a:lnTo>
                    <a:lnTo>
                      <a:pt x="34" y="21"/>
                    </a:lnTo>
                    <a:lnTo>
                      <a:pt x="30" y="19"/>
                    </a:lnTo>
                    <a:lnTo>
                      <a:pt x="28" y="14"/>
                    </a:lnTo>
                    <a:lnTo>
                      <a:pt x="28" y="12"/>
                    </a:lnTo>
                    <a:lnTo>
                      <a:pt x="30" y="10"/>
                    </a:lnTo>
                    <a:lnTo>
                      <a:pt x="32" y="7"/>
                    </a:lnTo>
                    <a:lnTo>
                      <a:pt x="37" y="3"/>
                    </a:lnTo>
                    <a:lnTo>
                      <a:pt x="44" y="3"/>
                    </a:lnTo>
                    <a:lnTo>
                      <a:pt x="48" y="1"/>
                    </a:lnTo>
                    <a:lnTo>
                      <a:pt x="53" y="8"/>
                    </a:lnTo>
                    <a:lnTo>
                      <a:pt x="59" y="10"/>
                    </a:lnTo>
                    <a:lnTo>
                      <a:pt x="59" y="14"/>
                    </a:lnTo>
                    <a:lnTo>
                      <a:pt x="59" y="16"/>
                    </a:lnTo>
                    <a:lnTo>
                      <a:pt x="59" y="14"/>
                    </a:lnTo>
                    <a:lnTo>
                      <a:pt x="62" y="14"/>
                    </a:lnTo>
                    <a:lnTo>
                      <a:pt x="64" y="12"/>
                    </a:lnTo>
                    <a:lnTo>
                      <a:pt x="62" y="7"/>
                    </a:lnTo>
                    <a:lnTo>
                      <a:pt x="62" y="5"/>
                    </a:lnTo>
                    <a:lnTo>
                      <a:pt x="68" y="5"/>
                    </a:lnTo>
                    <a:lnTo>
                      <a:pt x="68" y="1"/>
                    </a:lnTo>
                    <a:lnTo>
                      <a:pt x="64" y="0"/>
                    </a:lnTo>
                    <a:lnTo>
                      <a:pt x="69" y="0"/>
                    </a:lnTo>
                    <a:lnTo>
                      <a:pt x="71" y="3"/>
                    </a:lnTo>
                    <a:lnTo>
                      <a:pt x="75" y="7"/>
                    </a:lnTo>
                    <a:lnTo>
                      <a:pt x="69" y="7"/>
                    </a:lnTo>
                    <a:lnTo>
                      <a:pt x="71" y="8"/>
                    </a:lnTo>
                    <a:lnTo>
                      <a:pt x="76" y="10"/>
                    </a:lnTo>
                    <a:lnTo>
                      <a:pt x="80" y="14"/>
                    </a:lnTo>
                    <a:lnTo>
                      <a:pt x="80" y="26"/>
                    </a:lnTo>
                    <a:lnTo>
                      <a:pt x="82" y="32"/>
                    </a:lnTo>
                    <a:lnTo>
                      <a:pt x="82" y="35"/>
                    </a:lnTo>
                    <a:lnTo>
                      <a:pt x="82" y="44"/>
                    </a:lnTo>
                    <a:lnTo>
                      <a:pt x="82" y="4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19" name="Freeform 1767"/>
              <p:cNvSpPr>
                <a:spLocks/>
              </p:cNvSpPr>
              <p:nvPr/>
            </p:nvSpPr>
            <p:spPr bwMode="auto">
              <a:xfrm>
                <a:off x="1055" y="656"/>
                <a:ext cx="27" cy="16"/>
              </a:xfrm>
              <a:custGeom>
                <a:avLst/>
                <a:gdLst>
                  <a:gd name="T0" fmla="*/ 9 w 27"/>
                  <a:gd name="T1" fmla="*/ 1 h 16"/>
                  <a:gd name="T2" fmla="*/ 13 w 27"/>
                  <a:gd name="T3" fmla="*/ 0 h 16"/>
                  <a:gd name="T4" fmla="*/ 25 w 27"/>
                  <a:gd name="T5" fmla="*/ 9 h 16"/>
                  <a:gd name="T6" fmla="*/ 27 w 27"/>
                  <a:gd name="T7" fmla="*/ 14 h 16"/>
                  <a:gd name="T8" fmla="*/ 20 w 27"/>
                  <a:gd name="T9" fmla="*/ 12 h 16"/>
                  <a:gd name="T10" fmla="*/ 16 w 27"/>
                  <a:gd name="T11" fmla="*/ 14 h 16"/>
                  <a:gd name="T12" fmla="*/ 15 w 27"/>
                  <a:gd name="T13" fmla="*/ 16 h 16"/>
                  <a:gd name="T14" fmla="*/ 7 w 27"/>
                  <a:gd name="T15" fmla="*/ 16 h 16"/>
                  <a:gd name="T16" fmla="*/ 0 w 27"/>
                  <a:gd name="T17" fmla="*/ 7 h 16"/>
                  <a:gd name="T18" fmla="*/ 0 w 27"/>
                  <a:gd name="T19" fmla="*/ 3 h 16"/>
                  <a:gd name="T20" fmla="*/ 6 w 27"/>
                  <a:gd name="T21" fmla="*/ 1 h 16"/>
                  <a:gd name="T22" fmla="*/ 9 w 27"/>
                  <a:gd name="T23"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6">
                    <a:moveTo>
                      <a:pt x="9" y="1"/>
                    </a:moveTo>
                    <a:lnTo>
                      <a:pt x="13" y="0"/>
                    </a:lnTo>
                    <a:lnTo>
                      <a:pt x="25" y="9"/>
                    </a:lnTo>
                    <a:lnTo>
                      <a:pt x="27" y="14"/>
                    </a:lnTo>
                    <a:lnTo>
                      <a:pt x="20" y="12"/>
                    </a:lnTo>
                    <a:lnTo>
                      <a:pt x="16" y="14"/>
                    </a:lnTo>
                    <a:lnTo>
                      <a:pt x="15" y="16"/>
                    </a:lnTo>
                    <a:lnTo>
                      <a:pt x="7" y="16"/>
                    </a:lnTo>
                    <a:lnTo>
                      <a:pt x="0" y="7"/>
                    </a:lnTo>
                    <a:lnTo>
                      <a:pt x="0" y="3"/>
                    </a:lnTo>
                    <a:lnTo>
                      <a:pt x="6" y="1"/>
                    </a:lnTo>
                    <a:lnTo>
                      <a:pt x="9"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20" name="Freeform 1768"/>
              <p:cNvSpPr>
                <a:spLocks/>
              </p:cNvSpPr>
              <p:nvPr/>
            </p:nvSpPr>
            <p:spPr bwMode="auto">
              <a:xfrm>
                <a:off x="1055" y="656"/>
                <a:ext cx="27" cy="16"/>
              </a:xfrm>
              <a:custGeom>
                <a:avLst/>
                <a:gdLst>
                  <a:gd name="T0" fmla="*/ 9 w 27"/>
                  <a:gd name="T1" fmla="*/ 1 h 16"/>
                  <a:gd name="T2" fmla="*/ 13 w 27"/>
                  <a:gd name="T3" fmla="*/ 0 h 16"/>
                  <a:gd name="T4" fmla="*/ 25 w 27"/>
                  <a:gd name="T5" fmla="*/ 9 h 16"/>
                  <a:gd name="T6" fmla="*/ 27 w 27"/>
                  <a:gd name="T7" fmla="*/ 14 h 16"/>
                  <a:gd name="T8" fmla="*/ 20 w 27"/>
                  <a:gd name="T9" fmla="*/ 12 h 16"/>
                  <a:gd name="T10" fmla="*/ 16 w 27"/>
                  <a:gd name="T11" fmla="*/ 14 h 16"/>
                  <a:gd name="T12" fmla="*/ 15 w 27"/>
                  <a:gd name="T13" fmla="*/ 16 h 16"/>
                  <a:gd name="T14" fmla="*/ 7 w 27"/>
                  <a:gd name="T15" fmla="*/ 16 h 16"/>
                  <a:gd name="T16" fmla="*/ 0 w 27"/>
                  <a:gd name="T17" fmla="*/ 7 h 16"/>
                  <a:gd name="T18" fmla="*/ 0 w 27"/>
                  <a:gd name="T19" fmla="*/ 3 h 16"/>
                  <a:gd name="T20" fmla="*/ 6 w 27"/>
                  <a:gd name="T21" fmla="*/ 1 h 16"/>
                  <a:gd name="T22" fmla="*/ 9 w 27"/>
                  <a:gd name="T23"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 h="16">
                    <a:moveTo>
                      <a:pt x="9" y="1"/>
                    </a:moveTo>
                    <a:lnTo>
                      <a:pt x="13" y="0"/>
                    </a:lnTo>
                    <a:lnTo>
                      <a:pt x="25" y="9"/>
                    </a:lnTo>
                    <a:lnTo>
                      <a:pt x="27" y="14"/>
                    </a:lnTo>
                    <a:lnTo>
                      <a:pt x="20" y="12"/>
                    </a:lnTo>
                    <a:lnTo>
                      <a:pt x="16" y="14"/>
                    </a:lnTo>
                    <a:lnTo>
                      <a:pt x="15" y="16"/>
                    </a:lnTo>
                    <a:lnTo>
                      <a:pt x="7" y="16"/>
                    </a:lnTo>
                    <a:lnTo>
                      <a:pt x="0" y="7"/>
                    </a:lnTo>
                    <a:lnTo>
                      <a:pt x="0" y="3"/>
                    </a:lnTo>
                    <a:lnTo>
                      <a:pt x="6" y="1"/>
                    </a:lnTo>
                    <a:lnTo>
                      <a:pt x="9"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21" name="Freeform 1769"/>
              <p:cNvSpPr>
                <a:spLocks/>
              </p:cNvSpPr>
              <p:nvPr/>
            </p:nvSpPr>
            <p:spPr bwMode="auto">
              <a:xfrm>
                <a:off x="1000" y="672"/>
                <a:ext cx="28" cy="48"/>
              </a:xfrm>
              <a:custGeom>
                <a:avLst/>
                <a:gdLst>
                  <a:gd name="T0" fmla="*/ 16 w 28"/>
                  <a:gd name="T1" fmla="*/ 14 h 48"/>
                  <a:gd name="T2" fmla="*/ 18 w 28"/>
                  <a:gd name="T3" fmla="*/ 18 h 48"/>
                  <a:gd name="T4" fmla="*/ 18 w 28"/>
                  <a:gd name="T5" fmla="*/ 21 h 48"/>
                  <a:gd name="T6" fmla="*/ 18 w 28"/>
                  <a:gd name="T7" fmla="*/ 23 h 48"/>
                  <a:gd name="T8" fmla="*/ 21 w 28"/>
                  <a:gd name="T9" fmla="*/ 25 h 48"/>
                  <a:gd name="T10" fmla="*/ 21 w 28"/>
                  <a:gd name="T11" fmla="*/ 27 h 48"/>
                  <a:gd name="T12" fmla="*/ 27 w 28"/>
                  <a:gd name="T13" fmla="*/ 32 h 48"/>
                  <a:gd name="T14" fmla="*/ 27 w 28"/>
                  <a:gd name="T15" fmla="*/ 35 h 48"/>
                  <a:gd name="T16" fmla="*/ 28 w 28"/>
                  <a:gd name="T17" fmla="*/ 37 h 48"/>
                  <a:gd name="T18" fmla="*/ 28 w 28"/>
                  <a:gd name="T19" fmla="*/ 41 h 48"/>
                  <a:gd name="T20" fmla="*/ 27 w 28"/>
                  <a:gd name="T21" fmla="*/ 44 h 48"/>
                  <a:gd name="T22" fmla="*/ 25 w 28"/>
                  <a:gd name="T23" fmla="*/ 44 h 48"/>
                  <a:gd name="T24" fmla="*/ 23 w 28"/>
                  <a:gd name="T25" fmla="*/ 48 h 48"/>
                  <a:gd name="T26" fmla="*/ 18 w 28"/>
                  <a:gd name="T27" fmla="*/ 43 h 48"/>
                  <a:gd name="T28" fmla="*/ 14 w 28"/>
                  <a:gd name="T29" fmla="*/ 43 h 48"/>
                  <a:gd name="T30" fmla="*/ 5 w 28"/>
                  <a:gd name="T31" fmla="*/ 19 h 48"/>
                  <a:gd name="T32" fmla="*/ 7 w 28"/>
                  <a:gd name="T33" fmla="*/ 18 h 48"/>
                  <a:gd name="T34" fmla="*/ 0 w 28"/>
                  <a:gd name="T35" fmla="*/ 2 h 48"/>
                  <a:gd name="T36" fmla="*/ 2 w 28"/>
                  <a:gd name="T37" fmla="*/ 0 h 48"/>
                  <a:gd name="T38" fmla="*/ 2 w 28"/>
                  <a:gd name="T39" fmla="*/ 0 h 48"/>
                  <a:gd name="T40" fmla="*/ 7 w 28"/>
                  <a:gd name="T41" fmla="*/ 2 h 48"/>
                  <a:gd name="T42" fmla="*/ 11 w 28"/>
                  <a:gd name="T43" fmla="*/ 3 h 48"/>
                  <a:gd name="T44" fmla="*/ 11 w 28"/>
                  <a:gd name="T45" fmla="*/ 7 h 48"/>
                  <a:gd name="T46" fmla="*/ 14 w 28"/>
                  <a:gd name="T47" fmla="*/ 10 h 48"/>
                  <a:gd name="T48" fmla="*/ 16 w 28"/>
                  <a:gd name="T49" fmla="*/ 14 h 48"/>
                  <a:gd name="T50" fmla="*/ 16 w 28"/>
                  <a:gd name="T51"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 h="48">
                    <a:moveTo>
                      <a:pt x="16" y="14"/>
                    </a:moveTo>
                    <a:lnTo>
                      <a:pt x="18" y="18"/>
                    </a:lnTo>
                    <a:lnTo>
                      <a:pt x="18" y="21"/>
                    </a:lnTo>
                    <a:lnTo>
                      <a:pt x="18" y="23"/>
                    </a:lnTo>
                    <a:lnTo>
                      <a:pt x="21" y="25"/>
                    </a:lnTo>
                    <a:lnTo>
                      <a:pt x="21" y="27"/>
                    </a:lnTo>
                    <a:lnTo>
                      <a:pt x="27" y="32"/>
                    </a:lnTo>
                    <a:lnTo>
                      <a:pt x="27" y="35"/>
                    </a:lnTo>
                    <a:lnTo>
                      <a:pt x="28" y="37"/>
                    </a:lnTo>
                    <a:lnTo>
                      <a:pt x="28" y="41"/>
                    </a:lnTo>
                    <a:lnTo>
                      <a:pt x="27" y="44"/>
                    </a:lnTo>
                    <a:lnTo>
                      <a:pt x="25" y="44"/>
                    </a:lnTo>
                    <a:lnTo>
                      <a:pt x="23" y="48"/>
                    </a:lnTo>
                    <a:lnTo>
                      <a:pt x="18" y="43"/>
                    </a:lnTo>
                    <a:lnTo>
                      <a:pt x="14" y="43"/>
                    </a:lnTo>
                    <a:lnTo>
                      <a:pt x="5" y="19"/>
                    </a:lnTo>
                    <a:lnTo>
                      <a:pt x="7" y="18"/>
                    </a:lnTo>
                    <a:lnTo>
                      <a:pt x="0" y="2"/>
                    </a:lnTo>
                    <a:lnTo>
                      <a:pt x="2" y="0"/>
                    </a:lnTo>
                    <a:lnTo>
                      <a:pt x="2" y="0"/>
                    </a:lnTo>
                    <a:lnTo>
                      <a:pt x="7" y="2"/>
                    </a:lnTo>
                    <a:lnTo>
                      <a:pt x="11" y="3"/>
                    </a:lnTo>
                    <a:lnTo>
                      <a:pt x="11" y="7"/>
                    </a:lnTo>
                    <a:lnTo>
                      <a:pt x="14" y="10"/>
                    </a:lnTo>
                    <a:lnTo>
                      <a:pt x="16" y="14"/>
                    </a:lnTo>
                    <a:lnTo>
                      <a:pt x="16" y="1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22" name="Freeform 1770"/>
              <p:cNvSpPr>
                <a:spLocks/>
              </p:cNvSpPr>
              <p:nvPr/>
            </p:nvSpPr>
            <p:spPr bwMode="auto">
              <a:xfrm>
                <a:off x="1000" y="672"/>
                <a:ext cx="28" cy="48"/>
              </a:xfrm>
              <a:custGeom>
                <a:avLst/>
                <a:gdLst>
                  <a:gd name="T0" fmla="*/ 16 w 28"/>
                  <a:gd name="T1" fmla="*/ 14 h 48"/>
                  <a:gd name="T2" fmla="*/ 18 w 28"/>
                  <a:gd name="T3" fmla="*/ 18 h 48"/>
                  <a:gd name="T4" fmla="*/ 18 w 28"/>
                  <a:gd name="T5" fmla="*/ 21 h 48"/>
                  <a:gd name="T6" fmla="*/ 18 w 28"/>
                  <a:gd name="T7" fmla="*/ 23 h 48"/>
                  <a:gd name="T8" fmla="*/ 21 w 28"/>
                  <a:gd name="T9" fmla="*/ 25 h 48"/>
                  <a:gd name="T10" fmla="*/ 21 w 28"/>
                  <a:gd name="T11" fmla="*/ 27 h 48"/>
                  <a:gd name="T12" fmla="*/ 27 w 28"/>
                  <a:gd name="T13" fmla="*/ 32 h 48"/>
                  <a:gd name="T14" fmla="*/ 27 w 28"/>
                  <a:gd name="T15" fmla="*/ 35 h 48"/>
                  <a:gd name="T16" fmla="*/ 28 w 28"/>
                  <a:gd name="T17" fmla="*/ 37 h 48"/>
                  <a:gd name="T18" fmla="*/ 28 w 28"/>
                  <a:gd name="T19" fmla="*/ 41 h 48"/>
                  <a:gd name="T20" fmla="*/ 27 w 28"/>
                  <a:gd name="T21" fmla="*/ 44 h 48"/>
                  <a:gd name="T22" fmla="*/ 25 w 28"/>
                  <a:gd name="T23" fmla="*/ 44 h 48"/>
                  <a:gd name="T24" fmla="*/ 23 w 28"/>
                  <a:gd name="T25" fmla="*/ 48 h 48"/>
                  <a:gd name="T26" fmla="*/ 18 w 28"/>
                  <a:gd name="T27" fmla="*/ 43 h 48"/>
                  <a:gd name="T28" fmla="*/ 14 w 28"/>
                  <a:gd name="T29" fmla="*/ 43 h 48"/>
                  <a:gd name="T30" fmla="*/ 5 w 28"/>
                  <a:gd name="T31" fmla="*/ 19 h 48"/>
                  <a:gd name="T32" fmla="*/ 7 w 28"/>
                  <a:gd name="T33" fmla="*/ 18 h 48"/>
                  <a:gd name="T34" fmla="*/ 0 w 28"/>
                  <a:gd name="T35" fmla="*/ 2 h 48"/>
                  <a:gd name="T36" fmla="*/ 2 w 28"/>
                  <a:gd name="T37" fmla="*/ 0 h 48"/>
                  <a:gd name="T38" fmla="*/ 2 w 28"/>
                  <a:gd name="T39" fmla="*/ 0 h 48"/>
                  <a:gd name="T40" fmla="*/ 7 w 28"/>
                  <a:gd name="T41" fmla="*/ 2 h 48"/>
                  <a:gd name="T42" fmla="*/ 11 w 28"/>
                  <a:gd name="T43" fmla="*/ 3 h 48"/>
                  <a:gd name="T44" fmla="*/ 11 w 28"/>
                  <a:gd name="T45" fmla="*/ 7 h 48"/>
                  <a:gd name="T46" fmla="*/ 14 w 28"/>
                  <a:gd name="T47" fmla="*/ 10 h 48"/>
                  <a:gd name="T48" fmla="*/ 16 w 28"/>
                  <a:gd name="T49" fmla="*/ 14 h 48"/>
                  <a:gd name="T50" fmla="*/ 16 w 28"/>
                  <a:gd name="T51"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 h="48">
                    <a:moveTo>
                      <a:pt x="16" y="14"/>
                    </a:moveTo>
                    <a:lnTo>
                      <a:pt x="18" y="18"/>
                    </a:lnTo>
                    <a:lnTo>
                      <a:pt x="18" y="21"/>
                    </a:lnTo>
                    <a:lnTo>
                      <a:pt x="18" y="23"/>
                    </a:lnTo>
                    <a:lnTo>
                      <a:pt x="21" y="25"/>
                    </a:lnTo>
                    <a:lnTo>
                      <a:pt x="21" y="27"/>
                    </a:lnTo>
                    <a:lnTo>
                      <a:pt x="27" y="32"/>
                    </a:lnTo>
                    <a:lnTo>
                      <a:pt x="27" y="35"/>
                    </a:lnTo>
                    <a:lnTo>
                      <a:pt x="28" y="37"/>
                    </a:lnTo>
                    <a:lnTo>
                      <a:pt x="28" y="41"/>
                    </a:lnTo>
                    <a:lnTo>
                      <a:pt x="27" y="44"/>
                    </a:lnTo>
                    <a:lnTo>
                      <a:pt x="25" y="44"/>
                    </a:lnTo>
                    <a:lnTo>
                      <a:pt x="23" y="48"/>
                    </a:lnTo>
                    <a:lnTo>
                      <a:pt x="18" y="43"/>
                    </a:lnTo>
                    <a:lnTo>
                      <a:pt x="14" y="43"/>
                    </a:lnTo>
                    <a:lnTo>
                      <a:pt x="5" y="19"/>
                    </a:lnTo>
                    <a:lnTo>
                      <a:pt x="7" y="18"/>
                    </a:lnTo>
                    <a:lnTo>
                      <a:pt x="0" y="2"/>
                    </a:lnTo>
                    <a:lnTo>
                      <a:pt x="2" y="0"/>
                    </a:lnTo>
                    <a:lnTo>
                      <a:pt x="2" y="0"/>
                    </a:lnTo>
                    <a:lnTo>
                      <a:pt x="7" y="2"/>
                    </a:lnTo>
                    <a:lnTo>
                      <a:pt x="11" y="3"/>
                    </a:lnTo>
                    <a:lnTo>
                      <a:pt x="11" y="7"/>
                    </a:lnTo>
                    <a:lnTo>
                      <a:pt x="14" y="10"/>
                    </a:lnTo>
                    <a:lnTo>
                      <a:pt x="16" y="14"/>
                    </a:lnTo>
                    <a:lnTo>
                      <a:pt x="16" y="1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23" name="Freeform 1771"/>
              <p:cNvSpPr>
                <a:spLocks/>
              </p:cNvSpPr>
              <p:nvPr/>
            </p:nvSpPr>
            <p:spPr bwMode="auto">
              <a:xfrm>
                <a:off x="1021" y="750"/>
                <a:ext cx="27" cy="25"/>
              </a:xfrm>
              <a:custGeom>
                <a:avLst/>
                <a:gdLst>
                  <a:gd name="T0" fmla="*/ 11 w 27"/>
                  <a:gd name="T1" fmla="*/ 6 h 25"/>
                  <a:gd name="T2" fmla="*/ 13 w 27"/>
                  <a:gd name="T3" fmla="*/ 6 h 25"/>
                  <a:gd name="T4" fmla="*/ 13 w 27"/>
                  <a:gd name="T5" fmla="*/ 4 h 25"/>
                  <a:gd name="T6" fmla="*/ 18 w 27"/>
                  <a:gd name="T7" fmla="*/ 7 h 25"/>
                  <a:gd name="T8" fmla="*/ 18 w 27"/>
                  <a:gd name="T9" fmla="*/ 11 h 25"/>
                  <a:gd name="T10" fmla="*/ 22 w 27"/>
                  <a:gd name="T11" fmla="*/ 13 h 25"/>
                  <a:gd name="T12" fmla="*/ 27 w 27"/>
                  <a:gd name="T13" fmla="*/ 18 h 25"/>
                  <a:gd name="T14" fmla="*/ 24 w 27"/>
                  <a:gd name="T15" fmla="*/ 22 h 25"/>
                  <a:gd name="T16" fmla="*/ 16 w 27"/>
                  <a:gd name="T17" fmla="*/ 25 h 25"/>
                  <a:gd name="T18" fmla="*/ 7 w 27"/>
                  <a:gd name="T19" fmla="*/ 24 h 25"/>
                  <a:gd name="T20" fmla="*/ 4 w 27"/>
                  <a:gd name="T21" fmla="*/ 18 h 25"/>
                  <a:gd name="T22" fmla="*/ 4 w 27"/>
                  <a:gd name="T23" fmla="*/ 16 h 25"/>
                  <a:gd name="T24" fmla="*/ 6 w 27"/>
                  <a:gd name="T25" fmla="*/ 11 h 25"/>
                  <a:gd name="T26" fmla="*/ 4 w 27"/>
                  <a:gd name="T27" fmla="*/ 13 h 25"/>
                  <a:gd name="T28" fmla="*/ 2 w 27"/>
                  <a:gd name="T29" fmla="*/ 13 h 25"/>
                  <a:gd name="T30" fmla="*/ 2 w 27"/>
                  <a:gd name="T31" fmla="*/ 9 h 25"/>
                  <a:gd name="T32" fmla="*/ 0 w 27"/>
                  <a:gd name="T33" fmla="*/ 7 h 25"/>
                  <a:gd name="T34" fmla="*/ 0 w 27"/>
                  <a:gd name="T35" fmla="*/ 6 h 25"/>
                  <a:gd name="T36" fmla="*/ 2 w 27"/>
                  <a:gd name="T37" fmla="*/ 4 h 25"/>
                  <a:gd name="T38" fmla="*/ 7 w 27"/>
                  <a:gd name="T39" fmla="*/ 0 h 25"/>
                  <a:gd name="T40" fmla="*/ 11 w 27"/>
                  <a:gd name="T41" fmla="*/ 0 h 25"/>
                  <a:gd name="T42" fmla="*/ 13 w 27"/>
                  <a:gd name="T43" fmla="*/ 2 h 25"/>
                  <a:gd name="T44" fmla="*/ 11 w 27"/>
                  <a:gd name="T4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25">
                    <a:moveTo>
                      <a:pt x="11" y="6"/>
                    </a:moveTo>
                    <a:lnTo>
                      <a:pt x="13" y="6"/>
                    </a:lnTo>
                    <a:lnTo>
                      <a:pt x="13" y="4"/>
                    </a:lnTo>
                    <a:lnTo>
                      <a:pt x="18" y="7"/>
                    </a:lnTo>
                    <a:lnTo>
                      <a:pt x="18" y="11"/>
                    </a:lnTo>
                    <a:lnTo>
                      <a:pt x="22" y="13"/>
                    </a:lnTo>
                    <a:lnTo>
                      <a:pt x="27" y="18"/>
                    </a:lnTo>
                    <a:lnTo>
                      <a:pt x="24" y="22"/>
                    </a:lnTo>
                    <a:lnTo>
                      <a:pt x="16" y="25"/>
                    </a:lnTo>
                    <a:lnTo>
                      <a:pt x="7" y="24"/>
                    </a:lnTo>
                    <a:lnTo>
                      <a:pt x="4" y="18"/>
                    </a:lnTo>
                    <a:lnTo>
                      <a:pt x="4" y="16"/>
                    </a:lnTo>
                    <a:lnTo>
                      <a:pt x="6" y="11"/>
                    </a:lnTo>
                    <a:lnTo>
                      <a:pt x="4" y="13"/>
                    </a:lnTo>
                    <a:lnTo>
                      <a:pt x="2" y="13"/>
                    </a:lnTo>
                    <a:lnTo>
                      <a:pt x="2" y="9"/>
                    </a:lnTo>
                    <a:lnTo>
                      <a:pt x="0" y="7"/>
                    </a:lnTo>
                    <a:lnTo>
                      <a:pt x="0" y="6"/>
                    </a:lnTo>
                    <a:lnTo>
                      <a:pt x="2" y="4"/>
                    </a:lnTo>
                    <a:lnTo>
                      <a:pt x="7" y="0"/>
                    </a:lnTo>
                    <a:lnTo>
                      <a:pt x="11" y="0"/>
                    </a:lnTo>
                    <a:lnTo>
                      <a:pt x="13" y="2"/>
                    </a:lnTo>
                    <a:lnTo>
                      <a:pt x="11"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24" name="Freeform 1772"/>
              <p:cNvSpPr>
                <a:spLocks/>
              </p:cNvSpPr>
              <p:nvPr/>
            </p:nvSpPr>
            <p:spPr bwMode="auto">
              <a:xfrm>
                <a:off x="1021" y="750"/>
                <a:ext cx="27" cy="25"/>
              </a:xfrm>
              <a:custGeom>
                <a:avLst/>
                <a:gdLst>
                  <a:gd name="T0" fmla="*/ 11 w 27"/>
                  <a:gd name="T1" fmla="*/ 6 h 25"/>
                  <a:gd name="T2" fmla="*/ 13 w 27"/>
                  <a:gd name="T3" fmla="*/ 6 h 25"/>
                  <a:gd name="T4" fmla="*/ 13 w 27"/>
                  <a:gd name="T5" fmla="*/ 4 h 25"/>
                  <a:gd name="T6" fmla="*/ 18 w 27"/>
                  <a:gd name="T7" fmla="*/ 7 h 25"/>
                  <a:gd name="T8" fmla="*/ 18 w 27"/>
                  <a:gd name="T9" fmla="*/ 11 h 25"/>
                  <a:gd name="T10" fmla="*/ 22 w 27"/>
                  <a:gd name="T11" fmla="*/ 13 h 25"/>
                  <a:gd name="T12" fmla="*/ 27 w 27"/>
                  <a:gd name="T13" fmla="*/ 18 h 25"/>
                  <a:gd name="T14" fmla="*/ 24 w 27"/>
                  <a:gd name="T15" fmla="*/ 22 h 25"/>
                  <a:gd name="T16" fmla="*/ 16 w 27"/>
                  <a:gd name="T17" fmla="*/ 25 h 25"/>
                  <a:gd name="T18" fmla="*/ 7 w 27"/>
                  <a:gd name="T19" fmla="*/ 24 h 25"/>
                  <a:gd name="T20" fmla="*/ 4 w 27"/>
                  <a:gd name="T21" fmla="*/ 18 h 25"/>
                  <a:gd name="T22" fmla="*/ 4 w 27"/>
                  <a:gd name="T23" fmla="*/ 16 h 25"/>
                  <a:gd name="T24" fmla="*/ 6 w 27"/>
                  <a:gd name="T25" fmla="*/ 11 h 25"/>
                  <a:gd name="T26" fmla="*/ 4 w 27"/>
                  <a:gd name="T27" fmla="*/ 13 h 25"/>
                  <a:gd name="T28" fmla="*/ 2 w 27"/>
                  <a:gd name="T29" fmla="*/ 13 h 25"/>
                  <a:gd name="T30" fmla="*/ 2 w 27"/>
                  <a:gd name="T31" fmla="*/ 9 h 25"/>
                  <a:gd name="T32" fmla="*/ 0 w 27"/>
                  <a:gd name="T33" fmla="*/ 7 h 25"/>
                  <a:gd name="T34" fmla="*/ 0 w 27"/>
                  <a:gd name="T35" fmla="*/ 6 h 25"/>
                  <a:gd name="T36" fmla="*/ 2 w 27"/>
                  <a:gd name="T37" fmla="*/ 4 h 25"/>
                  <a:gd name="T38" fmla="*/ 7 w 27"/>
                  <a:gd name="T39" fmla="*/ 0 h 25"/>
                  <a:gd name="T40" fmla="*/ 11 w 27"/>
                  <a:gd name="T41" fmla="*/ 0 h 25"/>
                  <a:gd name="T42" fmla="*/ 13 w 27"/>
                  <a:gd name="T43" fmla="*/ 2 h 25"/>
                  <a:gd name="T44" fmla="*/ 11 w 27"/>
                  <a:gd name="T45"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25">
                    <a:moveTo>
                      <a:pt x="11" y="6"/>
                    </a:moveTo>
                    <a:lnTo>
                      <a:pt x="13" y="6"/>
                    </a:lnTo>
                    <a:lnTo>
                      <a:pt x="13" y="4"/>
                    </a:lnTo>
                    <a:lnTo>
                      <a:pt x="18" y="7"/>
                    </a:lnTo>
                    <a:lnTo>
                      <a:pt x="18" y="11"/>
                    </a:lnTo>
                    <a:lnTo>
                      <a:pt x="22" y="13"/>
                    </a:lnTo>
                    <a:lnTo>
                      <a:pt x="27" y="18"/>
                    </a:lnTo>
                    <a:lnTo>
                      <a:pt x="24" y="22"/>
                    </a:lnTo>
                    <a:lnTo>
                      <a:pt x="16" y="25"/>
                    </a:lnTo>
                    <a:lnTo>
                      <a:pt x="7" y="24"/>
                    </a:lnTo>
                    <a:lnTo>
                      <a:pt x="4" y="18"/>
                    </a:lnTo>
                    <a:lnTo>
                      <a:pt x="4" y="16"/>
                    </a:lnTo>
                    <a:lnTo>
                      <a:pt x="6" y="11"/>
                    </a:lnTo>
                    <a:lnTo>
                      <a:pt x="4" y="13"/>
                    </a:lnTo>
                    <a:lnTo>
                      <a:pt x="2" y="13"/>
                    </a:lnTo>
                    <a:lnTo>
                      <a:pt x="2" y="9"/>
                    </a:lnTo>
                    <a:lnTo>
                      <a:pt x="0" y="7"/>
                    </a:lnTo>
                    <a:lnTo>
                      <a:pt x="0" y="6"/>
                    </a:lnTo>
                    <a:lnTo>
                      <a:pt x="2" y="4"/>
                    </a:lnTo>
                    <a:lnTo>
                      <a:pt x="7" y="0"/>
                    </a:lnTo>
                    <a:lnTo>
                      <a:pt x="11" y="0"/>
                    </a:lnTo>
                    <a:lnTo>
                      <a:pt x="13" y="2"/>
                    </a:lnTo>
                    <a:lnTo>
                      <a:pt x="11"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25" name="Freeform 1773"/>
              <p:cNvSpPr>
                <a:spLocks/>
              </p:cNvSpPr>
              <p:nvPr/>
            </p:nvSpPr>
            <p:spPr bwMode="auto">
              <a:xfrm>
                <a:off x="1025" y="774"/>
                <a:ext cx="30" cy="17"/>
              </a:xfrm>
              <a:custGeom>
                <a:avLst/>
                <a:gdLst>
                  <a:gd name="T0" fmla="*/ 23 w 30"/>
                  <a:gd name="T1" fmla="*/ 0 h 17"/>
                  <a:gd name="T2" fmla="*/ 27 w 30"/>
                  <a:gd name="T3" fmla="*/ 0 h 17"/>
                  <a:gd name="T4" fmla="*/ 28 w 30"/>
                  <a:gd name="T5" fmla="*/ 3 h 17"/>
                  <a:gd name="T6" fmla="*/ 30 w 30"/>
                  <a:gd name="T7" fmla="*/ 5 h 17"/>
                  <a:gd name="T8" fmla="*/ 30 w 30"/>
                  <a:gd name="T9" fmla="*/ 10 h 17"/>
                  <a:gd name="T10" fmla="*/ 28 w 30"/>
                  <a:gd name="T11" fmla="*/ 12 h 17"/>
                  <a:gd name="T12" fmla="*/ 18 w 30"/>
                  <a:gd name="T13" fmla="*/ 17 h 17"/>
                  <a:gd name="T14" fmla="*/ 7 w 30"/>
                  <a:gd name="T15" fmla="*/ 17 h 17"/>
                  <a:gd name="T16" fmla="*/ 7 w 30"/>
                  <a:gd name="T17" fmla="*/ 16 h 17"/>
                  <a:gd name="T18" fmla="*/ 7 w 30"/>
                  <a:gd name="T19" fmla="*/ 16 h 17"/>
                  <a:gd name="T20" fmla="*/ 5 w 30"/>
                  <a:gd name="T21" fmla="*/ 17 h 17"/>
                  <a:gd name="T22" fmla="*/ 3 w 30"/>
                  <a:gd name="T23" fmla="*/ 16 h 17"/>
                  <a:gd name="T24" fmla="*/ 2 w 30"/>
                  <a:gd name="T25" fmla="*/ 16 h 17"/>
                  <a:gd name="T26" fmla="*/ 0 w 30"/>
                  <a:gd name="T27" fmla="*/ 10 h 17"/>
                  <a:gd name="T28" fmla="*/ 0 w 30"/>
                  <a:gd name="T29" fmla="*/ 8 h 17"/>
                  <a:gd name="T30" fmla="*/ 2 w 30"/>
                  <a:gd name="T31" fmla="*/ 7 h 17"/>
                  <a:gd name="T32" fmla="*/ 7 w 30"/>
                  <a:gd name="T33" fmla="*/ 5 h 17"/>
                  <a:gd name="T34" fmla="*/ 21 w 30"/>
                  <a:gd name="T35" fmla="*/ 0 h 17"/>
                  <a:gd name="T36" fmla="*/ 23 w 30"/>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17">
                    <a:moveTo>
                      <a:pt x="23" y="0"/>
                    </a:moveTo>
                    <a:lnTo>
                      <a:pt x="27" y="0"/>
                    </a:lnTo>
                    <a:lnTo>
                      <a:pt x="28" y="3"/>
                    </a:lnTo>
                    <a:lnTo>
                      <a:pt x="30" y="5"/>
                    </a:lnTo>
                    <a:lnTo>
                      <a:pt x="30" y="10"/>
                    </a:lnTo>
                    <a:lnTo>
                      <a:pt x="28" y="12"/>
                    </a:lnTo>
                    <a:lnTo>
                      <a:pt x="18" y="17"/>
                    </a:lnTo>
                    <a:lnTo>
                      <a:pt x="7" y="17"/>
                    </a:lnTo>
                    <a:lnTo>
                      <a:pt x="7" y="16"/>
                    </a:lnTo>
                    <a:lnTo>
                      <a:pt x="7" y="16"/>
                    </a:lnTo>
                    <a:lnTo>
                      <a:pt x="5" y="17"/>
                    </a:lnTo>
                    <a:lnTo>
                      <a:pt x="3" y="16"/>
                    </a:lnTo>
                    <a:lnTo>
                      <a:pt x="2" y="16"/>
                    </a:lnTo>
                    <a:lnTo>
                      <a:pt x="0" y="10"/>
                    </a:lnTo>
                    <a:lnTo>
                      <a:pt x="0" y="8"/>
                    </a:lnTo>
                    <a:lnTo>
                      <a:pt x="2" y="7"/>
                    </a:lnTo>
                    <a:lnTo>
                      <a:pt x="7" y="5"/>
                    </a:lnTo>
                    <a:lnTo>
                      <a:pt x="21" y="0"/>
                    </a:lnTo>
                    <a:lnTo>
                      <a:pt x="2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26" name="Freeform 1774"/>
              <p:cNvSpPr>
                <a:spLocks/>
              </p:cNvSpPr>
              <p:nvPr/>
            </p:nvSpPr>
            <p:spPr bwMode="auto">
              <a:xfrm>
                <a:off x="1025" y="774"/>
                <a:ext cx="30" cy="17"/>
              </a:xfrm>
              <a:custGeom>
                <a:avLst/>
                <a:gdLst>
                  <a:gd name="T0" fmla="*/ 23 w 30"/>
                  <a:gd name="T1" fmla="*/ 0 h 17"/>
                  <a:gd name="T2" fmla="*/ 27 w 30"/>
                  <a:gd name="T3" fmla="*/ 0 h 17"/>
                  <a:gd name="T4" fmla="*/ 28 w 30"/>
                  <a:gd name="T5" fmla="*/ 3 h 17"/>
                  <a:gd name="T6" fmla="*/ 30 w 30"/>
                  <a:gd name="T7" fmla="*/ 5 h 17"/>
                  <a:gd name="T8" fmla="*/ 30 w 30"/>
                  <a:gd name="T9" fmla="*/ 10 h 17"/>
                  <a:gd name="T10" fmla="*/ 28 w 30"/>
                  <a:gd name="T11" fmla="*/ 12 h 17"/>
                  <a:gd name="T12" fmla="*/ 18 w 30"/>
                  <a:gd name="T13" fmla="*/ 17 h 17"/>
                  <a:gd name="T14" fmla="*/ 7 w 30"/>
                  <a:gd name="T15" fmla="*/ 17 h 17"/>
                  <a:gd name="T16" fmla="*/ 7 w 30"/>
                  <a:gd name="T17" fmla="*/ 16 h 17"/>
                  <a:gd name="T18" fmla="*/ 7 w 30"/>
                  <a:gd name="T19" fmla="*/ 16 h 17"/>
                  <a:gd name="T20" fmla="*/ 5 w 30"/>
                  <a:gd name="T21" fmla="*/ 17 h 17"/>
                  <a:gd name="T22" fmla="*/ 3 w 30"/>
                  <a:gd name="T23" fmla="*/ 16 h 17"/>
                  <a:gd name="T24" fmla="*/ 2 w 30"/>
                  <a:gd name="T25" fmla="*/ 16 h 17"/>
                  <a:gd name="T26" fmla="*/ 0 w 30"/>
                  <a:gd name="T27" fmla="*/ 10 h 17"/>
                  <a:gd name="T28" fmla="*/ 0 w 30"/>
                  <a:gd name="T29" fmla="*/ 8 h 17"/>
                  <a:gd name="T30" fmla="*/ 2 w 30"/>
                  <a:gd name="T31" fmla="*/ 7 h 17"/>
                  <a:gd name="T32" fmla="*/ 7 w 30"/>
                  <a:gd name="T33" fmla="*/ 5 h 17"/>
                  <a:gd name="T34" fmla="*/ 21 w 30"/>
                  <a:gd name="T35" fmla="*/ 0 h 17"/>
                  <a:gd name="T36" fmla="*/ 23 w 30"/>
                  <a:gd name="T3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 h="17">
                    <a:moveTo>
                      <a:pt x="23" y="0"/>
                    </a:moveTo>
                    <a:lnTo>
                      <a:pt x="27" y="0"/>
                    </a:lnTo>
                    <a:lnTo>
                      <a:pt x="28" y="3"/>
                    </a:lnTo>
                    <a:lnTo>
                      <a:pt x="30" y="5"/>
                    </a:lnTo>
                    <a:lnTo>
                      <a:pt x="30" y="10"/>
                    </a:lnTo>
                    <a:lnTo>
                      <a:pt x="28" y="12"/>
                    </a:lnTo>
                    <a:lnTo>
                      <a:pt x="18" y="17"/>
                    </a:lnTo>
                    <a:lnTo>
                      <a:pt x="7" y="17"/>
                    </a:lnTo>
                    <a:lnTo>
                      <a:pt x="7" y="16"/>
                    </a:lnTo>
                    <a:lnTo>
                      <a:pt x="7" y="16"/>
                    </a:lnTo>
                    <a:lnTo>
                      <a:pt x="5" y="17"/>
                    </a:lnTo>
                    <a:lnTo>
                      <a:pt x="3" y="16"/>
                    </a:lnTo>
                    <a:lnTo>
                      <a:pt x="2" y="16"/>
                    </a:lnTo>
                    <a:lnTo>
                      <a:pt x="0" y="10"/>
                    </a:lnTo>
                    <a:lnTo>
                      <a:pt x="0" y="8"/>
                    </a:lnTo>
                    <a:lnTo>
                      <a:pt x="2" y="7"/>
                    </a:lnTo>
                    <a:lnTo>
                      <a:pt x="7" y="5"/>
                    </a:lnTo>
                    <a:lnTo>
                      <a:pt x="21" y="0"/>
                    </a:lnTo>
                    <a:lnTo>
                      <a:pt x="2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27" name="Freeform 1775"/>
              <p:cNvSpPr>
                <a:spLocks/>
              </p:cNvSpPr>
              <p:nvPr/>
            </p:nvSpPr>
            <p:spPr bwMode="auto">
              <a:xfrm>
                <a:off x="1034" y="790"/>
                <a:ext cx="25" cy="12"/>
              </a:xfrm>
              <a:custGeom>
                <a:avLst/>
                <a:gdLst>
                  <a:gd name="T0" fmla="*/ 14 w 25"/>
                  <a:gd name="T1" fmla="*/ 1 h 12"/>
                  <a:gd name="T2" fmla="*/ 19 w 25"/>
                  <a:gd name="T3" fmla="*/ 0 h 12"/>
                  <a:gd name="T4" fmla="*/ 25 w 25"/>
                  <a:gd name="T5" fmla="*/ 0 h 12"/>
                  <a:gd name="T6" fmla="*/ 23 w 25"/>
                  <a:gd name="T7" fmla="*/ 3 h 12"/>
                  <a:gd name="T8" fmla="*/ 21 w 25"/>
                  <a:gd name="T9" fmla="*/ 5 h 12"/>
                  <a:gd name="T10" fmla="*/ 0 w 25"/>
                  <a:gd name="T11" fmla="*/ 12 h 12"/>
                  <a:gd name="T12" fmla="*/ 0 w 25"/>
                  <a:gd name="T13" fmla="*/ 9 h 12"/>
                  <a:gd name="T14" fmla="*/ 14 w 25"/>
                  <a:gd name="T15" fmla="*/ 1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2">
                    <a:moveTo>
                      <a:pt x="14" y="1"/>
                    </a:moveTo>
                    <a:lnTo>
                      <a:pt x="19" y="0"/>
                    </a:lnTo>
                    <a:lnTo>
                      <a:pt x="25" y="0"/>
                    </a:lnTo>
                    <a:lnTo>
                      <a:pt x="23" y="3"/>
                    </a:lnTo>
                    <a:lnTo>
                      <a:pt x="21" y="5"/>
                    </a:lnTo>
                    <a:lnTo>
                      <a:pt x="0" y="12"/>
                    </a:lnTo>
                    <a:lnTo>
                      <a:pt x="0" y="9"/>
                    </a:lnTo>
                    <a:lnTo>
                      <a:pt x="14"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28" name="Freeform 1776"/>
              <p:cNvSpPr>
                <a:spLocks/>
              </p:cNvSpPr>
              <p:nvPr/>
            </p:nvSpPr>
            <p:spPr bwMode="auto">
              <a:xfrm>
                <a:off x="1034" y="790"/>
                <a:ext cx="25" cy="12"/>
              </a:xfrm>
              <a:custGeom>
                <a:avLst/>
                <a:gdLst>
                  <a:gd name="T0" fmla="*/ 14 w 25"/>
                  <a:gd name="T1" fmla="*/ 1 h 12"/>
                  <a:gd name="T2" fmla="*/ 19 w 25"/>
                  <a:gd name="T3" fmla="*/ 0 h 12"/>
                  <a:gd name="T4" fmla="*/ 25 w 25"/>
                  <a:gd name="T5" fmla="*/ 0 h 12"/>
                  <a:gd name="T6" fmla="*/ 23 w 25"/>
                  <a:gd name="T7" fmla="*/ 3 h 12"/>
                  <a:gd name="T8" fmla="*/ 21 w 25"/>
                  <a:gd name="T9" fmla="*/ 5 h 12"/>
                  <a:gd name="T10" fmla="*/ 0 w 25"/>
                  <a:gd name="T11" fmla="*/ 12 h 12"/>
                  <a:gd name="T12" fmla="*/ 0 w 25"/>
                  <a:gd name="T13" fmla="*/ 9 h 12"/>
                  <a:gd name="T14" fmla="*/ 14 w 25"/>
                  <a:gd name="T15" fmla="*/ 1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2">
                    <a:moveTo>
                      <a:pt x="14" y="1"/>
                    </a:moveTo>
                    <a:lnTo>
                      <a:pt x="19" y="0"/>
                    </a:lnTo>
                    <a:lnTo>
                      <a:pt x="25" y="0"/>
                    </a:lnTo>
                    <a:lnTo>
                      <a:pt x="23" y="3"/>
                    </a:lnTo>
                    <a:lnTo>
                      <a:pt x="21" y="5"/>
                    </a:lnTo>
                    <a:lnTo>
                      <a:pt x="0" y="12"/>
                    </a:lnTo>
                    <a:lnTo>
                      <a:pt x="0" y="9"/>
                    </a:lnTo>
                    <a:lnTo>
                      <a:pt x="14"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29" name="Freeform 1777"/>
              <p:cNvSpPr>
                <a:spLocks/>
              </p:cNvSpPr>
              <p:nvPr/>
            </p:nvSpPr>
            <p:spPr bwMode="auto">
              <a:xfrm>
                <a:off x="1041" y="795"/>
                <a:ext cx="21" cy="18"/>
              </a:xfrm>
              <a:custGeom>
                <a:avLst/>
                <a:gdLst>
                  <a:gd name="T0" fmla="*/ 7 w 21"/>
                  <a:gd name="T1" fmla="*/ 7 h 18"/>
                  <a:gd name="T2" fmla="*/ 9 w 21"/>
                  <a:gd name="T3" fmla="*/ 5 h 18"/>
                  <a:gd name="T4" fmla="*/ 20 w 21"/>
                  <a:gd name="T5" fmla="*/ 0 h 18"/>
                  <a:gd name="T6" fmla="*/ 21 w 21"/>
                  <a:gd name="T7" fmla="*/ 4 h 18"/>
                  <a:gd name="T8" fmla="*/ 16 w 21"/>
                  <a:gd name="T9" fmla="*/ 11 h 18"/>
                  <a:gd name="T10" fmla="*/ 12 w 21"/>
                  <a:gd name="T11" fmla="*/ 16 h 18"/>
                  <a:gd name="T12" fmla="*/ 11 w 21"/>
                  <a:gd name="T13" fmla="*/ 14 h 18"/>
                  <a:gd name="T14" fmla="*/ 5 w 21"/>
                  <a:gd name="T15" fmla="*/ 18 h 18"/>
                  <a:gd name="T16" fmla="*/ 2 w 21"/>
                  <a:gd name="T17" fmla="*/ 16 h 18"/>
                  <a:gd name="T18" fmla="*/ 0 w 21"/>
                  <a:gd name="T19" fmla="*/ 16 h 18"/>
                  <a:gd name="T20" fmla="*/ 2 w 21"/>
                  <a:gd name="T21" fmla="*/ 14 h 18"/>
                  <a:gd name="T22" fmla="*/ 5 w 21"/>
                  <a:gd name="T23" fmla="*/ 7 h 18"/>
                  <a:gd name="T24" fmla="*/ 7 w 21"/>
                  <a:gd name="T25"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18">
                    <a:moveTo>
                      <a:pt x="7" y="7"/>
                    </a:moveTo>
                    <a:lnTo>
                      <a:pt x="9" y="5"/>
                    </a:lnTo>
                    <a:lnTo>
                      <a:pt x="20" y="0"/>
                    </a:lnTo>
                    <a:lnTo>
                      <a:pt x="21" y="4"/>
                    </a:lnTo>
                    <a:lnTo>
                      <a:pt x="16" y="11"/>
                    </a:lnTo>
                    <a:lnTo>
                      <a:pt x="12" y="16"/>
                    </a:lnTo>
                    <a:lnTo>
                      <a:pt x="11" y="14"/>
                    </a:lnTo>
                    <a:lnTo>
                      <a:pt x="5" y="18"/>
                    </a:lnTo>
                    <a:lnTo>
                      <a:pt x="2" y="16"/>
                    </a:lnTo>
                    <a:lnTo>
                      <a:pt x="0" y="16"/>
                    </a:lnTo>
                    <a:lnTo>
                      <a:pt x="2" y="14"/>
                    </a:lnTo>
                    <a:lnTo>
                      <a:pt x="5" y="7"/>
                    </a:lnTo>
                    <a:lnTo>
                      <a:pt x="7"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30" name="Freeform 1778"/>
              <p:cNvSpPr>
                <a:spLocks/>
              </p:cNvSpPr>
              <p:nvPr/>
            </p:nvSpPr>
            <p:spPr bwMode="auto">
              <a:xfrm>
                <a:off x="1041" y="795"/>
                <a:ext cx="21" cy="18"/>
              </a:xfrm>
              <a:custGeom>
                <a:avLst/>
                <a:gdLst>
                  <a:gd name="T0" fmla="*/ 7 w 21"/>
                  <a:gd name="T1" fmla="*/ 7 h 18"/>
                  <a:gd name="T2" fmla="*/ 9 w 21"/>
                  <a:gd name="T3" fmla="*/ 5 h 18"/>
                  <a:gd name="T4" fmla="*/ 20 w 21"/>
                  <a:gd name="T5" fmla="*/ 0 h 18"/>
                  <a:gd name="T6" fmla="*/ 21 w 21"/>
                  <a:gd name="T7" fmla="*/ 4 h 18"/>
                  <a:gd name="T8" fmla="*/ 16 w 21"/>
                  <a:gd name="T9" fmla="*/ 11 h 18"/>
                  <a:gd name="T10" fmla="*/ 12 w 21"/>
                  <a:gd name="T11" fmla="*/ 16 h 18"/>
                  <a:gd name="T12" fmla="*/ 11 w 21"/>
                  <a:gd name="T13" fmla="*/ 14 h 18"/>
                  <a:gd name="T14" fmla="*/ 5 w 21"/>
                  <a:gd name="T15" fmla="*/ 18 h 18"/>
                  <a:gd name="T16" fmla="*/ 2 w 21"/>
                  <a:gd name="T17" fmla="*/ 16 h 18"/>
                  <a:gd name="T18" fmla="*/ 0 w 21"/>
                  <a:gd name="T19" fmla="*/ 16 h 18"/>
                  <a:gd name="T20" fmla="*/ 2 w 21"/>
                  <a:gd name="T21" fmla="*/ 14 h 18"/>
                  <a:gd name="T22" fmla="*/ 5 w 21"/>
                  <a:gd name="T23" fmla="*/ 7 h 18"/>
                  <a:gd name="T24" fmla="*/ 7 w 21"/>
                  <a:gd name="T25"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18">
                    <a:moveTo>
                      <a:pt x="7" y="7"/>
                    </a:moveTo>
                    <a:lnTo>
                      <a:pt x="9" y="5"/>
                    </a:lnTo>
                    <a:lnTo>
                      <a:pt x="20" y="0"/>
                    </a:lnTo>
                    <a:lnTo>
                      <a:pt x="21" y="4"/>
                    </a:lnTo>
                    <a:lnTo>
                      <a:pt x="16" y="11"/>
                    </a:lnTo>
                    <a:lnTo>
                      <a:pt x="12" y="16"/>
                    </a:lnTo>
                    <a:lnTo>
                      <a:pt x="11" y="14"/>
                    </a:lnTo>
                    <a:lnTo>
                      <a:pt x="5" y="18"/>
                    </a:lnTo>
                    <a:lnTo>
                      <a:pt x="2" y="16"/>
                    </a:lnTo>
                    <a:lnTo>
                      <a:pt x="0" y="16"/>
                    </a:lnTo>
                    <a:lnTo>
                      <a:pt x="2" y="14"/>
                    </a:lnTo>
                    <a:lnTo>
                      <a:pt x="5" y="7"/>
                    </a:lnTo>
                    <a:lnTo>
                      <a:pt x="7"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31" name="Freeform 1779"/>
              <p:cNvSpPr>
                <a:spLocks/>
              </p:cNvSpPr>
              <p:nvPr/>
            </p:nvSpPr>
            <p:spPr bwMode="auto">
              <a:xfrm>
                <a:off x="1018" y="832"/>
                <a:ext cx="21" cy="25"/>
              </a:xfrm>
              <a:custGeom>
                <a:avLst/>
                <a:gdLst>
                  <a:gd name="T0" fmla="*/ 14 w 21"/>
                  <a:gd name="T1" fmla="*/ 0 h 25"/>
                  <a:gd name="T2" fmla="*/ 16 w 21"/>
                  <a:gd name="T3" fmla="*/ 0 h 25"/>
                  <a:gd name="T4" fmla="*/ 16 w 21"/>
                  <a:gd name="T5" fmla="*/ 4 h 25"/>
                  <a:gd name="T6" fmla="*/ 18 w 21"/>
                  <a:gd name="T7" fmla="*/ 6 h 25"/>
                  <a:gd name="T8" fmla="*/ 21 w 21"/>
                  <a:gd name="T9" fmla="*/ 17 h 25"/>
                  <a:gd name="T10" fmla="*/ 18 w 21"/>
                  <a:gd name="T11" fmla="*/ 22 h 25"/>
                  <a:gd name="T12" fmla="*/ 12 w 21"/>
                  <a:gd name="T13" fmla="*/ 25 h 25"/>
                  <a:gd name="T14" fmla="*/ 3 w 21"/>
                  <a:gd name="T15" fmla="*/ 22 h 25"/>
                  <a:gd name="T16" fmla="*/ 2 w 21"/>
                  <a:gd name="T17" fmla="*/ 20 h 25"/>
                  <a:gd name="T18" fmla="*/ 0 w 21"/>
                  <a:gd name="T19" fmla="*/ 17 h 25"/>
                  <a:gd name="T20" fmla="*/ 5 w 21"/>
                  <a:gd name="T21" fmla="*/ 0 h 25"/>
                  <a:gd name="T22" fmla="*/ 14 w 21"/>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5">
                    <a:moveTo>
                      <a:pt x="14" y="0"/>
                    </a:moveTo>
                    <a:lnTo>
                      <a:pt x="16" y="0"/>
                    </a:lnTo>
                    <a:lnTo>
                      <a:pt x="16" y="4"/>
                    </a:lnTo>
                    <a:lnTo>
                      <a:pt x="18" y="6"/>
                    </a:lnTo>
                    <a:lnTo>
                      <a:pt x="21" y="17"/>
                    </a:lnTo>
                    <a:lnTo>
                      <a:pt x="18" y="22"/>
                    </a:lnTo>
                    <a:lnTo>
                      <a:pt x="12" y="25"/>
                    </a:lnTo>
                    <a:lnTo>
                      <a:pt x="3" y="22"/>
                    </a:lnTo>
                    <a:lnTo>
                      <a:pt x="2" y="20"/>
                    </a:lnTo>
                    <a:lnTo>
                      <a:pt x="0" y="17"/>
                    </a:lnTo>
                    <a:lnTo>
                      <a:pt x="5" y="0"/>
                    </a:lnTo>
                    <a:lnTo>
                      <a:pt x="1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32" name="Freeform 1780"/>
              <p:cNvSpPr>
                <a:spLocks/>
              </p:cNvSpPr>
              <p:nvPr/>
            </p:nvSpPr>
            <p:spPr bwMode="auto">
              <a:xfrm>
                <a:off x="1018" y="832"/>
                <a:ext cx="21" cy="25"/>
              </a:xfrm>
              <a:custGeom>
                <a:avLst/>
                <a:gdLst>
                  <a:gd name="T0" fmla="*/ 14 w 21"/>
                  <a:gd name="T1" fmla="*/ 0 h 25"/>
                  <a:gd name="T2" fmla="*/ 16 w 21"/>
                  <a:gd name="T3" fmla="*/ 0 h 25"/>
                  <a:gd name="T4" fmla="*/ 16 w 21"/>
                  <a:gd name="T5" fmla="*/ 4 h 25"/>
                  <a:gd name="T6" fmla="*/ 18 w 21"/>
                  <a:gd name="T7" fmla="*/ 6 h 25"/>
                  <a:gd name="T8" fmla="*/ 21 w 21"/>
                  <a:gd name="T9" fmla="*/ 17 h 25"/>
                  <a:gd name="T10" fmla="*/ 18 w 21"/>
                  <a:gd name="T11" fmla="*/ 22 h 25"/>
                  <a:gd name="T12" fmla="*/ 12 w 21"/>
                  <a:gd name="T13" fmla="*/ 25 h 25"/>
                  <a:gd name="T14" fmla="*/ 3 w 21"/>
                  <a:gd name="T15" fmla="*/ 22 h 25"/>
                  <a:gd name="T16" fmla="*/ 2 w 21"/>
                  <a:gd name="T17" fmla="*/ 20 h 25"/>
                  <a:gd name="T18" fmla="*/ 0 w 21"/>
                  <a:gd name="T19" fmla="*/ 17 h 25"/>
                  <a:gd name="T20" fmla="*/ 5 w 21"/>
                  <a:gd name="T21" fmla="*/ 0 h 25"/>
                  <a:gd name="T22" fmla="*/ 14 w 21"/>
                  <a:gd name="T2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5">
                    <a:moveTo>
                      <a:pt x="14" y="0"/>
                    </a:moveTo>
                    <a:lnTo>
                      <a:pt x="16" y="0"/>
                    </a:lnTo>
                    <a:lnTo>
                      <a:pt x="16" y="4"/>
                    </a:lnTo>
                    <a:lnTo>
                      <a:pt x="18" y="6"/>
                    </a:lnTo>
                    <a:lnTo>
                      <a:pt x="21" y="17"/>
                    </a:lnTo>
                    <a:lnTo>
                      <a:pt x="18" y="22"/>
                    </a:lnTo>
                    <a:lnTo>
                      <a:pt x="12" y="25"/>
                    </a:lnTo>
                    <a:lnTo>
                      <a:pt x="3" y="22"/>
                    </a:lnTo>
                    <a:lnTo>
                      <a:pt x="2" y="20"/>
                    </a:lnTo>
                    <a:lnTo>
                      <a:pt x="0" y="17"/>
                    </a:lnTo>
                    <a:lnTo>
                      <a:pt x="5" y="0"/>
                    </a:lnTo>
                    <a:lnTo>
                      <a:pt x="1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33" name="Freeform 1781"/>
              <p:cNvSpPr>
                <a:spLocks/>
              </p:cNvSpPr>
              <p:nvPr/>
            </p:nvSpPr>
            <p:spPr bwMode="auto">
              <a:xfrm>
                <a:off x="814" y="738"/>
                <a:ext cx="195" cy="155"/>
              </a:xfrm>
              <a:custGeom>
                <a:avLst/>
                <a:gdLst>
                  <a:gd name="T0" fmla="*/ 125 w 195"/>
                  <a:gd name="T1" fmla="*/ 23 h 155"/>
                  <a:gd name="T2" fmla="*/ 136 w 195"/>
                  <a:gd name="T3" fmla="*/ 0 h 155"/>
                  <a:gd name="T4" fmla="*/ 147 w 195"/>
                  <a:gd name="T5" fmla="*/ 11 h 155"/>
                  <a:gd name="T6" fmla="*/ 145 w 195"/>
                  <a:gd name="T7" fmla="*/ 21 h 155"/>
                  <a:gd name="T8" fmla="*/ 152 w 195"/>
                  <a:gd name="T9" fmla="*/ 34 h 155"/>
                  <a:gd name="T10" fmla="*/ 150 w 195"/>
                  <a:gd name="T11" fmla="*/ 44 h 155"/>
                  <a:gd name="T12" fmla="*/ 156 w 195"/>
                  <a:gd name="T13" fmla="*/ 52 h 155"/>
                  <a:gd name="T14" fmla="*/ 154 w 195"/>
                  <a:gd name="T15" fmla="*/ 68 h 155"/>
                  <a:gd name="T16" fmla="*/ 168 w 195"/>
                  <a:gd name="T17" fmla="*/ 64 h 155"/>
                  <a:gd name="T18" fmla="*/ 175 w 195"/>
                  <a:gd name="T19" fmla="*/ 68 h 155"/>
                  <a:gd name="T20" fmla="*/ 191 w 195"/>
                  <a:gd name="T21" fmla="*/ 62 h 155"/>
                  <a:gd name="T22" fmla="*/ 195 w 195"/>
                  <a:gd name="T23" fmla="*/ 86 h 155"/>
                  <a:gd name="T24" fmla="*/ 177 w 195"/>
                  <a:gd name="T25" fmla="*/ 119 h 155"/>
                  <a:gd name="T26" fmla="*/ 159 w 195"/>
                  <a:gd name="T27" fmla="*/ 119 h 155"/>
                  <a:gd name="T28" fmla="*/ 143 w 195"/>
                  <a:gd name="T29" fmla="*/ 123 h 155"/>
                  <a:gd name="T30" fmla="*/ 141 w 195"/>
                  <a:gd name="T31" fmla="*/ 114 h 155"/>
                  <a:gd name="T32" fmla="*/ 131 w 195"/>
                  <a:gd name="T33" fmla="*/ 127 h 155"/>
                  <a:gd name="T34" fmla="*/ 113 w 195"/>
                  <a:gd name="T35" fmla="*/ 136 h 155"/>
                  <a:gd name="T36" fmla="*/ 104 w 195"/>
                  <a:gd name="T37" fmla="*/ 144 h 155"/>
                  <a:gd name="T38" fmla="*/ 95 w 195"/>
                  <a:gd name="T39" fmla="*/ 150 h 155"/>
                  <a:gd name="T40" fmla="*/ 50 w 195"/>
                  <a:gd name="T41" fmla="*/ 141 h 155"/>
                  <a:gd name="T42" fmla="*/ 57 w 195"/>
                  <a:gd name="T43" fmla="*/ 132 h 155"/>
                  <a:gd name="T44" fmla="*/ 68 w 195"/>
                  <a:gd name="T45" fmla="*/ 130 h 155"/>
                  <a:gd name="T46" fmla="*/ 91 w 195"/>
                  <a:gd name="T47" fmla="*/ 119 h 155"/>
                  <a:gd name="T48" fmla="*/ 100 w 195"/>
                  <a:gd name="T49" fmla="*/ 116 h 155"/>
                  <a:gd name="T50" fmla="*/ 106 w 195"/>
                  <a:gd name="T51" fmla="*/ 103 h 155"/>
                  <a:gd name="T52" fmla="*/ 84 w 195"/>
                  <a:gd name="T53" fmla="*/ 112 h 155"/>
                  <a:gd name="T54" fmla="*/ 81 w 195"/>
                  <a:gd name="T55" fmla="*/ 103 h 155"/>
                  <a:gd name="T56" fmla="*/ 72 w 195"/>
                  <a:gd name="T57" fmla="*/ 114 h 155"/>
                  <a:gd name="T58" fmla="*/ 59 w 195"/>
                  <a:gd name="T59" fmla="*/ 119 h 155"/>
                  <a:gd name="T60" fmla="*/ 61 w 195"/>
                  <a:gd name="T61" fmla="*/ 109 h 155"/>
                  <a:gd name="T62" fmla="*/ 66 w 195"/>
                  <a:gd name="T63" fmla="*/ 93 h 155"/>
                  <a:gd name="T64" fmla="*/ 54 w 195"/>
                  <a:gd name="T65" fmla="*/ 107 h 155"/>
                  <a:gd name="T66" fmla="*/ 52 w 195"/>
                  <a:gd name="T67" fmla="*/ 109 h 155"/>
                  <a:gd name="T68" fmla="*/ 41 w 195"/>
                  <a:gd name="T69" fmla="*/ 121 h 155"/>
                  <a:gd name="T70" fmla="*/ 32 w 195"/>
                  <a:gd name="T71" fmla="*/ 112 h 155"/>
                  <a:gd name="T72" fmla="*/ 23 w 195"/>
                  <a:gd name="T73" fmla="*/ 112 h 155"/>
                  <a:gd name="T74" fmla="*/ 16 w 195"/>
                  <a:gd name="T75" fmla="*/ 112 h 155"/>
                  <a:gd name="T76" fmla="*/ 2 w 195"/>
                  <a:gd name="T77" fmla="*/ 94 h 155"/>
                  <a:gd name="T78" fmla="*/ 31 w 195"/>
                  <a:gd name="T79" fmla="*/ 84 h 155"/>
                  <a:gd name="T80" fmla="*/ 29 w 195"/>
                  <a:gd name="T81" fmla="*/ 80 h 155"/>
                  <a:gd name="T82" fmla="*/ 6 w 195"/>
                  <a:gd name="T83" fmla="*/ 78 h 155"/>
                  <a:gd name="T84" fmla="*/ 41 w 195"/>
                  <a:gd name="T85" fmla="*/ 66 h 155"/>
                  <a:gd name="T86" fmla="*/ 13 w 195"/>
                  <a:gd name="T87" fmla="*/ 61 h 155"/>
                  <a:gd name="T88" fmla="*/ 14 w 195"/>
                  <a:gd name="T89" fmla="*/ 52 h 155"/>
                  <a:gd name="T90" fmla="*/ 34 w 195"/>
                  <a:gd name="T91" fmla="*/ 44 h 155"/>
                  <a:gd name="T92" fmla="*/ 41 w 195"/>
                  <a:gd name="T93" fmla="*/ 41 h 155"/>
                  <a:gd name="T94" fmla="*/ 32 w 195"/>
                  <a:gd name="T95" fmla="*/ 25 h 155"/>
                  <a:gd name="T96" fmla="*/ 52 w 195"/>
                  <a:gd name="T97" fmla="*/ 25 h 155"/>
                  <a:gd name="T98" fmla="*/ 56 w 195"/>
                  <a:gd name="T99" fmla="*/ 43 h 155"/>
                  <a:gd name="T100" fmla="*/ 75 w 195"/>
                  <a:gd name="T101" fmla="*/ 43 h 155"/>
                  <a:gd name="T102" fmla="*/ 91 w 195"/>
                  <a:gd name="T103" fmla="*/ 57 h 155"/>
                  <a:gd name="T104" fmla="*/ 89 w 195"/>
                  <a:gd name="T105" fmla="*/ 69 h 155"/>
                  <a:gd name="T106" fmla="*/ 98 w 195"/>
                  <a:gd name="T107" fmla="*/ 73 h 155"/>
                  <a:gd name="T108" fmla="*/ 100 w 195"/>
                  <a:gd name="T109" fmla="*/ 84 h 155"/>
                  <a:gd name="T110" fmla="*/ 107 w 195"/>
                  <a:gd name="T111" fmla="*/ 86 h 155"/>
                  <a:gd name="T112" fmla="*/ 122 w 195"/>
                  <a:gd name="T113" fmla="*/ 86 h 155"/>
                  <a:gd name="T114" fmla="*/ 134 w 195"/>
                  <a:gd name="T115" fmla="*/ 68 h 155"/>
                  <a:gd name="T116" fmla="*/ 125 w 195"/>
                  <a:gd name="T117" fmla="*/ 66 h 155"/>
                  <a:gd name="T118" fmla="*/ 134 w 195"/>
                  <a:gd name="T119" fmla="*/ 55 h 155"/>
                  <a:gd name="T120" fmla="*/ 127 w 195"/>
                  <a:gd name="T121" fmla="*/ 41 h 155"/>
                  <a:gd name="T122" fmla="*/ 114 w 195"/>
                  <a:gd name="T123" fmla="*/ 2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5" h="155">
                    <a:moveTo>
                      <a:pt x="122" y="25"/>
                    </a:moveTo>
                    <a:lnTo>
                      <a:pt x="122" y="23"/>
                    </a:lnTo>
                    <a:lnTo>
                      <a:pt x="122" y="23"/>
                    </a:lnTo>
                    <a:lnTo>
                      <a:pt x="125" y="23"/>
                    </a:lnTo>
                    <a:lnTo>
                      <a:pt x="127" y="19"/>
                    </a:lnTo>
                    <a:lnTo>
                      <a:pt x="127" y="16"/>
                    </a:lnTo>
                    <a:lnTo>
                      <a:pt x="132" y="2"/>
                    </a:lnTo>
                    <a:lnTo>
                      <a:pt x="136" y="0"/>
                    </a:lnTo>
                    <a:lnTo>
                      <a:pt x="139" y="2"/>
                    </a:lnTo>
                    <a:lnTo>
                      <a:pt x="141" y="0"/>
                    </a:lnTo>
                    <a:lnTo>
                      <a:pt x="147" y="7"/>
                    </a:lnTo>
                    <a:lnTo>
                      <a:pt x="147" y="11"/>
                    </a:lnTo>
                    <a:lnTo>
                      <a:pt x="143" y="14"/>
                    </a:lnTo>
                    <a:lnTo>
                      <a:pt x="143" y="18"/>
                    </a:lnTo>
                    <a:lnTo>
                      <a:pt x="145" y="19"/>
                    </a:lnTo>
                    <a:lnTo>
                      <a:pt x="145" y="21"/>
                    </a:lnTo>
                    <a:lnTo>
                      <a:pt x="145" y="27"/>
                    </a:lnTo>
                    <a:lnTo>
                      <a:pt x="147" y="28"/>
                    </a:lnTo>
                    <a:lnTo>
                      <a:pt x="148" y="28"/>
                    </a:lnTo>
                    <a:lnTo>
                      <a:pt x="152" y="34"/>
                    </a:lnTo>
                    <a:lnTo>
                      <a:pt x="152" y="37"/>
                    </a:lnTo>
                    <a:lnTo>
                      <a:pt x="152" y="41"/>
                    </a:lnTo>
                    <a:lnTo>
                      <a:pt x="154" y="41"/>
                    </a:lnTo>
                    <a:lnTo>
                      <a:pt x="150" y="44"/>
                    </a:lnTo>
                    <a:lnTo>
                      <a:pt x="148" y="50"/>
                    </a:lnTo>
                    <a:lnTo>
                      <a:pt x="145" y="52"/>
                    </a:lnTo>
                    <a:lnTo>
                      <a:pt x="148" y="53"/>
                    </a:lnTo>
                    <a:lnTo>
                      <a:pt x="156" y="52"/>
                    </a:lnTo>
                    <a:lnTo>
                      <a:pt x="161" y="57"/>
                    </a:lnTo>
                    <a:lnTo>
                      <a:pt x="159" y="62"/>
                    </a:lnTo>
                    <a:lnTo>
                      <a:pt x="157" y="62"/>
                    </a:lnTo>
                    <a:lnTo>
                      <a:pt x="154" y="68"/>
                    </a:lnTo>
                    <a:lnTo>
                      <a:pt x="156" y="71"/>
                    </a:lnTo>
                    <a:lnTo>
                      <a:pt x="157" y="64"/>
                    </a:lnTo>
                    <a:lnTo>
                      <a:pt x="163" y="62"/>
                    </a:lnTo>
                    <a:lnTo>
                      <a:pt x="168" y="64"/>
                    </a:lnTo>
                    <a:lnTo>
                      <a:pt x="173" y="77"/>
                    </a:lnTo>
                    <a:lnTo>
                      <a:pt x="173" y="69"/>
                    </a:lnTo>
                    <a:lnTo>
                      <a:pt x="175" y="69"/>
                    </a:lnTo>
                    <a:lnTo>
                      <a:pt x="175" y="68"/>
                    </a:lnTo>
                    <a:lnTo>
                      <a:pt x="173" y="61"/>
                    </a:lnTo>
                    <a:lnTo>
                      <a:pt x="175" y="53"/>
                    </a:lnTo>
                    <a:lnTo>
                      <a:pt x="186" y="55"/>
                    </a:lnTo>
                    <a:lnTo>
                      <a:pt x="191" y="62"/>
                    </a:lnTo>
                    <a:lnTo>
                      <a:pt x="195" y="71"/>
                    </a:lnTo>
                    <a:lnTo>
                      <a:pt x="195" y="75"/>
                    </a:lnTo>
                    <a:lnTo>
                      <a:pt x="195" y="77"/>
                    </a:lnTo>
                    <a:lnTo>
                      <a:pt x="195" y="86"/>
                    </a:lnTo>
                    <a:lnTo>
                      <a:pt x="191" y="89"/>
                    </a:lnTo>
                    <a:lnTo>
                      <a:pt x="184" y="118"/>
                    </a:lnTo>
                    <a:lnTo>
                      <a:pt x="181" y="118"/>
                    </a:lnTo>
                    <a:lnTo>
                      <a:pt x="177" y="119"/>
                    </a:lnTo>
                    <a:lnTo>
                      <a:pt x="175" y="123"/>
                    </a:lnTo>
                    <a:lnTo>
                      <a:pt x="168" y="125"/>
                    </a:lnTo>
                    <a:lnTo>
                      <a:pt x="163" y="123"/>
                    </a:lnTo>
                    <a:lnTo>
                      <a:pt x="159" y="119"/>
                    </a:lnTo>
                    <a:lnTo>
                      <a:pt x="159" y="114"/>
                    </a:lnTo>
                    <a:lnTo>
                      <a:pt x="152" y="123"/>
                    </a:lnTo>
                    <a:lnTo>
                      <a:pt x="148" y="123"/>
                    </a:lnTo>
                    <a:lnTo>
                      <a:pt x="143" y="123"/>
                    </a:lnTo>
                    <a:lnTo>
                      <a:pt x="145" y="119"/>
                    </a:lnTo>
                    <a:lnTo>
                      <a:pt x="143" y="116"/>
                    </a:lnTo>
                    <a:lnTo>
                      <a:pt x="143" y="114"/>
                    </a:lnTo>
                    <a:lnTo>
                      <a:pt x="141" y="114"/>
                    </a:lnTo>
                    <a:lnTo>
                      <a:pt x="139" y="118"/>
                    </a:lnTo>
                    <a:lnTo>
                      <a:pt x="138" y="121"/>
                    </a:lnTo>
                    <a:lnTo>
                      <a:pt x="134" y="123"/>
                    </a:lnTo>
                    <a:lnTo>
                      <a:pt x="131" y="127"/>
                    </a:lnTo>
                    <a:lnTo>
                      <a:pt x="123" y="128"/>
                    </a:lnTo>
                    <a:lnTo>
                      <a:pt x="120" y="128"/>
                    </a:lnTo>
                    <a:lnTo>
                      <a:pt x="113" y="134"/>
                    </a:lnTo>
                    <a:lnTo>
                      <a:pt x="113" y="136"/>
                    </a:lnTo>
                    <a:lnTo>
                      <a:pt x="111" y="139"/>
                    </a:lnTo>
                    <a:lnTo>
                      <a:pt x="109" y="139"/>
                    </a:lnTo>
                    <a:lnTo>
                      <a:pt x="109" y="141"/>
                    </a:lnTo>
                    <a:lnTo>
                      <a:pt x="104" y="144"/>
                    </a:lnTo>
                    <a:lnTo>
                      <a:pt x="100" y="144"/>
                    </a:lnTo>
                    <a:lnTo>
                      <a:pt x="100" y="146"/>
                    </a:lnTo>
                    <a:lnTo>
                      <a:pt x="97" y="146"/>
                    </a:lnTo>
                    <a:lnTo>
                      <a:pt x="95" y="150"/>
                    </a:lnTo>
                    <a:lnTo>
                      <a:pt x="81" y="155"/>
                    </a:lnTo>
                    <a:lnTo>
                      <a:pt x="66" y="155"/>
                    </a:lnTo>
                    <a:lnTo>
                      <a:pt x="54" y="144"/>
                    </a:lnTo>
                    <a:lnTo>
                      <a:pt x="50" y="141"/>
                    </a:lnTo>
                    <a:lnTo>
                      <a:pt x="50" y="139"/>
                    </a:lnTo>
                    <a:lnTo>
                      <a:pt x="52" y="136"/>
                    </a:lnTo>
                    <a:lnTo>
                      <a:pt x="56" y="132"/>
                    </a:lnTo>
                    <a:lnTo>
                      <a:pt x="57" y="132"/>
                    </a:lnTo>
                    <a:lnTo>
                      <a:pt x="61" y="130"/>
                    </a:lnTo>
                    <a:lnTo>
                      <a:pt x="64" y="128"/>
                    </a:lnTo>
                    <a:lnTo>
                      <a:pt x="66" y="130"/>
                    </a:lnTo>
                    <a:lnTo>
                      <a:pt x="68" y="130"/>
                    </a:lnTo>
                    <a:lnTo>
                      <a:pt x="70" y="128"/>
                    </a:lnTo>
                    <a:lnTo>
                      <a:pt x="70" y="125"/>
                    </a:lnTo>
                    <a:lnTo>
                      <a:pt x="73" y="121"/>
                    </a:lnTo>
                    <a:lnTo>
                      <a:pt x="91" y="119"/>
                    </a:lnTo>
                    <a:lnTo>
                      <a:pt x="91" y="123"/>
                    </a:lnTo>
                    <a:lnTo>
                      <a:pt x="95" y="123"/>
                    </a:lnTo>
                    <a:lnTo>
                      <a:pt x="97" y="118"/>
                    </a:lnTo>
                    <a:lnTo>
                      <a:pt x="100" y="116"/>
                    </a:lnTo>
                    <a:lnTo>
                      <a:pt x="102" y="112"/>
                    </a:lnTo>
                    <a:lnTo>
                      <a:pt x="106" y="109"/>
                    </a:lnTo>
                    <a:lnTo>
                      <a:pt x="106" y="105"/>
                    </a:lnTo>
                    <a:lnTo>
                      <a:pt x="106" y="103"/>
                    </a:lnTo>
                    <a:lnTo>
                      <a:pt x="104" y="103"/>
                    </a:lnTo>
                    <a:lnTo>
                      <a:pt x="100" y="109"/>
                    </a:lnTo>
                    <a:lnTo>
                      <a:pt x="97" y="109"/>
                    </a:lnTo>
                    <a:lnTo>
                      <a:pt x="84" y="112"/>
                    </a:lnTo>
                    <a:lnTo>
                      <a:pt x="84" y="109"/>
                    </a:lnTo>
                    <a:lnTo>
                      <a:pt x="84" y="105"/>
                    </a:lnTo>
                    <a:lnTo>
                      <a:pt x="81" y="109"/>
                    </a:lnTo>
                    <a:lnTo>
                      <a:pt x="81" y="103"/>
                    </a:lnTo>
                    <a:lnTo>
                      <a:pt x="79" y="103"/>
                    </a:lnTo>
                    <a:lnTo>
                      <a:pt x="79" y="109"/>
                    </a:lnTo>
                    <a:lnTo>
                      <a:pt x="75" y="114"/>
                    </a:lnTo>
                    <a:lnTo>
                      <a:pt x="72" y="114"/>
                    </a:lnTo>
                    <a:lnTo>
                      <a:pt x="72" y="111"/>
                    </a:lnTo>
                    <a:lnTo>
                      <a:pt x="68" y="114"/>
                    </a:lnTo>
                    <a:lnTo>
                      <a:pt x="64" y="116"/>
                    </a:lnTo>
                    <a:lnTo>
                      <a:pt x="59" y="119"/>
                    </a:lnTo>
                    <a:lnTo>
                      <a:pt x="57" y="116"/>
                    </a:lnTo>
                    <a:lnTo>
                      <a:pt x="57" y="114"/>
                    </a:lnTo>
                    <a:lnTo>
                      <a:pt x="63" y="109"/>
                    </a:lnTo>
                    <a:lnTo>
                      <a:pt x="61" y="109"/>
                    </a:lnTo>
                    <a:lnTo>
                      <a:pt x="61" y="98"/>
                    </a:lnTo>
                    <a:lnTo>
                      <a:pt x="64" y="96"/>
                    </a:lnTo>
                    <a:lnTo>
                      <a:pt x="68" y="93"/>
                    </a:lnTo>
                    <a:lnTo>
                      <a:pt x="66" y="93"/>
                    </a:lnTo>
                    <a:lnTo>
                      <a:pt x="63" y="96"/>
                    </a:lnTo>
                    <a:lnTo>
                      <a:pt x="57" y="94"/>
                    </a:lnTo>
                    <a:lnTo>
                      <a:pt x="56" y="105"/>
                    </a:lnTo>
                    <a:lnTo>
                      <a:pt x="54" y="107"/>
                    </a:lnTo>
                    <a:lnTo>
                      <a:pt x="52" y="102"/>
                    </a:lnTo>
                    <a:lnTo>
                      <a:pt x="48" y="102"/>
                    </a:lnTo>
                    <a:lnTo>
                      <a:pt x="48" y="105"/>
                    </a:lnTo>
                    <a:lnTo>
                      <a:pt x="52" y="109"/>
                    </a:lnTo>
                    <a:lnTo>
                      <a:pt x="50" y="114"/>
                    </a:lnTo>
                    <a:lnTo>
                      <a:pt x="48" y="116"/>
                    </a:lnTo>
                    <a:lnTo>
                      <a:pt x="45" y="121"/>
                    </a:lnTo>
                    <a:lnTo>
                      <a:pt x="41" y="121"/>
                    </a:lnTo>
                    <a:lnTo>
                      <a:pt x="39" y="116"/>
                    </a:lnTo>
                    <a:lnTo>
                      <a:pt x="39" y="111"/>
                    </a:lnTo>
                    <a:lnTo>
                      <a:pt x="36" y="112"/>
                    </a:lnTo>
                    <a:lnTo>
                      <a:pt x="32" y="112"/>
                    </a:lnTo>
                    <a:lnTo>
                      <a:pt x="32" y="123"/>
                    </a:lnTo>
                    <a:lnTo>
                      <a:pt x="29" y="121"/>
                    </a:lnTo>
                    <a:lnTo>
                      <a:pt x="23" y="116"/>
                    </a:lnTo>
                    <a:lnTo>
                      <a:pt x="23" y="112"/>
                    </a:lnTo>
                    <a:lnTo>
                      <a:pt x="22" y="111"/>
                    </a:lnTo>
                    <a:lnTo>
                      <a:pt x="22" y="107"/>
                    </a:lnTo>
                    <a:lnTo>
                      <a:pt x="18" y="109"/>
                    </a:lnTo>
                    <a:lnTo>
                      <a:pt x="16" y="112"/>
                    </a:lnTo>
                    <a:lnTo>
                      <a:pt x="7" y="111"/>
                    </a:lnTo>
                    <a:lnTo>
                      <a:pt x="2" y="109"/>
                    </a:lnTo>
                    <a:lnTo>
                      <a:pt x="0" y="105"/>
                    </a:lnTo>
                    <a:lnTo>
                      <a:pt x="2" y="94"/>
                    </a:lnTo>
                    <a:lnTo>
                      <a:pt x="6" y="91"/>
                    </a:lnTo>
                    <a:lnTo>
                      <a:pt x="25" y="91"/>
                    </a:lnTo>
                    <a:lnTo>
                      <a:pt x="27" y="89"/>
                    </a:lnTo>
                    <a:lnTo>
                      <a:pt x="31" y="84"/>
                    </a:lnTo>
                    <a:lnTo>
                      <a:pt x="38" y="80"/>
                    </a:lnTo>
                    <a:lnTo>
                      <a:pt x="39" y="75"/>
                    </a:lnTo>
                    <a:lnTo>
                      <a:pt x="34" y="78"/>
                    </a:lnTo>
                    <a:lnTo>
                      <a:pt x="29" y="80"/>
                    </a:lnTo>
                    <a:lnTo>
                      <a:pt x="25" y="84"/>
                    </a:lnTo>
                    <a:lnTo>
                      <a:pt x="16" y="86"/>
                    </a:lnTo>
                    <a:lnTo>
                      <a:pt x="6" y="86"/>
                    </a:lnTo>
                    <a:lnTo>
                      <a:pt x="6" y="78"/>
                    </a:lnTo>
                    <a:lnTo>
                      <a:pt x="9" y="71"/>
                    </a:lnTo>
                    <a:lnTo>
                      <a:pt x="22" y="69"/>
                    </a:lnTo>
                    <a:lnTo>
                      <a:pt x="29" y="68"/>
                    </a:lnTo>
                    <a:lnTo>
                      <a:pt x="41" y="66"/>
                    </a:lnTo>
                    <a:lnTo>
                      <a:pt x="45" y="62"/>
                    </a:lnTo>
                    <a:lnTo>
                      <a:pt x="16" y="68"/>
                    </a:lnTo>
                    <a:lnTo>
                      <a:pt x="13" y="66"/>
                    </a:lnTo>
                    <a:lnTo>
                      <a:pt x="13" y="61"/>
                    </a:lnTo>
                    <a:lnTo>
                      <a:pt x="14" y="57"/>
                    </a:lnTo>
                    <a:lnTo>
                      <a:pt x="16" y="57"/>
                    </a:lnTo>
                    <a:lnTo>
                      <a:pt x="16" y="55"/>
                    </a:lnTo>
                    <a:lnTo>
                      <a:pt x="14" y="52"/>
                    </a:lnTo>
                    <a:lnTo>
                      <a:pt x="18" y="46"/>
                    </a:lnTo>
                    <a:lnTo>
                      <a:pt x="22" y="43"/>
                    </a:lnTo>
                    <a:lnTo>
                      <a:pt x="29" y="44"/>
                    </a:lnTo>
                    <a:lnTo>
                      <a:pt x="34" y="44"/>
                    </a:lnTo>
                    <a:lnTo>
                      <a:pt x="45" y="46"/>
                    </a:lnTo>
                    <a:lnTo>
                      <a:pt x="47" y="44"/>
                    </a:lnTo>
                    <a:lnTo>
                      <a:pt x="43" y="44"/>
                    </a:lnTo>
                    <a:lnTo>
                      <a:pt x="41" y="41"/>
                    </a:lnTo>
                    <a:lnTo>
                      <a:pt x="29" y="41"/>
                    </a:lnTo>
                    <a:lnTo>
                      <a:pt x="27" y="37"/>
                    </a:lnTo>
                    <a:lnTo>
                      <a:pt x="29" y="30"/>
                    </a:lnTo>
                    <a:lnTo>
                      <a:pt x="32" y="25"/>
                    </a:lnTo>
                    <a:lnTo>
                      <a:pt x="39" y="25"/>
                    </a:lnTo>
                    <a:lnTo>
                      <a:pt x="43" y="23"/>
                    </a:lnTo>
                    <a:lnTo>
                      <a:pt x="48" y="23"/>
                    </a:lnTo>
                    <a:lnTo>
                      <a:pt x="52" y="25"/>
                    </a:lnTo>
                    <a:lnTo>
                      <a:pt x="56" y="28"/>
                    </a:lnTo>
                    <a:lnTo>
                      <a:pt x="56" y="34"/>
                    </a:lnTo>
                    <a:lnTo>
                      <a:pt x="54" y="36"/>
                    </a:lnTo>
                    <a:lnTo>
                      <a:pt x="56" y="43"/>
                    </a:lnTo>
                    <a:lnTo>
                      <a:pt x="63" y="43"/>
                    </a:lnTo>
                    <a:lnTo>
                      <a:pt x="68" y="39"/>
                    </a:lnTo>
                    <a:lnTo>
                      <a:pt x="75" y="39"/>
                    </a:lnTo>
                    <a:lnTo>
                      <a:pt x="75" y="43"/>
                    </a:lnTo>
                    <a:lnTo>
                      <a:pt x="81" y="44"/>
                    </a:lnTo>
                    <a:lnTo>
                      <a:pt x="82" y="52"/>
                    </a:lnTo>
                    <a:lnTo>
                      <a:pt x="88" y="57"/>
                    </a:lnTo>
                    <a:lnTo>
                      <a:pt x="91" y="57"/>
                    </a:lnTo>
                    <a:lnTo>
                      <a:pt x="93" y="61"/>
                    </a:lnTo>
                    <a:lnTo>
                      <a:pt x="88" y="64"/>
                    </a:lnTo>
                    <a:lnTo>
                      <a:pt x="86" y="68"/>
                    </a:lnTo>
                    <a:lnTo>
                      <a:pt x="89" y="69"/>
                    </a:lnTo>
                    <a:lnTo>
                      <a:pt x="97" y="66"/>
                    </a:lnTo>
                    <a:lnTo>
                      <a:pt x="97" y="68"/>
                    </a:lnTo>
                    <a:lnTo>
                      <a:pt x="98" y="69"/>
                    </a:lnTo>
                    <a:lnTo>
                      <a:pt x="98" y="73"/>
                    </a:lnTo>
                    <a:lnTo>
                      <a:pt x="97" y="75"/>
                    </a:lnTo>
                    <a:lnTo>
                      <a:pt x="98" y="75"/>
                    </a:lnTo>
                    <a:lnTo>
                      <a:pt x="100" y="78"/>
                    </a:lnTo>
                    <a:lnTo>
                      <a:pt x="100" y="84"/>
                    </a:lnTo>
                    <a:lnTo>
                      <a:pt x="102" y="86"/>
                    </a:lnTo>
                    <a:lnTo>
                      <a:pt x="104" y="87"/>
                    </a:lnTo>
                    <a:lnTo>
                      <a:pt x="106" y="87"/>
                    </a:lnTo>
                    <a:lnTo>
                      <a:pt x="107" y="86"/>
                    </a:lnTo>
                    <a:lnTo>
                      <a:pt x="109" y="86"/>
                    </a:lnTo>
                    <a:lnTo>
                      <a:pt x="114" y="84"/>
                    </a:lnTo>
                    <a:lnTo>
                      <a:pt x="116" y="86"/>
                    </a:lnTo>
                    <a:lnTo>
                      <a:pt x="122" y="86"/>
                    </a:lnTo>
                    <a:lnTo>
                      <a:pt x="136" y="87"/>
                    </a:lnTo>
                    <a:lnTo>
                      <a:pt x="139" y="87"/>
                    </a:lnTo>
                    <a:lnTo>
                      <a:pt x="139" y="77"/>
                    </a:lnTo>
                    <a:lnTo>
                      <a:pt x="134" y="68"/>
                    </a:lnTo>
                    <a:lnTo>
                      <a:pt x="131" y="68"/>
                    </a:lnTo>
                    <a:lnTo>
                      <a:pt x="129" y="66"/>
                    </a:lnTo>
                    <a:lnTo>
                      <a:pt x="127" y="64"/>
                    </a:lnTo>
                    <a:lnTo>
                      <a:pt x="125" y="66"/>
                    </a:lnTo>
                    <a:lnTo>
                      <a:pt x="123" y="64"/>
                    </a:lnTo>
                    <a:lnTo>
                      <a:pt x="131" y="59"/>
                    </a:lnTo>
                    <a:lnTo>
                      <a:pt x="131" y="55"/>
                    </a:lnTo>
                    <a:lnTo>
                      <a:pt x="134" y="55"/>
                    </a:lnTo>
                    <a:lnTo>
                      <a:pt x="132" y="48"/>
                    </a:lnTo>
                    <a:lnTo>
                      <a:pt x="131" y="44"/>
                    </a:lnTo>
                    <a:lnTo>
                      <a:pt x="127" y="43"/>
                    </a:lnTo>
                    <a:lnTo>
                      <a:pt x="127" y="41"/>
                    </a:lnTo>
                    <a:lnTo>
                      <a:pt x="123" y="41"/>
                    </a:lnTo>
                    <a:lnTo>
                      <a:pt x="116" y="34"/>
                    </a:lnTo>
                    <a:lnTo>
                      <a:pt x="116" y="28"/>
                    </a:lnTo>
                    <a:lnTo>
                      <a:pt x="114" y="27"/>
                    </a:lnTo>
                    <a:lnTo>
                      <a:pt x="120" y="27"/>
                    </a:lnTo>
                    <a:lnTo>
                      <a:pt x="122" y="2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34" name="Freeform 1782"/>
              <p:cNvSpPr>
                <a:spLocks/>
              </p:cNvSpPr>
              <p:nvPr/>
            </p:nvSpPr>
            <p:spPr bwMode="auto">
              <a:xfrm>
                <a:off x="814" y="738"/>
                <a:ext cx="195" cy="155"/>
              </a:xfrm>
              <a:custGeom>
                <a:avLst/>
                <a:gdLst>
                  <a:gd name="T0" fmla="*/ 125 w 195"/>
                  <a:gd name="T1" fmla="*/ 23 h 155"/>
                  <a:gd name="T2" fmla="*/ 136 w 195"/>
                  <a:gd name="T3" fmla="*/ 0 h 155"/>
                  <a:gd name="T4" fmla="*/ 147 w 195"/>
                  <a:gd name="T5" fmla="*/ 11 h 155"/>
                  <a:gd name="T6" fmla="*/ 145 w 195"/>
                  <a:gd name="T7" fmla="*/ 21 h 155"/>
                  <a:gd name="T8" fmla="*/ 152 w 195"/>
                  <a:gd name="T9" fmla="*/ 34 h 155"/>
                  <a:gd name="T10" fmla="*/ 150 w 195"/>
                  <a:gd name="T11" fmla="*/ 44 h 155"/>
                  <a:gd name="T12" fmla="*/ 156 w 195"/>
                  <a:gd name="T13" fmla="*/ 52 h 155"/>
                  <a:gd name="T14" fmla="*/ 154 w 195"/>
                  <a:gd name="T15" fmla="*/ 68 h 155"/>
                  <a:gd name="T16" fmla="*/ 168 w 195"/>
                  <a:gd name="T17" fmla="*/ 64 h 155"/>
                  <a:gd name="T18" fmla="*/ 175 w 195"/>
                  <a:gd name="T19" fmla="*/ 68 h 155"/>
                  <a:gd name="T20" fmla="*/ 191 w 195"/>
                  <a:gd name="T21" fmla="*/ 62 h 155"/>
                  <a:gd name="T22" fmla="*/ 195 w 195"/>
                  <a:gd name="T23" fmla="*/ 86 h 155"/>
                  <a:gd name="T24" fmla="*/ 177 w 195"/>
                  <a:gd name="T25" fmla="*/ 119 h 155"/>
                  <a:gd name="T26" fmla="*/ 159 w 195"/>
                  <a:gd name="T27" fmla="*/ 119 h 155"/>
                  <a:gd name="T28" fmla="*/ 143 w 195"/>
                  <a:gd name="T29" fmla="*/ 123 h 155"/>
                  <a:gd name="T30" fmla="*/ 141 w 195"/>
                  <a:gd name="T31" fmla="*/ 114 h 155"/>
                  <a:gd name="T32" fmla="*/ 131 w 195"/>
                  <a:gd name="T33" fmla="*/ 127 h 155"/>
                  <a:gd name="T34" fmla="*/ 113 w 195"/>
                  <a:gd name="T35" fmla="*/ 136 h 155"/>
                  <a:gd name="T36" fmla="*/ 104 w 195"/>
                  <a:gd name="T37" fmla="*/ 144 h 155"/>
                  <a:gd name="T38" fmla="*/ 95 w 195"/>
                  <a:gd name="T39" fmla="*/ 150 h 155"/>
                  <a:gd name="T40" fmla="*/ 50 w 195"/>
                  <a:gd name="T41" fmla="*/ 141 h 155"/>
                  <a:gd name="T42" fmla="*/ 57 w 195"/>
                  <a:gd name="T43" fmla="*/ 132 h 155"/>
                  <a:gd name="T44" fmla="*/ 68 w 195"/>
                  <a:gd name="T45" fmla="*/ 130 h 155"/>
                  <a:gd name="T46" fmla="*/ 91 w 195"/>
                  <a:gd name="T47" fmla="*/ 119 h 155"/>
                  <a:gd name="T48" fmla="*/ 100 w 195"/>
                  <a:gd name="T49" fmla="*/ 116 h 155"/>
                  <a:gd name="T50" fmla="*/ 106 w 195"/>
                  <a:gd name="T51" fmla="*/ 103 h 155"/>
                  <a:gd name="T52" fmla="*/ 84 w 195"/>
                  <a:gd name="T53" fmla="*/ 112 h 155"/>
                  <a:gd name="T54" fmla="*/ 81 w 195"/>
                  <a:gd name="T55" fmla="*/ 103 h 155"/>
                  <a:gd name="T56" fmla="*/ 72 w 195"/>
                  <a:gd name="T57" fmla="*/ 114 h 155"/>
                  <a:gd name="T58" fmla="*/ 59 w 195"/>
                  <a:gd name="T59" fmla="*/ 119 h 155"/>
                  <a:gd name="T60" fmla="*/ 61 w 195"/>
                  <a:gd name="T61" fmla="*/ 109 h 155"/>
                  <a:gd name="T62" fmla="*/ 66 w 195"/>
                  <a:gd name="T63" fmla="*/ 93 h 155"/>
                  <a:gd name="T64" fmla="*/ 54 w 195"/>
                  <a:gd name="T65" fmla="*/ 107 h 155"/>
                  <a:gd name="T66" fmla="*/ 52 w 195"/>
                  <a:gd name="T67" fmla="*/ 109 h 155"/>
                  <a:gd name="T68" fmla="*/ 41 w 195"/>
                  <a:gd name="T69" fmla="*/ 121 h 155"/>
                  <a:gd name="T70" fmla="*/ 32 w 195"/>
                  <a:gd name="T71" fmla="*/ 112 h 155"/>
                  <a:gd name="T72" fmla="*/ 23 w 195"/>
                  <a:gd name="T73" fmla="*/ 112 h 155"/>
                  <a:gd name="T74" fmla="*/ 16 w 195"/>
                  <a:gd name="T75" fmla="*/ 112 h 155"/>
                  <a:gd name="T76" fmla="*/ 2 w 195"/>
                  <a:gd name="T77" fmla="*/ 94 h 155"/>
                  <a:gd name="T78" fmla="*/ 31 w 195"/>
                  <a:gd name="T79" fmla="*/ 84 h 155"/>
                  <a:gd name="T80" fmla="*/ 29 w 195"/>
                  <a:gd name="T81" fmla="*/ 80 h 155"/>
                  <a:gd name="T82" fmla="*/ 6 w 195"/>
                  <a:gd name="T83" fmla="*/ 78 h 155"/>
                  <a:gd name="T84" fmla="*/ 41 w 195"/>
                  <a:gd name="T85" fmla="*/ 66 h 155"/>
                  <a:gd name="T86" fmla="*/ 13 w 195"/>
                  <a:gd name="T87" fmla="*/ 61 h 155"/>
                  <a:gd name="T88" fmla="*/ 14 w 195"/>
                  <a:gd name="T89" fmla="*/ 52 h 155"/>
                  <a:gd name="T90" fmla="*/ 34 w 195"/>
                  <a:gd name="T91" fmla="*/ 44 h 155"/>
                  <a:gd name="T92" fmla="*/ 41 w 195"/>
                  <a:gd name="T93" fmla="*/ 41 h 155"/>
                  <a:gd name="T94" fmla="*/ 32 w 195"/>
                  <a:gd name="T95" fmla="*/ 25 h 155"/>
                  <a:gd name="T96" fmla="*/ 52 w 195"/>
                  <a:gd name="T97" fmla="*/ 25 h 155"/>
                  <a:gd name="T98" fmla="*/ 56 w 195"/>
                  <a:gd name="T99" fmla="*/ 43 h 155"/>
                  <a:gd name="T100" fmla="*/ 75 w 195"/>
                  <a:gd name="T101" fmla="*/ 43 h 155"/>
                  <a:gd name="T102" fmla="*/ 91 w 195"/>
                  <a:gd name="T103" fmla="*/ 57 h 155"/>
                  <a:gd name="T104" fmla="*/ 89 w 195"/>
                  <a:gd name="T105" fmla="*/ 69 h 155"/>
                  <a:gd name="T106" fmla="*/ 98 w 195"/>
                  <a:gd name="T107" fmla="*/ 73 h 155"/>
                  <a:gd name="T108" fmla="*/ 100 w 195"/>
                  <a:gd name="T109" fmla="*/ 84 h 155"/>
                  <a:gd name="T110" fmla="*/ 107 w 195"/>
                  <a:gd name="T111" fmla="*/ 86 h 155"/>
                  <a:gd name="T112" fmla="*/ 122 w 195"/>
                  <a:gd name="T113" fmla="*/ 86 h 155"/>
                  <a:gd name="T114" fmla="*/ 134 w 195"/>
                  <a:gd name="T115" fmla="*/ 68 h 155"/>
                  <a:gd name="T116" fmla="*/ 125 w 195"/>
                  <a:gd name="T117" fmla="*/ 66 h 155"/>
                  <a:gd name="T118" fmla="*/ 134 w 195"/>
                  <a:gd name="T119" fmla="*/ 55 h 155"/>
                  <a:gd name="T120" fmla="*/ 127 w 195"/>
                  <a:gd name="T121" fmla="*/ 41 h 155"/>
                  <a:gd name="T122" fmla="*/ 114 w 195"/>
                  <a:gd name="T123" fmla="*/ 27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5" h="155">
                    <a:moveTo>
                      <a:pt x="122" y="25"/>
                    </a:moveTo>
                    <a:lnTo>
                      <a:pt x="122" y="23"/>
                    </a:lnTo>
                    <a:lnTo>
                      <a:pt x="122" y="23"/>
                    </a:lnTo>
                    <a:lnTo>
                      <a:pt x="125" y="23"/>
                    </a:lnTo>
                    <a:lnTo>
                      <a:pt x="127" y="19"/>
                    </a:lnTo>
                    <a:lnTo>
                      <a:pt x="127" y="16"/>
                    </a:lnTo>
                    <a:lnTo>
                      <a:pt x="132" y="2"/>
                    </a:lnTo>
                    <a:lnTo>
                      <a:pt x="136" y="0"/>
                    </a:lnTo>
                    <a:lnTo>
                      <a:pt x="139" y="2"/>
                    </a:lnTo>
                    <a:lnTo>
                      <a:pt x="141" y="0"/>
                    </a:lnTo>
                    <a:lnTo>
                      <a:pt x="147" y="7"/>
                    </a:lnTo>
                    <a:lnTo>
                      <a:pt x="147" y="11"/>
                    </a:lnTo>
                    <a:lnTo>
                      <a:pt x="143" y="14"/>
                    </a:lnTo>
                    <a:lnTo>
                      <a:pt x="143" y="18"/>
                    </a:lnTo>
                    <a:lnTo>
                      <a:pt x="145" y="19"/>
                    </a:lnTo>
                    <a:lnTo>
                      <a:pt x="145" y="21"/>
                    </a:lnTo>
                    <a:lnTo>
                      <a:pt x="145" y="27"/>
                    </a:lnTo>
                    <a:lnTo>
                      <a:pt x="147" y="28"/>
                    </a:lnTo>
                    <a:lnTo>
                      <a:pt x="148" y="28"/>
                    </a:lnTo>
                    <a:lnTo>
                      <a:pt x="152" y="34"/>
                    </a:lnTo>
                    <a:lnTo>
                      <a:pt x="152" y="37"/>
                    </a:lnTo>
                    <a:lnTo>
                      <a:pt x="152" y="41"/>
                    </a:lnTo>
                    <a:lnTo>
                      <a:pt x="154" y="41"/>
                    </a:lnTo>
                    <a:lnTo>
                      <a:pt x="150" y="44"/>
                    </a:lnTo>
                    <a:lnTo>
                      <a:pt x="148" y="50"/>
                    </a:lnTo>
                    <a:lnTo>
                      <a:pt x="145" y="52"/>
                    </a:lnTo>
                    <a:lnTo>
                      <a:pt x="148" y="53"/>
                    </a:lnTo>
                    <a:lnTo>
                      <a:pt x="156" y="52"/>
                    </a:lnTo>
                    <a:lnTo>
                      <a:pt x="161" y="57"/>
                    </a:lnTo>
                    <a:lnTo>
                      <a:pt x="159" y="62"/>
                    </a:lnTo>
                    <a:lnTo>
                      <a:pt x="157" y="62"/>
                    </a:lnTo>
                    <a:lnTo>
                      <a:pt x="154" y="68"/>
                    </a:lnTo>
                    <a:lnTo>
                      <a:pt x="156" y="71"/>
                    </a:lnTo>
                    <a:lnTo>
                      <a:pt x="157" y="64"/>
                    </a:lnTo>
                    <a:lnTo>
                      <a:pt x="163" y="62"/>
                    </a:lnTo>
                    <a:lnTo>
                      <a:pt x="168" y="64"/>
                    </a:lnTo>
                    <a:lnTo>
                      <a:pt x="173" y="77"/>
                    </a:lnTo>
                    <a:lnTo>
                      <a:pt x="173" y="69"/>
                    </a:lnTo>
                    <a:lnTo>
                      <a:pt x="175" y="69"/>
                    </a:lnTo>
                    <a:lnTo>
                      <a:pt x="175" y="68"/>
                    </a:lnTo>
                    <a:lnTo>
                      <a:pt x="173" y="61"/>
                    </a:lnTo>
                    <a:lnTo>
                      <a:pt x="175" y="53"/>
                    </a:lnTo>
                    <a:lnTo>
                      <a:pt x="186" y="55"/>
                    </a:lnTo>
                    <a:lnTo>
                      <a:pt x="191" y="62"/>
                    </a:lnTo>
                    <a:lnTo>
                      <a:pt x="195" y="71"/>
                    </a:lnTo>
                    <a:lnTo>
                      <a:pt x="195" y="75"/>
                    </a:lnTo>
                    <a:lnTo>
                      <a:pt x="195" y="77"/>
                    </a:lnTo>
                    <a:lnTo>
                      <a:pt x="195" y="86"/>
                    </a:lnTo>
                    <a:lnTo>
                      <a:pt x="191" y="89"/>
                    </a:lnTo>
                    <a:lnTo>
                      <a:pt x="184" y="118"/>
                    </a:lnTo>
                    <a:lnTo>
                      <a:pt x="181" y="118"/>
                    </a:lnTo>
                    <a:lnTo>
                      <a:pt x="177" y="119"/>
                    </a:lnTo>
                    <a:lnTo>
                      <a:pt x="175" y="123"/>
                    </a:lnTo>
                    <a:lnTo>
                      <a:pt x="168" y="125"/>
                    </a:lnTo>
                    <a:lnTo>
                      <a:pt x="163" y="123"/>
                    </a:lnTo>
                    <a:lnTo>
                      <a:pt x="159" y="119"/>
                    </a:lnTo>
                    <a:lnTo>
                      <a:pt x="159" y="114"/>
                    </a:lnTo>
                    <a:lnTo>
                      <a:pt x="152" y="123"/>
                    </a:lnTo>
                    <a:lnTo>
                      <a:pt x="148" y="123"/>
                    </a:lnTo>
                    <a:lnTo>
                      <a:pt x="143" y="123"/>
                    </a:lnTo>
                    <a:lnTo>
                      <a:pt x="145" y="119"/>
                    </a:lnTo>
                    <a:lnTo>
                      <a:pt x="143" y="116"/>
                    </a:lnTo>
                    <a:lnTo>
                      <a:pt x="143" y="114"/>
                    </a:lnTo>
                    <a:lnTo>
                      <a:pt x="141" y="114"/>
                    </a:lnTo>
                    <a:lnTo>
                      <a:pt x="139" y="118"/>
                    </a:lnTo>
                    <a:lnTo>
                      <a:pt x="138" y="121"/>
                    </a:lnTo>
                    <a:lnTo>
                      <a:pt x="134" y="123"/>
                    </a:lnTo>
                    <a:lnTo>
                      <a:pt x="131" y="127"/>
                    </a:lnTo>
                    <a:lnTo>
                      <a:pt x="123" y="128"/>
                    </a:lnTo>
                    <a:lnTo>
                      <a:pt x="120" y="128"/>
                    </a:lnTo>
                    <a:lnTo>
                      <a:pt x="113" y="134"/>
                    </a:lnTo>
                    <a:lnTo>
                      <a:pt x="113" y="136"/>
                    </a:lnTo>
                    <a:lnTo>
                      <a:pt x="111" y="139"/>
                    </a:lnTo>
                    <a:lnTo>
                      <a:pt x="109" y="139"/>
                    </a:lnTo>
                    <a:lnTo>
                      <a:pt x="109" y="141"/>
                    </a:lnTo>
                    <a:lnTo>
                      <a:pt x="104" y="144"/>
                    </a:lnTo>
                    <a:lnTo>
                      <a:pt x="100" y="144"/>
                    </a:lnTo>
                    <a:lnTo>
                      <a:pt x="100" y="146"/>
                    </a:lnTo>
                    <a:lnTo>
                      <a:pt x="97" y="146"/>
                    </a:lnTo>
                    <a:lnTo>
                      <a:pt x="95" y="150"/>
                    </a:lnTo>
                    <a:lnTo>
                      <a:pt x="81" y="155"/>
                    </a:lnTo>
                    <a:lnTo>
                      <a:pt x="66" y="155"/>
                    </a:lnTo>
                    <a:lnTo>
                      <a:pt x="54" y="144"/>
                    </a:lnTo>
                    <a:lnTo>
                      <a:pt x="50" y="141"/>
                    </a:lnTo>
                    <a:lnTo>
                      <a:pt x="50" y="139"/>
                    </a:lnTo>
                    <a:lnTo>
                      <a:pt x="52" y="136"/>
                    </a:lnTo>
                    <a:lnTo>
                      <a:pt x="56" y="132"/>
                    </a:lnTo>
                    <a:lnTo>
                      <a:pt x="57" y="132"/>
                    </a:lnTo>
                    <a:lnTo>
                      <a:pt x="61" y="130"/>
                    </a:lnTo>
                    <a:lnTo>
                      <a:pt x="64" y="128"/>
                    </a:lnTo>
                    <a:lnTo>
                      <a:pt x="66" y="130"/>
                    </a:lnTo>
                    <a:lnTo>
                      <a:pt x="68" y="130"/>
                    </a:lnTo>
                    <a:lnTo>
                      <a:pt x="70" y="128"/>
                    </a:lnTo>
                    <a:lnTo>
                      <a:pt x="70" y="125"/>
                    </a:lnTo>
                    <a:lnTo>
                      <a:pt x="73" y="121"/>
                    </a:lnTo>
                    <a:lnTo>
                      <a:pt x="91" y="119"/>
                    </a:lnTo>
                    <a:lnTo>
                      <a:pt x="91" y="123"/>
                    </a:lnTo>
                    <a:lnTo>
                      <a:pt x="95" y="123"/>
                    </a:lnTo>
                    <a:lnTo>
                      <a:pt x="97" y="118"/>
                    </a:lnTo>
                    <a:lnTo>
                      <a:pt x="100" y="116"/>
                    </a:lnTo>
                    <a:lnTo>
                      <a:pt x="102" y="112"/>
                    </a:lnTo>
                    <a:lnTo>
                      <a:pt x="106" y="109"/>
                    </a:lnTo>
                    <a:lnTo>
                      <a:pt x="106" y="105"/>
                    </a:lnTo>
                    <a:lnTo>
                      <a:pt x="106" y="103"/>
                    </a:lnTo>
                    <a:lnTo>
                      <a:pt x="104" y="103"/>
                    </a:lnTo>
                    <a:lnTo>
                      <a:pt x="100" y="109"/>
                    </a:lnTo>
                    <a:lnTo>
                      <a:pt x="97" y="109"/>
                    </a:lnTo>
                    <a:lnTo>
                      <a:pt x="84" y="112"/>
                    </a:lnTo>
                    <a:lnTo>
                      <a:pt x="84" y="109"/>
                    </a:lnTo>
                    <a:lnTo>
                      <a:pt x="84" y="105"/>
                    </a:lnTo>
                    <a:lnTo>
                      <a:pt x="81" y="109"/>
                    </a:lnTo>
                    <a:lnTo>
                      <a:pt x="81" y="103"/>
                    </a:lnTo>
                    <a:lnTo>
                      <a:pt x="79" y="103"/>
                    </a:lnTo>
                    <a:lnTo>
                      <a:pt x="79" y="109"/>
                    </a:lnTo>
                    <a:lnTo>
                      <a:pt x="75" y="114"/>
                    </a:lnTo>
                    <a:lnTo>
                      <a:pt x="72" y="114"/>
                    </a:lnTo>
                    <a:lnTo>
                      <a:pt x="72" y="111"/>
                    </a:lnTo>
                    <a:lnTo>
                      <a:pt x="68" y="114"/>
                    </a:lnTo>
                    <a:lnTo>
                      <a:pt x="64" y="116"/>
                    </a:lnTo>
                    <a:lnTo>
                      <a:pt x="59" y="119"/>
                    </a:lnTo>
                    <a:lnTo>
                      <a:pt x="57" y="116"/>
                    </a:lnTo>
                    <a:lnTo>
                      <a:pt x="57" y="114"/>
                    </a:lnTo>
                    <a:lnTo>
                      <a:pt x="63" y="109"/>
                    </a:lnTo>
                    <a:lnTo>
                      <a:pt x="61" y="109"/>
                    </a:lnTo>
                    <a:lnTo>
                      <a:pt x="61" y="98"/>
                    </a:lnTo>
                    <a:lnTo>
                      <a:pt x="64" y="96"/>
                    </a:lnTo>
                    <a:lnTo>
                      <a:pt x="68" y="93"/>
                    </a:lnTo>
                    <a:lnTo>
                      <a:pt x="66" y="93"/>
                    </a:lnTo>
                    <a:lnTo>
                      <a:pt x="63" y="96"/>
                    </a:lnTo>
                    <a:lnTo>
                      <a:pt x="57" y="94"/>
                    </a:lnTo>
                    <a:lnTo>
                      <a:pt x="56" y="105"/>
                    </a:lnTo>
                    <a:lnTo>
                      <a:pt x="54" y="107"/>
                    </a:lnTo>
                    <a:lnTo>
                      <a:pt x="52" y="102"/>
                    </a:lnTo>
                    <a:lnTo>
                      <a:pt x="48" y="102"/>
                    </a:lnTo>
                    <a:lnTo>
                      <a:pt x="48" y="105"/>
                    </a:lnTo>
                    <a:lnTo>
                      <a:pt x="52" y="109"/>
                    </a:lnTo>
                    <a:lnTo>
                      <a:pt x="50" y="114"/>
                    </a:lnTo>
                    <a:lnTo>
                      <a:pt x="48" y="116"/>
                    </a:lnTo>
                    <a:lnTo>
                      <a:pt x="45" y="121"/>
                    </a:lnTo>
                    <a:lnTo>
                      <a:pt x="41" y="121"/>
                    </a:lnTo>
                    <a:lnTo>
                      <a:pt x="39" y="116"/>
                    </a:lnTo>
                    <a:lnTo>
                      <a:pt x="39" y="111"/>
                    </a:lnTo>
                    <a:lnTo>
                      <a:pt x="36" y="112"/>
                    </a:lnTo>
                    <a:lnTo>
                      <a:pt x="32" y="112"/>
                    </a:lnTo>
                    <a:lnTo>
                      <a:pt x="32" y="123"/>
                    </a:lnTo>
                    <a:lnTo>
                      <a:pt x="29" y="121"/>
                    </a:lnTo>
                    <a:lnTo>
                      <a:pt x="23" y="116"/>
                    </a:lnTo>
                    <a:lnTo>
                      <a:pt x="23" y="112"/>
                    </a:lnTo>
                    <a:lnTo>
                      <a:pt x="22" y="111"/>
                    </a:lnTo>
                    <a:lnTo>
                      <a:pt x="22" y="107"/>
                    </a:lnTo>
                    <a:lnTo>
                      <a:pt x="18" y="109"/>
                    </a:lnTo>
                    <a:lnTo>
                      <a:pt x="16" y="112"/>
                    </a:lnTo>
                    <a:lnTo>
                      <a:pt x="7" y="111"/>
                    </a:lnTo>
                    <a:lnTo>
                      <a:pt x="2" y="109"/>
                    </a:lnTo>
                    <a:lnTo>
                      <a:pt x="0" y="105"/>
                    </a:lnTo>
                    <a:lnTo>
                      <a:pt x="2" y="94"/>
                    </a:lnTo>
                    <a:lnTo>
                      <a:pt x="6" y="91"/>
                    </a:lnTo>
                    <a:lnTo>
                      <a:pt x="25" y="91"/>
                    </a:lnTo>
                    <a:lnTo>
                      <a:pt x="27" y="89"/>
                    </a:lnTo>
                    <a:lnTo>
                      <a:pt x="31" y="84"/>
                    </a:lnTo>
                    <a:lnTo>
                      <a:pt x="38" y="80"/>
                    </a:lnTo>
                    <a:lnTo>
                      <a:pt x="39" y="75"/>
                    </a:lnTo>
                    <a:lnTo>
                      <a:pt x="34" y="78"/>
                    </a:lnTo>
                    <a:lnTo>
                      <a:pt x="29" y="80"/>
                    </a:lnTo>
                    <a:lnTo>
                      <a:pt x="25" y="84"/>
                    </a:lnTo>
                    <a:lnTo>
                      <a:pt x="16" y="86"/>
                    </a:lnTo>
                    <a:lnTo>
                      <a:pt x="6" y="86"/>
                    </a:lnTo>
                    <a:lnTo>
                      <a:pt x="6" y="78"/>
                    </a:lnTo>
                    <a:lnTo>
                      <a:pt x="9" y="71"/>
                    </a:lnTo>
                    <a:lnTo>
                      <a:pt x="22" y="69"/>
                    </a:lnTo>
                    <a:lnTo>
                      <a:pt x="29" y="68"/>
                    </a:lnTo>
                    <a:lnTo>
                      <a:pt x="41" y="66"/>
                    </a:lnTo>
                    <a:lnTo>
                      <a:pt x="45" y="62"/>
                    </a:lnTo>
                    <a:lnTo>
                      <a:pt x="16" y="68"/>
                    </a:lnTo>
                    <a:lnTo>
                      <a:pt x="13" y="66"/>
                    </a:lnTo>
                    <a:lnTo>
                      <a:pt x="13" y="61"/>
                    </a:lnTo>
                    <a:lnTo>
                      <a:pt x="14" y="57"/>
                    </a:lnTo>
                    <a:lnTo>
                      <a:pt x="16" y="57"/>
                    </a:lnTo>
                    <a:lnTo>
                      <a:pt x="16" y="55"/>
                    </a:lnTo>
                    <a:lnTo>
                      <a:pt x="14" y="52"/>
                    </a:lnTo>
                    <a:lnTo>
                      <a:pt x="18" y="46"/>
                    </a:lnTo>
                    <a:lnTo>
                      <a:pt x="22" y="43"/>
                    </a:lnTo>
                    <a:lnTo>
                      <a:pt x="29" y="44"/>
                    </a:lnTo>
                    <a:lnTo>
                      <a:pt x="34" y="44"/>
                    </a:lnTo>
                    <a:lnTo>
                      <a:pt x="45" y="46"/>
                    </a:lnTo>
                    <a:lnTo>
                      <a:pt x="47" y="44"/>
                    </a:lnTo>
                    <a:lnTo>
                      <a:pt x="43" y="44"/>
                    </a:lnTo>
                    <a:lnTo>
                      <a:pt x="41" y="41"/>
                    </a:lnTo>
                    <a:lnTo>
                      <a:pt x="29" y="41"/>
                    </a:lnTo>
                    <a:lnTo>
                      <a:pt x="27" y="37"/>
                    </a:lnTo>
                    <a:lnTo>
                      <a:pt x="29" y="30"/>
                    </a:lnTo>
                    <a:lnTo>
                      <a:pt x="32" y="25"/>
                    </a:lnTo>
                    <a:lnTo>
                      <a:pt x="39" y="25"/>
                    </a:lnTo>
                    <a:lnTo>
                      <a:pt x="43" y="23"/>
                    </a:lnTo>
                    <a:lnTo>
                      <a:pt x="48" y="23"/>
                    </a:lnTo>
                    <a:lnTo>
                      <a:pt x="52" y="25"/>
                    </a:lnTo>
                    <a:lnTo>
                      <a:pt x="56" y="28"/>
                    </a:lnTo>
                    <a:lnTo>
                      <a:pt x="56" y="34"/>
                    </a:lnTo>
                    <a:lnTo>
                      <a:pt x="54" y="36"/>
                    </a:lnTo>
                    <a:lnTo>
                      <a:pt x="56" y="43"/>
                    </a:lnTo>
                    <a:lnTo>
                      <a:pt x="63" y="43"/>
                    </a:lnTo>
                    <a:lnTo>
                      <a:pt x="68" y="39"/>
                    </a:lnTo>
                    <a:lnTo>
                      <a:pt x="75" y="39"/>
                    </a:lnTo>
                    <a:lnTo>
                      <a:pt x="75" y="43"/>
                    </a:lnTo>
                    <a:lnTo>
                      <a:pt x="81" y="44"/>
                    </a:lnTo>
                    <a:lnTo>
                      <a:pt x="82" y="52"/>
                    </a:lnTo>
                    <a:lnTo>
                      <a:pt x="88" y="57"/>
                    </a:lnTo>
                    <a:lnTo>
                      <a:pt x="91" y="57"/>
                    </a:lnTo>
                    <a:lnTo>
                      <a:pt x="93" y="61"/>
                    </a:lnTo>
                    <a:lnTo>
                      <a:pt x="88" y="64"/>
                    </a:lnTo>
                    <a:lnTo>
                      <a:pt x="86" y="68"/>
                    </a:lnTo>
                    <a:lnTo>
                      <a:pt x="89" y="69"/>
                    </a:lnTo>
                    <a:lnTo>
                      <a:pt x="97" y="66"/>
                    </a:lnTo>
                    <a:lnTo>
                      <a:pt x="97" y="68"/>
                    </a:lnTo>
                    <a:lnTo>
                      <a:pt x="98" y="69"/>
                    </a:lnTo>
                    <a:lnTo>
                      <a:pt x="98" y="73"/>
                    </a:lnTo>
                    <a:lnTo>
                      <a:pt x="97" y="75"/>
                    </a:lnTo>
                    <a:lnTo>
                      <a:pt x="98" y="75"/>
                    </a:lnTo>
                    <a:lnTo>
                      <a:pt x="100" y="78"/>
                    </a:lnTo>
                    <a:lnTo>
                      <a:pt x="100" y="84"/>
                    </a:lnTo>
                    <a:lnTo>
                      <a:pt x="102" y="86"/>
                    </a:lnTo>
                    <a:lnTo>
                      <a:pt x="104" y="87"/>
                    </a:lnTo>
                    <a:lnTo>
                      <a:pt x="106" y="87"/>
                    </a:lnTo>
                    <a:lnTo>
                      <a:pt x="107" y="86"/>
                    </a:lnTo>
                    <a:lnTo>
                      <a:pt x="109" y="86"/>
                    </a:lnTo>
                    <a:lnTo>
                      <a:pt x="114" y="84"/>
                    </a:lnTo>
                    <a:lnTo>
                      <a:pt x="116" y="86"/>
                    </a:lnTo>
                    <a:lnTo>
                      <a:pt x="122" y="86"/>
                    </a:lnTo>
                    <a:lnTo>
                      <a:pt x="136" y="87"/>
                    </a:lnTo>
                    <a:lnTo>
                      <a:pt x="139" y="87"/>
                    </a:lnTo>
                    <a:lnTo>
                      <a:pt x="139" y="77"/>
                    </a:lnTo>
                    <a:lnTo>
                      <a:pt x="134" y="68"/>
                    </a:lnTo>
                    <a:lnTo>
                      <a:pt x="131" y="68"/>
                    </a:lnTo>
                    <a:lnTo>
                      <a:pt x="129" y="66"/>
                    </a:lnTo>
                    <a:lnTo>
                      <a:pt x="127" y="64"/>
                    </a:lnTo>
                    <a:lnTo>
                      <a:pt x="125" y="66"/>
                    </a:lnTo>
                    <a:lnTo>
                      <a:pt x="123" y="64"/>
                    </a:lnTo>
                    <a:lnTo>
                      <a:pt x="131" y="59"/>
                    </a:lnTo>
                    <a:lnTo>
                      <a:pt x="131" y="55"/>
                    </a:lnTo>
                    <a:lnTo>
                      <a:pt x="134" y="55"/>
                    </a:lnTo>
                    <a:lnTo>
                      <a:pt x="132" y="48"/>
                    </a:lnTo>
                    <a:lnTo>
                      <a:pt x="131" y="44"/>
                    </a:lnTo>
                    <a:lnTo>
                      <a:pt x="127" y="43"/>
                    </a:lnTo>
                    <a:lnTo>
                      <a:pt x="127" y="41"/>
                    </a:lnTo>
                    <a:lnTo>
                      <a:pt x="123" y="41"/>
                    </a:lnTo>
                    <a:lnTo>
                      <a:pt x="116" y="34"/>
                    </a:lnTo>
                    <a:lnTo>
                      <a:pt x="116" y="28"/>
                    </a:lnTo>
                    <a:lnTo>
                      <a:pt x="114" y="27"/>
                    </a:lnTo>
                    <a:lnTo>
                      <a:pt x="120" y="27"/>
                    </a:lnTo>
                    <a:lnTo>
                      <a:pt x="122" y="2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35" name="Freeform 1783"/>
              <p:cNvSpPr>
                <a:spLocks/>
              </p:cNvSpPr>
              <p:nvPr/>
            </p:nvSpPr>
            <p:spPr bwMode="auto">
              <a:xfrm>
                <a:off x="786" y="788"/>
                <a:ext cx="30" cy="39"/>
              </a:xfrm>
              <a:custGeom>
                <a:avLst/>
                <a:gdLst>
                  <a:gd name="T0" fmla="*/ 21 w 30"/>
                  <a:gd name="T1" fmla="*/ 5 h 39"/>
                  <a:gd name="T2" fmla="*/ 19 w 30"/>
                  <a:gd name="T3" fmla="*/ 7 h 39"/>
                  <a:gd name="T4" fmla="*/ 19 w 30"/>
                  <a:gd name="T5" fmla="*/ 5 h 39"/>
                  <a:gd name="T6" fmla="*/ 23 w 30"/>
                  <a:gd name="T7" fmla="*/ 5 h 39"/>
                  <a:gd name="T8" fmla="*/ 23 w 30"/>
                  <a:gd name="T9" fmla="*/ 2 h 39"/>
                  <a:gd name="T10" fmla="*/ 26 w 30"/>
                  <a:gd name="T11" fmla="*/ 0 h 39"/>
                  <a:gd name="T12" fmla="*/ 30 w 30"/>
                  <a:gd name="T13" fmla="*/ 0 h 39"/>
                  <a:gd name="T14" fmla="*/ 25 w 30"/>
                  <a:gd name="T15" fmla="*/ 18 h 39"/>
                  <a:gd name="T16" fmla="*/ 23 w 30"/>
                  <a:gd name="T17" fmla="*/ 21 h 39"/>
                  <a:gd name="T18" fmla="*/ 19 w 30"/>
                  <a:gd name="T19" fmla="*/ 34 h 39"/>
                  <a:gd name="T20" fmla="*/ 16 w 30"/>
                  <a:gd name="T21" fmla="*/ 39 h 39"/>
                  <a:gd name="T22" fmla="*/ 10 w 30"/>
                  <a:gd name="T23" fmla="*/ 39 h 39"/>
                  <a:gd name="T24" fmla="*/ 9 w 30"/>
                  <a:gd name="T25" fmla="*/ 36 h 39"/>
                  <a:gd name="T26" fmla="*/ 1 w 30"/>
                  <a:gd name="T27" fmla="*/ 32 h 39"/>
                  <a:gd name="T28" fmla="*/ 0 w 30"/>
                  <a:gd name="T29" fmla="*/ 28 h 39"/>
                  <a:gd name="T30" fmla="*/ 1 w 30"/>
                  <a:gd name="T31" fmla="*/ 25 h 39"/>
                  <a:gd name="T32" fmla="*/ 14 w 30"/>
                  <a:gd name="T33" fmla="*/ 11 h 39"/>
                  <a:gd name="T34" fmla="*/ 17 w 30"/>
                  <a:gd name="T35" fmla="*/ 9 h 39"/>
                  <a:gd name="T36" fmla="*/ 19 w 30"/>
                  <a:gd name="T37" fmla="*/ 5 h 39"/>
                  <a:gd name="T38" fmla="*/ 21 w 30"/>
                  <a:gd name="T39"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39">
                    <a:moveTo>
                      <a:pt x="21" y="5"/>
                    </a:moveTo>
                    <a:lnTo>
                      <a:pt x="19" y="7"/>
                    </a:lnTo>
                    <a:lnTo>
                      <a:pt x="19" y="5"/>
                    </a:lnTo>
                    <a:lnTo>
                      <a:pt x="23" y="5"/>
                    </a:lnTo>
                    <a:lnTo>
                      <a:pt x="23" y="2"/>
                    </a:lnTo>
                    <a:lnTo>
                      <a:pt x="26" y="0"/>
                    </a:lnTo>
                    <a:lnTo>
                      <a:pt x="30" y="0"/>
                    </a:lnTo>
                    <a:lnTo>
                      <a:pt x="25" y="18"/>
                    </a:lnTo>
                    <a:lnTo>
                      <a:pt x="23" y="21"/>
                    </a:lnTo>
                    <a:lnTo>
                      <a:pt x="19" y="34"/>
                    </a:lnTo>
                    <a:lnTo>
                      <a:pt x="16" y="39"/>
                    </a:lnTo>
                    <a:lnTo>
                      <a:pt x="10" y="39"/>
                    </a:lnTo>
                    <a:lnTo>
                      <a:pt x="9" y="36"/>
                    </a:lnTo>
                    <a:lnTo>
                      <a:pt x="1" y="32"/>
                    </a:lnTo>
                    <a:lnTo>
                      <a:pt x="0" y="28"/>
                    </a:lnTo>
                    <a:lnTo>
                      <a:pt x="1" y="25"/>
                    </a:lnTo>
                    <a:lnTo>
                      <a:pt x="14" y="11"/>
                    </a:lnTo>
                    <a:lnTo>
                      <a:pt x="17" y="9"/>
                    </a:lnTo>
                    <a:lnTo>
                      <a:pt x="19" y="5"/>
                    </a:lnTo>
                    <a:lnTo>
                      <a:pt x="21"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36" name="Freeform 1784"/>
              <p:cNvSpPr>
                <a:spLocks/>
              </p:cNvSpPr>
              <p:nvPr/>
            </p:nvSpPr>
            <p:spPr bwMode="auto">
              <a:xfrm>
                <a:off x="786" y="788"/>
                <a:ext cx="30" cy="39"/>
              </a:xfrm>
              <a:custGeom>
                <a:avLst/>
                <a:gdLst>
                  <a:gd name="T0" fmla="*/ 21 w 30"/>
                  <a:gd name="T1" fmla="*/ 5 h 39"/>
                  <a:gd name="T2" fmla="*/ 19 w 30"/>
                  <a:gd name="T3" fmla="*/ 7 h 39"/>
                  <a:gd name="T4" fmla="*/ 19 w 30"/>
                  <a:gd name="T5" fmla="*/ 5 h 39"/>
                  <a:gd name="T6" fmla="*/ 23 w 30"/>
                  <a:gd name="T7" fmla="*/ 5 h 39"/>
                  <a:gd name="T8" fmla="*/ 23 w 30"/>
                  <a:gd name="T9" fmla="*/ 2 h 39"/>
                  <a:gd name="T10" fmla="*/ 26 w 30"/>
                  <a:gd name="T11" fmla="*/ 0 h 39"/>
                  <a:gd name="T12" fmla="*/ 30 w 30"/>
                  <a:gd name="T13" fmla="*/ 0 h 39"/>
                  <a:gd name="T14" fmla="*/ 25 w 30"/>
                  <a:gd name="T15" fmla="*/ 18 h 39"/>
                  <a:gd name="T16" fmla="*/ 23 w 30"/>
                  <a:gd name="T17" fmla="*/ 21 h 39"/>
                  <a:gd name="T18" fmla="*/ 19 w 30"/>
                  <a:gd name="T19" fmla="*/ 34 h 39"/>
                  <a:gd name="T20" fmla="*/ 16 w 30"/>
                  <a:gd name="T21" fmla="*/ 39 h 39"/>
                  <a:gd name="T22" fmla="*/ 10 w 30"/>
                  <a:gd name="T23" fmla="*/ 39 h 39"/>
                  <a:gd name="T24" fmla="*/ 9 w 30"/>
                  <a:gd name="T25" fmla="*/ 36 h 39"/>
                  <a:gd name="T26" fmla="*/ 1 w 30"/>
                  <a:gd name="T27" fmla="*/ 32 h 39"/>
                  <a:gd name="T28" fmla="*/ 0 w 30"/>
                  <a:gd name="T29" fmla="*/ 28 h 39"/>
                  <a:gd name="T30" fmla="*/ 1 w 30"/>
                  <a:gd name="T31" fmla="*/ 25 h 39"/>
                  <a:gd name="T32" fmla="*/ 14 w 30"/>
                  <a:gd name="T33" fmla="*/ 11 h 39"/>
                  <a:gd name="T34" fmla="*/ 17 w 30"/>
                  <a:gd name="T35" fmla="*/ 9 h 39"/>
                  <a:gd name="T36" fmla="*/ 19 w 30"/>
                  <a:gd name="T37" fmla="*/ 5 h 39"/>
                  <a:gd name="T38" fmla="*/ 21 w 30"/>
                  <a:gd name="T39"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 h="39">
                    <a:moveTo>
                      <a:pt x="21" y="5"/>
                    </a:moveTo>
                    <a:lnTo>
                      <a:pt x="19" y="7"/>
                    </a:lnTo>
                    <a:lnTo>
                      <a:pt x="19" y="5"/>
                    </a:lnTo>
                    <a:lnTo>
                      <a:pt x="23" y="5"/>
                    </a:lnTo>
                    <a:lnTo>
                      <a:pt x="23" y="2"/>
                    </a:lnTo>
                    <a:lnTo>
                      <a:pt x="26" y="0"/>
                    </a:lnTo>
                    <a:lnTo>
                      <a:pt x="30" y="0"/>
                    </a:lnTo>
                    <a:lnTo>
                      <a:pt x="25" y="18"/>
                    </a:lnTo>
                    <a:lnTo>
                      <a:pt x="23" y="21"/>
                    </a:lnTo>
                    <a:lnTo>
                      <a:pt x="19" y="34"/>
                    </a:lnTo>
                    <a:lnTo>
                      <a:pt x="16" y="39"/>
                    </a:lnTo>
                    <a:lnTo>
                      <a:pt x="10" y="39"/>
                    </a:lnTo>
                    <a:lnTo>
                      <a:pt x="9" y="36"/>
                    </a:lnTo>
                    <a:lnTo>
                      <a:pt x="1" y="32"/>
                    </a:lnTo>
                    <a:lnTo>
                      <a:pt x="0" y="28"/>
                    </a:lnTo>
                    <a:lnTo>
                      <a:pt x="1" y="25"/>
                    </a:lnTo>
                    <a:lnTo>
                      <a:pt x="14" y="11"/>
                    </a:lnTo>
                    <a:lnTo>
                      <a:pt x="17" y="9"/>
                    </a:lnTo>
                    <a:lnTo>
                      <a:pt x="19" y="5"/>
                    </a:lnTo>
                    <a:lnTo>
                      <a:pt x="21"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37" name="Freeform 1785"/>
              <p:cNvSpPr>
                <a:spLocks/>
              </p:cNvSpPr>
              <p:nvPr/>
            </p:nvSpPr>
            <p:spPr bwMode="auto">
              <a:xfrm>
                <a:off x="730" y="688"/>
                <a:ext cx="116" cy="119"/>
              </a:xfrm>
              <a:custGeom>
                <a:avLst/>
                <a:gdLst>
                  <a:gd name="T0" fmla="*/ 47 w 116"/>
                  <a:gd name="T1" fmla="*/ 36 h 119"/>
                  <a:gd name="T2" fmla="*/ 52 w 116"/>
                  <a:gd name="T3" fmla="*/ 28 h 119"/>
                  <a:gd name="T4" fmla="*/ 57 w 116"/>
                  <a:gd name="T5" fmla="*/ 21 h 119"/>
                  <a:gd name="T6" fmla="*/ 65 w 116"/>
                  <a:gd name="T7" fmla="*/ 14 h 119"/>
                  <a:gd name="T8" fmla="*/ 70 w 116"/>
                  <a:gd name="T9" fmla="*/ 14 h 119"/>
                  <a:gd name="T10" fmla="*/ 79 w 116"/>
                  <a:gd name="T11" fmla="*/ 12 h 119"/>
                  <a:gd name="T12" fmla="*/ 81 w 116"/>
                  <a:gd name="T13" fmla="*/ 21 h 119"/>
                  <a:gd name="T14" fmla="*/ 82 w 116"/>
                  <a:gd name="T15" fmla="*/ 16 h 119"/>
                  <a:gd name="T16" fmla="*/ 88 w 116"/>
                  <a:gd name="T17" fmla="*/ 16 h 119"/>
                  <a:gd name="T18" fmla="*/ 97 w 116"/>
                  <a:gd name="T19" fmla="*/ 12 h 119"/>
                  <a:gd name="T20" fmla="*/ 90 w 116"/>
                  <a:gd name="T21" fmla="*/ 7 h 119"/>
                  <a:gd name="T22" fmla="*/ 100 w 116"/>
                  <a:gd name="T23" fmla="*/ 0 h 119"/>
                  <a:gd name="T24" fmla="*/ 116 w 116"/>
                  <a:gd name="T25" fmla="*/ 16 h 119"/>
                  <a:gd name="T26" fmla="*/ 113 w 116"/>
                  <a:gd name="T27" fmla="*/ 21 h 119"/>
                  <a:gd name="T28" fmla="*/ 102 w 116"/>
                  <a:gd name="T29" fmla="*/ 28 h 119"/>
                  <a:gd name="T30" fmla="*/ 109 w 116"/>
                  <a:gd name="T31" fmla="*/ 43 h 119"/>
                  <a:gd name="T32" fmla="*/ 106 w 116"/>
                  <a:gd name="T33" fmla="*/ 44 h 119"/>
                  <a:gd name="T34" fmla="*/ 106 w 116"/>
                  <a:gd name="T35" fmla="*/ 50 h 119"/>
                  <a:gd name="T36" fmla="*/ 109 w 116"/>
                  <a:gd name="T37" fmla="*/ 61 h 119"/>
                  <a:gd name="T38" fmla="*/ 95 w 116"/>
                  <a:gd name="T39" fmla="*/ 69 h 119"/>
                  <a:gd name="T40" fmla="*/ 93 w 116"/>
                  <a:gd name="T41" fmla="*/ 84 h 119"/>
                  <a:gd name="T42" fmla="*/ 84 w 116"/>
                  <a:gd name="T43" fmla="*/ 89 h 119"/>
                  <a:gd name="T44" fmla="*/ 79 w 116"/>
                  <a:gd name="T45" fmla="*/ 53 h 119"/>
                  <a:gd name="T46" fmla="*/ 72 w 116"/>
                  <a:gd name="T47" fmla="*/ 61 h 119"/>
                  <a:gd name="T48" fmla="*/ 72 w 116"/>
                  <a:gd name="T49" fmla="*/ 71 h 119"/>
                  <a:gd name="T50" fmla="*/ 63 w 116"/>
                  <a:gd name="T51" fmla="*/ 69 h 119"/>
                  <a:gd name="T52" fmla="*/ 63 w 116"/>
                  <a:gd name="T53" fmla="*/ 77 h 119"/>
                  <a:gd name="T54" fmla="*/ 66 w 116"/>
                  <a:gd name="T55" fmla="*/ 87 h 119"/>
                  <a:gd name="T56" fmla="*/ 61 w 116"/>
                  <a:gd name="T57" fmla="*/ 100 h 119"/>
                  <a:gd name="T58" fmla="*/ 54 w 116"/>
                  <a:gd name="T59" fmla="*/ 84 h 119"/>
                  <a:gd name="T60" fmla="*/ 50 w 116"/>
                  <a:gd name="T61" fmla="*/ 93 h 119"/>
                  <a:gd name="T62" fmla="*/ 52 w 116"/>
                  <a:gd name="T63" fmla="*/ 98 h 119"/>
                  <a:gd name="T64" fmla="*/ 52 w 116"/>
                  <a:gd name="T65" fmla="*/ 109 h 119"/>
                  <a:gd name="T66" fmla="*/ 47 w 116"/>
                  <a:gd name="T67" fmla="*/ 116 h 119"/>
                  <a:gd name="T68" fmla="*/ 41 w 116"/>
                  <a:gd name="T69" fmla="*/ 119 h 119"/>
                  <a:gd name="T70" fmla="*/ 36 w 116"/>
                  <a:gd name="T71" fmla="*/ 107 h 119"/>
                  <a:gd name="T72" fmla="*/ 32 w 116"/>
                  <a:gd name="T73" fmla="*/ 93 h 119"/>
                  <a:gd name="T74" fmla="*/ 27 w 116"/>
                  <a:gd name="T75" fmla="*/ 111 h 119"/>
                  <a:gd name="T76" fmla="*/ 16 w 116"/>
                  <a:gd name="T77" fmla="*/ 102 h 119"/>
                  <a:gd name="T78" fmla="*/ 15 w 116"/>
                  <a:gd name="T79" fmla="*/ 103 h 119"/>
                  <a:gd name="T80" fmla="*/ 6 w 116"/>
                  <a:gd name="T81" fmla="*/ 111 h 119"/>
                  <a:gd name="T82" fmla="*/ 4 w 116"/>
                  <a:gd name="T83" fmla="*/ 94 h 119"/>
                  <a:gd name="T84" fmla="*/ 2 w 116"/>
                  <a:gd name="T85" fmla="*/ 93 h 119"/>
                  <a:gd name="T86" fmla="*/ 7 w 116"/>
                  <a:gd name="T87" fmla="*/ 82 h 119"/>
                  <a:gd name="T88" fmla="*/ 13 w 116"/>
                  <a:gd name="T89" fmla="*/ 77 h 119"/>
                  <a:gd name="T90" fmla="*/ 20 w 116"/>
                  <a:gd name="T91" fmla="*/ 78 h 119"/>
                  <a:gd name="T92" fmla="*/ 27 w 116"/>
                  <a:gd name="T93" fmla="*/ 61 h 119"/>
                  <a:gd name="T94" fmla="*/ 32 w 116"/>
                  <a:gd name="T95" fmla="*/ 61 h 119"/>
                  <a:gd name="T96" fmla="*/ 40 w 116"/>
                  <a:gd name="T97" fmla="*/ 52 h 119"/>
                  <a:gd name="T98" fmla="*/ 43 w 116"/>
                  <a:gd name="T99" fmla="*/ 4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6" h="119">
                    <a:moveTo>
                      <a:pt x="45" y="39"/>
                    </a:moveTo>
                    <a:lnTo>
                      <a:pt x="45" y="39"/>
                    </a:lnTo>
                    <a:lnTo>
                      <a:pt x="47" y="36"/>
                    </a:lnTo>
                    <a:lnTo>
                      <a:pt x="48" y="34"/>
                    </a:lnTo>
                    <a:lnTo>
                      <a:pt x="50" y="32"/>
                    </a:lnTo>
                    <a:lnTo>
                      <a:pt x="52" y="28"/>
                    </a:lnTo>
                    <a:lnTo>
                      <a:pt x="54" y="28"/>
                    </a:lnTo>
                    <a:lnTo>
                      <a:pt x="54" y="25"/>
                    </a:lnTo>
                    <a:lnTo>
                      <a:pt x="57" y="21"/>
                    </a:lnTo>
                    <a:lnTo>
                      <a:pt x="57" y="18"/>
                    </a:lnTo>
                    <a:lnTo>
                      <a:pt x="65" y="16"/>
                    </a:lnTo>
                    <a:lnTo>
                      <a:pt x="65" y="14"/>
                    </a:lnTo>
                    <a:lnTo>
                      <a:pt x="68" y="14"/>
                    </a:lnTo>
                    <a:lnTo>
                      <a:pt x="70" y="16"/>
                    </a:lnTo>
                    <a:lnTo>
                      <a:pt x="70" y="14"/>
                    </a:lnTo>
                    <a:lnTo>
                      <a:pt x="75" y="14"/>
                    </a:lnTo>
                    <a:lnTo>
                      <a:pt x="75" y="12"/>
                    </a:lnTo>
                    <a:lnTo>
                      <a:pt x="79" y="12"/>
                    </a:lnTo>
                    <a:lnTo>
                      <a:pt x="77" y="16"/>
                    </a:lnTo>
                    <a:lnTo>
                      <a:pt x="79" y="21"/>
                    </a:lnTo>
                    <a:lnTo>
                      <a:pt x="81" y="21"/>
                    </a:lnTo>
                    <a:lnTo>
                      <a:pt x="79" y="16"/>
                    </a:lnTo>
                    <a:lnTo>
                      <a:pt x="81" y="14"/>
                    </a:lnTo>
                    <a:lnTo>
                      <a:pt x="82" y="16"/>
                    </a:lnTo>
                    <a:lnTo>
                      <a:pt x="88" y="19"/>
                    </a:lnTo>
                    <a:lnTo>
                      <a:pt x="90" y="19"/>
                    </a:lnTo>
                    <a:lnTo>
                      <a:pt x="88" y="16"/>
                    </a:lnTo>
                    <a:lnTo>
                      <a:pt x="93" y="18"/>
                    </a:lnTo>
                    <a:lnTo>
                      <a:pt x="97" y="14"/>
                    </a:lnTo>
                    <a:lnTo>
                      <a:pt x="97" y="12"/>
                    </a:lnTo>
                    <a:lnTo>
                      <a:pt x="93" y="12"/>
                    </a:lnTo>
                    <a:lnTo>
                      <a:pt x="91" y="11"/>
                    </a:lnTo>
                    <a:lnTo>
                      <a:pt x="90" y="7"/>
                    </a:lnTo>
                    <a:lnTo>
                      <a:pt x="93" y="5"/>
                    </a:lnTo>
                    <a:lnTo>
                      <a:pt x="95" y="2"/>
                    </a:lnTo>
                    <a:lnTo>
                      <a:pt x="100" y="0"/>
                    </a:lnTo>
                    <a:lnTo>
                      <a:pt x="106" y="5"/>
                    </a:lnTo>
                    <a:lnTo>
                      <a:pt x="106" y="7"/>
                    </a:lnTo>
                    <a:lnTo>
                      <a:pt x="116" y="16"/>
                    </a:lnTo>
                    <a:lnTo>
                      <a:pt x="116" y="19"/>
                    </a:lnTo>
                    <a:lnTo>
                      <a:pt x="116" y="21"/>
                    </a:lnTo>
                    <a:lnTo>
                      <a:pt x="113" y="21"/>
                    </a:lnTo>
                    <a:lnTo>
                      <a:pt x="111" y="25"/>
                    </a:lnTo>
                    <a:lnTo>
                      <a:pt x="104" y="27"/>
                    </a:lnTo>
                    <a:lnTo>
                      <a:pt x="102" y="28"/>
                    </a:lnTo>
                    <a:lnTo>
                      <a:pt x="102" y="30"/>
                    </a:lnTo>
                    <a:lnTo>
                      <a:pt x="102" y="34"/>
                    </a:lnTo>
                    <a:lnTo>
                      <a:pt x="109" y="43"/>
                    </a:lnTo>
                    <a:lnTo>
                      <a:pt x="109" y="46"/>
                    </a:lnTo>
                    <a:lnTo>
                      <a:pt x="107" y="46"/>
                    </a:lnTo>
                    <a:lnTo>
                      <a:pt x="106" y="44"/>
                    </a:lnTo>
                    <a:lnTo>
                      <a:pt x="102" y="46"/>
                    </a:lnTo>
                    <a:lnTo>
                      <a:pt x="104" y="50"/>
                    </a:lnTo>
                    <a:lnTo>
                      <a:pt x="106" y="50"/>
                    </a:lnTo>
                    <a:lnTo>
                      <a:pt x="107" y="53"/>
                    </a:lnTo>
                    <a:lnTo>
                      <a:pt x="107" y="55"/>
                    </a:lnTo>
                    <a:lnTo>
                      <a:pt x="109" y="61"/>
                    </a:lnTo>
                    <a:lnTo>
                      <a:pt x="107" y="64"/>
                    </a:lnTo>
                    <a:lnTo>
                      <a:pt x="102" y="68"/>
                    </a:lnTo>
                    <a:lnTo>
                      <a:pt x="95" y="69"/>
                    </a:lnTo>
                    <a:lnTo>
                      <a:pt x="93" y="71"/>
                    </a:lnTo>
                    <a:lnTo>
                      <a:pt x="91" y="75"/>
                    </a:lnTo>
                    <a:lnTo>
                      <a:pt x="93" y="84"/>
                    </a:lnTo>
                    <a:lnTo>
                      <a:pt x="91" y="87"/>
                    </a:lnTo>
                    <a:lnTo>
                      <a:pt x="88" y="89"/>
                    </a:lnTo>
                    <a:lnTo>
                      <a:pt x="84" y="89"/>
                    </a:lnTo>
                    <a:lnTo>
                      <a:pt x="77" y="78"/>
                    </a:lnTo>
                    <a:lnTo>
                      <a:pt x="81" y="53"/>
                    </a:lnTo>
                    <a:lnTo>
                      <a:pt x="79" y="53"/>
                    </a:lnTo>
                    <a:lnTo>
                      <a:pt x="75" y="55"/>
                    </a:lnTo>
                    <a:lnTo>
                      <a:pt x="72" y="55"/>
                    </a:lnTo>
                    <a:lnTo>
                      <a:pt x="72" y="61"/>
                    </a:lnTo>
                    <a:lnTo>
                      <a:pt x="70" y="62"/>
                    </a:lnTo>
                    <a:lnTo>
                      <a:pt x="72" y="64"/>
                    </a:lnTo>
                    <a:lnTo>
                      <a:pt x="72" y="71"/>
                    </a:lnTo>
                    <a:lnTo>
                      <a:pt x="68" y="75"/>
                    </a:lnTo>
                    <a:lnTo>
                      <a:pt x="66" y="69"/>
                    </a:lnTo>
                    <a:lnTo>
                      <a:pt x="63" y="69"/>
                    </a:lnTo>
                    <a:lnTo>
                      <a:pt x="63" y="71"/>
                    </a:lnTo>
                    <a:lnTo>
                      <a:pt x="61" y="75"/>
                    </a:lnTo>
                    <a:lnTo>
                      <a:pt x="63" y="77"/>
                    </a:lnTo>
                    <a:lnTo>
                      <a:pt x="66" y="77"/>
                    </a:lnTo>
                    <a:lnTo>
                      <a:pt x="68" y="84"/>
                    </a:lnTo>
                    <a:lnTo>
                      <a:pt x="66" y="87"/>
                    </a:lnTo>
                    <a:lnTo>
                      <a:pt x="63" y="91"/>
                    </a:lnTo>
                    <a:lnTo>
                      <a:pt x="63" y="96"/>
                    </a:lnTo>
                    <a:lnTo>
                      <a:pt x="61" y="100"/>
                    </a:lnTo>
                    <a:lnTo>
                      <a:pt x="61" y="98"/>
                    </a:lnTo>
                    <a:lnTo>
                      <a:pt x="59" y="100"/>
                    </a:lnTo>
                    <a:lnTo>
                      <a:pt x="54" y="84"/>
                    </a:lnTo>
                    <a:lnTo>
                      <a:pt x="52" y="86"/>
                    </a:lnTo>
                    <a:lnTo>
                      <a:pt x="50" y="84"/>
                    </a:lnTo>
                    <a:lnTo>
                      <a:pt x="50" y="93"/>
                    </a:lnTo>
                    <a:lnTo>
                      <a:pt x="52" y="94"/>
                    </a:lnTo>
                    <a:lnTo>
                      <a:pt x="50" y="96"/>
                    </a:lnTo>
                    <a:lnTo>
                      <a:pt x="52" y="98"/>
                    </a:lnTo>
                    <a:lnTo>
                      <a:pt x="47" y="100"/>
                    </a:lnTo>
                    <a:lnTo>
                      <a:pt x="50" y="102"/>
                    </a:lnTo>
                    <a:lnTo>
                      <a:pt x="52" y="109"/>
                    </a:lnTo>
                    <a:lnTo>
                      <a:pt x="50" y="109"/>
                    </a:lnTo>
                    <a:lnTo>
                      <a:pt x="50" y="114"/>
                    </a:lnTo>
                    <a:lnTo>
                      <a:pt x="47" y="116"/>
                    </a:lnTo>
                    <a:lnTo>
                      <a:pt x="45" y="116"/>
                    </a:lnTo>
                    <a:lnTo>
                      <a:pt x="43" y="112"/>
                    </a:lnTo>
                    <a:lnTo>
                      <a:pt x="41" y="119"/>
                    </a:lnTo>
                    <a:lnTo>
                      <a:pt x="38" y="114"/>
                    </a:lnTo>
                    <a:lnTo>
                      <a:pt x="38" y="107"/>
                    </a:lnTo>
                    <a:lnTo>
                      <a:pt x="36" y="107"/>
                    </a:lnTo>
                    <a:lnTo>
                      <a:pt x="32" y="102"/>
                    </a:lnTo>
                    <a:lnTo>
                      <a:pt x="34" y="98"/>
                    </a:lnTo>
                    <a:lnTo>
                      <a:pt x="32" y="93"/>
                    </a:lnTo>
                    <a:lnTo>
                      <a:pt x="31" y="96"/>
                    </a:lnTo>
                    <a:lnTo>
                      <a:pt x="29" y="105"/>
                    </a:lnTo>
                    <a:lnTo>
                      <a:pt x="27" y="111"/>
                    </a:lnTo>
                    <a:lnTo>
                      <a:pt x="23" y="107"/>
                    </a:lnTo>
                    <a:lnTo>
                      <a:pt x="16" y="105"/>
                    </a:lnTo>
                    <a:lnTo>
                      <a:pt x="16" y="102"/>
                    </a:lnTo>
                    <a:lnTo>
                      <a:pt x="16" y="100"/>
                    </a:lnTo>
                    <a:lnTo>
                      <a:pt x="16" y="96"/>
                    </a:lnTo>
                    <a:lnTo>
                      <a:pt x="15" y="103"/>
                    </a:lnTo>
                    <a:lnTo>
                      <a:pt x="13" y="105"/>
                    </a:lnTo>
                    <a:lnTo>
                      <a:pt x="11" y="111"/>
                    </a:lnTo>
                    <a:lnTo>
                      <a:pt x="6" y="111"/>
                    </a:lnTo>
                    <a:lnTo>
                      <a:pt x="4" y="109"/>
                    </a:lnTo>
                    <a:lnTo>
                      <a:pt x="7" y="96"/>
                    </a:lnTo>
                    <a:lnTo>
                      <a:pt x="4" y="94"/>
                    </a:lnTo>
                    <a:lnTo>
                      <a:pt x="0" y="100"/>
                    </a:lnTo>
                    <a:lnTo>
                      <a:pt x="0" y="94"/>
                    </a:lnTo>
                    <a:lnTo>
                      <a:pt x="2" y="93"/>
                    </a:lnTo>
                    <a:lnTo>
                      <a:pt x="4" y="89"/>
                    </a:lnTo>
                    <a:lnTo>
                      <a:pt x="4" y="82"/>
                    </a:lnTo>
                    <a:lnTo>
                      <a:pt x="7" y="82"/>
                    </a:lnTo>
                    <a:lnTo>
                      <a:pt x="9" y="78"/>
                    </a:lnTo>
                    <a:lnTo>
                      <a:pt x="11" y="77"/>
                    </a:lnTo>
                    <a:lnTo>
                      <a:pt x="13" y="77"/>
                    </a:lnTo>
                    <a:lnTo>
                      <a:pt x="16" y="80"/>
                    </a:lnTo>
                    <a:lnTo>
                      <a:pt x="18" y="78"/>
                    </a:lnTo>
                    <a:lnTo>
                      <a:pt x="20" y="78"/>
                    </a:lnTo>
                    <a:lnTo>
                      <a:pt x="23" y="69"/>
                    </a:lnTo>
                    <a:lnTo>
                      <a:pt x="25" y="68"/>
                    </a:lnTo>
                    <a:lnTo>
                      <a:pt x="27" y="61"/>
                    </a:lnTo>
                    <a:lnTo>
                      <a:pt x="27" y="62"/>
                    </a:lnTo>
                    <a:lnTo>
                      <a:pt x="29" y="62"/>
                    </a:lnTo>
                    <a:lnTo>
                      <a:pt x="32" y="61"/>
                    </a:lnTo>
                    <a:lnTo>
                      <a:pt x="32" y="57"/>
                    </a:lnTo>
                    <a:lnTo>
                      <a:pt x="36" y="57"/>
                    </a:lnTo>
                    <a:lnTo>
                      <a:pt x="40" y="52"/>
                    </a:lnTo>
                    <a:lnTo>
                      <a:pt x="43" y="50"/>
                    </a:lnTo>
                    <a:lnTo>
                      <a:pt x="40" y="50"/>
                    </a:lnTo>
                    <a:lnTo>
                      <a:pt x="43" y="41"/>
                    </a:lnTo>
                    <a:lnTo>
                      <a:pt x="45" y="3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38" name="Freeform 1786"/>
              <p:cNvSpPr>
                <a:spLocks/>
              </p:cNvSpPr>
              <p:nvPr/>
            </p:nvSpPr>
            <p:spPr bwMode="auto">
              <a:xfrm>
                <a:off x="730" y="688"/>
                <a:ext cx="116" cy="119"/>
              </a:xfrm>
              <a:custGeom>
                <a:avLst/>
                <a:gdLst>
                  <a:gd name="T0" fmla="*/ 47 w 116"/>
                  <a:gd name="T1" fmla="*/ 36 h 119"/>
                  <a:gd name="T2" fmla="*/ 52 w 116"/>
                  <a:gd name="T3" fmla="*/ 28 h 119"/>
                  <a:gd name="T4" fmla="*/ 57 w 116"/>
                  <a:gd name="T5" fmla="*/ 21 h 119"/>
                  <a:gd name="T6" fmla="*/ 65 w 116"/>
                  <a:gd name="T7" fmla="*/ 14 h 119"/>
                  <a:gd name="T8" fmla="*/ 70 w 116"/>
                  <a:gd name="T9" fmla="*/ 14 h 119"/>
                  <a:gd name="T10" fmla="*/ 79 w 116"/>
                  <a:gd name="T11" fmla="*/ 12 h 119"/>
                  <a:gd name="T12" fmla="*/ 81 w 116"/>
                  <a:gd name="T13" fmla="*/ 21 h 119"/>
                  <a:gd name="T14" fmla="*/ 82 w 116"/>
                  <a:gd name="T15" fmla="*/ 16 h 119"/>
                  <a:gd name="T16" fmla="*/ 88 w 116"/>
                  <a:gd name="T17" fmla="*/ 16 h 119"/>
                  <a:gd name="T18" fmla="*/ 97 w 116"/>
                  <a:gd name="T19" fmla="*/ 12 h 119"/>
                  <a:gd name="T20" fmla="*/ 90 w 116"/>
                  <a:gd name="T21" fmla="*/ 7 h 119"/>
                  <a:gd name="T22" fmla="*/ 100 w 116"/>
                  <a:gd name="T23" fmla="*/ 0 h 119"/>
                  <a:gd name="T24" fmla="*/ 116 w 116"/>
                  <a:gd name="T25" fmla="*/ 16 h 119"/>
                  <a:gd name="T26" fmla="*/ 113 w 116"/>
                  <a:gd name="T27" fmla="*/ 21 h 119"/>
                  <a:gd name="T28" fmla="*/ 102 w 116"/>
                  <a:gd name="T29" fmla="*/ 28 h 119"/>
                  <a:gd name="T30" fmla="*/ 109 w 116"/>
                  <a:gd name="T31" fmla="*/ 43 h 119"/>
                  <a:gd name="T32" fmla="*/ 106 w 116"/>
                  <a:gd name="T33" fmla="*/ 44 h 119"/>
                  <a:gd name="T34" fmla="*/ 106 w 116"/>
                  <a:gd name="T35" fmla="*/ 50 h 119"/>
                  <a:gd name="T36" fmla="*/ 109 w 116"/>
                  <a:gd name="T37" fmla="*/ 61 h 119"/>
                  <a:gd name="T38" fmla="*/ 95 w 116"/>
                  <a:gd name="T39" fmla="*/ 69 h 119"/>
                  <a:gd name="T40" fmla="*/ 93 w 116"/>
                  <a:gd name="T41" fmla="*/ 84 h 119"/>
                  <a:gd name="T42" fmla="*/ 84 w 116"/>
                  <a:gd name="T43" fmla="*/ 89 h 119"/>
                  <a:gd name="T44" fmla="*/ 79 w 116"/>
                  <a:gd name="T45" fmla="*/ 53 h 119"/>
                  <a:gd name="T46" fmla="*/ 72 w 116"/>
                  <a:gd name="T47" fmla="*/ 61 h 119"/>
                  <a:gd name="T48" fmla="*/ 72 w 116"/>
                  <a:gd name="T49" fmla="*/ 71 h 119"/>
                  <a:gd name="T50" fmla="*/ 63 w 116"/>
                  <a:gd name="T51" fmla="*/ 69 h 119"/>
                  <a:gd name="T52" fmla="*/ 63 w 116"/>
                  <a:gd name="T53" fmla="*/ 77 h 119"/>
                  <a:gd name="T54" fmla="*/ 66 w 116"/>
                  <a:gd name="T55" fmla="*/ 87 h 119"/>
                  <a:gd name="T56" fmla="*/ 61 w 116"/>
                  <a:gd name="T57" fmla="*/ 100 h 119"/>
                  <a:gd name="T58" fmla="*/ 54 w 116"/>
                  <a:gd name="T59" fmla="*/ 84 h 119"/>
                  <a:gd name="T60" fmla="*/ 50 w 116"/>
                  <a:gd name="T61" fmla="*/ 93 h 119"/>
                  <a:gd name="T62" fmla="*/ 52 w 116"/>
                  <a:gd name="T63" fmla="*/ 98 h 119"/>
                  <a:gd name="T64" fmla="*/ 52 w 116"/>
                  <a:gd name="T65" fmla="*/ 109 h 119"/>
                  <a:gd name="T66" fmla="*/ 47 w 116"/>
                  <a:gd name="T67" fmla="*/ 116 h 119"/>
                  <a:gd name="T68" fmla="*/ 41 w 116"/>
                  <a:gd name="T69" fmla="*/ 119 h 119"/>
                  <a:gd name="T70" fmla="*/ 36 w 116"/>
                  <a:gd name="T71" fmla="*/ 107 h 119"/>
                  <a:gd name="T72" fmla="*/ 32 w 116"/>
                  <a:gd name="T73" fmla="*/ 93 h 119"/>
                  <a:gd name="T74" fmla="*/ 27 w 116"/>
                  <a:gd name="T75" fmla="*/ 111 h 119"/>
                  <a:gd name="T76" fmla="*/ 16 w 116"/>
                  <a:gd name="T77" fmla="*/ 102 h 119"/>
                  <a:gd name="T78" fmla="*/ 15 w 116"/>
                  <a:gd name="T79" fmla="*/ 103 h 119"/>
                  <a:gd name="T80" fmla="*/ 6 w 116"/>
                  <a:gd name="T81" fmla="*/ 111 h 119"/>
                  <a:gd name="T82" fmla="*/ 4 w 116"/>
                  <a:gd name="T83" fmla="*/ 94 h 119"/>
                  <a:gd name="T84" fmla="*/ 2 w 116"/>
                  <a:gd name="T85" fmla="*/ 93 h 119"/>
                  <a:gd name="T86" fmla="*/ 7 w 116"/>
                  <a:gd name="T87" fmla="*/ 82 h 119"/>
                  <a:gd name="T88" fmla="*/ 13 w 116"/>
                  <a:gd name="T89" fmla="*/ 77 h 119"/>
                  <a:gd name="T90" fmla="*/ 20 w 116"/>
                  <a:gd name="T91" fmla="*/ 78 h 119"/>
                  <a:gd name="T92" fmla="*/ 27 w 116"/>
                  <a:gd name="T93" fmla="*/ 61 h 119"/>
                  <a:gd name="T94" fmla="*/ 32 w 116"/>
                  <a:gd name="T95" fmla="*/ 61 h 119"/>
                  <a:gd name="T96" fmla="*/ 40 w 116"/>
                  <a:gd name="T97" fmla="*/ 52 h 119"/>
                  <a:gd name="T98" fmla="*/ 43 w 116"/>
                  <a:gd name="T99" fmla="*/ 4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6" h="119">
                    <a:moveTo>
                      <a:pt x="45" y="39"/>
                    </a:moveTo>
                    <a:lnTo>
                      <a:pt x="45" y="39"/>
                    </a:lnTo>
                    <a:lnTo>
                      <a:pt x="47" y="36"/>
                    </a:lnTo>
                    <a:lnTo>
                      <a:pt x="48" y="34"/>
                    </a:lnTo>
                    <a:lnTo>
                      <a:pt x="50" y="32"/>
                    </a:lnTo>
                    <a:lnTo>
                      <a:pt x="52" y="28"/>
                    </a:lnTo>
                    <a:lnTo>
                      <a:pt x="54" y="28"/>
                    </a:lnTo>
                    <a:lnTo>
                      <a:pt x="54" y="25"/>
                    </a:lnTo>
                    <a:lnTo>
                      <a:pt x="57" y="21"/>
                    </a:lnTo>
                    <a:lnTo>
                      <a:pt x="57" y="18"/>
                    </a:lnTo>
                    <a:lnTo>
                      <a:pt x="65" y="16"/>
                    </a:lnTo>
                    <a:lnTo>
                      <a:pt x="65" y="14"/>
                    </a:lnTo>
                    <a:lnTo>
                      <a:pt x="68" y="14"/>
                    </a:lnTo>
                    <a:lnTo>
                      <a:pt x="70" y="16"/>
                    </a:lnTo>
                    <a:lnTo>
                      <a:pt x="70" y="14"/>
                    </a:lnTo>
                    <a:lnTo>
                      <a:pt x="75" y="14"/>
                    </a:lnTo>
                    <a:lnTo>
                      <a:pt x="75" y="12"/>
                    </a:lnTo>
                    <a:lnTo>
                      <a:pt x="79" y="12"/>
                    </a:lnTo>
                    <a:lnTo>
                      <a:pt x="77" y="16"/>
                    </a:lnTo>
                    <a:lnTo>
                      <a:pt x="79" y="21"/>
                    </a:lnTo>
                    <a:lnTo>
                      <a:pt x="81" y="21"/>
                    </a:lnTo>
                    <a:lnTo>
                      <a:pt x="79" y="16"/>
                    </a:lnTo>
                    <a:lnTo>
                      <a:pt x="81" y="14"/>
                    </a:lnTo>
                    <a:lnTo>
                      <a:pt x="82" y="16"/>
                    </a:lnTo>
                    <a:lnTo>
                      <a:pt x="88" y="19"/>
                    </a:lnTo>
                    <a:lnTo>
                      <a:pt x="90" y="19"/>
                    </a:lnTo>
                    <a:lnTo>
                      <a:pt x="88" y="16"/>
                    </a:lnTo>
                    <a:lnTo>
                      <a:pt x="93" y="18"/>
                    </a:lnTo>
                    <a:lnTo>
                      <a:pt x="97" y="14"/>
                    </a:lnTo>
                    <a:lnTo>
                      <a:pt x="97" y="12"/>
                    </a:lnTo>
                    <a:lnTo>
                      <a:pt x="93" y="12"/>
                    </a:lnTo>
                    <a:lnTo>
                      <a:pt x="91" y="11"/>
                    </a:lnTo>
                    <a:lnTo>
                      <a:pt x="90" y="7"/>
                    </a:lnTo>
                    <a:lnTo>
                      <a:pt x="93" y="5"/>
                    </a:lnTo>
                    <a:lnTo>
                      <a:pt x="95" y="2"/>
                    </a:lnTo>
                    <a:lnTo>
                      <a:pt x="100" y="0"/>
                    </a:lnTo>
                    <a:lnTo>
                      <a:pt x="106" y="5"/>
                    </a:lnTo>
                    <a:lnTo>
                      <a:pt x="106" y="7"/>
                    </a:lnTo>
                    <a:lnTo>
                      <a:pt x="116" y="16"/>
                    </a:lnTo>
                    <a:lnTo>
                      <a:pt x="116" y="19"/>
                    </a:lnTo>
                    <a:lnTo>
                      <a:pt x="116" y="21"/>
                    </a:lnTo>
                    <a:lnTo>
                      <a:pt x="113" y="21"/>
                    </a:lnTo>
                    <a:lnTo>
                      <a:pt x="111" y="25"/>
                    </a:lnTo>
                    <a:lnTo>
                      <a:pt x="104" y="27"/>
                    </a:lnTo>
                    <a:lnTo>
                      <a:pt x="102" y="28"/>
                    </a:lnTo>
                    <a:lnTo>
                      <a:pt x="102" y="30"/>
                    </a:lnTo>
                    <a:lnTo>
                      <a:pt x="102" y="34"/>
                    </a:lnTo>
                    <a:lnTo>
                      <a:pt x="109" y="43"/>
                    </a:lnTo>
                    <a:lnTo>
                      <a:pt x="109" y="46"/>
                    </a:lnTo>
                    <a:lnTo>
                      <a:pt x="107" y="46"/>
                    </a:lnTo>
                    <a:lnTo>
                      <a:pt x="106" y="44"/>
                    </a:lnTo>
                    <a:lnTo>
                      <a:pt x="102" y="46"/>
                    </a:lnTo>
                    <a:lnTo>
                      <a:pt x="104" y="50"/>
                    </a:lnTo>
                    <a:lnTo>
                      <a:pt x="106" y="50"/>
                    </a:lnTo>
                    <a:lnTo>
                      <a:pt x="107" y="53"/>
                    </a:lnTo>
                    <a:lnTo>
                      <a:pt x="107" y="55"/>
                    </a:lnTo>
                    <a:lnTo>
                      <a:pt x="109" y="61"/>
                    </a:lnTo>
                    <a:lnTo>
                      <a:pt x="107" y="64"/>
                    </a:lnTo>
                    <a:lnTo>
                      <a:pt x="102" y="68"/>
                    </a:lnTo>
                    <a:lnTo>
                      <a:pt x="95" y="69"/>
                    </a:lnTo>
                    <a:lnTo>
                      <a:pt x="93" y="71"/>
                    </a:lnTo>
                    <a:lnTo>
                      <a:pt x="91" y="75"/>
                    </a:lnTo>
                    <a:lnTo>
                      <a:pt x="93" y="84"/>
                    </a:lnTo>
                    <a:lnTo>
                      <a:pt x="91" y="87"/>
                    </a:lnTo>
                    <a:lnTo>
                      <a:pt x="88" y="89"/>
                    </a:lnTo>
                    <a:lnTo>
                      <a:pt x="84" y="89"/>
                    </a:lnTo>
                    <a:lnTo>
                      <a:pt x="77" y="78"/>
                    </a:lnTo>
                    <a:lnTo>
                      <a:pt x="81" y="53"/>
                    </a:lnTo>
                    <a:lnTo>
                      <a:pt x="79" y="53"/>
                    </a:lnTo>
                    <a:lnTo>
                      <a:pt x="75" y="55"/>
                    </a:lnTo>
                    <a:lnTo>
                      <a:pt x="72" y="55"/>
                    </a:lnTo>
                    <a:lnTo>
                      <a:pt x="72" y="61"/>
                    </a:lnTo>
                    <a:lnTo>
                      <a:pt x="70" y="62"/>
                    </a:lnTo>
                    <a:lnTo>
                      <a:pt x="72" y="64"/>
                    </a:lnTo>
                    <a:lnTo>
                      <a:pt x="72" y="71"/>
                    </a:lnTo>
                    <a:lnTo>
                      <a:pt x="68" y="75"/>
                    </a:lnTo>
                    <a:lnTo>
                      <a:pt x="66" y="69"/>
                    </a:lnTo>
                    <a:lnTo>
                      <a:pt x="63" y="69"/>
                    </a:lnTo>
                    <a:lnTo>
                      <a:pt x="63" y="71"/>
                    </a:lnTo>
                    <a:lnTo>
                      <a:pt x="61" y="75"/>
                    </a:lnTo>
                    <a:lnTo>
                      <a:pt x="63" y="77"/>
                    </a:lnTo>
                    <a:lnTo>
                      <a:pt x="66" y="77"/>
                    </a:lnTo>
                    <a:lnTo>
                      <a:pt x="68" y="84"/>
                    </a:lnTo>
                    <a:lnTo>
                      <a:pt x="66" y="87"/>
                    </a:lnTo>
                    <a:lnTo>
                      <a:pt x="63" y="91"/>
                    </a:lnTo>
                    <a:lnTo>
                      <a:pt x="63" y="96"/>
                    </a:lnTo>
                    <a:lnTo>
                      <a:pt x="61" y="100"/>
                    </a:lnTo>
                    <a:lnTo>
                      <a:pt x="61" y="98"/>
                    </a:lnTo>
                    <a:lnTo>
                      <a:pt x="59" y="100"/>
                    </a:lnTo>
                    <a:lnTo>
                      <a:pt x="54" y="84"/>
                    </a:lnTo>
                    <a:lnTo>
                      <a:pt x="52" y="86"/>
                    </a:lnTo>
                    <a:lnTo>
                      <a:pt x="50" y="84"/>
                    </a:lnTo>
                    <a:lnTo>
                      <a:pt x="50" y="93"/>
                    </a:lnTo>
                    <a:lnTo>
                      <a:pt x="52" y="94"/>
                    </a:lnTo>
                    <a:lnTo>
                      <a:pt x="50" y="96"/>
                    </a:lnTo>
                    <a:lnTo>
                      <a:pt x="52" y="98"/>
                    </a:lnTo>
                    <a:lnTo>
                      <a:pt x="47" y="100"/>
                    </a:lnTo>
                    <a:lnTo>
                      <a:pt x="50" y="102"/>
                    </a:lnTo>
                    <a:lnTo>
                      <a:pt x="52" y="109"/>
                    </a:lnTo>
                    <a:lnTo>
                      <a:pt x="50" y="109"/>
                    </a:lnTo>
                    <a:lnTo>
                      <a:pt x="50" y="114"/>
                    </a:lnTo>
                    <a:lnTo>
                      <a:pt x="47" y="116"/>
                    </a:lnTo>
                    <a:lnTo>
                      <a:pt x="45" y="116"/>
                    </a:lnTo>
                    <a:lnTo>
                      <a:pt x="43" y="112"/>
                    </a:lnTo>
                    <a:lnTo>
                      <a:pt x="41" y="119"/>
                    </a:lnTo>
                    <a:lnTo>
                      <a:pt x="38" y="114"/>
                    </a:lnTo>
                    <a:lnTo>
                      <a:pt x="38" y="107"/>
                    </a:lnTo>
                    <a:lnTo>
                      <a:pt x="36" y="107"/>
                    </a:lnTo>
                    <a:lnTo>
                      <a:pt x="32" y="102"/>
                    </a:lnTo>
                    <a:lnTo>
                      <a:pt x="34" y="98"/>
                    </a:lnTo>
                    <a:lnTo>
                      <a:pt x="32" y="93"/>
                    </a:lnTo>
                    <a:lnTo>
                      <a:pt x="31" y="96"/>
                    </a:lnTo>
                    <a:lnTo>
                      <a:pt x="29" y="105"/>
                    </a:lnTo>
                    <a:lnTo>
                      <a:pt x="27" y="111"/>
                    </a:lnTo>
                    <a:lnTo>
                      <a:pt x="23" y="107"/>
                    </a:lnTo>
                    <a:lnTo>
                      <a:pt x="16" y="105"/>
                    </a:lnTo>
                    <a:lnTo>
                      <a:pt x="16" y="102"/>
                    </a:lnTo>
                    <a:lnTo>
                      <a:pt x="16" y="100"/>
                    </a:lnTo>
                    <a:lnTo>
                      <a:pt x="16" y="96"/>
                    </a:lnTo>
                    <a:lnTo>
                      <a:pt x="15" y="103"/>
                    </a:lnTo>
                    <a:lnTo>
                      <a:pt x="13" y="105"/>
                    </a:lnTo>
                    <a:lnTo>
                      <a:pt x="11" y="111"/>
                    </a:lnTo>
                    <a:lnTo>
                      <a:pt x="6" y="111"/>
                    </a:lnTo>
                    <a:lnTo>
                      <a:pt x="4" y="109"/>
                    </a:lnTo>
                    <a:lnTo>
                      <a:pt x="7" y="96"/>
                    </a:lnTo>
                    <a:lnTo>
                      <a:pt x="4" y="94"/>
                    </a:lnTo>
                    <a:lnTo>
                      <a:pt x="0" y="100"/>
                    </a:lnTo>
                    <a:lnTo>
                      <a:pt x="0" y="94"/>
                    </a:lnTo>
                    <a:lnTo>
                      <a:pt x="2" y="93"/>
                    </a:lnTo>
                    <a:lnTo>
                      <a:pt x="4" y="89"/>
                    </a:lnTo>
                    <a:lnTo>
                      <a:pt x="4" y="82"/>
                    </a:lnTo>
                    <a:lnTo>
                      <a:pt x="7" y="82"/>
                    </a:lnTo>
                    <a:lnTo>
                      <a:pt x="9" y="78"/>
                    </a:lnTo>
                    <a:lnTo>
                      <a:pt x="11" y="77"/>
                    </a:lnTo>
                    <a:lnTo>
                      <a:pt x="13" y="77"/>
                    </a:lnTo>
                    <a:lnTo>
                      <a:pt x="16" y="80"/>
                    </a:lnTo>
                    <a:lnTo>
                      <a:pt x="18" y="78"/>
                    </a:lnTo>
                    <a:lnTo>
                      <a:pt x="20" y="78"/>
                    </a:lnTo>
                    <a:lnTo>
                      <a:pt x="23" y="69"/>
                    </a:lnTo>
                    <a:lnTo>
                      <a:pt x="25" y="68"/>
                    </a:lnTo>
                    <a:lnTo>
                      <a:pt x="27" y="61"/>
                    </a:lnTo>
                    <a:lnTo>
                      <a:pt x="27" y="62"/>
                    </a:lnTo>
                    <a:lnTo>
                      <a:pt x="29" y="62"/>
                    </a:lnTo>
                    <a:lnTo>
                      <a:pt x="32" y="61"/>
                    </a:lnTo>
                    <a:lnTo>
                      <a:pt x="32" y="57"/>
                    </a:lnTo>
                    <a:lnTo>
                      <a:pt x="36" y="57"/>
                    </a:lnTo>
                    <a:lnTo>
                      <a:pt x="40" y="52"/>
                    </a:lnTo>
                    <a:lnTo>
                      <a:pt x="43" y="50"/>
                    </a:lnTo>
                    <a:lnTo>
                      <a:pt x="40" y="50"/>
                    </a:lnTo>
                    <a:lnTo>
                      <a:pt x="43" y="41"/>
                    </a:lnTo>
                    <a:lnTo>
                      <a:pt x="45" y="3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39" name="Freeform 1787"/>
              <p:cNvSpPr>
                <a:spLocks/>
              </p:cNvSpPr>
              <p:nvPr/>
            </p:nvSpPr>
            <p:spPr bwMode="auto">
              <a:xfrm>
                <a:off x="857" y="734"/>
                <a:ext cx="21" cy="13"/>
              </a:xfrm>
              <a:custGeom>
                <a:avLst/>
                <a:gdLst>
                  <a:gd name="T0" fmla="*/ 13 w 21"/>
                  <a:gd name="T1" fmla="*/ 0 h 13"/>
                  <a:gd name="T2" fmla="*/ 16 w 21"/>
                  <a:gd name="T3" fmla="*/ 2 h 13"/>
                  <a:gd name="T4" fmla="*/ 21 w 21"/>
                  <a:gd name="T5" fmla="*/ 7 h 13"/>
                  <a:gd name="T6" fmla="*/ 20 w 21"/>
                  <a:gd name="T7" fmla="*/ 13 h 13"/>
                  <a:gd name="T8" fmla="*/ 13 w 21"/>
                  <a:gd name="T9" fmla="*/ 13 h 13"/>
                  <a:gd name="T10" fmla="*/ 4 w 21"/>
                  <a:gd name="T11" fmla="*/ 11 h 13"/>
                  <a:gd name="T12" fmla="*/ 0 w 21"/>
                  <a:gd name="T13" fmla="*/ 7 h 13"/>
                  <a:gd name="T14" fmla="*/ 2 w 21"/>
                  <a:gd name="T15" fmla="*/ 4 h 13"/>
                  <a:gd name="T16" fmla="*/ 13 w 21"/>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3">
                    <a:moveTo>
                      <a:pt x="13" y="0"/>
                    </a:moveTo>
                    <a:lnTo>
                      <a:pt x="16" y="2"/>
                    </a:lnTo>
                    <a:lnTo>
                      <a:pt x="21" y="7"/>
                    </a:lnTo>
                    <a:lnTo>
                      <a:pt x="20" y="13"/>
                    </a:lnTo>
                    <a:lnTo>
                      <a:pt x="13" y="13"/>
                    </a:lnTo>
                    <a:lnTo>
                      <a:pt x="4" y="11"/>
                    </a:lnTo>
                    <a:lnTo>
                      <a:pt x="0" y="7"/>
                    </a:lnTo>
                    <a:lnTo>
                      <a:pt x="2" y="4"/>
                    </a:lnTo>
                    <a:lnTo>
                      <a:pt x="1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40" name="Freeform 1788"/>
              <p:cNvSpPr>
                <a:spLocks/>
              </p:cNvSpPr>
              <p:nvPr/>
            </p:nvSpPr>
            <p:spPr bwMode="auto">
              <a:xfrm>
                <a:off x="857" y="734"/>
                <a:ext cx="21" cy="13"/>
              </a:xfrm>
              <a:custGeom>
                <a:avLst/>
                <a:gdLst>
                  <a:gd name="T0" fmla="*/ 13 w 21"/>
                  <a:gd name="T1" fmla="*/ 0 h 13"/>
                  <a:gd name="T2" fmla="*/ 16 w 21"/>
                  <a:gd name="T3" fmla="*/ 2 h 13"/>
                  <a:gd name="T4" fmla="*/ 21 w 21"/>
                  <a:gd name="T5" fmla="*/ 7 h 13"/>
                  <a:gd name="T6" fmla="*/ 20 w 21"/>
                  <a:gd name="T7" fmla="*/ 13 h 13"/>
                  <a:gd name="T8" fmla="*/ 13 w 21"/>
                  <a:gd name="T9" fmla="*/ 13 h 13"/>
                  <a:gd name="T10" fmla="*/ 4 w 21"/>
                  <a:gd name="T11" fmla="*/ 11 h 13"/>
                  <a:gd name="T12" fmla="*/ 0 w 21"/>
                  <a:gd name="T13" fmla="*/ 7 h 13"/>
                  <a:gd name="T14" fmla="*/ 2 w 21"/>
                  <a:gd name="T15" fmla="*/ 4 h 13"/>
                  <a:gd name="T16" fmla="*/ 13 w 21"/>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13">
                    <a:moveTo>
                      <a:pt x="13" y="0"/>
                    </a:moveTo>
                    <a:lnTo>
                      <a:pt x="16" y="2"/>
                    </a:lnTo>
                    <a:lnTo>
                      <a:pt x="21" y="7"/>
                    </a:lnTo>
                    <a:lnTo>
                      <a:pt x="20" y="13"/>
                    </a:lnTo>
                    <a:lnTo>
                      <a:pt x="13" y="13"/>
                    </a:lnTo>
                    <a:lnTo>
                      <a:pt x="4" y="11"/>
                    </a:lnTo>
                    <a:lnTo>
                      <a:pt x="0" y="7"/>
                    </a:lnTo>
                    <a:lnTo>
                      <a:pt x="2" y="4"/>
                    </a:lnTo>
                    <a:lnTo>
                      <a:pt x="1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41" name="Freeform 1789"/>
              <p:cNvSpPr>
                <a:spLocks/>
              </p:cNvSpPr>
              <p:nvPr/>
            </p:nvSpPr>
            <p:spPr bwMode="auto">
              <a:xfrm>
                <a:off x="880" y="645"/>
                <a:ext cx="59" cy="57"/>
              </a:xfrm>
              <a:custGeom>
                <a:avLst/>
                <a:gdLst>
                  <a:gd name="T0" fmla="*/ 23 w 59"/>
                  <a:gd name="T1" fmla="*/ 5 h 57"/>
                  <a:gd name="T2" fmla="*/ 25 w 59"/>
                  <a:gd name="T3" fmla="*/ 7 h 57"/>
                  <a:gd name="T4" fmla="*/ 25 w 59"/>
                  <a:gd name="T5" fmla="*/ 5 h 57"/>
                  <a:gd name="T6" fmla="*/ 29 w 59"/>
                  <a:gd name="T7" fmla="*/ 4 h 57"/>
                  <a:gd name="T8" fmla="*/ 38 w 59"/>
                  <a:gd name="T9" fmla="*/ 2 h 57"/>
                  <a:gd name="T10" fmla="*/ 38 w 59"/>
                  <a:gd name="T11" fmla="*/ 4 h 57"/>
                  <a:gd name="T12" fmla="*/ 41 w 59"/>
                  <a:gd name="T13" fmla="*/ 5 h 57"/>
                  <a:gd name="T14" fmla="*/ 43 w 59"/>
                  <a:gd name="T15" fmla="*/ 2 h 57"/>
                  <a:gd name="T16" fmla="*/ 50 w 59"/>
                  <a:gd name="T17" fmla="*/ 0 h 57"/>
                  <a:gd name="T18" fmla="*/ 59 w 59"/>
                  <a:gd name="T19" fmla="*/ 2 h 57"/>
                  <a:gd name="T20" fmla="*/ 59 w 59"/>
                  <a:gd name="T21" fmla="*/ 5 h 57"/>
                  <a:gd name="T22" fmla="*/ 59 w 59"/>
                  <a:gd name="T23" fmla="*/ 11 h 57"/>
                  <a:gd name="T24" fmla="*/ 57 w 59"/>
                  <a:gd name="T25" fmla="*/ 14 h 57"/>
                  <a:gd name="T26" fmla="*/ 45 w 59"/>
                  <a:gd name="T27" fmla="*/ 18 h 57"/>
                  <a:gd name="T28" fmla="*/ 40 w 59"/>
                  <a:gd name="T29" fmla="*/ 18 h 57"/>
                  <a:gd name="T30" fmla="*/ 40 w 59"/>
                  <a:gd name="T31" fmla="*/ 20 h 57"/>
                  <a:gd name="T32" fmla="*/ 38 w 59"/>
                  <a:gd name="T33" fmla="*/ 20 h 57"/>
                  <a:gd name="T34" fmla="*/ 40 w 59"/>
                  <a:gd name="T35" fmla="*/ 23 h 57"/>
                  <a:gd name="T36" fmla="*/ 38 w 59"/>
                  <a:gd name="T37" fmla="*/ 23 h 57"/>
                  <a:gd name="T38" fmla="*/ 31 w 59"/>
                  <a:gd name="T39" fmla="*/ 23 h 57"/>
                  <a:gd name="T40" fmla="*/ 32 w 59"/>
                  <a:gd name="T41" fmla="*/ 25 h 57"/>
                  <a:gd name="T42" fmla="*/ 32 w 59"/>
                  <a:gd name="T43" fmla="*/ 29 h 57"/>
                  <a:gd name="T44" fmla="*/ 34 w 59"/>
                  <a:gd name="T45" fmla="*/ 25 h 57"/>
                  <a:gd name="T46" fmla="*/ 34 w 59"/>
                  <a:gd name="T47" fmla="*/ 29 h 57"/>
                  <a:gd name="T48" fmla="*/ 32 w 59"/>
                  <a:gd name="T49" fmla="*/ 30 h 57"/>
                  <a:gd name="T50" fmla="*/ 36 w 59"/>
                  <a:gd name="T51" fmla="*/ 27 h 57"/>
                  <a:gd name="T52" fmla="*/ 38 w 59"/>
                  <a:gd name="T53" fmla="*/ 27 h 57"/>
                  <a:gd name="T54" fmla="*/ 38 w 59"/>
                  <a:gd name="T55" fmla="*/ 30 h 57"/>
                  <a:gd name="T56" fmla="*/ 40 w 59"/>
                  <a:gd name="T57" fmla="*/ 29 h 57"/>
                  <a:gd name="T58" fmla="*/ 40 w 59"/>
                  <a:gd name="T59" fmla="*/ 25 h 57"/>
                  <a:gd name="T60" fmla="*/ 41 w 59"/>
                  <a:gd name="T61" fmla="*/ 23 h 57"/>
                  <a:gd name="T62" fmla="*/ 43 w 59"/>
                  <a:gd name="T63" fmla="*/ 27 h 57"/>
                  <a:gd name="T64" fmla="*/ 47 w 59"/>
                  <a:gd name="T65" fmla="*/ 27 h 57"/>
                  <a:gd name="T66" fmla="*/ 52 w 59"/>
                  <a:gd name="T67" fmla="*/ 25 h 57"/>
                  <a:gd name="T68" fmla="*/ 52 w 59"/>
                  <a:gd name="T69" fmla="*/ 45 h 57"/>
                  <a:gd name="T70" fmla="*/ 48 w 59"/>
                  <a:gd name="T71" fmla="*/ 48 h 57"/>
                  <a:gd name="T72" fmla="*/ 38 w 59"/>
                  <a:gd name="T73" fmla="*/ 52 h 57"/>
                  <a:gd name="T74" fmla="*/ 34 w 59"/>
                  <a:gd name="T75" fmla="*/ 50 h 57"/>
                  <a:gd name="T76" fmla="*/ 23 w 59"/>
                  <a:gd name="T77" fmla="*/ 57 h 57"/>
                  <a:gd name="T78" fmla="*/ 20 w 59"/>
                  <a:gd name="T79" fmla="*/ 57 h 57"/>
                  <a:gd name="T80" fmla="*/ 16 w 59"/>
                  <a:gd name="T81" fmla="*/ 55 h 57"/>
                  <a:gd name="T82" fmla="*/ 15 w 59"/>
                  <a:gd name="T83" fmla="*/ 52 h 57"/>
                  <a:gd name="T84" fmla="*/ 13 w 59"/>
                  <a:gd name="T85" fmla="*/ 50 h 57"/>
                  <a:gd name="T86" fmla="*/ 6 w 59"/>
                  <a:gd name="T87" fmla="*/ 46 h 57"/>
                  <a:gd name="T88" fmla="*/ 2 w 59"/>
                  <a:gd name="T89" fmla="*/ 43 h 57"/>
                  <a:gd name="T90" fmla="*/ 2 w 59"/>
                  <a:gd name="T91" fmla="*/ 39 h 57"/>
                  <a:gd name="T92" fmla="*/ 4 w 59"/>
                  <a:gd name="T93" fmla="*/ 37 h 57"/>
                  <a:gd name="T94" fmla="*/ 0 w 59"/>
                  <a:gd name="T95" fmla="*/ 25 h 57"/>
                  <a:gd name="T96" fmla="*/ 2 w 59"/>
                  <a:gd name="T97" fmla="*/ 18 h 57"/>
                  <a:gd name="T98" fmla="*/ 2 w 59"/>
                  <a:gd name="T99" fmla="*/ 16 h 57"/>
                  <a:gd name="T100" fmla="*/ 11 w 59"/>
                  <a:gd name="T101" fmla="*/ 14 h 57"/>
                  <a:gd name="T102" fmla="*/ 11 w 59"/>
                  <a:gd name="T103" fmla="*/ 12 h 57"/>
                  <a:gd name="T104" fmla="*/ 15 w 59"/>
                  <a:gd name="T105" fmla="*/ 11 h 57"/>
                  <a:gd name="T106" fmla="*/ 16 w 59"/>
                  <a:gd name="T107" fmla="*/ 11 h 57"/>
                  <a:gd name="T108" fmla="*/ 18 w 59"/>
                  <a:gd name="T109" fmla="*/ 7 h 57"/>
                  <a:gd name="T110" fmla="*/ 22 w 59"/>
                  <a:gd name="T111" fmla="*/ 7 h 57"/>
                  <a:gd name="T112" fmla="*/ 23 w 59"/>
                  <a:gd name="T113" fmla="*/ 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 h="57">
                    <a:moveTo>
                      <a:pt x="23" y="5"/>
                    </a:moveTo>
                    <a:lnTo>
                      <a:pt x="25" y="7"/>
                    </a:lnTo>
                    <a:lnTo>
                      <a:pt x="25" y="5"/>
                    </a:lnTo>
                    <a:lnTo>
                      <a:pt x="29" y="4"/>
                    </a:lnTo>
                    <a:lnTo>
                      <a:pt x="38" y="2"/>
                    </a:lnTo>
                    <a:lnTo>
                      <a:pt x="38" y="4"/>
                    </a:lnTo>
                    <a:lnTo>
                      <a:pt x="41" y="5"/>
                    </a:lnTo>
                    <a:lnTo>
                      <a:pt x="43" y="2"/>
                    </a:lnTo>
                    <a:lnTo>
                      <a:pt x="50" y="0"/>
                    </a:lnTo>
                    <a:lnTo>
                      <a:pt x="59" y="2"/>
                    </a:lnTo>
                    <a:lnTo>
                      <a:pt x="59" y="5"/>
                    </a:lnTo>
                    <a:lnTo>
                      <a:pt x="59" y="11"/>
                    </a:lnTo>
                    <a:lnTo>
                      <a:pt x="57" y="14"/>
                    </a:lnTo>
                    <a:lnTo>
                      <a:pt x="45" y="18"/>
                    </a:lnTo>
                    <a:lnTo>
                      <a:pt x="40" y="18"/>
                    </a:lnTo>
                    <a:lnTo>
                      <a:pt x="40" y="20"/>
                    </a:lnTo>
                    <a:lnTo>
                      <a:pt x="38" y="20"/>
                    </a:lnTo>
                    <a:lnTo>
                      <a:pt x="40" y="23"/>
                    </a:lnTo>
                    <a:lnTo>
                      <a:pt x="38" y="23"/>
                    </a:lnTo>
                    <a:lnTo>
                      <a:pt x="31" y="23"/>
                    </a:lnTo>
                    <a:lnTo>
                      <a:pt x="32" y="25"/>
                    </a:lnTo>
                    <a:lnTo>
                      <a:pt x="32" y="29"/>
                    </a:lnTo>
                    <a:lnTo>
                      <a:pt x="34" y="25"/>
                    </a:lnTo>
                    <a:lnTo>
                      <a:pt x="34" y="29"/>
                    </a:lnTo>
                    <a:lnTo>
                      <a:pt x="32" y="30"/>
                    </a:lnTo>
                    <a:lnTo>
                      <a:pt x="36" y="27"/>
                    </a:lnTo>
                    <a:lnTo>
                      <a:pt x="38" y="27"/>
                    </a:lnTo>
                    <a:lnTo>
                      <a:pt x="38" y="30"/>
                    </a:lnTo>
                    <a:lnTo>
                      <a:pt x="40" y="29"/>
                    </a:lnTo>
                    <a:lnTo>
                      <a:pt x="40" y="25"/>
                    </a:lnTo>
                    <a:lnTo>
                      <a:pt x="41" y="23"/>
                    </a:lnTo>
                    <a:lnTo>
                      <a:pt x="43" y="27"/>
                    </a:lnTo>
                    <a:lnTo>
                      <a:pt x="47" y="27"/>
                    </a:lnTo>
                    <a:lnTo>
                      <a:pt x="52" y="25"/>
                    </a:lnTo>
                    <a:lnTo>
                      <a:pt x="52" y="45"/>
                    </a:lnTo>
                    <a:lnTo>
                      <a:pt x="48" y="48"/>
                    </a:lnTo>
                    <a:lnTo>
                      <a:pt x="38" y="52"/>
                    </a:lnTo>
                    <a:lnTo>
                      <a:pt x="34" y="50"/>
                    </a:lnTo>
                    <a:lnTo>
                      <a:pt x="23" y="57"/>
                    </a:lnTo>
                    <a:lnTo>
                      <a:pt x="20" y="57"/>
                    </a:lnTo>
                    <a:lnTo>
                      <a:pt x="16" y="55"/>
                    </a:lnTo>
                    <a:lnTo>
                      <a:pt x="15" y="52"/>
                    </a:lnTo>
                    <a:lnTo>
                      <a:pt x="13" y="50"/>
                    </a:lnTo>
                    <a:lnTo>
                      <a:pt x="6" y="46"/>
                    </a:lnTo>
                    <a:lnTo>
                      <a:pt x="2" y="43"/>
                    </a:lnTo>
                    <a:lnTo>
                      <a:pt x="2" y="39"/>
                    </a:lnTo>
                    <a:lnTo>
                      <a:pt x="4" y="37"/>
                    </a:lnTo>
                    <a:lnTo>
                      <a:pt x="0" y="25"/>
                    </a:lnTo>
                    <a:lnTo>
                      <a:pt x="2" y="18"/>
                    </a:lnTo>
                    <a:lnTo>
                      <a:pt x="2" y="16"/>
                    </a:lnTo>
                    <a:lnTo>
                      <a:pt x="11" y="14"/>
                    </a:lnTo>
                    <a:lnTo>
                      <a:pt x="11" y="12"/>
                    </a:lnTo>
                    <a:lnTo>
                      <a:pt x="15" y="11"/>
                    </a:lnTo>
                    <a:lnTo>
                      <a:pt x="16" y="11"/>
                    </a:lnTo>
                    <a:lnTo>
                      <a:pt x="18" y="7"/>
                    </a:lnTo>
                    <a:lnTo>
                      <a:pt x="22" y="7"/>
                    </a:lnTo>
                    <a:lnTo>
                      <a:pt x="23"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42" name="Freeform 1790"/>
              <p:cNvSpPr>
                <a:spLocks/>
              </p:cNvSpPr>
              <p:nvPr/>
            </p:nvSpPr>
            <p:spPr bwMode="auto">
              <a:xfrm>
                <a:off x="880" y="645"/>
                <a:ext cx="59" cy="57"/>
              </a:xfrm>
              <a:custGeom>
                <a:avLst/>
                <a:gdLst>
                  <a:gd name="T0" fmla="*/ 23 w 59"/>
                  <a:gd name="T1" fmla="*/ 5 h 57"/>
                  <a:gd name="T2" fmla="*/ 25 w 59"/>
                  <a:gd name="T3" fmla="*/ 7 h 57"/>
                  <a:gd name="T4" fmla="*/ 25 w 59"/>
                  <a:gd name="T5" fmla="*/ 5 h 57"/>
                  <a:gd name="T6" fmla="*/ 29 w 59"/>
                  <a:gd name="T7" fmla="*/ 4 h 57"/>
                  <a:gd name="T8" fmla="*/ 38 w 59"/>
                  <a:gd name="T9" fmla="*/ 2 h 57"/>
                  <a:gd name="T10" fmla="*/ 38 w 59"/>
                  <a:gd name="T11" fmla="*/ 4 h 57"/>
                  <a:gd name="T12" fmla="*/ 41 w 59"/>
                  <a:gd name="T13" fmla="*/ 5 h 57"/>
                  <a:gd name="T14" fmla="*/ 43 w 59"/>
                  <a:gd name="T15" fmla="*/ 2 h 57"/>
                  <a:gd name="T16" fmla="*/ 50 w 59"/>
                  <a:gd name="T17" fmla="*/ 0 h 57"/>
                  <a:gd name="T18" fmla="*/ 59 w 59"/>
                  <a:gd name="T19" fmla="*/ 2 h 57"/>
                  <a:gd name="T20" fmla="*/ 59 w 59"/>
                  <a:gd name="T21" fmla="*/ 5 h 57"/>
                  <a:gd name="T22" fmla="*/ 59 w 59"/>
                  <a:gd name="T23" fmla="*/ 11 h 57"/>
                  <a:gd name="T24" fmla="*/ 57 w 59"/>
                  <a:gd name="T25" fmla="*/ 14 h 57"/>
                  <a:gd name="T26" fmla="*/ 45 w 59"/>
                  <a:gd name="T27" fmla="*/ 18 h 57"/>
                  <a:gd name="T28" fmla="*/ 40 w 59"/>
                  <a:gd name="T29" fmla="*/ 18 h 57"/>
                  <a:gd name="T30" fmla="*/ 40 w 59"/>
                  <a:gd name="T31" fmla="*/ 20 h 57"/>
                  <a:gd name="T32" fmla="*/ 38 w 59"/>
                  <a:gd name="T33" fmla="*/ 20 h 57"/>
                  <a:gd name="T34" fmla="*/ 40 w 59"/>
                  <a:gd name="T35" fmla="*/ 23 h 57"/>
                  <a:gd name="T36" fmla="*/ 38 w 59"/>
                  <a:gd name="T37" fmla="*/ 23 h 57"/>
                  <a:gd name="T38" fmla="*/ 31 w 59"/>
                  <a:gd name="T39" fmla="*/ 23 h 57"/>
                  <a:gd name="T40" fmla="*/ 32 w 59"/>
                  <a:gd name="T41" fmla="*/ 25 h 57"/>
                  <a:gd name="T42" fmla="*/ 32 w 59"/>
                  <a:gd name="T43" fmla="*/ 29 h 57"/>
                  <a:gd name="T44" fmla="*/ 34 w 59"/>
                  <a:gd name="T45" fmla="*/ 25 h 57"/>
                  <a:gd name="T46" fmla="*/ 34 w 59"/>
                  <a:gd name="T47" fmla="*/ 29 h 57"/>
                  <a:gd name="T48" fmla="*/ 32 w 59"/>
                  <a:gd name="T49" fmla="*/ 30 h 57"/>
                  <a:gd name="T50" fmla="*/ 36 w 59"/>
                  <a:gd name="T51" fmla="*/ 27 h 57"/>
                  <a:gd name="T52" fmla="*/ 38 w 59"/>
                  <a:gd name="T53" fmla="*/ 27 h 57"/>
                  <a:gd name="T54" fmla="*/ 38 w 59"/>
                  <a:gd name="T55" fmla="*/ 30 h 57"/>
                  <a:gd name="T56" fmla="*/ 40 w 59"/>
                  <a:gd name="T57" fmla="*/ 29 h 57"/>
                  <a:gd name="T58" fmla="*/ 40 w 59"/>
                  <a:gd name="T59" fmla="*/ 25 h 57"/>
                  <a:gd name="T60" fmla="*/ 41 w 59"/>
                  <a:gd name="T61" fmla="*/ 23 h 57"/>
                  <a:gd name="T62" fmla="*/ 43 w 59"/>
                  <a:gd name="T63" fmla="*/ 27 h 57"/>
                  <a:gd name="T64" fmla="*/ 47 w 59"/>
                  <a:gd name="T65" fmla="*/ 27 h 57"/>
                  <a:gd name="T66" fmla="*/ 52 w 59"/>
                  <a:gd name="T67" fmla="*/ 25 h 57"/>
                  <a:gd name="T68" fmla="*/ 52 w 59"/>
                  <a:gd name="T69" fmla="*/ 45 h 57"/>
                  <a:gd name="T70" fmla="*/ 48 w 59"/>
                  <a:gd name="T71" fmla="*/ 48 h 57"/>
                  <a:gd name="T72" fmla="*/ 38 w 59"/>
                  <a:gd name="T73" fmla="*/ 52 h 57"/>
                  <a:gd name="T74" fmla="*/ 34 w 59"/>
                  <a:gd name="T75" fmla="*/ 50 h 57"/>
                  <a:gd name="T76" fmla="*/ 23 w 59"/>
                  <a:gd name="T77" fmla="*/ 57 h 57"/>
                  <a:gd name="T78" fmla="*/ 20 w 59"/>
                  <a:gd name="T79" fmla="*/ 57 h 57"/>
                  <a:gd name="T80" fmla="*/ 16 w 59"/>
                  <a:gd name="T81" fmla="*/ 55 h 57"/>
                  <a:gd name="T82" fmla="*/ 15 w 59"/>
                  <a:gd name="T83" fmla="*/ 52 h 57"/>
                  <a:gd name="T84" fmla="*/ 13 w 59"/>
                  <a:gd name="T85" fmla="*/ 50 h 57"/>
                  <a:gd name="T86" fmla="*/ 6 w 59"/>
                  <a:gd name="T87" fmla="*/ 46 h 57"/>
                  <a:gd name="T88" fmla="*/ 2 w 59"/>
                  <a:gd name="T89" fmla="*/ 43 h 57"/>
                  <a:gd name="T90" fmla="*/ 2 w 59"/>
                  <a:gd name="T91" fmla="*/ 39 h 57"/>
                  <a:gd name="T92" fmla="*/ 4 w 59"/>
                  <a:gd name="T93" fmla="*/ 37 h 57"/>
                  <a:gd name="T94" fmla="*/ 0 w 59"/>
                  <a:gd name="T95" fmla="*/ 25 h 57"/>
                  <a:gd name="T96" fmla="*/ 2 w 59"/>
                  <a:gd name="T97" fmla="*/ 18 h 57"/>
                  <a:gd name="T98" fmla="*/ 2 w 59"/>
                  <a:gd name="T99" fmla="*/ 16 h 57"/>
                  <a:gd name="T100" fmla="*/ 11 w 59"/>
                  <a:gd name="T101" fmla="*/ 14 h 57"/>
                  <a:gd name="T102" fmla="*/ 11 w 59"/>
                  <a:gd name="T103" fmla="*/ 12 h 57"/>
                  <a:gd name="T104" fmla="*/ 15 w 59"/>
                  <a:gd name="T105" fmla="*/ 11 h 57"/>
                  <a:gd name="T106" fmla="*/ 16 w 59"/>
                  <a:gd name="T107" fmla="*/ 11 h 57"/>
                  <a:gd name="T108" fmla="*/ 18 w 59"/>
                  <a:gd name="T109" fmla="*/ 7 h 57"/>
                  <a:gd name="T110" fmla="*/ 22 w 59"/>
                  <a:gd name="T111" fmla="*/ 7 h 57"/>
                  <a:gd name="T112" fmla="*/ 23 w 59"/>
                  <a:gd name="T113" fmla="*/ 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 h="57">
                    <a:moveTo>
                      <a:pt x="23" y="5"/>
                    </a:moveTo>
                    <a:lnTo>
                      <a:pt x="25" y="7"/>
                    </a:lnTo>
                    <a:lnTo>
                      <a:pt x="25" y="5"/>
                    </a:lnTo>
                    <a:lnTo>
                      <a:pt x="29" y="4"/>
                    </a:lnTo>
                    <a:lnTo>
                      <a:pt x="38" y="2"/>
                    </a:lnTo>
                    <a:lnTo>
                      <a:pt x="38" y="4"/>
                    </a:lnTo>
                    <a:lnTo>
                      <a:pt x="41" y="5"/>
                    </a:lnTo>
                    <a:lnTo>
                      <a:pt x="43" y="2"/>
                    </a:lnTo>
                    <a:lnTo>
                      <a:pt x="50" y="0"/>
                    </a:lnTo>
                    <a:lnTo>
                      <a:pt x="59" y="2"/>
                    </a:lnTo>
                    <a:lnTo>
                      <a:pt x="59" y="5"/>
                    </a:lnTo>
                    <a:lnTo>
                      <a:pt x="59" y="11"/>
                    </a:lnTo>
                    <a:lnTo>
                      <a:pt x="57" y="14"/>
                    </a:lnTo>
                    <a:lnTo>
                      <a:pt x="45" y="18"/>
                    </a:lnTo>
                    <a:lnTo>
                      <a:pt x="40" y="18"/>
                    </a:lnTo>
                    <a:lnTo>
                      <a:pt x="40" y="20"/>
                    </a:lnTo>
                    <a:lnTo>
                      <a:pt x="38" y="20"/>
                    </a:lnTo>
                    <a:lnTo>
                      <a:pt x="40" y="23"/>
                    </a:lnTo>
                    <a:lnTo>
                      <a:pt x="38" y="23"/>
                    </a:lnTo>
                    <a:lnTo>
                      <a:pt x="31" y="23"/>
                    </a:lnTo>
                    <a:lnTo>
                      <a:pt x="32" y="25"/>
                    </a:lnTo>
                    <a:lnTo>
                      <a:pt x="32" y="29"/>
                    </a:lnTo>
                    <a:lnTo>
                      <a:pt x="34" y="25"/>
                    </a:lnTo>
                    <a:lnTo>
                      <a:pt x="34" y="29"/>
                    </a:lnTo>
                    <a:lnTo>
                      <a:pt x="32" y="30"/>
                    </a:lnTo>
                    <a:lnTo>
                      <a:pt x="36" y="27"/>
                    </a:lnTo>
                    <a:lnTo>
                      <a:pt x="38" y="27"/>
                    </a:lnTo>
                    <a:lnTo>
                      <a:pt x="38" y="30"/>
                    </a:lnTo>
                    <a:lnTo>
                      <a:pt x="40" y="29"/>
                    </a:lnTo>
                    <a:lnTo>
                      <a:pt x="40" y="25"/>
                    </a:lnTo>
                    <a:lnTo>
                      <a:pt x="41" y="23"/>
                    </a:lnTo>
                    <a:lnTo>
                      <a:pt x="43" y="27"/>
                    </a:lnTo>
                    <a:lnTo>
                      <a:pt x="47" y="27"/>
                    </a:lnTo>
                    <a:lnTo>
                      <a:pt x="52" y="25"/>
                    </a:lnTo>
                    <a:lnTo>
                      <a:pt x="52" y="45"/>
                    </a:lnTo>
                    <a:lnTo>
                      <a:pt x="48" y="48"/>
                    </a:lnTo>
                    <a:lnTo>
                      <a:pt x="38" y="52"/>
                    </a:lnTo>
                    <a:lnTo>
                      <a:pt x="34" y="50"/>
                    </a:lnTo>
                    <a:lnTo>
                      <a:pt x="23" y="57"/>
                    </a:lnTo>
                    <a:lnTo>
                      <a:pt x="20" y="57"/>
                    </a:lnTo>
                    <a:lnTo>
                      <a:pt x="16" y="55"/>
                    </a:lnTo>
                    <a:lnTo>
                      <a:pt x="15" y="52"/>
                    </a:lnTo>
                    <a:lnTo>
                      <a:pt x="13" y="50"/>
                    </a:lnTo>
                    <a:lnTo>
                      <a:pt x="6" y="46"/>
                    </a:lnTo>
                    <a:lnTo>
                      <a:pt x="2" y="43"/>
                    </a:lnTo>
                    <a:lnTo>
                      <a:pt x="2" y="39"/>
                    </a:lnTo>
                    <a:lnTo>
                      <a:pt x="4" y="37"/>
                    </a:lnTo>
                    <a:lnTo>
                      <a:pt x="0" y="25"/>
                    </a:lnTo>
                    <a:lnTo>
                      <a:pt x="2" y="18"/>
                    </a:lnTo>
                    <a:lnTo>
                      <a:pt x="2" y="16"/>
                    </a:lnTo>
                    <a:lnTo>
                      <a:pt x="11" y="14"/>
                    </a:lnTo>
                    <a:lnTo>
                      <a:pt x="11" y="12"/>
                    </a:lnTo>
                    <a:lnTo>
                      <a:pt x="15" y="11"/>
                    </a:lnTo>
                    <a:lnTo>
                      <a:pt x="16" y="11"/>
                    </a:lnTo>
                    <a:lnTo>
                      <a:pt x="18" y="7"/>
                    </a:lnTo>
                    <a:lnTo>
                      <a:pt x="22" y="7"/>
                    </a:lnTo>
                    <a:lnTo>
                      <a:pt x="23"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43" name="Freeform 1791"/>
              <p:cNvSpPr>
                <a:spLocks/>
              </p:cNvSpPr>
              <p:nvPr/>
            </p:nvSpPr>
            <p:spPr bwMode="auto">
              <a:xfrm>
                <a:off x="853" y="650"/>
                <a:ext cx="24" cy="27"/>
              </a:xfrm>
              <a:custGeom>
                <a:avLst/>
                <a:gdLst>
                  <a:gd name="T0" fmla="*/ 2 w 24"/>
                  <a:gd name="T1" fmla="*/ 7 h 27"/>
                  <a:gd name="T2" fmla="*/ 4 w 24"/>
                  <a:gd name="T3" fmla="*/ 7 h 27"/>
                  <a:gd name="T4" fmla="*/ 6 w 24"/>
                  <a:gd name="T5" fmla="*/ 7 h 27"/>
                  <a:gd name="T6" fmla="*/ 6 w 24"/>
                  <a:gd name="T7" fmla="*/ 6 h 27"/>
                  <a:gd name="T8" fmla="*/ 6 w 24"/>
                  <a:gd name="T9" fmla="*/ 2 h 27"/>
                  <a:gd name="T10" fmla="*/ 11 w 24"/>
                  <a:gd name="T11" fmla="*/ 0 h 27"/>
                  <a:gd name="T12" fmla="*/ 11 w 24"/>
                  <a:gd name="T13" fmla="*/ 2 h 27"/>
                  <a:gd name="T14" fmla="*/ 11 w 24"/>
                  <a:gd name="T15" fmla="*/ 4 h 27"/>
                  <a:gd name="T16" fmla="*/ 13 w 24"/>
                  <a:gd name="T17" fmla="*/ 6 h 27"/>
                  <a:gd name="T18" fmla="*/ 22 w 24"/>
                  <a:gd name="T19" fmla="*/ 15 h 27"/>
                  <a:gd name="T20" fmla="*/ 24 w 24"/>
                  <a:gd name="T21" fmla="*/ 20 h 27"/>
                  <a:gd name="T22" fmla="*/ 22 w 24"/>
                  <a:gd name="T23" fmla="*/ 24 h 27"/>
                  <a:gd name="T24" fmla="*/ 15 w 24"/>
                  <a:gd name="T25" fmla="*/ 27 h 27"/>
                  <a:gd name="T26" fmla="*/ 9 w 24"/>
                  <a:gd name="T27" fmla="*/ 22 h 27"/>
                  <a:gd name="T28" fmla="*/ 6 w 24"/>
                  <a:gd name="T29" fmla="*/ 15 h 27"/>
                  <a:gd name="T30" fmla="*/ 4 w 24"/>
                  <a:gd name="T31" fmla="*/ 15 h 27"/>
                  <a:gd name="T32" fmla="*/ 2 w 24"/>
                  <a:gd name="T33" fmla="*/ 11 h 27"/>
                  <a:gd name="T34" fmla="*/ 0 w 24"/>
                  <a:gd name="T35" fmla="*/ 9 h 27"/>
                  <a:gd name="T36" fmla="*/ 2 w 24"/>
                  <a:gd name="T3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27">
                    <a:moveTo>
                      <a:pt x="2" y="7"/>
                    </a:moveTo>
                    <a:lnTo>
                      <a:pt x="4" y="7"/>
                    </a:lnTo>
                    <a:lnTo>
                      <a:pt x="6" y="7"/>
                    </a:lnTo>
                    <a:lnTo>
                      <a:pt x="6" y="6"/>
                    </a:lnTo>
                    <a:lnTo>
                      <a:pt x="6" y="2"/>
                    </a:lnTo>
                    <a:lnTo>
                      <a:pt x="11" y="0"/>
                    </a:lnTo>
                    <a:lnTo>
                      <a:pt x="11" y="2"/>
                    </a:lnTo>
                    <a:lnTo>
                      <a:pt x="11" y="4"/>
                    </a:lnTo>
                    <a:lnTo>
                      <a:pt x="13" y="6"/>
                    </a:lnTo>
                    <a:lnTo>
                      <a:pt x="22" y="15"/>
                    </a:lnTo>
                    <a:lnTo>
                      <a:pt x="24" y="20"/>
                    </a:lnTo>
                    <a:lnTo>
                      <a:pt x="22" y="24"/>
                    </a:lnTo>
                    <a:lnTo>
                      <a:pt x="15" y="27"/>
                    </a:lnTo>
                    <a:lnTo>
                      <a:pt x="9" y="22"/>
                    </a:lnTo>
                    <a:lnTo>
                      <a:pt x="6" y="15"/>
                    </a:lnTo>
                    <a:lnTo>
                      <a:pt x="4" y="15"/>
                    </a:lnTo>
                    <a:lnTo>
                      <a:pt x="2" y="11"/>
                    </a:lnTo>
                    <a:lnTo>
                      <a:pt x="0" y="9"/>
                    </a:lnTo>
                    <a:lnTo>
                      <a:pt x="2"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44" name="Freeform 1792"/>
              <p:cNvSpPr>
                <a:spLocks/>
              </p:cNvSpPr>
              <p:nvPr/>
            </p:nvSpPr>
            <p:spPr bwMode="auto">
              <a:xfrm>
                <a:off x="853" y="650"/>
                <a:ext cx="24" cy="27"/>
              </a:xfrm>
              <a:custGeom>
                <a:avLst/>
                <a:gdLst>
                  <a:gd name="T0" fmla="*/ 2 w 24"/>
                  <a:gd name="T1" fmla="*/ 7 h 27"/>
                  <a:gd name="T2" fmla="*/ 4 w 24"/>
                  <a:gd name="T3" fmla="*/ 7 h 27"/>
                  <a:gd name="T4" fmla="*/ 6 w 24"/>
                  <a:gd name="T5" fmla="*/ 7 h 27"/>
                  <a:gd name="T6" fmla="*/ 6 w 24"/>
                  <a:gd name="T7" fmla="*/ 6 h 27"/>
                  <a:gd name="T8" fmla="*/ 6 w 24"/>
                  <a:gd name="T9" fmla="*/ 2 h 27"/>
                  <a:gd name="T10" fmla="*/ 11 w 24"/>
                  <a:gd name="T11" fmla="*/ 0 h 27"/>
                  <a:gd name="T12" fmla="*/ 11 w 24"/>
                  <a:gd name="T13" fmla="*/ 2 h 27"/>
                  <a:gd name="T14" fmla="*/ 11 w 24"/>
                  <a:gd name="T15" fmla="*/ 4 h 27"/>
                  <a:gd name="T16" fmla="*/ 13 w 24"/>
                  <a:gd name="T17" fmla="*/ 6 h 27"/>
                  <a:gd name="T18" fmla="*/ 22 w 24"/>
                  <a:gd name="T19" fmla="*/ 15 h 27"/>
                  <a:gd name="T20" fmla="*/ 24 w 24"/>
                  <a:gd name="T21" fmla="*/ 20 h 27"/>
                  <a:gd name="T22" fmla="*/ 22 w 24"/>
                  <a:gd name="T23" fmla="*/ 24 h 27"/>
                  <a:gd name="T24" fmla="*/ 15 w 24"/>
                  <a:gd name="T25" fmla="*/ 27 h 27"/>
                  <a:gd name="T26" fmla="*/ 9 w 24"/>
                  <a:gd name="T27" fmla="*/ 22 h 27"/>
                  <a:gd name="T28" fmla="*/ 6 w 24"/>
                  <a:gd name="T29" fmla="*/ 15 h 27"/>
                  <a:gd name="T30" fmla="*/ 4 w 24"/>
                  <a:gd name="T31" fmla="*/ 15 h 27"/>
                  <a:gd name="T32" fmla="*/ 2 w 24"/>
                  <a:gd name="T33" fmla="*/ 11 h 27"/>
                  <a:gd name="T34" fmla="*/ 0 w 24"/>
                  <a:gd name="T35" fmla="*/ 9 h 27"/>
                  <a:gd name="T36" fmla="*/ 2 w 24"/>
                  <a:gd name="T37"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 h="27">
                    <a:moveTo>
                      <a:pt x="2" y="7"/>
                    </a:moveTo>
                    <a:lnTo>
                      <a:pt x="4" y="7"/>
                    </a:lnTo>
                    <a:lnTo>
                      <a:pt x="6" y="7"/>
                    </a:lnTo>
                    <a:lnTo>
                      <a:pt x="6" y="6"/>
                    </a:lnTo>
                    <a:lnTo>
                      <a:pt x="6" y="2"/>
                    </a:lnTo>
                    <a:lnTo>
                      <a:pt x="11" y="0"/>
                    </a:lnTo>
                    <a:lnTo>
                      <a:pt x="11" y="2"/>
                    </a:lnTo>
                    <a:lnTo>
                      <a:pt x="11" y="4"/>
                    </a:lnTo>
                    <a:lnTo>
                      <a:pt x="13" y="6"/>
                    </a:lnTo>
                    <a:lnTo>
                      <a:pt x="22" y="15"/>
                    </a:lnTo>
                    <a:lnTo>
                      <a:pt x="24" y="20"/>
                    </a:lnTo>
                    <a:lnTo>
                      <a:pt x="22" y="24"/>
                    </a:lnTo>
                    <a:lnTo>
                      <a:pt x="15" y="27"/>
                    </a:lnTo>
                    <a:lnTo>
                      <a:pt x="9" y="22"/>
                    </a:lnTo>
                    <a:lnTo>
                      <a:pt x="6" y="15"/>
                    </a:lnTo>
                    <a:lnTo>
                      <a:pt x="4" y="15"/>
                    </a:lnTo>
                    <a:lnTo>
                      <a:pt x="2" y="11"/>
                    </a:lnTo>
                    <a:lnTo>
                      <a:pt x="0" y="9"/>
                    </a:lnTo>
                    <a:lnTo>
                      <a:pt x="2"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45" name="Freeform 1793"/>
              <p:cNvSpPr>
                <a:spLocks/>
              </p:cNvSpPr>
              <p:nvPr/>
            </p:nvSpPr>
            <p:spPr bwMode="auto">
              <a:xfrm>
                <a:off x="880" y="595"/>
                <a:ext cx="65" cy="37"/>
              </a:xfrm>
              <a:custGeom>
                <a:avLst/>
                <a:gdLst>
                  <a:gd name="T0" fmla="*/ 54 w 65"/>
                  <a:gd name="T1" fmla="*/ 9 h 37"/>
                  <a:gd name="T2" fmla="*/ 56 w 65"/>
                  <a:gd name="T3" fmla="*/ 9 h 37"/>
                  <a:gd name="T4" fmla="*/ 57 w 65"/>
                  <a:gd name="T5" fmla="*/ 12 h 37"/>
                  <a:gd name="T6" fmla="*/ 61 w 65"/>
                  <a:gd name="T7" fmla="*/ 12 h 37"/>
                  <a:gd name="T8" fmla="*/ 61 w 65"/>
                  <a:gd name="T9" fmla="*/ 16 h 37"/>
                  <a:gd name="T10" fmla="*/ 65 w 65"/>
                  <a:gd name="T11" fmla="*/ 18 h 37"/>
                  <a:gd name="T12" fmla="*/ 65 w 65"/>
                  <a:gd name="T13" fmla="*/ 34 h 37"/>
                  <a:gd name="T14" fmla="*/ 61 w 65"/>
                  <a:gd name="T15" fmla="*/ 34 h 37"/>
                  <a:gd name="T16" fmla="*/ 57 w 65"/>
                  <a:gd name="T17" fmla="*/ 36 h 37"/>
                  <a:gd name="T18" fmla="*/ 56 w 65"/>
                  <a:gd name="T19" fmla="*/ 34 h 37"/>
                  <a:gd name="T20" fmla="*/ 47 w 65"/>
                  <a:gd name="T21" fmla="*/ 37 h 37"/>
                  <a:gd name="T22" fmla="*/ 43 w 65"/>
                  <a:gd name="T23" fmla="*/ 36 h 37"/>
                  <a:gd name="T24" fmla="*/ 40 w 65"/>
                  <a:gd name="T25" fmla="*/ 30 h 37"/>
                  <a:gd name="T26" fmla="*/ 36 w 65"/>
                  <a:gd name="T27" fmla="*/ 29 h 37"/>
                  <a:gd name="T28" fmla="*/ 34 w 65"/>
                  <a:gd name="T29" fmla="*/ 27 h 37"/>
                  <a:gd name="T30" fmla="*/ 32 w 65"/>
                  <a:gd name="T31" fmla="*/ 27 h 37"/>
                  <a:gd name="T32" fmla="*/ 32 w 65"/>
                  <a:gd name="T33" fmla="*/ 25 h 37"/>
                  <a:gd name="T34" fmla="*/ 32 w 65"/>
                  <a:gd name="T35" fmla="*/ 30 h 37"/>
                  <a:gd name="T36" fmla="*/ 32 w 65"/>
                  <a:gd name="T37" fmla="*/ 34 h 37"/>
                  <a:gd name="T38" fmla="*/ 31 w 65"/>
                  <a:gd name="T39" fmla="*/ 34 h 37"/>
                  <a:gd name="T40" fmla="*/ 32 w 65"/>
                  <a:gd name="T41" fmla="*/ 37 h 37"/>
                  <a:gd name="T42" fmla="*/ 25 w 65"/>
                  <a:gd name="T43" fmla="*/ 37 h 37"/>
                  <a:gd name="T44" fmla="*/ 23 w 65"/>
                  <a:gd name="T45" fmla="*/ 32 h 37"/>
                  <a:gd name="T46" fmla="*/ 18 w 65"/>
                  <a:gd name="T47" fmla="*/ 30 h 37"/>
                  <a:gd name="T48" fmla="*/ 18 w 65"/>
                  <a:gd name="T49" fmla="*/ 29 h 37"/>
                  <a:gd name="T50" fmla="*/ 15 w 65"/>
                  <a:gd name="T51" fmla="*/ 29 h 37"/>
                  <a:gd name="T52" fmla="*/ 16 w 65"/>
                  <a:gd name="T53" fmla="*/ 30 h 37"/>
                  <a:gd name="T54" fmla="*/ 16 w 65"/>
                  <a:gd name="T55" fmla="*/ 32 h 37"/>
                  <a:gd name="T56" fmla="*/ 13 w 65"/>
                  <a:gd name="T57" fmla="*/ 30 h 37"/>
                  <a:gd name="T58" fmla="*/ 9 w 65"/>
                  <a:gd name="T59" fmla="*/ 32 h 37"/>
                  <a:gd name="T60" fmla="*/ 11 w 65"/>
                  <a:gd name="T61" fmla="*/ 36 h 37"/>
                  <a:gd name="T62" fmla="*/ 9 w 65"/>
                  <a:gd name="T63" fmla="*/ 37 h 37"/>
                  <a:gd name="T64" fmla="*/ 9 w 65"/>
                  <a:gd name="T65" fmla="*/ 36 h 37"/>
                  <a:gd name="T66" fmla="*/ 6 w 65"/>
                  <a:gd name="T67" fmla="*/ 37 h 37"/>
                  <a:gd name="T68" fmla="*/ 4 w 65"/>
                  <a:gd name="T69" fmla="*/ 37 h 37"/>
                  <a:gd name="T70" fmla="*/ 2 w 65"/>
                  <a:gd name="T71" fmla="*/ 34 h 37"/>
                  <a:gd name="T72" fmla="*/ 0 w 65"/>
                  <a:gd name="T73" fmla="*/ 34 h 37"/>
                  <a:gd name="T74" fmla="*/ 4 w 65"/>
                  <a:gd name="T75" fmla="*/ 27 h 37"/>
                  <a:gd name="T76" fmla="*/ 7 w 65"/>
                  <a:gd name="T77" fmla="*/ 21 h 37"/>
                  <a:gd name="T78" fmla="*/ 9 w 65"/>
                  <a:gd name="T79" fmla="*/ 23 h 37"/>
                  <a:gd name="T80" fmla="*/ 11 w 65"/>
                  <a:gd name="T81" fmla="*/ 23 h 37"/>
                  <a:gd name="T82" fmla="*/ 11 w 65"/>
                  <a:gd name="T83" fmla="*/ 21 h 37"/>
                  <a:gd name="T84" fmla="*/ 16 w 65"/>
                  <a:gd name="T85" fmla="*/ 18 h 37"/>
                  <a:gd name="T86" fmla="*/ 31 w 65"/>
                  <a:gd name="T87" fmla="*/ 12 h 37"/>
                  <a:gd name="T88" fmla="*/ 34 w 65"/>
                  <a:gd name="T89" fmla="*/ 5 h 37"/>
                  <a:gd name="T90" fmla="*/ 36 w 65"/>
                  <a:gd name="T91" fmla="*/ 7 h 37"/>
                  <a:gd name="T92" fmla="*/ 41 w 65"/>
                  <a:gd name="T93" fmla="*/ 0 h 37"/>
                  <a:gd name="T94" fmla="*/ 47 w 65"/>
                  <a:gd name="T95" fmla="*/ 0 h 37"/>
                  <a:gd name="T96" fmla="*/ 48 w 65"/>
                  <a:gd name="T97" fmla="*/ 0 h 37"/>
                  <a:gd name="T98" fmla="*/ 48 w 65"/>
                  <a:gd name="T99" fmla="*/ 4 h 37"/>
                  <a:gd name="T100" fmla="*/ 50 w 65"/>
                  <a:gd name="T101" fmla="*/ 4 h 37"/>
                  <a:gd name="T102" fmla="*/ 50 w 65"/>
                  <a:gd name="T103" fmla="*/ 5 h 37"/>
                  <a:gd name="T104" fmla="*/ 54 w 65"/>
                  <a:gd name="T105" fmla="*/ 7 h 37"/>
                  <a:gd name="T106" fmla="*/ 54 w 65"/>
                  <a:gd name="T107"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 h="37">
                    <a:moveTo>
                      <a:pt x="54" y="9"/>
                    </a:moveTo>
                    <a:lnTo>
                      <a:pt x="56" y="9"/>
                    </a:lnTo>
                    <a:lnTo>
                      <a:pt x="57" y="12"/>
                    </a:lnTo>
                    <a:lnTo>
                      <a:pt x="61" y="12"/>
                    </a:lnTo>
                    <a:lnTo>
                      <a:pt x="61" y="16"/>
                    </a:lnTo>
                    <a:lnTo>
                      <a:pt x="65" y="18"/>
                    </a:lnTo>
                    <a:lnTo>
                      <a:pt x="65" y="34"/>
                    </a:lnTo>
                    <a:lnTo>
                      <a:pt x="61" y="34"/>
                    </a:lnTo>
                    <a:lnTo>
                      <a:pt x="57" y="36"/>
                    </a:lnTo>
                    <a:lnTo>
                      <a:pt x="56" y="34"/>
                    </a:lnTo>
                    <a:lnTo>
                      <a:pt x="47" y="37"/>
                    </a:lnTo>
                    <a:lnTo>
                      <a:pt x="43" y="36"/>
                    </a:lnTo>
                    <a:lnTo>
                      <a:pt x="40" y="30"/>
                    </a:lnTo>
                    <a:lnTo>
                      <a:pt x="36" y="29"/>
                    </a:lnTo>
                    <a:lnTo>
                      <a:pt x="34" y="27"/>
                    </a:lnTo>
                    <a:lnTo>
                      <a:pt x="32" y="27"/>
                    </a:lnTo>
                    <a:lnTo>
                      <a:pt x="32" y="25"/>
                    </a:lnTo>
                    <a:lnTo>
                      <a:pt x="32" y="30"/>
                    </a:lnTo>
                    <a:lnTo>
                      <a:pt x="32" y="34"/>
                    </a:lnTo>
                    <a:lnTo>
                      <a:pt x="31" y="34"/>
                    </a:lnTo>
                    <a:lnTo>
                      <a:pt x="32" y="37"/>
                    </a:lnTo>
                    <a:lnTo>
                      <a:pt x="25" y="37"/>
                    </a:lnTo>
                    <a:lnTo>
                      <a:pt x="23" y="32"/>
                    </a:lnTo>
                    <a:lnTo>
                      <a:pt x="18" y="30"/>
                    </a:lnTo>
                    <a:lnTo>
                      <a:pt x="18" y="29"/>
                    </a:lnTo>
                    <a:lnTo>
                      <a:pt x="15" y="29"/>
                    </a:lnTo>
                    <a:lnTo>
                      <a:pt x="16" y="30"/>
                    </a:lnTo>
                    <a:lnTo>
                      <a:pt x="16" y="32"/>
                    </a:lnTo>
                    <a:lnTo>
                      <a:pt x="13" y="30"/>
                    </a:lnTo>
                    <a:lnTo>
                      <a:pt x="9" y="32"/>
                    </a:lnTo>
                    <a:lnTo>
                      <a:pt x="11" y="36"/>
                    </a:lnTo>
                    <a:lnTo>
                      <a:pt x="9" y="37"/>
                    </a:lnTo>
                    <a:lnTo>
                      <a:pt x="9" y="36"/>
                    </a:lnTo>
                    <a:lnTo>
                      <a:pt x="6" y="37"/>
                    </a:lnTo>
                    <a:lnTo>
                      <a:pt x="4" y="37"/>
                    </a:lnTo>
                    <a:lnTo>
                      <a:pt x="2" y="34"/>
                    </a:lnTo>
                    <a:lnTo>
                      <a:pt x="0" y="34"/>
                    </a:lnTo>
                    <a:lnTo>
                      <a:pt x="4" y="27"/>
                    </a:lnTo>
                    <a:lnTo>
                      <a:pt x="7" y="21"/>
                    </a:lnTo>
                    <a:lnTo>
                      <a:pt x="9" y="23"/>
                    </a:lnTo>
                    <a:lnTo>
                      <a:pt x="11" y="23"/>
                    </a:lnTo>
                    <a:lnTo>
                      <a:pt x="11" y="21"/>
                    </a:lnTo>
                    <a:lnTo>
                      <a:pt x="16" y="18"/>
                    </a:lnTo>
                    <a:lnTo>
                      <a:pt x="31" y="12"/>
                    </a:lnTo>
                    <a:lnTo>
                      <a:pt x="34" y="5"/>
                    </a:lnTo>
                    <a:lnTo>
                      <a:pt x="36" y="7"/>
                    </a:lnTo>
                    <a:lnTo>
                      <a:pt x="41" y="0"/>
                    </a:lnTo>
                    <a:lnTo>
                      <a:pt x="47" y="0"/>
                    </a:lnTo>
                    <a:lnTo>
                      <a:pt x="48" y="0"/>
                    </a:lnTo>
                    <a:lnTo>
                      <a:pt x="48" y="4"/>
                    </a:lnTo>
                    <a:lnTo>
                      <a:pt x="50" y="4"/>
                    </a:lnTo>
                    <a:lnTo>
                      <a:pt x="50" y="5"/>
                    </a:lnTo>
                    <a:lnTo>
                      <a:pt x="54" y="7"/>
                    </a:lnTo>
                    <a:lnTo>
                      <a:pt x="54"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46" name="Freeform 1794"/>
              <p:cNvSpPr>
                <a:spLocks/>
              </p:cNvSpPr>
              <p:nvPr/>
            </p:nvSpPr>
            <p:spPr bwMode="auto">
              <a:xfrm>
                <a:off x="880" y="595"/>
                <a:ext cx="65" cy="37"/>
              </a:xfrm>
              <a:custGeom>
                <a:avLst/>
                <a:gdLst>
                  <a:gd name="T0" fmla="*/ 54 w 65"/>
                  <a:gd name="T1" fmla="*/ 9 h 37"/>
                  <a:gd name="T2" fmla="*/ 56 w 65"/>
                  <a:gd name="T3" fmla="*/ 9 h 37"/>
                  <a:gd name="T4" fmla="*/ 57 w 65"/>
                  <a:gd name="T5" fmla="*/ 12 h 37"/>
                  <a:gd name="T6" fmla="*/ 61 w 65"/>
                  <a:gd name="T7" fmla="*/ 12 h 37"/>
                  <a:gd name="T8" fmla="*/ 61 w 65"/>
                  <a:gd name="T9" fmla="*/ 16 h 37"/>
                  <a:gd name="T10" fmla="*/ 65 w 65"/>
                  <a:gd name="T11" fmla="*/ 18 h 37"/>
                  <a:gd name="T12" fmla="*/ 65 w 65"/>
                  <a:gd name="T13" fmla="*/ 34 h 37"/>
                  <a:gd name="T14" fmla="*/ 61 w 65"/>
                  <a:gd name="T15" fmla="*/ 34 h 37"/>
                  <a:gd name="T16" fmla="*/ 57 w 65"/>
                  <a:gd name="T17" fmla="*/ 36 h 37"/>
                  <a:gd name="T18" fmla="*/ 56 w 65"/>
                  <a:gd name="T19" fmla="*/ 34 h 37"/>
                  <a:gd name="T20" fmla="*/ 47 w 65"/>
                  <a:gd name="T21" fmla="*/ 37 h 37"/>
                  <a:gd name="T22" fmla="*/ 43 w 65"/>
                  <a:gd name="T23" fmla="*/ 36 h 37"/>
                  <a:gd name="T24" fmla="*/ 40 w 65"/>
                  <a:gd name="T25" fmla="*/ 30 h 37"/>
                  <a:gd name="T26" fmla="*/ 36 w 65"/>
                  <a:gd name="T27" fmla="*/ 29 h 37"/>
                  <a:gd name="T28" fmla="*/ 34 w 65"/>
                  <a:gd name="T29" fmla="*/ 27 h 37"/>
                  <a:gd name="T30" fmla="*/ 32 w 65"/>
                  <a:gd name="T31" fmla="*/ 27 h 37"/>
                  <a:gd name="T32" fmla="*/ 32 w 65"/>
                  <a:gd name="T33" fmla="*/ 25 h 37"/>
                  <a:gd name="T34" fmla="*/ 32 w 65"/>
                  <a:gd name="T35" fmla="*/ 30 h 37"/>
                  <a:gd name="T36" fmla="*/ 32 w 65"/>
                  <a:gd name="T37" fmla="*/ 34 h 37"/>
                  <a:gd name="T38" fmla="*/ 31 w 65"/>
                  <a:gd name="T39" fmla="*/ 34 h 37"/>
                  <a:gd name="T40" fmla="*/ 32 w 65"/>
                  <a:gd name="T41" fmla="*/ 37 h 37"/>
                  <a:gd name="T42" fmla="*/ 25 w 65"/>
                  <a:gd name="T43" fmla="*/ 37 h 37"/>
                  <a:gd name="T44" fmla="*/ 23 w 65"/>
                  <a:gd name="T45" fmla="*/ 32 h 37"/>
                  <a:gd name="T46" fmla="*/ 18 w 65"/>
                  <a:gd name="T47" fmla="*/ 30 h 37"/>
                  <a:gd name="T48" fmla="*/ 18 w 65"/>
                  <a:gd name="T49" fmla="*/ 29 h 37"/>
                  <a:gd name="T50" fmla="*/ 15 w 65"/>
                  <a:gd name="T51" fmla="*/ 29 h 37"/>
                  <a:gd name="T52" fmla="*/ 16 w 65"/>
                  <a:gd name="T53" fmla="*/ 30 h 37"/>
                  <a:gd name="T54" fmla="*/ 16 w 65"/>
                  <a:gd name="T55" fmla="*/ 32 h 37"/>
                  <a:gd name="T56" fmla="*/ 13 w 65"/>
                  <a:gd name="T57" fmla="*/ 30 h 37"/>
                  <a:gd name="T58" fmla="*/ 9 w 65"/>
                  <a:gd name="T59" fmla="*/ 32 h 37"/>
                  <a:gd name="T60" fmla="*/ 11 w 65"/>
                  <a:gd name="T61" fmla="*/ 36 h 37"/>
                  <a:gd name="T62" fmla="*/ 9 w 65"/>
                  <a:gd name="T63" fmla="*/ 37 h 37"/>
                  <a:gd name="T64" fmla="*/ 9 w 65"/>
                  <a:gd name="T65" fmla="*/ 36 h 37"/>
                  <a:gd name="T66" fmla="*/ 6 w 65"/>
                  <a:gd name="T67" fmla="*/ 37 h 37"/>
                  <a:gd name="T68" fmla="*/ 4 w 65"/>
                  <a:gd name="T69" fmla="*/ 37 h 37"/>
                  <a:gd name="T70" fmla="*/ 2 w 65"/>
                  <a:gd name="T71" fmla="*/ 34 h 37"/>
                  <a:gd name="T72" fmla="*/ 0 w 65"/>
                  <a:gd name="T73" fmla="*/ 34 h 37"/>
                  <a:gd name="T74" fmla="*/ 4 w 65"/>
                  <a:gd name="T75" fmla="*/ 27 h 37"/>
                  <a:gd name="T76" fmla="*/ 7 w 65"/>
                  <a:gd name="T77" fmla="*/ 21 h 37"/>
                  <a:gd name="T78" fmla="*/ 9 w 65"/>
                  <a:gd name="T79" fmla="*/ 23 h 37"/>
                  <a:gd name="T80" fmla="*/ 11 w 65"/>
                  <a:gd name="T81" fmla="*/ 23 h 37"/>
                  <a:gd name="T82" fmla="*/ 11 w 65"/>
                  <a:gd name="T83" fmla="*/ 21 h 37"/>
                  <a:gd name="T84" fmla="*/ 16 w 65"/>
                  <a:gd name="T85" fmla="*/ 18 h 37"/>
                  <a:gd name="T86" fmla="*/ 31 w 65"/>
                  <a:gd name="T87" fmla="*/ 12 h 37"/>
                  <a:gd name="T88" fmla="*/ 34 w 65"/>
                  <a:gd name="T89" fmla="*/ 5 h 37"/>
                  <a:gd name="T90" fmla="*/ 36 w 65"/>
                  <a:gd name="T91" fmla="*/ 7 h 37"/>
                  <a:gd name="T92" fmla="*/ 41 w 65"/>
                  <a:gd name="T93" fmla="*/ 0 h 37"/>
                  <a:gd name="T94" fmla="*/ 47 w 65"/>
                  <a:gd name="T95" fmla="*/ 0 h 37"/>
                  <a:gd name="T96" fmla="*/ 48 w 65"/>
                  <a:gd name="T97" fmla="*/ 0 h 37"/>
                  <a:gd name="T98" fmla="*/ 48 w 65"/>
                  <a:gd name="T99" fmla="*/ 4 h 37"/>
                  <a:gd name="T100" fmla="*/ 50 w 65"/>
                  <a:gd name="T101" fmla="*/ 4 h 37"/>
                  <a:gd name="T102" fmla="*/ 50 w 65"/>
                  <a:gd name="T103" fmla="*/ 5 h 37"/>
                  <a:gd name="T104" fmla="*/ 54 w 65"/>
                  <a:gd name="T105" fmla="*/ 7 h 37"/>
                  <a:gd name="T106" fmla="*/ 54 w 65"/>
                  <a:gd name="T107" fmla="*/ 9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 h="37">
                    <a:moveTo>
                      <a:pt x="54" y="9"/>
                    </a:moveTo>
                    <a:lnTo>
                      <a:pt x="56" y="9"/>
                    </a:lnTo>
                    <a:lnTo>
                      <a:pt x="57" y="12"/>
                    </a:lnTo>
                    <a:lnTo>
                      <a:pt x="61" y="12"/>
                    </a:lnTo>
                    <a:lnTo>
                      <a:pt x="61" y="16"/>
                    </a:lnTo>
                    <a:lnTo>
                      <a:pt x="65" y="18"/>
                    </a:lnTo>
                    <a:lnTo>
                      <a:pt x="65" y="34"/>
                    </a:lnTo>
                    <a:lnTo>
                      <a:pt x="61" y="34"/>
                    </a:lnTo>
                    <a:lnTo>
                      <a:pt x="57" y="36"/>
                    </a:lnTo>
                    <a:lnTo>
                      <a:pt x="56" y="34"/>
                    </a:lnTo>
                    <a:lnTo>
                      <a:pt x="47" y="37"/>
                    </a:lnTo>
                    <a:lnTo>
                      <a:pt x="43" y="36"/>
                    </a:lnTo>
                    <a:lnTo>
                      <a:pt x="40" y="30"/>
                    </a:lnTo>
                    <a:lnTo>
                      <a:pt x="36" y="29"/>
                    </a:lnTo>
                    <a:lnTo>
                      <a:pt x="34" y="27"/>
                    </a:lnTo>
                    <a:lnTo>
                      <a:pt x="32" y="27"/>
                    </a:lnTo>
                    <a:lnTo>
                      <a:pt x="32" y="25"/>
                    </a:lnTo>
                    <a:lnTo>
                      <a:pt x="32" y="30"/>
                    </a:lnTo>
                    <a:lnTo>
                      <a:pt x="32" y="34"/>
                    </a:lnTo>
                    <a:lnTo>
                      <a:pt x="31" y="34"/>
                    </a:lnTo>
                    <a:lnTo>
                      <a:pt x="32" y="37"/>
                    </a:lnTo>
                    <a:lnTo>
                      <a:pt x="25" y="37"/>
                    </a:lnTo>
                    <a:lnTo>
                      <a:pt x="23" y="32"/>
                    </a:lnTo>
                    <a:lnTo>
                      <a:pt x="18" y="30"/>
                    </a:lnTo>
                    <a:lnTo>
                      <a:pt x="18" y="29"/>
                    </a:lnTo>
                    <a:lnTo>
                      <a:pt x="15" y="29"/>
                    </a:lnTo>
                    <a:lnTo>
                      <a:pt x="16" y="30"/>
                    </a:lnTo>
                    <a:lnTo>
                      <a:pt x="16" y="32"/>
                    </a:lnTo>
                    <a:lnTo>
                      <a:pt x="13" y="30"/>
                    </a:lnTo>
                    <a:lnTo>
                      <a:pt x="9" y="32"/>
                    </a:lnTo>
                    <a:lnTo>
                      <a:pt x="11" y="36"/>
                    </a:lnTo>
                    <a:lnTo>
                      <a:pt x="9" y="37"/>
                    </a:lnTo>
                    <a:lnTo>
                      <a:pt x="9" y="36"/>
                    </a:lnTo>
                    <a:lnTo>
                      <a:pt x="6" y="37"/>
                    </a:lnTo>
                    <a:lnTo>
                      <a:pt x="4" y="37"/>
                    </a:lnTo>
                    <a:lnTo>
                      <a:pt x="2" y="34"/>
                    </a:lnTo>
                    <a:lnTo>
                      <a:pt x="0" y="34"/>
                    </a:lnTo>
                    <a:lnTo>
                      <a:pt x="4" y="27"/>
                    </a:lnTo>
                    <a:lnTo>
                      <a:pt x="7" y="21"/>
                    </a:lnTo>
                    <a:lnTo>
                      <a:pt x="9" y="23"/>
                    </a:lnTo>
                    <a:lnTo>
                      <a:pt x="11" y="23"/>
                    </a:lnTo>
                    <a:lnTo>
                      <a:pt x="11" y="21"/>
                    </a:lnTo>
                    <a:lnTo>
                      <a:pt x="16" y="18"/>
                    </a:lnTo>
                    <a:lnTo>
                      <a:pt x="31" y="12"/>
                    </a:lnTo>
                    <a:lnTo>
                      <a:pt x="34" y="5"/>
                    </a:lnTo>
                    <a:lnTo>
                      <a:pt x="36" y="7"/>
                    </a:lnTo>
                    <a:lnTo>
                      <a:pt x="41" y="0"/>
                    </a:lnTo>
                    <a:lnTo>
                      <a:pt x="47" y="0"/>
                    </a:lnTo>
                    <a:lnTo>
                      <a:pt x="48" y="0"/>
                    </a:lnTo>
                    <a:lnTo>
                      <a:pt x="48" y="4"/>
                    </a:lnTo>
                    <a:lnTo>
                      <a:pt x="50" y="4"/>
                    </a:lnTo>
                    <a:lnTo>
                      <a:pt x="50" y="5"/>
                    </a:lnTo>
                    <a:lnTo>
                      <a:pt x="54" y="7"/>
                    </a:lnTo>
                    <a:lnTo>
                      <a:pt x="54"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47" name="Freeform 1795"/>
              <p:cNvSpPr>
                <a:spLocks/>
              </p:cNvSpPr>
              <p:nvPr/>
            </p:nvSpPr>
            <p:spPr bwMode="auto">
              <a:xfrm>
                <a:off x="1157" y="670"/>
                <a:ext cx="48" cy="29"/>
              </a:xfrm>
              <a:custGeom>
                <a:avLst/>
                <a:gdLst>
                  <a:gd name="T0" fmla="*/ 18 w 48"/>
                  <a:gd name="T1" fmla="*/ 4 h 29"/>
                  <a:gd name="T2" fmla="*/ 21 w 48"/>
                  <a:gd name="T3" fmla="*/ 5 h 29"/>
                  <a:gd name="T4" fmla="*/ 21 w 48"/>
                  <a:gd name="T5" fmla="*/ 4 h 29"/>
                  <a:gd name="T6" fmla="*/ 27 w 48"/>
                  <a:gd name="T7" fmla="*/ 2 h 29"/>
                  <a:gd name="T8" fmla="*/ 27 w 48"/>
                  <a:gd name="T9" fmla="*/ 4 h 29"/>
                  <a:gd name="T10" fmla="*/ 30 w 48"/>
                  <a:gd name="T11" fmla="*/ 5 h 29"/>
                  <a:gd name="T12" fmla="*/ 32 w 48"/>
                  <a:gd name="T13" fmla="*/ 4 h 29"/>
                  <a:gd name="T14" fmla="*/ 37 w 48"/>
                  <a:gd name="T15" fmla="*/ 7 h 29"/>
                  <a:gd name="T16" fmla="*/ 39 w 48"/>
                  <a:gd name="T17" fmla="*/ 5 h 29"/>
                  <a:gd name="T18" fmla="*/ 41 w 48"/>
                  <a:gd name="T19" fmla="*/ 4 h 29"/>
                  <a:gd name="T20" fmla="*/ 43 w 48"/>
                  <a:gd name="T21" fmla="*/ 7 h 29"/>
                  <a:gd name="T22" fmla="*/ 46 w 48"/>
                  <a:gd name="T23" fmla="*/ 7 h 29"/>
                  <a:gd name="T24" fmla="*/ 48 w 48"/>
                  <a:gd name="T25" fmla="*/ 12 h 29"/>
                  <a:gd name="T26" fmla="*/ 48 w 48"/>
                  <a:gd name="T27" fmla="*/ 14 h 29"/>
                  <a:gd name="T28" fmla="*/ 45 w 48"/>
                  <a:gd name="T29" fmla="*/ 14 h 29"/>
                  <a:gd name="T30" fmla="*/ 45 w 48"/>
                  <a:gd name="T31" fmla="*/ 16 h 29"/>
                  <a:gd name="T32" fmla="*/ 45 w 48"/>
                  <a:gd name="T33" fmla="*/ 18 h 29"/>
                  <a:gd name="T34" fmla="*/ 45 w 48"/>
                  <a:gd name="T35" fmla="*/ 20 h 29"/>
                  <a:gd name="T36" fmla="*/ 45 w 48"/>
                  <a:gd name="T37" fmla="*/ 23 h 29"/>
                  <a:gd name="T38" fmla="*/ 45 w 48"/>
                  <a:gd name="T39" fmla="*/ 25 h 29"/>
                  <a:gd name="T40" fmla="*/ 43 w 48"/>
                  <a:gd name="T41" fmla="*/ 29 h 29"/>
                  <a:gd name="T42" fmla="*/ 37 w 48"/>
                  <a:gd name="T43" fmla="*/ 29 h 29"/>
                  <a:gd name="T44" fmla="*/ 32 w 48"/>
                  <a:gd name="T45" fmla="*/ 29 h 29"/>
                  <a:gd name="T46" fmla="*/ 30 w 48"/>
                  <a:gd name="T47" fmla="*/ 25 h 29"/>
                  <a:gd name="T48" fmla="*/ 25 w 48"/>
                  <a:gd name="T49" fmla="*/ 27 h 29"/>
                  <a:gd name="T50" fmla="*/ 23 w 48"/>
                  <a:gd name="T51" fmla="*/ 25 h 29"/>
                  <a:gd name="T52" fmla="*/ 20 w 48"/>
                  <a:gd name="T53" fmla="*/ 27 h 29"/>
                  <a:gd name="T54" fmla="*/ 20 w 48"/>
                  <a:gd name="T55" fmla="*/ 27 h 29"/>
                  <a:gd name="T56" fmla="*/ 16 w 48"/>
                  <a:gd name="T57" fmla="*/ 25 h 29"/>
                  <a:gd name="T58" fmla="*/ 11 w 48"/>
                  <a:gd name="T59" fmla="*/ 25 h 29"/>
                  <a:gd name="T60" fmla="*/ 7 w 48"/>
                  <a:gd name="T61" fmla="*/ 21 h 29"/>
                  <a:gd name="T62" fmla="*/ 5 w 48"/>
                  <a:gd name="T63" fmla="*/ 21 h 29"/>
                  <a:gd name="T64" fmla="*/ 2 w 48"/>
                  <a:gd name="T65" fmla="*/ 18 h 29"/>
                  <a:gd name="T66" fmla="*/ 2 w 48"/>
                  <a:gd name="T67" fmla="*/ 14 h 29"/>
                  <a:gd name="T68" fmla="*/ 2 w 48"/>
                  <a:gd name="T69" fmla="*/ 12 h 29"/>
                  <a:gd name="T70" fmla="*/ 0 w 48"/>
                  <a:gd name="T71" fmla="*/ 11 h 29"/>
                  <a:gd name="T72" fmla="*/ 2 w 48"/>
                  <a:gd name="T73" fmla="*/ 7 h 29"/>
                  <a:gd name="T74" fmla="*/ 4 w 48"/>
                  <a:gd name="T75" fmla="*/ 5 h 29"/>
                  <a:gd name="T76" fmla="*/ 9 w 48"/>
                  <a:gd name="T77" fmla="*/ 4 h 29"/>
                  <a:gd name="T78" fmla="*/ 11 w 48"/>
                  <a:gd name="T79" fmla="*/ 0 h 29"/>
                  <a:gd name="T80" fmla="*/ 12 w 48"/>
                  <a:gd name="T81" fmla="*/ 0 h 29"/>
                  <a:gd name="T82" fmla="*/ 14 w 48"/>
                  <a:gd name="T83" fmla="*/ 4 h 29"/>
                  <a:gd name="T84" fmla="*/ 14 w 48"/>
                  <a:gd name="T85" fmla="*/ 2 h 29"/>
                  <a:gd name="T86" fmla="*/ 16 w 48"/>
                  <a:gd name="T87" fmla="*/ 4 h 29"/>
                  <a:gd name="T88" fmla="*/ 18 w 48"/>
                  <a:gd name="T89"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 h="29">
                    <a:moveTo>
                      <a:pt x="18" y="4"/>
                    </a:moveTo>
                    <a:lnTo>
                      <a:pt x="21" y="5"/>
                    </a:lnTo>
                    <a:lnTo>
                      <a:pt x="21" y="4"/>
                    </a:lnTo>
                    <a:lnTo>
                      <a:pt x="27" y="2"/>
                    </a:lnTo>
                    <a:lnTo>
                      <a:pt x="27" y="4"/>
                    </a:lnTo>
                    <a:lnTo>
                      <a:pt x="30" y="5"/>
                    </a:lnTo>
                    <a:lnTo>
                      <a:pt x="32" y="4"/>
                    </a:lnTo>
                    <a:lnTo>
                      <a:pt x="37" y="7"/>
                    </a:lnTo>
                    <a:lnTo>
                      <a:pt x="39" y="5"/>
                    </a:lnTo>
                    <a:lnTo>
                      <a:pt x="41" y="4"/>
                    </a:lnTo>
                    <a:lnTo>
                      <a:pt x="43" y="7"/>
                    </a:lnTo>
                    <a:lnTo>
                      <a:pt x="46" y="7"/>
                    </a:lnTo>
                    <a:lnTo>
                      <a:pt x="48" y="12"/>
                    </a:lnTo>
                    <a:lnTo>
                      <a:pt x="48" y="14"/>
                    </a:lnTo>
                    <a:lnTo>
                      <a:pt x="45" y="14"/>
                    </a:lnTo>
                    <a:lnTo>
                      <a:pt x="45" y="16"/>
                    </a:lnTo>
                    <a:lnTo>
                      <a:pt x="45" y="18"/>
                    </a:lnTo>
                    <a:lnTo>
                      <a:pt x="45" y="20"/>
                    </a:lnTo>
                    <a:lnTo>
                      <a:pt x="45" y="23"/>
                    </a:lnTo>
                    <a:lnTo>
                      <a:pt x="45" y="25"/>
                    </a:lnTo>
                    <a:lnTo>
                      <a:pt x="43" y="29"/>
                    </a:lnTo>
                    <a:lnTo>
                      <a:pt x="37" y="29"/>
                    </a:lnTo>
                    <a:lnTo>
                      <a:pt x="32" y="29"/>
                    </a:lnTo>
                    <a:lnTo>
                      <a:pt x="30" y="25"/>
                    </a:lnTo>
                    <a:lnTo>
                      <a:pt x="25" y="27"/>
                    </a:lnTo>
                    <a:lnTo>
                      <a:pt x="23" y="25"/>
                    </a:lnTo>
                    <a:lnTo>
                      <a:pt x="20" y="27"/>
                    </a:lnTo>
                    <a:lnTo>
                      <a:pt x="20" y="27"/>
                    </a:lnTo>
                    <a:lnTo>
                      <a:pt x="16" y="25"/>
                    </a:lnTo>
                    <a:lnTo>
                      <a:pt x="11" y="25"/>
                    </a:lnTo>
                    <a:lnTo>
                      <a:pt x="7" y="21"/>
                    </a:lnTo>
                    <a:lnTo>
                      <a:pt x="5" y="21"/>
                    </a:lnTo>
                    <a:lnTo>
                      <a:pt x="2" y="18"/>
                    </a:lnTo>
                    <a:lnTo>
                      <a:pt x="2" y="14"/>
                    </a:lnTo>
                    <a:lnTo>
                      <a:pt x="2" y="12"/>
                    </a:lnTo>
                    <a:lnTo>
                      <a:pt x="0" y="11"/>
                    </a:lnTo>
                    <a:lnTo>
                      <a:pt x="2" y="7"/>
                    </a:lnTo>
                    <a:lnTo>
                      <a:pt x="4" y="5"/>
                    </a:lnTo>
                    <a:lnTo>
                      <a:pt x="9" y="4"/>
                    </a:lnTo>
                    <a:lnTo>
                      <a:pt x="11" y="0"/>
                    </a:lnTo>
                    <a:lnTo>
                      <a:pt x="12" y="0"/>
                    </a:lnTo>
                    <a:lnTo>
                      <a:pt x="14" y="4"/>
                    </a:lnTo>
                    <a:lnTo>
                      <a:pt x="14" y="2"/>
                    </a:lnTo>
                    <a:lnTo>
                      <a:pt x="16" y="4"/>
                    </a:lnTo>
                    <a:lnTo>
                      <a:pt x="18"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48" name="Freeform 1796"/>
              <p:cNvSpPr>
                <a:spLocks/>
              </p:cNvSpPr>
              <p:nvPr/>
            </p:nvSpPr>
            <p:spPr bwMode="auto">
              <a:xfrm>
                <a:off x="1157" y="670"/>
                <a:ext cx="48" cy="29"/>
              </a:xfrm>
              <a:custGeom>
                <a:avLst/>
                <a:gdLst>
                  <a:gd name="T0" fmla="*/ 18 w 48"/>
                  <a:gd name="T1" fmla="*/ 4 h 29"/>
                  <a:gd name="T2" fmla="*/ 21 w 48"/>
                  <a:gd name="T3" fmla="*/ 5 h 29"/>
                  <a:gd name="T4" fmla="*/ 21 w 48"/>
                  <a:gd name="T5" fmla="*/ 4 h 29"/>
                  <a:gd name="T6" fmla="*/ 27 w 48"/>
                  <a:gd name="T7" fmla="*/ 2 h 29"/>
                  <a:gd name="T8" fmla="*/ 27 w 48"/>
                  <a:gd name="T9" fmla="*/ 4 h 29"/>
                  <a:gd name="T10" fmla="*/ 30 w 48"/>
                  <a:gd name="T11" fmla="*/ 5 h 29"/>
                  <a:gd name="T12" fmla="*/ 32 w 48"/>
                  <a:gd name="T13" fmla="*/ 4 h 29"/>
                  <a:gd name="T14" fmla="*/ 37 w 48"/>
                  <a:gd name="T15" fmla="*/ 7 h 29"/>
                  <a:gd name="T16" fmla="*/ 39 w 48"/>
                  <a:gd name="T17" fmla="*/ 5 h 29"/>
                  <a:gd name="T18" fmla="*/ 41 w 48"/>
                  <a:gd name="T19" fmla="*/ 4 h 29"/>
                  <a:gd name="T20" fmla="*/ 43 w 48"/>
                  <a:gd name="T21" fmla="*/ 7 h 29"/>
                  <a:gd name="T22" fmla="*/ 46 w 48"/>
                  <a:gd name="T23" fmla="*/ 7 h 29"/>
                  <a:gd name="T24" fmla="*/ 48 w 48"/>
                  <a:gd name="T25" fmla="*/ 12 h 29"/>
                  <a:gd name="T26" fmla="*/ 48 w 48"/>
                  <a:gd name="T27" fmla="*/ 14 h 29"/>
                  <a:gd name="T28" fmla="*/ 45 w 48"/>
                  <a:gd name="T29" fmla="*/ 14 h 29"/>
                  <a:gd name="T30" fmla="*/ 45 w 48"/>
                  <a:gd name="T31" fmla="*/ 16 h 29"/>
                  <a:gd name="T32" fmla="*/ 45 w 48"/>
                  <a:gd name="T33" fmla="*/ 18 h 29"/>
                  <a:gd name="T34" fmla="*/ 45 w 48"/>
                  <a:gd name="T35" fmla="*/ 20 h 29"/>
                  <a:gd name="T36" fmla="*/ 45 w 48"/>
                  <a:gd name="T37" fmla="*/ 23 h 29"/>
                  <a:gd name="T38" fmla="*/ 45 w 48"/>
                  <a:gd name="T39" fmla="*/ 25 h 29"/>
                  <a:gd name="T40" fmla="*/ 43 w 48"/>
                  <a:gd name="T41" fmla="*/ 29 h 29"/>
                  <a:gd name="T42" fmla="*/ 37 w 48"/>
                  <a:gd name="T43" fmla="*/ 29 h 29"/>
                  <a:gd name="T44" fmla="*/ 32 w 48"/>
                  <a:gd name="T45" fmla="*/ 29 h 29"/>
                  <a:gd name="T46" fmla="*/ 30 w 48"/>
                  <a:gd name="T47" fmla="*/ 25 h 29"/>
                  <a:gd name="T48" fmla="*/ 25 w 48"/>
                  <a:gd name="T49" fmla="*/ 27 h 29"/>
                  <a:gd name="T50" fmla="*/ 23 w 48"/>
                  <a:gd name="T51" fmla="*/ 25 h 29"/>
                  <a:gd name="T52" fmla="*/ 20 w 48"/>
                  <a:gd name="T53" fmla="*/ 27 h 29"/>
                  <a:gd name="T54" fmla="*/ 20 w 48"/>
                  <a:gd name="T55" fmla="*/ 27 h 29"/>
                  <a:gd name="T56" fmla="*/ 16 w 48"/>
                  <a:gd name="T57" fmla="*/ 25 h 29"/>
                  <a:gd name="T58" fmla="*/ 11 w 48"/>
                  <a:gd name="T59" fmla="*/ 25 h 29"/>
                  <a:gd name="T60" fmla="*/ 7 w 48"/>
                  <a:gd name="T61" fmla="*/ 21 h 29"/>
                  <a:gd name="T62" fmla="*/ 5 w 48"/>
                  <a:gd name="T63" fmla="*/ 21 h 29"/>
                  <a:gd name="T64" fmla="*/ 2 w 48"/>
                  <a:gd name="T65" fmla="*/ 18 h 29"/>
                  <a:gd name="T66" fmla="*/ 2 w 48"/>
                  <a:gd name="T67" fmla="*/ 14 h 29"/>
                  <a:gd name="T68" fmla="*/ 2 w 48"/>
                  <a:gd name="T69" fmla="*/ 12 h 29"/>
                  <a:gd name="T70" fmla="*/ 0 w 48"/>
                  <a:gd name="T71" fmla="*/ 11 h 29"/>
                  <a:gd name="T72" fmla="*/ 2 w 48"/>
                  <a:gd name="T73" fmla="*/ 7 h 29"/>
                  <a:gd name="T74" fmla="*/ 4 w 48"/>
                  <a:gd name="T75" fmla="*/ 5 h 29"/>
                  <a:gd name="T76" fmla="*/ 9 w 48"/>
                  <a:gd name="T77" fmla="*/ 4 h 29"/>
                  <a:gd name="T78" fmla="*/ 11 w 48"/>
                  <a:gd name="T79" fmla="*/ 0 h 29"/>
                  <a:gd name="T80" fmla="*/ 12 w 48"/>
                  <a:gd name="T81" fmla="*/ 0 h 29"/>
                  <a:gd name="T82" fmla="*/ 14 w 48"/>
                  <a:gd name="T83" fmla="*/ 4 h 29"/>
                  <a:gd name="T84" fmla="*/ 14 w 48"/>
                  <a:gd name="T85" fmla="*/ 2 h 29"/>
                  <a:gd name="T86" fmla="*/ 16 w 48"/>
                  <a:gd name="T87" fmla="*/ 4 h 29"/>
                  <a:gd name="T88" fmla="*/ 18 w 48"/>
                  <a:gd name="T89"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 h="29">
                    <a:moveTo>
                      <a:pt x="18" y="4"/>
                    </a:moveTo>
                    <a:lnTo>
                      <a:pt x="21" y="5"/>
                    </a:lnTo>
                    <a:lnTo>
                      <a:pt x="21" y="4"/>
                    </a:lnTo>
                    <a:lnTo>
                      <a:pt x="27" y="2"/>
                    </a:lnTo>
                    <a:lnTo>
                      <a:pt x="27" y="4"/>
                    </a:lnTo>
                    <a:lnTo>
                      <a:pt x="30" y="5"/>
                    </a:lnTo>
                    <a:lnTo>
                      <a:pt x="32" y="4"/>
                    </a:lnTo>
                    <a:lnTo>
                      <a:pt x="37" y="7"/>
                    </a:lnTo>
                    <a:lnTo>
                      <a:pt x="39" y="5"/>
                    </a:lnTo>
                    <a:lnTo>
                      <a:pt x="41" y="4"/>
                    </a:lnTo>
                    <a:lnTo>
                      <a:pt x="43" y="7"/>
                    </a:lnTo>
                    <a:lnTo>
                      <a:pt x="46" y="7"/>
                    </a:lnTo>
                    <a:lnTo>
                      <a:pt x="48" y="12"/>
                    </a:lnTo>
                    <a:lnTo>
                      <a:pt x="48" y="14"/>
                    </a:lnTo>
                    <a:lnTo>
                      <a:pt x="45" y="14"/>
                    </a:lnTo>
                    <a:lnTo>
                      <a:pt x="45" y="16"/>
                    </a:lnTo>
                    <a:lnTo>
                      <a:pt x="45" y="18"/>
                    </a:lnTo>
                    <a:lnTo>
                      <a:pt x="45" y="20"/>
                    </a:lnTo>
                    <a:lnTo>
                      <a:pt x="45" y="23"/>
                    </a:lnTo>
                    <a:lnTo>
                      <a:pt x="45" y="25"/>
                    </a:lnTo>
                    <a:lnTo>
                      <a:pt x="43" y="29"/>
                    </a:lnTo>
                    <a:lnTo>
                      <a:pt x="37" y="29"/>
                    </a:lnTo>
                    <a:lnTo>
                      <a:pt x="32" y="29"/>
                    </a:lnTo>
                    <a:lnTo>
                      <a:pt x="30" y="25"/>
                    </a:lnTo>
                    <a:lnTo>
                      <a:pt x="25" y="27"/>
                    </a:lnTo>
                    <a:lnTo>
                      <a:pt x="23" y="25"/>
                    </a:lnTo>
                    <a:lnTo>
                      <a:pt x="20" y="27"/>
                    </a:lnTo>
                    <a:lnTo>
                      <a:pt x="20" y="27"/>
                    </a:lnTo>
                    <a:lnTo>
                      <a:pt x="16" y="25"/>
                    </a:lnTo>
                    <a:lnTo>
                      <a:pt x="11" y="25"/>
                    </a:lnTo>
                    <a:lnTo>
                      <a:pt x="7" y="21"/>
                    </a:lnTo>
                    <a:lnTo>
                      <a:pt x="5" y="21"/>
                    </a:lnTo>
                    <a:lnTo>
                      <a:pt x="2" y="18"/>
                    </a:lnTo>
                    <a:lnTo>
                      <a:pt x="2" y="14"/>
                    </a:lnTo>
                    <a:lnTo>
                      <a:pt x="2" y="12"/>
                    </a:lnTo>
                    <a:lnTo>
                      <a:pt x="0" y="11"/>
                    </a:lnTo>
                    <a:lnTo>
                      <a:pt x="2" y="7"/>
                    </a:lnTo>
                    <a:lnTo>
                      <a:pt x="4" y="5"/>
                    </a:lnTo>
                    <a:lnTo>
                      <a:pt x="9" y="4"/>
                    </a:lnTo>
                    <a:lnTo>
                      <a:pt x="11" y="0"/>
                    </a:lnTo>
                    <a:lnTo>
                      <a:pt x="12" y="0"/>
                    </a:lnTo>
                    <a:lnTo>
                      <a:pt x="14" y="4"/>
                    </a:lnTo>
                    <a:lnTo>
                      <a:pt x="14" y="2"/>
                    </a:lnTo>
                    <a:lnTo>
                      <a:pt x="16" y="4"/>
                    </a:lnTo>
                    <a:lnTo>
                      <a:pt x="18"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49" name="Freeform 1797"/>
              <p:cNvSpPr>
                <a:spLocks/>
              </p:cNvSpPr>
              <p:nvPr/>
            </p:nvSpPr>
            <p:spPr bwMode="auto">
              <a:xfrm>
                <a:off x="1145" y="720"/>
                <a:ext cx="276" cy="173"/>
              </a:xfrm>
              <a:custGeom>
                <a:avLst/>
                <a:gdLst>
                  <a:gd name="T0" fmla="*/ 7 w 276"/>
                  <a:gd name="T1" fmla="*/ 4 h 173"/>
                  <a:gd name="T2" fmla="*/ 1 w 276"/>
                  <a:gd name="T3" fmla="*/ 12 h 173"/>
                  <a:gd name="T4" fmla="*/ 5 w 276"/>
                  <a:gd name="T5" fmla="*/ 23 h 173"/>
                  <a:gd name="T6" fmla="*/ 7 w 276"/>
                  <a:gd name="T7" fmla="*/ 29 h 173"/>
                  <a:gd name="T8" fmla="*/ 16 w 276"/>
                  <a:gd name="T9" fmla="*/ 36 h 173"/>
                  <a:gd name="T10" fmla="*/ 32 w 276"/>
                  <a:gd name="T11" fmla="*/ 57 h 173"/>
                  <a:gd name="T12" fmla="*/ 48 w 276"/>
                  <a:gd name="T13" fmla="*/ 57 h 173"/>
                  <a:gd name="T14" fmla="*/ 57 w 276"/>
                  <a:gd name="T15" fmla="*/ 52 h 173"/>
                  <a:gd name="T16" fmla="*/ 67 w 276"/>
                  <a:gd name="T17" fmla="*/ 80 h 173"/>
                  <a:gd name="T18" fmla="*/ 71 w 276"/>
                  <a:gd name="T19" fmla="*/ 118 h 173"/>
                  <a:gd name="T20" fmla="*/ 74 w 276"/>
                  <a:gd name="T21" fmla="*/ 152 h 173"/>
                  <a:gd name="T22" fmla="*/ 83 w 276"/>
                  <a:gd name="T23" fmla="*/ 164 h 173"/>
                  <a:gd name="T24" fmla="*/ 98 w 276"/>
                  <a:gd name="T25" fmla="*/ 164 h 173"/>
                  <a:gd name="T26" fmla="*/ 105 w 276"/>
                  <a:gd name="T27" fmla="*/ 168 h 173"/>
                  <a:gd name="T28" fmla="*/ 121 w 276"/>
                  <a:gd name="T29" fmla="*/ 162 h 173"/>
                  <a:gd name="T30" fmla="*/ 123 w 276"/>
                  <a:gd name="T31" fmla="*/ 155 h 173"/>
                  <a:gd name="T32" fmla="*/ 130 w 276"/>
                  <a:gd name="T33" fmla="*/ 152 h 173"/>
                  <a:gd name="T34" fmla="*/ 141 w 276"/>
                  <a:gd name="T35" fmla="*/ 173 h 173"/>
                  <a:gd name="T36" fmla="*/ 153 w 276"/>
                  <a:gd name="T37" fmla="*/ 168 h 173"/>
                  <a:gd name="T38" fmla="*/ 162 w 276"/>
                  <a:gd name="T39" fmla="*/ 170 h 173"/>
                  <a:gd name="T40" fmla="*/ 178 w 276"/>
                  <a:gd name="T41" fmla="*/ 173 h 173"/>
                  <a:gd name="T42" fmla="*/ 187 w 276"/>
                  <a:gd name="T43" fmla="*/ 170 h 173"/>
                  <a:gd name="T44" fmla="*/ 212 w 276"/>
                  <a:gd name="T45" fmla="*/ 166 h 173"/>
                  <a:gd name="T46" fmla="*/ 217 w 276"/>
                  <a:gd name="T47" fmla="*/ 152 h 173"/>
                  <a:gd name="T48" fmla="*/ 230 w 276"/>
                  <a:gd name="T49" fmla="*/ 168 h 173"/>
                  <a:gd name="T50" fmla="*/ 249 w 276"/>
                  <a:gd name="T51" fmla="*/ 168 h 173"/>
                  <a:gd name="T52" fmla="*/ 266 w 276"/>
                  <a:gd name="T53" fmla="*/ 155 h 173"/>
                  <a:gd name="T54" fmla="*/ 264 w 276"/>
                  <a:gd name="T55" fmla="*/ 136 h 173"/>
                  <a:gd name="T56" fmla="*/ 274 w 276"/>
                  <a:gd name="T57" fmla="*/ 111 h 173"/>
                  <a:gd name="T58" fmla="*/ 266 w 276"/>
                  <a:gd name="T59" fmla="*/ 107 h 173"/>
                  <a:gd name="T60" fmla="*/ 260 w 276"/>
                  <a:gd name="T61" fmla="*/ 96 h 173"/>
                  <a:gd name="T62" fmla="*/ 248 w 276"/>
                  <a:gd name="T63" fmla="*/ 89 h 173"/>
                  <a:gd name="T64" fmla="*/ 214 w 276"/>
                  <a:gd name="T65" fmla="*/ 89 h 173"/>
                  <a:gd name="T66" fmla="*/ 196 w 276"/>
                  <a:gd name="T67" fmla="*/ 95 h 173"/>
                  <a:gd name="T68" fmla="*/ 187 w 276"/>
                  <a:gd name="T69" fmla="*/ 100 h 173"/>
                  <a:gd name="T70" fmla="*/ 182 w 276"/>
                  <a:gd name="T71" fmla="*/ 105 h 173"/>
                  <a:gd name="T72" fmla="*/ 169 w 276"/>
                  <a:gd name="T73" fmla="*/ 111 h 173"/>
                  <a:gd name="T74" fmla="*/ 169 w 276"/>
                  <a:gd name="T75" fmla="*/ 116 h 173"/>
                  <a:gd name="T76" fmla="*/ 157 w 276"/>
                  <a:gd name="T77" fmla="*/ 111 h 173"/>
                  <a:gd name="T78" fmla="*/ 146 w 276"/>
                  <a:gd name="T79" fmla="*/ 112 h 173"/>
                  <a:gd name="T80" fmla="*/ 137 w 276"/>
                  <a:gd name="T81" fmla="*/ 112 h 173"/>
                  <a:gd name="T82" fmla="*/ 133 w 276"/>
                  <a:gd name="T83" fmla="*/ 104 h 173"/>
                  <a:gd name="T84" fmla="*/ 126 w 276"/>
                  <a:gd name="T85" fmla="*/ 116 h 173"/>
                  <a:gd name="T86" fmla="*/ 116 w 276"/>
                  <a:gd name="T87" fmla="*/ 107 h 173"/>
                  <a:gd name="T88" fmla="*/ 119 w 276"/>
                  <a:gd name="T89" fmla="*/ 102 h 173"/>
                  <a:gd name="T90" fmla="*/ 110 w 276"/>
                  <a:gd name="T91" fmla="*/ 89 h 173"/>
                  <a:gd name="T92" fmla="*/ 107 w 276"/>
                  <a:gd name="T93" fmla="*/ 84 h 173"/>
                  <a:gd name="T94" fmla="*/ 96 w 276"/>
                  <a:gd name="T95" fmla="*/ 82 h 173"/>
                  <a:gd name="T96" fmla="*/ 92 w 276"/>
                  <a:gd name="T97" fmla="*/ 84 h 173"/>
                  <a:gd name="T98" fmla="*/ 96 w 276"/>
                  <a:gd name="T99" fmla="*/ 77 h 173"/>
                  <a:gd name="T100" fmla="*/ 92 w 276"/>
                  <a:gd name="T101" fmla="*/ 70 h 173"/>
                  <a:gd name="T102" fmla="*/ 85 w 276"/>
                  <a:gd name="T103" fmla="*/ 61 h 173"/>
                  <a:gd name="T104" fmla="*/ 103 w 276"/>
                  <a:gd name="T105" fmla="*/ 71 h 173"/>
                  <a:gd name="T106" fmla="*/ 121 w 276"/>
                  <a:gd name="T107" fmla="*/ 66 h 173"/>
                  <a:gd name="T108" fmla="*/ 105 w 276"/>
                  <a:gd name="T109" fmla="*/ 52 h 173"/>
                  <a:gd name="T110" fmla="*/ 87 w 276"/>
                  <a:gd name="T111" fmla="*/ 46 h 173"/>
                  <a:gd name="T112" fmla="*/ 96 w 276"/>
                  <a:gd name="T113" fmla="*/ 45 h 173"/>
                  <a:gd name="T114" fmla="*/ 99 w 276"/>
                  <a:gd name="T115" fmla="*/ 39 h 173"/>
                  <a:gd name="T116" fmla="*/ 85 w 276"/>
                  <a:gd name="T117" fmla="*/ 29 h 173"/>
                  <a:gd name="T118" fmla="*/ 69 w 276"/>
                  <a:gd name="T119" fmla="*/ 34 h 173"/>
                  <a:gd name="T120" fmla="*/ 53 w 276"/>
                  <a:gd name="T121" fmla="*/ 45 h 173"/>
                  <a:gd name="T122" fmla="*/ 57 w 276"/>
                  <a:gd name="T123" fmla="*/ 25 h 173"/>
                  <a:gd name="T124" fmla="*/ 46 w 276"/>
                  <a:gd name="T125" fmla="*/ 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6" h="173">
                    <a:moveTo>
                      <a:pt x="32" y="5"/>
                    </a:moveTo>
                    <a:lnTo>
                      <a:pt x="28" y="5"/>
                    </a:lnTo>
                    <a:lnTo>
                      <a:pt x="23" y="2"/>
                    </a:lnTo>
                    <a:lnTo>
                      <a:pt x="17" y="0"/>
                    </a:lnTo>
                    <a:lnTo>
                      <a:pt x="7" y="4"/>
                    </a:lnTo>
                    <a:lnTo>
                      <a:pt x="7" y="7"/>
                    </a:lnTo>
                    <a:lnTo>
                      <a:pt x="5" y="9"/>
                    </a:lnTo>
                    <a:lnTo>
                      <a:pt x="1" y="7"/>
                    </a:lnTo>
                    <a:lnTo>
                      <a:pt x="1" y="11"/>
                    </a:lnTo>
                    <a:lnTo>
                      <a:pt x="1" y="12"/>
                    </a:lnTo>
                    <a:lnTo>
                      <a:pt x="1" y="14"/>
                    </a:lnTo>
                    <a:lnTo>
                      <a:pt x="5" y="16"/>
                    </a:lnTo>
                    <a:lnTo>
                      <a:pt x="10" y="21"/>
                    </a:lnTo>
                    <a:lnTo>
                      <a:pt x="10" y="23"/>
                    </a:lnTo>
                    <a:lnTo>
                      <a:pt x="5" y="23"/>
                    </a:lnTo>
                    <a:lnTo>
                      <a:pt x="1" y="20"/>
                    </a:lnTo>
                    <a:lnTo>
                      <a:pt x="0" y="20"/>
                    </a:lnTo>
                    <a:lnTo>
                      <a:pt x="0" y="25"/>
                    </a:lnTo>
                    <a:lnTo>
                      <a:pt x="1" y="27"/>
                    </a:lnTo>
                    <a:lnTo>
                      <a:pt x="7" y="29"/>
                    </a:lnTo>
                    <a:lnTo>
                      <a:pt x="7" y="30"/>
                    </a:lnTo>
                    <a:lnTo>
                      <a:pt x="10" y="32"/>
                    </a:lnTo>
                    <a:lnTo>
                      <a:pt x="10" y="32"/>
                    </a:lnTo>
                    <a:lnTo>
                      <a:pt x="12" y="36"/>
                    </a:lnTo>
                    <a:lnTo>
                      <a:pt x="16" y="36"/>
                    </a:lnTo>
                    <a:lnTo>
                      <a:pt x="21" y="50"/>
                    </a:lnTo>
                    <a:lnTo>
                      <a:pt x="26" y="50"/>
                    </a:lnTo>
                    <a:lnTo>
                      <a:pt x="28" y="54"/>
                    </a:lnTo>
                    <a:lnTo>
                      <a:pt x="32" y="62"/>
                    </a:lnTo>
                    <a:lnTo>
                      <a:pt x="32" y="57"/>
                    </a:lnTo>
                    <a:lnTo>
                      <a:pt x="33" y="59"/>
                    </a:lnTo>
                    <a:lnTo>
                      <a:pt x="48" y="62"/>
                    </a:lnTo>
                    <a:lnTo>
                      <a:pt x="51" y="61"/>
                    </a:lnTo>
                    <a:lnTo>
                      <a:pt x="48" y="61"/>
                    </a:lnTo>
                    <a:lnTo>
                      <a:pt x="48" y="57"/>
                    </a:lnTo>
                    <a:lnTo>
                      <a:pt x="51" y="57"/>
                    </a:lnTo>
                    <a:lnTo>
                      <a:pt x="51" y="59"/>
                    </a:lnTo>
                    <a:lnTo>
                      <a:pt x="55" y="55"/>
                    </a:lnTo>
                    <a:lnTo>
                      <a:pt x="55" y="54"/>
                    </a:lnTo>
                    <a:lnTo>
                      <a:pt x="57" y="52"/>
                    </a:lnTo>
                    <a:lnTo>
                      <a:pt x="60" y="54"/>
                    </a:lnTo>
                    <a:lnTo>
                      <a:pt x="62" y="64"/>
                    </a:lnTo>
                    <a:lnTo>
                      <a:pt x="66" y="68"/>
                    </a:lnTo>
                    <a:lnTo>
                      <a:pt x="66" y="79"/>
                    </a:lnTo>
                    <a:lnTo>
                      <a:pt x="67" y="80"/>
                    </a:lnTo>
                    <a:lnTo>
                      <a:pt x="74" y="89"/>
                    </a:lnTo>
                    <a:lnTo>
                      <a:pt x="74" y="102"/>
                    </a:lnTo>
                    <a:lnTo>
                      <a:pt x="76" y="104"/>
                    </a:lnTo>
                    <a:lnTo>
                      <a:pt x="69" y="116"/>
                    </a:lnTo>
                    <a:lnTo>
                      <a:pt x="71" y="118"/>
                    </a:lnTo>
                    <a:lnTo>
                      <a:pt x="69" y="129"/>
                    </a:lnTo>
                    <a:lnTo>
                      <a:pt x="71" y="134"/>
                    </a:lnTo>
                    <a:lnTo>
                      <a:pt x="76" y="132"/>
                    </a:lnTo>
                    <a:lnTo>
                      <a:pt x="74" y="141"/>
                    </a:lnTo>
                    <a:lnTo>
                      <a:pt x="74" y="152"/>
                    </a:lnTo>
                    <a:lnTo>
                      <a:pt x="78" y="157"/>
                    </a:lnTo>
                    <a:lnTo>
                      <a:pt x="83" y="159"/>
                    </a:lnTo>
                    <a:lnTo>
                      <a:pt x="82" y="159"/>
                    </a:lnTo>
                    <a:lnTo>
                      <a:pt x="82" y="162"/>
                    </a:lnTo>
                    <a:lnTo>
                      <a:pt x="83" y="164"/>
                    </a:lnTo>
                    <a:lnTo>
                      <a:pt x="89" y="162"/>
                    </a:lnTo>
                    <a:lnTo>
                      <a:pt x="89" y="157"/>
                    </a:lnTo>
                    <a:lnTo>
                      <a:pt x="96" y="152"/>
                    </a:lnTo>
                    <a:lnTo>
                      <a:pt x="92" y="157"/>
                    </a:lnTo>
                    <a:lnTo>
                      <a:pt x="98" y="164"/>
                    </a:lnTo>
                    <a:lnTo>
                      <a:pt x="98" y="157"/>
                    </a:lnTo>
                    <a:lnTo>
                      <a:pt x="99" y="164"/>
                    </a:lnTo>
                    <a:lnTo>
                      <a:pt x="103" y="164"/>
                    </a:lnTo>
                    <a:lnTo>
                      <a:pt x="103" y="166"/>
                    </a:lnTo>
                    <a:lnTo>
                      <a:pt x="105" y="168"/>
                    </a:lnTo>
                    <a:lnTo>
                      <a:pt x="107" y="166"/>
                    </a:lnTo>
                    <a:lnTo>
                      <a:pt x="107" y="170"/>
                    </a:lnTo>
                    <a:lnTo>
                      <a:pt x="116" y="170"/>
                    </a:lnTo>
                    <a:lnTo>
                      <a:pt x="121" y="164"/>
                    </a:lnTo>
                    <a:lnTo>
                      <a:pt x="121" y="162"/>
                    </a:lnTo>
                    <a:lnTo>
                      <a:pt x="117" y="159"/>
                    </a:lnTo>
                    <a:lnTo>
                      <a:pt x="117" y="155"/>
                    </a:lnTo>
                    <a:lnTo>
                      <a:pt x="117" y="155"/>
                    </a:lnTo>
                    <a:lnTo>
                      <a:pt x="119" y="155"/>
                    </a:lnTo>
                    <a:lnTo>
                      <a:pt x="123" y="155"/>
                    </a:lnTo>
                    <a:lnTo>
                      <a:pt x="121" y="152"/>
                    </a:lnTo>
                    <a:lnTo>
                      <a:pt x="126" y="161"/>
                    </a:lnTo>
                    <a:lnTo>
                      <a:pt x="128" y="155"/>
                    </a:lnTo>
                    <a:lnTo>
                      <a:pt x="128" y="152"/>
                    </a:lnTo>
                    <a:lnTo>
                      <a:pt x="130" y="152"/>
                    </a:lnTo>
                    <a:lnTo>
                      <a:pt x="133" y="155"/>
                    </a:lnTo>
                    <a:lnTo>
                      <a:pt x="132" y="171"/>
                    </a:lnTo>
                    <a:lnTo>
                      <a:pt x="135" y="173"/>
                    </a:lnTo>
                    <a:lnTo>
                      <a:pt x="139" y="171"/>
                    </a:lnTo>
                    <a:lnTo>
                      <a:pt x="141" y="173"/>
                    </a:lnTo>
                    <a:lnTo>
                      <a:pt x="144" y="171"/>
                    </a:lnTo>
                    <a:lnTo>
                      <a:pt x="144" y="173"/>
                    </a:lnTo>
                    <a:lnTo>
                      <a:pt x="149" y="173"/>
                    </a:lnTo>
                    <a:lnTo>
                      <a:pt x="151" y="168"/>
                    </a:lnTo>
                    <a:lnTo>
                      <a:pt x="153" y="168"/>
                    </a:lnTo>
                    <a:lnTo>
                      <a:pt x="151" y="173"/>
                    </a:lnTo>
                    <a:lnTo>
                      <a:pt x="160" y="173"/>
                    </a:lnTo>
                    <a:lnTo>
                      <a:pt x="164" y="171"/>
                    </a:lnTo>
                    <a:lnTo>
                      <a:pt x="160" y="166"/>
                    </a:lnTo>
                    <a:lnTo>
                      <a:pt x="162" y="170"/>
                    </a:lnTo>
                    <a:lnTo>
                      <a:pt x="166" y="173"/>
                    </a:lnTo>
                    <a:lnTo>
                      <a:pt x="169" y="170"/>
                    </a:lnTo>
                    <a:lnTo>
                      <a:pt x="169" y="166"/>
                    </a:lnTo>
                    <a:lnTo>
                      <a:pt x="173" y="173"/>
                    </a:lnTo>
                    <a:lnTo>
                      <a:pt x="178" y="173"/>
                    </a:lnTo>
                    <a:lnTo>
                      <a:pt x="180" y="168"/>
                    </a:lnTo>
                    <a:lnTo>
                      <a:pt x="180" y="161"/>
                    </a:lnTo>
                    <a:lnTo>
                      <a:pt x="185" y="170"/>
                    </a:lnTo>
                    <a:lnTo>
                      <a:pt x="187" y="171"/>
                    </a:lnTo>
                    <a:lnTo>
                      <a:pt x="187" y="170"/>
                    </a:lnTo>
                    <a:lnTo>
                      <a:pt x="191" y="166"/>
                    </a:lnTo>
                    <a:lnTo>
                      <a:pt x="189" y="162"/>
                    </a:lnTo>
                    <a:lnTo>
                      <a:pt x="189" y="159"/>
                    </a:lnTo>
                    <a:lnTo>
                      <a:pt x="191" y="170"/>
                    </a:lnTo>
                    <a:lnTo>
                      <a:pt x="212" y="166"/>
                    </a:lnTo>
                    <a:lnTo>
                      <a:pt x="217" y="155"/>
                    </a:lnTo>
                    <a:lnTo>
                      <a:pt x="214" y="154"/>
                    </a:lnTo>
                    <a:lnTo>
                      <a:pt x="212" y="146"/>
                    </a:lnTo>
                    <a:lnTo>
                      <a:pt x="216" y="148"/>
                    </a:lnTo>
                    <a:lnTo>
                      <a:pt x="217" y="152"/>
                    </a:lnTo>
                    <a:lnTo>
                      <a:pt x="221" y="152"/>
                    </a:lnTo>
                    <a:lnTo>
                      <a:pt x="221" y="164"/>
                    </a:lnTo>
                    <a:lnTo>
                      <a:pt x="226" y="171"/>
                    </a:lnTo>
                    <a:lnTo>
                      <a:pt x="230" y="170"/>
                    </a:lnTo>
                    <a:lnTo>
                      <a:pt x="230" y="168"/>
                    </a:lnTo>
                    <a:lnTo>
                      <a:pt x="232" y="170"/>
                    </a:lnTo>
                    <a:lnTo>
                      <a:pt x="235" y="173"/>
                    </a:lnTo>
                    <a:lnTo>
                      <a:pt x="241" y="173"/>
                    </a:lnTo>
                    <a:lnTo>
                      <a:pt x="244" y="170"/>
                    </a:lnTo>
                    <a:lnTo>
                      <a:pt x="249" y="168"/>
                    </a:lnTo>
                    <a:lnTo>
                      <a:pt x="260" y="168"/>
                    </a:lnTo>
                    <a:lnTo>
                      <a:pt x="264" y="166"/>
                    </a:lnTo>
                    <a:lnTo>
                      <a:pt x="267" y="164"/>
                    </a:lnTo>
                    <a:lnTo>
                      <a:pt x="267" y="157"/>
                    </a:lnTo>
                    <a:lnTo>
                      <a:pt x="266" y="155"/>
                    </a:lnTo>
                    <a:lnTo>
                      <a:pt x="266" y="154"/>
                    </a:lnTo>
                    <a:lnTo>
                      <a:pt x="266" y="150"/>
                    </a:lnTo>
                    <a:lnTo>
                      <a:pt x="260" y="145"/>
                    </a:lnTo>
                    <a:lnTo>
                      <a:pt x="262" y="137"/>
                    </a:lnTo>
                    <a:lnTo>
                      <a:pt x="264" y="136"/>
                    </a:lnTo>
                    <a:lnTo>
                      <a:pt x="267" y="134"/>
                    </a:lnTo>
                    <a:lnTo>
                      <a:pt x="269" y="129"/>
                    </a:lnTo>
                    <a:lnTo>
                      <a:pt x="273" y="127"/>
                    </a:lnTo>
                    <a:lnTo>
                      <a:pt x="276" y="121"/>
                    </a:lnTo>
                    <a:lnTo>
                      <a:pt x="274" y="111"/>
                    </a:lnTo>
                    <a:lnTo>
                      <a:pt x="274" y="111"/>
                    </a:lnTo>
                    <a:lnTo>
                      <a:pt x="273" y="111"/>
                    </a:lnTo>
                    <a:lnTo>
                      <a:pt x="271" y="109"/>
                    </a:lnTo>
                    <a:lnTo>
                      <a:pt x="273" y="107"/>
                    </a:lnTo>
                    <a:lnTo>
                      <a:pt x="266" y="107"/>
                    </a:lnTo>
                    <a:lnTo>
                      <a:pt x="262" y="107"/>
                    </a:lnTo>
                    <a:lnTo>
                      <a:pt x="266" y="105"/>
                    </a:lnTo>
                    <a:lnTo>
                      <a:pt x="266" y="102"/>
                    </a:lnTo>
                    <a:lnTo>
                      <a:pt x="266" y="100"/>
                    </a:lnTo>
                    <a:lnTo>
                      <a:pt x="260" y="96"/>
                    </a:lnTo>
                    <a:lnTo>
                      <a:pt x="257" y="98"/>
                    </a:lnTo>
                    <a:lnTo>
                      <a:pt x="251" y="96"/>
                    </a:lnTo>
                    <a:lnTo>
                      <a:pt x="251" y="91"/>
                    </a:lnTo>
                    <a:lnTo>
                      <a:pt x="249" y="89"/>
                    </a:lnTo>
                    <a:lnTo>
                      <a:pt x="248" y="89"/>
                    </a:lnTo>
                    <a:lnTo>
                      <a:pt x="232" y="86"/>
                    </a:lnTo>
                    <a:lnTo>
                      <a:pt x="226" y="87"/>
                    </a:lnTo>
                    <a:lnTo>
                      <a:pt x="221" y="93"/>
                    </a:lnTo>
                    <a:lnTo>
                      <a:pt x="216" y="91"/>
                    </a:lnTo>
                    <a:lnTo>
                      <a:pt x="214" y="89"/>
                    </a:lnTo>
                    <a:lnTo>
                      <a:pt x="212" y="89"/>
                    </a:lnTo>
                    <a:lnTo>
                      <a:pt x="210" y="87"/>
                    </a:lnTo>
                    <a:lnTo>
                      <a:pt x="207" y="87"/>
                    </a:lnTo>
                    <a:lnTo>
                      <a:pt x="205" y="91"/>
                    </a:lnTo>
                    <a:lnTo>
                      <a:pt x="196" y="95"/>
                    </a:lnTo>
                    <a:lnTo>
                      <a:pt x="194" y="96"/>
                    </a:lnTo>
                    <a:lnTo>
                      <a:pt x="196" y="100"/>
                    </a:lnTo>
                    <a:lnTo>
                      <a:pt x="196" y="100"/>
                    </a:lnTo>
                    <a:lnTo>
                      <a:pt x="191" y="98"/>
                    </a:lnTo>
                    <a:lnTo>
                      <a:pt x="187" y="100"/>
                    </a:lnTo>
                    <a:lnTo>
                      <a:pt x="185" y="104"/>
                    </a:lnTo>
                    <a:lnTo>
                      <a:pt x="185" y="102"/>
                    </a:lnTo>
                    <a:lnTo>
                      <a:pt x="185" y="109"/>
                    </a:lnTo>
                    <a:lnTo>
                      <a:pt x="185" y="107"/>
                    </a:lnTo>
                    <a:lnTo>
                      <a:pt x="182" y="105"/>
                    </a:lnTo>
                    <a:lnTo>
                      <a:pt x="180" y="102"/>
                    </a:lnTo>
                    <a:lnTo>
                      <a:pt x="178" y="107"/>
                    </a:lnTo>
                    <a:lnTo>
                      <a:pt x="174" y="105"/>
                    </a:lnTo>
                    <a:lnTo>
                      <a:pt x="169" y="109"/>
                    </a:lnTo>
                    <a:lnTo>
                      <a:pt x="169" y="111"/>
                    </a:lnTo>
                    <a:lnTo>
                      <a:pt x="173" y="112"/>
                    </a:lnTo>
                    <a:lnTo>
                      <a:pt x="178" y="114"/>
                    </a:lnTo>
                    <a:lnTo>
                      <a:pt x="180" y="118"/>
                    </a:lnTo>
                    <a:lnTo>
                      <a:pt x="176" y="116"/>
                    </a:lnTo>
                    <a:lnTo>
                      <a:pt x="169" y="116"/>
                    </a:lnTo>
                    <a:lnTo>
                      <a:pt x="162" y="120"/>
                    </a:lnTo>
                    <a:lnTo>
                      <a:pt x="160" y="118"/>
                    </a:lnTo>
                    <a:lnTo>
                      <a:pt x="166" y="116"/>
                    </a:lnTo>
                    <a:lnTo>
                      <a:pt x="164" y="112"/>
                    </a:lnTo>
                    <a:lnTo>
                      <a:pt x="157" y="111"/>
                    </a:lnTo>
                    <a:lnTo>
                      <a:pt x="153" y="105"/>
                    </a:lnTo>
                    <a:lnTo>
                      <a:pt x="149" y="104"/>
                    </a:lnTo>
                    <a:lnTo>
                      <a:pt x="146" y="107"/>
                    </a:lnTo>
                    <a:lnTo>
                      <a:pt x="148" y="111"/>
                    </a:lnTo>
                    <a:lnTo>
                      <a:pt x="146" y="112"/>
                    </a:lnTo>
                    <a:lnTo>
                      <a:pt x="144" y="107"/>
                    </a:lnTo>
                    <a:lnTo>
                      <a:pt x="142" y="105"/>
                    </a:lnTo>
                    <a:lnTo>
                      <a:pt x="141" y="109"/>
                    </a:lnTo>
                    <a:lnTo>
                      <a:pt x="139" y="111"/>
                    </a:lnTo>
                    <a:lnTo>
                      <a:pt x="137" y="112"/>
                    </a:lnTo>
                    <a:lnTo>
                      <a:pt x="135" y="112"/>
                    </a:lnTo>
                    <a:lnTo>
                      <a:pt x="137" y="109"/>
                    </a:lnTo>
                    <a:lnTo>
                      <a:pt x="135" y="107"/>
                    </a:lnTo>
                    <a:lnTo>
                      <a:pt x="133" y="105"/>
                    </a:lnTo>
                    <a:lnTo>
                      <a:pt x="133" y="104"/>
                    </a:lnTo>
                    <a:lnTo>
                      <a:pt x="130" y="100"/>
                    </a:lnTo>
                    <a:lnTo>
                      <a:pt x="126" y="102"/>
                    </a:lnTo>
                    <a:lnTo>
                      <a:pt x="126" y="105"/>
                    </a:lnTo>
                    <a:lnTo>
                      <a:pt x="128" y="112"/>
                    </a:lnTo>
                    <a:lnTo>
                      <a:pt x="126" y="116"/>
                    </a:lnTo>
                    <a:lnTo>
                      <a:pt x="124" y="114"/>
                    </a:lnTo>
                    <a:lnTo>
                      <a:pt x="123" y="107"/>
                    </a:lnTo>
                    <a:lnTo>
                      <a:pt x="117" y="105"/>
                    </a:lnTo>
                    <a:lnTo>
                      <a:pt x="116" y="107"/>
                    </a:lnTo>
                    <a:lnTo>
                      <a:pt x="116" y="107"/>
                    </a:lnTo>
                    <a:lnTo>
                      <a:pt x="114" y="107"/>
                    </a:lnTo>
                    <a:lnTo>
                      <a:pt x="116" y="105"/>
                    </a:lnTo>
                    <a:lnTo>
                      <a:pt x="112" y="107"/>
                    </a:lnTo>
                    <a:lnTo>
                      <a:pt x="114" y="104"/>
                    </a:lnTo>
                    <a:lnTo>
                      <a:pt x="119" y="102"/>
                    </a:lnTo>
                    <a:lnTo>
                      <a:pt x="121" y="93"/>
                    </a:lnTo>
                    <a:lnTo>
                      <a:pt x="119" y="93"/>
                    </a:lnTo>
                    <a:lnTo>
                      <a:pt x="117" y="89"/>
                    </a:lnTo>
                    <a:lnTo>
                      <a:pt x="114" y="91"/>
                    </a:lnTo>
                    <a:lnTo>
                      <a:pt x="110" y="89"/>
                    </a:lnTo>
                    <a:lnTo>
                      <a:pt x="112" y="87"/>
                    </a:lnTo>
                    <a:lnTo>
                      <a:pt x="110" y="82"/>
                    </a:lnTo>
                    <a:lnTo>
                      <a:pt x="108" y="80"/>
                    </a:lnTo>
                    <a:lnTo>
                      <a:pt x="107" y="84"/>
                    </a:lnTo>
                    <a:lnTo>
                      <a:pt x="107" y="84"/>
                    </a:lnTo>
                    <a:lnTo>
                      <a:pt x="103" y="82"/>
                    </a:lnTo>
                    <a:lnTo>
                      <a:pt x="101" y="86"/>
                    </a:lnTo>
                    <a:lnTo>
                      <a:pt x="101" y="80"/>
                    </a:lnTo>
                    <a:lnTo>
                      <a:pt x="98" y="82"/>
                    </a:lnTo>
                    <a:lnTo>
                      <a:pt x="96" y="82"/>
                    </a:lnTo>
                    <a:lnTo>
                      <a:pt x="96" y="82"/>
                    </a:lnTo>
                    <a:lnTo>
                      <a:pt x="94" y="86"/>
                    </a:lnTo>
                    <a:lnTo>
                      <a:pt x="89" y="91"/>
                    </a:lnTo>
                    <a:lnTo>
                      <a:pt x="89" y="86"/>
                    </a:lnTo>
                    <a:lnTo>
                      <a:pt x="92" y="84"/>
                    </a:lnTo>
                    <a:lnTo>
                      <a:pt x="92" y="82"/>
                    </a:lnTo>
                    <a:lnTo>
                      <a:pt x="91" y="80"/>
                    </a:lnTo>
                    <a:lnTo>
                      <a:pt x="103" y="77"/>
                    </a:lnTo>
                    <a:lnTo>
                      <a:pt x="99" y="75"/>
                    </a:lnTo>
                    <a:lnTo>
                      <a:pt x="96" y="77"/>
                    </a:lnTo>
                    <a:lnTo>
                      <a:pt x="94" y="75"/>
                    </a:lnTo>
                    <a:lnTo>
                      <a:pt x="96" y="73"/>
                    </a:lnTo>
                    <a:lnTo>
                      <a:pt x="96" y="73"/>
                    </a:lnTo>
                    <a:lnTo>
                      <a:pt x="94" y="73"/>
                    </a:lnTo>
                    <a:lnTo>
                      <a:pt x="92" y="70"/>
                    </a:lnTo>
                    <a:lnTo>
                      <a:pt x="89" y="68"/>
                    </a:lnTo>
                    <a:lnTo>
                      <a:pt x="83" y="68"/>
                    </a:lnTo>
                    <a:lnTo>
                      <a:pt x="87" y="64"/>
                    </a:lnTo>
                    <a:lnTo>
                      <a:pt x="85" y="64"/>
                    </a:lnTo>
                    <a:lnTo>
                      <a:pt x="85" y="61"/>
                    </a:lnTo>
                    <a:lnTo>
                      <a:pt x="91" y="66"/>
                    </a:lnTo>
                    <a:lnTo>
                      <a:pt x="94" y="68"/>
                    </a:lnTo>
                    <a:lnTo>
                      <a:pt x="98" y="68"/>
                    </a:lnTo>
                    <a:lnTo>
                      <a:pt x="101" y="71"/>
                    </a:lnTo>
                    <a:lnTo>
                      <a:pt x="103" y="71"/>
                    </a:lnTo>
                    <a:lnTo>
                      <a:pt x="101" y="68"/>
                    </a:lnTo>
                    <a:lnTo>
                      <a:pt x="105" y="68"/>
                    </a:lnTo>
                    <a:lnTo>
                      <a:pt x="112" y="70"/>
                    </a:lnTo>
                    <a:lnTo>
                      <a:pt x="117" y="70"/>
                    </a:lnTo>
                    <a:lnTo>
                      <a:pt x="121" y="66"/>
                    </a:lnTo>
                    <a:lnTo>
                      <a:pt x="123" y="61"/>
                    </a:lnTo>
                    <a:lnTo>
                      <a:pt x="121" y="57"/>
                    </a:lnTo>
                    <a:lnTo>
                      <a:pt x="117" y="57"/>
                    </a:lnTo>
                    <a:lnTo>
                      <a:pt x="112" y="57"/>
                    </a:lnTo>
                    <a:lnTo>
                      <a:pt x="105" y="52"/>
                    </a:lnTo>
                    <a:lnTo>
                      <a:pt x="101" y="52"/>
                    </a:lnTo>
                    <a:lnTo>
                      <a:pt x="101" y="54"/>
                    </a:lnTo>
                    <a:lnTo>
                      <a:pt x="99" y="52"/>
                    </a:lnTo>
                    <a:lnTo>
                      <a:pt x="94" y="46"/>
                    </a:lnTo>
                    <a:lnTo>
                      <a:pt x="87" y="46"/>
                    </a:lnTo>
                    <a:lnTo>
                      <a:pt x="85" y="45"/>
                    </a:lnTo>
                    <a:lnTo>
                      <a:pt x="85" y="43"/>
                    </a:lnTo>
                    <a:lnTo>
                      <a:pt x="92" y="45"/>
                    </a:lnTo>
                    <a:lnTo>
                      <a:pt x="94" y="43"/>
                    </a:lnTo>
                    <a:lnTo>
                      <a:pt x="96" y="45"/>
                    </a:lnTo>
                    <a:lnTo>
                      <a:pt x="99" y="48"/>
                    </a:lnTo>
                    <a:lnTo>
                      <a:pt x="103" y="46"/>
                    </a:lnTo>
                    <a:lnTo>
                      <a:pt x="101" y="45"/>
                    </a:lnTo>
                    <a:lnTo>
                      <a:pt x="101" y="41"/>
                    </a:lnTo>
                    <a:lnTo>
                      <a:pt x="99" y="39"/>
                    </a:lnTo>
                    <a:lnTo>
                      <a:pt x="92" y="34"/>
                    </a:lnTo>
                    <a:lnTo>
                      <a:pt x="91" y="32"/>
                    </a:lnTo>
                    <a:lnTo>
                      <a:pt x="87" y="30"/>
                    </a:lnTo>
                    <a:lnTo>
                      <a:pt x="87" y="29"/>
                    </a:lnTo>
                    <a:lnTo>
                      <a:pt x="85" y="29"/>
                    </a:lnTo>
                    <a:lnTo>
                      <a:pt x="83" y="30"/>
                    </a:lnTo>
                    <a:lnTo>
                      <a:pt x="78" y="32"/>
                    </a:lnTo>
                    <a:lnTo>
                      <a:pt x="76" y="36"/>
                    </a:lnTo>
                    <a:lnTo>
                      <a:pt x="71" y="37"/>
                    </a:lnTo>
                    <a:lnTo>
                      <a:pt x="69" y="34"/>
                    </a:lnTo>
                    <a:lnTo>
                      <a:pt x="67" y="37"/>
                    </a:lnTo>
                    <a:lnTo>
                      <a:pt x="60" y="36"/>
                    </a:lnTo>
                    <a:lnTo>
                      <a:pt x="57" y="45"/>
                    </a:lnTo>
                    <a:lnTo>
                      <a:pt x="51" y="48"/>
                    </a:lnTo>
                    <a:lnTo>
                      <a:pt x="53" y="45"/>
                    </a:lnTo>
                    <a:lnTo>
                      <a:pt x="53" y="43"/>
                    </a:lnTo>
                    <a:lnTo>
                      <a:pt x="55" y="37"/>
                    </a:lnTo>
                    <a:lnTo>
                      <a:pt x="55" y="34"/>
                    </a:lnTo>
                    <a:lnTo>
                      <a:pt x="57" y="25"/>
                    </a:lnTo>
                    <a:lnTo>
                      <a:pt x="57" y="25"/>
                    </a:lnTo>
                    <a:lnTo>
                      <a:pt x="55" y="21"/>
                    </a:lnTo>
                    <a:lnTo>
                      <a:pt x="53" y="20"/>
                    </a:lnTo>
                    <a:lnTo>
                      <a:pt x="51" y="11"/>
                    </a:lnTo>
                    <a:lnTo>
                      <a:pt x="48" y="12"/>
                    </a:lnTo>
                    <a:lnTo>
                      <a:pt x="46" y="9"/>
                    </a:lnTo>
                    <a:lnTo>
                      <a:pt x="46" y="12"/>
                    </a:lnTo>
                    <a:lnTo>
                      <a:pt x="41" y="14"/>
                    </a:lnTo>
                    <a:lnTo>
                      <a:pt x="39" y="11"/>
                    </a:lnTo>
                    <a:lnTo>
                      <a:pt x="32"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50" name="Freeform 1798"/>
              <p:cNvSpPr>
                <a:spLocks/>
              </p:cNvSpPr>
              <p:nvPr/>
            </p:nvSpPr>
            <p:spPr bwMode="auto">
              <a:xfrm>
                <a:off x="1145" y="720"/>
                <a:ext cx="276" cy="173"/>
              </a:xfrm>
              <a:custGeom>
                <a:avLst/>
                <a:gdLst>
                  <a:gd name="T0" fmla="*/ 7 w 276"/>
                  <a:gd name="T1" fmla="*/ 4 h 173"/>
                  <a:gd name="T2" fmla="*/ 1 w 276"/>
                  <a:gd name="T3" fmla="*/ 12 h 173"/>
                  <a:gd name="T4" fmla="*/ 5 w 276"/>
                  <a:gd name="T5" fmla="*/ 23 h 173"/>
                  <a:gd name="T6" fmla="*/ 7 w 276"/>
                  <a:gd name="T7" fmla="*/ 29 h 173"/>
                  <a:gd name="T8" fmla="*/ 16 w 276"/>
                  <a:gd name="T9" fmla="*/ 36 h 173"/>
                  <a:gd name="T10" fmla="*/ 32 w 276"/>
                  <a:gd name="T11" fmla="*/ 57 h 173"/>
                  <a:gd name="T12" fmla="*/ 48 w 276"/>
                  <a:gd name="T13" fmla="*/ 57 h 173"/>
                  <a:gd name="T14" fmla="*/ 57 w 276"/>
                  <a:gd name="T15" fmla="*/ 52 h 173"/>
                  <a:gd name="T16" fmla="*/ 67 w 276"/>
                  <a:gd name="T17" fmla="*/ 80 h 173"/>
                  <a:gd name="T18" fmla="*/ 71 w 276"/>
                  <a:gd name="T19" fmla="*/ 118 h 173"/>
                  <a:gd name="T20" fmla="*/ 74 w 276"/>
                  <a:gd name="T21" fmla="*/ 152 h 173"/>
                  <a:gd name="T22" fmla="*/ 83 w 276"/>
                  <a:gd name="T23" fmla="*/ 164 h 173"/>
                  <a:gd name="T24" fmla="*/ 98 w 276"/>
                  <a:gd name="T25" fmla="*/ 164 h 173"/>
                  <a:gd name="T26" fmla="*/ 105 w 276"/>
                  <a:gd name="T27" fmla="*/ 168 h 173"/>
                  <a:gd name="T28" fmla="*/ 121 w 276"/>
                  <a:gd name="T29" fmla="*/ 162 h 173"/>
                  <a:gd name="T30" fmla="*/ 123 w 276"/>
                  <a:gd name="T31" fmla="*/ 155 h 173"/>
                  <a:gd name="T32" fmla="*/ 130 w 276"/>
                  <a:gd name="T33" fmla="*/ 152 h 173"/>
                  <a:gd name="T34" fmla="*/ 141 w 276"/>
                  <a:gd name="T35" fmla="*/ 173 h 173"/>
                  <a:gd name="T36" fmla="*/ 153 w 276"/>
                  <a:gd name="T37" fmla="*/ 168 h 173"/>
                  <a:gd name="T38" fmla="*/ 162 w 276"/>
                  <a:gd name="T39" fmla="*/ 170 h 173"/>
                  <a:gd name="T40" fmla="*/ 178 w 276"/>
                  <a:gd name="T41" fmla="*/ 173 h 173"/>
                  <a:gd name="T42" fmla="*/ 187 w 276"/>
                  <a:gd name="T43" fmla="*/ 170 h 173"/>
                  <a:gd name="T44" fmla="*/ 212 w 276"/>
                  <a:gd name="T45" fmla="*/ 166 h 173"/>
                  <a:gd name="T46" fmla="*/ 217 w 276"/>
                  <a:gd name="T47" fmla="*/ 152 h 173"/>
                  <a:gd name="T48" fmla="*/ 230 w 276"/>
                  <a:gd name="T49" fmla="*/ 168 h 173"/>
                  <a:gd name="T50" fmla="*/ 249 w 276"/>
                  <a:gd name="T51" fmla="*/ 168 h 173"/>
                  <a:gd name="T52" fmla="*/ 266 w 276"/>
                  <a:gd name="T53" fmla="*/ 155 h 173"/>
                  <a:gd name="T54" fmla="*/ 264 w 276"/>
                  <a:gd name="T55" fmla="*/ 136 h 173"/>
                  <a:gd name="T56" fmla="*/ 274 w 276"/>
                  <a:gd name="T57" fmla="*/ 111 h 173"/>
                  <a:gd name="T58" fmla="*/ 266 w 276"/>
                  <a:gd name="T59" fmla="*/ 107 h 173"/>
                  <a:gd name="T60" fmla="*/ 260 w 276"/>
                  <a:gd name="T61" fmla="*/ 96 h 173"/>
                  <a:gd name="T62" fmla="*/ 248 w 276"/>
                  <a:gd name="T63" fmla="*/ 89 h 173"/>
                  <a:gd name="T64" fmla="*/ 214 w 276"/>
                  <a:gd name="T65" fmla="*/ 89 h 173"/>
                  <a:gd name="T66" fmla="*/ 196 w 276"/>
                  <a:gd name="T67" fmla="*/ 95 h 173"/>
                  <a:gd name="T68" fmla="*/ 187 w 276"/>
                  <a:gd name="T69" fmla="*/ 100 h 173"/>
                  <a:gd name="T70" fmla="*/ 182 w 276"/>
                  <a:gd name="T71" fmla="*/ 105 h 173"/>
                  <a:gd name="T72" fmla="*/ 169 w 276"/>
                  <a:gd name="T73" fmla="*/ 111 h 173"/>
                  <a:gd name="T74" fmla="*/ 169 w 276"/>
                  <a:gd name="T75" fmla="*/ 116 h 173"/>
                  <a:gd name="T76" fmla="*/ 157 w 276"/>
                  <a:gd name="T77" fmla="*/ 111 h 173"/>
                  <a:gd name="T78" fmla="*/ 146 w 276"/>
                  <a:gd name="T79" fmla="*/ 112 h 173"/>
                  <a:gd name="T80" fmla="*/ 137 w 276"/>
                  <a:gd name="T81" fmla="*/ 112 h 173"/>
                  <a:gd name="T82" fmla="*/ 133 w 276"/>
                  <a:gd name="T83" fmla="*/ 104 h 173"/>
                  <a:gd name="T84" fmla="*/ 126 w 276"/>
                  <a:gd name="T85" fmla="*/ 116 h 173"/>
                  <a:gd name="T86" fmla="*/ 116 w 276"/>
                  <a:gd name="T87" fmla="*/ 107 h 173"/>
                  <a:gd name="T88" fmla="*/ 119 w 276"/>
                  <a:gd name="T89" fmla="*/ 102 h 173"/>
                  <a:gd name="T90" fmla="*/ 110 w 276"/>
                  <a:gd name="T91" fmla="*/ 89 h 173"/>
                  <a:gd name="T92" fmla="*/ 107 w 276"/>
                  <a:gd name="T93" fmla="*/ 84 h 173"/>
                  <a:gd name="T94" fmla="*/ 96 w 276"/>
                  <a:gd name="T95" fmla="*/ 82 h 173"/>
                  <a:gd name="T96" fmla="*/ 92 w 276"/>
                  <a:gd name="T97" fmla="*/ 84 h 173"/>
                  <a:gd name="T98" fmla="*/ 96 w 276"/>
                  <a:gd name="T99" fmla="*/ 77 h 173"/>
                  <a:gd name="T100" fmla="*/ 92 w 276"/>
                  <a:gd name="T101" fmla="*/ 70 h 173"/>
                  <a:gd name="T102" fmla="*/ 85 w 276"/>
                  <a:gd name="T103" fmla="*/ 61 h 173"/>
                  <a:gd name="T104" fmla="*/ 103 w 276"/>
                  <a:gd name="T105" fmla="*/ 71 h 173"/>
                  <a:gd name="T106" fmla="*/ 121 w 276"/>
                  <a:gd name="T107" fmla="*/ 66 h 173"/>
                  <a:gd name="T108" fmla="*/ 105 w 276"/>
                  <a:gd name="T109" fmla="*/ 52 h 173"/>
                  <a:gd name="T110" fmla="*/ 87 w 276"/>
                  <a:gd name="T111" fmla="*/ 46 h 173"/>
                  <a:gd name="T112" fmla="*/ 96 w 276"/>
                  <a:gd name="T113" fmla="*/ 45 h 173"/>
                  <a:gd name="T114" fmla="*/ 99 w 276"/>
                  <a:gd name="T115" fmla="*/ 39 h 173"/>
                  <a:gd name="T116" fmla="*/ 85 w 276"/>
                  <a:gd name="T117" fmla="*/ 29 h 173"/>
                  <a:gd name="T118" fmla="*/ 69 w 276"/>
                  <a:gd name="T119" fmla="*/ 34 h 173"/>
                  <a:gd name="T120" fmla="*/ 53 w 276"/>
                  <a:gd name="T121" fmla="*/ 45 h 173"/>
                  <a:gd name="T122" fmla="*/ 57 w 276"/>
                  <a:gd name="T123" fmla="*/ 25 h 173"/>
                  <a:gd name="T124" fmla="*/ 46 w 276"/>
                  <a:gd name="T125" fmla="*/ 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6" h="173">
                    <a:moveTo>
                      <a:pt x="32" y="5"/>
                    </a:moveTo>
                    <a:lnTo>
                      <a:pt x="28" y="5"/>
                    </a:lnTo>
                    <a:lnTo>
                      <a:pt x="23" y="2"/>
                    </a:lnTo>
                    <a:lnTo>
                      <a:pt x="17" y="0"/>
                    </a:lnTo>
                    <a:lnTo>
                      <a:pt x="7" y="4"/>
                    </a:lnTo>
                    <a:lnTo>
                      <a:pt x="7" y="7"/>
                    </a:lnTo>
                    <a:lnTo>
                      <a:pt x="5" y="9"/>
                    </a:lnTo>
                    <a:lnTo>
                      <a:pt x="1" y="7"/>
                    </a:lnTo>
                    <a:lnTo>
                      <a:pt x="1" y="11"/>
                    </a:lnTo>
                    <a:lnTo>
                      <a:pt x="1" y="12"/>
                    </a:lnTo>
                    <a:lnTo>
                      <a:pt x="1" y="14"/>
                    </a:lnTo>
                    <a:lnTo>
                      <a:pt x="5" y="16"/>
                    </a:lnTo>
                    <a:lnTo>
                      <a:pt x="10" y="21"/>
                    </a:lnTo>
                    <a:lnTo>
                      <a:pt x="10" y="23"/>
                    </a:lnTo>
                    <a:lnTo>
                      <a:pt x="5" y="23"/>
                    </a:lnTo>
                    <a:lnTo>
                      <a:pt x="1" y="20"/>
                    </a:lnTo>
                    <a:lnTo>
                      <a:pt x="0" y="20"/>
                    </a:lnTo>
                    <a:lnTo>
                      <a:pt x="0" y="25"/>
                    </a:lnTo>
                    <a:lnTo>
                      <a:pt x="1" y="27"/>
                    </a:lnTo>
                    <a:lnTo>
                      <a:pt x="7" y="29"/>
                    </a:lnTo>
                    <a:lnTo>
                      <a:pt x="7" y="30"/>
                    </a:lnTo>
                    <a:lnTo>
                      <a:pt x="10" y="32"/>
                    </a:lnTo>
                    <a:lnTo>
                      <a:pt x="10" y="32"/>
                    </a:lnTo>
                    <a:lnTo>
                      <a:pt x="12" y="36"/>
                    </a:lnTo>
                    <a:lnTo>
                      <a:pt x="16" y="36"/>
                    </a:lnTo>
                    <a:lnTo>
                      <a:pt x="21" y="50"/>
                    </a:lnTo>
                    <a:lnTo>
                      <a:pt x="26" y="50"/>
                    </a:lnTo>
                    <a:lnTo>
                      <a:pt x="28" y="54"/>
                    </a:lnTo>
                    <a:lnTo>
                      <a:pt x="32" y="62"/>
                    </a:lnTo>
                    <a:lnTo>
                      <a:pt x="32" y="57"/>
                    </a:lnTo>
                    <a:lnTo>
                      <a:pt x="33" y="59"/>
                    </a:lnTo>
                    <a:lnTo>
                      <a:pt x="48" y="62"/>
                    </a:lnTo>
                    <a:lnTo>
                      <a:pt x="51" y="61"/>
                    </a:lnTo>
                    <a:lnTo>
                      <a:pt x="48" y="61"/>
                    </a:lnTo>
                    <a:lnTo>
                      <a:pt x="48" y="57"/>
                    </a:lnTo>
                    <a:lnTo>
                      <a:pt x="51" y="57"/>
                    </a:lnTo>
                    <a:lnTo>
                      <a:pt x="51" y="59"/>
                    </a:lnTo>
                    <a:lnTo>
                      <a:pt x="55" y="55"/>
                    </a:lnTo>
                    <a:lnTo>
                      <a:pt x="55" y="54"/>
                    </a:lnTo>
                    <a:lnTo>
                      <a:pt x="57" y="52"/>
                    </a:lnTo>
                    <a:lnTo>
                      <a:pt x="60" y="54"/>
                    </a:lnTo>
                    <a:lnTo>
                      <a:pt x="62" y="64"/>
                    </a:lnTo>
                    <a:lnTo>
                      <a:pt x="66" y="68"/>
                    </a:lnTo>
                    <a:lnTo>
                      <a:pt x="66" y="79"/>
                    </a:lnTo>
                    <a:lnTo>
                      <a:pt x="67" y="80"/>
                    </a:lnTo>
                    <a:lnTo>
                      <a:pt x="74" y="89"/>
                    </a:lnTo>
                    <a:lnTo>
                      <a:pt x="74" y="102"/>
                    </a:lnTo>
                    <a:lnTo>
                      <a:pt x="76" y="104"/>
                    </a:lnTo>
                    <a:lnTo>
                      <a:pt x="69" y="116"/>
                    </a:lnTo>
                    <a:lnTo>
                      <a:pt x="71" y="118"/>
                    </a:lnTo>
                    <a:lnTo>
                      <a:pt x="69" y="129"/>
                    </a:lnTo>
                    <a:lnTo>
                      <a:pt x="71" y="134"/>
                    </a:lnTo>
                    <a:lnTo>
                      <a:pt x="76" y="132"/>
                    </a:lnTo>
                    <a:lnTo>
                      <a:pt x="74" y="141"/>
                    </a:lnTo>
                    <a:lnTo>
                      <a:pt x="74" y="152"/>
                    </a:lnTo>
                    <a:lnTo>
                      <a:pt x="78" y="157"/>
                    </a:lnTo>
                    <a:lnTo>
                      <a:pt x="83" y="159"/>
                    </a:lnTo>
                    <a:lnTo>
                      <a:pt x="82" y="159"/>
                    </a:lnTo>
                    <a:lnTo>
                      <a:pt x="82" y="162"/>
                    </a:lnTo>
                    <a:lnTo>
                      <a:pt x="83" y="164"/>
                    </a:lnTo>
                    <a:lnTo>
                      <a:pt x="89" y="162"/>
                    </a:lnTo>
                    <a:lnTo>
                      <a:pt x="89" y="157"/>
                    </a:lnTo>
                    <a:lnTo>
                      <a:pt x="96" y="152"/>
                    </a:lnTo>
                    <a:lnTo>
                      <a:pt x="92" y="157"/>
                    </a:lnTo>
                    <a:lnTo>
                      <a:pt x="98" y="164"/>
                    </a:lnTo>
                    <a:lnTo>
                      <a:pt x="98" y="157"/>
                    </a:lnTo>
                    <a:lnTo>
                      <a:pt x="99" y="164"/>
                    </a:lnTo>
                    <a:lnTo>
                      <a:pt x="103" y="164"/>
                    </a:lnTo>
                    <a:lnTo>
                      <a:pt x="103" y="166"/>
                    </a:lnTo>
                    <a:lnTo>
                      <a:pt x="105" y="168"/>
                    </a:lnTo>
                    <a:lnTo>
                      <a:pt x="107" y="166"/>
                    </a:lnTo>
                    <a:lnTo>
                      <a:pt x="107" y="170"/>
                    </a:lnTo>
                    <a:lnTo>
                      <a:pt x="116" y="170"/>
                    </a:lnTo>
                    <a:lnTo>
                      <a:pt x="121" y="164"/>
                    </a:lnTo>
                    <a:lnTo>
                      <a:pt x="121" y="162"/>
                    </a:lnTo>
                    <a:lnTo>
                      <a:pt x="117" y="159"/>
                    </a:lnTo>
                    <a:lnTo>
                      <a:pt x="117" y="155"/>
                    </a:lnTo>
                    <a:lnTo>
                      <a:pt x="117" y="155"/>
                    </a:lnTo>
                    <a:lnTo>
                      <a:pt x="119" y="155"/>
                    </a:lnTo>
                    <a:lnTo>
                      <a:pt x="123" y="155"/>
                    </a:lnTo>
                    <a:lnTo>
                      <a:pt x="121" y="152"/>
                    </a:lnTo>
                    <a:lnTo>
                      <a:pt x="126" y="161"/>
                    </a:lnTo>
                    <a:lnTo>
                      <a:pt x="128" y="155"/>
                    </a:lnTo>
                    <a:lnTo>
                      <a:pt x="128" y="152"/>
                    </a:lnTo>
                    <a:lnTo>
                      <a:pt x="130" y="152"/>
                    </a:lnTo>
                    <a:lnTo>
                      <a:pt x="133" y="155"/>
                    </a:lnTo>
                    <a:lnTo>
                      <a:pt x="132" y="171"/>
                    </a:lnTo>
                    <a:lnTo>
                      <a:pt x="135" y="173"/>
                    </a:lnTo>
                    <a:lnTo>
                      <a:pt x="139" y="171"/>
                    </a:lnTo>
                    <a:lnTo>
                      <a:pt x="141" y="173"/>
                    </a:lnTo>
                    <a:lnTo>
                      <a:pt x="144" y="171"/>
                    </a:lnTo>
                    <a:lnTo>
                      <a:pt x="144" y="173"/>
                    </a:lnTo>
                    <a:lnTo>
                      <a:pt x="149" y="173"/>
                    </a:lnTo>
                    <a:lnTo>
                      <a:pt x="151" y="168"/>
                    </a:lnTo>
                    <a:lnTo>
                      <a:pt x="153" y="168"/>
                    </a:lnTo>
                    <a:lnTo>
                      <a:pt x="151" y="173"/>
                    </a:lnTo>
                    <a:lnTo>
                      <a:pt x="160" y="173"/>
                    </a:lnTo>
                    <a:lnTo>
                      <a:pt x="164" y="171"/>
                    </a:lnTo>
                    <a:lnTo>
                      <a:pt x="160" y="166"/>
                    </a:lnTo>
                    <a:lnTo>
                      <a:pt x="162" y="170"/>
                    </a:lnTo>
                    <a:lnTo>
                      <a:pt x="166" y="173"/>
                    </a:lnTo>
                    <a:lnTo>
                      <a:pt x="169" y="170"/>
                    </a:lnTo>
                    <a:lnTo>
                      <a:pt x="169" y="166"/>
                    </a:lnTo>
                    <a:lnTo>
                      <a:pt x="173" y="173"/>
                    </a:lnTo>
                    <a:lnTo>
                      <a:pt x="178" y="173"/>
                    </a:lnTo>
                    <a:lnTo>
                      <a:pt x="180" y="168"/>
                    </a:lnTo>
                    <a:lnTo>
                      <a:pt x="180" y="161"/>
                    </a:lnTo>
                    <a:lnTo>
                      <a:pt x="185" y="170"/>
                    </a:lnTo>
                    <a:lnTo>
                      <a:pt x="187" y="171"/>
                    </a:lnTo>
                    <a:lnTo>
                      <a:pt x="187" y="170"/>
                    </a:lnTo>
                    <a:lnTo>
                      <a:pt x="191" y="166"/>
                    </a:lnTo>
                    <a:lnTo>
                      <a:pt x="189" y="162"/>
                    </a:lnTo>
                    <a:lnTo>
                      <a:pt x="189" y="159"/>
                    </a:lnTo>
                    <a:lnTo>
                      <a:pt x="191" y="170"/>
                    </a:lnTo>
                    <a:lnTo>
                      <a:pt x="212" y="166"/>
                    </a:lnTo>
                    <a:lnTo>
                      <a:pt x="217" y="155"/>
                    </a:lnTo>
                    <a:lnTo>
                      <a:pt x="214" y="154"/>
                    </a:lnTo>
                    <a:lnTo>
                      <a:pt x="212" y="146"/>
                    </a:lnTo>
                    <a:lnTo>
                      <a:pt x="216" y="148"/>
                    </a:lnTo>
                    <a:lnTo>
                      <a:pt x="217" y="152"/>
                    </a:lnTo>
                    <a:lnTo>
                      <a:pt x="221" y="152"/>
                    </a:lnTo>
                    <a:lnTo>
                      <a:pt x="221" y="164"/>
                    </a:lnTo>
                    <a:lnTo>
                      <a:pt x="226" y="171"/>
                    </a:lnTo>
                    <a:lnTo>
                      <a:pt x="230" y="170"/>
                    </a:lnTo>
                    <a:lnTo>
                      <a:pt x="230" y="168"/>
                    </a:lnTo>
                    <a:lnTo>
                      <a:pt x="232" y="170"/>
                    </a:lnTo>
                    <a:lnTo>
                      <a:pt x="235" y="173"/>
                    </a:lnTo>
                    <a:lnTo>
                      <a:pt x="241" y="173"/>
                    </a:lnTo>
                    <a:lnTo>
                      <a:pt x="244" y="170"/>
                    </a:lnTo>
                    <a:lnTo>
                      <a:pt x="249" y="168"/>
                    </a:lnTo>
                    <a:lnTo>
                      <a:pt x="260" y="168"/>
                    </a:lnTo>
                    <a:lnTo>
                      <a:pt x="264" y="166"/>
                    </a:lnTo>
                    <a:lnTo>
                      <a:pt x="267" y="164"/>
                    </a:lnTo>
                    <a:lnTo>
                      <a:pt x="267" y="157"/>
                    </a:lnTo>
                    <a:lnTo>
                      <a:pt x="266" y="155"/>
                    </a:lnTo>
                    <a:lnTo>
                      <a:pt x="266" y="154"/>
                    </a:lnTo>
                    <a:lnTo>
                      <a:pt x="266" y="150"/>
                    </a:lnTo>
                    <a:lnTo>
                      <a:pt x="260" y="145"/>
                    </a:lnTo>
                    <a:lnTo>
                      <a:pt x="262" y="137"/>
                    </a:lnTo>
                    <a:lnTo>
                      <a:pt x="264" y="136"/>
                    </a:lnTo>
                    <a:lnTo>
                      <a:pt x="267" y="134"/>
                    </a:lnTo>
                    <a:lnTo>
                      <a:pt x="269" y="129"/>
                    </a:lnTo>
                    <a:lnTo>
                      <a:pt x="273" y="127"/>
                    </a:lnTo>
                    <a:lnTo>
                      <a:pt x="276" y="121"/>
                    </a:lnTo>
                    <a:lnTo>
                      <a:pt x="274" y="111"/>
                    </a:lnTo>
                    <a:lnTo>
                      <a:pt x="274" y="111"/>
                    </a:lnTo>
                    <a:lnTo>
                      <a:pt x="273" y="111"/>
                    </a:lnTo>
                    <a:lnTo>
                      <a:pt x="271" y="109"/>
                    </a:lnTo>
                    <a:lnTo>
                      <a:pt x="273" y="107"/>
                    </a:lnTo>
                    <a:lnTo>
                      <a:pt x="266" y="107"/>
                    </a:lnTo>
                    <a:lnTo>
                      <a:pt x="262" y="107"/>
                    </a:lnTo>
                    <a:lnTo>
                      <a:pt x="266" y="105"/>
                    </a:lnTo>
                    <a:lnTo>
                      <a:pt x="266" y="102"/>
                    </a:lnTo>
                    <a:lnTo>
                      <a:pt x="266" y="100"/>
                    </a:lnTo>
                    <a:lnTo>
                      <a:pt x="260" y="96"/>
                    </a:lnTo>
                    <a:lnTo>
                      <a:pt x="257" y="98"/>
                    </a:lnTo>
                    <a:lnTo>
                      <a:pt x="251" y="96"/>
                    </a:lnTo>
                    <a:lnTo>
                      <a:pt x="251" y="91"/>
                    </a:lnTo>
                    <a:lnTo>
                      <a:pt x="249" y="89"/>
                    </a:lnTo>
                    <a:lnTo>
                      <a:pt x="248" y="89"/>
                    </a:lnTo>
                    <a:lnTo>
                      <a:pt x="232" y="86"/>
                    </a:lnTo>
                    <a:lnTo>
                      <a:pt x="226" y="87"/>
                    </a:lnTo>
                    <a:lnTo>
                      <a:pt x="221" y="93"/>
                    </a:lnTo>
                    <a:lnTo>
                      <a:pt x="216" y="91"/>
                    </a:lnTo>
                    <a:lnTo>
                      <a:pt x="214" y="89"/>
                    </a:lnTo>
                    <a:lnTo>
                      <a:pt x="212" y="89"/>
                    </a:lnTo>
                    <a:lnTo>
                      <a:pt x="210" y="87"/>
                    </a:lnTo>
                    <a:lnTo>
                      <a:pt x="207" y="87"/>
                    </a:lnTo>
                    <a:lnTo>
                      <a:pt x="205" y="91"/>
                    </a:lnTo>
                    <a:lnTo>
                      <a:pt x="196" y="95"/>
                    </a:lnTo>
                    <a:lnTo>
                      <a:pt x="194" y="96"/>
                    </a:lnTo>
                    <a:lnTo>
                      <a:pt x="196" y="100"/>
                    </a:lnTo>
                    <a:lnTo>
                      <a:pt x="196" y="100"/>
                    </a:lnTo>
                    <a:lnTo>
                      <a:pt x="191" y="98"/>
                    </a:lnTo>
                    <a:lnTo>
                      <a:pt x="187" y="100"/>
                    </a:lnTo>
                    <a:lnTo>
                      <a:pt x="185" y="104"/>
                    </a:lnTo>
                    <a:lnTo>
                      <a:pt x="185" y="102"/>
                    </a:lnTo>
                    <a:lnTo>
                      <a:pt x="185" y="109"/>
                    </a:lnTo>
                    <a:lnTo>
                      <a:pt x="185" y="107"/>
                    </a:lnTo>
                    <a:lnTo>
                      <a:pt x="182" y="105"/>
                    </a:lnTo>
                    <a:lnTo>
                      <a:pt x="180" y="102"/>
                    </a:lnTo>
                    <a:lnTo>
                      <a:pt x="178" y="107"/>
                    </a:lnTo>
                    <a:lnTo>
                      <a:pt x="174" y="105"/>
                    </a:lnTo>
                    <a:lnTo>
                      <a:pt x="169" y="109"/>
                    </a:lnTo>
                    <a:lnTo>
                      <a:pt x="169" y="111"/>
                    </a:lnTo>
                    <a:lnTo>
                      <a:pt x="173" y="112"/>
                    </a:lnTo>
                    <a:lnTo>
                      <a:pt x="178" y="114"/>
                    </a:lnTo>
                    <a:lnTo>
                      <a:pt x="180" y="118"/>
                    </a:lnTo>
                    <a:lnTo>
                      <a:pt x="176" y="116"/>
                    </a:lnTo>
                    <a:lnTo>
                      <a:pt x="169" y="116"/>
                    </a:lnTo>
                    <a:lnTo>
                      <a:pt x="162" y="120"/>
                    </a:lnTo>
                    <a:lnTo>
                      <a:pt x="160" y="118"/>
                    </a:lnTo>
                    <a:lnTo>
                      <a:pt x="166" y="116"/>
                    </a:lnTo>
                    <a:lnTo>
                      <a:pt x="164" y="112"/>
                    </a:lnTo>
                    <a:lnTo>
                      <a:pt x="157" y="111"/>
                    </a:lnTo>
                    <a:lnTo>
                      <a:pt x="153" y="105"/>
                    </a:lnTo>
                    <a:lnTo>
                      <a:pt x="149" y="104"/>
                    </a:lnTo>
                    <a:lnTo>
                      <a:pt x="146" y="107"/>
                    </a:lnTo>
                    <a:lnTo>
                      <a:pt x="148" y="111"/>
                    </a:lnTo>
                    <a:lnTo>
                      <a:pt x="146" y="112"/>
                    </a:lnTo>
                    <a:lnTo>
                      <a:pt x="144" y="107"/>
                    </a:lnTo>
                    <a:lnTo>
                      <a:pt x="142" y="105"/>
                    </a:lnTo>
                    <a:lnTo>
                      <a:pt x="141" y="109"/>
                    </a:lnTo>
                    <a:lnTo>
                      <a:pt x="139" y="111"/>
                    </a:lnTo>
                    <a:lnTo>
                      <a:pt x="137" y="112"/>
                    </a:lnTo>
                    <a:lnTo>
                      <a:pt x="135" y="112"/>
                    </a:lnTo>
                    <a:lnTo>
                      <a:pt x="137" y="109"/>
                    </a:lnTo>
                    <a:lnTo>
                      <a:pt x="135" y="107"/>
                    </a:lnTo>
                    <a:lnTo>
                      <a:pt x="133" y="105"/>
                    </a:lnTo>
                    <a:lnTo>
                      <a:pt x="133" y="104"/>
                    </a:lnTo>
                    <a:lnTo>
                      <a:pt x="130" y="100"/>
                    </a:lnTo>
                    <a:lnTo>
                      <a:pt x="126" y="102"/>
                    </a:lnTo>
                    <a:lnTo>
                      <a:pt x="126" y="105"/>
                    </a:lnTo>
                    <a:lnTo>
                      <a:pt x="128" y="112"/>
                    </a:lnTo>
                    <a:lnTo>
                      <a:pt x="126" y="116"/>
                    </a:lnTo>
                    <a:lnTo>
                      <a:pt x="124" y="114"/>
                    </a:lnTo>
                    <a:lnTo>
                      <a:pt x="123" y="107"/>
                    </a:lnTo>
                    <a:lnTo>
                      <a:pt x="117" y="105"/>
                    </a:lnTo>
                    <a:lnTo>
                      <a:pt x="116" y="107"/>
                    </a:lnTo>
                    <a:lnTo>
                      <a:pt x="116" y="107"/>
                    </a:lnTo>
                    <a:lnTo>
                      <a:pt x="114" y="107"/>
                    </a:lnTo>
                    <a:lnTo>
                      <a:pt x="116" y="105"/>
                    </a:lnTo>
                    <a:lnTo>
                      <a:pt x="112" y="107"/>
                    </a:lnTo>
                    <a:lnTo>
                      <a:pt x="114" y="104"/>
                    </a:lnTo>
                    <a:lnTo>
                      <a:pt x="119" y="102"/>
                    </a:lnTo>
                    <a:lnTo>
                      <a:pt x="121" y="93"/>
                    </a:lnTo>
                    <a:lnTo>
                      <a:pt x="119" y="93"/>
                    </a:lnTo>
                    <a:lnTo>
                      <a:pt x="117" y="89"/>
                    </a:lnTo>
                    <a:lnTo>
                      <a:pt x="114" y="91"/>
                    </a:lnTo>
                    <a:lnTo>
                      <a:pt x="110" y="89"/>
                    </a:lnTo>
                    <a:lnTo>
                      <a:pt x="112" y="87"/>
                    </a:lnTo>
                    <a:lnTo>
                      <a:pt x="110" y="82"/>
                    </a:lnTo>
                    <a:lnTo>
                      <a:pt x="108" y="80"/>
                    </a:lnTo>
                    <a:lnTo>
                      <a:pt x="107" y="84"/>
                    </a:lnTo>
                    <a:lnTo>
                      <a:pt x="107" y="84"/>
                    </a:lnTo>
                    <a:lnTo>
                      <a:pt x="103" y="82"/>
                    </a:lnTo>
                    <a:lnTo>
                      <a:pt x="101" y="86"/>
                    </a:lnTo>
                    <a:lnTo>
                      <a:pt x="101" y="80"/>
                    </a:lnTo>
                    <a:lnTo>
                      <a:pt x="98" y="82"/>
                    </a:lnTo>
                    <a:lnTo>
                      <a:pt x="96" y="82"/>
                    </a:lnTo>
                    <a:lnTo>
                      <a:pt x="96" y="82"/>
                    </a:lnTo>
                    <a:lnTo>
                      <a:pt x="94" y="86"/>
                    </a:lnTo>
                    <a:lnTo>
                      <a:pt x="89" y="91"/>
                    </a:lnTo>
                    <a:lnTo>
                      <a:pt x="89" y="86"/>
                    </a:lnTo>
                    <a:lnTo>
                      <a:pt x="92" y="84"/>
                    </a:lnTo>
                    <a:lnTo>
                      <a:pt x="92" y="82"/>
                    </a:lnTo>
                    <a:lnTo>
                      <a:pt x="91" y="80"/>
                    </a:lnTo>
                    <a:lnTo>
                      <a:pt x="103" y="77"/>
                    </a:lnTo>
                    <a:lnTo>
                      <a:pt x="99" y="75"/>
                    </a:lnTo>
                    <a:lnTo>
                      <a:pt x="96" y="77"/>
                    </a:lnTo>
                    <a:lnTo>
                      <a:pt x="94" y="75"/>
                    </a:lnTo>
                    <a:lnTo>
                      <a:pt x="96" y="73"/>
                    </a:lnTo>
                    <a:lnTo>
                      <a:pt x="96" y="73"/>
                    </a:lnTo>
                    <a:lnTo>
                      <a:pt x="94" y="73"/>
                    </a:lnTo>
                    <a:lnTo>
                      <a:pt x="92" y="70"/>
                    </a:lnTo>
                    <a:lnTo>
                      <a:pt x="89" y="68"/>
                    </a:lnTo>
                    <a:lnTo>
                      <a:pt x="83" y="68"/>
                    </a:lnTo>
                    <a:lnTo>
                      <a:pt x="87" y="64"/>
                    </a:lnTo>
                    <a:lnTo>
                      <a:pt x="85" y="64"/>
                    </a:lnTo>
                    <a:lnTo>
                      <a:pt x="85" y="61"/>
                    </a:lnTo>
                    <a:lnTo>
                      <a:pt x="91" y="66"/>
                    </a:lnTo>
                    <a:lnTo>
                      <a:pt x="94" y="68"/>
                    </a:lnTo>
                    <a:lnTo>
                      <a:pt x="98" y="68"/>
                    </a:lnTo>
                    <a:lnTo>
                      <a:pt x="101" y="71"/>
                    </a:lnTo>
                    <a:lnTo>
                      <a:pt x="103" y="71"/>
                    </a:lnTo>
                    <a:lnTo>
                      <a:pt x="101" y="68"/>
                    </a:lnTo>
                    <a:lnTo>
                      <a:pt x="105" y="68"/>
                    </a:lnTo>
                    <a:lnTo>
                      <a:pt x="112" y="70"/>
                    </a:lnTo>
                    <a:lnTo>
                      <a:pt x="117" y="70"/>
                    </a:lnTo>
                    <a:lnTo>
                      <a:pt x="121" y="66"/>
                    </a:lnTo>
                    <a:lnTo>
                      <a:pt x="123" y="61"/>
                    </a:lnTo>
                    <a:lnTo>
                      <a:pt x="121" y="57"/>
                    </a:lnTo>
                    <a:lnTo>
                      <a:pt x="117" y="57"/>
                    </a:lnTo>
                    <a:lnTo>
                      <a:pt x="112" y="57"/>
                    </a:lnTo>
                    <a:lnTo>
                      <a:pt x="105" y="52"/>
                    </a:lnTo>
                    <a:lnTo>
                      <a:pt x="101" y="52"/>
                    </a:lnTo>
                    <a:lnTo>
                      <a:pt x="101" y="54"/>
                    </a:lnTo>
                    <a:lnTo>
                      <a:pt x="99" y="52"/>
                    </a:lnTo>
                    <a:lnTo>
                      <a:pt x="94" y="46"/>
                    </a:lnTo>
                    <a:lnTo>
                      <a:pt x="87" y="46"/>
                    </a:lnTo>
                    <a:lnTo>
                      <a:pt x="85" y="45"/>
                    </a:lnTo>
                    <a:lnTo>
                      <a:pt x="85" y="43"/>
                    </a:lnTo>
                    <a:lnTo>
                      <a:pt x="92" y="45"/>
                    </a:lnTo>
                    <a:lnTo>
                      <a:pt x="94" y="43"/>
                    </a:lnTo>
                    <a:lnTo>
                      <a:pt x="96" y="45"/>
                    </a:lnTo>
                    <a:lnTo>
                      <a:pt x="99" y="48"/>
                    </a:lnTo>
                    <a:lnTo>
                      <a:pt x="103" y="46"/>
                    </a:lnTo>
                    <a:lnTo>
                      <a:pt x="101" y="45"/>
                    </a:lnTo>
                    <a:lnTo>
                      <a:pt x="101" y="41"/>
                    </a:lnTo>
                    <a:lnTo>
                      <a:pt x="99" y="39"/>
                    </a:lnTo>
                    <a:lnTo>
                      <a:pt x="92" y="34"/>
                    </a:lnTo>
                    <a:lnTo>
                      <a:pt x="91" y="32"/>
                    </a:lnTo>
                    <a:lnTo>
                      <a:pt x="87" y="30"/>
                    </a:lnTo>
                    <a:lnTo>
                      <a:pt x="87" y="29"/>
                    </a:lnTo>
                    <a:lnTo>
                      <a:pt x="85" y="29"/>
                    </a:lnTo>
                    <a:lnTo>
                      <a:pt x="83" y="30"/>
                    </a:lnTo>
                    <a:lnTo>
                      <a:pt x="78" y="32"/>
                    </a:lnTo>
                    <a:lnTo>
                      <a:pt x="76" y="36"/>
                    </a:lnTo>
                    <a:lnTo>
                      <a:pt x="71" y="37"/>
                    </a:lnTo>
                    <a:lnTo>
                      <a:pt x="69" y="34"/>
                    </a:lnTo>
                    <a:lnTo>
                      <a:pt x="67" y="37"/>
                    </a:lnTo>
                    <a:lnTo>
                      <a:pt x="60" y="36"/>
                    </a:lnTo>
                    <a:lnTo>
                      <a:pt x="57" y="45"/>
                    </a:lnTo>
                    <a:lnTo>
                      <a:pt x="51" y="48"/>
                    </a:lnTo>
                    <a:lnTo>
                      <a:pt x="53" y="45"/>
                    </a:lnTo>
                    <a:lnTo>
                      <a:pt x="53" y="43"/>
                    </a:lnTo>
                    <a:lnTo>
                      <a:pt x="55" y="37"/>
                    </a:lnTo>
                    <a:lnTo>
                      <a:pt x="55" y="34"/>
                    </a:lnTo>
                    <a:lnTo>
                      <a:pt x="57" y="25"/>
                    </a:lnTo>
                    <a:lnTo>
                      <a:pt x="57" y="25"/>
                    </a:lnTo>
                    <a:lnTo>
                      <a:pt x="55" y="21"/>
                    </a:lnTo>
                    <a:lnTo>
                      <a:pt x="53" y="20"/>
                    </a:lnTo>
                    <a:lnTo>
                      <a:pt x="51" y="11"/>
                    </a:lnTo>
                    <a:lnTo>
                      <a:pt x="48" y="12"/>
                    </a:lnTo>
                    <a:lnTo>
                      <a:pt x="46" y="9"/>
                    </a:lnTo>
                    <a:lnTo>
                      <a:pt x="46" y="12"/>
                    </a:lnTo>
                    <a:lnTo>
                      <a:pt x="41" y="14"/>
                    </a:lnTo>
                    <a:lnTo>
                      <a:pt x="39" y="11"/>
                    </a:lnTo>
                    <a:lnTo>
                      <a:pt x="32"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51" name="Freeform 1799"/>
              <p:cNvSpPr>
                <a:spLocks/>
              </p:cNvSpPr>
              <p:nvPr/>
            </p:nvSpPr>
            <p:spPr bwMode="auto">
              <a:xfrm>
                <a:off x="1418" y="790"/>
                <a:ext cx="14" cy="21"/>
              </a:xfrm>
              <a:custGeom>
                <a:avLst/>
                <a:gdLst>
                  <a:gd name="T0" fmla="*/ 10 w 14"/>
                  <a:gd name="T1" fmla="*/ 3 h 21"/>
                  <a:gd name="T2" fmla="*/ 10 w 14"/>
                  <a:gd name="T3" fmla="*/ 3 h 21"/>
                  <a:gd name="T4" fmla="*/ 9 w 14"/>
                  <a:gd name="T5" fmla="*/ 12 h 21"/>
                  <a:gd name="T6" fmla="*/ 12 w 14"/>
                  <a:gd name="T7" fmla="*/ 14 h 21"/>
                  <a:gd name="T8" fmla="*/ 14 w 14"/>
                  <a:gd name="T9" fmla="*/ 17 h 21"/>
                  <a:gd name="T10" fmla="*/ 7 w 14"/>
                  <a:gd name="T11" fmla="*/ 19 h 21"/>
                  <a:gd name="T12" fmla="*/ 7 w 14"/>
                  <a:gd name="T13" fmla="*/ 21 h 21"/>
                  <a:gd name="T14" fmla="*/ 5 w 14"/>
                  <a:gd name="T15" fmla="*/ 21 h 21"/>
                  <a:gd name="T16" fmla="*/ 0 w 14"/>
                  <a:gd name="T17" fmla="*/ 19 h 21"/>
                  <a:gd name="T18" fmla="*/ 1 w 14"/>
                  <a:gd name="T19" fmla="*/ 14 h 21"/>
                  <a:gd name="T20" fmla="*/ 1 w 14"/>
                  <a:gd name="T21" fmla="*/ 12 h 21"/>
                  <a:gd name="T22" fmla="*/ 5 w 14"/>
                  <a:gd name="T23" fmla="*/ 7 h 21"/>
                  <a:gd name="T24" fmla="*/ 5 w 14"/>
                  <a:gd name="T25" fmla="*/ 3 h 21"/>
                  <a:gd name="T26" fmla="*/ 7 w 14"/>
                  <a:gd name="T27" fmla="*/ 1 h 21"/>
                  <a:gd name="T28" fmla="*/ 7 w 14"/>
                  <a:gd name="T29" fmla="*/ 0 h 21"/>
                  <a:gd name="T30" fmla="*/ 7 w 14"/>
                  <a:gd name="T31" fmla="*/ 0 h 21"/>
                  <a:gd name="T32" fmla="*/ 10 w 14"/>
                  <a:gd name="T3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1">
                    <a:moveTo>
                      <a:pt x="10" y="3"/>
                    </a:moveTo>
                    <a:lnTo>
                      <a:pt x="10" y="3"/>
                    </a:lnTo>
                    <a:lnTo>
                      <a:pt x="9" y="12"/>
                    </a:lnTo>
                    <a:lnTo>
                      <a:pt x="12" y="14"/>
                    </a:lnTo>
                    <a:lnTo>
                      <a:pt x="14" y="17"/>
                    </a:lnTo>
                    <a:lnTo>
                      <a:pt x="7" y="19"/>
                    </a:lnTo>
                    <a:lnTo>
                      <a:pt x="7" y="21"/>
                    </a:lnTo>
                    <a:lnTo>
                      <a:pt x="5" y="21"/>
                    </a:lnTo>
                    <a:lnTo>
                      <a:pt x="0" y="19"/>
                    </a:lnTo>
                    <a:lnTo>
                      <a:pt x="1" y="14"/>
                    </a:lnTo>
                    <a:lnTo>
                      <a:pt x="1" y="12"/>
                    </a:lnTo>
                    <a:lnTo>
                      <a:pt x="5" y="7"/>
                    </a:lnTo>
                    <a:lnTo>
                      <a:pt x="5" y="3"/>
                    </a:lnTo>
                    <a:lnTo>
                      <a:pt x="7" y="1"/>
                    </a:lnTo>
                    <a:lnTo>
                      <a:pt x="7" y="0"/>
                    </a:lnTo>
                    <a:lnTo>
                      <a:pt x="7" y="0"/>
                    </a:lnTo>
                    <a:lnTo>
                      <a:pt x="10"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52" name="Freeform 1800"/>
              <p:cNvSpPr>
                <a:spLocks/>
              </p:cNvSpPr>
              <p:nvPr/>
            </p:nvSpPr>
            <p:spPr bwMode="auto">
              <a:xfrm>
                <a:off x="1418" y="790"/>
                <a:ext cx="14" cy="21"/>
              </a:xfrm>
              <a:custGeom>
                <a:avLst/>
                <a:gdLst>
                  <a:gd name="T0" fmla="*/ 10 w 14"/>
                  <a:gd name="T1" fmla="*/ 3 h 21"/>
                  <a:gd name="T2" fmla="*/ 10 w 14"/>
                  <a:gd name="T3" fmla="*/ 3 h 21"/>
                  <a:gd name="T4" fmla="*/ 9 w 14"/>
                  <a:gd name="T5" fmla="*/ 12 h 21"/>
                  <a:gd name="T6" fmla="*/ 12 w 14"/>
                  <a:gd name="T7" fmla="*/ 14 h 21"/>
                  <a:gd name="T8" fmla="*/ 14 w 14"/>
                  <a:gd name="T9" fmla="*/ 17 h 21"/>
                  <a:gd name="T10" fmla="*/ 7 w 14"/>
                  <a:gd name="T11" fmla="*/ 19 h 21"/>
                  <a:gd name="T12" fmla="*/ 7 w 14"/>
                  <a:gd name="T13" fmla="*/ 21 h 21"/>
                  <a:gd name="T14" fmla="*/ 5 w 14"/>
                  <a:gd name="T15" fmla="*/ 21 h 21"/>
                  <a:gd name="T16" fmla="*/ 0 w 14"/>
                  <a:gd name="T17" fmla="*/ 19 h 21"/>
                  <a:gd name="T18" fmla="*/ 1 w 14"/>
                  <a:gd name="T19" fmla="*/ 14 h 21"/>
                  <a:gd name="T20" fmla="*/ 1 w 14"/>
                  <a:gd name="T21" fmla="*/ 12 h 21"/>
                  <a:gd name="T22" fmla="*/ 5 w 14"/>
                  <a:gd name="T23" fmla="*/ 7 h 21"/>
                  <a:gd name="T24" fmla="*/ 5 w 14"/>
                  <a:gd name="T25" fmla="*/ 3 h 21"/>
                  <a:gd name="T26" fmla="*/ 7 w 14"/>
                  <a:gd name="T27" fmla="*/ 1 h 21"/>
                  <a:gd name="T28" fmla="*/ 7 w 14"/>
                  <a:gd name="T29" fmla="*/ 0 h 21"/>
                  <a:gd name="T30" fmla="*/ 7 w 14"/>
                  <a:gd name="T31" fmla="*/ 0 h 21"/>
                  <a:gd name="T32" fmla="*/ 10 w 14"/>
                  <a:gd name="T33"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21">
                    <a:moveTo>
                      <a:pt x="10" y="3"/>
                    </a:moveTo>
                    <a:lnTo>
                      <a:pt x="10" y="3"/>
                    </a:lnTo>
                    <a:lnTo>
                      <a:pt x="9" y="12"/>
                    </a:lnTo>
                    <a:lnTo>
                      <a:pt x="12" y="14"/>
                    </a:lnTo>
                    <a:lnTo>
                      <a:pt x="14" y="17"/>
                    </a:lnTo>
                    <a:lnTo>
                      <a:pt x="7" y="19"/>
                    </a:lnTo>
                    <a:lnTo>
                      <a:pt x="7" y="21"/>
                    </a:lnTo>
                    <a:lnTo>
                      <a:pt x="5" y="21"/>
                    </a:lnTo>
                    <a:lnTo>
                      <a:pt x="0" y="19"/>
                    </a:lnTo>
                    <a:lnTo>
                      <a:pt x="1" y="14"/>
                    </a:lnTo>
                    <a:lnTo>
                      <a:pt x="1" y="12"/>
                    </a:lnTo>
                    <a:lnTo>
                      <a:pt x="5" y="7"/>
                    </a:lnTo>
                    <a:lnTo>
                      <a:pt x="5" y="3"/>
                    </a:lnTo>
                    <a:lnTo>
                      <a:pt x="7" y="1"/>
                    </a:lnTo>
                    <a:lnTo>
                      <a:pt x="7" y="0"/>
                    </a:lnTo>
                    <a:lnTo>
                      <a:pt x="7" y="0"/>
                    </a:lnTo>
                    <a:lnTo>
                      <a:pt x="10"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53" name="Freeform 1801"/>
              <p:cNvSpPr>
                <a:spLocks/>
              </p:cNvSpPr>
              <p:nvPr/>
            </p:nvSpPr>
            <p:spPr bwMode="auto">
              <a:xfrm>
                <a:off x="1409" y="857"/>
                <a:ext cx="16" cy="15"/>
              </a:xfrm>
              <a:custGeom>
                <a:avLst/>
                <a:gdLst>
                  <a:gd name="T0" fmla="*/ 12 w 16"/>
                  <a:gd name="T1" fmla="*/ 11 h 15"/>
                  <a:gd name="T2" fmla="*/ 14 w 16"/>
                  <a:gd name="T3" fmla="*/ 11 h 15"/>
                  <a:gd name="T4" fmla="*/ 16 w 16"/>
                  <a:gd name="T5" fmla="*/ 8 h 15"/>
                  <a:gd name="T6" fmla="*/ 14 w 16"/>
                  <a:gd name="T7" fmla="*/ 6 h 15"/>
                  <a:gd name="T8" fmla="*/ 12 w 16"/>
                  <a:gd name="T9" fmla="*/ 0 h 15"/>
                  <a:gd name="T10" fmla="*/ 7 w 16"/>
                  <a:gd name="T11" fmla="*/ 2 h 15"/>
                  <a:gd name="T12" fmla="*/ 3 w 16"/>
                  <a:gd name="T13" fmla="*/ 4 h 15"/>
                  <a:gd name="T14" fmla="*/ 3 w 16"/>
                  <a:gd name="T15" fmla="*/ 4 h 15"/>
                  <a:gd name="T16" fmla="*/ 2 w 16"/>
                  <a:gd name="T17" fmla="*/ 4 h 15"/>
                  <a:gd name="T18" fmla="*/ 0 w 16"/>
                  <a:gd name="T19" fmla="*/ 8 h 15"/>
                  <a:gd name="T20" fmla="*/ 2 w 16"/>
                  <a:gd name="T21" fmla="*/ 11 h 15"/>
                  <a:gd name="T22" fmla="*/ 5 w 16"/>
                  <a:gd name="T23" fmla="*/ 15 h 15"/>
                  <a:gd name="T24" fmla="*/ 9 w 16"/>
                  <a:gd name="T25" fmla="*/ 13 h 15"/>
                  <a:gd name="T26" fmla="*/ 12 w 16"/>
                  <a:gd name="T2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5">
                    <a:moveTo>
                      <a:pt x="12" y="11"/>
                    </a:moveTo>
                    <a:lnTo>
                      <a:pt x="14" y="11"/>
                    </a:lnTo>
                    <a:lnTo>
                      <a:pt x="16" y="8"/>
                    </a:lnTo>
                    <a:lnTo>
                      <a:pt x="14" y="6"/>
                    </a:lnTo>
                    <a:lnTo>
                      <a:pt x="12" y="0"/>
                    </a:lnTo>
                    <a:lnTo>
                      <a:pt x="7" y="2"/>
                    </a:lnTo>
                    <a:lnTo>
                      <a:pt x="3" y="4"/>
                    </a:lnTo>
                    <a:lnTo>
                      <a:pt x="3" y="4"/>
                    </a:lnTo>
                    <a:lnTo>
                      <a:pt x="2" y="4"/>
                    </a:lnTo>
                    <a:lnTo>
                      <a:pt x="0" y="8"/>
                    </a:lnTo>
                    <a:lnTo>
                      <a:pt x="2" y="11"/>
                    </a:lnTo>
                    <a:lnTo>
                      <a:pt x="5" y="15"/>
                    </a:lnTo>
                    <a:lnTo>
                      <a:pt x="9" y="13"/>
                    </a:lnTo>
                    <a:lnTo>
                      <a:pt x="12"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54" name="Freeform 1802"/>
              <p:cNvSpPr>
                <a:spLocks/>
              </p:cNvSpPr>
              <p:nvPr/>
            </p:nvSpPr>
            <p:spPr bwMode="auto">
              <a:xfrm>
                <a:off x="1409" y="857"/>
                <a:ext cx="16" cy="15"/>
              </a:xfrm>
              <a:custGeom>
                <a:avLst/>
                <a:gdLst>
                  <a:gd name="T0" fmla="*/ 12 w 16"/>
                  <a:gd name="T1" fmla="*/ 11 h 15"/>
                  <a:gd name="T2" fmla="*/ 14 w 16"/>
                  <a:gd name="T3" fmla="*/ 11 h 15"/>
                  <a:gd name="T4" fmla="*/ 16 w 16"/>
                  <a:gd name="T5" fmla="*/ 8 h 15"/>
                  <a:gd name="T6" fmla="*/ 14 w 16"/>
                  <a:gd name="T7" fmla="*/ 6 h 15"/>
                  <a:gd name="T8" fmla="*/ 12 w 16"/>
                  <a:gd name="T9" fmla="*/ 0 h 15"/>
                  <a:gd name="T10" fmla="*/ 7 w 16"/>
                  <a:gd name="T11" fmla="*/ 2 h 15"/>
                  <a:gd name="T12" fmla="*/ 3 w 16"/>
                  <a:gd name="T13" fmla="*/ 4 h 15"/>
                  <a:gd name="T14" fmla="*/ 3 w 16"/>
                  <a:gd name="T15" fmla="*/ 4 h 15"/>
                  <a:gd name="T16" fmla="*/ 2 w 16"/>
                  <a:gd name="T17" fmla="*/ 4 h 15"/>
                  <a:gd name="T18" fmla="*/ 0 w 16"/>
                  <a:gd name="T19" fmla="*/ 8 h 15"/>
                  <a:gd name="T20" fmla="*/ 2 w 16"/>
                  <a:gd name="T21" fmla="*/ 11 h 15"/>
                  <a:gd name="T22" fmla="*/ 5 w 16"/>
                  <a:gd name="T23" fmla="*/ 15 h 15"/>
                  <a:gd name="T24" fmla="*/ 9 w 16"/>
                  <a:gd name="T25" fmla="*/ 13 h 15"/>
                  <a:gd name="T26" fmla="*/ 12 w 16"/>
                  <a:gd name="T27"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5">
                    <a:moveTo>
                      <a:pt x="12" y="11"/>
                    </a:moveTo>
                    <a:lnTo>
                      <a:pt x="14" y="11"/>
                    </a:lnTo>
                    <a:lnTo>
                      <a:pt x="16" y="8"/>
                    </a:lnTo>
                    <a:lnTo>
                      <a:pt x="14" y="6"/>
                    </a:lnTo>
                    <a:lnTo>
                      <a:pt x="12" y="0"/>
                    </a:lnTo>
                    <a:lnTo>
                      <a:pt x="7" y="2"/>
                    </a:lnTo>
                    <a:lnTo>
                      <a:pt x="3" y="4"/>
                    </a:lnTo>
                    <a:lnTo>
                      <a:pt x="3" y="4"/>
                    </a:lnTo>
                    <a:lnTo>
                      <a:pt x="2" y="4"/>
                    </a:lnTo>
                    <a:lnTo>
                      <a:pt x="0" y="8"/>
                    </a:lnTo>
                    <a:lnTo>
                      <a:pt x="2" y="11"/>
                    </a:lnTo>
                    <a:lnTo>
                      <a:pt x="5" y="15"/>
                    </a:lnTo>
                    <a:lnTo>
                      <a:pt x="9" y="13"/>
                    </a:lnTo>
                    <a:lnTo>
                      <a:pt x="12"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55" name="Freeform 1803"/>
              <p:cNvSpPr>
                <a:spLocks/>
              </p:cNvSpPr>
              <p:nvPr/>
            </p:nvSpPr>
            <p:spPr bwMode="auto">
              <a:xfrm>
                <a:off x="1152" y="816"/>
                <a:ext cx="48" cy="66"/>
              </a:xfrm>
              <a:custGeom>
                <a:avLst/>
                <a:gdLst>
                  <a:gd name="T0" fmla="*/ 25 w 48"/>
                  <a:gd name="T1" fmla="*/ 0 h 66"/>
                  <a:gd name="T2" fmla="*/ 30 w 48"/>
                  <a:gd name="T3" fmla="*/ 6 h 66"/>
                  <a:gd name="T4" fmla="*/ 35 w 48"/>
                  <a:gd name="T5" fmla="*/ 11 h 66"/>
                  <a:gd name="T6" fmla="*/ 37 w 48"/>
                  <a:gd name="T7" fmla="*/ 15 h 66"/>
                  <a:gd name="T8" fmla="*/ 39 w 48"/>
                  <a:gd name="T9" fmla="*/ 22 h 66"/>
                  <a:gd name="T10" fmla="*/ 42 w 48"/>
                  <a:gd name="T11" fmla="*/ 22 h 66"/>
                  <a:gd name="T12" fmla="*/ 48 w 48"/>
                  <a:gd name="T13" fmla="*/ 29 h 66"/>
                  <a:gd name="T14" fmla="*/ 48 w 48"/>
                  <a:gd name="T15" fmla="*/ 61 h 66"/>
                  <a:gd name="T16" fmla="*/ 44 w 48"/>
                  <a:gd name="T17" fmla="*/ 66 h 66"/>
                  <a:gd name="T18" fmla="*/ 35 w 48"/>
                  <a:gd name="T19" fmla="*/ 66 h 66"/>
                  <a:gd name="T20" fmla="*/ 28 w 48"/>
                  <a:gd name="T21" fmla="*/ 66 h 66"/>
                  <a:gd name="T22" fmla="*/ 25 w 48"/>
                  <a:gd name="T23" fmla="*/ 61 h 66"/>
                  <a:gd name="T24" fmla="*/ 23 w 48"/>
                  <a:gd name="T25" fmla="*/ 58 h 66"/>
                  <a:gd name="T26" fmla="*/ 17 w 48"/>
                  <a:gd name="T27" fmla="*/ 54 h 66"/>
                  <a:gd name="T28" fmla="*/ 17 w 48"/>
                  <a:gd name="T29" fmla="*/ 58 h 66"/>
                  <a:gd name="T30" fmla="*/ 16 w 48"/>
                  <a:gd name="T31" fmla="*/ 56 h 66"/>
                  <a:gd name="T32" fmla="*/ 14 w 48"/>
                  <a:gd name="T33" fmla="*/ 52 h 66"/>
                  <a:gd name="T34" fmla="*/ 12 w 48"/>
                  <a:gd name="T35" fmla="*/ 54 h 66"/>
                  <a:gd name="T36" fmla="*/ 7 w 48"/>
                  <a:gd name="T37" fmla="*/ 47 h 66"/>
                  <a:gd name="T38" fmla="*/ 9 w 48"/>
                  <a:gd name="T39" fmla="*/ 41 h 66"/>
                  <a:gd name="T40" fmla="*/ 7 w 48"/>
                  <a:gd name="T41" fmla="*/ 40 h 66"/>
                  <a:gd name="T42" fmla="*/ 5 w 48"/>
                  <a:gd name="T43" fmla="*/ 47 h 66"/>
                  <a:gd name="T44" fmla="*/ 1 w 48"/>
                  <a:gd name="T45" fmla="*/ 41 h 66"/>
                  <a:gd name="T46" fmla="*/ 0 w 48"/>
                  <a:gd name="T47" fmla="*/ 31 h 66"/>
                  <a:gd name="T48" fmla="*/ 3 w 48"/>
                  <a:gd name="T49" fmla="*/ 29 h 66"/>
                  <a:gd name="T50" fmla="*/ 10 w 48"/>
                  <a:gd name="T51" fmla="*/ 24 h 66"/>
                  <a:gd name="T52" fmla="*/ 7 w 48"/>
                  <a:gd name="T53" fmla="*/ 22 h 66"/>
                  <a:gd name="T54" fmla="*/ 9 w 48"/>
                  <a:gd name="T55" fmla="*/ 16 h 66"/>
                  <a:gd name="T56" fmla="*/ 12 w 48"/>
                  <a:gd name="T57" fmla="*/ 18 h 66"/>
                  <a:gd name="T58" fmla="*/ 9 w 48"/>
                  <a:gd name="T59" fmla="*/ 15 h 66"/>
                  <a:gd name="T60" fmla="*/ 7 w 48"/>
                  <a:gd name="T61" fmla="*/ 15 h 66"/>
                  <a:gd name="T62" fmla="*/ 12 w 48"/>
                  <a:gd name="T63" fmla="*/ 15 h 66"/>
                  <a:gd name="T64" fmla="*/ 19 w 48"/>
                  <a:gd name="T65" fmla="*/ 2 h 66"/>
                  <a:gd name="T66" fmla="*/ 25 w 48"/>
                  <a:gd name="T6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6">
                    <a:moveTo>
                      <a:pt x="25" y="2"/>
                    </a:moveTo>
                    <a:lnTo>
                      <a:pt x="25" y="0"/>
                    </a:lnTo>
                    <a:lnTo>
                      <a:pt x="25" y="4"/>
                    </a:lnTo>
                    <a:lnTo>
                      <a:pt x="30" y="6"/>
                    </a:lnTo>
                    <a:lnTo>
                      <a:pt x="34" y="9"/>
                    </a:lnTo>
                    <a:lnTo>
                      <a:pt x="35" y="11"/>
                    </a:lnTo>
                    <a:lnTo>
                      <a:pt x="35" y="15"/>
                    </a:lnTo>
                    <a:lnTo>
                      <a:pt x="37" y="15"/>
                    </a:lnTo>
                    <a:lnTo>
                      <a:pt x="39" y="16"/>
                    </a:lnTo>
                    <a:lnTo>
                      <a:pt x="39" y="22"/>
                    </a:lnTo>
                    <a:lnTo>
                      <a:pt x="41" y="18"/>
                    </a:lnTo>
                    <a:lnTo>
                      <a:pt x="42" y="22"/>
                    </a:lnTo>
                    <a:lnTo>
                      <a:pt x="42" y="24"/>
                    </a:lnTo>
                    <a:lnTo>
                      <a:pt x="48" y="29"/>
                    </a:lnTo>
                    <a:lnTo>
                      <a:pt x="46" y="33"/>
                    </a:lnTo>
                    <a:lnTo>
                      <a:pt x="48" y="61"/>
                    </a:lnTo>
                    <a:lnTo>
                      <a:pt x="46" y="63"/>
                    </a:lnTo>
                    <a:lnTo>
                      <a:pt x="44" y="66"/>
                    </a:lnTo>
                    <a:lnTo>
                      <a:pt x="41" y="66"/>
                    </a:lnTo>
                    <a:lnTo>
                      <a:pt x="35" y="66"/>
                    </a:lnTo>
                    <a:lnTo>
                      <a:pt x="32" y="66"/>
                    </a:lnTo>
                    <a:lnTo>
                      <a:pt x="28" y="66"/>
                    </a:lnTo>
                    <a:lnTo>
                      <a:pt x="26" y="65"/>
                    </a:lnTo>
                    <a:lnTo>
                      <a:pt x="25" y="61"/>
                    </a:lnTo>
                    <a:lnTo>
                      <a:pt x="23" y="61"/>
                    </a:lnTo>
                    <a:lnTo>
                      <a:pt x="23" y="58"/>
                    </a:lnTo>
                    <a:lnTo>
                      <a:pt x="19" y="54"/>
                    </a:lnTo>
                    <a:lnTo>
                      <a:pt x="17" y="54"/>
                    </a:lnTo>
                    <a:lnTo>
                      <a:pt x="17" y="56"/>
                    </a:lnTo>
                    <a:lnTo>
                      <a:pt x="17" y="58"/>
                    </a:lnTo>
                    <a:lnTo>
                      <a:pt x="16" y="58"/>
                    </a:lnTo>
                    <a:lnTo>
                      <a:pt x="16" y="56"/>
                    </a:lnTo>
                    <a:lnTo>
                      <a:pt x="16" y="52"/>
                    </a:lnTo>
                    <a:lnTo>
                      <a:pt x="14" y="52"/>
                    </a:lnTo>
                    <a:lnTo>
                      <a:pt x="12" y="52"/>
                    </a:lnTo>
                    <a:lnTo>
                      <a:pt x="12" y="54"/>
                    </a:lnTo>
                    <a:lnTo>
                      <a:pt x="10" y="52"/>
                    </a:lnTo>
                    <a:lnTo>
                      <a:pt x="7" y="47"/>
                    </a:lnTo>
                    <a:lnTo>
                      <a:pt x="7" y="45"/>
                    </a:lnTo>
                    <a:lnTo>
                      <a:pt x="9" y="41"/>
                    </a:lnTo>
                    <a:lnTo>
                      <a:pt x="9" y="43"/>
                    </a:lnTo>
                    <a:lnTo>
                      <a:pt x="7" y="40"/>
                    </a:lnTo>
                    <a:lnTo>
                      <a:pt x="5" y="47"/>
                    </a:lnTo>
                    <a:lnTo>
                      <a:pt x="5" y="47"/>
                    </a:lnTo>
                    <a:lnTo>
                      <a:pt x="3" y="43"/>
                    </a:lnTo>
                    <a:lnTo>
                      <a:pt x="1" y="41"/>
                    </a:lnTo>
                    <a:lnTo>
                      <a:pt x="0" y="33"/>
                    </a:lnTo>
                    <a:lnTo>
                      <a:pt x="0" y="31"/>
                    </a:lnTo>
                    <a:lnTo>
                      <a:pt x="1" y="31"/>
                    </a:lnTo>
                    <a:lnTo>
                      <a:pt x="3" y="29"/>
                    </a:lnTo>
                    <a:lnTo>
                      <a:pt x="3" y="27"/>
                    </a:lnTo>
                    <a:lnTo>
                      <a:pt x="10" y="24"/>
                    </a:lnTo>
                    <a:lnTo>
                      <a:pt x="10" y="22"/>
                    </a:lnTo>
                    <a:lnTo>
                      <a:pt x="7" y="22"/>
                    </a:lnTo>
                    <a:lnTo>
                      <a:pt x="7" y="20"/>
                    </a:lnTo>
                    <a:lnTo>
                      <a:pt x="9" y="16"/>
                    </a:lnTo>
                    <a:lnTo>
                      <a:pt x="9" y="18"/>
                    </a:lnTo>
                    <a:lnTo>
                      <a:pt x="12" y="18"/>
                    </a:lnTo>
                    <a:lnTo>
                      <a:pt x="12" y="15"/>
                    </a:lnTo>
                    <a:lnTo>
                      <a:pt x="9" y="15"/>
                    </a:lnTo>
                    <a:lnTo>
                      <a:pt x="7" y="18"/>
                    </a:lnTo>
                    <a:lnTo>
                      <a:pt x="7" y="15"/>
                    </a:lnTo>
                    <a:lnTo>
                      <a:pt x="9" y="13"/>
                    </a:lnTo>
                    <a:lnTo>
                      <a:pt x="12" y="15"/>
                    </a:lnTo>
                    <a:lnTo>
                      <a:pt x="12" y="8"/>
                    </a:lnTo>
                    <a:lnTo>
                      <a:pt x="19" y="2"/>
                    </a:lnTo>
                    <a:lnTo>
                      <a:pt x="23" y="0"/>
                    </a:lnTo>
                    <a:lnTo>
                      <a:pt x="25"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56" name="Freeform 1804"/>
              <p:cNvSpPr>
                <a:spLocks/>
              </p:cNvSpPr>
              <p:nvPr/>
            </p:nvSpPr>
            <p:spPr bwMode="auto">
              <a:xfrm>
                <a:off x="1152" y="816"/>
                <a:ext cx="48" cy="66"/>
              </a:xfrm>
              <a:custGeom>
                <a:avLst/>
                <a:gdLst>
                  <a:gd name="T0" fmla="*/ 25 w 48"/>
                  <a:gd name="T1" fmla="*/ 0 h 66"/>
                  <a:gd name="T2" fmla="*/ 30 w 48"/>
                  <a:gd name="T3" fmla="*/ 6 h 66"/>
                  <a:gd name="T4" fmla="*/ 35 w 48"/>
                  <a:gd name="T5" fmla="*/ 11 h 66"/>
                  <a:gd name="T6" fmla="*/ 37 w 48"/>
                  <a:gd name="T7" fmla="*/ 15 h 66"/>
                  <a:gd name="T8" fmla="*/ 39 w 48"/>
                  <a:gd name="T9" fmla="*/ 22 h 66"/>
                  <a:gd name="T10" fmla="*/ 42 w 48"/>
                  <a:gd name="T11" fmla="*/ 22 h 66"/>
                  <a:gd name="T12" fmla="*/ 48 w 48"/>
                  <a:gd name="T13" fmla="*/ 29 h 66"/>
                  <a:gd name="T14" fmla="*/ 48 w 48"/>
                  <a:gd name="T15" fmla="*/ 61 h 66"/>
                  <a:gd name="T16" fmla="*/ 44 w 48"/>
                  <a:gd name="T17" fmla="*/ 66 h 66"/>
                  <a:gd name="T18" fmla="*/ 35 w 48"/>
                  <a:gd name="T19" fmla="*/ 66 h 66"/>
                  <a:gd name="T20" fmla="*/ 28 w 48"/>
                  <a:gd name="T21" fmla="*/ 66 h 66"/>
                  <a:gd name="T22" fmla="*/ 25 w 48"/>
                  <a:gd name="T23" fmla="*/ 61 h 66"/>
                  <a:gd name="T24" fmla="*/ 23 w 48"/>
                  <a:gd name="T25" fmla="*/ 58 h 66"/>
                  <a:gd name="T26" fmla="*/ 17 w 48"/>
                  <a:gd name="T27" fmla="*/ 54 h 66"/>
                  <a:gd name="T28" fmla="*/ 17 w 48"/>
                  <a:gd name="T29" fmla="*/ 58 h 66"/>
                  <a:gd name="T30" fmla="*/ 16 w 48"/>
                  <a:gd name="T31" fmla="*/ 56 h 66"/>
                  <a:gd name="T32" fmla="*/ 14 w 48"/>
                  <a:gd name="T33" fmla="*/ 52 h 66"/>
                  <a:gd name="T34" fmla="*/ 12 w 48"/>
                  <a:gd name="T35" fmla="*/ 54 h 66"/>
                  <a:gd name="T36" fmla="*/ 7 w 48"/>
                  <a:gd name="T37" fmla="*/ 47 h 66"/>
                  <a:gd name="T38" fmla="*/ 9 w 48"/>
                  <a:gd name="T39" fmla="*/ 41 h 66"/>
                  <a:gd name="T40" fmla="*/ 7 w 48"/>
                  <a:gd name="T41" fmla="*/ 40 h 66"/>
                  <a:gd name="T42" fmla="*/ 5 w 48"/>
                  <a:gd name="T43" fmla="*/ 47 h 66"/>
                  <a:gd name="T44" fmla="*/ 1 w 48"/>
                  <a:gd name="T45" fmla="*/ 41 h 66"/>
                  <a:gd name="T46" fmla="*/ 0 w 48"/>
                  <a:gd name="T47" fmla="*/ 31 h 66"/>
                  <a:gd name="T48" fmla="*/ 3 w 48"/>
                  <a:gd name="T49" fmla="*/ 29 h 66"/>
                  <a:gd name="T50" fmla="*/ 10 w 48"/>
                  <a:gd name="T51" fmla="*/ 24 h 66"/>
                  <a:gd name="T52" fmla="*/ 7 w 48"/>
                  <a:gd name="T53" fmla="*/ 22 h 66"/>
                  <a:gd name="T54" fmla="*/ 9 w 48"/>
                  <a:gd name="T55" fmla="*/ 16 h 66"/>
                  <a:gd name="T56" fmla="*/ 12 w 48"/>
                  <a:gd name="T57" fmla="*/ 18 h 66"/>
                  <a:gd name="T58" fmla="*/ 9 w 48"/>
                  <a:gd name="T59" fmla="*/ 15 h 66"/>
                  <a:gd name="T60" fmla="*/ 7 w 48"/>
                  <a:gd name="T61" fmla="*/ 15 h 66"/>
                  <a:gd name="T62" fmla="*/ 12 w 48"/>
                  <a:gd name="T63" fmla="*/ 15 h 66"/>
                  <a:gd name="T64" fmla="*/ 19 w 48"/>
                  <a:gd name="T65" fmla="*/ 2 h 66"/>
                  <a:gd name="T66" fmla="*/ 25 w 48"/>
                  <a:gd name="T67"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66">
                    <a:moveTo>
                      <a:pt x="25" y="2"/>
                    </a:moveTo>
                    <a:lnTo>
                      <a:pt x="25" y="0"/>
                    </a:lnTo>
                    <a:lnTo>
                      <a:pt x="25" y="4"/>
                    </a:lnTo>
                    <a:lnTo>
                      <a:pt x="30" y="6"/>
                    </a:lnTo>
                    <a:lnTo>
                      <a:pt x="34" y="9"/>
                    </a:lnTo>
                    <a:lnTo>
                      <a:pt x="35" y="11"/>
                    </a:lnTo>
                    <a:lnTo>
                      <a:pt x="35" y="15"/>
                    </a:lnTo>
                    <a:lnTo>
                      <a:pt x="37" y="15"/>
                    </a:lnTo>
                    <a:lnTo>
                      <a:pt x="39" y="16"/>
                    </a:lnTo>
                    <a:lnTo>
                      <a:pt x="39" y="22"/>
                    </a:lnTo>
                    <a:lnTo>
                      <a:pt x="41" y="18"/>
                    </a:lnTo>
                    <a:lnTo>
                      <a:pt x="42" y="22"/>
                    </a:lnTo>
                    <a:lnTo>
                      <a:pt x="42" y="24"/>
                    </a:lnTo>
                    <a:lnTo>
                      <a:pt x="48" y="29"/>
                    </a:lnTo>
                    <a:lnTo>
                      <a:pt x="46" y="33"/>
                    </a:lnTo>
                    <a:lnTo>
                      <a:pt x="48" y="61"/>
                    </a:lnTo>
                    <a:lnTo>
                      <a:pt x="46" y="63"/>
                    </a:lnTo>
                    <a:lnTo>
                      <a:pt x="44" y="66"/>
                    </a:lnTo>
                    <a:lnTo>
                      <a:pt x="41" y="66"/>
                    </a:lnTo>
                    <a:lnTo>
                      <a:pt x="35" y="66"/>
                    </a:lnTo>
                    <a:lnTo>
                      <a:pt x="32" y="66"/>
                    </a:lnTo>
                    <a:lnTo>
                      <a:pt x="28" y="66"/>
                    </a:lnTo>
                    <a:lnTo>
                      <a:pt x="26" y="65"/>
                    </a:lnTo>
                    <a:lnTo>
                      <a:pt x="25" y="61"/>
                    </a:lnTo>
                    <a:lnTo>
                      <a:pt x="23" y="61"/>
                    </a:lnTo>
                    <a:lnTo>
                      <a:pt x="23" y="58"/>
                    </a:lnTo>
                    <a:lnTo>
                      <a:pt x="19" y="54"/>
                    </a:lnTo>
                    <a:lnTo>
                      <a:pt x="17" y="54"/>
                    </a:lnTo>
                    <a:lnTo>
                      <a:pt x="17" y="56"/>
                    </a:lnTo>
                    <a:lnTo>
                      <a:pt x="17" y="58"/>
                    </a:lnTo>
                    <a:lnTo>
                      <a:pt x="16" y="58"/>
                    </a:lnTo>
                    <a:lnTo>
                      <a:pt x="16" y="56"/>
                    </a:lnTo>
                    <a:lnTo>
                      <a:pt x="16" y="52"/>
                    </a:lnTo>
                    <a:lnTo>
                      <a:pt x="14" y="52"/>
                    </a:lnTo>
                    <a:lnTo>
                      <a:pt x="12" y="52"/>
                    </a:lnTo>
                    <a:lnTo>
                      <a:pt x="12" y="54"/>
                    </a:lnTo>
                    <a:lnTo>
                      <a:pt x="10" y="52"/>
                    </a:lnTo>
                    <a:lnTo>
                      <a:pt x="7" y="47"/>
                    </a:lnTo>
                    <a:lnTo>
                      <a:pt x="7" y="45"/>
                    </a:lnTo>
                    <a:lnTo>
                      <a:pt x="9" y="41"/>
                    </a:lnTo>
                    <a:lnTo>
                      <a:pt x="9" y="43"/>
                    </a:lnTo>
                    <a:lnTo>
                      <a:pt x="7" y="40"/>
                    </a:lnTo>
                    <a:lnTo>
                      <a:pt x="5" y="47"/>
                    </a:lnTo>
                    <a:lnTo>
                      <a:pt x="5" y="47"/>
                    </a:lnTo>
                    <a:lnTo>
                      <a:pt x="3" y="43"/>
                    </a:lnTo>
                    <a:lnTo>
                      <a:pt x="1" y="41"/>
                    </a:lnTo>
                    <a:lnTo>
                      <a:pt x="0" y="33"/>
                    </a:lnTo>
                    <a:lnTo>
                      <a:pt x="0" y="31"/>
                    </a:lnTo>
                    <a:lnTo>
                      <a:pt x="1" y="31"/>
                    </a:lnTo>
                    <a:lnTo>
                      <a:pt x="3" y="29"/>
                    </a:lnTo>
                    <a:lnTo>
                      <a:pt x="3" y="27"/>
                    </a:lnTo>
                    <a:lnTo>
                      <a:pt x="10" y="24"/>
                    </a:lnTo>
                    <a:lnTo>
                      <a:pt x="10" y="22"/>
                    </a:lnTo>
                    <a:lnTo>
                      <a:pt x="7" y="22"/>
                    </a:lnTo>
                    <a:lnTo>
                      <a:pt x="7" y="20"/>
                    </a:lnTo>
                    <a:lnTo>
                      <a:pt x="9" y="16"/>
                    </a:lnTo>
                    <a:lnTo>
                      <a:pt x="9" y="18"/>
                    </a:lnTo>
                    <a:lnTo>
                      <a:pt x="12" y="18"/>
                    </a:lnTo>
                    <a:lnTo>
                      <a:pt x="12" y="15"/>
                    </a:lnTo>
                    <a:lnTo>
                      <a:pt x="9" y="15"/>
                    </a:lnTo>
                    <a:lnTo>
                      <a:pt x="7" y="18"/>
                    </a:lnTo>
                    <a:lnTo>
                      <a:pt x="7" y="15"/>
                    </a:lnTo>
                    <a:lnTo>
                      <a:pt x="9" y="13"/>
                    </a:lnTo>
                    <a:lnTo>
                      <a:pt x="12" y="15"/>
                    </a:lnTo>
                    <a:lnTo>
                      <a:pt x="12" y="8"/>
                    </a:lnTo>
                    <a:lnTo>
                      <a:pt x="19" y="2"/>
                    </a:lnTo>
                    <a:lnTo>
                      <a:pt x="23" y="0"/>
                    </a:lnTo>
                    <a:lnTo>
                      <a:pt x="25"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57" name="Freeform 1805"/>
              <p:cNvSpPr>
                <a:spLocks/>
              </p:cNvSpPr>
              <p:nvPr/>
            </p:nvSpPr>
            <p:spPr bwMode="auto">
              <a:xfrm>
                <a:off x="1302" y="1302"/>
                <a:ext cx="110" cy="102"/>
              </a:xfrm>
              <a:custGeom>
                <a:avLst/>
                <a:gdLst>
                  <a:gd name="T0" fmla="*/ 25 w 110"/>
                  <a:gd name="T1" fmla="*/ 2 h 102"/>
                  <a:gd name="T2" fmla="*/ 26 w 110"/>
                  <a:gd name="T3" fmla="*/ 4 h 102"/>
                  <a:gd name="T4" fmla="*/ 32 w 110"/>
                  <a:gd name="T5" fmla="*/ 9 h 102"/>
                  <a:gd name="T6" fmla="*/ 32 w 110"/>
                  <a:gd name="T7" fmla="*/ 14 h 102"/>
                  <a:gd name="T8" fmla="*/ 37 w 110"/>
                  <a:gd name="T9" fmla="*/ 25 h 102"/>
                  <a:gd name="T10" fmla="*/ 41 w 110"/>
                  <a:gd name="T11" fmla="*/ 18 h 102"/>
                  <a:gd name="T12" fmla="*/ 46 w 110"/>
                  <a:gd name="T13" fmla="*/ 22 h 102"/>
                  <a:gd name="T14" fmla="*/ 48 w 110"/>
                  <a:gd name="T15" fmla="*/ 27 h 102"/>
                  <a:gd name="T16" fmla="*/ 59 w 110"/>
                  <a:gd name="T17" fmla="*/ 30 h 102"/>
                  <a:gd name="T18" fmla="*/ 64 w 110"/>
                  <a:gd name="T19" fmla="*/ 38 h 102"/>
                  <a:gd name="T20" fmla="*/ 69 w 110"/>
                  <a:gd name="T21" fmla="*/ 43 h 102"/>
                  <a:gd name="T22" fmla="*/ 76 w 110"/>
                  <a:gd name="T23" fmla="*/ 45 h 102"/>
                  <a:gd name="T24" fmla="*/ 85 w 110"/>
                  <a:gd name="T25" fmla="*/ 54 h 102"/>
                  <a:gd name="T26" fmla="*/ 89 w 110"/>
                  <a:gd name="T27" fmla="*/ 66 h 102"/>
                  <a:gd name="T28" fmla="*/ 89 w 110"/>
                  <a:gd name="T29" fmla="*/ 72 h 102"/>
                  <a:gd name="T30" fmla="*/ 94 w 110"/>
                  <a:gd name="T31" fmla="*/ 70 h 102"/>
                  <a:gd name="T32" fmla="*/ 98 w 110"/>
                  <a:gd name="T33" fmla="*/ 66 h 102"/>
                  <a:gd name="T34" fmla="*/ 103 w 110"/>
                  <a:gd name="T35" fmla="*/ 72 h 102"/>
                  <a:gd name="T36" fmla="*/ 105 w 110"/>
                  <a:gd name="T37" fmla="*/ 75 h 102"/>
                  <a:gd name="T38" fmla="*/ 110 w 110"/>
                  <a:gd name="T39" fmla="*/ 79 h 102"/>
                  <a:gd name="T40" fmla="*/ 109 w 110"/>
                  <a:gd name="T41" fmla="*/ 80 h 102"/>
                  <a:gd name="T42" fmla="*/ 96 w 110"/>
                  <a:gd name="T43" fmla="*/ 91 h 102"/>
                  <a:gd name="T44" fmla="*/ 91 w 110"/>
                  <a:gd name="T45" fmla="*/ 88 h 102"/>
                  <a:gd name="T46" fmla="*/ 89 w 110"/>
                  <a:gd name="T47" fmla="*/ 88 h 102"/>
                  <a:gd name="T48" fmla="*/ 84 w 110"/>
                  <a:gd name="T49" fmla="*/ 84 h 102"/>
                  <a:gd name="T50" fmla="*/ 80 w 110"/>
                  <a:gd name="T51" fmla="*/ 82 h 102"/>
                  <a:gd name="T52" fmla="*/ 76 w 110"/>
                  <a:gd name="T53" fmla="*/ 84 h 102"/>
                  <a:gd name="T54" fmla="*/ 76 w 110"/>
                  <a:gd name="T55" fmla="*/ 79 h 102"/>
                  <a:gd name="T56" fmla="*/ 73 w 110"/>
                  <a:gd name="T57" fmla="*/ 73 h 102"/>
                  <a:gd name="T58" fmla="*/ 67 w 110"/>
                  <a:gd name="T59" fmla="*/ 73 h 102"/>
                  <a:gd name="T60" fmla="*/ 64 w 110"/>
                  <a:gd name="T61" fmla="*/ 72 h 102"/>
                  <a:gd name="T62" fmla="*/ 67 w 110"/>
                  <a:gd name="T63" fmla="*/ 66 h 102"/>
                  <a:gd name="T64" fmla="*/ 57 w 110"/>
                  <a:gd name="T65" fmla="*/ 70 h 102"/>
                  <a:gd name="T66" fmla="*/ 57 w 110"/>
                  <a:gd name="T67" fmla="*/ 77 h 102"/>
                  <a:gd name="T68" fmla="*/ 53 w 110"/>
                  <a:gd name="T69" fmla="*/ 80 h 102"/>
                  <a:gd name="T70" fmla="*/ 51 w 110"/>
                  <a:gd name="T71" fmla="*/ 84 h 102"/>
                  <a:gd name="T72" fmla="*/ 48 w 110"/>
                  <a:gd name="T73" fmla="*/ 88 h 102"/>
                  <a:gd name="T74" fmla="*/ 42 w 110"/>
                  <a:gd name="T75" fmla="*/ 93 h 102"/>
                  <a:gd name="T76" fmla="*/ 42 w 110"/>
                  <a:gd name="T77" fmla="*/ 93 h 102"/>
                  <a:gd name="T78" fmla="*/ 30 w 110"/>
                  <a:gd name="T79" fmla="*/ 102 h 102"/>
                  <a:gd name="T80" fmla="*/ 26 w 110"/>
                  <a:gd name="T81" fmla="*/ 102 h 102"/>
                  <a:gd name="T82" fmla="*/ 25 w 110"/>
                  <a:gd name="T83" fmla="*/ 86 h 102"/>
                  <a:gd name="T84" fmla="*/ 23 w 110"/>
                  <a:gd name="T85" fmla="*/ 77 h 102"/>
                  <a:gd name="T86" fmla="*/ 21 w 110"/>
                  <a:gd name="T87" fmla="*/ 82 h 102"/>
                  <a:gd name="T88" fmla="*/ 17 w 110"/>
                  <a:gd name="T89" fmla="*/ 84 h 102"/>
                  <a:gd name="T90" fmla="*/ 12 w 110"/>
                  <a:gd name="T91" fmla="*/ 84 h 102"/>
                  <a:gd name="T92" fmla="*/ 5 w 110"/>
                  <a:gd name="T93" fmla="*/ 88 h 102"/>
                  <a:gd name="T94" fmla="*/ 0 w 110"/>
                  <a:gd name="T95" fmla="*/ 86 h 102"/>
                  <a:gd name="T96" fmla="*/ 1 w 110"/>
                  <a:gd name="T97" fmla="*/ 75 h 102"/>
                  <a:gd name="T98" fmla="*/ 9 w 110"/>
                  <a:gd name="T99" fmla="*/ 72 h 102"/>
                  <a:gd name="T100" fmla="*/ 14 w 110"/>
                  <a:gd name="T101" fmla="*/ 63 h 102"/>
                  <a:gd name="T102" fmla="*/ 17 w 110"/>
                  <a:gd name="T103" fmla="*/ 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102">
                    <a:moveTo>
                      <a:pt x="21" y="5"/>
                    </a:moveTo>
                    <a:lnTo>
                      <a:pt x="25" y="2"/>
                    </a:lnTo>
                    <a:lnTo>
                      <a:pt x="25" y="0"/>
                    </a:lnTo>
                    <a:lnTo>
                      <a:pt x="26" y="4"/>
                    </a:lnTo>
                    <a:lnTo>
                      <a:pt x="30" y="4"/>
                    </a:lnTo>
                    <a:lnTo>
                      <a:pt x="32" y="9"/>
                    </a:lnTo>
                    <a:lnTo>
                      <a:pt x="34" y="13"/>
                    </a:lnTo>
                    <a:lnTo>
                      <a:pt x="32" y="14"/>
                    </a:lnTo>
                    <a:lnTo>
                      <a:pt x="34" y="25"/>
                    </a:lnTo>
                    <a:lnTo>
                      <a:pt x="37" y="25"/>
                    </a:lnTo>
                    <a:lnTo>
                      <a:pt x="37" y="22"/>
                    </a:lnTo>
                    <a:lnTo>
                      <a:pt x="41" y="18"/>
                    </a:lnTo>
                    <a:lnTo>
                      <a:pt x="42" y="18"/>
                    </a:lnTo>
                    <a:lnTo>
                      <a:pt x="46" y="22"/>
                    </a:lnTo>
                    <a:lnTo>
                      <a:pt x="48" y="22"/>
                    </a:lnTo>
                    <a:lnTo>
                      <a:pt x="48" y="27"/>
                    </a:lnTo>
                    <a:lnTo>
                      <a:pt x="51" y="29"/>
                    </a:lnTo>
                    <a:lnTo>
                      <a:pt x="59" y="30"/>
                    </a:lnTo>
                    <a:lnTo>
                      <a:pt x="60" y="34"/>
                    </a:lnTo>
                    <a:lnTo>
                      <a:pt x="64" y="38"/>
                    </a:lnTo>
                    <a:lnTo>
                      <a:pt x="67" y="39"/>
                    </a:lnTo>
                    <a:lnTo>
                      <a:pt x="69" y="43"/>
                    </a:lnTo>
                    <a:lnTo>
                      <a:pt x="73" y="45"/>
                    </a:lnTo>
                    <a:lnTo>
                      <a:pt x="76" y="45"/>
                    </a:lnTo>
                    <a:lnTo>
                      <a:pt x="82" y="48"/>
                    </a:lnTo>
                    <a:lnTo>
                      <a:pt x="85" y="54"/>
                    </a:lnTo>
                    <a:lnTo>
                      <a:pt x="87" y="63"/>
                    </a:lnTo>
                    <a:lnTo>
                      <a:pt x="89" y="66"/>
                    </a:lnTo>
                    <a:lnTo>
                      <a:pt x="87" y="70"/>
                    </a:lnTo>
                    <a:lnTo>
                      <a:pt x="89" y="72"/>
                    </a:lnTo>
                    <a:lnTo>
                      <a:pt x="92" y="70"/>
                    </a:lnTo>
                    <a:lnTo>
                      <a:pt x="94" y="70"/>
                    </a:lnTo>
                    <a:lnTo>
                      <a:pt x="94" y="72"/>
                    </a:lnTo>
                    <a:lnTo>
                      <a:pt x="98" y="66"/>
                    </a:lnTo>
                    <a:lnTo>
                      <a:pt x="101" y="68"/>
                    </a:lnTo>
                    <a:lnTo>
                      <a:pt x="103" y="72"/>
                    </a:lnTo>
                    <a:lnTo>
                      <a:pt x="105" y="73"/>
                    </a:lnTo>
                    <a:lnTo>
                      <a:pt x="105" y="75"/>
                    </a:lnTo>
                    <a:lnTo>
                      <a:pt x="105" y="77"/>
                    </a:lnTo>
                    <a:lnTo>
                      <a:pt x="110" y="79"/>
                    </a:lnTo>
                    <a:lnTo>
                      <a:pt x="110" y="80"/>
                    </a:lnTo>
                    <a:lnTo>
                      <a:pt x="109" y="80"/>
                    </a:lnTo>
                    <a:lnTo>
                      <a:pt x="100" y="91"/>
                    </a:lnTo>
                    <a:lnTo>
                      <a:pt x="96" y="91"/>
                    </a:lnTo>
                    <a:lnTo>
                      <a:pt x="92" y="89"/>
                    </a:lnTo>
                    <a:lnTo>
                      <a:pt x="91" y="88"/>
                    </a:lnTo>
                    <a:lnTo>
                      <a:pt x="91" y="86"/>
                    </a:lnTo>
                    <a:lnTo>
                      <a:pt x="89" y="88"/>
                    </a:lnTo>
                    <a:lnTo>
                      <a:pt x="87" y="86"/>
                    </a:lnTo>
                    <a:lnTo>
                      <a:pt x="84" y="84"/>
                    </a:lnTo>
                    <a:lnTo>
                      <a:pt x="82" y="84"/>
                    </a:lnTo>
                    <a:lnTo>
                      <a:pt x="80" y="82"/>
                    </a:lnTo>
                    <a:lnTo>
                      <a:pt x="78" y="84"/>
                    </a:lnTo>
                    <a:lnTo>
                      <a:pt x="76" y="84"/>
                    </a:lnTo>
                    <a:lnTo>
                      <a:pt x="75" y="80"/>
                    </a:lnTo>
                    <a:lnTo>
                      <a:pt x="76" y="79"/>
                    </a:lnTo>
                    <a:lnTo>
                      <a:pt x="76" y="75"/>
                    </a:lnTo>
                    <a:lnTo>
                      <a:pt x="73" y="73"/>
                    </a:lnTo>
                    <a:lnTo>
                      <a:pt x="67" y="72"/>
                    </a:lnTo>
                    <a:lnTo>
                      <a:pt x="67" y="73"/>
                    </a:lnTo>
                    <a:lnTo>
                      <a:pt x="67" y="73"/>
                    </a:lnTo>
                    <a:lnTo>
                      <a:pt x="64" y="72"/>
                    </a:lnTo>
                    <a:lnTo>
                      <a:pt x="66" y="68"/>
                    </a:lnTo>
                    <a:lnTo>
                      <a:pt x="67" y="66"/>
                    </a:lnTo>
                    <a:lnTo>
                      <a:pt x="67" y="66"/>
                    </a:lnTo>
                    <a:lnTo>
                      <a:pt x="57" y="70"/>
                    </a:lnTo>
                    <a:lnTo>
                      <a:pt x="55" y="75"/>
                    </a:lnTo>
                    <a:lnTo>
                      <a:pt x="57" y="77"/>
                    </a:lnTo>
                    <a:lnTo>
                      <a:pt x="57" y="80"/>
                    </a:lnTo>
                    <a:lnTo>
                      <a:pt x="53" y="80"/>
                    </a:lnTo>
                    <a:lnTo>
                      <a:pt x="53" y="82"/>
                    </a:lnTo>
                    <a:lnTo>
                      <a:pt x="51" y="84"/>
                    </a:lnTo>
                    <a:lnTo>
                      <a:pt x="50" y="86"/>
                    </a:lnTo>
                    <a:lnTo>
                      <a:pt x="48" y="88"/>
                    </a:lnTo>
                    <a:lnTo>
                      <a:pt x="46" y="88"/>
                    </a:lnTo>
                    <a:lnTo>
                      <a:pt x="42" y="93"/>
                    </a:lnTo>
                    <a:lnTo>
                      <a:pt x="42" y="93"/>
                    </a:lnTo>
                    <a:lnTo>
                      <a:pt x="42" y="93"/>
                    </a:lnTo>
                    <a:lnTo>
                      <a:pt x="39" y="98"/>
                    </a:lnTo>
                    <a:lnTo>
                      <a:pt x="30" y="102"/>
                    </a:lnTo>
                    <a:lnTo>
                      <a:pt x="30" y="102"/>
                    </a:lnTo>
                    <a:lnTo>
                      <a:pt x="26" y="102"/>
                    </a:lnTo>
                    <a:lnTo>
                      <a:pt x="25" y="98"/>
                    </a:lnTo>
                    <a:lnTo>
                      <a:pt x="25" y="86"/>
                    </a:lnTo>
                    <a:lnTo>
                      <a:pt x="23" y="84"/>
                    </a:lnTo>
                    <a:lnTo>
                      <a:pt x="23" y="77"/>
                    </a:lnTo>
                    <a:lnTo>
                      <a:pt x="21" y="79"/>
                    </a:lnTo>
                    <a:lnTo>
                      <a:pt x="21" y="82"/>
                    </a:lnTo>
                    <a:lnTo>
                      <a:pt x="19" y="82"/>
                    </a:lnTo>
                    <a:lnTo>
                      <a:pt x="17" y="84"/>
                    </a:lnTo>
                    <a:lnTo>
                      <a:pt x="12" y="84"/>
                    </a:lnTo>
                    <a:lnTo>
                      <a:pt x="12" y="84"/>
                    </a:lnTo>
                    <a:lnTo>
                      <a:pt x="10" y="84"/>
                    </a:lnTo>
                    <a:lnTo>
                      <a:pt x="5" y="88"/>
                    </a:lnTo>
                    <a:lnTo>
                      <a:pt x="1" y="88"/>
                    </a:lnTo>
                    <a:lnTo>
                      <a:pt x="0" y="86"/>
                    </a:lnTo>
                    <a:lnTo>
                      <a:pt x="0" y="84"/>
                    </a:lnTo>
                    <a:lnTo>
                      <a:pt x="1" y="75"/>
                    </a:lnTo>
                    <a:lnTo>
                      <a:pt x="5" y="73"/>
                    </a:lnTo>
                    <a:lnTo>
                      <a:pt x="9" y="72"/>
                    </a:lnTo>
                    <a:lnTo>
                      <a:pt x="14" y="66"/>
                    </a:lnTo>
                    <a:lnTo>
                      <a:pt x="14" y="63"/>
                    </a:lnTo>
                    <a:lnTo>
                      <a:pt x="12" y="61"/>
                    </a:lnTo>
                    <a:lnTo>
                      <a:pt x="17" y="9"/>
                    </a:lnTo>
                    <a:lnTo>
                      <a:pt x="21"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58" name="Freeform 1806"/>
              <p:cNvSpPr>
                <a:spLocks/>
              </p:cNvSpPr>
              <p:nvPr/>
            </p:nvSpPr>
            <p:spPr bwMode="auto">
              <a:xfrm>
                <a:off x="1302" y="1302"/>
                <a:ext cx="110" cy="102"/>
              </a:xfrm>
              <a:custGeom>
                <a:avLst/>
                <a:gdLst>
                  <a:gd name="T0" fmla="*/ 25 w 110"/>
                  <a:gd name="T1" fmla="*/ 2 h 102"/>
                  <a:gd name="T2" fmla="*/ 26 w 110"/>
                  <a:gd name="T3" fmla="*/ 4 h 102"/>
                  <a:gd name="T4" fmla="*/ 32 w 110"/>
                  <a:gd name="T5" fmla="*/ 9 h 102"/>
                  <a:gd name="T6" fmla="*/ 32 w 110"/>
                  <a:gd name="T7" fmla="*/ 14 h 102"/>
                  <a:gd name="T8" fmla="*/ 37 w 110"/>
                  <a:gd name="T9" fmla="*/ 25 h 102"/>
                  <a:gd name="T10" fmla="*/ 41 w 110"/>
                  <a:gd name="T11" fmla="*/ 18 h 102"/>
                  <a:gd name="T12" fmla="*/ 46 w 110"/>
                  <a:gd name="T13" fmla="*/ 22 h 102"/>
                  <a:gd name="T14" fmla="*/ 48 w 110"/>
                  <a:gd name="T15" fmla="*/ 27 h 102"/>
                  <a:gd name="T16" fmla="*/ 59 w 110"/>
                  <a:gd name="T17" fmla="*/ 30 h 102"/>
                  <a:gd name="T18" fmla="*/ 64 w 110"/>
                  <a:gd name="T19" fmla="*/ 38 h 102"/>
                  <a:gd name="T20" fmla="*/ 69 w 110"/>
                  <a:gd name="T21" fmla="*/ 43 h 102"/>
                  <a:gd name="T22" fmla="*/ 76 w 110"/>
                  <a:gd name="T23" fmla="*/ 45 h 102"/>
                  <a:gd name="T24" fmla="*/ 85 w 110"/>
                  <a:gd name="T25" fmla="*/ 54 h 102"/>
                  <a:gd name="T26" fmla="*/ 89 w 110"/>
                  <a:gd name="T27" fmla="*/ 66 h 102"/>
                  <a:gd name="T28" fmla="*/ 89 w 110"/>
                  <a:gd name="T29" fmla="*/ 72 h 102"/>
                  <a:gd name="T30" fmla="*/ 94 w 110"/>
                  <a:gd name="T31" fmla="*/ 70 h 102"/>
                  <a:gd name="T32" fmla="*/ 98 w 110"/>
                  <a:gd name="T33" fmla="*/ 66 h 102"/>
                  <a:gd name="T34" fmla="*/ 103 w 110"/>
                  <a:gd name="T35" fmla="*/ 72 h 102"/>
                  <a:gd name="T36" fmla="*/ 105 w 110"/>
                  <a:gd name="T37" fmla="*/ 75 h 102"/>
                  <a:gd name="T38" fmla="*/ 110 w 110"/>
                  <a:gd name="T39" fmla="*/ 79 h 102"/>
                  <a:gd name="T40" fmla="*/ 109 w 110"/>
                  <a:gd name="T41" fmla="*/ 80 h 102"/>
                  <a:gd name="T42" fmla="*/ 96 w 110"/>
                  <a:gd name="T43" fmla="*/ 91 h 102"/>
                  <a:gd name="T44" fmla="*/ 91 w 110"/>
                  <a:gd name="T45" fmla="*/ 88 h 102"/>
                  <a:gd name="T46" fmla="*/ 89 w 110"/>
                  <a:gd name="T47" fmla="*/ 88 h 102"/>
                  <a:gd name="T48" fmla="*/ 84 w 110"/>
                  <a:gd name="T49" fmla="*/ 84 h 102"/>
                  <a:gd name="T50" fmla="*/ 80 w 110"/>
                  <a:gd name="T51" fmla="*/ 82 h 102"/>
                  <a:gd name="T52" fmla="*/ 76 w 110"/>
                  <a:gd name="T53" fmla="*/ 84 h 102"/>
                  <a:gd name="T54" fmla="*/ 76 w 110"/>
                  <a:gd name="T55" fmla="*/ 79 h 102"/>
                  <a:gd name="T56" fmla="*/ 73 w 110"/>
                  <a:gd name="T57" fmla="*/ 73 h 102"/>
                  <a:gd name="T58" fmla="*/ 67 w 110"/>
                  <a:gd name="T59" fmla="*/ 73 h 102"/>
                  <a:gd name="T60" fmla="*/ 64 w 110"/>
                  <a:gd name="T61" fmla="*/ 72 h 102"/>
                  <a:gd name="T62" fmla="*/ 67 w 110"/>
                  <a:gd name="T63" fmla="*/ 66 h 102"/>
                  <a:gd name="T64" fmla="*/ 57 w 110"/>
                  <a:gd name="T65" fmla="*/ 70 h 102"/>
                  <a:gd name="T66" fmla="*/ 57 w 110"/>
                  <a:gd name="T67" fmla="*/ 77 h 102"/>
                  <a:gd name="T68" fmla="*/ 53 w 110"/>
                  <a:gd name="T69" fmla="*/ 80 h 102"/>
                  <a:gd name="T70" fmla="*/ 51 w 110"/>
                  <a:gd name="T71" fmla="*/ 84 h 102"/>
                  <a:gd name="T72" fmla="*/ 48 w 110"/>
                  <a:gd name="T73" fmla="*/ 88 h 102"/>
                  <a:gd name="T74" fmla="*/ 42 w 110"/>
                  <a:gd name="T75" fmla="*/ 93 h 102"/>
                  <a:gd name="T76" fmla="*/ 42 w 110"/>
                  <a:gd name="T77" fmla="*/ 93 h 102"/>
                  <a:gd name="T78" fmla="*/ 30 w 110"/>
                  <a:gd name="T79" fmla="*/ 102 h 102"/>
                  <a:gd name="T80" fmla="*/ 26 w 110"/>
                  <a:gd name="T81" fmla="*/ 102 h 102"/>
                  <a:gd name="T82" fmla="*/ 25 w 110"/>
                  <a:gd name="T83" fmla="*/ 86 h 102"/>
                  <a:gd name="T84" fmla="*/ 23 w 110"/>
                  <a:gd name="T85" fmla="*/ 77 h 102"/>
                  <a:gd name="T86" fmla="*/ 21 w 110"/>
                  <a:gd name="T87" fmla="*/ 82 h 102"/>
                  <a:gd name="T88" fmla="*/ 17 w 110"/>
                  <a:gd name="T89" fmla="*/ 84 h 102"/>
                  <a:gd name="T90" fmla="*/ 12 w 110"/>
                  <a:gd name="T91" fmla="*/ 84 h 102"/>
                  <a:gd name="T92" fmla="*/ 5 w 110"/>
                  <a:gd name="T93" fmla="*/ 88 h 102"/>
                  <a:gd name="T94" fmla="*/ 0 w 110"/>
                  <a:gd name="T95" fmla="*/ 86 h 102"/>
                  <a:gd name="T96" fmla="*/ 1 w 110"/>
                  <a:gd name="T97" fmla="*/ 75 h 102"/>
                  <a:gd name="T98" fmla="*/ 9 w 110"/>
                  <a:gd name="T99" fmla="*/ 72 h 102"/>
                  <a:gd name="T100" fmla="*/ 14 w 110"/>
                  <a:gd name="T101" fmla="*/ 63 h 102"/>
                  <a:gd name="T102" fmla="*/ 17 w 110"/>
                  <a:gd name="T103" fmla="*/ 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0" h="102">
                    <a:moveTo>
                      <a:pt x="21" y="5"/>
                    </a:moveTo>
                    <a:lnTo>
                      <a:pt x="25" y="2"/>
                    </a:lnTo>
                    <a:lnTo>
                      <a:pt x="25" y="0"/>
                    </a:lnTo>
                    <a:lnTo>
                      <a:pt x="26" y="4"/>
                    </a:lnTo>
                    <a:lnTo>
                      <a:pt x="30" y="4"/>
                    </a:lnTo>
                    <a:lnTo>
                      <a:pt x="32" y="9"/>
                    </a:lnTo>
                    <a:lnTo>
                      <a:pt x="34" y="13"/>
                    </a:lnTo>
                    <a:lnTo>
                      <a:pt x="32" y="14"/>
                    </a:lnTo>
                    <a:lnTo>
                      <a:pt x="34" y="25"/>
                    </a:lnTo>
                    <a:lnTo>
                      <a:pt x="37" y="25"/>
                    </a:lnTo>
                    <a:lnTo>
                      <a:pt x="37" y="22"/>
                    </a:lnTo>
                    <a:lnTo>
                      <a:pt x="41" y="18"/>
                    </a:lnTo>
                    <a:lnTo>
                      <a:pt x="42" y="18"/>
                    </a:lnTo>
                    <a:lnTo>
                      <a:pt x="46" y="22"/>
                    </a:lnTo>
                    <a:lnTo>
                      <a:pt x="48" y="22"/>
                    </a:lnTo>
                    <a:lnTo>
                      <a:pt x="48" y="27"/>
                    </a:lnTo>
                    <a:lnTo>
                      <a:pt x="51" y="29"/>
                    </a:lnTo>
                    <a:lnTo>
                      <a:pt x="59" y="30"/>
                    </a:lnTo>
                    <a:lnTo>
                      <a:pt x="60" y="34"/>
                    </a:lnTo>
                    <a:lnTo>
                      <a:pt x="64" y="38"/>
                    </a:lnTo>
                    <a:lnTo>
                      <a:pt x="67" y="39"/>
                    </a:lnTo>
                    <a:lnTo>
                      <a:pt x="69" y="43"/>
                    </a:lnTo>
                    <a:lnTo>
                      <a:pt x="73" y="45"/>
                    </a:lnTo>
                    <a:lnTo>
                      <a:pt x="76" y="45"/>
                    </a:lnTo>
                    <a:lnTo>
                      <a:pt x="82" y="48"/>
                    </a:lnTo>
                    <a:lnTo>
                      <a:pt x="85" y="54"/>
                    </a:lnTo>
                    <a:lnTo>
                      <a:pt x="87" y="63"/>
                    </a:lnTo>
                    <a:lnTo>
                      <a:pt x="89" y="66"/>
                    </a:lnTo>
                    <a:lnTo>
                      <a:pt x="87" y="70"/>
                    </a:lnTo>
                    <a:lnTo>
                      <a:pt x="89" y="72"/>
                    </a:lnTo>
                    <a:lnTo>
                      <a:pt x="92" y="70"/>
                    </a:lnTo>
                    <a:lnTo>
                      <a:pt x="94" y="70"/>
                    </a:lnTo>
                    <a:lnTo>
                      <a:pt x="94" y="72"/>
                    </a:lnTo>
                    <a:lnTo>
                      <a:pt x="98" y="66"/>
                    </a:lnTo>
                    <a:lnTo>
                      <a:pt x="101" y="68"/>
                    </a:lnTo>
                    <a:lnTo>
                      <a:pt x="103" y="72"/>
                    </a:lnTo>
                    <a:lnTo>
                      <a:pt x="105" y="73"/>
                    </a:lnTo>
                    <a:lnTo>
                      <a:pt x="105" y="75"/>
                    </a:lnTo>
                    <a:lnTo>
                      <a:pt x="105" y="77"/>
                    </a:lnTo>
                    <a:lnTo>
                      <a:pt x="110" y="79"/>
                    </a:lnTo>
                    <a:lnTo>
                      <a:pt x="110" y="80"/>
                    </a:lnTo>
                    <a:lnTo>
                      <a:pt x="109" y="80"/>
                    </a:lnTo>
                    <a:lnTo>
                      <a:pt x="100" y="91"/>
                    </a:lnTo>
                    <a:lnTo>
                      <a:pt x="96" y="91"/>
                    </a:lnTo>
                    <a:lnTo>
                      <a:pt x="92" y="89"/>
                    </a:lnTo>
                    <a:lnTo>
                      <a:pt x="91" y="88"/>
                    </a:lnTo>
                    <a:lnTo>
                      <a:pt x="91" y="86"/>
                    </a:lnTo>
                    <a:lnTo>
                      <a:pt x="89" y="88"/>
                    </a:lnTo>
                    <a:lnTo>
                      <a:pt x="87" y="86"/>
                    </a:lnTo>
                    <a:lnTo>
                      <a:pt x="84" y="84"/>
                    </a:lnTo>
                    <a:lnTo>
                      <a:pt x="82" y="84"/>
                    </a:lnTo>
                    <a:lnTo>
                      <a:pt x="80" y="82"/>
                    </a:lnTo>
                    <a:lnTo>
                      <a:pt x="78" y="84"/>
                    </a:lnTo>
                    <a:lnTo>
                      <a:pt x="76" y="84"/>
                    </a:lnTo>
                    <a:lnTo>
                      <a:pt x="75" y="80"/>
                    </a:lnTo>
                    <a:lnTo>
                      <a:pt x="76" y="79"/>
                    </a:lnTo>
                    <a:lnTo>
                      <a:pt x="76" y="75"/>
                    </a:lnTo>
                    <a:lnTo>
                      <a:pt x="73" y="73"/>
                    </a:lnTo>
                    <a:lnTo>
                      <a:pt x="67" y="72"/>
                    </a:lnTo>
                    <a:lnTo>
                      <a:pt x="67" y="73"/>
                    </a:lnTo>
                    <a:lnTo>
                      <a:pt x="67" y="73"/>
                    </a:lnTo>
                    <a:lnTo>
                      <a:pt x="64" y="72"/>
                    </a:lnTo>
                    <a:lnTo>
                      <a:pt x="66" y="68"/>
                    </a:lnTo>
                    <a:lnTo>
                      <a:pt x="67" y="66"/>
                    </a:lnTo>
                    <a:lnTo>
                      <a:pt x="67" y="66"/>
                    </a:lnTo>
                    <a:lnTo>
                      <a:pt x="57" y="70"/>
                    </a:lnTo>
                    <a:lnTo>
                      <a:pt x="55" y="75"/>
                    </a:lnTo>
                    <a:lnTo>
                      <a:pt x="57" y="77"/>
                    </a:lnTo>
                    <a:lnTo>
                      <a:pt x="57" y="80"/>
                    </a:lnTo>
                    <a:lnTo>
                      <a:pt x="53" y="80"/>
                    </a:lnTo>
                    <a:lnTo>
                      <a:pt x="53" y="82"/>
                    </a:lnTo>
                    <a:lnTo>
                      <a:pt x="51" y="84"/>
                    </a:lnTo>
                    <a:lnTo>
                      <a:pt x="50" y="86"/>
                    </a:lnTo>
                    <a:lnTo>
                      <a:pt x="48" y="88"/>
                    </a:lnTo>
                    <a:lnTo>
                      <a:pt x="46" y="88"/>
                    </a:lnTo>
                    <a:lnTo>
                      <a:pt x="42" y="93"/>
                    </a:lnTo>
                    <a:lnTo>
                      <a:pt x="42" y="93"/>
                    </a:lnTo>
                    <a:lnTo>
                      <a:pt x="42" y="93"/>
                    </a:lnTo>
                    <a:lnTo>
                      <a:pt x="39" y="98"/>
                    </a:lnTo>
                    <a:lnTo>
                      <a:pt x="30" y="102"/>
                    </a:lnTo>
                    <a:lnTo>
                      <a:pt x="30" y="102"/>
                    </a:lnTo>
                    <a:lnTo>
                      <a:pt x="26" y="102"/>
                    </a:lnTo>
                    <a:lnTo>
                      <a:pt x="25" y="98"/>
                    </a:lnTo>
                    <a:lnTo>
                      <a:pt x="25" y="86"/>
                    </a:lnTo>
                    <a:lnTo>
                      <a:pt x="23" y="84"/>
                    </a:lnTo>
                    <a:lnTo>
                      <a:pt x="23" y="77"/>
                    </a:lnTo>
                    <a:lnTo>
                      <a:pt x="21" y="79"/>
                    </a:lnTo>
                    <a:lnTo>
                      <a:pt x="21" y="82"/>
                    </a:lnTo>
                    <a:lnTo>
                      <a:pt x="19" y="82"/>
                    </a:lnTo>
                    <a:lnTo>
                      <a:pt x="17" y="84"/>
                    </a:lnTo>
                    <a:lnTo>
                      <a:pt x="12" y="84"/>
                    </a:lnTo>
                    <a:lnTo>
                      <a:pt x="12" y="84"/>
                    </a:lnTo>
                    <a:lnTo>
                      <a:pt x="10" y="84"/>
                    </a:lnTo>
                    <a:lnTo>
                      <a:pt x="5" y="88"/>
                    </a:lnTo>
                    <a:lnTo>
                      <a:pt x="1" y="88"/>
                    </a:lnTo>
                    <a:lnTo>
                      <a:pt x="0" y="86"/>
                    </a:lnTo>
                    <a:lnTo>
                      <a:pt x="0" y="84"/>
                    </a:lnTo>
                    <a:lnTo>
                      <a:pt x="1" y="75"/>
                    </a:lnTo>
                    <a:lnTo>
                      <a:pt x="5" y="73"/>
                    </a:lnTo>
                    <a:lnTo>
                      <a:pt x="9" y="72"/>
                    </a:lnTo>
                    <a:lnTo>
                      <a:pt x="14" y="66"/>
                    </a:lnTo>
                    <a:lnTo>
                      <a:pt x="14" y="63"/>
                    </a:lnTo>
                    <a:lnTo>
                      <a:pt x="12" y="61"/>
                    </a:lnTo>
                    <a:lnTo>
                      <a:pt x="17" y="9"/>
                    </a:lnTo>
                    <a:lnTo>
                      <a:pt x="21"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59" name="Freeform 1807"/>
              <p:cNvSpPr>
                <a:spLocks/>
              </p:cNvSpPr>
              <p:nvPr/>
            </p:nvSpPr>
            <p:spPr bwMode="auto">
              <a:xfrm>
                <a:off x="1459" y="1204"/>
                <a:ext cx="35" cy="46"/>
              </a:xfrm>
              <a:custGeom>
                <a:avLst/>
                <a:gdLst>
                  <a:gd name="T0" fmla="*/ 16 w 35"/>
                  <a:gd name="T1" fmla="*/ 0 h 46"/>
                  <a:gd name="T2" fmla="*/ 16 w 35"/>
                  <a:gd name="T3" fmla="*/ 0 h 46"/>
                  <a:gd name="T4" fmla="*/ 18 w 35"/>
                  <a:gd name="T5" fmla="*/ 0 h 46"/>
                  <a:gd name="T6" fmla="*/ 19 w 35"/>
                  <a:gd name="T7" fmla="*/ 2 h 46"/>
                  <a:gd name="T8" fmla="*/ 21 w 35"/>
                  <a:gd name="T9" fmla="*/ 0 h 46"/>
                  <a:gd name="T10" fmla="*/ 25 w 35"/>
                  <a:gd name="T11" fmla="*/ 0 h 46"/>
                  <a:gd name="T12" fmla="*/ 27 w 35"/>
                  <a:gd name="T13" fmla="*/ 3 h 46"/>
                  <a:gd name="T14" fmla="*/ 28 w 35"/>
                  <a:gd name="T15" fmla="*/ 5 h 46"/>
                  <a:gd name="T16" fmla="*/ 32 w 35"/>
                  <a:gd name="T17" fmla="*/ 3 h 46"/>
                  <a:gd name="T18" fmla="*/ 35 w 35"/>
                  <a:gd name="T19" fmla="*/ 9 h 46"/>
                  <a:gd name="T20" fmla="*/ 35 w 35"/>
                  <a:gd name="T21" fmla="*/ 34 h 46"/>
                  <a:gd name="T22" fmla="*/ 27 w 35"/>
                  <a:gd name="T23" fmla="*/ 43 h 46"/>
                  <a:gd name="T24" fmla="*/ 10 w 35"/>
                  <a:gd name="T25" fmla="*/ 46 h 46"/>
                  <a:gd name="T26" fmla="*/ 9 w 35"/>
                  <a:gd name="T27" fmla="*/ 45 h 46"/>
                  <a:gd name="T28" fmla="*/ 5 w 35"/>
                  <a:gd name="T29" fmla="*/ 45 h 46"/>
                  <a:gd name="T30" fmla="*/ 2 w 35"/>
                  <a:gd name="T31" fmla="*/ 37 h 46"/>
                  <a:gd name="T32" fmla="*/ 0 w 35"/>
                  <a:gd name="T33" fmla="*/ 20 h 46"/>
                  <a:gd name="T34" fmla="*/ 9 w 35"/>
                  <a:gd name="T35" fmla="*/ 3 h 46"/>
                  <a:gd name="T36" fmla="*/ 12 w 35"/>
                  <a:gd name="T37" fmla="*/ 2 h 46"/>
                  <a:gd name="T38" fmla="*/ 16 w 35"/>
                  <a:gd name="T3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46">
                    <a:moveTo>
                      <a:pt x="16" y="0"/>
                    </a:moveTo>
                    <a:lnTo>
                      <a:pt x="16" y="0"/>
                    </a:lnTo>
                    <a:lnTo>
                      <a:pt x="18" y="0"/>
                    </a:lnTo>
                    <a:lnTo>
                      <a:pt x="19" y="2"/>
                    </a:lnTo>
                    <a:lnTo>
                      <a:pt x="21" y="0"/>
                    </a:lnTo>
                    <a:lnTo>
                      <a:pt x="25" y="0"/>
                    </a:lnTo>
                    <a:lnTo>
                      <a:pt x="27" y="3"/>
                    </a:lnTo>
                    <a:lnTo>
                      <a:pt x="28" y="5"/>
                    </a:lnTo>
                    <a:lnTo>
                      <a:pt x="32" y="3"/>
                    </a:lnTo>
                    <a:lnTo>
                      <a:pt x="35" y="9"/>
                    </a:lnTo>
                    <a:lnTo>
                      <a:pt x="35" y="34"/>
                    </a:lnTo>
                    <a:lnTo>
                      <a:pt x="27" y="43"/>
                    </a:lnTo>
                    <a:lnTo>
                      <a:pt x="10" y="46"/>
                    </a:lnTo>
                    <a:lnTo>
                      <a:pt x="9" y="45"/>
                    </a:lnTo>
                    <a:lnTo>
                      <a:pt x="5" y="45"/>
                    </a:lnTo>
                    <a:lnTo>
                      <a:pt x="2" y="37"/>
                    </a:lnTo>
                    <a:lnTo>
                      <a:pt x="0" y="20"/>
                    </a:lnTo>
                    <a:lnTo>
                      <a:pt x="9" y="3"/>
                    </a:lnTo>
                    <a:lnTo>
                      <a:pt x="12" y="2"/>
                    </a:lnTo>
                    <a:lnTo>
                      <a:pt x="16"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60" name="Freeform 1808"/>
              <p:cNvSpPr>
                <a:spLocks/>
              </p:cNvSpPr>
              <p:nvPr/>
            </p:nvSpPr>
            <p:spPr bwMode="auto">
              <a:xfrm>
                <a:off x="1459" y="1204"/>
                <a:ext cx="35" cy="46"/>
              </a:xfrm>
              <a:custGeom>
                <a:avLst/>
                <a:gdLst>
                  <a:gd name="T0" fmla="*/ 16 w 35"/>
                  <a:gd name="T1" fmla="*/ 0 h 46"/>
                  <a:gd name="T2" fmla="*/ 16 w 35"/>
                  <a:gd name="T3" fmla="*/ 0 h 46"/>
                  <a:gd name="T4" fmla="*/ 18 w 35"/>
                  <a:gd name="T5" fmla="*/ 0 h 46"/>
                  <a:gd name="T6" fmla="*/ 19 w 35"/>
                  <a:gd name="T7" fmla="*/ 2 h 46"/>
                  <a:gd name="T8" fmla="*/ 21 w 35"/>
                  <a:gd name="T9" fmla="*/ 0 h 46"/>
                  <a:gd name="T10" fmla="*/ 25 w 35"/>
                  <a:gd name="T11" fmla="*/ 0 h 46"/>
                  <a:gd name="T12" fmla="*/ 27 w 35"/>
                  <a:gd name="T13" fmla="*/ 3 h 46"/>
                  <a:gd name="T14" fmla="*/ 28 w 35"/>
                  <a:gd name="T15" fmla="*/ 5 h 46"/>
                  <a:gd name="T16" fmla="*/ 32 w 35"/>
                  <a:gd name="T17" fmla="*/ 3 h 46"/>
                  <a:gd name="T18" fmla="*/ 35 w 35"/>
                  <a:gd name="T19" fmla="*/ 9 h 46"/>
                  <a:gd name="T20" fmla="*/ 35 w 35"/>
                  <a:gd name="T21" fmla="*/ 34 h 46"/>
                  <a:gd name="T22" fmla="*/ 27 w 35"/>
                  <a:gd name="T23" fmla="*/ 43 h 46"/>
                  <a:gd name="T24" fmla="*/ 10 w 35"/>
                  <a:gd name="T25" fmla="*/ 46 h 46"/>
                  <a:gd name="T26" fmla="*/ 9 w 35"/>
                  <a:gd name="T27" fmla="*/ 45 h 46"/>
                  <a:gd name="T28" fmla="*/ 5 w 35"/>
                  <a:gd name="T29" fmla="*/ 45 h 46"/>
                  <a:gd name="T30" fmla="*/ 2 w 35"/>
                  <a:gd name="T31" fmla="*/ 37 h 46"/>
                  <a:gd name="T32" fmla="*/ 0 w 35"/>
                  <a:gd name="T33" fmla="*/ 20 h 46"/>
                  <a:gd name="T34" fmla="*/ 9 w 35"/>
                  <a:gd name="T35" fmla="*/ 3 h 46"/>
                  <a:gd name="T36" fmla="*/ 12 w 35"/>
                  <a:gd name="T37" fmla="*/ 2 h 46"/>
                  <a:gd name="T38" fmla="*/ 16 w 35"/>
                  <a:gd name="T3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 h="46">
                    <a:moveTo>
                      <a:pt x="16" y="0"/>
                    </a:moveTo>
                    <a:lnTo>
                      <a:pt x="16" y="0"/>
                    </a:lnTo>
                    <a:lnTo>
                      <a:pt x="18" y="0"/>
                    </a:lnTo>
                    <a:lnTo>
                      <a:pt x="19" y="2"/>
                    </a:lnTo>
                    <a:lnTo>
                      <a:pt x="21" y="0"/>
                    </a:lnTo>
                    <a:lnTo>
                      <a:pt x="25" y="0"/>
                    </a:lnTo>
                    <a:lnTo>
                      <a:pt x="27" y="3"/>
                    </a:lnTo>
                    <a:lnTo>
                      <a:pt x="28" y="5"/>
                    </a:lnTo>
                    <a:lnTo>
                      <a:pt x="32" y="3"/>
                    </a:lnTo>
                    <a:lnTo>
                      <a:pt x="35" y="9"/>
                    </a:lnTo>
                    <a:lnTo>
                      <a:pt x="35" y="34"/>
                    </a:lnTo>
                    <a:lnTo>
                      <a:pt x="27" y="43"/>
                    </a:lnTo>
                    <a:lnTo>
                      <a:pt x="10" y="46"/>
                    </a:lnTo>
                    <a:lnTo>
                      <a:pt x="9" y="45"/>
                    </a:lnTo>
                    <a:lnTo>
                      <a:pt x="5" y="45"/>
                    </a:lnTo>
                    <a:lnTo>
                      <a:pt x="2" y="37"/>
                    </a:lnTo>
                    <a:lnTo>
                      <a:pt x="0" y="20"/>
                    </a:lnTo>
                    <a:lnTo>
                      <a:pt x="9" y="3"/>
                    </a:lnTo>
                    <a:lnTo>
                      <a:pt x="12" y="2"/>
                    </a:lnTo>
                    <a:lnTo>
                      <a:pt x="16"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61" name="Freeform 1809"/>
              <p:cNvSpPr>
                <a:spLocks/>
              </p:cNvSpPr>
              <p:nvPr/>
            </p:nvSpPr>
            <p:spPr bwMode="auto">
              <a:xfrm>
                <a:off x="1500" y="1211"/>
                <a:ext cx="19" cy="18"/>
              </a:xfrm>
              <a:custGeom>
                <a:avLst/>
                <a:gdLst>
                  <a:gd name="T0" fmla="*/ 0 w 19"/>
                  <a:gd name="T1" fmla="*/ 5 h 18"/>
                  <a:gd name="T2" fmla="*/ 2 w 19"/>
                  <a:gd name="T3" fmla="*/ 4 h 18"/>
                  <a:gd name="T4" fmla="*/ 3 w 19"/>
                  <a:gd name="T5" fmla="*/ 4 h 18"/>
                  <a:gd name="T6" fmla="*/ 7 w 19"/>
                  <a:gd name="T7" fmla="*/ 0 h 18"/>
                  <a:gd name="T8" fmla="*/ 7 w 19"/>
                  <a:gd name="T9" fmla="*/ 4 h 18"/>
                  <a:gd name="T10" fmla="*/ 18 w 19"/>
                  <a:gd name="T11" fmla="*/ 7 h 18"/>
                  <a:gd name="T12" fmla="*/ 19 w 19"/>
                  <a:gd name="T13" fmla="*/ 14 h 18"/>
                  <a:gd name="T14" fmla="*/ 16 w 19"/>
                  <a:gd name="T15" fmla="*/ 18 h 18"/>
                  <a:gd name="T16" fmla="*/ 11 w 19"/>
                  <a:gd name="T17" fmla="*/ 16 h 18"/>
                  <a:gd name="T18" fmla="*/ 5 w 19"/>
                  <a:gd name="T19" fmla="*/ 16 h 18"/>
                  <a:gd name="T20" fmla="*/ 0 w 19"/>
                  <a:gd name="T21" fmla="*/ 11 h 18"/>
                  <a:gd name="T22" fmla="*/ 0 w 19"/>
                  <a:gd name="T23"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8">
                    <a:moveTo>
                      <a:pt x="0" y="5"/>
                    </a:moveTo>
                    <a:lnTo>
                      <a:pt x="2" y="4"/>
                    </a:lnTo>
                    <a:lnTo>
                      <a:pt x="3" y="4"/>
                    </a:lnTo>
                    <a:lnTo>
                      <a:pt x="7" y="0"/>
                    </a:lnTo>
                    <a:lnTo>
                      <a:pt x="7" y="4"/>
                    </a:lnTo>
                    <a:lnTo>
                      <a:pt x="18" y="7"/>
                    </a:lnTo>
                    <a:lnTo>
                      <a:pt x="19" y="14"/>
                    </a:lnTo>
                    <a:lnTo>
                      <a:pt x="16" y="18"/>
                    </a:lnTo>
                    <a:lnTo>
                      <a:pt x="11" y="16"/>
                    </a:lnTo>
                    <a:lnTo>
                      <a:pt x="5" y="16"/>
                    </a:lnTo>
                    <a:lnTo>
                      <a:pt x="0" y="11"/>
                    </a:lnTo>
                    <a:lnTo>
                      <a:pt x="0"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62" name="Freeform 1810"/>
              <p:cNvSpPr>
                <a:spLocks/>
              </p:cNvSpPr>
              <p:nvPr/>
            </p:nvSpPr>
            <p:spPr bwMode="auto">
              <a:xfrm>
                <a:off x="1500" y="1211"/>
                <a:ext cx="19" cy="18"/>
              </a:xfrm>
              <a:custGeom>
                <a:avLst/>
                <a:gdLst>
                  <a:gd name="T0" fmla="*/ 0 w 19"/>
                  <a:gd name="T1" fmla="*/ 5 h 18"/>
                  <a:gd name="T2" fmla="*/ 2 w 19"/>
                  <a:gd name="T3" fmla="*/ 4 h 18"/>
                  <a:gd name="T4" fmla="*/ 3 w 19"/>
                  <a:gd name="T5" fmla="*/ 4 h 18"/>
                  <a:gd name="T6" fmla="*/ 7 w 19"/>
                  <a:gd name="T7" fmla="*/ 0 h 18"/>
                  <a:gd name="T8" fmla="*/ 7 w 19"/>
                  <a:gd name="T9" fmla="*/ 4 h 18"/>
                  <a:gd name="T10" fmla="*/ 18 w 19"/>
                  <a:gd name="T11" fmla="*/ 7 h 18"/>
                  <a:gd name="T12" fmla="*/ 19 w 19"/>
                  <a:gd name="T13" fmla="*/ 14 h 18"/>
                  <a:gd name="T14" fmla="*/ 16 w 19"/>
                  <a:gd name="T15" fmla="*/ 18 h 18"/>
                  <a:gd name="T16" fmla="*/ 11 w 19"/>
                  <a:gd name="T17" fmla="*/ 16 h 18"/>
                  <a:gd name="T18" fmla="*/ 5 w 19"/>
                  <a:gd name="T19" fmla="*/ 16 h 18"/>
                  <a:gd name="T20" fmla="*/ 0 w 19"/>
                  <a:gd name="T21" fmla="*/ 11 h 18"/>
                  <a:gd name="T22" fmla="*/ 0 w 19"/>
                  <a:gd name="T23"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18">
                    <a:moveTo>
                      <a:pt x="0" y="5"/>
                    </a:moveTo>
                    <a:lnTo>
                      <a:pt x="2" y="4"/>
                    </a:lnTo>
                    <a:lnTo>
                      <a:pt x="3" y="4"/>
                    </a:lnTo>
                    <a:lnTo>
                      <a:pt x="7" y="0"/>
                    </a:lnTo>
                    <a:lnTo>
                      <a:pt x="7" y="4"/>
                    </a:lnTo>
                    <a:lnTo>
                      <a:pt x="18" y="7"/>
                    </a:lnTo>
                    <a:lnTo>
                      <a:pt x="19" y="14"/>
                    </a:lnTo>
                    <a:lnTo>
                      <a:pt x="16" y="18"/>
                    </a:lnTo>
                    <a:lnTo>
                      <a:pt x="11" y="16"/>
                    </a:lnTo>
                    <a:lnTo>
                      <a:pt x="5" y="16"/>
                    </a:lnTo>
                    <a:lnTo>
                      <a:pt x="0" y="11"/>
                    </a:lnTo>
                    <a:lnTo>
                      <a:pt x="0"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63" name="Freeform 1811"/>
              <p:cNvSpPr>
                <a:spLocks/>
              </p:cNvSpPr>
              <p:nvPr/>
            </p:nvSpPr>
            <p:spPr bwMode="auto">
              <a:xfrm>
                <a:off x="1425" y="1157"/>
                <a:ext cx="18" cy="22"/>
              </a:xfrm>
              <a:custGeom>
                <a:avLst/>
                <a:gdLst>
                  <a:gd name="T0" fmla="*/ 14 w 18"/>
                  <a:gd name="T1" fmla="*/ 9 h 22"/>
                  <a:gd name="T2" fmla="*/ 11 w 18"/>
                  <a:gd name="T3" fmla="*/ 18 h 22"/>
                  <a:gd name="T4" fmla="*/ 7 w 18"/>
                  <a:gd name="T5" fmla="*/ 20 h 22"/>
                  <a:gd name="T6" fmla="*/ 0 w 18"/>
                  <a:gd name="T7" fmla="*/ 22 h 22"/>
                  <a:gd name="T8" fmla="*/ 0 w 18"/>
                  <a:gd name="T9" fmla="*/ 18 h 22"/>
                  <a:gd name="T10" fmla="*/ 3 w 18"/>
                  <a:gd name="T11" fmla="*/ 13 h 22"/>
                  <a:gd name="T12" fmla="*/ 7 w 18"/>
                  <a:gd name="T13" fmla="*/ 11 h 22"/>
                  <a:gd name="T14" fmla="*/ 12 w 18"/>
                  <a:gd name="T15" fmla="*/ 0 h 22"/>
                  <a:gd name="T16" fmla="*/ 16 w 18"/>
                  <a:gd name="T17" fmla="*/ 0 h 22"/>
                  <a:gd name="T18" fmla="*/ 18 w 18"/>
                  <a:gd name="T19" fmla="*/ 0 h 22"/>
                  <a:gd name="T20" fmla="*/ 18 w 18"/>
                  <a:gd name="T21" fmla="*/ 6 h 22"/>
                  <a:gd name="T22" fmla="*/ 18 w 18"/>
                  <a:gd name="T23" fmla="*/ 8 h 22"/>
                  <a:gd name="T24" fmla="*/ 16 w 18"/>
                  <a:gd name="T25" fmla="*/ 8 h 22"/>
                  <a:gd name="T26" fmla="*/ 14 w 18"/>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2">
                    <a:moveTo>
                      <a:pt x="14" y="9"/>
                    </a:moveTo>
                    <a:lnTo>
                      <a:pt x="11" y="18"/>
                    </a:lnTo>
                    <a:lnTo>
                      <a:pt x="7" y="20"/>
                    </a:lnTo>
                    <a:lnTo>
                      <a:pt x="0" y="22"/>
                    </a:lnTo>
                    <a:lnTo>
                      <a:pt x="0" y="18"/>
                    </a:lnTo>
                    <a:lnTo>
                      <a:pt x="3" y="13"/>
                    </a:lnTo>
                    <a:lnTo>
                      <a:pt x="7" y="11"/>
                    </a:lnTo>
                    <a:lnTo>
                      <a:pt x="12" y="0"/>
                    </a:lnTo>
                    <a:lnTo>
                      <a:pt x="16" y="0"/>
                    </a:lnTo>
                    <a:lnTo>
                      <a:pt x="18" y="0"/>
                    </a:lnTo>
                    <a:lnTo>
                      <a:pt x="18" y="6"/>
                    </a:lnTo>
                    <a:lnTo>
                      <a:pt x="18" y="8"/>
                    </a:lnTo>
                    <a:lnTo>
                      <a:pt x="16" y="8"/>
                    </a:lnTo>
                    <a:lnTo>
                      <a:pt x="14"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64" name="Freeform 1812"/>
              <p:cNvSpPr>
                <a:spLocks/>
              </p:cNvSpPr>
              <p:nvPr/>
            </p:nvSpPr>
            <p:spPr bwMode="auto">
              <a:xfrm>
                <a:off x="1425" y="1157"/>
                <a:ext cx="18" cy="22"/>
              </a:xfrm>
              <a:custGeom>
                <a:avLst/>
                <a:gdLst>
                  <a:gd name="T0" fmla="*/ 14 w 18"/>
                  <a:gd name="T1" fmla="*/ 9 h 22"/>
                  <a:gd name="T2" fmla="*/ 11 w 18"/>
                  <a:gd name="T3" fmla="*/ 18 h 22"/>
                  <a:gd name="T4" fmla="*/ 7 w 18"/>
                  <a:gd name="T5" fmla="*/ 20 h 22"/>
                  <a:gd name="T6" fmla="*/ 0 w 18"/>
                  <a:gd name="T7" fmla="*/ 22 h 22"/>
                  <a:gd name="T8" fmla="*/ 0 w 18"/>
                  <a:gd name="T9" fmla="*/ 18 h 22"/>
                  <a:gd name="T10" fmla="*/ 3 w 18"/>
                  <a:gd name="T11" fmla="*/ 13 h 22"/>
                  <a:gd name="T12" fmla="*/ 7 w 18"/>
                  <a:gd name="T13" fmla="*/ 11 h 22"/>
                  <a:gd name="T14" fmla="*/ 12 w 18"/>
                  <a:gd name="T15" fmla="*/ 0 h 22"/>
                  <a:gd name="T16" fmla="*/ 16 w 18"/>
                  <a:gd name="T17" fmla="*/ 0 h 22"/>
                  <a:gd name="T18" fmla="*/ 18 w 18"/>
                  <a:gd name="T19" fmla="*/ 0 h 22"/>
                  <a:gd name="T20" fmla="*/ 18 w 18"/>
                  <a:gd name="T21" fmla="*/ 6 h 22"/>
                  <a:gd name="T22" fmla="*/ 18 w 18"/>
                  <a:gd name="T23" fmla="*/ 8 h 22"/>
                  <a:gd name="T24" fmla="*/ 16 w 18"/>
                  <a:gd name="T25" fmla="*/ 8 h 22"/>
                  <a:gd name="T26" fmla="*/ 14 w 18"/>
                  <a:gd name="T27" fmla="*/ 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22">
                    <a:moveTo>
                      <a:pt x="14" y="9"/>
                    </a:moveTo>
                    <a:lnTo>
                      <a:pt x="11" y="18"/>
                    </a:lnTo>
                    <a:lnTo>
                      <a:pt x="7" y="20"/>
                    </a:lnTo>
                    <a:lnTo>
                      <a:pt x="0" y="22"/>
                    </a:lnTo>
                    <a:lnTo>
                      <a:pt x="0" y="18"/>
                    </a:lnTo>
                    <a:lnTo>
                      <a:pt x="3" y="13"/>
                    </a:lnTo>
                    <a:lnTo>
                      <a:pt x="7" y="11"/>
                    </a:lnTo>
                    <a:lnTo>
                      <a:pt x="12" y="0"/>
                    </a:lnTo>
                    <a:lnTo>
                      <a:pt x="16" y="0"/>
                    </a:lnTo>
                    <a:lnTo>
                      <a:pt x="18" y="0"/>
                    </a:lnTo>
                    <a:lnTo>
                      <a:pt x="18" y="6"/>
                    </a:lnTo>
                    <a:lnTo>
                      <a:pt x="18" y="8"/>
                    </a:lnTo>
                    <a:lnTo>
                      <a:pt x="16" y="8"/>
                    </a:lnTo>
                    <a:lnTo>
                      <a:pt x="14"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65" name="Freeform 1813"/>
              <p:cNvSpPr>
                <a:spLocks/>
              </p:cNvSpPr>
              <p:nvPr/>
            </p:nvSpPr>
            <p:spPr bwMode="auto">
              <a:xfrm>
                <a:off x="1409" y="1138"/>
                <a:ext cx="16" cy="14"/>
              </a:xfrm>
              <a:custGeom>
                <a:avLst/>
                <a:gdLst>
                  <a:gd name="T0" fmla="*/ 3 w 16"/>
                  <a:gd name="T1" fmla="*/ 0 h 14"/>
                  <a:gd name="T2" fmla="*/ 5 w 16"/>
                  <a:gd name="T3" fmla="*/ 2 h 14"/>
                  <a:gd name="T4" fmla="*/ 7 w 16"/>
                  <a:gd name="T5" fmla="*/ 2 h 14"/>
                  <a:gd name="T6" fmla="*/ 9 w 16"/>
                  <a:gd name="T7" fmla="*/ 3 h 14"/>
                  <a:gd name="T8" fmla="*/ 10 w 16"/>
                  <a:gd name="T9" fmla="*/ 0 h 14"/>
                  <a:gd name="T10" fmla="*/ 12 w 16"/>
                  <a:gd name="T11" fmla="*/ 0 h 14"/>
                  <a:gd name="T12" fmla="*/ 14 w 16"/>
                  <a:gd name="T13" fmla="*/ 0 h 14"/>
                  <a:gd name="T14" fmla="*/ 16 w 16"/>
                  <a:gd name="T15" fmla="*/ 2 h 14"/>
                  <a:gd name="T16" fmla="*/ 16 w 16"/>
                  <a:gd name="T17" fmla="*/ 7 h 14"/>
                  <a:gd name="T18" fmla="*/ 9 w 16"/>
                  <a:gd name="T19" fmla="*/ 9 h 14"/>
                  <a:gd name="T20" fmla="*/ 7 w 16"/>
                  <a:gd name="T21" fmla="*/ 7 h 14"/>
                  <a:gd name="T22" fmla="*/ 7 w 16"/>
                  <a:gd name="T23" fmla="*/ 14 h 14"/>
                  <a:gd name="T24" fmla="*/ 2 w 16"/>
                  <a:gd name="T25" fmla="*/ 7 h 14"/>
                  <a:gd name="T26" fmla="*/ 0 w 16"/>
                  <a:gd name="T27" fmla="*/ 0 h 14"/>
                  <a:gd name="T28" fmla="*/ 3 w 16"/>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4">
                    <a:moveTo>
                      <a:pt x="3" y="0"/>
                    </a:moveTo>
                    <a:lnTo>
                      <a:pt x="5" y="2"/>
                    </a:lnTo>
                    <a:lnTo>
                      <a:pt x="7" y="2"/>
                    </a:lnTo>
                    <a:lnTo>
                      <a:pt x="9" y="3"/>
                    </a:lnTo>
                    <a:lnTo>
                      <a:pt x="10" y="0"/>
                    </a:lnTo>
                    <a:lnTo>
                      <a:pt x="12" y="0"/>
                    </a:lnTo>
                    <a:lnTo>
                      <a:pt x="14" y="0"/>
                    </a:lnTo>
                    <a:lnTo>
                      <a:pt x="16" y="2"/>
                    </a:lnTo>
                    <a:lnTo>
                      <a:pt x="16" y="7"/>
                    </a:lnTo>
                    <a:lnTo>
                      <a:pt x="9" y="9"/>
                    </a:lnTo>
                    <a:lnTo>
                      <a:pt x="7" y="7"/>
                    </a:lnTo>
                    <a:lnTo>
                      <a:pt x="7" y="14"/>
                    </a:lnTo>
                    <a:lnTo>
                      <a:pt x="2" y="7"/>
                    </a:lnTo>
                    <a:lnTo>
                      <a:pt x="0" y="0"/>
                    </a:lnTo>
                    <a:lnTo>
                      <a:pt x="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66" name="Freeform 1814"/>
              <p:cNvSpPr>
                <a:spLocks/>
              </p:cNvSpPr>
              <p:nvPr/>
            </p:nvSpPr>
            <p:spPr bwMode="auto">
              <a:xfrm>
                <a:off x="1409" y="1138"/>
                <a:ext cx="16" cy="14"/>
              </a:xfrm>
              <a:custGeom>
                <a:avLst/>
                <a:gdLst>
                  <a:gd name="T0" fmla="*/ 3 w 16"/>
                  <a:gd name="T1" fmla="*/ 0 h 14"/>
                  <a:gd name="T2" fmla="*/ 5 w 16"/>
                  <a:gd name="T3" fmla="*/ 2 h 14"/>
                  <a:gd name="T4" fmla="*/ 7 w 16"/>
                  <a:gd name="T5" fmla="*/ 2 h 14"/>
                  <a:gd name="T6" fmla="*/ 9 w 16"/>
                  <a:gd name="T7" fmla="*/ 3 h 14"/>
                  <a:gd name="T8" fmla="*/ 10 w 16"/>
                  <a:gd name="T9" fmla="*/ 0 h 14"/>
                  <a:gd name="T10" fmla="*/ 12 w 16"/>
                  <a:gd name="T11" fmla="*/ 0 h 14"/>
                  <a:gd name="T12" fmla="*/ 14 w 16"/>
                  <a:gd name="T13" fmla="*/ 0 h 14"/>
                  <a:gd name="T14" fmla="*/ 16 w 16"/>
                  <a:gd name="T15" fmla="*/ 2 h 14"/>
                  <a:gd name="T16" fmla="*/ 16 w 16"/>
                  <a:gd name="T17" fmla="*/ 7 h 14"/>
                  <a:gd name="T18" fmla="*/ 9 w 16"/>
                  <a:gd name="T19" fmla="*/ 9 h 14"/>
                  <a:gd name="T20" fmla="*/ 7 w 16"/>
                  <a:gd name="T21" fmla="*/ 7 h 14"/>
                  <a:gd name="T22" fmla="*/ 7 w 16"/>
                  <a:gd name="T23" fmla="*/ 14 h 14"/>
                  <a:gd name="T24" fmla="*/ 2 w 16"/>
                  <a:gd name="T25" fmla="*/ 7 h 14"/>
                  <a:gd name="T26" fmla="*/ 0 w 16"/>
                  <a:gd name="T27" fmla="*/ 0 h 14"/>
                  <a:gd name="T28" fmla="*/ 3 w 16"/>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4">
                    <a:moveTo>
                      <a:pt x="3" y="0"/>
                    </a:moveTo>
                    <a:lnTo>
                      <a:pt x="5" y="2"/>
                    </a:lnTo>
                    <a:lnTo>
                      <a:pt x="7" y="2"/>
                    </a:lnTo>
                    <a:lnTo>
                      <a:pt x="9" y="3"/>
                    </a:lnTo>
                    <a:lnTo>
                      <a:pt x="10" y="0"/>
                    </a:lnTo>
                    <a:lnTo>
                      <a:pt x="12" y="0"/>
                    </a:lnTo>
                    <a:lnTo>
                      <a:pt x="14" y="0"/>
                    </a:lnTo>
                    <a:lnTo>
                      <a:pt x="16" y="2"/>
                    </a:lnTo>
                    <a:lnTo>
                      <a:pt x="16" y="7"/>
                    </a:lnTo>
                    <a:lnTo>
                      <a:pt x="9" y="9"/>
                    </a:lnTo>
                    <a:lnTo>
                      <a:pt x="7" y="7"/>
                    </a:lnTo>
                    <a:lnTo>
                      <a:pt x="7" y="14"/>
                    </a:lnTo>
                    <a:lnTo>
                      <a:pt x="2" y="7"/>
                    </a:lnTo>
                    <a:lnTo>
                      <a:pt x="0" y="0"/>
                    </a:lnTo>
                    <a:lnTo>
                      <a:pt x="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67" name="Freeform 1815"/>
              <p:cNvSpPr>
                <a:spLocks/>
              </p:cNvSpPr>
              <p:nvPr/>
            </p:nvSpPr>
            <p:spPr bwMode="auto">
              <a:xfrm>
                <a:off x="1439" y="1393"/>
                <a:ext cx="16" cy="14"/>
              </a:xfrm>
              <a:custGeom>
                <a:avLst/>
                <a:gdLst>
                  <a:gd name="T0" fmla="*/ 2 w 16"/>
                  <a:gd name="T1" fmla="*/ 4 h 14"/>
                  <a:gd name="T2" fmla="*/ 0 w 16"/>
                  <a:gd name="T3" fmla="*/ 4 h 14"/>
                  <a:gd name="T4" fmla="*/ 2 w 16"/>
                  <a:gd name="T5" fmla="*/ 2 h 14"/>
                  <a:gd name="T6" fmla="*/ 5 w 16"/>
                  <a:gd name="T7" fmla="*/ 0 h 14"/>
                  <a:gd name="T8" fmla="*/ 9 w 16"/>
                  <a:gd name="T9" fmla="*/ 0 h 14"/>
                  <a:gd name="T10" fmla="*/ 11 w 16"/>
                  <a:gd name="T11" fmla="*/ 2 h 14"/>
                  <a:gd name="T12" fmla="*/ 13 w 16"/>
                  <a:gd name="T13" fmla="*/ 2 h 14"/>
                  <a:gd name="T14" fmla="*/ 16 w 16"/>
                  <a:gd name="T15" fmla="*/ 6 h 14"/>
                  <a:gd name="T16" fmla="*/ 16 w 16"/>
                  <a:gd name="T17" fmla="*/ 9 h 14"/>
                  <a:gd name="T18" fmla="*/ 13 w 16"/>
                  <a:gd name="T19" fmla="*/ 14 h 14"/>
                  <a:gd name="T20" fmla="*/ 2 w 16"/>
                  <a:gd name="T21"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4">
                    <a:moveTo>
                      <a:pt x="2" y="4"/>
                    </a:moveTo>
                    <a:lnTo>
                      <a:pt x="0" y="4"/>
                    </a:lnTo>
                    <a:lnTo>
                      <a:pt x="2" y="2"/>
                    </a:lnTo>
                    <a:lnTo>
                      <a:pt x="5" y="0"/>
                    </a:lnTo>
                    <a:lnTo>
                      <a:pt x="9" y="0"/>
                    </a:lnTo>
                    <a:lnTo>
                      <a:pt x="11" y="2"/>
                    </a:lnTo>
                    <a:lnTo>
                      <a:pt x="13" y="2"/>
                    </a:lnTo>
                    <a:lnTo>
                      <a:pt x="16" y="6"/>
                    </a:lnTo>
                    <a:lnTo>
                      <a:pt x="16" y="9"/>
                    </a:lnTo>
                    <a:lnTo>
                      <a:pt x="13" y="14"/>
                    </a:lnTo>
                    <a:lnTo>
                      <a:pt x="2"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68" name="Freeform 1816"/>
              <p:cNvSpPr>
                <a:spLocks/>
              </p:cNvSpPr>
              <p:nvPr/>
            </p:nvSpPr>
            <p:spPr bwMode="auto">
              <a:xfrm>
                <a:off x="1439" y="1393"/>
                <a:ext cx="16" cy="14"/>
              </a:xfrm>
              <a:custGeom>
                <a:avLst/>
                <a:gdLst>
                  <a:gd name="T0" fmla="*/ 2 w 16"/>
                  <a:gd name="T1" fmla="*/ 4 h 14"/>
                  <a:gd name="T2" fmla="*/ 0 w 16"/>
                  <a:gd name="T3" fmla="*/ 4 h 14"/>
                  <a:gd name="T4" fmla="*/ 2 w 16"/>
                  <a:gd name="T5" fmla="*/ 2 h 14"/>
                  <a:gd name="T6" fmla="*/ 5 w 16"/>
                  <a:gd name="T7" fmla="*/ 0 h 14"/>
                  <a:gd name="T8" fmla="*/ 9 w 16"/>
                  <a:gd name="T9" fmla="*/ 0 h 14"/>
                  <a:gd name="T10" fmla="*/ 11 w 16"/>
                  <a:gd name="T11" fmla="*/ 2 h 14"/>
                  <a:gd name="T12" fmla="*/ 13 w 16"/>
                  <a:gd name="T13" fmla="*/ 2 h 14"/>
                  <a:gd name="T14" fmla="*/ 16 w 16"/>
                  <a:gd name="T15" fmla="*/ 6 h 14"/>
                  <a:gd name="T16" fmla="*/ 16 w 16"/>
                  <a:gd name="T17" fmla="*/ 9 h 14"/>
                  <a:gd name="T18" fmla="*/ 13 w 16"/>
                  <a:gd name="T19" fmla="*/ 14 h 14"/>
                  <a:gd name="T20" fmla="*/ 2 w 16"/>
                  <a:gd name="T21"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4">
                    <a:moveTo>
                      <a:pt x="2" y="4"/>
                    </a:moveTo>
                    <a:lnTo>
                      <a:pt x="0" y="4"/>
                    </a:lnTo>
                    <a:lnTo>
                      <a:pt x="2" y="2"/>
                    </a:lnTo>
                    <a:lnTo>
                      <a:pt x="5" y="0"/>
                    </a:lnTo>
                    <a:lnTo>
                      <a:pt x="9" y="0"/>
                    </a:lnTo>
                    <a:lnTo>
                      <a:pt x="11" y="2"/>
                    </a:lnTo>
                    <a:lnTo>
                      <a:pt x="13" y="2"/>
                    </a:lnTo>
                    <a:lnTo>
                      <a:pt x="16" y="6"/>
                    </a:lnTo>
                    <a:lnTo>
                      <a:pt x="16" y="9"/>
                    </a:lnTo>
                    <a:lnTo>
                      <a:pt x="13" y="14"/>
                    </a:lnTo>
                    <a:lnTo>
                      <a:pt x="2"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69" name="Freeform 1817"/>
              <p:cNvSpPr>
                <a:spLocks/>
              </p:cNvSpPr>
              <p:nvPr/>
            </p:nvSpPr>
            <p:spPr bwMode="auto">
              <a:xfrm>
                <a:off x="1457" y="1386"/>
                <a:ext cx="12" cy="9"/>
              </a:xfrm>
              <a:custGeom>
                <a:avLst/>
                <a:gdLst>
                  <a:gd name="T0" fmla="*/ 0 w 12"/>
                  <a:gd name="T1" fmla="*/ 0 h 9"/>
                  <a:gd name="T2" fmla="*/ 11 w 12"/>
                  <a:gd name="T3" fmla="*/ 4 h 9"/>
                  <a:gd name="T4" fmla="*/ 12 w 12"/>
                  <a:gd name="T5" fmla="*/ 5 h 9"/>
                  <a:gd name="T6" fmla="*/ 12 w 12"/>
                  <a:gd name="T7" fmla="*/ 9 h 9"/>
                  <a:gd name="T8" fmla="*/ 9 w 12"/>
                  <a:gd name="T9" fmla="*/ 9 h 9"/>
                  <a:gd name="T10" fmla="*/ 2 w 12"/>
                  <a:gd name="T11" fmla="*/ 5 h 9"/>
                  <a:gd name="T12" fmla="*/ 0 w 1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2" h="9">
                    <a:moveTo>
                      <a:pt x="0" y="0"/>
                    </a:moveTo>
                    <a:lnTo>
                      <a:pt x="11" y="4"/>
                    </a:lnTo>
                    <a:lnTo>
                      <a:pt x="12" y="5"/>
                    </a:lnTo>
                    <a:lnTo>
                      <a:pt x="12" y="9"/>
                    </a:lnTo>
                    <a:lnTo>
                      <a:pt x="9" y="9"/>
                    </a:lnTo>
                    <a:lnTo>
                      <a:pt x="2" y="5"/>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70" name="Freeform 1818"/>
              <p:cNvSpPr>
                <a:spLocks/>
              </p:cNvSpPr>
              <p:nvPr/>
            </p:nvSpPr>
            <p:spPr bwMode="auto">
              <a:xfrm>
                <a:off x="1457" y="1386"/>
                <a:ext cx="12" cy="9"/>
              </a:xfrm>
              <a:custGeom>
                <a:avLst/>
                <a:gdLst>
                  <a:gd name="T0" fmla="*/ 0 w 12"/>
                  <a:gd name="T1" fmla="*/ 0 h 9"/>
                  <a:gd name="T2" fmla="*/ 11 w 12"/>
                  <a:gd name="T3" fmla="*/ 4 h 9"/>
                  <a:gd name="T4" fmla="*/ 12 w 12"/>
                  <a:gd name="T5" fmla="*/ 5 h 9"/>
                  <a:gd name="T6" fmla="*/ 12 w 12"/>
                  <a:gd name="T7" fmla="*/ 9 h 9"/>
                  <a:gd name="T8" fmla="*/ 9 w 12"/>
                  <a:gd name="T9" fmla="*/ 9 h 9"/>
                  <a:gd name="T10" fmla="*/ 2 w 12"/>
                  <a:gd name="T11" fmla="*/ 5 h 9"/>
                  <a:gd name="T12" fmla="*/ 0 w 12"/>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2" h="9">
                    <a:moveTo>
                      <a:pt x="0" y="0"/>
                    </a:moveTo>
                    <a:lnTo>
                      <a:pt x="11" y="4"/>
                    </a:lnTo>
                    <a:lnTo>
                      <a:pt x="12" y="5"/>
                    </a:lnTo>
                    <a:lnTo>
                      <a:pt x="12" y="9"/>
                    </a:lnTo>
                    <a:lnTo>
                      <a:pt x="9" y="9"/>
                    </a:lnTo>
                    <a:lnTo>
                      <a:pt x="2" y="5"/>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71" name="Freeform 1819"/>
              <p:cNvSpPr>
                <a:spLocks/>
              </p:cNvSpPr>
              <p:nvPr/>
            </p:nvSpPr>
            <p:spPr bwMode="auto">
              <a:xfrm>
                <a:off x="1402" y="936"/>
                <a:ext cx="76" cy="55"/>
              </a:xfrm>
              <a:custGeom>
                <a:avLst/>
                <a:gdLst>
                  <a:gd name="T0" fmla="*/ 32 w 76"/>
                  <a:gd name="T1" fmla="*/ 7 h 55"/>
                  <a:gd name="T2" fmla="*/ 37 w 76"/>
                  <a:gd name="T3" fmla="*/ 5 h 55"/>
                  <a:gd name="T4" fmla="*/ 42 w 76"/>
                  <a:gd name="T5" fmla="*/ 5 h 55"/>
                  <a:gd name="T6" fmla="*/ 57 w 76"/>
                  <a:gd name="T7" fmla="*/ 14 h 55"/>
                  <a:gd name="T8" fmla="*/ 59 w 76"/>
                  <a:gd name="T9" fmla="*/ 18 h 55"/>
                  <a:gd name="T10" fmla="*/ 60 w 76"/>
                  <a:gd name="T11" fmla="*/ 21 h 55"/>
                  <a:gd name="T12" fmla="*/ 62 w 76"/>
                  <a:gd name="T13" fmla="*/ 25 h 55"/>
                  <a:gd name="T14" fmla="*/ 66 w 76"/>
                  <a:gd name="T15" fmla="*/ 27 h 55"/>
                  <a:gd name="T16" fmla="*/ 73 w 76"/>
                  <a:gd name="T17" fmla="*/ 39 h 55"/>
                  <a:gd name="T18" fmla="*/ 73 w 76"/>
                  <a:gd name="T19" fmla="*/ 41 h 55"/>
                  <a:gd name="T20" fmla="*/ 73 w 76"/>
                  <a:gd name="T21" fmla="*/ 45 h 55"/>
                  <a:gd name="T22" fmla="*/ 76 w 76"/>
                  <a:gd name="T23" fmla="*/ 46 h 55"/>
                  <a:gd name="T24" fmla="*/ 73 w 76"/>
                  <a:gd name="T25" fmla="*/ 52 h 55"/>
                  <a:gd name="T26" fmla="*/ 62 w 76"/>
                  <a:gd name="T27" fmla="*/ 50 h 55"/>
                  <a:gd name="T28" fmla="*/ 53 w 76"/>
                  <a:gd name="T29" fmla="*/ 48 h 55"/>
                  <a:gd name="T30" fmla="*/ 42 w 76"/>
                  <a:gd name="T31" fmla="*/ 46 h 55"/>
                  <a:gd name="T32" fmla="*/ 30 w 76"/>
                  <a:gd name="T33" fmla="*/ 54 h 55"/>
                  <a:gd name="T34" fmla="*/ 25 w 76"/>
                  <a:gd name="T35" fmla="*/ 55 h 55"/>
                  <a:gd name="T36" fmla="*/ 14 w 76"/>
                  <a:gd name="T37" fmla="*/ 50 h 55"/>
                  <a:gd name="T38" fmla="*/ 10 w 76"/>
                  <a:gd name="T39" fmla="*/ 30 h 55"/>
                  <a:gd name="T40" fmla="*/ 1 w 76"/>
                  <a:gd name="T41" fmla="*/ 27 h 55"/>
                  <a:gd name="T42" fmla="*/ 0 w 76"/>
                  <a:gd name="T43" fmla="*/ 21 h 55"/>
                  <a:gd name="T44" fmla="*/ 0 w 76"/>
                  <a:gd name="T45" fmla="*/ 16 h 55"/>
                  <a:gd name="T46" fmla="*/ 1 w 76"/>
                  <a:gd name="T47" fmla="*/ 14 h 55"/>
                  <a:gd name="T48" fmla="*/ 1 w 76"/>
                  <a:gd name="T49" fmla="*/ 7 h 55"/>
                  <a:gd name="T50" fmla="*/ 3 w 76"/>
                  <a:gd name="T51" fmla="*/ 2 h 55"/>
                  <a:gd name="T52" fmla="*/ 7 w 76"/>
                  <a:gd name="T53" fmla="*/ 0 h 55"/>
                  <a:gd name="T54" fmla="*/ 10 w 76"/>
                  <a:gd name="T55" fmla="*/ 4 h 55"/>
                  <a:gd name="T56" fmla="*/ 14 w 76"/>
                  <a:gd name="T57" fmla="*/ 4 h 55"/>
                  <a:gd name="T58" fmla="*/ 28 w 76"/>
                  <a:gd name="T59" fmla="*/ 7 h 55"/>
                  <a:gd name="T60" fmla="*/ 32 w 76"/>
                  <a:gd name="T61" fmla="*/ 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55">
                    <a:moveTo>
                      <a:pt x="32" y="7"/>
                    </a:moveTo>
                    <a:lnTo>
                      <a:pt x="37" y="5"/>
                    </a:lnTo>
                    <a:lnTo>
                      <a:pt x="42" y="5"/>
                    </a:lnTo>
                    <a:lnTo>
                      <a:pt x="57" y="14"/>
                    </a:lnTo>
                    <a:lnTo>
                      <a:pt x="59" y="18"/>
                    </a:lnTo>
                    <a:lnTo>
                      <a:pt x="60" y="21"/>
                    </a:lnTo>
                    <a:lnTo>
                      <a:pt x="62" y="25"/>
                    </a:lnTo>
                    <a:lnTo>
                      <a:pt x="66" y="27"/>
                    </a:lnTo>
                    <a:lnTo>
                      <a:pt x="73" y="39"/>
                    </a:lnTo>
                    <a:lnTo>
                      <a:pt x="73" y="41"/>
                    </a:lnTo>
                    <a:lnTo>
                      <a:pt x="73" y="45"/>
                    </a:lnTo>
                    <a:lnTo>
                      <a:pt x="76" y="46"/>
                    </a:lnTo>
                    <a:lnTo>
                      <a:pt x="73" y="52"/>
                    </a:lnTo>
                    <a:lnTo>
                      <a:pt x="62" y="50"/>
                    </a:lnTo>
                    <a:lnTo>
                      <a:pt x="53" y="48"/>
                    </a:lnTo>
                    <a:lnTo>
                      <a:pt x="42" y="46"/>
                    </a:lnTo>
                    <a:lnTo>
                      <a:pt x="30" y="54"/>
                    </a:lnTo>
                    <a:lnTo>
                      <a:pt x="25" y="55"/>
                    </a:lnTo>
                    <a:lnTo>
                      <a:pt x="14" y="50"/>
                    </a:lnTo>
                    <a:lnTo>
                      <a:pt x="10" y="30"/>
                    </a:lnTo>
                    <a:lnTo>
                      <a:pt x="1" y="27"/>
                    </a:lnTo>
                    <a:lnTo>
                      <a:pt x="0" y="21"/>
                    </a:lnTo>
                    <a:lnTo>
                      <a:pt x="0" y="16"/>
                    </a:lnTo>
                    <a:lnTo>
                      <a:pt x="1" y="14"/>
                    </a:lnTo>
                    <a:lnTo>
                      <a:pt x="1" y="7"/>
                    </a:lnTo>
                    <a:lnTo>
                      <a:pt x="3" y="2"/>
                    </a:lnTo>
                    <a:lnTo>
                      <a:pt x="7" y="0"/>
                    </a:lnTo>
                    <a:lnTo>
                      <a:pt x="10" y="4"/>
                    </a:lnTo>
                    <a:lnTo>
                      <a:pt x="14" y="4"/>
                    </a:lnTo>
                    <a:lnTo>
                      <a:pt x="28" y="7"/>
                    </a:lnTo>
                    <a:lnTo>
                      <a:pt x="32"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72" name="Freeform 1820"/>
              <p:cNvSpPr>
                <a:spLocks/>
              </p:cNvSpPr>
              <p:nvPr/>
            </p:nvSpPr>
            <p:spPr bwMode="auto">
              <a:xfrm>
                <a:off x="1402" y="936"/>
                <a:ext cx="76" cy="55"/>
              </a:xfrm>
              <a:custGeom>
                <a:avLst/>
                <a:gdLst>
                  <a:gd name="T0" fmla="*/ 32 w 76"/>
                  <a:gd name="T1" fmla="*/ 7 h 55"/>
                  <a:gd name="T2" fmla="*/ 37 w 76"/>
                  <a:gd name="T3" fmla="*/ 5 h 55"/>
                  <a:gd name="T4" fmla="*/ 42 w 76"/>
                  <a:gd name="T5" fmla="*/ 5 h 55"/>
                  <a:gd name="T6" fmla="*/ 57 w 76"/>
                  <a:gd name="T7" fmla="*/ 14 h 55"/>
                  <a:gd name="T8" fmla="*/ 59 w 76"/>
                  <a:gd name="T9" fmla="*/ 18 h 55"/>
                  <a:gd name="T10" fmla="*/ 60 w 76"/>
                  <a:gd name="T11" fmla="*/ 21 h 55"/>
                  <a:gd name="T12" fmla="*/ 62 w 76"/>
                  <a:gd name="T13" fmla="*/ 25 h 55"/>
                  <a:gd name="T14" fmla="*/ 66 w 76"/>
                  <a:gd name="T15" fmla="*/ 27 h 55"/>
                  <a:gd name="T16" fmla="*/ 73 w 76"/>
                  <a:gd name="T17" fmla="*/ 39 h 55"/>
                  <a:gd name="T18" fmla="*/ 73 w 76"/>
                  <a:gd name="T19" fmla="*/ 41 h 55"/>
                  <a:gd name="T20" fmla="*/ 73 w 76"/>
                  <a:gd name="T21" fmla="*/ 45 h 55"/>
                  <a:gd name="T22" fmla="*/ 76 w 76"/>
                  <a:gd name="T23" fmla="*/ 46 h 55"/>
                  <a:gd name="T24" fmla="*/ 73 w 76"/>
                  <a:gd name="T25" fmla="*/ 52 h 55"/>
                  <a:gd name="T26" fmla="*/ 62 w 76"/>
                  <a:gd name="T27" fmla="*/ 50 h 55"/>
                  <a:gd name="T28" fmla="*/ 53 w 76"/>
                  <a:gd name="T29" fmla="*/ 48 h 55"/>
                  <a:gd name="T30" fmla="*/ 42 w 76"/>
                  <a:gd name="T31" fmla="*/ 46 h 55"/>
                  <a:gd name="T32" fmla="*/ 30 w 76"/>
                  <a:gd name="T33" fmla="*/ 54 h 55"/>
                  <a:gd name="T34" fmla="*/ 25 w 76"/>
                  <a:gd name="T35" fmla="*/ 55 h 55"/>
                  <a:gd name="T36" fmla="*/ 14 w 76"/>
                  <a:gd name="T37" fmla="*/ 50 h 55"/>
                  <a:gd name="T38" fmla="*/ 10 w 76"/>
                  <a:gd name="T39" fmla="*/ 30 h 55"/>
                  <a:gd name="T40" fmla="*/ 1 w 76"/>
                  <a:gd name="T41" fmla="*/ 27 h 55"/>
                  <a:gd name="T42" fmla="*/ 0 w 76"/>
                  <a:gd name="T43" fmla="*/ 21 h 55"/>
                  <a:gd name="T44" fmla="*/ 0 w 76"/>
                  <a:gd name="T45" fmla="*/ 16 h 55"/>
                  <a:gd name="T46" fmla="*/ 1 w 76"/>
                  <a:gd name="T47" fmla="*/ 14 h 55"/>
                  <a:gd name="T48" fmla="*/ 1 w 76"/>
                  <a:gd name="T49" fmla="*/ 7 h 55"/>
                  <a:gd name="T50" fmla="*/ 3 w 76"/>
                  <a:gd name="T51" fmla="*/ 2 h 55"/>
                  <a:gd name="T52" fmla="*/ 7 w 76"/>
                  <a:gd name="T53" fmla="*/ 0 h 55"/>
                  <a:gd name="T54" fmla="*/ 10 w 76"/>
                  <a:gd name="T55" fmla="*/ 4 h 55"/>
                  <a:gd name="T56" fmla="*/ 14 w 76"/>
                  <a:gd name="T57" fmla="*/ 4 h 55"/>
                  <a:gd name="T58" fmla="*/ 28 w 76"/>
                  <a:gd name="T59" fmla="*/ 7 h 55"/>
                  <a:gd name="T60" fmla="*/ 32 w 76"/>
                  <a:gd name="T61" fmla="*/ 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55">
                    <a:moveTo>
                      <a:pt x="32" y="7"/>
                    </a:moveTo>
                    <a:lnTo>
                      <a:pt x="37" y="5"/>
                    </a:lnTo>
                    <a:lnTo>
                      <a:pt x="42" y="5"/>
                    </a:lnTo>
                    <a:lnTo>
                      <a:pt x="57" y="14"/>
                    </a:lnTo>
                    <a:lnTo>
                      <a:pt x="59" y="18"/>
                    </a:lnTo>
                    <a:lnTo>
                      <a:pt x="60" y="21"/>
                    </a:lnTo>
                    <a:lnTo>
                      <a:pt x="62" y="25"/>
                    </a:lnTo>
                    <a:lnTo>
                      <a:pt x="66" y="27"/>
                    </a:lnTo>
                    <a:lnTo>
                      <a:pt x="73" y="39"/>
                    </a:lnTo>
                    <a:lnTo>
                      <a:pt x="73" y="41"/>
                    </a:lnTo>
                    <a:lnTo>
                      <a:pt x="73" y="45"/>
                    </a:lnTo>
                    <a:lnTo>
                      <a:pt x="76" y="46"/>
                    </a:lnTo>
                    <a:lnTo>
                      <a:pt x="73" y="52"/>
                    </a:lnTo>
                    <a:lnTo>
                      <a:pt x="62" y="50"/>
                    </a:lnTo>
                    <a:lnTo>
                      <a:pt x="53" y="48"/>
                    </a:lnTo>
                    <a:lnTo>
                      <a:pt x="42" y="46"/>
                    </a:lnTo>
                    <a:lnTo>
                      <a:pt x="30" y="54"/>
                    </a:lnTo>
                    <a:lnTo>
                      <a:pt x="25" y="55"/>
                    </a:lnTo>
                    <a:lnTo>
                      <a:pt x="14" y="50"/>
                    </a:lnTo>
                    <a:lnTo>
                      <a:pt x="10" y="30"/>
                    </a:lnTo>
                    <a:lnTo>
                      <a:pt x="1" y="27"/>
                    </a:lnTo>
                    <a:lnTo>
                      <a:pt x="0" y="21"/>
                    </a:lnTo>
                    <a:lnTo>
                      <a:pt x="0" y="16"/>
                    </a:lnTo>
                    <a:lnTo>
                      <a:pt x="1" y="14"/>
                    </a:lnTo>
                    <a:lnTo>
                      <a:pt x="1" y="7"/>
                    </a:lnTo>
                    <a:lnTo>
                      <a:pt x="3" y="2"/>
                    </a:lnTo>
                    <a:lnTo>
                      <a:pt x="7" y="0"/>
                    </a:lnTo>
                    <a:lnTo>
                      <a:pt x="10" y="4"/>
                    </a:lnTo>
                    <a:lnTo>
                      <a:pt x="14" y="4"/>
                    </a:lnTo>
                    <a:lnTo>
                      <a:pt x="28" y="7"/>
                    </a:lnTo>
                    <a:lnTo>
                      <a:pt x="32"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73" name="Freeform 1821"/>
              <p:cNvSpPr>
                <a:spLocks/>
              </p:cNvSpPr>
              <p:nvPr/>
            </p:nvSpPr>
            <p:spPr bwMode="auto">
              <a:xfrm>
                <a:off x="1355" y="1411"/>
                <a:ext cx="29" cy="30"/>
              </a:xfrm>
              <a:custGeom>
                <a:avLst/>
                <a:gdLst>
                  <a:gd name="T0" fmla="*/ 22 w 29"/>
                  <a:gd name="T1" fmla="*/ 2 h 30"/>
                  <a:gd name="T2" fmla="*/ 13 w 29"/>
                  <a:gd name="T3" fmla="*/ 5 h 30"/>
                  <a:gd name="T4" fmla="*/ 9 w 29"/>
                  <a:gd name="T5" fmla="*/ 9 h 30"/>
                  <a:gd name="T6" fmla="*/ 0 w 29"/>
                  <a:gd name="T7" fmla="*/ 25 h 30"/>
                  <a:gd name="T8" fmla="*/ 0 w 29"/>
                  <a:gd name="T9" fmla="*/ 30 h 30"/>
                  <a:gd name="T10" fmla="*/ 2 w 29"/>
                  <a:gd name="T11" fmla="*/ 30 h 30"/>
                  <a:gd name="T12" fmla="*/ 7 w 29"/>
                  <a:gd name="T13" fmla="*/ 27 h 30"/>
                  <a:gd name="T14" fmla="*/ 9 w 29"/>
                  <a:gd name="T15" fmla="*/ 27 h 30"/>
                  <a:gd name="T16" fmla="*/ 13 w 29"/>
                  <a:gd name="T17" fmla="*/ 25 h 30"/>
                  <a:gd name="T18" fmla="*/ 16 w 29"/>
                  <a:gd name="T19" fmla="*/ 23 h 30"/>
                  <a:gd name="T20" fmla="*/ 16 w 29"/>
                  <a:gd name="T21" fmla="*/ 20 h 30"/>
                  <a:gd name="T22" fmla="*/ 18 w 29"/>
                  <a:gd name="T23" fmla="*/ 16 h 30"/>
                  <a:gd name="T24" fmla="*/ 20 w 29"/>
                  <a:gd name="T25" fmla="*/ 16 h 30"/>
                  <a:gd name="T26" fmla="*/ 27 w 29"/>
                  <a:gd name="T27" fmla="*/ 11 h 30"/>
                  <a:gd name="T28" fmla="*/ 27 w 29"/>
                  <a:gd name="T29" fmla="*/ 7 h 30"/>
                  <a:gd name="T30" fmla="*/ 29 w 29"/>
                  <a:gd name="T31" fmla="*/ 5 h 30"/>
                  <a:gd name="T32" fmla="*/ 29 w 29"/>
                  <a:gd name="T33" fmla="*/ 4 h 30"/>
                  <a:gd name="T34" fmla="*/ 23 w 29"/>
                  <a:gd name="T35" fmla="*/ 0 h 30"/>
                  <a:gd name="T36" fmla="*/ 22 w 29"/>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0">
                    <a:moveTo>
                      <a:pt x="22" y="2"/>
                    </a:moveTo>
                    <a:lnTo>
                      <a:pt x="13" y="5"/>
                    </a:lnTo>
                    <a:lnTo>
                      <a:pt x="9" y="9"/>
                    </a:lnTo>
                    <a:lnTo>
                      <a:pt x="0" y="25"/>
                    </a:lnTo>
                    <a:lnTo>
                      <a:pt x="0" y="30"/>
                    </a:lnTo>
                    <a:lnTo>
                      <a:pt x="2" y="30"/>
                    </a:lnTo>
                    <a:lnTo>
                      <a:pt x="7" y="27"/>
                    </a:lnTo>
                    <a:lnTo>
                      <a:pt x="9" y="27"/>
                    </a:lnTo>
                    <a:lnTo>
                      <a:pt x="13" y="25"/>
                    </a:lnTo>
                    <a:lnTo>
                      <a:pt x="16" y="23"/>
                    </a:lnTo>
                    <a:lnTo>
                      <a:pt x="16" y="20"/>
                    </a:lnTo>
                    <a:lnTo>
                      <a:pt x="18" y="16"/>
                    </a:lnTo>
                    <a:lnTo>
                      <a:pt x="20" y="16"/>
                    </a:lnTo>
                    <a:lnTo>
                      <a:pt x="27" y="11"/>
                    </a:lnTo>
                    <a:lnTo>
                      <a:pt x="27" y="7"/>
                    </a:lnTo>
                    <a:lnTo>
                      <a:pt x="29" y="5"/>
                    </a:lnTo>
                    <a:lnTo>
                      <a:pt x="29" y="4"/>
                    </a:lnTo>
                    <a:lnTo>
                      <a:pt x="23" y="0"/>
                    </a:lnTo>
                    <a:lnTo>
                      <a:pt x="2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74" name="Freeform 1822"/>
              <p:cNvSpPr>
                <a:spLocks/>
              </p:cNvSpPr>
              <p:nvPr/>
            </p:nvSpPr>
            <p:spPr bwMode="auto">
              <a:xfrm>
                <a:off x="1355" y="1411"/>
                <a:ext cx="29" cy="30"/>
              </a:xfrm>
              <a:custGeom>
                <a:avLst/>
                <a:gdLst>
                  <a:gd name="T0" fmla="*/ 22 w 29"/>
                  <a:gd name="T1" fmla="*/ 2 h 30"/>
                  <a:gd name="T2" fmla="*/ 13 w 29"/>
                  <a:gd name="T3" fmla="*/ 5 h 30"/>
                  <a:gd name="T4" fmla="*/ 9 w 29"/>
                  <a:gd name="T5" fmla="*/ 9 h 30"/>
                  <a:gd name="T6" fmla="*/ 0 w 29"/>
                  <a:gd name="T7" fmla="*/ 25 h 30"/>
                  <a:gd name="T8" fmla="*/ 0 w 29"/>
                  <a:gd name="T9" fmla="*/ 30 h 30"/>
                  <a:gd name="T10" fmla="*/ 2 w 29"/>
                  <a:gd name="T11" fmla="*/ 30 h 30"/>
                  <a:gd name="T12" fmla="*/ 7 w 29"/>
                  <a:gd name="T13" fmla="*/ 27 h 30"/>
                  <a:gd name="T14" fmla="*/ 9 w 29"/>
                  <a:gd name="T15" fmla="*/ 27 h 30"/>
                  <a:gd name="T16" fmla="*/ 13 w 29"/>
                  <a:gd name="T17" fmla="*/ 25 h 30"/>
                  <a:gd name="T18" fmla="*/ 16 w 29"/>
                  <a:gd name="T19" fmla="*/ 23 h 30"/>
                  <a:gd name="T20" fmla="*/ 16 w 29"/>
                  <a:gd name="T21" fmla="*/ 20 h 30"/>
                  <a:gd name="T22" fmla="*/ 18 w 29"/>
                  <a:gd name="T23" fmla="*/ 16 h 30"/>
                  <a:gd name="T24" fmla="*/ 20 w 29"/>
                  <a:gd name="T25" fmla="*/ 16 h 30"/>
                  <a:gd name="T26" fmla="*/ 27 w 29"/>
                  <a:gd name="T27" fmla="*/ 11 h 30"/>
                  <a:gd name="T28" fmla="*/ 27 w 29"/>
                  <a:gd name="T29" fmla="*/ 7 h 30"/>
                  <a:gd name="T30" fmla="*/ 29 w 29"/>
                  <a:gd name="T31" fmla="*/ 5 h 30"/>
                  <a:gd name="T32" fmla="*/ 29 w 29"/>
                  <a:gd name="T33" fmla="*/ 4 h 30"/>
                  <a:gd name="T34" fmla="*/ 23 w 29"/>
                  <a:gd name="T35" fmla="*/ 0 h 30"/>
                  <a:gd name="T36" fmla="*/ 22 w 29"/>
                  <a:gd name="T37" fmla="*/ 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0">
                    <a:moveTo>
                      <a:pt x="22" y="2"/>
                    </a:moveTo>
                    <a:lnTo>
                      <a:pt x="13" y="5"/>
                    </a:lnTo>
                    <a:lnTo>
                      <a:pt x="9" y="9"/>
                    </a:lnTo>
                    <a:lnTo>
                      <a:pt x="0" y="25"/>
                    </a:lnTo>
                    <a:lnTo>
                      <a:pt x="0" y="30"/>
                    </a:lnTo>
                    <a:lnTo>
                      <a:pt x="2" y="30"/>
                    </a:lnTo>
                    <a:lnTo>
                      <a:pt x="7" y="27"/>
                    </a:lnTo>
                    <a:lnTo>
                      <a:pt x="9" y="27"/>
                    </a:lnTo>
                    <a:lnTo>
                      <a:pt x="13" y="25"/>
                    </a:lnTo>
                    <a:lnTo>
                      <a:pt x="16" y="23"/>
                    </a:lnTo>
                    <a:lnTo>
                      <a:pt x="16" y="20"/>
                    </a:lnTo>
                    <a:lnTo>
                      <a:pt x="18" y="16"/>
                    </a:lnTo>
                    <a:lnTo>
                      <a:pt x="20" y="16"/>
                    </a:lnTo>
                    <a:lnTo>
                      <a:pt x="27" y="11"/>
                    </a:lnTo>
                    <a:lnTo>
                      <a:pt x="27" y="7"/>
                    </a:lnTo>
                    <a:lnTo>
                      <a:pt x="29" y="5"/>
                    </a:lnTo>
                    <a:lnTo>
                      <a:pt x="29" y="4"/>
                    </a:lnTo>
                    <a:lnTo>
                      <a:pt x="23" y="0"/>
                    </a:lnTo>
                    <a:lnTo>
                      <a:pt x="2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75" name="Freeform 1823"/>
              <p:cNvSpPr>
                <a:spLocks/>
              </p:cNvSpPr>
              <p:nvPr/>
            </p:nvSpPr>
            <p:spPr bwMode="auto">
              <a:xfrm>
                <a:off x="1411" y="1432"/>
                <a:ext cx="16" cy="27"/>
              </a:xfrm>
              <a:custGeom>
                <a:avLst/>
                <a:gdLst>
                  <a:gd name="T0" fmla="*/ 5 w 16"/>
                  <a:gd name="T1" fmla="*/ 0 h 27"/>
                  <a:gd name="T2" fmla="*/ 5 w 16"/>
                  <a:gd name="T3" fmla="*/ 0 h 27"/>
                  <a:gd name="T4" fmla="*/ 3 w 16"/>
                  <a:gd name="T5" fmla="*/ 2 h 27"/>
                  <a:gd name="T6" fmla="*/ 3 w 16"/>
                  <a:gd name="T7" fmla="*/ 2 h 27"/>
                  <a:gd name="T8" fmla="*/ 1 w 16"/>
                  <a:gd name="T9" fmla="*/ 4 h 27"/>
                  <a:gd name="T10" fmla="*/ 0 w 16"/>
                  <a:gd name="T11" fmla="*/ 20 h 27"/>
                  <a:gd name="T12" fmla="*/ 3 w 16"/>
                  <a:gd name="T13" fmla="*/ 22 h 27"/>
                  <a:gd name="T14" fmla="*/ 5 w 16"/>
                  <a:gd name="T15" fmla="*/ 24 h 27"/>
                  <a:gd name="T16" fmla="*/ 5 w 16"/>
                  <a:gd name="T17" fmla="*/ 27 h 27"/>
                  <a:gd name="T18" fmla="*/ 8 w 16"/>
                  <a:gd name="T19" fmla="*/ 27 h 27"/>
                  <a:gd name="T20" fmla="*/ 8 w 16"/>
                  <a:gd name="T21" fmla="*/ 25 h 27"/>
                  <a:gd name="T22" fmla="*/ 8 w 16"/>
                  <a:gd name="T23" fmla="*/ 22 h 27"/>
                  <a:gd name="T24" fmla="*/ 16 w 16"/>
                  <a:gd name="T25" fmla="*/ 4 h 27"/>
                  <a:gd name="T26" fmla="*/ 12 w 16"/>
                  <a:gd name="T27" fmla="*/ 0 h 27"/>
                  <a:gd name="T28" fmla="*/ 5 w 16"/>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7">
                    <a:moveTo>
                      <a:pt x="5" y="0"/>
                    </a:moveTo>
                    <a:lnTo>
                      <a:pt x="5" y="0"/>
                    </a:lnTo>
                    <a:lnTo>
                      <a:pt x="3" y="2"/>
                    </a:lnTo>
                    <a:lnTo>
                      <a:pt x="3" y="2"/>
                    </a:lnTo>
                    <a:lnTo>
                      <a:pt x="1" y="4"/>
                    </a:lnTo>
                    <a:lnTo>
                      <a:pt x="0" y="20"/>
                    </a:lnTo>
                    <a:lnTo>
                      <a:pt x="3" y="22"/>
                    </a:lnTo>
                    <a:lnTo>
                      <a:pt x="5" y="24"/>
                    </a:lnTo>
                    <a:lnTo>
                      <a:pt x="5" y="27"/>
                    </a:lnTo>
                    <a:lnTo>
                      <a:pt x="8" y="27"/>
                    </a:lnTo>
                    <a:lnTo>
                      <a:pt x="8" y="25"/>
                    </a:lnTo>
                    <a:lnTo>
                      <a:pt x="8" y="22"/>
                    </a:lnTo>
                    <a:lnTo>
                      <a:pt x="16" y="4"/>
                    </a:lnTo>
                    <a:lnTo>
                      <a:pt x="12" y="0"/>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76" name="Freeform 1824"/>
              <p:cNvSpPr>
                <a:spLocks/>
              </p:cNvSpPr>
              <p:nvPr/>
            </p:nvSpPr>
            <p:spPr bwMode="auto">
              <a:xfrm>
                <a:off x="1411" y="1432"/>
                <a:ext cx="16" cy="27"/>
              </a:xfrm>
              <a:custGeom>
                <a:avLst/>
                <a:gdLst>
                  <a:gd name="T0" fmla="*/ 5 w 16"/>
                  <a:gd name="T1" fmla="*/ 0 h 27"/>
                  <a:gd name="T2" fmla="*/ 5 w 16"/>
                  <a:gd name="T3" fmla="*/ 0 h 27"/>
                  <a:gd name="T4" fmla="*/ 3 w 16"/>
                  <a:gd name="T5" fmla="*/ 2 h 27"/>
                  <a:gd name="T6" fmla="*/ 3 w 16"/>
                  <a:gd name="T7" fmla="*/ 2 h 27"/>
                  <a:gd name="T8" fmla="*/ 1 w 16"/>
                  <a:gd name="T9" fmla="*/ 4 h 27"/>
                  <a:gd name="T10" fmla="*/ 0 w 16"/>
                  <a:gd name="T11" fmla="*/ 20 h 27"/>
                  <a:gd name="T12" fmla="*/ 3 w 16"/>
                  <a:gd name="T13" fmla="*/ 22 h 27"/>
                  <a:gd name="T14" fmla="*/ 5 w 16"/>
                  <a:gd name="T15" fmla="*/ 24 h 27"/>
                  <a:gd name="T16" fmla="*/ 5 w 16"/>
                  <a:gd name="T17" fmla="*/ 27 h 27"/>
                  <a:gd name="T18" fmla="*/ 8 w 16"/>
                  <a:gd name="T19" fmla="*/ 27 h 27"/>
                  <a:gd name="T20" fmla="*/ 8 w 16"/>
                  <a:gd name="T21" fmla="*/ 25 h 27"/>
                  <a:gd name="T22" fmla="*/ 8 w 16"/>
                  <a:gd name="T23" fmla="*/ 22 h 27"/>
                  <a:gd name="T24" fmla="*/ 16 w 16"/>
                  <a:gd name="T25" fmla="*/ 4 h 27"/>
                  <a:gd name="T26" fmla="*/ 12 w 16"/>
                  <a:gd name="T27" fmla="*/ 0 h 27"/>
                  <a:gd name="T28" fmla="*/ 5 w 16"/>
                  <a:gd name="T2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27">
                    <a:moveTo>
                      <a:pt x="5" y="0"/>
                    </a:moveTo>
                    <a:lnTo>
                      <a:pt x="5" y="0"/>
                    </a:lnTo>
                    <a:lnTo>
                      <a:pt x="3" y="2"/>
                    </a:lnTo>
                    <a:lnTo>
                      <a:pt x="3" y="2"/>
                    </a:lnTo>
                    <a:lnTo>
                      <a:pt x="1" y="4"/>
                    </a:lnTo>
                    <a:lnTo>
                      <a:pt x="0" y="20"/>
                    </a:lnTo>
                    <a:lnTo>
                      <a:pt x="3" y="22"/>
                    </a:lnTo>
                    <a:lnTo>
                      <a:pt x="5" y="24"/>
                    </a:lnTo>
                    <a:lnTo>
                      <a:pt x="5" y="27"/>
                    </a:lnTo>
                    <a:lnTo>
                      <a:pt x="8" y="27"/>
                    </a:lnTo>
                    <a:lnTo>
                      <a:pt x="8" y="25"/>
                    </a:lnTo>
                    <a:lnTo>
                      <a:pt x="8" y="22"/>
                    </a:lnTo>
                    <a:lnTo>
                      <a:pt x="16" y="4"/>
                    </a:lnTo>
                    <a:lnTo>
                      <a:pt x="12" y="0"/>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77" name="Freeform 1825"/>
              <p:cNvSpPr>
                <a:spLocks/>
              </p:cNvSpPr>
              <p:nvPr/>
            </p:nvSpPr>
            <p:spPr bwMode="auto">
              <a:xfrm>
                <a:off x="1253" y="931"/>
                <a:ext cx="461" cy="518"/>
              </a:xfrm>
              <a:custGeom>
                <a:avLst/>
                <a:gdLst>
                  <a:gd name="T0" fmla="*/ 327 w 461"/>
                  <a:gd name="T1" fmla="*/ 485 h 518"/>
                  <a:gd name="T2" fmla="*/ 343 w 461"/>
                  <a:gd name="T3" fmla="*/ 501 h 518"/>
                  <a:gd name="T4" fmla="*/ 374 w 461"/>
                  <a:gd name="T5" fmla="*/ 510 h 518"/>
                  <a:gd name="T6" fmla="*/ 366 w 461"/>
                  <a:gd name="T7" fmla="*/ 485 h 518"/>
                  <a:gd name="T8" fmla="*/ 359 w 461"/>
                  <a:gd name="T9" fmla="*/ 462 h 518"/>
                  <a:gd name="T10" fmla="*/ 395 w 461"/>
                  <a:gd name="T11" fmla="*/ 482 h 518"/>
                  <a:gd name="T12" fmla="*/ 404 w 461"/>
                  <a:gd name="T13" fmla="*/ 484 h 518"/>
                  <a:gd name="T14" fmla="*/ 404 w 461"/>
                  <a:gd name="T15" fmla="*/ 469 h 518"/>
                  <a:gd name="T16" fmla="*/ 399 w 461"/>
                  <a:gd name="T17" fmla="*/ 432 h 518"/>
                  <a:gd name="T18" fmla="*/ 384 w 461"/>
                  <a:gd name="T19" fmla="*/ 416 h 518"/>
                  <a:gd name="T20" fmla="*/ 366 w 461"/>
                  <a:gd name="T21" fmla="*/ 393 h 518"/>
                  <a:gd name="T22" fmla="*/ 361 w 461"/>
                  <a:gd name="T23" fmla="*/ 373 h 518"/>
                  <a:gd name="T24" fmla="*/ 366 w 461"/>
                  <a:gd name="T25" fmla="*/ 357 h 518"/>
                  <a:gd name="T26" fmla="*/ 388 w 461"/>
                  <a:gd name="T27" fmla="*/ 364 h 518"/>
                  <a:gd name="T28" fmla="*/ 416 w 461"/>
                  <a:gd name="T29" fmla="*/ 398 h 518"/>
                  <a:gd name="T30" fmla="*/ 441 w 461"/>
                  <a:gd name="T31" fmla="*/ 378 h 518"/>
                  <a:gd name="T32" fmla="*/ 452 w 461"/>
                  <a:gd name="T33" fmla="*/ 359 h 518"/>
                  <a:gd name="T34" fmla="*/ 445 w 461"/>
                  <a:gd name="T35" fmla="*/ 330 h 518"/>
                  <a:gd name="T36" fmla="*/ 418 w 461"/>
                  <a:gd name="T37" fmla="*/ 318 h 518"/>
                  <a:gd name="T38" fmla="*/ 404 w 461"/>
                  <a:gd name="T39" fmla="*/ 285 h 518"/>
                  <a:gd name="T40" fmla="*/ 374 w 461"/>
                  <a:gd name="T41" fmla="*/ 268 h 518"/>
                  <a:gd name="T42" fmla="*/ 359 w 461"/>
                  <a:gd name="T43" fmla="*/ 243 h 518"/>
                  <a:gd name="T44" fmla="*/ 379 w 461"/>
                  <a:gd name="T45" fmla="*/ 235 h 518"/>
                  <a:gd name="T46" fmla="*/ 350 w 461"/>
                  <a:gd name="T47" fmla="*/ 214 h 518"/>
                  <a:gd name="T48" fmla="*/ 343 w 461"/>
                  <a:gd name="T49" fmla="*/ 200 h 518"/>
                  <a:gd name="T50" fmla="*/ 349 w 461"/>
                  <a:gd name="T51" fmla="*/ 169 h 518"/>
                  <a:gd name="T52" fmla="*/ 324 w 461"/>
                  <a:gd name="T53" fmla="*/ 157 h 518"/>
                  <a:gd name="T54" fmla="*/ 299 w 461"/>
                  <a:gd name="T55" fmla="*/ 148 h 518"/>
                  <a:gd name="T56" fmla="*/ 277 w 461"/>
                  <a:gd name="T57" fmla="*/ 123 h 518"/>
                  <a:gd name="T58" fmla="*/ 258 w 461"/>
                  <a:gd name="T59" fmla="*/ 126 h 518"/>
                  <a:gd name="T60" fmla="*/ 254 w 461"/>
                  <a:gd name="T61" fmla="*/ 96 h 518"/>
                  <a:gd name="T62" fmla="*/ 200 w 461"/>
                  <a:gd name="T63" fmla="*/ 60 h 518"/>
                  <a:gd name="T64" fmla="*/ 165 w 461"/>
                  <a:gd name="T65" fmla="*/ 73 h 518"/>
                  <a:gd name="T66" fmla="*/ 150 w 461"/>
                  <a:gd name="T67" fmla="*/ 91 h 518"/>
                  <a:gd name="T68" fmla="*/ 143 w 461"/>
                  <a:gd name="T69" fmla="*/ 28 h 518"/>
                  <a:gd name="T70" fmla="*/ 90 w 461"/>
                  <a:gd name="T71" fmla="*/ 23 h 518"/>
                  <a:gd name="T72" fmla="*/ 77 w 461"/>
                  <a:gd name="T73" fmla="*/ 43 h 518"/>
                  <a:gd name="T74" fmla="*/ 72 w 461"/>
                  <a:gd name="T75" fmla="*/ 50 h 518"/>
                  <a:gd name="T76" fmla="*/ 81 w 461"/>
                  <a:gd name="T77" fmla="*/ 87 h 518"/>
                  <a:gd name="T78" fmla="*/ 86 w 461"/>
                  <a:gd name="T79" fmla="*/ 130 h 518"/>
                  <a:gd name="T80" fmla="*/ 56 w 461"/>
                  <a:gd name="T81" fmla="*/ 148 h 518"/>
                  <a:gd name="T82" fmla="*/ 61 w 461"/>
                  <a:gd name="T83" fmla="*/ 78 h 518"/>
                  <a:gd name="T84" fmla="*/ 22 w 461"/>
                  <a:gd name="T85" fmla="*/ 28 h 518"/>
                  <a:gd name="T86" fmla="*/ 6 w 461"/>
                  <a:gd name="T87" fmla="*/ 75 h 518"/>
                  <a:gd name="T88" fmla="*/ 34 w 461"/>
                  <a:gd name="T89" fmla="*/ 137 h 518"/>
                  <a:gd name="T90" fmla="*/ 31 w 461"/>
                  <a:gd name="T91" fmla="*/ 182 h 518"/>
                  <a:gd name="T92" fmla="*/ 77 w 461"/>
                  <a:gd name="T93" fmla="*/ 198 h 518"/>
                  <a:gd name="T94" fmla="*/ 131 w 461"/>
                  <a:gd name="T95" fmla="*/ 205 h 518"/>
                  <a:gd name="T96" fmla="*/ 159 w 461"/>
                  <a:gd name="T97" fmla="*/ 196 h 518"/>
                  <a:gd name="T98" fmla="*/ 191 w 461"/>
                  <a:gd name="T99" fmla="*/ 189 h 518"/>
                  <a:gd name="T100" fmla="*/ 209 w 461"/>
                  <a:gd name="T101" fmla="*/ 214 h 518"/>
                  <a:gd name="T102" fmla="*/ 238 w 461"/>
                  <a:gd name="T103" fmla="*/ 246 h 518"/>
                  <a:gd name="T104" fmla="*/ 261 w 461"/>
                  <a:gd name="T105" fmla="*/ 257 h 518"/>
                  <a:gd name="T106" fmla="*/ 286 w 461"/>
                  <a:gd name="T107" fmla="*/ 318 h 518"/>
                  <a:gd name="T108" fmla="*/ 261 w 461"/>
                  <a:gd name="T109" fmla="*/ 376 h 518"/>
                  <a:gd name="T110" fmla="*/ 240 w 461"/>
                  <a:gd name="T111" fmla="*/ 396 h 518"/>
                  <a:gd name="T112" fmla="*/ 204 w 461"/>
                  <a:gd name="T113" fmla="*/ 400 h 518"/>
                  <a:gd name="T114" fmla="*/ 215 w 461"/>
                  <a:gd name="T115" fmla="*/ 435 h 518"/>
                  <a:gd name="T116" fmla="*/ 238 w 461"/>
                  <a:gd name="T117" fmla="*/ 426 h 518"/>
                  <a:gd name="T118" fmla="*/ 249 w 461"/>
                  <a:gd name="T119" fmla="*/ 418 h 518"/>
                  <a:gd name="T120" fmla="*/ 268 w 461"/>
                  <a:gd name="T121" fmla="*/ 425 h 518"/>
                  <a:gd name="T122" fmla="*/ 283 w 461"/>
                  <a:gd name="T123" fmla="*/ 450 h 518"/>
                  <a:gd name="T124" fmla="*/ 302 w 461"/>
                  <a:gd name="T125" fmla="*/ 45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1" h="518">
                    <a:moveTo>
                      <a:pt x="302" y="480"/>
                    </a:moveTo>
                    <a:lnTo>
                      <a:pt x="313" y="484"/>
                    </a:lnTo>
                    <a:lnTo>
                      <a:pt x="313" y="485"/>
                    </a:lnTo>
                    <a:lnTo>
                      <a:pt x="315" y="485"/>
                    </a:lnTo>
                    <a:lnTo>
                      <a:pt x="318" y="487"/>
                    </a:lnTo>
                    <a:lnTo>
                      <a:pt x="322" y="485"/>
                    </a:lnTo>
                    <a:lnTo>
                      <a:pt x="324" y="482"/>
                    </a:lnTo>
                    <a:lnTo>
                      <a:pt x="325" y="484"/>
                    </a:lnTo>
                    <a:lnTo>
                      <a:pt x="324" y="487"/>
                    </a:lnTo>
                    <a:lnTo>
                      <a:pt x="327" y="489"/>
                    </a:lnTo>
                    <a:lnTo>
                      <a:pt x="327" y="485"/>
                    </a:lnTo>
                    <a:lnTo>
                      <a:pt x="331" y="487"/>
                    </a:lnTo>
                    <a:lnTo>
                      <a:pt x="333" y="485"/>
                    </a:lnTo>
                    <a:lnTo>
                      <a:pt x="333" y="489"/>
                    </a:lnTo>
                    <a:lnTo>
                      <a:pt x="333" y="491"/>
                    </a:lnTo>
                    <a:lnTo>
                      <a:pt x="334" y="491"/>
                    </a:lnTo>
                    <a:lnTo>
                      <a:pt x="336" y="493"/>
                    </a:lnTo>
                    <a:lnTo>
                      <a:pt x="336" y="496"/>
                    </a:lnTo>
                    <a:lnTo>
                      <a:pt x="338" y="500"/>
                    </a:lnTo>
                    <a:lnTo>
                      <a:pt x="341" y="501"/>
                    </a:lnTo>
                    <a:lnTo>
                      <a:pt x="343" y="498"/>
                    </a:lnTo>
                    <a:lnTo>
                      <a:pt x="343" y="501"/>
                    </a:lnTo>
                    <a:lnTo>
                      <a:pt x="345" y="501"/>
                    </a:lnTo>
                    <a:lnTo>
                      <a:pt x="347" y="503"/>
                    </a:lnTo>
                    <a:lnTo>
                      <a:pt x="350" y="505"/>
                    </a:lnTo>
                    <a:lnTo>
                      <a:pt x="352" y="505"/>
                    </a:lnTo>
                    <a:lnTo>
                      <a:pt x="354" y="507"/>
                    </a:lnTo>
                    <a:lnTo>
                      <a:pt x="361" y="507"/>
                    </a:lnTo>
                    <a:lnTo>
                      <a:pt x="361" y="509"/>
                    </a:lnTo>
                    <a:lnTo>
                      <a:pt x="365" y="512"/>
                    </a:lnTo>
                    <a:lnTo>
                      <a:pt x="366" y="512"/>
                    </a:lnTo>
                    <a:lnTo>
                      <a:pt x="370" y="512"/>
                    </a:lnTo>
                    <a:lnTo>
                      <a:pt x="374" y="510"/>
                    </a:lnTo>
                    <a:lnTo>
                      <a:pt x="381" y="518"/>
                    </a:lnTo>
                    <a:lnTo>
                      <a:pt x="388" y="518"/>
                    </a:lnTo>
                    <a:lnTo>
                      <a:pt x="386" y="514"/>
                    </a:lnTo>
                    <a:lnTo>
                      <a:pt x="384" y="512"/>
                    </a:lnTo>
                    <a:lnTo>
                      <a:pt x="384" y="510"/>
                    </a:lnTo>
                    <a:lnTo>
                      <a:pt x="386" y="509"/>
                    </a:lnTo>
                    <a:lnTo>
                      <a:pt x="386" y="505"/>
                    </a:lnTo>
                    <a:lnTo>
                      <a:pt x="386" y="503"/>
                    </a:lnTo>
                    <a:lnTo>
                      <a:pt x="374" y="491"/>
                    </a:lnTo>
                    <a:lnTo>
                      <a:pt x="372" y="489"/>
                    </a:lnTo>
                    <a:lnTo>
                      <a:pt x="366" y="485"/>
                    </a:lnTo>
                    <a:lnTo>
                      <a:pt x="365" y="482"/>
                    </a:lnTo>
                    <a:lnTo>
                      <a:pt x="361" y="478"/>
                    </a:lnTo>
                    <a:lnTo>
                      <a:pt x="361" y="475"/>
                    </a:lnTo>
                    <a:lnTo>
                      <a:pt x="358" y="476"/>
                    </a:lnTo>
                    <a:lnTo>
                      <a:pt x="356" y="473"/>
                    </a:lnTo>
                    <a:lnTo>
                      <a:pt x="356" y="471"/>
                    </a:lnTo>
                    <a:lnTo>
                      <a:pt x="354" y="473"/>
                    </a:lnTo>
                    <a:lnTo>
                      <a:pt x="341" y="453"/>
                    </a:lnTo>
                    <a:lnTo>
                      <a:pt x="345" y="451"/>
                    </a:lnTo>
                    <a:lnTo>
                      <a:pt x="356" y="462"/>
                    </a:lnTo>
                    <a:lnTo>
                      <a:pt x="359" y="462"/>
                    </a:lnTo>
                    <a:lnTo>
                      <a:pt x="359" y="460"/>
                    </a:lnTo>
                    <a:lnTo>
                      <a:pt x="361" y="459"/>
                    </a:lnTo>
                    <a:lnTo>
                      <a:pt x="368" y="469"/>
                    </a:lnTo>
                    <a:lnTo>
                      <a:pt x="370" y="471"/>
                    </a:lnTo>
                    <a:lnTo>
                      <a:pt x="374" y="471"/>
                    </a:lnTo>
                    <a:lnTo>
                      <a:pt x="375" y="478"/>
                    </a:lnTo>
                    <a:lnTo>
                      <a:pt x="384" y="478"/>
                    </a:lnTo>
                    <a:lnTo>
                      <a:pt x="390" y="484"/>
                    </a:lnTo>
                    <a:lnTo>
                      <a:pt x="390" y="480"/>
                    </a:lnTo>
                    <a:lnTo>
                      <a:pt x="391" y="482"/>
                    </a:lnTo>
                    <a:lnTo>
                      <a:pt x="395" y="482"/>
                    </a:lnTo>
                    <a:lnTo>
                      <a:pt x="397" y="480"/>
                    </a:lnTo>
                    <a:lnTo>
                      <a:pt x="397" y="480"/>
                    </a:lnTo>
                    <a:lnTo>
                      <a:pt x="397" y="482"/>
                    </a:lnTo>
                    <a:lnTo>
                      <a:pt x="399" y="485"/>
                    </a:lnTo>
                    <a:lnTo>
                      <a:pt x="402" y="484"/>
                    </a:lnTo>
                    <a:lnTo>
                      <a:pt x="402" y="485"/>
                    </a:lnTo>
                    <a:lnTo>
                      <a:pt x="400" y="491"/>
                    </a:lnTo>
                    <a:lnTo>
                      <a:pt x="404" y="493"/>
                    </a:lnTo>
                    <a:lnTo>
                      <a:pt x="406" y="494"/>
                    </a:lnTo>
                    <a:lnTo>
                      <a:pt x="408" y="494"/>
                    </a:lnTo>
                    <a:lnTo>
                      <a:pt x="404" y="484"/>
                    </a:lnTo>
                    <a:lnTo>
                      <a:pt x="404" y="482"/>
                    </a:lnTo>
                    <a:lnTo>
                      <a:pt x="408" y="482"/>
                    </a:lnTo>
                    <a:lnTo>
                      <a:pt x="409" y="484"/>
                    </a:lnTo>
                    <a:lnTo>
                      <a:pt x="413" y="485"/>
                    </a:lnTo>
                    <a:lnTo>
                      <a:pt x="413" y="482"/>
                    </a:lnTo>
                    <a:lnTo>
                      <a:pt x="413" y="480"/>
                    </a:lnTo>
                    <a:lnTo>
                      <a:pt x="411" y="480"/>
                    </a:lnTo>
                    <a:lnTo>
                      <a:pt x="411" y="478"/>
                    </a:lnTo>
                    <a:lnTo>
                      <a:pt x="409" y="478"/>
                    </a:lnTo>
                    <a:lnTo>
                      <a:pt x="408" y="478"/>
                    </a:lnTo>
                    <a:lnTo>
                      <a:pt x="404" y="469"/>
                    </a:lnTo>
                    <a:lnTo>
                      <a:pt x="404" y="462"/>
                    </a:lnTo>
                    <a:lnTo>
                      <a:pt x="411" y="469"/>
                    </a:lnTo>
                    <a:lnTo>
                      <a:pt x="411" y="468"/>
                    </a:lnTo>
                    <a:lnTo>
                      <a:pt x="411" y="464"/>
                    </a:lnTo>
                    <a:lnTo>
                      <a:pt x="411" y="462"/>
                    </a:lnTo>
                    <a:lnTo>
                      <a:pt x="413" y="453"/>
                    </a:lnTo>
                    <a:lnTo>
                      <a:pt x="411" y="450"/>
                    </a:lnTo>
                    <a:lnTo>
                      <a:pt x="409" y="443"/>
                    </a:lnTo>
                    <a:lnTo>
                      <a:pt x="406" y="443"/>
                    </a:lnTo>
                    <a:lnTo>
                      <a:pt x="400" y="437"/>
                    </a:lnTo>
                    <a:lnTo>
                      <a:pt x="399" y="432"/>
                    </a:lnTo>
                    <a:lnTo>
                      <a:pt x="402" y="432"/>
                    </a:lnTo>
                    <a:lnTo>
                      <a:pt x="404" y="426"/>
                    </a:lnTo>
                    <a:lnTo>
                      <a:pt x="404" y="421"/>
                    </a:lnTo>
                    <a:lnTo>
                      <a:pt x="400" y="423"/>
                    </a:lnTo>
                    <a:lnTo>
                      <a:pt x="400" y="421"/>
                    </a:lnTo>
                    <a:lnTo>
                      <a:pt x="399" y="418"/>
                    </a:lnTo>
                    <a:lnTo>
                      <a:pt x="399" y="418"/>
                    </a:lnTo>
                    <a:lnTo>
                      <a:pt x="393" y="421"/>
                    </a:lnTo>
                    <a:lnTo>
                      <a:pt x="393" y="412"/>
                    </a:lnTo>
                    <a:lnTo>
                      <a:pt x="390" y="412"/>
                    </a:lnTo>
                    <a:lnTo>
                      <a:pt x="384" y="416"/>
                    </a:lnTo>
                    <a:lnTo>
                      <a:pt x="383" y="414"/>
                    </a:lnTo>
                    <a:lnTo>
                      <a:pt x="386" y="409"/>
                    </a:lnTo>
                    <a:lnTo>
                      <a:pt x="383" y="409"/>
                    </a:lnTo>
                    <a:lnTo>
                      <a:pt x="379" y="409"/>
                    </a:lnTo>
                    <a:lnTo>
                      <a:pt x="377" y="409"/>
                    </a:lnTo>
                    <a:lnTo>
                      <a:pt x="377" y="414"/>
                    </a:lnTo>
                    <a:lnTo>
                      <a:pt x="372" y="400"/>
                    </a:lnTo>
                    <a:lnTo>
                      <a:pt x="368" y="398"/>
                    </a:lnTo>
                    <a:lnTo>
                      <a:pt x="368" y="396"/>
                    </a:lnTo>
                    <a:lnTo>
                      <a:pt x="368" y="394"/>
                    </a:lnTo>
                    <a:lnTo>
                      <a:pt x="366" y="393"/>
                    </a:lnTo>
                    <a:lnTo>
                      <a:pt x="368" y="391"/>
                    </a:lnTo>
                    <a:lnTo>
                      <a:pt x="366" y="389"/>
                    </a:lnTo>
                    <a:lnTo>
                      <a:pt x="366" y="385"/>
                    </a:lnTo>
                    <a:lnTo>
                      <a:pt x="366" y="384"/>
                    </a:lnTo>
                    <a:lnTo>
                      <a:pt x="363" y="382"/>
                    </a:lnTo>
                    <a:lnTo>
                      <a:pt x="358" y="384"/>
                    </a:lnTo>
                    <a:lnTo>
                      <a:pt x="356" y="384"/>
                    </a:lnTo>
                    <a:lnTo>
                      <a:pt x="358" y="378"/>
                    </a:lnTo>
                    <a:lnTo>
                      <a:pt x="358" y="373"/>
                    </a:lnTo>
                    <a:lnTo>
                      <a:pt x="359" y="371"/>
                    </a:lnTo>
                    <a:lnTo>
                      <a:pt x="361" y="373"/>
                    </a:lnTo>
                    <a:lnTo>
                      <a:pt x="366" y="369"/>
                    </a:lnTo>
                    <a:lnTo>
                      <a:pt x="368" y="369"/>
                    </a:lnTo>
                    <a:lnTo>
                      <a:pt x="366" y="366"/>
                    </a:lnTo>
                    <a:lnTo>
                      <a:pt x="363" y="360"/>
                    </a:lnTo>
                    <a:lnTo>
                      <a:pt x="358" y="360"/>
                    </a:lnTo>
                    <a:lnTo>
                      <a:pt x="356" y="359"/>
                    </a:lnTo>
                    <a:lnTo>
                      <a:pt x="352" y="353"/>
                    </a:lnTo>
                    <a:lnTo>
                      <a:pt x="358" y="353"/>
                    </a:lnTo>
                    <a:lnTo>
                      <a:pt x="358" y="350"/>
                    </a:lnTo>
                    <a:lnTo>
                      <a:pt x="359" y="350"/>
                    </a:lnTo>
                    <a:lnTo>
                      <a:pt x="366" y="357"/>
                    </a:lnTo>
                    <a:lnTo>
                      <a:pt x="368" y="357"/>
                    </a:lnTo>
                    <a:lnTo>
                      <a:pt x="366" y="350"/>
                    </a:lnTo>
                    <a:lnTo>
                      <a:pt x="368" y="350"/>
                    </a:lnTo>
                    <a:lnTo>
                      <a:pt x="365" y="346"/>
                    </a:lnTo>
                    <a:lnTo>
                      <a:pt x="366" y="344"/>
                    </a:lnTo>
                    <a:lnTo>
                      <a:pt x="370" y="346"/>
                    </a:lnTo>
                    <a:lnTo>
                      <a:pt x="374" y="348"/>
                    </a:lnTo>
                    <a:lnTo>
                      <a:pt x="374" y="351"/>
                    </a:lnTo>
                    <a:lnTo>
                      <a:pt x="372" y="355"/>
                    </a:lnTo>
                    <a:lnTo>
                      <a:pt x="377" y="357"/>
                    </a:lnTo>
                    <a:lnTo>
                      <a:pt x="388" y="364"/>
                    </a:lnTo>
                    <a:lnTo>
                      <a:pt x="390" y="369"/>
                    </a:lnTo>
                    <a:lnTo>
                      <a:pt x="395" y="369"/>
                    </a:lnTo>
                    <a:lnTo>
                      <a:pt x="399" y="368"/>
                    </a:lnTo>
                    <a:lnTo>
                      <a:pt x="397" y="373"/>
                    </a:lnTo>
                    <a:lnTo>
                      <a:pt x="399" y="382"/>
                    </a:lnTo>
                    <a:lnTo>
                      <a:pt x="404" y="391"/>
                    </a:lnTo>
                    <a:lnTo>
                      <a:pt x="409" y="387"/>
                    </a:lnTo>
                    <a:lnTo>
                      <a:pt x="409" y="391"/>
                    </a:lnTo>
                    <a:lnTo>
                      <a:pt x="408" y="396"/>
                    </a:lnTo>
                    <a:lnTo>
                      <a:pt x="411" y="400"/>
                    </a:lnTo>
                    <a:lnTo>
                      <a:pt x="416" y="398"/>
                    </a:lnTo>
                    <a:lnTo>
                      <a:pt x="418" y="405"/>
                    </a:lnTo>
                    <a:lnTo>
                      <a:pt x="422" y="401"/>
                    </a:lnTo>
                    <a:lnTo>
                      <a:pt x="424" y="409"/>
                    </a:lnTo>
                    <a:lnTo>
                      <a:pt x="425" y="410"/>
                    </a:lnTo>
                    <a:lnTo>
                      <a:pt x="429" y="396"/>
                    </a:lnTo>
                    <a:lnTo>
                      <a:pt x="433" y="396"/>
                    </a:lnTo>
                    <a:lnTo>
                      <a:pt x="429" y="382"/>
                    </a:lnTo>
                    <a:lnTo>
                      <a:pt x="429" y="378"/>
                    </a:lnTo>
                    <a:lnTo>
                      <a:pt x="436" y="384"/>
                    </a:lnTo>
                    <a:lnTo>
                      <a:pt x="440" y="384"/>
                    </a:lnTo>
                    <a:lnTo>
                      <a:pt x="441" y="378"/>
                    </a:lnTo>
                    <a:lnTo>
                      <a:pt x="445" y="376"/>
                    </a:lnTo>
                    <a:lnTo>
                      <a:pt x="445" y="369"/>
                    </a:lnTo>
                    <a:lnTo>
                      <a:pt x="450" y="368"/>
                    </a:lnTo>
                    <a:lnTo>
                      <a:pt x="449" y="364"/>
                    </a:lnTo>
                    <a:lnTo>
                      <a:pt x="441" y="366"/>
                    </a:lnTo>
                    <a:lnTo>
                      <a:pt x="443" y="360"/>
                    </a:lnTo>
                    <a:lnTo>
                      <a:pt x="447" y="362"/>
                    </a:lnTo>
                    <a:lnTo>
                      <a:pt x="447" y="357"/>
                    </a:lnTo>
                    <a:lnTo>
                      <a:pt x="441" y="357"/>
                    </a:lnTo>
                    <a:lnTo>
                      <a:pt x="445" y="355"/>
                    </a:lnTo>
                    <a:lnTo>
                      <a:pt x="452" y="359"/>
                    </a:lnTo>
                    <a:lnTo>
                      <a:pt x="456" y="359"/>
                    </a:lnTo>
                    <a:lnTo>
                      <a:pt x="458" y="357"/>
                    </a:lnTo>
                    <a:lnTo>
                      <a:pt x="456" y="353"/>
                    </a:lnTo>
                    <a:lnTo>
                      <a:pt x="458" y="348"/>
                    </a:lnTo>
                    <a:lnTo>
                      <a:pt x="459" y="348"/>
                    </a:lnTo>
                    <a:lnTo>
                      <a:pt x="461" y="344"/>
                    </a:lnTo>
                    <a:lnTo>
                      <a:pt x="459" y="339"/>
                    </a:lnTo>
                    <a:lnTo>
                      <a:pt x="454" y="334"/>
                    </a:lnTo>
                    <a:lnTo>
                      <a:pt x="450" y="332"/>
                    </a:lnTo>
                    <a:lnTo>
                      <a:pt x="449" y="328"/>
                    </a:lnTo>
                    <a:lnTo>
                      <a:pt x="445" y="330"/>
                    </a:lnTo>
                    <a:lnTo>
                      <a:pt x="441" y="328"/>
                    </a:lnTo>
                    <a:lnTo>
                      <a:pt x="438" y="330"/>
                    </a:lnTo>
                    <a:lnTo>
                      <a:pt x="431" y="334"/>
                    </a:lnTo>
                    <a:lnTo>
                      <a:pt x="433" y="323"/>
                    </a:lnTo>
                    <a:lnTo>
                      <a:pt x="436" y="319"/>
                    </a:lnTo>
                    <a:lnTo>
                      <a:pt x="434" y="318"/>
                    </a:lnTo>
                    <a:lnTo>
                      <a:pt x="433" y="316"/>
                    </a:lnTo>
                    <a:lnTo>
                      <a:pt x="429" y="318"/>
                    </a:lnTo>
                    <a:lnTo>
                      <a:pt x="420" y="319"/>
                    </a:lnTo>
                    <a:lnTo>
                      <a:pt x="416" y="319"/>
                    </a:lnTo>
                    <a:lnTo>
                      <a:pt x="418" y="318"/>
                    </a:lnTo>
                    <a:lnTo>
                      <a:pt x="416" y="316"/>
                    </a:lnTo>
                    <a:lnTo>
                      <a:pt x="416" y="314"/>
                    </a:lnTo>
                    <a:lnTo>
                      <a:pt x="420" y="314"/>
                    </a:lnTo>
                    <a:lnTo>
                      <a:pt x="420" y="312"/>
                    </a:lnTo>
                    <a:lnTo>
                      <a:pt x="413" y="298"/>
                    </a:lnTo>
                    <a:lnTo>
                      <a:pt x="409" y="294"/>
                    </a:lnTo>
                    <a:lnTo>
                      <a:pt x="402" y="296"/>
                    </a:lnTo>
                    <a:lnTo>
                      <a:pt x="402" y="294"/>
                    </a:lnTo>
                    <a:lnTo>
                      <a:pt x="402" y="291"/>
                    </a:lnTo>
                    <a:lnTo>
                      <a:pt x="404" y="289"/>
                    </a:lnTo>
                    <a:lnTo>
                      <a:pt x="404" y="285"/>
                    </a:lnTo>
                    <a:lnTo>
                      <a:pt x="391" y="287"/>
                    </a:lnTo>
                    <a:lnTo>
                      <a:pt x="388" y="291"/>
                    </a:lnTo>
                    <a:lnTo>
                      <a:pt x="386" y="287"/>
                    </a:lnTo>
                    <a:lnTo>
                      <a:pt x="383" y="287"/>
                    </a:lnTo>
                    <a:lnTo>
                      <a:pt x="384" y="284"/>
                    </a:lnTo>
                    <a:lnTo>
                      <a:pt x="386" y="282"/>
                    </a:lnTo>
                    <a:lnTo>
                      <a:pt x="384" y="276"/>
                    </a:lnTo>
                    <a:lnTo>
                      <a:pt x="375" y="278"/>
                    </a:lnTo>
                    <a:lnTo>
                      <a:pt x="374" y="276"/>
                    </a:lnTo>
                    <a:lnTo>
                      <a:pt x="377" y="269"/>
                    </a:lnTo>
                    <a:lnTo>
                      <a:pt x="374" y="268"/>
                    </a:lnTo>
                    <a:lnTo>
                      <a:pt x="352" y="262"/>
                    </a:lnTo>
                    <a:lnTo>
                      <a:pt x="350" y="260"/>
                    </a:lnTo>
                    <a:lnTo>
                      <a:pt x="356" y="260"/>
                    </a:lnTo>
                    <a:lnTo>
                      <a:pt x="356" y="257"/>
                    </a:lnTo>
                    <a:lnTo>
                      <a:pt x="361" y="257"/>
                    </a:lnTo>
                    <a:lnTo>
                      <a:pt x="358" y="255"/>
                    </a:lnTo>
                    <a:lnTo>
                      <a:pt x="358" y="253"/>
                    </a:lnTo>
                    <a:lnTo>
                      <a:pt x="352" y="248"/>
                    </a:lnTo>
                    <a:lnTo>
                      <a:pt x="354" y="244"/>
                    </a:lnTo>
                    <a:lnTo>
                      <a:pt x="359" y="244"/>
                    </a:lnTo>
                    <a:lnTo>
                      <a:pt x="359" y="243"/>
                    </a:lnTo>
                    <a:lnTo>
                      <a:pt x="352" y="237"/>
                    </a:lnTo>
                    <a:lnTo>
                      <a:pt x="347" y="237"/>
                    </a:lnTo>
                    <a:lnTo>
                      <a:pt x="347" y="234"/>
                    </a:lnTo>
                    <a:lnTo>
                      <a:pt x="350" y="234"/>
                    </a:lnTo>
                    <a:lnTo>
                      <a:pt x="352" y="234"/>
                    </a:lnTo>
                    <a:lnTo>
                      <a:pt x="356" y="234"/>
                    </a:lnTo>
                    <a:lnTo>
                      <a:pt x="354" y="230"/>
                    </a:lnTo>
                    <a:lnTo>
                      <a:pt x="365" y="235"/>
                    </a:lnTo>
                    <a:lnTo>
                      <a:pt x="368" y="235"/>
                    </a:lnTo>
                    <a:lnTo>
                      <a:pt x="374" y="234"/>
                    </a:lnTo>
                    <a:lnTo>
                      <a:pt x="379" y="235"/>
                    </a:lnTo>
                    <a:lnTo>
                      <a:pt x="379" y="234"/>
                    </a:lnTo>
                    <a:lnTo>
                      <a:pt x="379" y="230"/>
                    </a:lnTo>
                    <a:lnTo>
                      <a:pt x="370" y="223"/>
                    </a:lnTo>
                    <a:lnTo>
                      <a:pt x="359" y="223"/>
                    </a:lnTo>
                    <a:lnTo>
                      <a:pt x="354" y="219"/>
                    </a:lnTo>
                    <a:lnTo>
                      <a:pt x="352" y="223"/>
                    </a:lnTo>
                    <a:lnTo>
                      <a:pt x="349" y="218"/>
                    </a:lnTo>
                    <a:lnTo>
                      <a:pt x="345" y="216"/>
                    </a:lnTo>
                    <a:lnTo>
                      <a:pt x="341" y="218"/>
                    </a:lnTo>
                    <a:lnTo>
                      <a:pt x="345" y="214"/>
                    </a:lnTo>
                    <a:lnTo>
                      <a:pt x="350" y="214"/>
                    </a:lnTo>
                    <a:lnTo>
                      <a:pt x="356" y="212"/>
                    </a:lnTo>
                    <a:lnTo>
                      <a:pt x="358" y="209"/>
                    </a:lnTo>
                    <a:lnTo>
                      <a:pt x="361" y="207"/>
                    </a:lnTo>
                    <a:lnTo>
                      <a:pt x="368" y="210"/>
                    </a:lnTo>
                    <a:lnTo>
                      <a:pt x="370" y="205"/>
                    </a:lnTo>
                    <a:lnTo>
                      <a:pt x="358" y="185"/>
                    </a:lnTo>
                    <a:lnTo>
                      <a:pt x="352" y="184"/>
                    </a:lnTo>
                    <a:lnTo>
                      <a:pt x="350" y="187"/>
                    </a:lnTo>
                    <a:lnTo>
                      <a:pt x="350" y="193"/>
                    </a:lnTo>
                    <a:lnTo>
                      <a:pt x="347" y="196"/>
                    </a:lnTo>
                    <a:lnTo>
                      <a:pt x="343" y="200"/>
                    </a:lnTo>
                    <a:lnTo>
                      <a:pt x="340" y="200"/>
                    </a:lnTo>
                    <a:lnTo>
                      <a:pt x="345" y="193"/>
                    </a:lnTo>
                    <a:lnTo>
                      <a:pt x="345" y="189"/>
                    </a:lnTo>
                    <a:lnTo>
                      <a:pt x="334" y="189"/>
                    </a:lnTo>
                    <a:lnTo>
                      <a:pt x="331" y="191"/>
                    </a:lnTo>
                    <a:lnTo>
                      <a:pt x="329" y="189"/>
                    </a:lnTo>
                    <a:lnTo>
                      <a:pt x="333" y="185"/>
                    </a:lnTo>
                    <a:lnTo>
                      <a:pt x="341" y="182"/>
                    </a:lnTo>
                    <a:lnTo>
                      <a:pt x="343" y="176"/>
                    </a:lnTo>
                    <a:lnTo>
                      <a:pt x="347" y="180"/>
                    </a:lnTo>
                    <a:lnTo>
                      <a:pt x="349" y="169"/>
                    </a:lnTo>
                    <a:lnTo>
                      <a:pt x="338" y="166"/>
                    </a:lnTo>
                    <a:lnTo>
                      <a:pt x="334" y="162"/>
                    </a:lnTo>
                    <a:lnTo>
                      <a:pt x="331" y="160"/>
                    </a:lnTo>
                    <a:lnTo>
                      <a:pt x="325" y="164"/>
                    </a:lnTo>
                    <a:lnTo>
                      <a:pt x="322" y="168"/>
                    </a:lnTo>
                    <a:lnTo>
                      <a:pt x="320" y="169"/>
                    </a:lnTo>
                    <a:lnTo>
                      <a:pt x="316" y="173"/>
                    </a:lnTo>
                    <a:lnTo>
                      <a:pt x="316" y="171"/>
                    </a:lnTo>
                    <a:lnTo>
                      <a:pt x="318" y="168"/>
                    </a:lnTo>
                    <a:lnTo>
                      <a:pt x="322" y="164"/>
                    </a:lnTo>
                    <a:lnTo>
                      <a:pt x="324" y="157"/>
                    </a:lnTo>
                    <a:lnTo>
                      <a:pt x="322" y="159"/>
                    </a:lnTo>
                    <a:lnTo>
                      <a:pt x="318" y="160"/>
                    </a:lnTo>
                    <a:lnTo>
                      <a:pt x="315" y="162"/>
                    </a:lnTo>
                    <a:lnTo>
                      <a:pt x="309" y="168"/>
                    </a:lnTo>
                    <a:lnTo>
                      <a:pt x="309" y="164"/>
                    </a:lnTo>
                    <a:lnTo>
                      <a:pt x="315" y="153"/>
                    </a:lnTo>
                    <a:lnTo>
                      <a:pt x="313" y="148"/>
                    </a:lnTo>
                    <a:lnTo>
                      <a:pt x="309" y="146"/>
                    </a:lnTo>
                    <a:lnTo>
                      <a:pt x="306" y="151"/>
                    </a:lnTo>
                    <a:lnTo>
                      <a:pt x="300" y="151"/>
                    </a:lnTo>
                    <a:lnTo>
                      <a:pt x="299" y="148"/>
                    </a:lnTo>
                    <a:lnTo>
                      <a:pt x="290" y="146"/>
                    </a:lnTo>
                    <a:lnTo>
                      <a:pt x="299" y="144"/>
                    </a:lnTo>
                    <a:lnTo>
                      <a:pt x="302" y="146"/>
                    </a:lnTo>
                    <a:lnTo>
                      <a:pt x="306" y="139"/>
                    </a:lnTo>
                    <a:lnTo>
                      <a:pt x="304" y="132"/>
                    </a:lnTo>
                    <a:lnTo>
                      <a:pt x="300" y="125"/>
                    </a:lnTo>
                    <a:lnTo>
                      <a:pt x="288" y="119"/>
                    </a:lnTo>
                    <a:lnTo>
                      <a:pt x="283" y="114"/>
                    </a:lnTo>
                    <a:lnTo>
                      <a:pt x="283" y="114"/>
                    </a:lnTo>
                    <a:lnTo>
                      <a:pt x="281" y="119"/>
                    </a:lnTo>
                    <a:lnTo>
                      <a:pt x="277" y="123"/>
                    </a:lnTo>
                    <a:lnTo>
                      <a:pt x="274" y="121"/>
                    </a:lnTo>
                    <a:lnTo>
                      <a:pt x="270" y="123"/>
                    </a:lnTo>
                    <a:lnTo>
                      <a:pt x="272" y="132"/>
                    </a:lnTo>
                    <a:lnTo>
                      <a:pt x="272" y="134"/>
                    </a:lnTo>
                    <a:lnTo>
                      <a:pt x="270" y="132"/>
                    </a:lnTo>
                    <a:lnTo>
                      <a:pt x="266" y="132"/>
                    </a:lnTo>
                    <a:lnTo>
                      <a:pt x="266" y="130"/>
                    </a:lnTo>
                    <a:lnTo>
                      <a:pt x="265" y="128"/>
                    </a:lnTo>
                    <a:lnTo>
                      <a:pt x="265" y="121"/>
                    </a:lnTo>
                    <a:lnTo>
                      <a:pt x="263" y="121"/>
                    </a:lnTo>
                    <a:lnTo>
                      <a:pt x="258" y="126"/>
                    </a:lnTo>
                    <a:lnTo>
                      <a:pt x="266" y="110"/>
                    </a:lnTo>
                    <a:lnTo>
                      <a:pt x="266" y="109"/>
                    </a:lnTo>
                    <a:lnTo>
                      <a:pt x="258" y="112"/>
                    </a:lnTo>
                    <a:lnTo>
                      <a:pt x="254" y="110"/>
                    </a:lnTo>
                    <a:lnTo>
                      <a:pt x="249" y="118"/>
                    </a:lnTo>
                    <a:lnTo>
                      <a:pt x="247" y="119"/>
                    </a:lnTo>
                    <a:lnTo>
                      <a:pt x="247" y="114"/>
                    </a:lnTo>
                    <a:lnTo>
                      <a:pt x="241" y="116"/>
                    </a:lnTo>
                    <a:lnTo>
                      <a:pt x="252" y="107"/>
                    </a:lnTo>
                    <a:lnTo>
                      <a:pt x="254" y="103"/>
                    </a:lnTo>
                    <a:lnTo>
                      <a:pt x="254" y="96"/>
                    </a:lnTo>
                    <a:lnTo>
                      <a:pt x="247" y="94"/>
                    </a:lnTo>
                    <a:lnTo>
                      <a:pt x="241" y="94"/>
                    </a:lnTo>
                    <a:lnTo>
                      <a:pt x="240" y="93"/>
                    </a:lnTo>
                    <a:lnTo>
                      <a:pt x="243" y="87"/>
                    </a:lnTo>
                    <a:lnTo>
                      <a:pt x="240" y="76"/>
                    </a:lnTo>
                    <a:lnTo>
                      <a:pt x="236" y="75"/>
                    </a:lnTo>
                    <a:lnTo>
                      <a:pt x="238" y="71"/>
                    </a:lnTo>
                    <a:lnTo>
                      <a:pt x="231" y="69"/>
                    </a:lnTo>
                    <a:lnTo>
                      <a:pt x="225" y="69"/>
                    </a:lnTo>
                    <a:lnTo>
                      <a:pt x="208" y="60"/>
                    </a:lnTo>
                    <a:lnTo>
                      <a:pt x="200" y="60"/>
                    </a:lnTo>
                    <a:lnTo>
                      <a:pt x="191" y="64"/>
                    </a:lnTo>
                    <a:lnTo>
                      <a:pt x="184" y="71"/>
                    </a:lnTo>
                    <a:lnTo>
                      <a:pt x="184" y="76"/>
                    </a:lnTo>
                    <a:lnTo>
                      <a:pt x="190" y="80"/>
                    </a:lnTo>
                    <a:lnTo>
                      <a:pt x="186" y="82"/>
                    </a:lnTo>
                    <a:lnTo>
                      <a:pt x="181" y="82"/>
                    </a:lnTo>
                    <a:lnTo>
                      <a:pt x="177" y="87"/>
                    </a:lnTo>
                    <a:lnTo>
                      <a:pt x="172" y="78"/>
                    </a:lnTo>
                    <a:lnTo>
                      <a:pt x="168" y="84"/>
                    </a:lnTo>
                    <a:lnTo>
                      <a:pt x="165" y="82"/>
                    </a:lnTo>
                    <a:lnTo>
                      <a:pt x="165" y="73"/>
                    </a:lnTo>
                    <a:lnTo>
                      <a:pt x="159" y="89"/>
                    </a:lnTo>
                    <a:lnTo>
                      <a:pt x="158" y="87"/>
                    </a:lnTo>
                    <a:lnTo>
                      <a:pt x="156" y="93"/>
                    </a:lnTo>
                    <a:lnTo>
                      <a:pt x="152" y="100"/>
                    </a:lnTo>
                    <a:lnTo>
                      <a:pt x="147" y="103"/>
                    </a:lnTo>
                    <a:lnTo>
                      <a:pt x="149" y="100"/>
                    </a:lnTo>
                    <a:lnTo>
                      <a:pt x="147" y="96"/>
                    </a:lnTo>
                    <a:lnTo>
                      <a:pt x="147" y="94"/>
                    </a:lnTo>
                    <a:lnTo>
                      <a:pt x="152" y="94"/>
                    </a:lnTo>
                    <a:lnTo>
                      <a:pt x="152" y="94"/>
                    </a:lnTo>
                    <a:lnTo>
                      <a:pt x="150" y="91"/>
                    </a:lnTo>
                    <a:lnTo>
                      <a:pt x="149" y="91"/>
                    </a:lnTo>
                    <a:lnTo>
                      <a:pt x="156" y="60"/>
                    </a:lnTo>
                    <a:lnTo>
                      <a:pt x="152" y="57"/>
                    </a:lnTo>
                    <a:lnTo>
                      <a:pt x="149" y="50"/>
                    </a:lnTo>
                    <a:lnTo>
                      <a:pt x="149" y="48"/>
                    </a:lnTo>
                    <a:lnTo>
                      <a:pt x="152" y="46"/>
                    </a:lnTo>
                    <a:lnTo>
                      <a:pt x="152" y="43"/>
                    </a:lnTo>
                    <a:lnTo>
                      <a:pt x="150" y="39"/>
                    </a:lnTo>
                    <a:lnTo>
                      <a:pt x="145" y="35"/>
                    </a:lnTo>
                    <a:lnTo>
                      <a:pt x="140" y="32"/>
                    </a:lnTo>
                    <a:lnTo>
                      <a:pt x="143" y="28"/>
                    </a:lnTo>
                    <a:lnTo>
                      <a:pt x="141" y="12"/>
                    </a:lnTo>
                    <a:lnTo>
                      <a:pt x="138" y="5"/>
                    </a:lnTo>
                    <a:lnTo>
                      <a:pt x="118" y="7"/>
                    </a:lnTo>
                    <a:lnTo>
                      <a:pt x="115" y="9"/>
                    </a:lnTo>
                    <a:lnTo>
                      <a:pt x="111" y="10"/>
                    </a:lnTo>
                    <a:lnTo>
                      <a:pt x="99" y="19"/>
                    </a:lnTo>
                    <a:lnTo>
                      <a:pt x="104" y="23"/>
                    </a:lnTo>
                    <a:lnTo>
                      <a:pt x="102" y="30"/>
                    </a:lnTo>
                    <a:lnTo>
                      <a:pt x="100" y="23"/>
                    </a:lnTo>
                    <a:lnTo>
                      <a:pt x="95" y="19"/>
                    </a:lnTo>
                    <a:lnTo>
                      <a:pt x="90" y="23"/>
                    </a:lnTo>
                    <a:lnTo>
                      <a:pt x="90" y="26"/>
                    </a:lnTo>
                    <a:lnTo>
                      <a:pt x="91" y="34"/>
                    </a:lnTo>
                    <a:lnTo>
                      <a:pt x="90" y="32"/>
                    </a:lnTo>
                    <a:lnTo>
                      <a:pt x="86" y="26"/>
                    </a:lnTo>
                    <a:lnTo>
                      <a:pt x="81" y="28"/>
                    </a:lnTo>
                    <a:lnTo>
                      <a:pt x="79" y="32"/>
                    </a:lnTo>
                    <a:lnTo>
                      <a:pt x="84" y="37"/>
                    </a:lnTo>
                    <a:lnTo>
                      <a:pt x="100" y="44"/>
                    </a:lnTo>
                    <a:lnTo>
                      <a:pt x="100" y="46"/>
                    </a:lnTo>
                    <a:lnTo>
                      <a:pt x="79" y="39"/>
                    </a:lnTo>
                    <a:lnTo>
                      <a:pt x="77" y="43"/>
                    </a:lnTo>
                    <a:lnTo>
                      <a:pt x="75" y="41"/>
                    </a:lnTo>
                    <a:lnTo>
                      <a:pt x="74" y="43"/>
                    </a:lnTo>
                    <a:lnTo>
                      <a:pt x="77" y="44"/>
                    </a:lnTo>
                    <a:lnTo>
                      <a:pt x="81" y="46"/>
                    </a:lnTo>
                    <a:lnTo>
                      <a:pt x="86" y="51"/>
                    </a:lnTo>
                    <a:lnTo>
                      <a:pt x="91" y="53"/>
                    </a:lnTo>
                    <a:lnTo>
                      <a:pt x="97" y="59"/>
                    </a:lnTo>
                    <a:lnTo>
                      <a:pt x="93" y="59"/>
                    </a:lnTo>
                    <a:lnTo>
                      <a:pt x="83" y="50"/>
                    </a:lnTo>
                    <a:lnTo>
                      <a:pt x="75" y="48"/>
                    </a:lnTo>
                    <a:lnTo>
                      <a:pt x="72" y="50"/>
                    </a:lnTo>
                    <a:lnTo>
                      <a:pt x="70" y="51"/>
                    </a:lnTo>
                    <a:lnTo>
                      <a:pt x="70" y="60"/>
                    </a:lnTo>
                    <a:lnTo>
                      <a:pt x="74" y="68"/>
                    </a:lnTo>
                    <a:lnTo>
                      <a:pt x="72" y="71"/>
                    </a:lnTo>
                    <a:lnTo>
                      <a:pt x="74" y="76"/>
                    </a:lnTo>
                    <a:lnTo>
                      <a:pt x="79" y="78"/>
                    </a:lnTo>
                    <a:lnTo>
                      <a:pt x="83" y="78"/>
                    </a:lnTo>
                    <a:lnTo>
                      <a:pt x="84" y="76"/>
                    </a:lnTo>
                    <a:lnTo>
                      <a:pt x="84" y="78"/>
                    </a:lnTo>
                    <a:lnTo>
                      <a:pt x="83" y="84"/>
                    </a:lnTo>
                    <a:lnTo>
                      <a:pt x="81" y="87"/>
                    </a:lnTo>
                    <a:lnTo>
                      <a:pt x="75" y="87"/>
                    </a:lnTo>
                    <a:lnTo>
                      <a:pt x="74" y="94"/>
                    </a:lnTo>
                    <a:lnTo>
                      <a:pt x="66" y="100"/>
                    </a:lnTo>
                    <a:lnTo>
                      <a:pt x="68" y="101"/>
                    </a:lnTo>
                    <a:lnTo>
                      <a:pt x="72" y="105"/>
                    </a:lnTo>
                    <a:lnTo>
                      <a:pt x="72" y="110"/>
                    </a:lnTo>
                    <a:lnTo>
                      <a:pt x="75" y="116"/>
                    </a:lnTo>
                    <a:lnTo>
                      <a:pt x="83" y="118"/>
                    </a:lnTo>
                    <a:lnTo>
                      <a:pt x="86" y="118"/>
                    </a:lnTo>
                    <a:lnTo>
                      <a:pt x="88" y="121"/>
                    </a:lnTo>
                    <a:lnTo>
                      <a:pt x="86" y="130"/>
                    </a:lnTo>
                    <a:lnTo>
                      <a:pt x="84" y="132"/>
                    </a:lnTo>
                    <a:lnTo>
                      <a:pt x="84" y="146"/>
                    </a:lnTo>
                    <a:lnTo>
                      <a:pt x="83" y="151"/>
                    </a:lnTo>
                    <a:lnTo>
                      <a:pt x="81" y="150"/>
                    </a:lnTo>
                    <a:lnTo>
                      <a:pt x="83" y="143"/>
                    </a:lnTo>
                    <a:lnTo>
                      <a:pt x="81" y="141"/>
                    </a:lnTo>
                    <a:lnTo>
                      <a:pt x="79" y="143"/>
                    </a:lnTo>
                    <a:lnTo>
                      <a:pt x="75" y="141"/>
                    </a:lnTo>
                    <a:lnTo>
                      <a:pt x="66" y="144"/>
                    </a:lnTo>
                    <a:lnTo>
                      <a:pt x="61" y="150"/>
                    </a:lnTo>
                    <a:lnTo>
                      <a:pt x="56" y="148"/>
                    </a:lnTo>
                    <a:lnTo>
                      <a:pt x="66" y="139"/>
                    </a:lnTo>
                    <a:lnTo>
                      <a:pt x="74" y="137"/>
                    </a:lnTo>
                    <a:lnTo>
                      <a:pt x="75" y="135"/>
                    </a:lnTo>
                    <a:lnTo>
                      <a:pt x="79" y="134"/>
                    </a:lnTo>
                    <a:lnTo>
                      <a:pt x="83" y="135"/>
                    </a:lnTo>
                    <a:lnTo>
                      <a:pt x="81" y="130"/>
                    </a:lnTo>
                    <a:lnTo>
                      <a:pt x="81" y="126"/>
                    </a:lnTo>
                    <a:lnTo>
                      <a:pt x="75" y="125"/>
                    </a:lnTo>
                    <a:lnTo>
                      <a:pt x="61" y="105"/>
                    </a:lnTo>
                    <a:lnTo>
                      <a:pt x="58" y="96"/>
                    </a:lnTo>
                    <a:lnTo>
                      <a:pt x="61" y="78"/>
                    </a:lnTo>
                    <a:lnTo>
                      <a:pt x="54" y="66"/>
                    </a:lnTo>
                    <a:lnTo>
                      <a:pt x="56" y="57"/>
                    </a:lnTo>
                    <a:lnTo>
                      <a:pt x="61" y="44"/>
                    </a:lnTo>
                    <a:lnTo>
                      <a:pt x="63" y="35"/>
                    </a:lnTo>
                    <a:lnTo>
                      <a:pt x="84" y="7"/>
                    </a:lnTo>
                    <a:lnTo>
                      <a:pt x="84" y="5"/>
                    </a:lnTo>
                    <a:lnTo>
                      <a:pt x="79" y="1"/>
                    </a:lnTo>
                    <a:lnTo>
                      <a:pt x="56" y="0"/>
                    </a:lnTo>
                    <a:lnTo>
                      <a:pt x="34" y="12"/>
                    </a:lnTo>
                    <a:lnTo>
                      <a:pt x="24" y="21"/>
                    </a:lnTo>
                    <a:lnTo>
                      <a:pt x="22" y="28"/>
                    </a:lnTo>
                    <a:lnTo>
                      <a:pt x="18" y="34"/>
                    </a:lnTo>
                    <a:lnTo>
                      <a:pt x="16" y="35"/>
                    </a:lnTo>
                    <a:lnTo>
                      <a:pt x="13" y="43"/>
                    </a:lnTo>
                    <a:lnTo>
                      <a:pt x="15" y="46"/>
                    </a:lnTo>
                    <a:lnTo>
                      <a:pt x="11" y="50"/>
                    </a:lnTo>
                    <a:lnTo>
                      <a:pt x="11" y="57"/>
                    </a:lnTo>
                    <a:lnTo>
                      <a:pt x="15" y="59"/>
                    </a:lnTo>
                    <a:lnTo>
                      <a:pt x="9" y="59"/>
                    </a:lnTo>
                    <a:lnTo>
                      <a:pt x="8" y="66"/>
                    </a:lnTo>
                    <a:lnTo>
                      <a:pt x="6" y="68"/>
                    </a:lnTo>
                    <a:lnTo>
                      <a:pt x="6" y="75"/>
                    </a:lnTo>
                    <a:lnTo>
                      <a:pt x="2" y="78"/>
                    </a:lnTo>
                    <a:lnTo>
                      <a:pt x="4" y="89"/>
                    </a:lnTo>
                    <a:lnTo>
                      <a:pt x="9" y="89"/>
                    </a:lnTo>
                    <a:lnTo>
                      <a:pt x="6" y="91"/>
                    </a:lnTo>
                    <a:lnTo>
                      <a:pt x="2" y="94"/>
                    </a:lnTo>
                    <a:lnTo>
                      <a:pt x="0" y="100"/>
                    </a:lnTo>
                    <a:lnTo>
                      <a:pt x="4" y="110"/>
                    </a:lnTo>
                    <a:lnTo>
                      <a:pt x="2" y="116"/>
                    </a:lnTo>
                    <a:lnTo>
                      <a:pt x="2" y="128"/>
                    </a:lnTo>
                    <a:lnTo>
                      <a:pt x="4" y="134"/>
                    </a:lnTo>
                    <a:lnTo>
                      <a:pt x="34" y="137"/>
                    </a:lnTo>
                    <a:lnTo>
                      <a:pt x="43" y="146"/>
                    </a:lnTo>
                    <a:lnTo>
                      <a:pt x="49" y="150"/>
                    </a:lnTo>
                    <a:lnTo>
                      <a:pt x="40" y="153"/>
                    </a:lnTo>
                    <a:lnTo>
                      <a:pt x="31" y="153"/>
                    </a:lnTo>
                    <a:lnTo>
                      <a:pt x="22" y="148"/>
                    </a:lnTo>
                    <a:lnTo>
                      <a:pt x="11" y="146"/>
                    </a:lnTo>
                    <a:lnTo>
                      <a:pt x="13" y="150"/>
                    </a:lnTo>
                    <a:lnTo>
                      <a:pt x="11" y="155"/>
                    </a:lnTo>
                    <a:lnTo>
                      <a:pt x="25" y="175"/>
                    </a:lnTo>
                    <a:lnTo>
                      <a:pt x="34" y="182"/>
                    </a:lnTo>
                    <a:lnTo>
                      <a:pt x="31" y="182"/>
                    </a:lnTo>
                    <a:lnTo>
                      <a:pt x="36" y="184"/>
                    </a:lnTo>
                    <a:lnTo>
                      <a:pt x="38" y="182"/>
                    </a:lnTo>
                    <a:lnTo>
                      <a:pt x="41" y="182"/>
                    </a:lnTo>
                    <a:lnTo>
                      <a:pt x="49" y="184"/>
                    </a:lnTo>
                    <a:lnTo>
                      <a:pt x="56" y="182"/>
                    </a:lnTo>
                    <a:lnTo>
                      <a:pt x="58" y="176"/>
                    </a:lnTo>
                    <a:lnTo>
                      <a:pt x="58" y="184"/>
                    </a:lnTo>
                    <a:lnTo>
                      <a:pt x="61" y="191"/>
                    </a:lnTo>
                    <a:lnTo>
                      <a:pt x="66" y="196"/>
                    </a:lnTo>
                    <a:lnTo>
                      <a:pt x="74" y="198"/>
                    </a:lnTo>
                    <a:lnTo>
                      <a:pt x="77" y="198"/>
                    </a:lnTo>
                    <a:lnTo>
                      <a:pt x="74" y="194"/>
                    </a:lnTo>
                    <a:lnTo>
                      <a:pt x="77" y="194"/>
                    </a:lnTo>
                    <a:lnTo>
                      <a:pt x="106" y="201"/>
                    </a:lnTo>
                    <a:lnTo>
                      <a:pt x="106" y="200"/>
                    </a:lnTo>
                    <a:lnTo>
                      <a:pt x="113" y="196"/>
                    </a:lnTo>
                    <a:lnTo>
                      <a:pt x="124" y="203"/>
                    </a:lnTo>
                    <a:lnTo>
                      <a:pt x="127" y="203"/>
                    </a:lnTo>
                    <a:lnTo>
                      <a:pt x="127" y="205"/>
                    </a:lnTo>
                    <a:lnTo>
                      <a:pt x="129" y="203"/>
                    </a:lnTo>
                    <a:lnTo>
                      <a:pt x="129" y="203"/>
                    </a:lnTo>
                    <a:lnTo>
                      <a:pt x="131" y="205"/>
                    </a:lnTo>
                    <a:lnTo>
                      <a:pt x="134" y="201"/>
                    </a:lnTo>
                    <a:lnTo>
                      <a:pt x="138" y="200"/>
                    </a:lnTo>
                    <a:lnTo>
                      <a:pt x="141" y="201"/>
                    </a:lnTo>
                    <a:lnTo>
                      <a:pt x="145" y="209"/>
                    </a:lnTo>
                    <a:lnTo>
                      <a:pt x="149" y="209"/>
                    </a:lnTo>
                    <a:lnTo>
                      <a:pt x="147" y="205"/>
                    </a:lnTo>
                    <a:lnTo>
                      <a:pt x="141" y="198"/>
                    </a:lnTo>
                    <a:lnTo>
                      <a:pt x="134" y="194"/>
                    </a:lnTo>
                    <a:lnTo>
                      <a:pt x="136" y="191"/>
                    </a:lnTo>
                    <a:lnTo>
                      <a:pt x="156" y="198"/>
                    </a:lnTo>
                    <a:lnTo>
                      <a:pt x="159" y="196"/>
                    </a:lnTo>
                    <a:lnTo>
                      <a:pt x="161" y="198"/>
                    </a:lnTo>
                    <a:lnTo>
                      <a:pt x="163" y="198"/>
                    </a:lnTo>
                    <a:lnTo>
                      <a:pt x="166" y="205"/>
                    </a:lnTo>
                    <a:lnTo>
                      <a:pt x="181" y="201"/>
                    </a:lnTo>
                    <a:lnTo>
                      <a:pt x="183" y="200"/>
                    </a:lnTo>
                    <a:lnTo>
                      <a:pt x="177" y="182"/>
                    </a:lnTo>
                    <a:lnTo>
                      <a:pt x="174" y="182"/>
                    </a:lnTo>
                    <a:lnTo>
                      <a:pt x="170" y="180"/>
                    </a:lnTo>
                    <a:lnTo>
                      <a:pt x="174" y="176"/>
                    </a:lnTo>
                    <a:lnTo>
                      <a:pt x="181" y="178"/>
                    </a:lnTo>
                    <a:lnTo>
                      <a:pt x="191" y="189"/>
                    </a:lnTo>
                    <a:lnTo>
                      <a:pt x="193" y="185"/>
                    </a:lnTo>
                    <a:lnTo>
                      <a:pt x="197" y="187"/>
                    </a:lnTo>
                    <a:lnTo>
                      <a:pt x="200" y="187"/>
                    </a:lnTo>
                    <a:lnTo>
                      <a:pt x="200" y="205"/>
                    </a:lnTo>
                    <a:lnTo>
                      <a:pt x="202" y="209"/>
                    </a:lnTo>
                    <a:lnTo>
                      <a:pt x="206" y="203"/>
                    </a:lnTo>
                    <a:lnTo>
                      <a:pt x="208" y="205"/>
                    </a:lnTo>
                    <a:lnTo>
                      <a:pt x="211" y="205"/>
                    </a:lnTo>
                    <a:lnTo>
                      <a:pt x="213" y="207"/>
                    </a:lnTo>
                    <a:lnTo>
                      <a:pt x="213" y="210"/>
                    </a:lnTo>
                    <a:lnTo>
                      <a:pt x="209" y="214"/>
                    </a:lnTo>
                    <a:lnTo>
                      <a:pt x="213" y="214"/>
                    </a:lnTo>
                    <a:lnTo>
                      <a:pt x="231" y="230"/>
                    </a:lnTo>
                    <a:lnTo>
                      <a:pt x="233" y="237"/>
                    </a:lnTo>
                    <a:lnTo>
                      <a:pt x="225" y="243"/>
                    </a:lnTo>
                    <a:lnTo>
                      <a:pt x="220" y="241"/>
                    </a:lnTo>
                    <a:lnTo>
                      <a:pt x="216" y="241"/>
                    </a:lnTo>
                    <a:lnTo>
                      <a:pt x="216" y="248"/>
                    </a:lnTo>
                    <a:lnTo>
                      <a:pt x="216" y="257"/>
                    </a:lnTo>
                    <a:lnTo>
                      <a:pt x="231" y="250"/>
                    </a:lnTo>
                    <a:lnTo>
                      <a:pt x="233" y="244"/>
                    </a:lnTo>
                    <a:lnTo>
                      <a:pt x="238" y="246"/>
                    </a:lnTo>
                    <a:lnTo>
                      <a:pt x="241" y="243"/>
                    </a:lnTo>
                    <a:lnTo>
                      <a:pt x="249" y="241"/>
                    </a:lnTo>
                    <a:lnTo>
                      <a:pt x="254" y="243"/>
                    </a:lnTo>
                    <a:lnTo>
                      <a:pt x="245" y="244"/>
                    </a:lnTo>
                    <a:lnTo>
                      <a:pt x="247" y="246"/>
                    </a:lnTo>
                    <a:lnTo>
                      <a:pt x="245" y="250"/>
                    </a:lnTo>
                    <a:lnTo>
                      <a:pt x="256" y="264"/>
                    </a:lnTo>
                    <a:lnTo>
                      <a:pt x="258" y="262"/>
                    </a:lnTo>
                    <a:lnTo>
                      <a:pt x="254" y="259"/>
                    </a:lnTo>
                    <a:lnTo>
                      <a:pt x="256" y="255"/>
                    </a:lnTo>
                    <a:lnTo>
                      <a:pt x="261" y="257"/>
                    </a:lnTo>
                    <a:lnTo>
                      <a:pt x="259" y="268"/>
                    </a:lnTo>
                    <a:lnTo>
                      <a:pt x="261" y="273"/>
                    </a:lnTo>
                    <a:lnTo>
                      <a:pt x="266" y="276"/>
                    </a:lnTo>
                    <a:lnTo>
                      <a:pt x="270" y="273"/>
                    </a:lnTo>
                    <a:lnTo>
                      <a:pt x="275" y="280"/>
                    </a:lnTo>
                    <a:lnTo>
                      <a:pt x="277" y="293"/>
                    </a:lnTo>
                    <a:lnTo>
                      <a:pt x="279" y="294"/>
                    </a:lnTo>
                    <a:lnTo>
                      <a:pt x="281" y="301"/>
                    </a:lnTo>
                    <a:lnTo>
                      <a:pt x="283" y="305"/>
                    </a:lnTo>
                    <a:lnTo>
                      <a:pt x="284" y="316"/>
                    </a:lnTo>
                    <a:lnTo>
                      <a:pt x="286" y="318"/>
                    </a:lnTo>
                    <a:lnTo>
                      <a:pt x="284" y="321"/>
                    </a:lnTo>
                    <a:lnTo>
                      <a:pt x="283" y="325"/>
                    </a:lnTo>
                    <a:lnTo>
                      <a:pt x="277" y="326"/>
                    </a:lnTo>
                    <a:lnTo>
                      <a:pt x="275" y="328"/>
                    </a:lnTo>
                    <a:lnTo>
                      <a:pt x="275" y="339"/>
                    </a:lnTo>
                    <a:lnTo>
                      <a:pt x="274" y="341"/>
                    </a:lnTo>
                    <a:lnTo>
                      <a:pt x="270" y="341"/>
                    </a:lnTo>
                    <a:lnTo>
                      <a:pt x="252" y="362"/>
                    </a:lnTo>
                    <a:lnTo>
                      <a:pt x="252" y="366"/>
                    </a:lnTo>
                    <a:lnTo>
                      <a:pt x="256" y="371"/>
                    </a:lnTo>
                    <a:lnTo>
                      <a:pt x="261" y="376"/>
                    </a:lnTo>
                    <a:lnTo>
                      <a:pt x="263" y="382"/>
                    </a:lnTo>
                    <a:lnTo>
                      <a:pt x="265" y="382"/>
                    </a:lnTo>
                    <a:lnTo>
                      <a:pt x="265" y="389"/>
                    </a:lnTo>
                    <a:lnTo>
                      <a:pt x="259" y="387"/>
                    </a:lnTo>
                    <a:lnTo>
                      <a:pt x="259" y="389"/>
                    </a:lnTo>
                    <a:lnTo>
                      <a:pt x="256" y="385"/>
                    </a:lnTo>
                    <a:lnTo>
                      <a:pt x="254" y="389"/>
                    </a:lnTo>
                    <a:lnTo>
                      <a:pt x="252" y="389"/>
                    </a:lnTo>
                    <a:lnTo>
                      <a:pt x="247" y="393"/>
                    </a:lnTo>
                    <a:lnTo>
                      <a:pt x="240" y="393"/>
                    </a:lnTo>
                    <a:lnTo>
                      <a:pt x="240" y="396"/>
                    </a:lnTo>
                    <a:lnTo>
                      <a:pt x="238" y="396"/>
                    </a:lnTo>
                    <a:lnTo>
                      <a:pt x="233" y="394"/>
                    </a:lnTo>
                    <a:lnTo>
                      <a:pt x="224" y="394"/>
                    </a:lnTo>
                    <a:lnTo>
                      <a:pt x="218" y="393"/>
                    </a:lnTo>
                    <a:lnTo>
                      <a:pt x="213" y="393"/>
                    </a:lnTo>
                    <a:lnTo>
                      <a:pt x="209" y="391"/>
                    </a:lnTo>
                    <a:lnTo>
                      <a:pt x="208" y="389"/>
                    </a:lnTo>
                    <a:lnTo>
                      <a:pt x="204" y="389"/>
                    </a:lnTo>
                    <a:lnTo>
                      <a:pt x="208" y="393"/>
                    </a:lnTo>
                    <a:lnTo>
                      <a:pt x="204" y="393"/>
                    </a:lnTo>
                    <a:lnTo>
                      <a:pt x="204" y="400"/>
                    </a:lnTo>
                    <a:lnTo>
                      <a:pt x="200" y="401"/>
                    </a:lnTo>
                    <a:lnTo>
                      <a:pt x="195" y="405"/>
                    </a:lnTo>
                    <a:lnTo>
                      <a:pt x="193" y="410"/>
                    </a:lnTo>
                    <a:lnTo>
                      <a:pt x="193" y="419"/>
                    </a:lnTo>
                    <a:lnTo>
                      <a:pt x="195" y="425"/>
                    </a:lnTo>
                    <a:lnTo>
                      <a:pt x="199" y="428"/>
                    </a:lnTo>
                    <a:lnTo>
                      <a:pt x="202" y="428"/>
                    </a:lnTo>
                    <a:lnTo>
                      <a:pt x="206" y="434"/>
                    </a:lnTo>
                    <a:lnTo>
                      <a:pt x="208" y="432"/>
                    </a:lnTo>
                    <a:lnTo>
                      <a:pt x="215" y="434"/>
                    </a:lnTo>
                    <a:lnTo>
                      <a:pt x="215" y="435"/>
                    </a:lnTo>
                    <a:lnTo>
                      <a:pt x="216" y="435"/>
                    </a:lnTo>
                    <a:lnTo>
                      <a:pt x="224" y="434"/>
                    </a:lnTo>
                    <a:lnTo>
                      <a:pt x="222" y="430"/>
                    </a:lnTo>
                    <a:lnTo>
                      <a:pt x="227" y="430"/>
                    </a:lnTo>
                    <a:lnTo>
                      <a:pt x="229" y="428"/>
                    </a:lnTo>
                    <a:lnTo>
                      <a:pt x="229" y="426"/>
                    </a:lnTo>
                    <a:lnTo>
                      <a:pt x="227" y="423"/>
                    </a:lnTo>
                    <a:lnTo>
                      <a:pt x="233" y="421"/>
                    </a:lnTo>
                    <a:lnTo>
                      <a:pt x="236" y="421"/>
                    </a:lnTo>
                    <a:lnTo>
                      <a:pt x="238" y="425"/>
                    </a:lnTo>
                    <a:lnTo>
                      <a:pt x="238" y="426"/>
                    </a:lnTo>
                    <a:lnTo>
                      <a:pt x="245" y="426"/>
                    </a:lnTo>
                    <a:lnTo>
                      <a:pt x="249" y="428"/>
                    </a:lnTo>
                    <a:lnTo>
                      <a:pt x="249" y="425"/>
                    </a:lnTo>
                    <a:lnTo>
                      <a:pt x="250" y="423"/>
                    </a:lnTo>
                    <a:lnTo>
                      <a:pt x="250" y="425"/>
                    </a:lnTo>
                    <a:lnTo>
                      <a:pt x="249" y="419"/>
                    </a:lnTo>
                    <a:lnTo>
                      <a:pt x="243" y="418"/>
                    </a:lnTo>
                    <a:lnTo>
                      <a:pt x="243" y="414"/>
                    </a:lnTo>
                    <a:lnTo>
                      <a:pt x="247" y="414"/>
                    </a:lnTo>
                    <a:lnTo>
                      <a:pt x="249" y="412"/>
                    </a:lnTo>
                    <a:lnTo>
                      <a:pt x="249" y="418"/>
                    </a:lnTo>
                    <a:lnTo>
                      <a:pt x="252" y="416"/>
                    </a:lnTo>
                    <a:lnTo>
                      <a:pt x="252" y="418"/>
                    </a:lnTo>
                    <a:lnTo>
                      <a:pt x="254" y="419"/>
                    </a:lnTo>
                    <a:lnTo>
                      <a:pt x="256" y="419"/>
                    </a:lnTo>
                    <a:lnTo>
                      <a:pt x="259" y="418"/>
                    </a:lnTo>
                    <a:lnTo>
                      <a:pt x="259" y="418"/>
                    </a:lnTo>
                    <a:lnTo>
                      <a:pt x="263" y="423"/>
                    </a:lnTo>
                    <a:lnTo>
                      <a:pt x="265" y="421"/>
                    </a:lnTo>
                    <a:lnTo>
                      <a:pt x="266" y="421"/>
                    </a:lnTo>
                    <a:lnTo>
                      <a:pt x="268" y="423"/>
                    </a:lnTo>
                    <a:lnTo>
                      <a:pt x="268" y="425"/>
                    </a:lnTo>
                    <a:lnTo>
                      <a:pt x="270" y="432"/>
                    </a:lnTo>
                    <a:lnTo>
                      <a:pt x="272" y="432"/>
                    </a:lnTo>
                    <a:lnTo>
                      <a:pt x="274" y="435"/>
                    </a:lnTo>
                    <a:lnTo>
                      <a:pt x="275" y="439"/>
                    </a:lnTo>
                    <a:lnTo>
                      <a:pt x="275" y="441"/>
                    </a:lnTo>
                    <a:lnTo>
                      <a:pt x="275" y="443"/>
                    </a:lnTo>
                    <a:lnTo>
                      <a:pt x="275" y="444"/>
                    </a:lnTo>
                    <a:lnTo>
                      <a:pt x="277" y="444"/>
                    </a:lnTo>
                    <a:lnTo>
                      <a:pt x="279" y="444"/>
                    </a:lnTo>
                    <a:lnTo>
                      <a:pt x="281" y="450"/>
                    </a:lnTo>
                    <a:lnTo>
                      <a:pt x="283" y="450"/>
                    </a:lnTo>
                    <a:lnTo>
                      <a:pt x="284" y="448"/>
                    </a:lnTo>
                    <a:lnTo>
                      <a:pt x="286" y="450"/>
                    </a:lnTo>
                    <a:lnTo>
                      <a:pt x="286" y="451"/>
                    </a:lnTo>
                    <a:lnTo>
                      <a:pt x="288" y="455"/>
                    </a:lnTo>
                    <a:lnTo>
                      <a:pt x="290" y="455"/>
                    </a:lnTo>
                    <a:lnTo>
                      <a:pt x="291" y="453"/>
                    </a:lnTo>
                    <a:lnTo>
                      <a:pt x="293" y="450"/>
                    </a:lnTo>
                    <a:lnTo>
                      <a:pt x="295" y="453"/>
                    </a:lnTo>
                    <a:lnTo>
                      <a:pt x="299" y="455"/>
                    </a:lnTo>
                    <a:lnTo>
                      <a:pt x="299" y="457"/>
                    </a:lnTo>
                    <a:lnTo>
                      <a:pt x="302" y="457"/>
                    </a:lnTo>
                    <a:lnTo>
                      <a:pt x="299" y="462"/>
                    </a:lnTo>
                    <a:lnTo>
                      <a:pt x="293" y="464"/>
                    </a:lnTo>
                    <a:lnTo>
                      <a:pt x="290" y="460"/>
                    </a:lnTo>
                    <a:lnTo>
                      <a:pt x="297" y="475"/>
                    </a:lnTo>
                    <a:lnTo>
                      <a:pt x="300" y="475"/>
                    </a:lnTo>
                    <a:lnTo>
                      <a:pt x="302" y="478"/>
                    </a:lnTo>
                    <a:lnTo>
                      <a:pt x="302" y="48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78" name="Freeform 1826"/>
              <p:cNvSpPr>
                <a:spLocks/>
              </p:cNvSpPr>
              <p:nvPr/>
            </p:nvSpPr>
            <p:spPr bwMode="auto">
              <a:xfrm>
                <a:off x="1253" y="931"/>
                <a:ext cx="461" cy="518"/>
              </a:xfrm>
              <a:custGeom>
                <a:avLst/>
                <a:gdLst>
                  <a:gd name="T0" fmla="*/ 327 w 461"/>
                  <a:gd name="T1" fmla="*/ 485 h 518"/>
                  <a:gd name="T2" fmla="*/ 343 w 461"/>
                  <a:gd name="T3" fmla="*/ 501 h 518"/>
                  <a:gd name="T4" fmla="*/ 374 w 461"/>
                  <a:gd name="T5" fmla="*/ 510 h 518"/>
                  <a:gd name="T6" fmla="*/ 366 w 461"/>
                  <a:gd name="T7" fmla="*/ 485 h 518"/>
                  <a:gd name="T8" fmla="*/ 359 w 461"/>
                  <a:gd name="T9" fmla="*/ 462 h 518"/>
                  <a:gd name="T10" fmla="*/ 395 w 461"/>
                  <a:gd name="T11" fmla="*/ 482 h 518"/>
                  <a:gd name="T12" fmla="*/ 404 w 461"/>
                  <a:gd name="T13" fmla="*/ 484 h 518"/>
                  <a:gd name="T14" fmla="*/ 404 w 461"/>
                  <a:gd name="T15" fmla="*/ 469 h 518"/>
                  <a:gd name="T16" fmla="*/ 399 w 461"/>
                  <a:gd name="T17" fmla="*/ 432 h 518"/>
                  <a:gd name="T18" fmla="*/ 384 w 461"/>
                  <a:gd name="T19" fmla="*/ 416 h 518"/>
                  <a:gd name="T20" fmla="*/ 366 w 461"/>
                  <a:gd name="T21" fmla="*/ 393 h 518"/>
                  <a:gd name="T22" fmla="*/ 361 w 461"/>
                  <a:gd name="T23" fmla="*/ 373 h 518"/>
                  <a:gd name="T24" fmla="*/ 366 w 461"/>
                  <a:gd name="T25" fmla="*/ 357 h 518"/>
                  <a:gd name="T26" fmla="*/ 388 w 461"/>
                  <a:gd name="T27" fmla="*/ 364 h 518"/>
                  <a:gd name="T28" fmla="*/ 416 w 461"/>
                  <a:gd name="T29" fmla="*/ 398 h 518"/>
                  <a:gd name="T30" fmla="*/ 441 w 461"/>
                  <a:gd name="T31" fmla="*/ 378 h 518"/>
                  <a:gd name="T32" fmla="*/ 452 w 461"/>
                  <a:gd name="T33" fmla="*/ 359 h 518"/>
                  <a:gd name="T34" fmla="*/ 445 w 461"/>
                  <a:gd name="T35" fmla="*/ 330 h 518"/>
                  <a:gd name="T36" fmla="*/ 418 w 461"/>
                  <a:gd name="T37" fmla="*/ 318 h 518"/>
                  <a:gd name="T38" fmla="*/ 404 w 461"/>
                  <a:gd name="T39" fmla="*/ 285 h 518"/>
                  <a:gd name="T40" fmla="*/ 374 w 461"/>
                  <a:gd name="T41" fmla="*/ 268 h 518"/>
                  <a:gd name="T42" fmla="*/ 359 w 461"/>
                  <a:gd name="T43" fmla="*/ 243 h 518"/>
                  <a:gd name="T44" fmla="*/ 379 w 461"/>
                  <a:gd name="T45" fmla="*/ 235 h 518"/>
                  <a:gd name="T46" fmla="*/ 350 w 461"/>
                  <a:gd name="T47" fmla="*/ 214 h 518"/>
                  <a:gd name="T48" fmla="*/ 343 w 461"/>
                  <a:gd name="T49" fmla="*/ 200 h 518"/>
                  <a:gd name="T50" fmla="*/ 349 w 461"/>
                  <a:gd name="T51" fmla="*/ 169 h 518"/>
                  <a:gd name="T52" fmla="*/ 324 w 461"/>
                  <a:gd name="T53" fmla="*/ 157 h 518"/>
                  <a:gd name="T54" fmla="*/ 299 w 461"/>
                  <a:gd name="T55" fmla="*/ 148 h 518"/>
                  <a:gd name="T56" fmla="*/ 277 w 461"/>
                  <a:gd name="T57" fmla="*/ 123 h 518"/>
                  <a:gd name="T58" fmla="*/ 258 w 461"/>
                  <a:gd name="T59" fmla="*/ 126 h 518"/>
                  <a:gd name="T60" fmla="*/ 254 w 461"/>
                  <a:gd name="T61" fmla="*/ 96 h 518"/>
                  <a:gd name="T62" fmla="*/ 200 w 461"/>
                  <a:gd name="T63" fmla="*/ 60 h 518"/>
                  <a:gd name="T64" fmla="*/ 165 w 461"/>
                  <a:gd name="T65" fmla="*/ 73 h 518"/>
                  <a:gd name="T66" fmla="*/ 150 w 461"/>
                  <a:gd name="T67" fmla="*/ 91 h 518"/>
                  <a:gd name="T68" fmla="*/ 143 w 461"/>
                  <a:gd name="T69" fmla="*/ 28 h 518"/>
                  <a:gd name="T70" fmla="*/ 90 w 461"/>
                  <a:gd name="T71" fmla="*/ 23 h 518"/>
                  <a:gd name="T72" fmla="*/ 77 w 461"/>
                  <a:gd name="T73" fmla="*/ 43 h 518"/>
                  <a:gd name="T74" fmla="*/ 72 w 461"/>
                  <a:gd name="T75" fmla="*/ 50 h 518"/>
                  <a:gd name="T76" fmla="*/ 81 w 461"/>
                  <a:gd name="T77" fmla="*/ 87 h 518"/>
                  <a:gd name="T78" fmla="*/ 86 w 461"/>
                  <a:gd name="T79" fmla="*/ 130 h 518"/>
                  <a:gd name="T80" fmla="*/ 56 w 461"/>
                  <a:gd name="T81" fmla="*/ 148 h 518"/>
                  <a:gd name="T82" fmla="*/ 61 w 461"/>
                  <a:gd name="T83" fmla="*/ 78 h 518"/>
                  <a:gd name="T84" fmla="*/ 22 w 461"/>
                  <a:gd name="T85" fmla="*/ 28 h 518"/>
                  <a:gd name="T86" fmla="*/ 6 w 461"/>
                  <a:gd name="T87" fmla="*/ 75 h 518"/>
                  <a:gd name="T88" fmla="*/ 34 w 461"/>
                  <a:gd name="T89" fmla="*/ 137 h 518"/>
                  <a:gd name="T90" fmla="*/ 31 w 461"/>
                  <a:gd name="T91" fmla="*/ 182 h 518"/>
                  <a:gd name="T92" fmla="*/ 77 w 461"/>
                  <a:gd name="T93" fmla="*/ 198 h 518"/>
                  <a:gd name="T94" fmla="*/ 131 w 461"/>
                  <a:gd name="T95" fmla="*/ 205 h 518"/>
                  <a:gd name="T96" fmla="*/ 159 w 461"/>
                  <a:gd name="T97" fmla="*/ 196 h 518"/>
                  <a:gd name="T98" fmla="*/ 191 w 461"/>
                  <a:gd name="T99" fmla="*/ 189 h 518"/>
                  <a:gd name="T100" fmla="*/ 209 w 461"/>
                  <a:gd name="T101" fmla="*/ 214 h 518"/>
                  <a:gd name="T102" fmla="*/ 238 w 461"/>
                  <a:gd name="T103" fmla="*/ 246 h 518"/>
                  <a:gd name="T104" fmla="*/ 261 w 461"/>
                  <a:gd name="T105" fmla="*/ 257 h 518"/>
                  <a:gd name="T106" fmla="*/ 286 w 461"/>
                  <a:gd name="T107" fmla="*/ 318 h 518"/>
                  <a:gd name="T108" fmla="*/ 261 w 461"/>
                  <a:gd name="T109" fmla="*/ 376 h 518"/>
                  <a:gd name="T110" fmla="*/ 240 w 461"/>
                  <a:gd name="T111" fmla="*/ 396 h 518"/>
                  <a:gd name="T112" fmla="*/ 204 w 461"/>
                  <a:gd name="T113" fmla="*/ 400 h 518"/>
                  <a:gd name="T114" fmla="*/ 215 w 461"/>
                  <a:gd name="T115" fmla="*/ 435 h 518"/>
                  <a:gd name="T116" fmla="*/ 238 w 461"/>
                  <a:gd name="T117" fmla="*/ 426 h 518"/>
                  <a:gd name="T118" fmla="*/ 249 w 461"/>
                  <a:gd name="T119" fmla="*/ 418 h 518"/>
                  <a:gd name="T120" fmla="*/ 268 w 461"/>
                  <a:gd name="T121" fmla="*/ 425 h 518"/>
                  <a:gd name="T122" fmla="*/ 283 w 461"/>
                  <a:gd name="T123" fmla="*/ 450 h 518"/>
                  <a:gd name="T124" fmla="*/ 302 w 461"/>
                  <a:gd name="T125" fmla="*/ 457 h 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61" h="518">
                    <a:moveTo>
                      <a:pt x="302" y="480"/>
                    </a:moveTo>
                    <a:lnTo>
                      <a:pt x="313" y="484"/>
                    </a:lnTo>
                    <a:lnTo>
                      <a:pt x="313" y="485"/>
                    </a:lnTo>
                    <a:lnTo>
                      <a:pt x="315" y="485"/>
                    </a:lnTo>
                    <a:lnTo>
                      <a:pt x="318" y="487"/>
                    </a:lnTo>
                    <a:lnTo>
                      <a:pt x="322" y="485"/>
                    </a:lnTo>
                    <a:lnTo>
                      <a:pt x="324" y="482"/>
                    </a:lnTo>
                    <a:lnTo>
                      <a:pt x="325" y="484"/>
                    </a:lnTo>
                    <a:lnTo>
                      <a:pt x="324" y="487"/>
                    </a:lnTo>
                    <a:lnTo>
                      <a:pt x="327" y="489"/>
                    </a:lnTo>
                    <a:lnTo>
                      <a:pt x="327" y="485"/>
                    </a:lnTo>
                    <a:lnTo>
                      <a:pt x="331" y="487"/>
                    </a:lnTo>
                    <a:lnTo>
                      <a:pt x="333" y="485"/>
                    </a:lnTo>
                    <a:lnTo>
                      <a:pt x="333" y="489"/>
                    </a:lnTo>
                    <a:lnTo>
                      <a:pt x="333" y="491"/>
                    </a:lnTo>
                    <a:lnTo>
                      <a:pt x="334" y="491"/>
                    </a:lnTo>
                    <a:lnTo>
                      <a:pt x="336" y="493"/>
                    </a:lnTo>
                    <a:lnTo>
                      <a:pt x="336" y="496"/>
                    </a:lnTo>
                    <a:lnTo>
                      <a:pt x="338" y="500"/>
                    </a:lnTo>
                    <a:lnTo>
                      <a:pt x="341" y="501"/>
                    </a:lnTo>
                    <a:lnTo>
                      <a:pt x="343" y="498"/>
                    </a:lnTo>
                    <a:lnTo>
                      <a:pt x="343" y="501"/>
                    </a:lnTo>
                    <a:lnTo>
                      <a:pt x="345" y="501"/>
                    </a:lnTo>
                    <a:lnTo>
                      <a:pt x="347" y="503"/>
                    </a:lnTo>
                    <a:lnTo>
                      <a:pt x="350" y="505"/>
                    </a:lnTo>
                    <a:lnTo>
                      <a:pt x="352" y="505"/>
                    </a:lnTo>
                    <a:lnTo>
                      <a:pt x="354" y="507"/>
                    </a:lnTo>
                    <a:lnTo>
                      <a:pt x="361" y="507"/>
                    </a:lnTo>
                    <a:lnTo>
                      <a:pt x="361" y="509"/>
                    </a:lnTo>
                    <a:lnTo>
                      <a:pt x="365" y="512"/>
                    </a:lnTo>
                    <a:lnTo>
                      <a:pt x="366" y="512"/>
                    </a:lnTo>
                    <a:lnTo>
                      <a:pt x="370" y="512"/>
                    </a:lnTo>
                    <a:lnTo>
                      <a:pt x="374" y="510"/>
                    </a:lnTo>
                    <a:lnTo>
                      <a:pt x="381" y="518"/>
                    </a:lnTo>
                    <a:lnTo>
                      <a:pt x="388" y="518"/>
                    </a:lnTo>
                    <a:lnTo>
                      <a:pt x="386" y="514"/>
                    </a:lnTo>
                    <a:lnTo>
                      <a:pt x="384" y="512"/>
                    </a:lnTo>
                    <a:lnTo>
                      <a:pt x="384" y="510"/>
                    </a:lnTo>
                    <a:lnTo>
                      <a:pt x="386" y="509"/>
                    </a:lnTo>
                    <a:lnTo>
                      <a:pt x="386" y="505"/>
                    </a:lnTo>
                    <a:lnTo>
                      <a:pt x="386" y="503"/>
                    </a:lnTo>
                    <a:lnTo>
                      <a:pt x="374" y="491"/>
                    </a:lnTo>
                    <a:lnTo>
                      <a:pt x="372" y="489"/>
                    </a:lnTo>
                    <a:lnTo>
                      <a:pt x="366" y="485"/>
                    </a:lnTo>
                    <a:lnTo>
                      <a:pt x="365" y="482"/>
                    </a:lnTo>
                    <a:lnTo>
                      <a:pt x="361" y="478"/>
                    </a:lnTo>
                    <a:lnTo>
                      <a:pt x="361" y="475"/>
                    </a:lnTo>
                    <a:lnTo>
                      <a:pt x="358" y="476"/>
                    </a:lnTo>
                    <a:lnTo>
                      <a:pt x="356" y="473"/>
                    </a:lnTo>
                    <a:lnTo>
                      <a:pt x="356" y="471"/>
                    </a:lnTo>
                    <a:lnTo>
                      <a:pt x="354" y="473"/>
                    </a:lnTo>
                    <a:lnTo>
                      <a:pt x="341" y="453"/>
                    </a:lnTo>
                    <a:lnTo>
                      <a:pt x="345" y="451"/>
                    </a:lnTo>
                    <a:lnTo>
                      <a:pt x="356" y="462"/>
                    </a:lnTo>
                    <a:lnTo>
                      <a:pt x="359" y="462"/>
                    </a:lnTo>
                    <a:lnTo>
                      <a:pt x="359" y="460"/>
                    </a:lnTo>
                    <a:lnTo>
                      <a:pt x="361" y="459"/>
                    </a:lnTo>
                    <a:lnTo>
                      <a:pt x="368" y="469"/>
                    </a:lnTo>
                    <a:lnTo>
                      <a:pt x="370" y="471"/>
                    </a:lnTo>
                    <a:lnTo>
                      <a:pt x="374" y="471"/>
                    </a:lnTo>
                    <a:lnTo>
                      <a:pt x="375" y="478"/>
                    </a:lnTo>
                    <a:lnTo>
                      <a:pt x="384" y="478"/>
                    </a:lnTo>
                    <a:lnTo>
                      <a:pt x="390" y="484"/>
                    </a:lnTo>
                    <a:lnTo>
                      <a:pt x="390" y="480"/>
                    </a:lnTo>
                    <a:lnTo>
                      <a:pt x="391" y="482"/>
                    </a:lnTo>
                    <a:lnTo>
                      <a:pt x="395" y="482"/>
                    </a:lnTo>
                    <a:lnTo>
                      <a:pt x="397" y="480"/>
                    </a:lnTo>
                    <a:lnTo>
                      <a:pt x="397" y="480"/>
                    </a:lnTo>
                    <a:lnTo>
                      <a:pt x="397" y="482"/>
                    </a:lnTo>
                    <a:lnTo>
                      <a:pt x="399" y="485"/>
                    </a:lnTo>
                    <a:lnTo>
                      <a:pt x="402" y="484"/>
                    </a:lnTo>
                    <a:lnTo>
                      <a:pt x="402" y="485"/>
                    </a:lnTo>
                    <a:lnTo>
                      <a:pt x="400" y="491"/>
                    </a:lnTo>
                    <a:lnTo>
                      <a:pt x="404" y="493"/>
                    </a:lnTo>
                    <a:lnTo>
                      <a:pt x="406" y="494"/>
                    </a:lnTo>
                    <a:lnTo>
                      <a:pt x="408" y="494"/>
                    </a:lnTo>
                    <a:lnTo>
                      <a:pt x="404" y="484"/>
                    </a:lnTo>
                    <a:lnTo>
                      <a:pt x="404" y="482"/>
                    </a:lnTo>
                    <a:lnTo>
                      <a:pt x="408" y="482"/>
                    </a:lnTo>
                    <a:lnTo>
                      <a:pt x="409" y="484"/>
                    </a:lnTo>
                    <a:lnTo>
                      <a:pt x="413" y="485"/>
                    </a:lnTo>
                    <a:lnTo>
                      <a:pt x="413" y="482"/>
                    </a:lnTo>
                    <a:lnTo>
                      <a:pt x="413" y="480"/>
                    </a:lnTo>
                    <a:lnTo>
                      <a:pt x="411" y="480"/>
                    </a:lnTo>
                    <a:lnTo>
                      <a:pt x="411" y="478"/>
                    </a:lnTo>
                    <a:lnTo>
                      <a:pt x="409" y="478"/>
                    </a:lnTo>
                    <a:lnTo>
                      <a:pt x="408" y="478"/>
                    </a:lnTo>
                    <a:lnTo>
                      <a:pt x="404" y="469"/>
                    </a:lnTo>
                    <a:lnTo>
                      <a:pt x="404" y="462"/>
                    </a:lnTo>
                    <a:lnTo>
                      <a:pt x="411" y="469"/>
                    </a:lnTo>
                    <a:lnTo>
                      <a:pt x="411" y="468"/>
                    </a:lnTo>
                    <a:lnTo>
                      <a:pt x="411" y="464"/>
                    </a:lnTo>
                    <a:lnTo>
                      <a:pt x="411" y="462"/>
                    </a:lnTo>
                    <a:lnTo>
                      <a:pt x="413" y="453"/>
                    </a:lnTo>
                    <a:lnTo>
                      <a:pt x="411" y="450"/>
                    </a:lnTo>
                    <a:lnTo>
                      <a:pt x="409" y="443"/>
                    </a:lnTo>
                    <a:lnTo>
                      <a:pt x="406" y="443"/>
                    </a:lnTo>
                    <a:lnTo>
                      <a:pt x="400" y="437"/>
                    </a:lnTo>
                    <a:lnTo>
                      <a:pt x="399" y="432"/>
                    </a:lnTo>
                    <a:lnTo>
                      <a:pt x="402" y="432"/>
                    </a:lnTo>
                    <a:lnTo>
                      <a:pt x="404" y="426"/>
                    </a:lnTo>
                    <a:lnTo>
                      <a:pt x="404" y="421"/>
                    </a:lnTo>
                    <a:lnTo>
                      <a:pt x="400" y="423"/>
                    </a:lnTo>
                    <a:lnTo>
                      <a:pt x="400" y="421"/>
                    </a:lnTo>
                    <a:lnTo>
                      <a:pt x="399" y="418"/>
                    </a:lnTo>
                    <a:lnTo>
                      <a:pt x="399" y="418"/>
                    </a:lnTo>
                    <a:lnTo>
                      <a:pt x="393" y="421"/>
                    </a:lnTo>
                    <a:lnTo>
                      <a:pt x="393" y="412"/>
                    </a:lnTo>
                    <a:lnTo>
                      <a:pt x="390" y="412"/>
                    </a:lnTo>
                    <a:lnTo>
                      <a:pt x="384" y="416"/>
                    </a:lnTo>
                    <a:lnTo>
                      <a:pt x="383" y="414"/>
                    </a:lnTo>
                    <a:lnTo>
                      <a:pt x="386" y="409"/>
                    </a:lnTo>
                    <a:lnTo>
                      <a:pt x="383" y="409"/>
                    </a:lnTo>
                    <a:lnTo>
                      <a:pt x="379" y="409"/>
                    </a:lnTo>
                    <a:lnTo>
                      <a:pt x="377" y="409"/>
                    </a:lnTo>
                    <a:lnTo>
                      <a:pt x="377" y="414"/>
                    </a:lnTo>
                    <a:lnTo>
                      <a:pt x="372" y="400"/>
                    </a:lnTo>
                    <a:lnTo>
                      <a:pt x="368" y="398"/>
                    </a:lnTo>
                    <a:lnTo>
                      <a:pt x="368" y="396"/>
                    </a:lnTo>
                    <a:lnTo>
                      <a:pt x="368" y="394"/>
                    </a:lnTo>
                    <a:lnTo>
                      <a:pt x="366" y="393"/>
                    </a:lnTo>
                    <a:lnTo>
                      <a:pt x="368" y="391"/>
                    </a:lnTo>
                    <a:lnTo>
                      <a:pt x="366" y="389"/>
                    </a:lnTo>
                    <a:lnTo>
                      <a:pt x="366" y="385"/>
                    </a:lnTo>
                    <a:lnTo>
                      <a:pt x="366" y="384"/>
                    </a:lnTo>
                    <a:lnTo>
                      <a:pt x="363" y="382"/>
                    </a:lnTo>
                    <a:lnTo>
                      <a:pt x="358" y="384"/>
                    </a:lnTo>
                    <a:lnTo>
                      <a:pt x="356" y="384"/>
                    </a:lnTo>
                    <a:lnTo>
                      <a:pt x="358" y="378"/>
                    </a:lnTo>
                    <a:lnTo>
                      <a:pt x="358" y="373"/>
                    </a:lnTo>
                    <a:lnTo>
                      <a:pt x="359" y="371"/>
                    </a:lnTo>
                    <a:lnTo>
                      <a:pt x="361" y="373"/>
                    </a:lnTo>
                    <a:lnTo>
                      <a:pt x="366" y="369"/>
                    </a:lnTo>
                    <a:lnTo>
                      <a:pt x="368" y="369"/>
                    </a:lnTo>
                    <a:lnTo>
                      <a:pt x="366" y="366"/>
                    </a:lnTo>
                    <a:lnTo>
                      <a:pt x="363" y="360"/>
                    </a:lnTo>
                    <a:lnTo>
                      <a:pt x="358" y="360"/>
                    </a:lnTo>
                    <a:lnTo>
                      <a:pt x="356" y="359"/>
                    </a:lnTo>
                    <a:lnTo>
                      <a:pt x="352" y="353"/>
                    </a:lnTo>
                    <a:lnTo>
                      <a:pt x="358" y="353"/>
                    </a:lnTo>
                    <a:lnTo>
                      <a:pt x="358" y="350"/>
                    </a:lnTo>
                    <a:lnTo>
                      <a:pt x="359" y="350"/>
                    </a:lnTo>
                    <a:lnTo>
                      <a:pt x="366" y="357"/>
                    </a:lnTo>
                    <a:lnTo>
                      <a:pt x="368" y="357"/>
                    </a:lnTo>
                    <a:lnTo>
                      <a:pt x="366" y="350"/>
                    </a:lnTo>
                    <a:lnTo>
                      <a:pt x="368" y="350"/>
                    </a:lnTo>
                    <a:lnTo>
                      <a:pt x="365" y="346"/>
                    </a:lnTo>
                    <a:lnTo>
                      <a:pt x="366" y="344"/>
                    </a:lnTo>
                    <a:lnTo>
                      <a:pt x="370" y="346"/>
                    </a:lnTo>
                    <a:lnTo>
                      <a:pt x="374" y="348"/>
                    </a:lnTo>
                    <a:lnTo>
                      <a:pt x="374" y="351"/>
                    </a:lnTo>
                    <a:lnTo>
                      <a:pt x="372" y="355"/>
                    </a:lnTo>
                    <a:lnTo>
                      <a:pt x="377" y="357"/>
                    </a:lnTo>
                    <a:lnTo>
                      <a:pt x="388" y="364"/>
                    </a:lnTo>
                    <a:lnTo>
                      <a:pt x="390" y="369"/>
                    </a:lnTo>
                    <a:lnTo>
                      <a:pt x="395" y="369"/>
                    </a:lnTo>
                    <a:lnTo>
                      <a:pt x="399" y="368"/>
                    </a:lnTo>
                    <a:lnTo>
                      <a:pt x="397" y="373"/>
                    </a:lnTo>
                    <a:lnTo>
                      <a:pt x="399" y="382"/>
                    </a:lnTo>
                    <a:lnTo>
                      <a:pt x="404" y="391"/>
                    </a:lnTo>
                    <a:lnTo>
                      <a:pt x="409" y="387"/>
                    </a:lnTo>
                    <a:lnTo>
                      <a:pt x="409" y="391"/>
                    </a:lnTo>
                    <a:lnTo>
                      <a:pt x="408" y="396"/>
                    </a:lnTo>
                    <a:lnTo>
                      <a:pt x="411" y="400"/>
                    </a:lnTo>
                    <a:lnTo>
                      <a:pt x="416" y="398"/>
                    </a:lnTo>
                    <a:lnTo>
                      <a:pt x="418" y="405"/>
                    </a:lnTo>
                    <a:lnTo>
                      <a:pt x="422" y="401"/>
                    </a:lnTo>
                    <a:lnTo>
                      <a:pt x="424" y="409"/>
                    </a:lnTo>
                    <a:lnTo>
                      <a:pt x="425" y="410"/>
                    </a:lnTo>
                    <a:lnTo>
                      <a:pt x="429" y="396"/>
                    </a:lnTo>
                    <a:lnTo>
                      <a:pt x="433" y="396"/>
                    </a:lnTo>
                    <a:lnTo>
                      <a:pt x="429" y="382"/>
                    </a:lnTo>
                    <a:lnTo>
                      <a:pt x="429" y="378"/>
                    </a:lnTo>
                    <a:lnTo>
                      <a:pt x="436" y="384"/>
                    </a:lnTo>
                    <a:lnTo>
                      <a:pt x="440" y="384"/>
                    </a:lnTo>
                    <a:lnTo>
                      <a:pt x="441" y="378"/>
                    </a:lnTo>
                    <a:lnTo>
                      <a:pt x="445" y="376"/>
                    </a:lnTo>
                    <a:lnTo>
                      <a:pt x="445" y="369"/>
                    </a:lnTo>
                    <a:lnTo>
                      <a:pt x="450" y="368"/>
                    </a:lnTo>
                    <a:lnTo>
                      <a:pt x="449" y="364"/>
                    </a:lnTo>
                    <a:lnTo>
                      <a:pt x="441" y="366"/>
                    </a:lnTo>
                    <a:lnTo>
                      <a:pt x="443" y="360"/>
                    </a:lnTo>
                    <a:lnTo>
                      <a:pt x="447" y="362"/>
                    </a:lnTo>
                    <a:lnTo>
                      <a:pt x="447" y="357"/>
                    </a:lnTo>
                    <a:lnTo>
                      <a:pt x="441" y="357"/>
                    </a:lnTo>
                    <a:lnTo>
                      <a:pt x="445" y="355"/>
                    </a:lnTo>
                    <a:lnTo>
                      <a:pt x="452" y="359"/>
                    </a:lnTo>
                    <a:lnTo>
                      <a:pt x="456" y="359"/>
                    </a:lnTo>
                    <a:lnTo>
                      <a:pt x="458" y="357"/>
                    </a:lnTo>
                    <a:lnTo>
                      <a:pt x="456" y="353"/>
                    </a:lnTo>
                    <a:lnTo>
                      <a:pt x="458" y="348"/>
                    </a:lnTo>
                    <a:lnTo>
                      <a:pt x="459" y="348"/>
                    </a:lnTo>
                    <a:lnTo>
                      <a:pt x="461" y="344"/>
                    </a:lnTo>
                    <a:lnTo>
                      <a:pt x="459" y="339"/>
                    </a:lnTo>
                    <a:lnTo>
                      <a:pt x="454" y="334"/>
                    </a:lnTo>
                    <a:lnTo>
                      <a:pt x="450" y="332"/>
                    </a:lnTo>
                    <a:lnTo>
                      <a:pt x="449" y="328"/>
                    </a:lnTo>
                    <a:lnTo>
                      <a:pt x="445" y="330"/>
                    </a:lnTo>
                    <a:lnTo>
                      <a:pt x="441" y="328"/>
                    </a:lnTo>
                    <a:lnTo>
                      <a:pt x="438" y="330"/>
                    </a:lnTo>
                    <a:lnTo>
                      <a:pt x="431" y="334"/>
                    </a:lnTo>
                    <a:lnTo>
                      <a:pt x="433" y="323"/>
                    </a:lnTo>
                    <a:lnTo>
                      <a:pt x="436" y="319"/>
                    </a:lnTo>
                    <a:lnTo>
                      <a:pt x="434" y="318"/>
                    </a:lnTo>
                    <a:lnTo>
                      <a:pt x="433" y="316"/>
                    </a:lnTo>
                    <a:lnTo>
                      <a:pt x="429" y="318"/>
                    </a:lnTo>
                    <a:lnTo>
                      <a:pt x="420" y="319"/>
                    </a:lnTo>
                    <a:lnTo>
                      <a:pt x="416" y="319"/>
                    </a:lnTo>
                    <a:lnTo>
                      <a:pt x="418" y="318"/>
                    </a:lnTo>
                    <a:lnTo>
                      <a:pt x="416" y="316"/>
                    </a:lnTo>
                    <a:lnTo>
                      <a:pt x="416" y="314"/>
                    </a:lnTo>
                    <a:lnTo>
                      <a:pt x="420" y="314"/>
                    </a:lnTo>
                    <a:lnTo>
                      <a:pt x="420" y="312"/>
                    </a:lnTo>
                    <a:lnTo>
                      <a:pt x="413" y="298"/>
                    </a:lnTo>
                    <a:lnTo>
                      <a:pt x="409" y="294"/>
                    </a:lnTo>
                    <a:lnTo>
                      <a:pt x="402" y="296"/>
                    </a:lnTo>
                    <a:lnTo>
                      <a:pt x="402" y="294"/>
                    </a:lnTo>
                    <a:lnTo>
                      <a:pt x="402" y="291"/>
                    </a:lnTo>
                    <a:lnTo>
                      <a:pt x="404" y="289"/>
                    </a:lnTo>
                    <a:lnTo>
                      <a:pt x="404" y="285"/>
                    </a:lnTo>
                    <a:lnTo>
                      <a:pt x="391" y="287"/>
                    </a:lnTo>
                    <a:lnTo>
                      <a:pt x="388" y="291"/>
                    </a:lnTo>
                    <a:lnTo>
                      <a:pt x="386" y="287"/>
                    </a:lnTo>
                    <a:lnTo>
                      <a:pt x="383" y="287"/>
                    </a:lnTo>
                    <a:lnTo>
                      <a:pt x="384" y="284"/>
                    </a:lnTo>
                    <a:lnTo>
                      <a:pt x="386" y="282"/>
                    </a:lnTo>
                    <a:lnTo>
                      <a:pt x="384" y="276"/>
                    </a:lnTo>
                    <a:lnTo>
                      <a:pt x="375" y="278"/>
                    </a:lnTo>
                    <a:lnTo>
                      <a:pt x="374" y="276"/>
                    </a:lnTo>
                    <a:lnTo>
                      <a:pt x="377" y="269"/>
                    </a:lnTo>
                    <a:lnTo>
                      <a:pt x="374" y="268"/>
                    </a:lnTo>
                    <a:lnTo>
                      <a:pt x="352" y="262"/>
                    </a:lnTo>
                    <a:lnTo>
                      <a:pt x="350" y="260"/>
                    </a:lnTo>
                    <a:lnTo>
                      <a:pt x="356" y="260"/>
                    </a:lnTo>
                    <a:lnTo>
                      <a:pt x="356" y="257"/>
                    </a:lnTo>
                    <a:lnTo>
                      <a:pt x="361" y="257"/>
                    </a:lnTo>
                    <a:lnTo>
                      <a:pt x="358" y="255"/>
                    </a:lnTo>
                    <a:lnTo>
                      <a:pt x="358" y="253"/>
                    </a:lnTo>
                    <a:lnTo>
                      <a:pt x="352" y="248"/>
                    </a:lnTo>
                    <a:lnTo>
                      <a:pt x="354" y="244"/>
                    </a:lnTo>
                    <a:lnTo>
                      <a:pt x="359" y="244"/>
                    </a:lnTo>
                    <a:lnTo>
                      <a:pt x="359" y="243"/>
                    </a:lnTo>
                    <a:lnTo>
                      <a:pt x="352" y="237"/>
                    </a:lnTo>
                    <a:lnTo>
                      <a:pt x="347" y="237"/>
                    </a:lnTo>
                    <a:lnTo>
                      <a:pt x="347" y="234"/>
                    </a:lnTo>
                    <a:lnTo>
                      <a:pt x="350" y="234"/>
                    </a:lnTo>
                    <a:lnTo>
                      <a:pt x="352" y="234"/>
                    </a:lnTo>
                    <a:lnTo>
                      <a:pt x="356" y="234"/>
                    </a:lnTo>
                    <a:lnTo>
                      <a:pt x="354" y="230"/>
                    </a:lnTo>
                    <a:lnTo>
                      <a:pt x="365" y="235"/>
                    </a:lnTo>
                    <a:lnTo>
                      <a:pt x="368" y="235"/>
                    </a:lnTo>
                    <a:lnTo>
                      <a:pt x="374" y="234"/>
                    </a:lnTo>
                    <a:lnTo>
                      <a:pt x="379" y="235"/>
                    </a:lnTo>
                    <a:lnTo>
                      <a:pt x="379" y="234"/>
                    </a:lnTo>
                    <a:lnTo>
                      <a:pt x="379" y="230"/>
                    </a:lnTo>
                    <a:lnTo>
                      <a:pt x="370" y="223"/>
                    </a:lnTo>
                    <a:lnTo>
                      <a:pt x="359" y="223"/>
                    </a:lnTo>
                    <a:lnTo>
                      <a:pt x="354" y="219"/>
                    </a:lnTo>
                    <a:lnTo>
                      <a:pt x="352" y="223"/>
                    </a:lnTo>
                    <a:lnTo>
                      <a:pt x="349" y="218"/>
                    </a:lnTo>
                    <a:lnTo>
                      <a:pt x="345" y="216"/>
                    </a:lnTo>
                    <a:lnTo>
                      <a:pt x="341" y="218"/>
                    </a:lnTo>
                    <a:lnTo>
                      <a:pt x="345" y="214"/>
                    </a:lnTo>
                    <a:lnTo>
                      <a:pt x="350" y="214"/>
                    </a:lnTo>
                    <a:lnTo>
                      <a:pt x="356" y="212"/>
                    </a:lnTo>
                    <a:lnTo>
                      <a:pt x="358" y="209"/>
                    </a:lnTo>
                    <a:lnTo>
                      <a:pt x="361" y="207"/>
                    </a:lnTo>
                    <a:lnTo>
                      <a:pt x="368" y="210"/>
                    </a:lnTo>
                    <a:lnTo>
                      <a:pt x="370" y="205"/>
                    </a:lnTo>
                    <a:lnTo>
                      <a:pt x="358" y="185"/>
                    </a:lnTo>
                    <a:lnTo>
                      <a:pt x="352" y="184"/>
                    </a:lnTo>
                    <a:lnTo>
                      <a:pt x="350" y="187"/>
                    </a:lnTo>
                    <a:lnTo>
                      <a:pt x="350" y="193"/>
                    </a:lnTo>
                    <a:lnTo>
                      <a:pt x="347" y="196"/>
                    </a:lnTo>
                    <a:lnTo>
                      <a:pt x="343" y="200"/>
                    </a:lnTo>
                    <a:lnTo>
                      <a:pt x="340" y="200"/>
                    </a:lnTo>
                    <a:lnTo>
                      <a:pt x="345" y="193"/>
                    </a:lnTo>
                    <a:lnTo>
                      <a:pt x="345" y="189"/>
                    </a:lnTo>
                    <a:lnTo>
                      <a:pt x="334" y="189"/>
                    </a:lnTo>
                    <a:lnTo>
                      <a:pt x="331" y="191"/>
                    </a:lnTo>
                    <a:lnTo>
                      <a:pt x="329" y="189"/>
                    </a:lnTo>
                    <a:lnTo>
                      <a:pt x="333" y="185"/>
                    </a:lnTo>
                    <a:lnTo>
                      <a:pt x="341" y="182"/>
                    </a:lnTo>
                    <a:lnTo>
                      <a:pt x="343" y="176"/>
                    </a:lnTo>
                    <a:lnTo>
                      <a:pt x="347" y="180"/>
                    </a:lnTo>
                    <a:lnTo>
                      <a:pt x="349" y="169"/>
                    </a:lnTo>
                    <a:lnTo>
                      <a:pt x="338" y="166"/>
                    </a:lnTo>
                    <a:lnTo>
                      <a:pt x="334" y="162"/>
                    </a:lnTo>
                    <a:lnTo>
                      <a:pt x="331" y="160"/>
                    </a:lnTo>
                    <a:lnTo>
                      <a:pt x="325" y="164"/>
                    </a:lnTo>
                    <a:lnTo>
                      <a:pt x="322" y="168"/>
                    </a:lnTo>
                    <a:lnTo>
                      <a:pt x="320" y="169"/>
                    </a:lnTo>
                    <a:lnTo>
                      <a:pt x="316" y="173"/>
                    </a:lnTo>
                    <a:lnTo>
                      <a:pt x="316" y="171"/>
                    </a:lnTo>
                    <a:lnTo>
                      <a:pt x="318" y="168"/>
                    </a:lnTo>
                    <a:lnTo>
                      <a:pt x="322" y="164"/>
                    </a:lnTo>
                    <a:lnTo>
                      <a:pt x="324" y="157"/>
                    </a:lnTo>
                    <a:lnTo>
                      <a:pt x="322" y="159"/>
                    </a:lnTo>
                    <a:lnTo>
                      <a:pt x="318" y="160"/>
                    </a:lnTo>
                    <a:lnTo>
                      <a:pt x="315" y="162"/>
                    </a:lnTo>
                    <a:lnTo>
                      <a:pt x="309" y="168"/>
                    </a:lnTo>
                    <a:lnTo>
                      <a:pt x="309" y="164"/>
                    </a:lnTo>
                    <a:lnTo>
                      <a:pt x="315" y="153"/>
                    </a:lnTo>
                    <a:lnTo>
                      <a:pt x="313" y="148"/>
                    </a:lnTo>
                    <a:lnTo>
                      <a:pt x="309" y="146"/>
                    </a:lnTo>
                    <a:lnTo>
                      <a:pt x="306" y="151"/>
                    </a:lnTo>
                    <a:lnTo>
                      <a:pt x="300" y="151"/>
                    </a:lnTo>
                    <a:lnTo>
                      <a:pt x="299" y="148"/>
                    </a:lnTo>
                    <a:lnTo>
                      <a:pt x="290" y="146"/>
                    </a:lnTo>
                    <a:lnTo>
                      <a:pt x="299" y="144"/>
                    </a:lnTo>
                    <a:lnTo>
                      <a:pt x="302" y="146"/>
                    </a:lnTo>
                    <a:lnTo>
                      <a:pt x="306" y="139"/>
                    </a:lnTo>
                    <a:lnTo>
                      <a:pt x="304" y="132"/>
                    </a:lnTo>
                    <a:lnTo>
                      <a:pt x="300" y="125"/>
                    </a:lnTo>
                    <a:lnTo>
                      <a:pt x="288" y="119"/>
                    </a:lnTo>
                    <a:lnTo>
                      <a:pt x="283" y="114"/>
                    </a:lnTo>
                    <a:lnTo>
                      <a:pt x="283" y="114"/>
                    </a:lnTo>
                    <a:lnTo>
                      <a:pt x="281" y="119"/>
                    </a:lnTo>
                    <a:lnTo>
                      <a:pt x="277" y="123"/>
                    </a:lnTo>
                    <a:lnTo>
                      <a:pt x="274" y="121"/>
                    </a:lnTo>
                    <a:lnTo>
                      <a:pt x="270" y="123"/>
                    </a:lnTo>
                    <a:lnTo>
                      <a:pt x="272" y="132"/>
                    </a:lnTo>
                    <a:lnTo>
                      <a:pt x="272" y="134"/>
                    </a:lnTo>
                    <a:lnTo>
                      <a:pt x="270" y="132"/>
                    </a:lnTo>
                    <a:lnTo>
                      <a:pt x="266" y="132"/>
                    </a:lnTo>
                    <a:lnTo>
                      <a:pt x="266" y="130"/>
                    </a:lnTo>
                    <a:lnTo>
                      <a:pt x="265" y="128"/>
                    </a:lnTo>
                    <a:lnTo>
                      <a:pt x="265" y="121"/>
                    </a:lnTo>
                    <a:lnTo>
                      <a:pt x="263" y="121"/>
                    </a:lnTo>
                    <a:lnTo>
                      <a:pt x="258" y="126"/>
                    </a:lnTo>
                    <a:lnTo>
                      <a:pt x="266" y="110"/>
                    </a:lnTo>
                    <a:lnTo>
                      <a:pt x="266" y="109"/>
                    </a:lnTo>
                    <a:lnTo>
                      <a:pt x="258" y="112"/>
                    </a:lnTo>
                    <a:lnTo>
                      <a:pt x="254" y="110"/>
                    </a:lnTo>
                    <a:lnTo>
                      <a:pt x="249" y="118"/>
                    </a:lnTo>
                    <a:lnTo>
                      <a:pt x="247" y="119"/>
                    </a:lnTo>
                    <a:lnTo>
                      <a:pt x="247" y="114"/>
                    </a:lnTo>
                    <a:lnTo>
                      <a:pt x="241" y="116"/>
                    </a:lnTo>
                    <a:lnTo>
                      <a:pt x="252" y="107"/>
                    </a:lnTo>
                    <a:lnTo>
                      <a:pt x="254" y="103"/>
                    </a:lnTo>
                    <a:lnTo>
                      <a:pt x="254" y="96"/>
                    </a:lnTo>
                    <a:lnTo>
                      <a:pt x="247" y="94"/>
                    </a:lnTo>
                    <a:lnTo>
                      <a:pt x="241" y="94"/>
                    </a:lnTo>
                    <a:lnTo>
                      <a:pt x="240" y="93"/>
                    </a:lnTo>
                    <a:lnTo>
                      <a:pt x="243" y="87"/>
                    </a:lnTo>
                    <a:lnTo>
                      <a:pt x="240" y="76"/>
                    </a:lnTo>
                    <a:lnTo>
                      <a:pt x="236" y="75"/>
                    </a:lnTo>
                    <a:lnTo>
                      <a:pt x="238" y="71"/>
                    </a:lnTo>
                    <a:lnTo>
                      <a:pt x="231" y="69"/>
                    </a:lnTo>
                    <a:lnTo>
                      <a:pt x="225" y="69"/>
                    </a:lnTo>
                    <a:lnTo>
                      <a:pt x="208" y="60"/>
                    </a:lnTo>
                    <a:lnTo>
                      <a:pt x="200" y="60"/>
                    </a:lnTo>
                    <a:lnTo>
                      <a:pt x="191" y="64"/>
                    </a:lnTo>
                    <a:lnTo>
                      <a:pt x="184" y="71"/>
                    </a:lnTo>
                    <a:lnTo>
                      <a:pt x="184" y="76"/>
                    </a:lnTo>
                    <a:lnTo>
                      <a:pt x="190" y="80"/>
                    </a:lnTo>
                    <a:lnTo>
                      <a:pt x="186" y="82"/>
                    </a:lnTo>
                    <a:lnTo>
                      <a:pt x="181" y="82"/>
                    </a:lnTo>
                    <a:lnTo>
                      <a:pt x="177" y="87"/>
                    </a:lnTo>
                    <a:lnTo>
                      <a:pt x="172" y="78"/>
                    </a:lnTo>
                    <a:lnTo>
                      <a:pt x="168" y="84"/>
                    </a:lnTo>
                    <a:lnTo>
                      <a:pt x="165" y="82"/>
                    </a:lnTo>
                    <a:lnTo>
                      <a:pt x="165" y="73"/>
                    </a:lnTo>
                    <a:lnTo>
                      <a:pt x="159" y="89"/>
                    </a:lnTo>
                    <a:lnTo>
                      <a:pt x="158" y="87"/>
                    </a:lnTo>
                    <a:lnTo>
                      <a:pt x="156" y="93"/>
                    </a:lnTo>
                    <a:lnTo>
                      <a:pt x="152" y="100"/>
                    </a:lnTo>
                    <a:lnTo>
                      <a:pt x="147" y="103"/>
                    </a:lnTo>
                    <a:lnTo>
                      <a:pt x="149" y="100"/>
                    </a:lnTo>
                    <a:lnTo>
                      <a:pt x="147" y="96"/>
                    </a:lnTo>
                    <a:lnTo>
                      <a:pt x="147" y="94"/>
                    </a:lnTo>
                    <a:lnTo>
                      <a:pt x="152" y="94"/>
                    </a:lnTo>
                    <a:lnTo>
                      <a:pt x="152" y="94"/>
                    </a:lnTo>
                    <a:lnTo>
                      <a:pt x="150" y="91"/>
                    </a:lnTo>
                    <a:lnTo>
                      <a:pt x="149" y="91"/>
                    </a:lnTo>
                    <a:lnTo>
                      <a:pt x="156" y="60"/>
                    </a:lnTo>
                    <a:lnTo>
                      <a:pt x="152" y="57"/>
                    </a:lnTo>
                    <a:lnTo>
                      <a:pt x="149" y="50"/>
                    </a:lnTo>
                    <a:lnTo>
                      <a:pt x="149" y="48"/>
                    </a:lnTo>
                    <a:lnTo>
                      <a:pt x="152" y="46"/>
                    </a:lnTo>
                    <a:lnTo>
                      <a:pt x="152" y="43"/>
                    </a:lnTo>
                    <a:lnTo>
                      <a:pt x="150" y="39"/>
                    </a:lnTo>
                    <a:lnTo>
                      <a:pt x="145" y="35"/>
                    </a:lnTo>
                    <a:lnTo>
                      <a:pt x="140" y="32"/>
                    </a:lnTo>
                    <a:lnTo>
                      <a:pt x="143" y="28"/>
                    </a:lnTo>
                    <a:lnTo>
                      <a:pt x="141" y="12"/>
                    </a:lnTo>
                    <a:lnTo>
                      <a:pt x="138" y="5"/>
                    </a:lnTo>
                    <a:lnTo>
                      <a:pt x="118" y="7"/>
                    </a:lnTo>
                    <a:lnTo>
                      <a:pt x="115" y="9"/>
                    </a:lnTo>
                    <a:lnTo>
                      <a:pt x="111" y="10"/>
                    </a:lnTo>
                    <a:lnTo>
                      <a:pt x="99" y="19"/>
                    </a:lnTo>
                    <a:lnTo>
                      <a:pt x="104" y="23"/>
                    </a:lnTo>
                    <a:lnTo>
                      <a:pt x="102" y="30"/>
                    </a:lnTo>
                    <a:lnTo>
                      <a:pt x="100" y="23"/>
                    </a:lnTo>
                    <a:lnTo>
                      <a:pt x="95" y="19"/>
                    </a:lnTo>
                    <a:lnTo>
                      <a:pt x="90" y="23"/>
                    </a:lnTo>
                    <a:lnTo>
                      <a:pt x="90" y="26"/>
                    </a:lnTo>
                    <a:lnTo>
                      <a:pt x="91" y="34"/>
                    </a:lnTo>
                    <a:lnTo>
                      <a:pt x="90" y="32"/>
                    </a:lnTo>
                    <a:lnTo>
                      <a:pt x="86" y="26"/>
                    </a:lnTo>
                    <a:lnTo>
                      <a:pt x="81" y="28"/>
                    </a:lnTo>
                    <a:lnTo>
                      <a:pt x="79" y="32"/>
                    </a:lnTo>
                    <a:lnTo>
                      <a:pt x="84" y="37"/>
                    </a:lnTo>
                    <a:lnTo>
                      <a:pt x="100" y="44"/>
                    </a:lnTo>
                    <a:lnTo>
                      <a:pt x="100" y="46"/>
                    </a:lnTo>
                    <a:lnTo>
                      <a:pt x="79" y="39"/>
                    </a:lnTo>
                    <a:lnTo>
                      <a:pt x="77" y="43"/>
                    </a:lnTo>
                    <a:lnTo>
                      <a:pt x="75" y="41"/>
                    </a:lnTo>
                    <a:lnTo>
                      <a:pt x="74" y="43"/>
                    </a:lnTo>
                    <a:lnTo>
                      <a:pt x="77" y="44"/>
                    </a:lnTo>
                    <a:lnTo>
                      <a:pt x="81" y="46"/>
                    </a:lnTo>
                    <a:lnTo>
                      <a:pt x="86" y="51"/>
                    </a:lnTo>
                    <a:lnTo>
                      <a:pt x="91" y="53"/>
                    </a:lnTo>
                    <a:lnTo>
                      <a:pt x="97" y="59"/>
                    </a:lnTo>
                    <a:lnTo>
                      <a:pt x="93" y="59"/>
                    </a:lnTo>
                    <a:lnTo>
                      <a:pt x="83" y="50"/>
                    </a:lnTo>
                    <a:lnTo>
                      <a:pt x="75" y="48"/>
                    </a:lnTo>
                    <a:lnTo>
                      <a:pt x="72" y="50"/>
                    </a:lnTo>
                    <a:lnTo>
                      <a:pt x="70" y="51"/>
                    </a:lnTo>
                    <a:lnTo>
                      <a:pt x="70" y="60"/>
                    </a:lnTo>
                    <a:lnTo>
                      <a:pt x="74" y="68"/>
                    </a:lnTo>
                    <a:lnTo>
                      <a:pt x="72" y="71"/>
                    </a:lnTo>
                    <a:lnTo>
                      <a:pt x="74" y="76"/>
                    </a:lnTo>
                    <a:lnTo>
                      <a:pt x="79" y="78"/>
                    </a:lnTo>
                    <a:lnTo>
                      <a:pt x="83" y="78"/>
                    </a:lnTo>
                    <a:lnTo>
                      <a:pt x="84" y="76"/>
                    </a:lnTo>
                    <a:lnTo>
                      <a:pt x="84" y="78"/>
                    </a:lnTo>
                    <a:lnTo>
                      <a:pt x="83" y="84"/>
                    </a:lnTo>
                    <a:lnTo>
                      <a:pt x="81" y="87"/>
                    </a:lnTo>
                    <a:lnTo>
                      <a:pt x="75" y="87"/>
                    </a:lnTo>
                    <a:lnTo>
                      <a:pt x="74" y="94"/>
                    </a:lnTo>
                    <a:lnTo>
                      <a:pt x="66" y="100"/>
                    </a:lnTo>
                    <a:lnTo>
                      <a:pt x="68" y="101"/>
                    </a:lnTo>
                    <a:lnTo>
                      <a:pt x="72" y="105"/>
                    </a:lnTo>
                    <a:lnTo>
                      <a:pt x="72" y="110"/>
                    </a:lnTo>
                    <a:lnTo>
                      <a:pt x="75" y="116"/>
                    </a:lnTo>
                    <a:lnTo>
                      <a:pt x="83" y="118"/>
                    </a:lnTo>
                    <a:lnTo>
                      <a:pt x="86" y="118"/>
                    </a:lnTo>
                    <a:lnTo>
                      <a:pt x="88" y="121"/>
                    </a:lnTo>
                    <a:lnTo>
                      <a:pt x="86" y="130"/>
                    </a:lnTo>
                    <a:lnTo>
                      <a:pt x="84" y="132"/>
                    </a:lnTo>
                    <a:lnTo>
                      <a:pt x="84" y="146"/>
                    </a:lnTo>
                    <a:lnTo>
                      <a:pt x="83" y="151"/>
                    </a:lnTo>
                    <a:lnTo>
                      <a:pt x="81" y="150"/>
                    </a:lnTo>
                    <a:lnTo>
                      <a:pt x="83" y="143"/>
                    </a:lnTo>
                    <a:lnTo>
                      <a:pt x="81" y="141"/>
                    </a:lnTo>
                    <a:lnTo>
                      <a:pt x="79" y="143"/>
                    </a:lnTo>
                    <a:lnTo>
                      <a:pt x="75" y="141"/>
                    </a:lnTo>
                    <a:lnTo>
                      <a:pt x="66" y="144"/>
                    </a:lnTo>
                    <a:lnTo>
                      <a:pt x="61" y="150"/>
                    </a:lnTo>
                    <a:lnTo>
                      <a:pt x="56" y="148"/>
                    </a:lnTo>
                    <a:lnTo>
                      <a:pt x="66" y="139"/>
                    </a:lnTo>
                    <a:lnTo>
                      <a:pt x="74" y="137"/>
                    </a:lnTo>
                    <a:lnTo>
                      <a:pt x="75" y="135"/>
                    </a:lnTo>
                    <a:lnTo>
                      <a:pt x="79" y="134"/>
                    </a:lnTo>
                    <a:lnTo>
                      <a:pt x="83" y="135"/>
                    </a:lnTo>
                    <a:lnTo>
                      <a:pt x="81" y="130"/>
                    </a:lnTo>
                    <a:lnTo>
                      <a:pt x="81" y="126"/>
                    </a:lnTo>
                    <a:lnTo>
                      <a:pt x="75" y="125"/>
                    </a:lnTo>
                    <a:lnTo>
                      <a:pt x="61" y="105"/>
                    </a:lnTo>
                    <a:lnTo>
                      <a:pt x="58" y="96"/>
                    </a:lnTo>
                    <a:lnTo>
                      <a:pt x="61" y="78"/>
                    </a:lnTo>
                    <a:lnTo>
                      <a:pt x="54" y="66"/>
                    </a:lnTo>
                    <a:lnTo>
                      <a:pt x="56" y="57"/>
                    </a:lnTo>
                    <a:lnTo>
                      <a:pt x="61" y="44"/>
                    </a:lnTo>
                    <a:lnTo>
                      <a:pt x="63" y="35"/>
                    </a:lnTo>
                    <a:lnTo>
                      <a:pt x="84" y="7"/>
                    </a:lnTo>
                    <a:lnTo>
                      <a:pt x="84" y="5"/>
                    </a:lnTo>
                    <a:lnTo>
                      <a:pt x="79" y="1"/>
                    </a:lnTo>
                    <a:lnTo>
                      <a:pt x="56" y="0"/>
                    </a:lnTo>
                    <a:lnTo>
                      <a:pt x="34" y="12"/>
                    </a:lnTo>
                    <a:lnTo>
                      <a:pt x="24" y="21"/>
                    </a:lnTo>
                    <a:lnTo>
                      <a:pt x="22" y="28"/>
                    </a:lnTo>
                    <a:lnTo>
                      <a:pt x="18" y="34"/>
                    </a:lnTo>
                    <a:lnTo>
                      <a:pt x="16" y="35"/>
                    </a:lnTo>
                    <a:lnTo>
                      <a:pt x="13" y="43"/>
                    </a:lnTo>
                    <a:lnTo>
                      <a:pt x="15" y="46"/>
                    </a:lnTo>
                    <a:lnTo>
                      <a:pt x="11" y="50"/>
                    </a:lnTo>
                    <a:lnTo>
                      <a:pt x="11" y="57"/>
                    </a:lnTo>
                    <a:lnTo>
                      <a:pt x="15" y="59"/>
                    </a:lnTo>
                    <a:lnTo>
                      <a:pt x="9" y="59"/>
                    </a:lnTo>
                    <a:lnTo>
                      <a:pt x="8" y="66"/>
                    </a:lnTo>
                    <a:lnTo>
                      <a:pt x="6" y="68"/>
                    </a:lnTo>
                    <a:lnTo>
                      <a:pt x="6" y="75"/>
                    </a:lnTo>
                    <a:lnTo>
                      <a:pt x="2" y="78"/>
                    </a:lnTo>
                    <a:lnTo>
                      <a:pt x="4" y="89"/>
                    </a:lnTo>
                    <a:lnTo>
                      <a:pt x="9" y="89"/>
                    </a:lnTo>
                    <a:lnTo>
                      <a:pt x="6" y="91"/>
                    </a:lnTo>
                    <a:lnTo>
                      <a:pt x="2" y="94"/>
                    </a:lnTo>
                    <a:lnTo>
                      <a:pt x="0" y="100"/>
                    </a:lnTo>
                    <a:lnTo>
                      <a:pt x="4" y="110"/>
                    </a:lnTo>
                    <a:lnTo>
                      <a:pt x="2" y="116"/>
                    </a:lnTo>
                    <a:lnTo>
                      <a:pt x="2" y="128"/>
                    </a:lnTo>
                    <a:lnTo>
                      <a:pt x="4" y="134"/>
                    </a:lnTo>
                    <a:lnTo>
                      <a:pt x="34" y="137"/>
                    </a:lnTo>
                    <a:lnTo>
                      <a:pt x="43" y="146"/>
                    </a:lnTo>
                    <a:lnTo>
                      <a:pt x="49" y="150"/>
                    </a:lnTo>
                    <a:lnTo>
                      <a:pt x="40" y="153"/>
                    </a:lnTo>
                    <a:lnTo>
                      <a:pt x="31" y="153"/>
                    </a:lnTo>
                    <a:lnTo>
                      <a:pt x="22" y="148"/>
                    </a:lnTo>
                    <a:lnTo>
                      <a:pt x="11" y="146"/>
                    </a:lnTo>
                    <a:lnTo>
                      <a:pt x="13" y="150"/>
                    </a:lnTo>
                    <a:lnTo>
                      <a:pt x="11" y="155"/>
                    </a:lnTo>
                    <a:lnTo>
                      <a:pt x="25" y="175"/>
                    </a:lnTo>
                    <a:lnTo>
                      <a:pt x="34" y="182"/>
                    </a:lnTo>
                    <a:lnTo>
                      <a:pt x="31" y="182"/>
                    </a:lnTo>
                    <a:lnTo>
                      <a:pt x="36" y="184"/>
                    </a:lnTo>
                    <a:lnTo>
                      <a:pt x="38" y="182"/>
                    </a:lnTo>
                    <a:lnTo>
                      <a:pt x="41" y="182"/>
                    </a:lnTo>
                    <a:lnTo>
                      <a:pt x="49" y="184"/>
                    </a:lnTo>
                    <a:lnTo>
                      <a:pt x="56" y="182"/>
                    </a:lnTo>
                    <a:lnTo>
                      <a:pt x="58" y="176"/>
                    </a:lnTo>
                    <a:lnTo>
                      <a:pt x="58" y="184"/>
                    </a:lnTo>
                    <a:lnTo>
                      <a:pt x="61" y="191"/>
                    </a:lnTo>
                    <a:lnTo>
                      <a:pt x="66" y="196"/>
                    </a:lnTo>
                    <a:lnTo>
                      <a:pt x="74" y="198"/>
                    </a:lnTo>
                    <a:lnTo>
                      <a:pt x="77" y="198"/>
                    </a:lnTo>
                    <a:lnTo>
                      <a:pt x="74" y="194"/>
                    </a:lnTo>
                    <a:lnTo>
                      <a:pt x="77" y="194"/>
                    </a:lnTo>
                    <a:lnTo>
                      <a:pt x="106" y="201"/>
                    </a:lnTo>
                    <a:lnTo>
                      <a:pt x="106" y="200"/>
                    </a:lnTo>
                    <a:lnTo>
                      <a:pt x="113" y="196"/>
                    </a:lnTo>
                    <a:lnTo>
                      <a:pt x="124" y="203"/>
                    </a:lnTo>
                    <a:lnTo>
                      <a:pt x="127" y="203"/>
                    </a:lnTo>
                    <a:lnTo>
                      <a:pt x="127" y="205"/>
                    </a:lnTo>
                    <a:lnTo>
                      <a:pt x="129" y="203"/>
                    </a:lnTo>
                    <a:lnTo>
                      <a:pt x="129" y="203"/>
                    </a:lnTo>
                    <a:lnTo>
                      <a:pt x="131" y="205"/>
                    </a:lnTo>
                    <a:lnTo>
                      <a:pt x="134" y="201"/>
                    </a:lnTo>
                    <a:lnTo>
                      <a:pt x="138" y="200"/>
                    </a:lnTo>
                    <a:lnTo>
                      <a:pt x="141" y="201"/>
                    </a:lnTo>
                    <a:lnTo>
                      <a:pt x="145" y="209"/>
                    </a:lnTo>
                    <a:lnTo>
                      <a:pt x="149" y="209"/>
                    </a:lnTo>
                    <a:lnTo>
                      <a:pt x="147" y="205"/>
                    </a:lnTo>
                    <a:lnTo>
                      <a:pt x="141" y="198"/>
                    </a:lnTo>
                    <a:lnTo>
                      <a:pt x="134" y="194"/>
                    </a:lnTo>
                    <a:lnTo>
                      <a:pt x="136" y="191"/>
                    </a:lnTo>
                    <a:lnTo>
                      <a:pt x="156" y="198"/>
                    </a:lnTo>
                    <a:lnTo>
                      <a:pt x="159" y="196"/>
                    </a:lnTo>
                    <a:lnTo>
                      <a:pt x="161" y="198"/>
                    </a:lnTo>
                    <a:lnTo>
                      <a:pt x="163" y="198"/>
                    </a:lnTo>
                    <a:lnTo>
                      <a:pt x="166" y="205"/>
                    </a:lnTo>
                    <a:lnTo>
                      <a:pt x="181" y="201"/>
                    </a:lnTo>
                    <a:lnTo>
                      <a:pt x="183" y="200"/>
                    </a:lnTo>
                    <a:lnTo>
                      <a:pt x="177" y="182"/>
                    </a:lnTo>
                    <a:lnTo>
                      <a:pt x="174" y="182"/>
                    </a:lnTo>
                    <a:lnTo>
                      <a:pt x="170" y="180"/>
                    </a:lnTo>
                    <a:lnTo>
                      <a:pt x="174" y="176"/>
                    </a:lnTo>
                    <a:lnTo>
                      <a:pt x="181" y="178"/>
                    </a:lnTo>
                    <a:lnTo>
                      <a:pt x="191" y="189"/>
                    </a:lnTo>
                    <a:lnTo>
                      <a:pt x="193" y="185"/>
                    </a:lnTo>
                    <a:lnTo>
                      <a:pt x="197" y="187"/>
                    </a:lnTo>
                    <a:lnTo>
                      <a:pt x="200" y="187"/>
                    </a:lnTo>
                    <a:lnTo>
                      <a:pt x="200" y="205"/>
                    </a:lnTo>
                    <a:lnTo>
                      <a:pt x="202" y="209"/>
                    </a:lnTo>
                    <a:lnTo>
                      <a:pt x="206" y="203"/>
                    </a:lnTo>
                    <a:lnTo>
                      <a:pt x="208" y="205"/>
                    </a:lnTo>
                    <a:lnTo>
                      <a:pt x="211" y="205"/>
                    </a:lnTo>
                    <a:lnTo>
                      <a:pt x="213" y="207"/>
                    </a:lnTo>
                    <a:lnTo>
                      <a:pt x="213" y="210"/>
                    </a:lnTo>
                    <a:lnTo>
                      <a:pt x="209" y="214"/>
                    </a:lnTo>
                    <a:lnTo>
                      <a:pt x="213" y="214"/>
                    </a:lnTo>
                    <a:lnTo>
                      <a:pt x="231" y="230"/>
                    </a:lnTo>
                    <a:lnTo>
                      <a:pt x="233" y="237"/>
                    </a:lnTo>
                    <a:lnTo>
                      <a:pt x="225" y="243"/>
                    </a:lnTo>
                    <a:lnTo>
                      <a:pt x="220" y="241"/>
                    </a:lnTo>
                    <a:lnTo>
                      <a:pt x="216" y="241"/>
                    </a:lnTo>
                    <a:lnTo>
                      <a:pt x="216" y="248"/>
                    </a:lnTo>
                    <a:lnTo>
                      <a:pt x="216" y="257"/>
                    </a:lnTo>
                    <a:lnTo>
                      <a:pt x="231" y="250"/>
                    </a:lnTo>
                    <a:lnTo>
                      <a:pt x="233" y="244"/>
                    </a:lnTo>
                    <a:lnTo>
                      <a:pt x="238" y="246"/>
                    </a:lnTo>
                    <a:lnTo>
                      <a:pt x="241" y="243"/>
                    </a:lnTo>
                    <a:lnTo>
                      <a:pt x="249" y="241"/>
                    </a:lnTo>
                    <a:lnTo>
                      <a:pt x="254" y="243"/>
                    </a:lnTo>
                    <a:lnTo>
                      <a:pt x="245" y="244"/>
                    </a:lnTo>
                    <a:lnTo>
                      <a:pt x="247" y="246"/>
                    </a:lnTo>
                    <a:lnTo>
                      <a:pt x="245" y="250"/>
                    </a:lnTo>
                    <a:lnTo>
                      <a:pt x="256" y="264"/>
                    </a:lnTo>
                    <a:lnTo>
                      <a:pt x="258" y="262"/>
                    </a:lnTo>
                    <a:lnTo>
                      <a:pt x="254" y="259"/>
                    </a:lnTo>
                    <a:lnTo>
                      <a:pt x="256" y="255"/>
                    </a:lnTo>
                    <a:lnTo>
                      <a:pt x="261" y="257"/>
                    </a:lnTo>
                    <a:lnTo>
                      <a:pt x="259" y="268"/>
                    </a:lnTo>
                    <a:lnTo>
                      <a:pt x="261" y="273"/>
                    </a:lnTo>
                    <a:lnTo>
                      <a:pt x="266" y="276"/>
                    </a:lnTo>
                    <a:lnTo>
                      <a:pt x="270" y="273"/>
                    </a:lnTo>
                    <a:lnTo>
                      <a:pt x="275" y="280"/>
                    </a:lnTo>
                    <a:lnTo>
                      <a:pt x="277" y="293"/>
                    </a:lnTo>
                    <a:lnTo>
                      <a:pt x="279" y="294"/>
                    </a:lnTo>
                    <a:lnTo>
                      <a:pt x="281" y="301"/>
                    </a:lnTo>
                    <a:lnTo>
                      <a:pt x="283" y="305"/>
                    </a:lnTo>
                    <a:lnTo>
                      <a:pt x="284" y="316"/>
                    </a:lnTo>
                    <a:lnTo>
                      <a:pt x="286" y="318"/>
                    </a:lnTo>
                    <a:lnTo>
                      <a:pt x="284" y="321"/>
                    </a:lnTo>
                    <a:lnTo>
                      <a:pt x="283" y="325"/>
                    </a:lnTo>
                    <a:lnTo>
                      <a:pt x="277" y="326"/>
                    </a:lnTo>
                    <a:lnTo>
                      <a:pt x="275" y="328"/>
                    </a:lnTo>
                    <a:lnTo>
                      <a:pt x="275" y="339"/>
                    </a:lnTo>
                    <a:lnTo>
                      <a:pt x="274" y="341"/>
                    </a:lnTo>
                    <a:lnTo>
                      <a:pt x="270" y="341"/>
                    </a:lnTo>
                    <a:lnTo>
                      <a:pt x="252" y="362"/>
                    </a:lnTo>
                    <a:lnTo>
                      <a:pt x="252" y="366"/>
                    </a:lnTo>
                    <a:lnTo>
                      <a:pt x="256" y="371"/>
                    </a:lnTo>
                    <a:lnTo>
                      <a:pt x="261" y="376"/>
                    </a:lnTo>
                    <a:lnTo>
                      <a:pt x="263" y="382"/>
                    </a:lnTo>
                    <a:lnTo>
                      <a:pt x="265" y="382"/>
                    </a:lnTo>
                    <a:lnTo>
                      <a:pt x="265" y="389"/>
                    </a:lnTo>
                    <a:lnTo>
                      <a:pt x="259" y="387"/>
                    </a:lnTo>
                    <a:lnTo>
                      <a:pt x="259" y="389"/>
                    </a:lnTo>
                    <a:lnTo>
                      <a:pt x="256" y="385"/>
                    </a:lnTo>
                    <a:lnTo>
                      <a:pt x="254" y="389"/>
                    </a:lnTo>
                    <a:lnTo>
                      <a:pt x="252" y="389"/>
                    </a:lnTo>
                    <a:lnTo>
                      <a:pt x="247" y="393"/>
                    </a:lnTo>
                    <a:lnTo>
                      <a:pt x="240" y="393"/>
                    </a:lnTo>
                    <a:lnTo>
                      <a:pt x="240" y="396"/>
                    </a:lnTo>
                    <a:lnTo>
                      <a:pt x="238" y="396"/>
                    </a:lnTo>
                    <a:lnTo>
                      <a:pt x="233" y="394"/>
                    </a:lnTo>
                    <a:lnTo>
                      <a:pt x="224" y="394"/>
                    </a:lnTo>
                    <a:lnTo>
                      <a:pt x="218" y="393"/>
                    </a:lnTo>
                    <a:lnTo>
                      <a:pt x="213" y="393"/>
                    </a:lnTo>
                    <a:lnTo>
                      <a:pt x="209" y="391"/>
                    </a:lnTo>
                    <a:lnTo>
                      <a:pt x="208" y="389"/>
                    </a:lnTo>
                    <a:lnTo>
                      <a:pt x="204" y="389"/>
                    </a:lnTo>
                    <a:lnTo>
                      <a:pt x="208" y="393"/>
                    </a:lnTo>
                    <a:lnTo>
                      <a:pt x="204" y="393"/>
                    </a:lnTo>
                    <a:lnTo>
                      <a:pt x="204" y="400"/>
                    </a:lnTo>
                    <a:lnTo>
                      <a:pt x="200" y="401"/>
                    </a:lnTo>
                    <a:lnTo>
                      <a:pt x="195" y="405"/>
                    </a:lnTo>
                    <a:lnTo>
                      <a:pt x="193" y="410"/>
                    </a:lnTo>
                    <a:lnTo>
                      <a:pt x="193" y="419"/>
                    </a:lnTo>
                    <a:lnTo>
                      <a:pt x="195" y="425"/>
                    </a:lnTo>
                    <a:lnTo>
                      <a:pt x="199" y="428"/>
                    </a:lnTo>
                    <a:lnTo>
                      <a:pt x="202" y="428"/>
                    </a:lnTo>
                    <a:lnTo>
                      <a:pt x="206" y="434"/>
                    </a:lnTo>
                    <a:lnTo>
                      <a:pt x="208" y="432"/>
                    </a:lnTo>
                    <a:lnTo>
                      <a:pt x="215" y="434"/>
                    </a:lnTo>
                    <a:lnTo>
                      <a:pt x="215" y="435"/>
                    </a:lnTo>
                    <a:lnTo>
                      <a:pt x="216" y="435"/>
                    </a:lnTo>
                    <a:lnTo>
                      <a:pt x="224" y="434"/>
                    </a:lnTo>
                    <a:lnTo>
                      <a:pt x="222" y="430"/>
                    </a:lnTo>
                    <a:lnTo>
                      <a:pt x="227" y="430"/>
                    </a:lnTo>
                    <a:lnTo>
                      <a:pt x="229" y="428"/>
                    </a:lnTo>
                    <a:lnTo>
                      <a:pt x="229" y="426"/>
                    </a:lnTo>
                    <a:lnTo>
                      <a:pt x="227" y="423"/>
                    </a:lnTo>
                    <a:lnTo>
                      <a:pt x="233" y="421"/>
                    </a:lnTo>
                    <a:lnTo>
                      <a:pt x="236" y="421"/>
                    </a:lnTo>
                    <a:lnTo>
                      <a:pt x="238" y="425"/>
                    </a:lnTo>
                    <a:lnTo>
                      <a:pt x="238" y="426"/>
                    </a:lnTo>
                    <a:lnTo>
                      <a:pt x="245" y="426"/>
                    </a:lnTo>
                    <a:lnTo>
                      <a:pt x="249" y="428"/>
                    </a:lnTo>
                    <a:lnTo>
                      <a:pt x="249" y="425"/>
                    </a:lnTo>
                    <a:lnTo>
                      <a:pt x="250" y="423"/>
                    </a:lnTo>
                    <a:lnTo>
                      <a:pt x="250" y="425"/>
                    </a:lnTo>
                    <a:lnTo>
                      <a:pt x="249" y="419"/>
                    </a:lnTo>
                    <a:lnTo>
                      <a:pt x="243" y="418"/>
                    </a:lnTo>
                    <a:lnTo>
                      <a:pt x="243" y="414"/>
                    </a:lnTo>
                    <a:lnTo>
                      <a:pt x="247" y="414"/>
                    </a:lnTo>
                    <a:lnTo>
                      <a:pt x="249" y="412"/>
                    </a:lnTo>
                    <a:lnTo>
                      <a:pt x="249" y="418"/>
                    </a:lnTo>
                    <a:lnTo>
                      <a:pt x="252" y="416"/>
                    </a:lnTo>
                    <a:lnTo>
                      <a:pt x="252" y="418"/>
                    </a:lnTo>
                    <a:lnTo>
                      <a:pt x="254" y="419"/>
                    </a:lnTo>
                    <a:lnTo>
                      <a:pt x="256" y="419"/>
                    </a:lnTo>
                    <a:lnTo>
                      <a:pt x="259" y="418"/>
                    </a:lnTo>
                    <a:lnTo>
                      <a:pt x="259" y="418"/>
                    </a:lnTo>
                    <a:lnTo>
                      <a:pt x="263" y="423"/>
                    </a:lnTo>
                    <a:lnTo>
                      <a:pt x="265" y="421"/>
                    </a:lnTo>
                    <a:lnTo>
                      <a:pt x="266" y="421"/>
                    </a:lnTo>
                    <a:lnTo>
                      <a:pt x="268" y="423"/>
                    </a:lnTo>
                    <a:lnTo>
                      <a:pt x="268" y="425"/>
                    </a:lnTo>
                    <a:lnTo>
                      <a:pt x="270" y="432"/>
                    </a:lnTo>
                    <a:lnTo>
                      <a:pt x="272" y="432"/>
                    </a:lnTo>
                    <a:lnTo>
                      <a:pt x="274" y="435"/>
                    </a:lnTo>
                    <a:lnTo>
                      <a:pt x="275" y="439"/>
                    </a:lnTo>
                    <a:lnTo>
                      <a:pt x="275" y="441"/>
                    </a:lnTo>
                    <a:lnTo>
                      <a:pt x="275" y="443"/>
                    </a:lnTo>
                    <a:lnTo>
                      <a:pt x="275" y="444"/>
                    </a:lnTo>
                    <a:lnTo>
                      <a:pt x="277" y="444"/>
                    </a:lnTo>
                    <a:lnTo>
                      <a:pt x="279" y="444"/>
                    </a:lnTo>
                    <a:lnTo>
                      <a:pt x="281" y="450"/>
                    </a:lnTo>
                    <a:lnTo>
                      <a:pt x="283" y="450"/>
                    </a:lnTo>
                    <a:lnTo>
                      <a:pt x="284" y="448"/>
                    </a:lnTo>
                    <a:lnTo>
                      <a:pt x="286" y="450"/>
                    </a:lnTo>
                    <a:lnTo>
                      <a:pt x="286" y="451"/>
                    </a:lnTo>
                    <a:lnTo>
                      <a:pt x="288" y="455"/>
                    </a:lnTo>
                    <a:lnTo>
                      <a:pt x="290" y="455"/>
                    </a:lnTo>
                    <a:lnTo>
                      <a:pt x="291" y="453"/>
                    </a:lnTo>
                    <a:lnTo>
                      <a:pt x="293" y="450"/>
                    </a:lnTo>
                    <a:lnTo>
                      <a:pt x="295" y="453"/>
                    </a:lnTo>
                    <a:lnTo>
                      <a:pt x="299" y="455"/>
                    </a:lnTo>
                    <a:lnTo>
                      <a:pt x="299" y="457"/>
                    </a:lnTo>
                    <a:lnTo>
                      <a:pt x="302" y="457"/>
                    </a:lnTo>
                    <a:lnTo>
                      <a:pt x="299" y="462"/>
                    </a:lnTo>
                    <a:lnTo>
                      <a:pt x="293" y="464"/>
                    </a:lnTo>
                    <a:lnTo>
                      <a:pt x="290" y="460"/>
                    </a:lnTo>
                    <a:lnTo>
                      <a:pt x="297" y="475"/>
                    </a:lnTo>
                    <a:lnTo>
                      <a:pt x="300" y="475"/>
                    </a:lnTo>
                    <a:lnTo>
                      <a:pt x="302" y="478"/>
                    </a:lnTo>
                    <a:lnTo>
                      <a:pt x="302" y="48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79" name="Freeform 1827"/>
              <p:cNvSpPr>
                <a:spLocks/>
              </p:cNvSpPr>
              <p:nvPr/>
            </p:nvSpPr>
            <p:spPr bwMode="auto">
              <a:xfrm>
                <a:off x="1070" y="743"/>
                <a:ext cx="17" cy="14"/>
              </a:xfrm>
              <a:custGeom>
                <a:avLst/>
                <a:gdLst>
                  <a:gd name="T0" fmla="*/ 10 w 17"/>
                  <a:gd name="T1" fmla="*/ 2 h 14"/>
                  <a:gd name="T2" fmla="*/ 14 w 17"/>
                  <a:gd name="T3" fmla="*/ 0 h 14"/>
                  <a:gd name="T4" fmla="*/ 17 w 17"/>
                  <a:gd name="T5" fmla="*/ 4 h 14"/>
                  <a:gd name="T6" fmla="*/ 14 w 17"/>
                  <a:gd name="T7" fmla="*/ 9 h 14"/>
                  <a:gd name="T8" fmla="*/ 5 w 17"/>
                  <a:gd name="T9" fmla="*/ 14 h 14"/>
                  <a:gd name="T10" fmla="*/ 0 w 17"/>
                  <a:gd name="T11" fmla="*/ 13 h 14"/>
                  <a:gd name="T12" fmla="*/ 0 w 17"/>
                  <a:gd name="T13" fmla="*/ 11 h 14"/>
                  <a:gd name="T14" fmla="*/ 3 w 17"/>
                  <a:gd name="T15" fmla="*/ 9 h 14"/>
                  <a:gd name="T16" fmla="*/ 8 w 17"/>
                  <a:gd name="T17" fmla="*/ 4 h 14"/>
                  <a:gd name="T18" fmla="*/ 10 w 17"/>
                  <a:gd name="T1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4">
                    <a:moveTo>
                      <a:pt x="10" y="2"/>
                    </a:moveTo>
                    <a:lnTo>
                      <a:pt x="14" y="0"/>
                    </a:lnTo>
                    <a:lnTo>
                      <a:pt x="17" y="4"/>
                    </a:lnTo>
                    <a:lnTo>
                      <a:pt x="14" y="9"/>
                    </a:lnTo>
                    <a:lnTo>
                      <a:pt x="5" y="14"/>
                    </a:lnTo>
                    <a:lnTo>
                      <a:pt x="0" y="13"/>
                    </a:lnTo>
                    <a:lnTo>
                      <a:pt x="0" y="11"/>
                    </a:lnTo>
                    <a:lnTo>
                      <a:pt x="3" y="9"/>
                    </a:lnTo>
                    <a:lnTo>
                      <a:pt x="8" y="4"/>
                    </a:lnTo>
                    <a:lnTo>
                      <a:pt x="1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80" name="Freeform 1828"/>
              <p:cNvSpPr>
                <a:spLocks/>
              </p:cNvSpPr>
              <p:nvPr/>
            </p:nvSpPr>
            <p:spPr bwMode="auto">
              <a:xfrm>
                <a:off x="1070" y="743"/>
                <a:ext cx="17" cy="14"/>
              </a:xfrm>
              <a:custGeom>
                <a:avLst/>
                <a:gdLst>
                  <a:gd name="T0" fmla="*/ 10 w 17"/>
                  <a:gd name="T1" fmla="*/ 2 h 14"/>
                  <a:gd name="T2" fmla="*/ 14 w 17"/>
                  <a:gd name="T3" fmla="*/ 0 h 14"/>
                  <a:gd name="T4" fmla="*/ 17 w 17"/>
                  <a:gd name="T5" fmla="*/ 4 h 14"/>
                  <a:gd name="T6" fmla="*/ 14 w 17"/>
                  <a:gd name="T7" fmla="*/ 9 h 14"/>
                  <a:gd name="T8" fmla="*/ 5 w 17"/>
                  <a:gd name="T9" fmla="*/ 14 h 14"/>
                  <a:gd name="T10" fmla="*/ 0 w 17"/>
                  <a:gd name="T11" fmla="*/ 13 h 14"/>
                  <a:gd name="T12" fmla="*/ 0 w 17"/>
                  <a:gd name="T13" fmla="*/ 11 h 14"/>
                  <a:gd name="T14" fmla="*/ 3 w 17"/>
                  <a:gd name="T15" fmla="*/ 9 h 14"/>
                  <a:gd name="T16" fmla="*/ 8 w 17"/>
                  <a:gd name="T17" fmla="*/ 4 h 14"/>
                  <a:gd name="T18" fmla="*/ 10 w 17"/>
                  <a:gd name="T1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4">
                    <a:moveTo>
                      <a:pt x="10" y="2"/>
                    </a:moveTo>
                    <a:lnTo>
                      <a:pt x="14" y="0"/>
                    </a:lnTo>
                    <a:lnTo>
                      <a:pt x="17" y="4"/>
                    </a:lnTo>
                    <a:lnTo>
                      <a:pt x="14" y="9"/>
                    </a:lnTo>
                    <a:lnTo>
                      <a:pt x="5" y="14"/>
                    </a:lnTo>
                    <a:lnTo>
                      <a:pt x="0" y="13"/>
                    </a:lnTo>
                    <a:lnTo>
                      <a:pt x="0" y="11"/>
                    </a:lnTo>
                    <a:lnTo>
                      <a:pt x="3" y="9"/>
                    </a:lnTo>
                    <a:lnTo>
                      <a:pt x="8" y="4"/>
                    </a:lnTo>
                    <a:lnTo>
                      <a:pt x="1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81" name="Freeform 1829"/>
              <p:cNvSpPr>
                <a:spLocks/>
              </p:cNvSpPr>
              <p:nvPr/>
            </p:nvSpPr>
            <p:spPr bwMode="auto">
              <a:xfrm>
                <a:off x="1500" y="1420"/>
                <a:ext cx="12" cy="4"/>
              </a:xfrm>
              <a:custGeom>
                <a:avLst/>
                <a:gdLst>
                  <a:gd name="T0" fmla="*/ 12 w 12"/>
                  <a:gd name="T1" fmla="*/ 2 h 4"/>
                  <a:gd name="T2" fmla="*/ 11 w 12"/>
                  <a:gd name="T3" fmla="*/ 0 h 4"/>
                  <a:gd name="T4" fmla="*/ 12 w 12"/>
                  <a:gd name="T5" fmla="*/ 0 h 4"/>
                  <a:gd name="T6" fmla="*/ 12 w 12"/>
                  <a:gd name="T7" fmla="*/ 2 h 4"/>
                  <a:gd name="T8" fmla="*/ 11 w 12"/>
                  <a:gd name="T9" fmla="*/ 4 h 4"/>
                  <a:gd name="T10" fmla="*/ 9 w 12"/>
                  <a:gd name="T11" fmla="*/ 4 h 4"/>
                  <a:gd name="T12" fmla="*/ 2 w 12"/>
                  <a:gd name="T13" fmla="*/ 2 h 4"/>
                  <a:gd name="T14" fmla="*/ 0 w 12"/>
                  <a:gd name="T15" fmla="*/ 2 h 4"/>
                  <a:gd name="T16" fmla="*/ 2 w 12"/>
                  <a:gd name="T17" fmla="*/ 0 h 4"/>
                  <a:gd name="T18" fmla="*/ 5 w 12"/>
                  <a:gd name="T19" fmla="*/ 0 h 4"/>
                  <a:gd name="T20" fmla="*/ 11 w 12"/>
                  <a:gd name="T21" fmla="*/ 0 h 4"/>
                  <a:gd name="T22" fmla="*/ 12 w 12"/>
                  <a:gd name="T2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4">
                    <a:moveTo>
                      <a:pt x="12" y="2"/>
                    </a:moveTo>
                    <a:lnTo>
                      <a:pt x="11" y="0"/>
                    </a:lnTo>
                    <a:lnTo>
                      <a:pt x="12" y="0"/>
                    </a:lnTo>
                    <a:lnTo>
                      <a:pt x="12" y="2"/>
                    </a:lnTo>
                    <a:lnTo>
                      <a:pt x="11" y="4"/>
                    </a:lnTo>
                    <a:lnTo>
                      <a:pt x="9" y="4"/>
                    </a:lnTo>
                    <a:lnTo>
                      <a:pt x="2" y="2"/>
                    </a:lnTo>
                    <a:lnTo>
                      <a:pt x="0" y="2"/>
                    </a:lnTo>
                    <a:lnTo>
                      <a:pt x="2" y="0"/>
                    </a:lnTo>
                    <a:lnTo>
                      <a:pt x="5" y="0"/>
                    </a:lnTo>
                    <a:lnTo>
                      <a:pt x="11" y="0"/>
                    </a:lnTo>
                    <a:lnTo>
                      <a:pt x="1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82" name="Freeform 1830"/>
              <p:cNvSpPr>
                <a:spLocks/>
              </p:cNvSpPr>
              <p:nvPr/>
            </p:nvSpPr>
            <p:spPr bwMode="auto">
              <a:xfrm>
                <a:off x="1500" y="1420"/>
                <a:ext cx="12" cy="4"/>
              </a:xfrm>
              <a:custGeom>
                <a:avLst/>
                <a:gdLst>
                  <a:gd name="T0" fmla="*/ 12 w 12"/>
                  <a:gd name="T1" fmla="*/ 2 h 4"/>
                  <a:gd name="T2" fmla="*/ 11 w 12"/>
                  <a:gd name="T3" fmla="*/ 0 h 4"/>
                  <a:gd name="T4" fmla="*/ 12 w 12"/>
                  <a:gd name="T5" fmla="*/ 0 h 4"/>
                  <a:gd name="T6" fmla="*/ 12 w 12"/>
                  <a:gd name="T7" fmla="*/ 2 h 4"/>
                  <a:gd name="T8" fmla="*/ 11 w 12"/>
                  <a:gd name="T9" fmla="*/ 4 h 4"/>
                  <a:gd name="T10" fmla="*/ 9 w 12"/>
                  <a:gd name="T11" fmla="*/ 4 h 4"/>
                  <a:gd name="T12" fmla="*/ 2 w 12"/>
                  <a:gd name="T13" fmla="*/ 2 h 4"/>
                  <a:gd name="T14" fmla="*/ 0 w 12"/>
                  <a:gd name="T15" fmla="*/ 2 h 4"/>
                  <a:gd name="T16" fmla="*/ 2 w 12"/>
                  <a:gd name="T17" fmla="*/ 0 h 4"/>
                  <a:gd name="T18" fmla="*/ 5 w 12"/>
                  <a:gd name="T19" fmla="*/ 0 h 4"/>
                  <a:gd name="T20" fmla="*/ 11 w 12"/>
                  <a:gd name="T21" fmla="*/ 0 h 4"/>
                  <a:gd name="T22" fmla="*/ 12 w 12"/>
                  <a:gd name="T23"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4">
                    <a:moveTo>
                      <a:pt x="12" y="2"/>
                    </a:moveTo>
                    <a:lnTo>
                      <a:pt x="11" y="0"/>
                    </a:lnTo>
                    <a:lnTo>
                      <a:pt x="12" y="0"/>
                    </a:lnTo>
                    <a:lnTo>
                      <a:pt x="12" y="2"/>
                    </a:lnTo>
                    <a:lnTo>
                      <a:pt x="11" y="4"/>
                    </a:lnTo>
                    <a:lnTo>
                      <a:pt x="9" y="4"/>
                    </a:lnTo>
                    <a:lnTo>
                      <a:pt x="2" y="2"/>
                    </a:lnTo>
                    <a:lnTo>
                      <a:pt x="0" y="2"/>
                    </a:lnTo>
                    <a:lnTo>
                      <a:pt x="2" y="0"/>
                    </a:lnTo>
                    <a:lnTo>
                      <a:pt x="5" y="0"/>
                    </a:lnTo>
                    <a:lnTo>
                      <a:pt x="11" y="0"/>
                    </a:lnTo>
                    <a:lnTo>
                      <a:pt x="1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83" name="Freeform 1831"/>
              <p:cNvSpPr>
                <a:spLocks/>
              </p:cNvSpPr>
              <p:nvPr/>
            </p:nvSpPr>
            <p:spPr bwMode="auto">
              <a:xfrm>
                <a:off x="1668" y="1861"/>
                <a:ext cx="37" cy="25"/>
              </a:xfrm>
              <a:custGeom>
                <a:avLst/>
                <a:gdLst>
                  <a:gd name="T0" fmla="*/ 32 w 37"/>
                  <a:gd name="T1" fmla="*/ 18 h 25"/>
                  <a:gd name="T2" fmla="*/ 34 w 37"/>
                  <a:gd name="T3" fmla="*/ 16 h 25"/>
                  <a:gd name="T4" fmla="*/ 37 w 37"/>
                  <a:gd name="T5" fmla="*/ 16 h 25"/>
                  <a:gd name="T6" fmla="*/ 35 w 37"/>
                  <a:gd name="T7" fmla="*/ 14 h 25"/>
                  <a:gd name="T8" fmla="*/ 28 w 37"/>
                  <a:gd name="T9" fmla="*/ 14 h 25"/>
                  <a:gd name="T10" fmla="*/ 23 w 37"/>
                  <a:gd name="T11" fmla="*/ 16 h 25"/>
                  <a:gd name="T12" fmla="*/ 10 w 37"/>
                  <a:gd name="T13" fmla="*/ 13 h 25"/>
                  <a:gd name="T14" fmla="*/ 9 w 37"/>
                  <a:gd name="T15" fmla="*/ 13 h 25"/>
                  <a:gd name="T16" fmla="*/ 7 w 37"/>
                  <a:gd name="T17" fmla="*/ 13 h 25"/>
                  <a:gd name="T18" fmla="*/ 3 w 37"/>
                  <a:gd name="T19" fmla="*/ 7 h 25"/>
                  <a:gd name="T20" fmla="*/ 5 w 37"/>
                  <a:gd name="T21" fmla="*/ 4 h 25"/>
                  <a:gd name="T22" fmla="*/ 5 w 37"/>
                  <a:gd name="T23" fmla="*/ 0 h 25"/>
                  <a:gd name="T24" fmla="*/ 0 w 37"/>
                  <a:gd name="T25" fmla="*/ 5 h 25"/>
                  <a:gd name="T26" fmla="*/ 0 w 37"/>
                  <a:gd name="T27" fmla="*/ 9 h 25"/>
                  <a:gd name="T28" fmla="*/ 3 w 37"/>
                  <a:gd name="T29" fmla="*/ 11 h 25"/>
                  <a:gd name="T30" fmla="*/ 3 w 37"/>
                  <a:gd name="T31" fmla="*/ 13 h 25"/>
                  <a:gd name="T32" fmla="*/ 5 w 37"/>
                  <a:gd name="T33" fmla="*/ 16 h 25"/>
                  <a:gd name="T34" fmla="*/ 9 w 37"/>
                  <a:gd name="T35" fmla="*/ 16 h 25"/>
                  <a:gd name="T36" fmla="*/ 10 w 37"/>
                  <a:gd name="T37" fmla="*/ 18 h 25"/>
                  <a:gd name="T38" fmla="*/ 16 w 37"/>
                  <a:gd name="T39" fmla="*/ 21 h 25"/>
                  <a:gd name="T40" fmla="*/ 19 w 37"/>
                  <a:gd name="T41" fmla="*/ 21 h 25"/>
                  <a:gd name="T42" fmla="*/ 19 w 37"/>
                  <a:gd name="T43" fmla="*/ 20 h 25"/>
                  <a:gd name="T44" fmla="*/ 21 w 37"/>
                  <a:gd name="T45" fmla="*/ 20 h 25"/>
                  <a:gd name="T46" fmla="*/ 23 w 37"/>
                  <a:gd name="T47" fmla="*/ 20 h 25"/>
                  <a:gd name="T48" fmla="*/ 23 w 37"/>
                  <a:gd name="T49" fmla="*/ 23 h 25"/>
                  <a:gd name="T50" fmla="*/ 23 w 37"/>
                  <a:gd name="T51" fmla="*/ 23 h 25"/>
                  <a:gd name="T52" fmla="*/ 26 w 37"/>
                  <a:gd name="T53" fmla="*/ 25 h 25"/>
                  <a:gd name="T54" fmla="*/ 30 w 37"/>
                  <a:gd name="T55" fmla="*/ 25 h 25"/>
                  <a:gd name="T56" fmla="*/ 30 w 37"/>
                  <a:gd name="T57" fmla="*/ 23 h 25"/>
                  <a:gd name="T58" fmla="*/ 30 w 37"/>
                  <a:gd name="T59" fmla="*/ 20 h 25"/>
                  <a:gd name="T60" fmla="*/ 32 w 37"/>
                  <a:gd name="T61"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25">
                    <a:moveTo>
                      <a:pt x="32" y="18"/>
                    </a:moveTo>
                    <a:lnTo>
                      <a:pt x="34" y="16"/>
                    </a:lnTo>
                    <a:lnTo>
                      <a:pt x="37" y="16"/>
                    </a:lnTo>
                    <a:lnTo>
                      <a:pt x="35" y="14"/>
                    </a:lnTo>
                    <a:lnTo>
                      <a:pt x="28" y="14"/>
                    </a:lnTo>
                    <a:lnTo>
                      <a:pt x="23" y="16"/>
                    </a:lnTo>
                    <a:lnTo>
                      <a:pt x="10" y="13"/>
                    </a:lnTo>
                    <a:lnTo>
                      <a:pt x="9" y="13"/>
                    </a:lnTo>
                    <a:lnTo>
                      <a:pt x="7" y="13"/>
                    </a:lnTo>
                    <a:lnTo>
                      <a:pt x="3" y="7"/>
                    </a:lnTo>
                    <a:lnTo>
                      <a:pt x="5" y="4"/>
                    </a:lnTo>
                    <a:lnTo>
                      <a:pt x="5" y="0"/>
                    </a:lnTo>
                    <a:lnTo>
                      <a:pt x="0" y="5"/>
                    </a:lnTo>
                    <a:lnTo>
                      <a:pt x="0" y="9"/>
                    </a:lnTo>
                    <a:lnTo>
                      <a:pt x="3" y="11"/>
                    </a:lnTo>
                    <a:lnTo>
                      <a:pt x="3" y="13"/>
                    </a:lnTo>
                    <a:lnTo>
                      <a:pt x="5" y="16"/>
                    </a:lnTo>
                    <a:lnTo>
                      <a:pt x="9" y="16"/>
                    </a:lnTo>
                    <a:lnTo>
                      <a:pt x="10" y="18"/>
                    </a:lnTo>
                    <a:lnTo>
                      <a:pt x="16" y="21"/>
                    </a:lnTo>
                    <a:lnTo>
                      <a:pt x="19" y="21"/>
                    </a:lnTo>
                    <a:lnTo>
                      <a:pt x="19" y="20"/>
                    </a:lnTo>
                    <a:lnTo>
                      <a:pt x="21" y="20"/>
                    </a:lnTo>
                    <a:lnTo>
                      <a:pt x="23" y="20"/>
                    </a:lnTo>
                    <a:lnTo>
                      <a:pt x="23" y="23"/>
                    </a:lnTo>
                    <a:lnTo>
                      <a:pt x="23" y="23"/>
                    </a:lnTo>
                    <a:lnTo>
                      <a:pt x="26" y="25"/>
                    </a:lnTo>
                    <a:lnTo>
                      <a:pt x="30" y="25"/>
                    </a:lnTo>
                    <a:lnTo>
                      <a:pt x="30" y="23"/>
                    </a:lnTo>
                    <a:lnTo>
                      <a:pt x="30" y="20"/>
                    </a:lnTo>
                    <a:lnTo>
                      <a:pt x="32" y="1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84" name="Freeform 1832"/>
              <p:cNvSpPr>
                <a:spLocks/>
              </p:cNvSpPr>
              <p:nvPr/>
            </p:nvSpPr>
            <p:spPr bwMode="auto">
              <a:xfrm>
                <a:off x="1668" y="1861"/>
                <a:ext cx="37" cy="25"/>
              </a:xfrm>
              <a:custGeom>
                <a:avLst/>
                <a:gdLst>
                  <a:gd name="T0" fmla="*/ 32 w 37"/>
                  <a:gd name="T1" fmla="*/ 18 h 25"/>
                  <a:gd name="T2" fmla="*/ 34 w 37"/>
                  <a:gd name="T3" fmla="*/ 16 h 25"/>
                  <a:gd name="T4" fmla="*/ 37 w 37"/>
                  <a:gd name="T5" fmla="*/ 16 h 25"/>
                  <a:gd name="T6" fmla="*/ 35 w 37"/>
                  <a:gd name="T7" fmla="*/ 14 h 25"/>
                  <a:gd name="T8" fmla="*/ 28 w 37"/>
                  <a:gd name="T9" fmla="*/ 14 h 25"/>
                  <a:gd name="T10" fmla="*/ 23 w 37"/>
                  <a:gd name="T11" fmla="*/ 16 h 25"/>
                  <a:gd name="T12" fmla="*/ 10 w 37"/>
                  <a:gd name="T13" fmla="*/ 13 h 25"/>
                  <a:gd name="T14" fmla="*/ 9 w 37"/>
                  <a:gd name="T15" fmla="*/ 13 h 25"/>
                  <a:gd name="T16" fmla="*/ 7 w 37"/>
                  <a:gd name="T17" fmla="*/ 13 h 25"/>
                  <a:gd name="T18" fmla="*/ 3 w 37"/>
                  <a:gd name="T19" fmla="*/ 7 h 25"/>
                  <a:gd name="T20" fmla="*/ 5 w 37"/>
                  <a:gd name="T21" fmla="*/ 4 h 25"/>
                  <a:gd name="T22" fmla="*/ 5 w 37"/>
                  <a:gd name="T23" fmla="*/ 0 h 25"/>
                  <a:gd name="T24" fmla="*/ 0 w 37"/>
                  <a:gd name="T25" fmla="*/ 5 h 25"/>
                  <a:gd name="T26" fmla="*/ 0 w 37"/>
                  <a:gd name="T27" fmla="*/ 9 h 25"/>
                  <a:gd name="T28" fmla="*/ 3 w 37"/>
                  <a:gd name="T29" fmla="*/ 11 h 25"/>
                  <a:gd name="T30" fmla="*/ 3 w 37"/>
                  <a:gd name="T31" fmla="*/ 13 h 25"/>
                  <a:gd name="T32" fmla="*/ 5 w 37"/>
                  <a:gd name="T33" fmla="*/ 16 h 25"/>
                  <a:gd name="T34" fmla="*/ 9 w 37"/>
                  <a:gd name="T35" fmla="*/ 16 h 25"/>
                  <a:gd name="T36" fmla="*/ 10 w 37"/>
                  <a:gd name="T37" fmla="*/ 18 h 25"/>
                  <a:gd name="T38" fmla="*/ 16 w 37"/>
                  <a:gd name="T39" fmla="*/ 21 h 25"/>
                  <a:gd name="T40" fmla="*/ 19 w 37"/>
                  <a:gd name="T41" fmla="*/ 21 h 25"/>
                  <a:gd name="T42" fmla="*/ 19 w 37"/>
                  <a:gd name="T43" fmla="*/ 20 h 25"/>
                  <a:gd name="T44" fmla="*/ 21 w 37"/>
                  <a:gd name="T45" fmla="*/ 20 h 25"/>
                  <a:gd name="T46" fmla="*/ 23 w 37"/>
                  <a:gd name="T47" fmla="*/ 20 h 25"/>
                  <a:gd name="T48" fmla="*/ 23 w 37"/>
                  <a:gd name="T49" fmla="*/ 23 h 25"/>
                  <a:gd name="T50" fmla="*/ 23 w 37"/>
                  <a:gd name="T51" fmla="*/ 23 h 25"/>
                  <a:gd name="T52" fmla="*/ 26 w 37"/>
                  <a:gd name="T53" fmla="*/ 25 h 25"/>
                  <a:gd name="T54" fmla="*/ 30 w 37"/>
                  <a:gd name="T55" fmla="*/ 25 h 25"/>
                  <a:gd name="T56" fmla="*/ 30 w 37"/>
                  <a:gd name="T57" fmla="*/ 23 h 25"/>
                  <a:gd name="T58" fmla="*/ 30 w 37"/>
                  <a:gd name="T59" fmla="*/ 20 h 25"/>
                  <a:gd name="T60" fmla="*/ 32 w 37"/>
                  <a:gd name="T61"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25">
                    <a:moveTo>
                      <a:pt x="32" y="18"/>
                    </a:moveTo>
                    <a:lnTo>
                      <a:pt x="34" y="16"/>
                    </a:lnTo>
                    <a:lnTo>
                      <a:pt x="37" y="16"/>
                    </a:lnTo>
                    <a:lnTo>
                      <a:pt x="35" y="14"/>
                    </a:lnTo>
                    <a:lnTo>
                      <a:pt x="28" y="14"/>
                    </a:lnTo>
                    <a:lnTo>
                      <a:pt x="23" y="16"/>
                    </a:lnTo>
                    <a:lnTo>
                      <a:pt x="10" y="13"/>
                    </a:lnTo>
                    <a:lnTo>
                      <a:pt x="9" y="13"/>
                    </a:lnTo>
                    <a:lnTo>
                      <a:pt x="7" y="13"/>
                    </a:lnTo>
                    <a:lnTo>
                      <a:pt x="3" y="7"/>
                    </a:lnTo>
                    <a:lnTo>
                      <a:pt x="5" y="4"/>
                    </a:lnTo>
                    <a:lnTo>
                      <a:pt x="5" y="0"/>
                    </a:lnTo>
                    <a:lnTo>
                      <a:pt x="0" y="5"/>
                    </a:lnTo>
                    <a:lnTo>
                      <a:pt x="0" y="9"/>
                    </a:lnTo>
                    <a:lnTo>
                      <a:pt x="3" y="11"/>
                    </a:lnTo>
                    <a:lnTo>
                      <a:pt x="3" y="13"/>
                    </a:lnTo>
                    <a:lnTo>
                      <a:pt x="5" y="16"/>
                    </a:lnTo>
                    <a:lnTo>
                      <a:pt x="9" y="16"/>
                    </a:lnTo>
                    <a:lnTo>
                      <a:pt x="10" y="18"/>
                    </a:lnTo>
                    <a:lnTo>
                      <a:pt x="16" y="21"/>
                    </a:lnTo>
                    <a:lnTo>
                      <a:pt x="19" y="21"/>
                    </a:lnTo>
                    <a:lnTo>
                      <a:pt x="19" y="20"/>
                    </a:lnTo>
                    <a:lnTo>
                      <a:pt x="21" y="20"/>
                    </a:lnTo>
                    <a:lnTo>
                      <a:pt x="23" y="20"/>
                    </a:lnTo>
                    <a:lnTo>
                      <a:pt x="23" y="23"/>
                    </a:lnTo>
                    <a:lnTo>
                      <a:pt x="23" y="23"/>
                    </a:lnTo>
                    <a:lnTo>
                      <a:pt x="26" y="25"/>
                    </a:lnTo>
                    <a:lnTo>
                      <a:pt x="30" y="25"/>
                    </a:lnTo>
                    <a:lnTo>
                      <a:pt x="30" y="23"/>
                    </a:lnTo>
                    <a:lnTo>
                      <a:pt x="30" y="20"/>
                    </a:lnTo>
                    <a:lnTo>
                      <a:pt x="32" y="1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85" name="Freeform 1833"/>
              <p:cNvSpPr>
                <a:spLocks/>
              </p:cNvSpPr>
              <p:nvPr/>
            </p:nvSpPr>
            <p:spPr bwMode="auto">
              <a:xfrm>
                <a:off x="441" y="1031"/>
                <a:ext cx="1366" cy="944"/>
              </a:xfrm>
              <a:custGeom>
                <a:avLst/>
                <a:gdLst>
                  <a:gd name="T0" fmla="*/ 1195 w 1366"/>
                  <a:gd name="T1" fmla="*/ 755 h 944"/>
                  <a:gd name="T2" fmla="*/ 1227 w 1366"/>
                  <a:gd name="T3" fmla="*/ 789 h 944"/>
                  <a:gd name="T4" fmla="*/ 1264 w 1366"/>
                  <a:gd name="T5" fmla="*/ 857 h 944"/>
                  <a:gd name="T6" fmla="*/ 1218 w 1366"/>
                  <a:gd name="T7" fmla="*/ 903 h 944"/>
                  <a:gd name="T8" fmla="*/ 1225 w 1366"/>
                  <a:gd name="T9" fmla="*/ 859 h 944"/>
                  <a:gd name="T10" fmla="*/ 1123 w 1366"/>
                  <a:gd name="T11" fmla="*/ 871 h 944"/>
                  <a:gd name="T12" fmla="*/ 936 w 1366"/>
                  <a:gd name="T13" fmla="*/ 944 h 944"/>
                  <a:gd name="T14" fmla="*/ 961 w 1366"/>
                  <a:gd name="T15" fmla="*/ 882 h 944"/>
                  <a:gd name="T16" fmla="*/ 932 w 1366"/>
                  <a:gd name="T17" fmla="*/ 851 h 944"/>
                  <a:gd name="T18" fmla="*/ 846 w 1366"/>
                  <a:gd name="T19" fmla="*/ 785 h 944"/>
                  <a:gd name="T20" fmla="*/ 755 w 1366"/>
                  <a:gd name="T21" fmla="*/ 794 h 944"/>
                  <a:gd name="T22" fmla="*/ 279 w 1366"/>
                  <a:gd name="T23" fmla="*/ 773 h 944"/>
                  <a:gd name="T24" fmla="*/ 245 w 1366"/>
                  <a:gd name="T25" fmla="*/ 746 h 944"/>
                  <a:gd name="T26" fmla="*/ 218 w 1366"/>
                  <a:gd name="T27" fmla="*/ 723 h 944"/>
                  <a:gd name="T28" fmla="*/ 191 w 1366"/>
                  <a:gd name="T29" fmla="*/ 671 h 944"/>
                  <a:gd name="T30" fmla="*/ 175 w 1366"/>
                  <a:gd name="T31" fmla="*/ 601 h 944"/>
                  <a:gd name="T32" fmla="*/ 70 w 1366"/>
                  <a:gd name="T33" fmla="*/ 503 h 944"/>
                  <a:gd name="T34" fmla="*/ 43 w 1366"/>
                  <a:gd name="T35" fmla="*/ 134 h 944"/>
                  <a:gd name="T36" fmla="*/ 104 w 1366"/>
                  <a:gd name="T37" fmla="*/ 137 h 944"/>
                  <a:gd name="T38" fmla="*/ 180 w 1366"/>
                  <a:gd name="T39" fmla="*/ 85 h 944"/>
                  <a:gd name="T40" fmla="*/ 157 w 1366"/>
                  <a:gd name="T41" fmla="*/ 121 h 944"/>
                  <a:gd name="T42" fmla="*/ 239 w 1366"/>
                  <a:gd name="T43" fmla="*/ 125 h 944"/>
                  <a:gd name="T44" fmla="*/ 261 w 1366"/>
                  <a:gd name="T45" fmla="*/ 93 h 944"/>
                  <a:gd name="T46" fmla="*/ 346 w 1366"/>
                  <a:gd name="T47" fmla="*/ 128 h 944"/>
                  <a:gd name="T48" fmla="*/ 425 w 1366"/>
                  <a:gd name="T49" fmla="*/ 173 h 944"/>
                  <a:gd name="T50" fmla="*/ 473 w 1366"/>
                  <a:gd name="T51" fmla="*/ 196 h 944"/>
                  <a:gd name="T52" fmla="*/ 520 w 1366"/>
                  <a:gd name="T53" fmla="*/ 210 h 944"/>
                  <a:gd name="T54" fmla="*/ 539 w 1366"/>
                  <a:gd name="T55" fmla="*/ 180 h 944"/>
                  <a:gd name="T56" fmla="*/ 534 w 1366"/>
                  <a:gd name="T57" fmla="*/ 169 h 944"/>
                  <a:gd name="T58" fmla="*/ 566 w 1366"/>
                  <a:gd name="T59" fmla="*/ 153 h 944"/>
                  <a:gd name="T60" fmla="*/ 623 w 1366"/>
                  <a:gd name="T61" fmla="*/ 194 h 944"/>
                  <a:gd name="T62" fmla="*/ 698 w 1366"/>
                  <a:gd name="T63" fmla="*/ 191 h 944"/>
                  <a:gd name="T64" fmla="*/ 711 w 1366"/>
                  <a:gd name="T65" fmla="*/ 175 h 944"/>
                  <a:gd name="T66" fmla="*/ 730 w 1366"/>
                  <a:gd name="T67" fmla="*/ 184 h 944"/>
                  <a:gd name="T68" fmla="*/ 752 w 1366"/>
                  <a:gd name="T69" fmla="*/ 132 h 944"/>
                  <a:gd name="T70" fmla="*/ 712 w 1366"/>
                  <a:gd name="T71" fmla="*/ 50 h 944"/>
                  <a:gd name="T72" fmla="*/ 766 w 1366"/>
                  <a:gd name="T73" fmla="*/ 34 h 944"/>
                  <a:gd name="T74" fmla="*/ 777 w 1366"/>
                  <a:gd name="T75" fmla="*/ 112 h 944"/>
                  <a:gd name="T76" fmla="*/ 830 w 1366"/>
                  <a:gd name="T77" fmla="*/ 130 h 944"/>
                  <a:gd name="T78" fmla="*/ 898 w 1366"/>
                  <a:gd name="T79" fmla="*/ 151 h 944"/>
                  <a:gd name="T80" fmla="*/ 939 w 1366"/>
                  <a:gd name="T81" fmla="*/ 130 h 944"/>
                  <a:gd name="T82" fmla="*/ 955 w 1366"/>
                  <a:gd name="T83" fmla="*/ 219 h 944"/>
                  <a:gd name="T84" fmla="*/ 882 w 1366"/>
                  <a:gd name="T85" fmla="*/ 248 h 944"/>
                  <a:gd name="T86" fmla="*/ 864 w 1366"/>
                  <a:gd name="T87" fmla="*/ 298 h 944"/>
                  <a:gd name="T88" fmla="*/ 805 w 1366"/>
                  <a:gd name="T89" fmla="*/ 362 h 944"/>
                  <a:gd name="T90" fmla="*/ 789 w 1366"/>
                  <a:gd name="T91" fmla="*/ 355 h 944"/>
                  <a:gd name="T92" fmla="*/ 759 w 1366"/>
                  <a:gd name="T93" fmla="*/ 416 h 944"/>
                  <a:gd name="T94" fmla="*/ 775 w 1366"/>
                  <a:gd name="T95" fmla="*/ 557 h 944"/>
                  <a:gd name="T96" fmla="*/ 928 w 1366"/>
                  <a:gd name="T97" fmla="*/ 625 h 944"/>
                  <a:gd name="T98" fmla="*/ 980 w 1366"/>
                  <a:gd name="T99" fmla="*/ 723 h 944"/>
                  <a:gd name="T100" fmla="*/ 980 w 1366"/>
                  <a:gd name="T101" fmla="*/ 641 h 944"/>
                  <a:gd name="T102" fmla="*/ 1016 w 1366"/>
                  <a:gd name="T103" fmla="*/ 489 h 944"/>
                  <a:gd name="T104" fmla="*/ 1011 w 1366"/>
                  <a:gd name="T105" fmla="*/ 425 h 944"/>
                  <a:gd name="T106" fmla="*/ 1091 w 1366"/>
                  <a:gd name="T107" fmla="*/ 419 h 944"/>
                  <a:gd name="T108" fmla="*/ 1134 w 1366"/>
                  <a:gd name="T109" fmla="*/ 451 h 944"/>
                  <a:gd name="T110" fmla="*/ 1145 w 1366"/>
                  <a:gd name="T111" fmla="*/ 507 h 944"/>
                  <a:gd name="T112" fmla="*/ 1173 w 1366"/>
                  <a:gd name="T113" fmla="*/ 534 h 944"/>
                  <a:gd name="T114" fmla="*/ 1225 w 1366"/>
                  <a:gd name="T115" fmla="*/ 478 h 944"/>
                  <a:gd name="T116" fmla="*/ 1248 w 1366"/>
                  <a:gd name="T117" fmla="*/ 518 h 944"/>
                  <a:gd name="T118" fmla="*/ 1264 w 1366"/>
                  <a:gd name="T119" fmla="*/ 559 h 944"/>
                  <a:gd name="T120" fmla="*/ 1289 w 1366"/>
                  <a:gd name="T121" fmla="*/ 619 h 944"/>
                  <a:gd name="T122" fmla="*/ 1305 w 1366"/>
                  <a:gd name="T123" fmla="*/ 653 h 944"/>
                  <a:gd name="T124" fmla="*/ 1343 w 1366"/>
                  <a:gd name="T125" fmla="*/ 66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6" h="944">
                    <a:moveTo>
                      <a:pt x="1361" y="700"/>
                    </a:moveTo>
                    <a:lnTo>
                      <a:pt x="1366" y="705"/>
                    </a:lnTo>
                    <a:lnTo>
                      <a:pt x="1361" y="712"/>
                    </a:lnTo>
                    <a:lnTo>
                      <a:pt x="1355" y="716"/>
                    </a:lnTo>
                    <a:lnTo>
                      <a:pt x="1350" y="721"/>
                    </a:lnTo>
                    <a:lnTo>
                      <a:pt x="1346" y="721"/>
                    </a:lnTo>
                    <a:lnTo>
                      <a:pt x="1346" y="723"/>
                    </a:lnTo>
                    <a:lnTo>
                      <a:pt x="1336" y="723"/>
                    </a:lnTo>
                    <a:lnTo>
                      <a:pt x="1321" y="726"/>
                    </a:lnTo>
                    <a:lnTo>
                      <a:pt x="1318" y="728"/>
                    </a:lnTo>
                    <a:lnTo>
                      <a:pt x="1316" y="734"/>
                    </a:lnTo>
                    <a:lnTo>
                      <a:pt x="1314" y="734"/>
                    </a:lnTo>
                    <a:lnTo>
                      <a:pt x="1305" y="746"/>
                    </a:lnTo>
                    <a:lnTo>
                      <a:pt x="1302" y="748"/>
                    </a:lnTo>
                    <a:lnTo>
                      <a:pt x="1298" y="751"/>
                    </a:lnTo>
                    <a:lnTo>
                      <a:pt x="1296" y="753"/>
                    </a:lnTo>
                    <a:lnTo>
                      <a:pt x="1294" y="753"/>
                    </a:lnTo>
                    <a:lnTo>
                      <a:pt x="1293" y="751"/>
                    </a:lnTo>
                    <a:lnTo>
                      <a:pt x="1294" y="748"/>
                    </a:lnTo>
                    <a:lnTo>
                      <a:pt x="1293" y="750"/>
                    </a:lnTo>
                    <a:lnTo>
                      <a:pt x="1291" y="753"/>
                    </a:lnTo>
                    <a:lnTo>
                      <a:pt x="1271" y="757"/>
                    </a:lnTo>
                    <a:lnTo>
                      <a:pt x="1270" y="757"/>
                    </a:lnTo>
                    <a:lnTo>
                      <a:pt x="1270" y="755"/>
                    </a:lnTo>
                    <a:lnTo>
                      <a:pt x="1266" y="753"/>
                    </a:lnTo>
                    <a:lnTo>
                      <a:pt x="1248" y="751"/>
                    </a:lnTo>
                    <a:lnTo>
                      <a:pt x="1243" y="753"/>
                    </a:lnTo>
                    <a:lnTo>
                      <a:pt x="1225" y="751"/>
                    </a:lnTo>
                    <a:lnTo>
                      <a:pt x="1216" y="753"/>
                    </a:lnTo>
                    <a:lnTo>
                      <a:pt x="1211" y="751"/>
                    </a:lnTo>
                    <a:lnTo>
                      <a:pt x="1205" y="753"/>
                    </a:lnTo>
                    <a:lnTo>
                      <a:pt x="1202" y="753"/>
                    </a:lnTo>
                    <a:lnTo>
                      <a:pt x="1200" y="753"/>
                    </a:lnTo>
                    <a:lnTo>
                      <a:pt x="1195" y="753"/>
                    </a:lnTo>
                    <a:lnTo>
                      <a:pt x="1195" y="755"/>
                    </a:lnTo>
                    <a:lnTo>
                      <a:pt x="1193" y="757"/>
                    </a:lnTo>
                    <a:lnTo>
                      <a:pt x="1191" y="755"/>
                    </a:lnTo>
                    <a:lnTo>
                      <a:pt x="1189" y="757"/>
                    </a:lnTo>
                    <a:lnTo>
                      <a:pt x="1187" y="759"/>
                    </a:lnTo>
                    <a:lnTo>
                      <a:pt x="1184" y="764"/>
                    </a:lnTo>
                    <a:lnTo>
                      <a:pt x="1178" y="775"/>
                    </a:lnTo>
                    <a:lnTo>
                      <a:pt x="1178" y="776"/>
                    </a:lnTo>
                    <a:lnTo>
                      <a:pt x="1168" y="776"/>
                    </a:lnTo>
                    <a:lnTo>
                      <a:pt x="1164" y="780"/>
                    </a:lnTo>
                    <a:lnTo>
                      <a:pt x="1162" y="780"/>
                    </a:lnTo>
                    <a:lnTo>
                      <a:pt x="1162" y="782"/>
                    </a:lnTo>
                    <a:lnTo>
                      <a:pt x="1157" y="787"/>
                    </a:lnTo>
                    <a:lnTo>
                      <a:pt x="1153" y="787"/>
                    </a:lnTo>
                    <a:lnTo>
                      <a:pt x="1146" y="801"/>
                    </a:lnTo>
                    <a:lnTo>
                      <a:pt x="1143" y="803"/>
                    </a:lnTo>
                    <a:lnTo>
                      <a:pt x="1139" y="803"/>
                    </a:lnTo>
                    <a:lnTo>
                      <a:pt x="1139" y="809"/>
                    </a:lnTo>
                    <a:lnTo>
                      <a:pt x="1134" y="821"/>
                    </a:lnTo>
                    <a:lnTo>
                      <a:pt x="1132" y="821"/>
                    </a:lnTo>
                    <a:lnTo>
                      <a:pt x="1118" y="835"/>
                    </a:lnTo>
                    <a:lnTo>
                      <a:pt x="1118" y="835"/>
                    </a:lnTo>
                    <a:lnTo>
                      <a:pt x="1121" y="834"/>
                    </a:lnTo>
                    <a:lnTo>
                      <a:pt x="1125" y="832"/>
                    </a:lnTo>
                    <a:lnTo>
                      <a:pt x="1125" y="832"/>
                    </a:lnTo>
                    <a:lnTo>
                      <a:pt x="1127" y="830"/>
                    </a:lnTo>
                    <a:lnTo>
                      <a:pt x="1153" y="798"/>
                    </a:lnTo>
                    <a:lnTo>
                      <a:pt x="1157" y="798"/>
                    </a:lnTo>
                    <a:lnTo>
                      <a:pt x="1159" y="796"/>
                    </a:lnTo>
                    <a:lnTo>
                      <a:pt x="1191" y="780"/>
                    </a:lnTo>
                    <a:lnTo>
                      <a:pt x="1207" y="776"/>
                    </a:lnTo>
                    <a:lnTo>
                      <a:pt x="1216" y="778"/>
                    </a:lnTo>
                    <a:lnTo>
                      <a:pt x="1227" y="784"/>
                    </a:lnTo>
                    <a:lnTo>
                      <a:pt x="1228" y="789"/>
                    </a:lnTo>
                    <a:lnTo>
                      <a:pt x="1227" y="787"/>
                    </a:lnTo>
                    <a:lnTo>
                      <a:pt x="1227" y="789"/>
                    </a:lnTo>
                    <a:lnTo>
                      <a:pt x="1228" y="791"/>
                    </a:lnTo>
                    <a:lnTo>
                      <a:pt x="1228" y="794"/>
                    </a:lnTo>
                    <a:lnTo>
                      <a:pt x="1212" y="807"/>
                    </a:lnTo>
                    <a:lnTo>
                      <a:pt x="1207" y="807"/>
                    </a:lnTo>
                    <a:lnTo>
                      <a:pt x="1203" y="803"/>
                    </a:lnTo>
                    <a:lnTo>
                      <a:pt x="1193" y="807"/>
                    </a:lnTo>
                    <a:lnTo>
                      <a:pt x="1191" y="807"/>
                    </a:lnTo>
                    <a:lnTo>
                      <a:pt x="1195" y="807"/>
                    </a:lnTo>
                    <a:lnTo>
                      <a:pt x="1203" y="810"/>
                    </a:lnTo>
                    <a:lnTo>
                      <a:pt x="1205" y="814"/>
                    </a:lnTo>
                    <a:lnTo>
                      <a:pt x="1205" y="816"/>
                    </a:lnTo>
                    <a:lnTo>
                      <a:pt x="1214" y="810"/>
                    </a:lnTo>
                    <a:lnTo>
                      <a:pt x="1216" y="810"/>
                    </a:lnTo>
                    <a:lnTo>
                      <a:pt x="1216" y="812"/>
                    </a:lnTo>
                    <a:lnTo>
                      <a:pt x="1218" y="812"/>
                    </a:lnTo>
                    <a:lnTo>
                      <a:pt x="1220" y="814"/>
                    </a:lnTo>
                    <a:lnTo>
                      <a:pt x="1220" y="818"/>
                    </a:lnTo>
                    <a:lnTo>
                      <a:pt x="1216" y="825"/>
                    </a:lnTo>
                    <a:lnTo>
                      <a:pt x="1212" y="828"/>
                    </a:lnTo>
                    <a:lnTo>
                      <a:pt x="1212" y="830"/>
                    </a:lnTo>
                    <a:lnTo>
                      <a:pt x="1214" y="828"/>
                    </a:lnTo>
                    <a:lnTo>
                      <a:pt x="1220" y="830"/>
                    </a:lnTo>
                    <a:lnTo>
                      <a:pt x="1218" y="835"/>
                    </a:lnTo>
                    <a:lnTo>
                      <a:pt x="1223" y="846"/>
                    </a:lnTo>
                    <a:lnTo>
                      <a:pt x="1225" y="848"/>
                    </a:lnTo>
                    <a:lnTo>
                      <a:pt x="1225" y="848"/>
                    </a:lnTo>
                    <a:lnTo>
                      <a:pt x="1228" y="850"/>
                    </a:lnTo>
                    <a:lnTo>
                      <a:pt x="1236" y="851"/>
                    </a:lnTo>
                    <a:lnTo>
                      <a:pt x="1236" y="853"/>
                    </a:lnTo>
                    <a:lnTo>
                      <a:pt x="1234" y="855"/>
                    </a:lnTo>
                    <a:lnTo>
                      <a:pt x="1234" y="857"/>
                    </a:lnTo>
                    <a:lnTo>
                      <a:pt x="1252" y="860"/>
                    </a:lnTo>
                    <a:lnTo>
                      <a:pt x="1253" y="862"/>
                    </a:lnTo>
                    <a:lnTo>
                      <a:pt x="1259" y="862"/>
                    </a:lnTo>
                    <a:lnTo>
                      <a:pt x="1264" y="857"/>
                    </a:lnTo>
                    <a:lnTo>
                      <a:pt x="1266" y="860"/>
                    </a:lnTo>
                    <a:lnTo>
                      <a:pt x="1266" y="862"/>
                    </a:lnTo>
                    <a:lnTo>
                      <a:pt x="1268" y="862"/>
                    </a:lnTo>
                    <a:lnTo>
                      <a:pt x="1270" y="862"/>
                    </a:lnTo>
                    <a:lnTo>
                      <a:pt x="1273" y="862"/>
                    </a:lnTo>
                    <a:lnTo>
                      <a:pt x="1277" y="866"/>
                    </a:lnTo>
                    <a:lnTo>
                      <a:pt x="1275" y="868"/>
                    </a:lnTo>
                    <a:lnTo>
                      <a:pt x="1275" y="869"/>
                    </a:lnTo>
                    <a:lnTo>
                      <a:pt x="1278" y="869"/>
                    </a:lnTo>
                    <a:lnTo>
                      <a:pt x="1280" y="871"/>
                    </a:lnTo>
                    <a:lnTo>
                      <a:pt x="1278" y="871"/>
                    </a:lnTo>
                    <a:lnTo>
                      <a:pt x="1275" y="871"/>
                    </a:lnTo>
                    <a:lnTo>
                      <a:pt x="1273" y="873"/>
                    </a:lnTo>
                    <a:lnTo>
                      <a:pt x="1271" y="873"/>
                    </a:lnTo>
                    <a:lnTo>
                      <a:pt x="1259" y="880"/>
                    </a:lnTo>
                    <a:lnTo>
                      <a:pt x="1257" y="880"/>
                    </a:lnTo>
                    <a:lnTo>
                      <a:pt x="1257" y="882"/>
                    </a:lnTo>
                    <a:lnTo>
                      <a:pt x="1253" y="880"/>
                    </a:lnTo>
                    <a:lnTo>
                      <a:pt x="1250" y="884"/>
                    </a:lnTo>
                    <a:lnTo>
                      <a:pt x="1248" y="884"/>
                    </a:lnTo>
                    <a:lnTo>
                      <a:pt x="1246" y="884"/>
                    </a:lnTo>
                    <a:lnTo>
                      <a:pt x="1243" y="885"/>
                    </a:lnTo>
                    <a:lnTo>
                      <a:pt x="1239" y="884"/>
                    </a:lnTo>
                    <a:lnTo>
                      <a:pt x="1239" y="887"/>
                    </a:lnTo>
                    <a:lnTo>
                      <a:pt x="1239" y="889"/>
                    </a:lnTo>
                    <a:lnTo>
                      <a:pt x="1236" y="889"/>
                    </a:lnTo>
                    <a:lnTo>
                      <a:pt x="1234" y="887"/>
                    </a:lnTo>
                    <a:lnTo>
                      <a:pt x="1234" y="885"/>
                    </a:lnTo>
                    <a:lnTo>
                      <a:pt x="1232" y="889"/>
                    </a:lnTo>
                    <a:lnTo>
                      <a:pt x="1230" y="887"/>
                    </a:lnTo>
                    <a:lnTo>
                      <a:pt x="1228" y="889"/>
                    </a:lnTo>
                    <a:lnTo>
                      <a:pt x="1228" y="894"/>
                    </a:lnTo>
                    <a:lnTo>
                      <a:pt x="1225" y="896"/>
                    </a:lnTo>
                    <a:lnTo>
                      <a:pt x="1221" y="901"/>
                    </a:lnTo>
                    <a:lnTo>
                      <a:pt x="1218" y="903"/>
                    </a:lnTo>
                    <a:lnTo>
                      <a:pt x="1216" y="907"/>
                    </a:lnTo>
                    <a:lnTo>
                      <a:pt x="1214" y="907"/>
                    </a:lnTo>
                    <a:lnTo>
                      <a:pt x="1212" y="907"/>
                    </a:lnTo>
                    <a:lnTo>
                      <a:pt x="1211" y="910"/>
                    </a:lnTo>
                    <a:lnTo>
                      <a:pt x="1209" y="912"/>
                    </a:lnTo>
                    <a:lnTo>
                      <a:pt x="1209" y="912"/>
                    </a:lnTo>
                    <a:lnTo>
                      <a:pt x="1205" y="910"/>
                    </a:lnTo>
                    <a:lnTo>
                      <a:pt x="1203" y="907"/>
                    </a:lnTo>
                    <a:lnTo>
                      <a:pt x="1202" y="905"/>
                    </a:lnTo>
                    <a:lnTo>
                      <a:pt x="1200" y="905"/>
                    </a:lnTo>
                    <a:lnTo>
                      <a:pt x="1198" y="896"/>
                    </a:lnTo>
                    <a:lnTo>
                      <a:pt x="1198" y="893"/>
                    </a:lnTo>
                    <a:lnTo>
                      <a:pt x="1202" y="887"/>
                    </a:lnTo>
                    <a:lnTo>
                      <a:pt x="1202" y="889"/>
                    </a:lnTo>
                    <a:lnTo>
                      <a:pt x="1198" y="891"/>
                    </a:lnTo>
                    <a:lnTo>
                      <a:pt x="1198" y="889"/>
                    </a:lnTo>
                    <a:lnTo>
                      <a:pt x="1203" y="885"/>
                    </a:lnTo>
                    <a:lnTo>
                      <a:pt x="1205" y="885"/>
                    </a:lnTo>
                    <a:lnTo>
                      <a:pt x="1209" y="884"/>
                    </a:lnTo>
                    <a:lnTo>
                      <a:pt x="1207" y="882"/>
                    </a:lnTo>
                    <a:lnTo>
                      <a:pt x="1225" y="871"/>
                    </a:lnTo>
                    <a:lnTo>
                      <a:pt x="1227" y="873"/>
                    </a:lnTo>
                    <a:lnTo>
                      <a:pt x="1227" y="875"/>
                    </a:lnTo>
                    <a:lnTo>
                      <a:pt x="1230" y="876"/>
                    </a:lnTo>
                    <a:lnTo>
                      <a:pt x="1232" y="873"/>
                    </a:lnTo>
                    <a:lnTo>
                      <a:pt x="1236" y="871"/>
                    </a:lnTo>
                    <a:lnTo>
                      <a:pt x="1243" y="869"/>
                    </a:lnTo>
                    <a:lnTo>
                      <a:pt x="1243" y="868"/>
                    </a:lnTo>
                    <a:lnTo>
                      <a:pt x="1234" y="869"/>
                    </a:lnTo>
                    <a:lnTo>
                      <a:pt x="1227" y="868"/>
                    </a:lnTo>
                    <a:lnTo>
                      <a:pt x="1223" y="869"/>
                    </a:lnTo>
                    <a:lnTo>
                      <a:pt x="1220" y="869"/>
                    </a:lnTo>
                    <a:lnTo>
                      <a:pt x="1220" y="866"/>
                    </a:lnTo>
                    <a:lnTo>
                      <a:pt x="1227" y="859"/>
                    </a:lnTo>
                    <a:lnTo>
                      <a:pt x="1225" y="859"/>
                    </a:lnTo>
                    <a:lnTo>
                      <a:pt x="1223" y="857"/>
                    </a:lnTo>
                    <a:lnTo>
                      <a:pt x="1221" y="862"/>
                    </a:lnTo>
                    <a:lnTo>
                      <a:pt x="1218" y="862"/>
                    </a:lnTo>
                    <a:lnTo>
                      <a:pt x="1205" y="871"/>
                    </a:lnTo>
                    <a:lnTo>
                      <a:pt x="1202" y="871"/>
                    </a:lnTo>
                    <a:lnTo>
                      <a:pt x="1200" y="871"/>
                    </a:lnTo>
                    <a:lnTo>
                      <a:pt x="1196" y="875"/>
                    </a:lnTo>
                    <a:lnTo>
                      <a:pt x="1187" y="875"/>
                    </a:lnTo>
                    <a:lnTo>
                      <a:pt x="1186" y="875"/>
                    </a:lnTo>
                    <a:lnTo>
                      <a:pt x="1184" y="873"/>
                    </a:lnTo>
                    <a:lnTo>
                      <a:pt x="1182" y="875"/>
                    </a:lnTo>
                    <a:lnTo>
                      <a:pt x="1182" y="875"/>
                    </a:lnTo>
                    <a:lnTo>
                      <a:pt x="1178" y="875"/>
                    </a:lnTo>
                    <a:lnTo>
                      <a:pt x="1177" y="873"/>
                    </a:lnTo>
                    <a:lnTo>
                      <a:pt x="1175" y="869"/>
                    </a:lnTo>
                    <a:lnTo>
                      <a:pt x="1175" y="866"/>
                    </a:lnTo>
                    <a:lnTo>
                      <a:pt x="1171" y="862"/>
                    </a:lnTo>
                    <a:lnTo>
                      <a:pt x="1171" y="832"/>
                    </a:lnTo>
                    <a:lnTo>
                      <a:pt x="1162" y="825"/>
                    </a:lnTo>
                    <a:lnTo>
                      <a:pt x="1161" y="825"/>
                    </a:lnTo>
                    <a:lnTo>
                      <a:pt x="1159" y="826"/>
                    </a:lnTo>
                    <a:lnTo>
                      <a:pt x="1153" y="828"/>
                    </a:lnTo>
                    <a:lnTo>
                      <a:pt x="1150" y="826"/>
                    </a:lnTo>
                    <a:lnTo>
                      <a:pt x="1148" y="825"/>
                    </a:lnTo>
                    <a:lnTo>
                      <a:pt x="1146" y="823"/>
                    </a:lnTo>
                    <a:lnTo>
                      <a:pt x="1145" y="821"/>
                    </a:lnTo>
                    <a:lnTo>
                      <a:pt x="1143" y="823"/>
                    </a:lnTo>
                    <a:lnTo>
                      <a:pt x="1130" y="853"/>
                    </a:lnTo>
                    <a:lnTo>
                      <a:pt x="1128" y="864"/>
                    </a:lnTo>
                    <a:lnTo>
                      <a:pt x="1125" y="868"/>
                    </a:lnTo>
                    <a:lnTo>
                      <a:pt x="1125" y="869"/>
                    </a:lnTo>
                    <a:lnTo>
                      <a:pt x="1127" y="871"/>
                    </a:lnTo>
                    <a:lnTo>
                      <a:pt x="1125" y="871"/>
                    </a:lnTo>
                    <a:lnTo>
                      <a:pt x="1123" y="869"/>
                    </a:lnTo>
                    <a:lnTo>
                      <a:pt x="1123" y="871"/>
                    </a:lnTo>
                    <a:lnTo>
                      <a:pt x="1123" y="873"/>
                    </a:lnTo>
                    <a:lnTo>
                      <a:pt x="1120" y="871"/>
                    </a:lnTo>
                    <a:lnTo>
                      <a:pt x="1116" y="873"/>
                    </a:lnTo>
                    <a:lnTo>
                      <a:pt x="1114" y="873"/>
                    </a:lnTo>
                    <a:lnTo>
                      <a:pt x="1112" y="875"/>
                    </a:lnTo>
                    <a:lnTo>
                      <a:pt x="1111" y="878"/>
                    </a:lnTo>
                    <a:lnTo>
                      <a:pt x="1055" y="878"/>
                    </a:lnTo>
                    <a:lnTo>
                      <a:pt x="1045" y="885"/>
                    </a:lnTo>
                    <a:lnTo>
                      <a:pt x="1045" y="887"/>
                    </a:lnTo>
                    <a:lnTo>
                      <a:pt x="1039" y="893"/>
                    </a:lnTo>
                    <a:lnTo>
                      <a:pt x="1025" y="898"/>
                    </a:lnTo>
                    <a:lnTo>
                      <a:pt x="1023" y="896"/>
                    </a:lnTo>
                    <a:lnTo>
                      <a:pt x="1020" y="896"/>
                    </a:lnTo>
                    <a:lnTo>
                      <a:pt x="1020" y="898"/>
                    </a:lnTo>
                    <a:lnTo>
                      <a:pt x="1021" y="898"/>
                    </a:lnTo>
                    <a:lnTo>
                      <a:pt x="1023" y="901"/>
                    </a:lnTo>
                    <a:lnTo>
                      <a:pt x="1023" y="903"/>
                    </a:lnTo>
                    <a:lnTo>
                      <a:pt x="1021" y="903"/>
                    </a:lnTo>
                    <a:lnTo>
                      <a:pt x="1020" y="901"/>
                    </a:lnTo>
                    <a:lnTo>
                      <a:pt x="1005" y="901"/>
                    </a:lnTo>
                    <a:lnTo>
                      <a:pt x="989" y="905"/>
                    </a:lnTo>
                    <a:lnTo>
                      <a:pt x="978" y="916"/>
                    </a:lnTo>
                    <a:lnTo>
                      <a:pt x="986" y="918"/>
                    </a:lnTo>
                    <a:lnTo>
                      <a:pt x="991" y="918"/>
                    </a:lnTo>
                    <a:lnTo>
                      <a:pt x="995" y="926"/>
                    </a:lnTo>
                    <a:lnTo>
                      <a:pt x="980" y="925"/>
                    </a:lnTo>
                    <a:lnTo>
                      <a:pt x="971" y="928"/>
                    </a:lnTo>
                    <a:lnTo>
                      <a:pt x="966" y="932"/>
                    </a:lnTo>
                    <a:lnTo>
                      <a:pt x="957" y="930"/>
                    </a:lnTo>
                    <a:lnTo>
                      <a:pt x="950" y="932"/>
                    </a:lnTo>
                    <a:lnTo>
                      <a:pt x="950" y="934"/>
                    </a:lnTo>
                    <a:lnTo>
                      <a:pt x="946" y="937"/>
                    </a:lnTo>
                    <a:lnTo>
                      <a:pt x="946" y="937"/>
                    </a:lnTo>
                    <a:lnTo>
                      <a:pt x="943" y="939"/>
                    </a:lnTo>
                    <a:lnTo>
                      <a:pt x="936" y="944"/>
                    </a:lnTo>
                    <a:lnTo>
                      <a:pt x="936" y="944"/>
                    </a:lnTo>
                    <a:lnTo>
                      <a:pt x="932" y="944"/>
                    </a:lnTo>
                    <a:lnTo>
                      <a:pt x="930" y="944"/>
                    </a:lnTo>
                    <a:lnTo>
                      <a:pt x="925" y="944"/>
                    </a:lnTo>
                    <a:lnTo>
                      <a:pt x="925" y="941"/>
                    </a:lnTo>
                    <a:lnTo>
                      <a:pt x="927" y="937"/>
                    </a:lnTo>
                    <a:lnTo>
                      <a:pt x="928" y="935"/>
                    </a:lnTo>
                    <a:lnTo>
                      <a:pt x="928" y="937"/>
                    </a:lnTo>
                    <a:lnTo>
                      <a:pt x="932" y="937"/>
                    </a:lnTo>
                    <a:lnTo>
                      <a:pt x="936" y="937"/>
                    </a:lnTo>
                    <a:lnTo>
                      <a:pt x="936" y="937"/>
                    </a:lnTo>
                    <a:lnTo>
                      <a:pt x="937" y="934"/>
                    </a:lnTo>
                    <a:lnTo>
                      <a:pt x="936" y="934"/>
                    </a:lnTo>
                    <a:lnTo>
                      <a:pt x="936" y="932"/>
                    </a:lnTo>
                    <a:lnTo>
                      <a:pt x="934" y="930"/>
                    </a:lnTo>
                    <a:lnTo>
                      <a:pt x="937" y="921"/>
                    </a:lnTo>
                    <a:lnTo>
                      <a:pt x="939" y="921"/>
                    </a:lnTo>
                    <a:lnTo>
                      <a:pt x="941" y="919"/>
                    </a:lnTo>
                    <a:lnTo>
                      <a:pt x="941" y="918"/>
                    </a:lnTo>
                    <a:lnTo>
                      <a:pt x="945" y="918"/>
                    </a:lnTo>
                    <a:lnTo>
                      <a:pt x="946" y="914"/>
                    </a:lnTo>
                    <a:lnTo>
                      <a:pt x="946" y="896"/>
                    </a:lnTo>
                    <a:lnTo>
                      <a:pt x="953" y="885"/>
                    </a:lnTo>
                    <a:lnTo>
                      <a:pt x="953" y="882"/>
                    </a:lnTo>
                    <a:lnTo>
                      <a:pt x="950" y="875"/>
                    </a:lnTo>
                    <a:lnTo>
                      <a:pt x="950" y="875"/>
                    </a:lnTo>
                    <a:lnTo>
                      <a:pt x="948" y="873"/>
                    </a:lnTo>
                    <a:lnTo>
                      <a:pt x="950" y="871"/>
                    </a:lnTo>
                    <a:lnTo>
                      <a:pt x="953" y="873"/>
                    </a:lnTo>
                    <a:lnTo>
                      <a:pt x="957" y="880"/>
                    </a:lnTo>
                    <a:lnTo>
                      <a:pt x="957" y="880"/>
                    </a:lnTo>
                    <a:lnTo>
                      <a:pt x="959" y="880"/>
                    </a:lnTo>
                    <a:lnTo>
                      <a:pt x="959" y="878"/>
                    </a:lnTo>
                    <a:lnTo>
                      <a:pt x="959" y="882"/>
                    </a:lnTo>
                    <a:lnTo>
                      <a:pt x="961" y="882"/>
                    </a:lnTo>
                    <a:lnTo>
                      <a:pt x="961" y="887"/>
                    </a:lnTo>
                    <a:lnTo>
                      <a:pt x="962" y="884"/>
                    </a:lnTo>
                    <a:lnTo>
                      <a:pt x="964" y="884"/>
                    </a:lnTo>
                    <a:lnTo>
                      <a:pt x="964" y="887"/>
                    </a:lnTo>
                    <a:lnTo>
                      <a:pt x="970" y="889"/>
                    </a:lnTo>
                    <a:lnTo>
                      <a:pt x="975" y="889"/>
                    </a:lnTo>
                    <a:lnTo>
                      <a:pt x="975" y="887"/>
                    </a:lnTo>
                    <a:lnTo>
                      <a:pt x="975" y="885"/>
                    </a:lnTo>
                    <a:lnTo>
                      <a:pt x="973" y="882"/>
                    </a:lnTo>
                    <a:lnTo>
                      <a:pt x="975" y="882"/>
                    </a:lnTo>
                    <a:lnTo>
                      <a:pt x="975" y="880"/>
                    </a:lnTo>
                    <a:lnTo>
                      <a:pt x="977" y="882"/>
                    </a:lnTo>
                    <a:lnTo>
                      <a:pt x="978" y="882"/>
                    </a:lnTo>
                    <a:lnTo>
                      <a:pt x="980" y="882"/>
                    </a:lnTo>
                    <a:lnTo>
                      <a:pt x="980" y="882"/>
                    </a:lnTo>
                    <a:lnTo>
                      <a:pt x="978" y="880"/>
                    </a:lnTo>
                    <a:lnTo>
                      <a:pt x="977" y="878"/>
                    </a:lnTo>
                    <a:lnTo>
                      <a:pt x="975" y="875"/>
                    </a:lnTo>
                    <a:lnTo>
                      <a:pt x="975" y="875"/>
                    </a:lnTo>
                    <a:lnTo>
                      <a:pt x="975" y="871"/>
                    </a:lnTo>
                    <a:lnTo>
                      <a:pt x="975" y="869"/>
                    </a:lnTo>
                    <a:lnTo>
                      <a:pt x="973" y="869"/>
                    </a:lnTo>
                    <a:lnTo>
                      <a:pt x="971" y="869"/>
                    </a:lnTo>
                    <a:lnTo>
                      <a:pt x="970" y="866"/>
                    </a:lnTo>
                    <a:lnTo>
                      <a:pt x="966" y="864"/>
                    </a:lnTo>
                    <a:lnTo>
                      <a:pt x="964" y="859"/>
                    </a:lnTo>
                    <a:lnTo>
                      <a:pt x="953" y="855"/>
                    </a:lnTo>
                    <a:lnTo>
                      <a:pt x="950" y="857"/>
                    </a:lnTo>
                    <a:lnTo>
                      <a:pt x="950" y="855"/>
                    </a:lnTo>
                    <a:lnTo>
                      <a:pt x="950" y="853"/>
                    </a:lnTo>
                    <a:lnTo>
                      <a:pt x="946" y="853"/>
                    </a:lnTo>
                    <a:lnTo>
                      <a:pt x="937" y="853"/>
                    </a:lnTo>
                    <a:lnTo>
                      <a:pt x="936" y="851"/>
                    </a:lnTo>
                    <a:lnTo>
                      <a:pt x="934" y="851"/>
                    </a:lnTo>
                    <a:lnTo>
                      <a:pt x="932" y="851"/>
                    </a:lnTo>
                    <a:lnTo>
                      <a:pt x="930" y="850"/>
                    </a:lnTo>
                    <a:lnTo>
                      <a:pt x="927" y="851"/>
                    </a:lnTo>
                    <a:lnTo>
                      <a:pt x="927" y="851"/>
                    </a:lnTo>
                    <a:lnTo>
                      <a:pt x="914" y="848"/>
                    </a:lnTo>
                    <a:lnTo>
                      <a:pt x="911" y="848"/>
                    </a:lnTo>
                    <a:lnTo>
                      <a:pt x="909" y="848"/>
                    </a:lnTo>
                    <a:lnTo>
                      <a:pt x="909" y="846"/>
                    </a:lnTo>
                    <a:lnTo>
                      <a:pt x="907" y="843"/>
                    </a:lnTo>
                    <a:lnTo>
                      <a:pt x="905" y="841"/>
                    </a:lnTo>
                    <a:lnTo>
                      <a:pt x="905" y="843"/>
                    </a:lnTo>
                    <a:lnTo>
                      <a:pt x="905" y="844"/>
                    </a:lnTo>
                    <a:lnTo>
                      <a:pt x="903" y="844"/>
                    </a:lnTo>
                    <a:lnTo>
                      <a:pt x="903" y="844"/>
                    </a:lnTo>
                    <a:lnTo>
                      <a:pt x="903" y="844"/>
                    </a:lnTo>
                    <a:lnTo>
                      <a:pt x="903" y="843"/>
                    </a:lnTo>
                    <a:lnTo>
                      <a:pt x="903" y="841"/>
                    </a:lnTo>
                    <a:lnTo>
                      <a:pt x="903" y="839"/>
                    </a:lnTo>
                    <a:lnTo>
                      <a:pt x="903" y="839"/>
                    </a:lnTo>
                    <a:lnTo>
                      <a:pt x="902" y="837"/>
                    </a:lnTo>
                    <a:lnTo>
                      <a:pt x="903" y="835"/>
                    </a:lnTo>
                    <a:lnTo>
                      <a:pt x="900" y="834"/>
                    </a:lnTo>
                    <a:lnTo>
                      <a:pt x="900" y="828"/>
                    </a:lnTo>
                    <a:lnTo>
                      <a:pt x="900" y="825"/>
                    </a:lnTo>
                    <a:lnTo>
                      <a:pt x="896" y="819"/>
                    </a:lnTo>
                    <a:lnTo>
                      <a:pt x="895" y="818"/>
                    </a:lnTo>
                    <a:lnTo>
                      <a:pt x="896" y="809"/>
                    </a:lnTo>
                    <a:lnTo>
                      <a:pt x="884" y="810"/>
                    </a:lnTo>
                    <a:lnTo>
                      <a:pt x="880" y="807"/>
                    </a:lnTo>
                    <a:lnTo>
                      <a:pt x="873" y="791"/>
                    </a:lnTo>
                    <a:lnTo>
                      <a:pt x="870" y="791"/>
                    </a:lnTo>
                    <a:lnTo>
                      <a:pt x="866" y="789"/>
                    </a:lnTo>
                    <a:lnTo>
                      <a:pt x="862" y="789"/>
                    </a:lnTo>
                    <a:lnTo>
                      <a:pt x="862" y="801"/>
                    </a:lnTo>
                    <a:lnTo>
                      <a:pt x="857" y="789"/>
                    </a:lnTo>
                    <a:lnTo>
                      <a:pt x="846" y="785"/>
                    </a:lnTo>
                    <a:lnTo>
                      <a:pt x="845" y="785"/>
                    </a:lnTo>
                    <a:lnTo>
                      <a:pt x="845" y="787"/>
                    </a:lnTo>
                    <a:lnTo>
                      <a:pt x="845" y="793"/>
                    </a:lnTo>
                    <a:lnTo>
                      <a:pt x="845" y="793"/>
                    </a:lnTo>
                    <a:lnTo>
                      <a:pt x="841" y="794"/>
                    </a:lnTo>
                    <a:lnTo>
                      <a:pt x="841" y="798"/>
                    </a:lnTo>
                    <a:lnTo>
                      <a:pt x="839" y="798"/>
                    </a:lnTo>
                    <a:lnTo>
                      <a:pt x="839" y="796"/>
                    </a:lnTo>
                    <a:lnTo>
                      <a:pt x="841" y="791"/>
                    </a:lnTo>
                    <a:lnTo>
                      <a:pt x="841" y="789"/>
                    </a:lnTo>
                    <a:lnTo>
                      <a:pt x="836" y="800"/>
                    </a:lnTo>
                    <a:lnTo>
                      <a:pt x="834" y="800"/>
                    </a:lnTo>
                    <a:lnTo>
                      <a:pt x="834" y="798"/>
                    </a:lnTo>
                    <a:lnTo>
                      <a:pt x="834" y="794"/>
                    </a:lnTo>
                    <a:lnTo>
                      <a:pt x="828" y="800"/>
                    </a:lnTo>
                    <a:lnTo>
                      <a:pt x="827" y="803"/>
                    </a:lnTo>
                    <a:lnTo>
                      <a:pt x="827" y="805"/>
                    </a:lnTo>
                    <a:lnTo>
                      <a:pt x="825" y="807"/>
                    </a:lnTo>
                    <a:lnTo>
                      <a:pt x="820" y="809"/>
                    </a:lnTo>
                    <a:lnTo>
                      <a:pt x="818" y="809"/>
                    </a:lnTo>
                    <a:lnTo>
                      <a:pt x="814" y="807"/>
                    </a:lnTo>
                    <a:lnTo>
                      <a:pt x="807" y="807"/>
                    </a:lnTo>
                    <a:lnTo>
                      <a:pt x="802" y="805"/>
                    </a:lnTo>
                    <a:lnTo>
                      <a:pt x="798" y="805"/>
                    </a:lnTo>
                    <a:lnTo>
                      <a:pt x="795" y="807"/>
                    </a:lnTo>
                    <a:lnTo>
                      <a:pt x="793" y="807"/>
                    </a:lnTo>
                    <a:lnTo>
                      <a:pt x="789" y="805"/>
                    </a:lnTo>
                    <a:lnTo>
                      <a:pt x="787" y="803"/>
                    </a:lnTo>
                    <a:lnTo>
                      <a:pt x="777" y="798"/>
                    </a:lnTo>
                    <a:lnTo>
                      <a:pt x="777" y="796"/>
                    </a:lnTo>
                    <a:lnTo>
                      <a:pt x="770" y="794"/>
                    </a:lnTo>
                    <a:lnTo>
                      <a:pt x="762" y="793"/>
                    </a:lnTo>
                    <a:lnTo>
                      <a:pt x="761" y="794"/>
                    </a:lnTo>
                    <a:lnTo>
                      <a:pt x="757" y="794"/>
                    </a:lnTo>
                    <a:lnTo>
                      <a:pt x="755" y="794"/>
                    </a:lnTo>
                    <a:lnTo>
                      <a:pt x="755" y="794"/>
                    </a:lnTo>
                    <a:lnTo>
                      <a:pt x="755" y="793"/>
                    </a:lnTo>
                    <a:lnTo>
                      <a:pt x="750" y="791"/>
                    </a:lnTo>
                    <a:lnTo>
                      <a:pt x="745" y="791"/>
                    </a:lnTo>
                    <a:lnTo>
                      <a:pt x="745" y="791"/>
                    </a:lnTo>
                    <a:lnTo>
                      <a:pt x="743" y="791"/>
                    </a:lnTo>
                    <a:lnTo>
                      <a:pt x="739" y="785"/>
                    </a:lnTo>
                    <a:lnTo>
                      <a:pt x="739" y="784"/>
                    </a:lnTo>
                    <a:lnTo>
                      <a:pt x="736" y="775"/>
                    </a:lnTo>
                    <a:lnTo>
                      <a:pt x="732" y="775"/>
                    </a:lnTo>
                    <a:lnTo>
                      <a:pt x="732" y="785"/>
                    </a:lnTo>
                    <a:lnTo>
                      <a:pt x="291" y="785"/>
                    </a:lnTo>
                    <a:lnTo>
                      <a:pt x="291" y="784"/>
                    </a:lnTo>
                    <a:lnTo>
                      <a:pt x="289" y="782"/>
                    </a:lnTo>
                    <a:lnTo>
                      <a:pt x="287" y="782"/>
                    </a:lnTo>
                    <a:lnTo>
                      <a:pt x="287" y="782"/>
                    </a:lnTo>
                    <a:lnTo>
                      <a:pt x="287" y="780"/>
                    </a:lnTo>
                    <a:lnTo>
                      <a:pt x="291" y="780"/>
                    </a:lnTo>
                    <a:lnTo>
                      <a:pt x="295" y="780"/>
                    </a:lnTo>
                    <a:lnTo>
                      <a:pt x="295" y="778"/>
                    </a:lnTo>
                    <a:lnTo>
                      <a:pt x="293" y="778"/>
                    </a:lnTo>
                    <a:lnTo>
                      <a:pt x="293" y="778"/>
                    </a:lnTo>
                    <a:lnTo>
                      <a:pt x="293" y="776"/>
                    </a:lnTo>
                    <a:lnTo>
                      <a:pt x="289" y="778"/>
                    </a:lnTo>
                    <a:lnTo>
                      <a:pt x="286" y="778"/>
                    </a:lnTo>
                    <a:lnTo>
                      <a:pt x="286" y="776"/>
                    </a:lnTo>
                    <a:lnTo>
                      <a:pt x="286" y="776"/>
                    </a:lnTo>
                    <a:lnTo>
                      <a:pt x="284" y="775"/>
                    </a:lnTo>
                    <a:lnTo>
                      <a:pt x="284" y="775"/>
                    </a:lnTo>
                    <a:lnTo>
                      <a:pt x="286" y="775"/>
                    </a:lnTo>
                    <a:lnTo>
                      <a:pt x="286" y="768"/>
                    </a:lnTo>
                    <a:lnTo>
                      <a:pt x="284" y="766"/>
                    </a:lnTo>
                    <a:lnTo>
                      <a:pt x="284" y="768"/>
                    </a:lnTo>
                    <a:lnTo>
                      <a:pt x="280" y="771"/>
                    </a:lnTo>
                    <a:lnTo>
                      <a:pt x="279" y="773"/>
                    </a:lnTo>
                    <a:lnTo>
                      <a:pt x="279" y="773"/>
                    </a:lnTo>
                    <a:lnTo>
                      <a:pt x="277" y="771"/>
                    </a:lnTo>
                    <a:lnTo>
                      <a:pt x="277" y="769"/>
                    </a:lnTo>
                    <a:lnTo>
                      <a:pt x="279" y="768"/>
                    </a:lnTo>
                    <a:lnTo>
                      <a:pt x="277" y="768"/>
                    </a:lnTo>
                    <a:lnTo>
                      <a:pt x="277" y="766"/>
                    </a:lnTo>
                    <a:lnTo>
                      <a:pt x="275" y="766"/>
                    </a:lnTo>
                    <a:lnTo>
                      <a:pt x="275" y="764"/>
                    </a:lnTo>
                    <a:lnTo>
                      <a:pt x="275" y="762"/>
                    </a:lnTo>
                    <a:lnTo>
                      <a:pt x="273" y="760"/>
                    </a:lnTo>
                    <a:lnTo>
                      <a:pt x="273" y="759"/>
                    </a:lnTo>
                    <a:lnTo>
                      <a:pt x="271" y="759"/>
                    </a:lnTo>
                    <a:lnTo>
                      <a:pt x="273" y="762"/>
                    </a:lnTo>
                    <a:lnTo>
                      <a:pt x="273" y="764"/>
                    </a:lnTo>
                    <a:lnTo>
                      <a:pt x="271" y="760"/>
                    </a:lnTo>
                    <a:lnTo>
                      <a:pt x="270" y="764"/>
                    </a:lnTo>
                    <a:lnTo>
                      <a:pt x="268" y="764"/>
                    </a:lnTo>
                    <a:lnTo>
                      <a:pt x="264" y="764"/>
                    </a:lnTo>
                    <a:lnTo>
                      <a:pt x="261" y="760"/>
                    </a:lnTo>
                    <a:lnTo>
                      <a:pt x="259" y="757"/>
                    </a:lnTo>
                    <a:lnTo>
                      <a:pt x="261" y="755"/>
                    </a:lnTo>
                    <a:lnTo>
                      <a:pt x="262" y="755"/>
                    </a:lnTo>
                    <a:lnTo>
                      <a:pt x="261" y="753"/>
                    </a:lnTo>
                    <a:lnTo>
                      <a:pt x="261" y="751"/>
                    </a:lnTo>
                    <a:lnTo>
                      <a:pt x="261" y="750"/>
                    </a:lnTo>
                    <a:lnTo>
                      <a:pt x="261" y="748"/>
                    </a:lnTo>
                    <a:lnTo>
                      <a:pt x="259" y="750"/>
                    </a:lnTo>
                    <a:lnTo>
                      <a:pt x="257" y="750"/>
                    </a:lnTo>
                    <a:lnTo>
                      <a:pt x="255" y="750"/>
                    </a:lnTo>
                    <a:lnTo>
                      <a:pt x="255" y="746"/>
                    </a:lnTo>
                    <a:lnTo>
                      <a:pt x="255" y="746"/>
                    </a:lnTo>
                    <a:lnTo>
                      <a:pt x="252" y="748"/>
                    </a:lnTo>
                    <a:lnTo>
                      <a:pt x="248" y="746"/>
                    </a:lnTo>
                    <a:lnTo>
                      <a:pt x="246" y="748"/>
                    </a:lnTo>
                    <a:lnTo>
                      <a:pt x="245" y="746"/>
                    </a:lnTo>
                    <a:lnTo>
                      <a:pt x="245" y="748"/>
                    </a:lnTo>
                    <a:lnTo>
                      <a:pt x="243" y="748"/>
                    </a:lnTo>
                    <a:lnTo>
                      <a:pt x="243" y="746"/>
                    </a:lnTo>
                    <a:lnTo>
                      <a:pt x="234" y="746"/>
                    </a:lnTo>
                    <a:lnTo>
                      <a:pt x="232" y="744"/>
                    </a:lnTo>
                    <a:lnTo>
                      <a:pt x="239" y="743"/>
                    </a:lnTo>
                    <a:lnTo>
                      <a:pt x="241" y="743"/>
                    </a:lnTo>
                    <a:lnTo>
                      <a:pt x="237" y="743"/>
                    </a:lnTo>
                    <a:lnTo>
                      <a:pt x="237" y="739"/>
                    </a:lnTo>
                    <a:lnTo>
                      <a:pt x="236" y="737"/>
                    </a:lnTo>
                    <a:lnTo>
                      <a:pt x="234" y="737"/>
                    </a:lnTo>
                    <a:lnTo>
                      <a:pt x="234" y="737"/>
                    </a:lnTo>
                    <a:lnTo>
                      <a:pt x="236" y="737"/>
                    </a:lnTo>
                    <a:lnTo>
                      <a:pt x="237" y="737"/>
                    </a:lnTo>
                    <a:lnTo>
                      <a:pt x="236" y="735"/>
                    </a:lnTo>
                    <a:lnTo>
                      <a:pt x="230" y="734"/>
                    </a:lnTo>
                    <a:lnTo>
                      <a:pt x="229" y="735"/>
                    </a:lnTo>
                    <a:lnTo>
                      <a:pt x="227" y="735"/>
                    </a:lnTo>
                    <a:lnTo>
                      <a:pt x="223" y="735"/>
                    </a:lnTo>
                    <a:lnTo>
                      <a:pt x="221" y="735"/>
                    </a:lnTo>
                    <a:lnTo>
                      <a:pt x="223" y="737"/>
                    </a:lnTo>
                    <a:lnTo>
                      <a:pt x="221" y="737"/>
                    </a:lnTo>
                    <a:lnTo>
                      <a:pt x="214" y="734"/>
                    </a:lnTo>
                    <a:lnTo>
                      <a:pt x="212" y="732"/>
                    </a:lnTo>
                    <a:lnTo>
                      <a:pt x="212" y="730"/>
                    </a:lnTo>
                    <a:lnTo>
                      <a:pt x="212" y="728"/>
                    </a:lnTo>
                    <a:lnTo>
                      <a:pt x="214" y="726"/>
                    </a:lnTo>
                    <a:lnTo>
                      <a:pt x="216" y="726"/>
                    </a:lnTo>
                    <a:lnTo>
                      <a:pt x="218" y="726"/>
                    </a:lnTo>
                    <a:lnTo>
                      <a:pt x="216" y="725"/>
                    </a:lnTo>
                    <a:lnTo>
                      <a:pt x="214" y="725"/>
                    </a:lnTo>
                    <a:lnTo>
                      <a:pt x="212" y="725"/>
                    </a:lnTo>
                    <a:lnTo>
                      <a:pt x="212" y="725"/>
                    </a:lnTo>
                    <a:lnTo>
                      <a:pt x="216" y="723"/>
                    </a:lnTo>
                    <a:lnTo>
                      <a:pt x="218" y="723"/>
                    </a:lnTo>
                    <a:lnTo>
                      <a:pt x="220" y="723"/>
                    </a:lnTo>
                    <a:lnTo>
                      <a:pt x="216" y="721"/>
                    </a:lnTo>
                    <a:lnTo>
                      <a:pt x="216" y="719"/>
                    </a:lnTo>
                    <a:lnTo>
                      <a:pt x="218" y="718"/>
                    </a:lnTo>
                    <a:lnTo>
                      <a:pt x="216" y="716"/>
                    </a:lnTo>
                    <a:lnTo>
                      <a:pt x="212" y="719"/>
                    </a:lnTo>
                    <a:lnTo>
                      <a:pt x="211" y="719"/>
                    </a:lnTo>
                    <a:lnTo>
                      <a:pt x="211" y="719"/>
                    </a:lnTo>
                    <a:lnTo>
                      <a:pt x="211" y="714"/>
                    </a:lnTo>
                    <a:lnTo>
                      <a:pt x="211" y="709"/>
                    </a:lnTo>
                    <a:lnTo>
                      <a:pt x="211" y="709"/>
                    </a:lnTo>
                    <a:lnTo>
                      <a:pt x="209" y="709"/>
                    </a:lnTo>
                    <a:lnTo>
                      <a:pt x="211" y="703"/>
                    </a:lnTo>
                    <a:lnTo>
                      <a:pt x="211" y="701"/>
                    </a:lnTo>
                    <a:lnTo>
                      <a:pt x="209" y="701"/>
                    </a:lnTo>
                    <a:lnTo>
                      <a:pt x="209" y="698"/>
                    </a:lnTo>
                    <a:lnTo>
                      <a:pt x="209" y="698"/>
                    </a:lnTo>
                    <a:lnTo>
                      <a:pt x="205" y="700"/>
                    </a:lnTo>
                    <a:lnTo>
                      <a:pt x="204" y="700"/>
                    </a:lnTo>
                    <a:lnTo>
                      <a:pt x="204" y="698"/>
                    </a:lnTo>
                    <a:lnTo>
                      <a:pt x="204" y="698"/>
                    </a:lnTo>
                    <a:lnTo>
                      <a:pt x="204" y="696"/>
                    </a:lnTo>
                    <a:lnTo>
                      <a:pt x="204" y="694"/>
                    </a:lnTo>
                    <a:lnTo>
                      <a:pt x="202" y="694"/>
                    </a:lnTo>
                    <a:lnTo>
                      <a:pt x="198" y="696"/>
                    </a:lnTo>
                    <a:lnTo>
                      <a:pt x="196" y="694"/>
                    </a:lnTo>
                    <a:lnTo>
                      <a:pt x="195" y="694"/>
                    </a:lnTo>
                    <a:lnTo>
                      <a:pt x="195" y="691"/>
                    </a:lnTo>
                    <a:lnTo>
                      <a:pt x="193" y="689"/>
                    </a:lnTo>
                    <a:lnTo>
                      <a:pt x="191" y="687"/>
                    </a:lnTo>
                    <a:lnTo>
                      <a:pt x="191" y="685"/>
                    </a:lnTo>
                    <a:lnTo>
                      <a:pt x="189" y="682"/>
                    </a:lnTo>
                    <a:lnTo>
                      <a:pt x="191" y="678"/>
                    </a:lnTo>
                    <a:lnTo>
                      <a:pt x="191" y="671"/>
                    </a:lnTo>
                    <a:lnTo>
                      <a:pt x="191" y="671"/>
                    </a:lnTo>
                    <a:lnTo>
                      <a:pt x="189" y="669"/>
                    </a:lnTo>
                    <a:lnTo>
                      <a:pt x="187" y="671"/>
                    </a:lnTo>
                    <a:lnTo>
                      <a:pt x="187" y="671"/>
                    </a:lnTo>
                    <a:lnTo>
                      <a:pt x="187" y="671"/>
                    </a:lnTo>
                    <a:lnTo>
                      <a:pt x="186" y="669"/>
                    </a:lnTo>
                    <a:lnTo>
                      <a:pt x="186" y="669"/>
                    </a:lnTo>
                    <a:lnTo>
                      <a:pt x="175" y="657"/>
                    </a:lnTo>
                    <a:lnTo>
                      <a:pt x="173" y="655"/>
                    </a:lnTo>
                    <a:lnTo>
                      <a:pt x="175" y="653"/>
                    </a:lnTo>
                    <a:lnTo>
                      <a:pt x="175" y="651"/>
                    </a:lnTo>
                    <a:lnTo>
                      <a:pt x="177" y="651"/>
                    </a:lnTo>
                    <a:lnTo>
                      <a:pt x="177" y="650"/>
                    </a:lnTo>
                    <a:lnTo>
                      <a:pt x="173" y="650"/>
                    </a:lnTo>
                    <a:lnTo>
                      <a:pt x="171" y="650"/>
                    </a:lnTo>
                    <a:lnTo>
                      <a:pt x="170" y="646"/>
                    </a:lnTo>
                    <a:lnTo>
                      <a:pt x="168" y="644"/>
                    </a:lnTo>
                    <a:lnTo>
                      <a:pt x="168" y="641"/>
                    </a:lnTo>
                    <a:lnTo>
                      <a:pt x="170" y="637"/>
                    </a:lnTo>
                    <a:lnTo>
                      <a:pt x="171" y="635"/>
                    </a:lnTo>
                    <a:lnTo>
                      <a:pt x="173" y="637"/>
                    </a:lnTo>
                    <a:lnTo>
                      <a:pt x="175" y="637"/>
                    </a:lnTo>
                    <a:lnTo>
                      <a:pt x="173" y="635"/>
                    </a:lnTo>
                    <a:lnTo>
                      <a:pt x="173" y="634"/>
                    </a:lnTo>
                    <a:lnTo>
                      <a:pt x="173" y="630"/>
                    </a:lnTo>
                    <a:lnTo>
                      <a:pt x="175" y="630"/>
                    </a:lnTo>
                    <a:lnTo>
                      <a:pt x="175" y="628"/>
                    </a:lnTo>
                    <a:lnTo>
                      <a:pt x="175" y="626"/>
                    </a:lnTo>
                    <a:lnTo>
                      <a:pt x="173" y="626"/>
                    </a:lnTo>
                    <a:lnTo>
                      <a:pt x="175" y="625"/>
                    </a:lnTo>
                    <a:lnTo>
                      <a:pt x="175" y="625"/>
                    </a:lnTo>
                    <a:lnTo>
                      <a:pt x="175" y="623"/>
                    </a:lnTo>
                    <a:lnTo>
                      <a:pt x="175" y="621"/>
                    </a:lnTo>
                    <a:lnTo>
                      <a:pt x="175" y="616"/>
                    </a:lnTo>
                    <a:lnTo>
                      <a:pt x="175" y="603"/>
                    </a:lnTo>
                    <a:lnTo>
                      <a:pt x="175" y="601"/>
                    </a:lnTo>
                    <a:lnTo>
                      <a:pt x="175" y="601"/>
                    </a:lnTo>
                    <a:lnTo>
                      <a:pt x="173" y="598"/>
                    </a:lnTo>
                    <a:lnTo>
                      <a:pt x="168" y="598"/>
                    </a:lnTo>
                    <a:lnTo>
                      <a:pt x="159" y="589"/>
                    </a:lnTo>
                    <a:lnTo>
                      <a:pt x="148" y="587"/>
                    </a:lnTo>
                    <a:lnTo>
                      <a:pt x="146" y="584"/>
                    </a:lnTo>
                    <a:lnTo>
                      <a:pt x="143" y="580"/>
                    </a:lnTo>
                    <a:lnTo>
                      <a:pt x="141" y="571"/>
                    </a:lnTo>
                    <a:lnTo>
                      <a:pt x="137" y="569"/>
                    </a:lnTo>
                    <a:lnTo>
                      <a:pt x="137" y="568"/>
                    </a:lnTo>
                    <a:lnTo>
                      <a:pt x="137" y="566"/>
                    </a:lnTo>
                    <a:lnTo>
                      <a:pt x="137" y="566"/>
                    </a:lnTo>
                    <a:lnTo>
                      <a:pt x="132" y="559"/>
                    </a:lnTo>
                    <a:lnTo>
                      <a:pt x="130" y="553"/>
                    </a:lnTo>
                    <a:lnTo>
                      <a:pt x="130" y="553"/>
                    </a:lnTo>
                    <a:lnTo>
                      <a:pt x="111" y="518"/>
                    </a:lnTo>
                    <a:lnTo>
                      <a:pt x="105" y="516"/>
                    </a:lnTo>
                    <a:lnTo>
                      <a:pt x="104" y="514"/>
                    </a:lnTo>
                    <a:lnTo>
                      <a:pt x="104" y="512"/>
                    </a:lnTo>
                    <a:lnTo>
                      <a:pt x="104" y="509"/>
                    </a:lnTo>
                    <a:lnTo>
                      <a:pt x="100" y="505"/>
                    </a:lnTo>
                    <a:lnTo>
                      <a:pt x="95" y="496"/>
                    </a:lnTo>
                    <a:lnTo>
                      <a:pt x="93" y="496"/>
                    </a:lnTo>
                    <a:lnTo>
                      <a:pt x="93" y="494"/>
                    </a:lnTo>
                    <a:lnTo>
                      <a:pt x="89" y="489"/>
                    </a:lnTo>
                    <a:lnTo>
                      <a:pt x="88" y="487"/>
                    </a:lnTo>
                    <a:lnTo>
                      <a:pt x="88" y="487"/>
                    </a:lnTo>
                    <a:lnTo>
                      <a:pt x="80" y="493"/>
                    </a:lnTo>
                    <a:lnTo>
                      <a:pt x="75" y="493"/>
                    </a:lnTo>
                    <a:lnTo>
                      <a:pt x="73" y="494"/>
                    </a:lnTo>
                    <a:lnTo>
                      <a:pt x="73" y="498"/>
                    </a:lnTo>
                    <a:lnTo>
                      <a:pt x="71" y="500"/>
                    </a:lnTo>
                    <a:lnTo>
                      <a:pt x="70" y="500"/>
                    </a:lnTo>
                    <a:lnTo>
                      <a:pt x="70" y="501"/>
                    </a:lnTo>
                    <a:lnTo>
                      <a:pt x="70" y="503"/>
                    </a:lnTo>
                    <a:lnTo>
                      <a:pt x="68" y="507"/>
                    </a:lnTo>
                    <a:lnTo>
                      <a:pt x="63" y="509"/>
                    </a:lnTo>
                    <a:lnTo>
                      <a:pt x="59" y="512"/>
                    </a:lnTo>
                    <a:lnTo>
                      <a:pt x="55" y="514"/>
                    </a:lnTo>
                    <a:lnTo>
                      <a:pt x="54" y="512"/>
                    </a:lnTo>
                    <a:lnTo>
                      <a:pt x="54" y="512"/>
                    </a:lnTo>
                    <a:lnTo>
                      <a:pt x="50" y="503"/>
                    </a:lnTo>
                    <a:lnTo>
                      <a:pt x="45" y="500"/>
                    </a:lnTo>
                    <a:lnTo>
                      <a:pt x="50" y="496"/>
                    </a:lnTo>
                    <a:lnTo>
                      <a:pt x="50" y="494"/>
                    </a:lnTo>
                    <a:lnTo>
                      <a:pt x="45" y="491"/>
                    </a:lnTo>
                    <a:lnTo>
                      <a:pt x="48" y="494"/>
                    </a:lnTo>
                    <a:lnTo>
                      <a:pt x="48" y="496"/>
                    </a:lnTo>
                    <a:lnTo>
                      <a:pt x="45" y="494"/>
                    </a:lnTo>
                    <a:lnTo>
                      <a:pt x="43" y="498"/>
                    </a:lnTo>
                    <a:lnTo>
                      <a:pt x="27" y="478"/>
                    </a:lnTo>
                    <a:lnTo>
                      <a:pt x="29" y="478"/>
                    </a:lnTo>
                    <a:lnTo>
                      <a:pt x="29" y="469"/>
                    </a:lnTo>
                    <a:lnTo>
                      <a:pt x="20" y="469"/>
                    </a:lnTo>
                    <a:lnTo>
                      <a:pt x="16" y="475"/>
                    </a:lnTo>
                    <a:lnTo>
                      <a:pt x="14" y="473"/>
                    </a:lnTo>
                    <a:lnTo>
                      <a:pt x="9" y="471"/>
                    </a:lnTo>
                    <a:lnTo>
                      <a:pt x="5" y="473"/>
                    </a:lnTo>
                    <a:lnTo>
                      <a:pt x="0" y="469"/>
                    </a:lnTo>
                    <a:lnTo>
                      <a:pt x="0" y="109"/>
                    </a:lnTo>
                    <a:lnTo>
                      <a:pt x="0" y="110"/>
                    </a:lnTo>
                    <a:lnTo>
                      <a:pt x="5" y="112"/>
                    </a:lnTo>
                    <a:lnTo>
                      <a:pt x="20" y="112"/>
                    </a:lnTo>
                    <a:lnTo>
                      <a:pt x="21" y="116"/>
                    </a:lnTo>
                    <a:lnTo>
                      <a:pt x="27" y="116"/>
                    </a:lnTo>
                    <a:lnTo>
                      <a:pt x="38" y="132"/>
                    </a:lnTo>
                    <a:lnTo>
                      <a:pt x="39" y="132"/>
                    </a:lnTo>
                    <a:lnTo>
                      <a:pt x="41" y="132"/>
                    </a:lnTo>
                    <a:lnTo>
                      <a:pt x="41" y="130"/>
                    </a:lnTo>
                    <a:lnTo>
                      <a:pt x="43" y="134"/>
                    </a:lnTo>
                    <a:lnTo>
                      <a:pt x="48" y="139"/>
                    </a:lnTo>
                    <a:lnTo>
                      <a:pt x="52" y="141"/>
                    </a:lnTo>
                    <a:lnTo>
                      <a:pt x="55" y="144"/>
                    </a:lnTo>
                    <a:lnTo>
                      <a:pt x="57" y="144"/>
                    </a:lnTo>
                    <a:lnTo>
                      <a:pt x="61" y="144"/>
                    </a:lnTo>
                    <a:lnTo>
                      <a:pt x="66" y="148"/>
                    </a:lnTo>
                    <a:lnTo>
                      <a:pt x="68" y="148"/>
                    </a:lnTo>
                    <a:lnTo>
                      <a:pt x="70" y="146"/>
                    </a:lnTo>
                    <a:lnTo>
                      <a:pt x="71" y="148"/>
                    </a:lnTo>
                    <a:lnTo>
                      <a:pt x="71" y="146"/>
                    </a:lnTo>
                    <a:lnTo>
                      <a:pt x="70" y="144"/>
                    </a:lnTo>
                    <a:lnTo>
                      <a:pt x="77" y="146"/>
                    </a:lnTo>
                    <a:lnTo>
                      <a:pt x="79" y="148"/>
                    </a:lnTo>
                    <a:lnTo>
                      <a:pt x="80" y="148"/>
                    </a:lnTo>
                    <a:lnTo>
                      <a:pt x="89" y="157"/>
                    </a:lnTo>
                    <a:lnTo>
                      <a:pt x="91" y="157"/>
                    </a:lnTo>
                    <a:lnTo>
                      <a:pt x="93" y="157"/>
                    </a:lnTo>
                    <a:lnTo>
                      <a:pt x="93" y="155"/>
                    </a:lnTo>
                    <a:lnTo>
                      <a:pt x="89" y="151"/>
                    </a:lnTo>
                    <a:lnTo>
                      <a:pt x="88" y="148"/>
                    </a:lnTo>
                    <a:lnTo>
                      <a:pt x="88" y="146"/>
                    </a:lnTo>
                    <a:lnTo>
                      <a:pt x="89" y="146"/>
                    </a:lnTo>
                    <a:lnTo>
                      <a:pt x="93" y="148"/>
                    </a:lnTo>
                    <a:lnTo>
                      <a:pt x="96" y="148"/>
                    </a:lnTo>
                    <a:lnTo>
                      <a:pt x="98" y="148"/>
                    </a:lnTo>
                    <a:lnTo>
                      <a:pt x="100" y="150"/>
                    </a:lnTo>
                    <a:lnTo>
                      <a:pt x="102" y="153"/>
                    </a:lnTo>
                    <a:lnTo>
                      <a:pt x="102" y="155"/>
                    </a:lnTo>
                    <a:lnTo>
                      <a:pt x="107" y="160"/>
                    </a:lnTo>
                    <a:lnTo>
                      <a:pt x="107" y="162"/>
                    </a:lnTo>
                    <a:lnTo>
                      <a:pt x="109" y="159"/>
                    </a:lnTo>
                    <a:lnTo>
                      <a:pt x="109" y="155"/>
                    </a:lnTo>
                    <a:lnTo>
                      <a:pt x="102" y="141"/>
                    </a:lnTo>
                    <a:lnTo>
                      <a:pt x="102" y="139"/>
                    </a:lnTo>
                    <a:lnTo>
                      <a:pt x="104" y="137"/>
                    </a:lnTo>
                    <a:lnTo>
                      <a:pt x="107" y="134"/>
                    </a:lnTo>
                    <a:lnTo>
                      <a:pt x="111" y="130"/>
                    </a:lnTo>
                    <a:lnTo>
                      <a:pt x="113" y="126"/>
                    </a:lnTo>
                    <a:lnTo>
                      <a:pt x="114" y="128"/>
                    </a:lnTo>
                    <a:lnTo>
                      <a:pt x="116" y="126"/>
                    </a:lnTo>
                    <a:lnTo>
                      <a:pt x="123" y="125"/>
                    </a:lnTo>
                    <a:lnTo>
                      <a:pt x="125" y="123"/>
                    </a:lnTo>
                    <a:lnTo>
                      <a:pt x="127" y="121"/>
                    </a:lnTo>
                    <a:lnTo>
                      <a:pt x="127" y="114"/>
                    </a:lnTo>
                    <a:lnTo>
                      <a:pt x="130" y="112"/>
                    </a:lnTo>
                    <a:lnTo>
                      <a:pt x="130" y="114"/>
                    </a:lnTo>
                    <a:lnTo>
                      <a:pt x="132" y="114"/>
                    </a:lnTo>
                    <a:lnTo>
                      <a:pt x="132" y="110"/>
                    </a:lnTo>
                    <a:lnTo>
                      <a:pt x="134" y="109"/>
                    </a:lnTo>
                    <a:lnTo>
                      <a:pt x="136" y="109"/>
                    </a:lnTo>
                    <a:lnTo>
                      <a:pt x="136" y="110"/>
                    </a:lnTo>
                    <a:lnTo>
                      <a:pt x="141" y="110"/>
                    </a:lnTo>
                    <a:lnTo>
                      <a:pt x="143" y="109"/>
                    </a:lnTo>
                    <a:lnTo>
                      <a:pt x="143" y="107"/>
                    </a:lnTo>
                    <a:lnTo>
                      <a:pt x="145" y="107"/>
                    </a:lnTo>
                    <a:lnTo>
                      <a:pt x="152" y="101"/>
                    </a:lnTo>
                    <a:lnTo>
                      <a:pt x="152" y="100"/>
                    </a:lnTo>
                    <a:lnTo>
                      <a:pt x="157" y="101"/>
                    </a:lnTo>
                    <a:lnTo>
                      <a:pt x="159" y="98"/>
                    </a:lnTo>
                    <a:lnTo>
                      <a:pt x="161" y="94"/>
                    </a:lnTo>
                    <a:lnTo>
                      <a:pt x="161" y="93"/>
                    </a:lnTo>
                    <a:lnTo>
                      <a:pt x="164" y="91"/>
                    </a:lnTo>
                    <a:lnTo>
                      <a:pt x="166" y="89"/>
                    </a:lnTo>
                    <a:lnTo>
                      <a:pt x="170" y="91"/>
                    </a:lnTo>
                    <a:lnTo>
                      <a:pt x="171" y="91"/>
                    </a:lnTo>
                    <a:lnTo>
                      <a:pt x="173" y="93"/>
                    </a:lnTo>
                    <a:lnTo>
                      <a:pt x="177" y="93"/>
                    </a:lnTo>
                    <a:lnTo>
                      <a:pt x="177" y="89"/>
                    </a:lnTo>
                    <a:lnTo>
                      <a:pt x="179" y="87"/>
                    </a:lnTo>
                    <a:lnTo>
                      <a:pt x="180" y="85"/>
                    </a:lnTo>
                    <a:lnTo>
                      <a:pt x="180" y="87"/>
                    </a:lnTo>
                    <a:lnTo>
                      <a:pt x="182" y="89"/>
                    </a:lnTo>
                    <a:lnTo>
                      <a:pt x="184" y="93"/>
                    </a:lnTo>
                    <a:lnTo>
                      <a:pt x="182" y="94"/>
                    </a:lnTo>
                    <a:lnTo>
                      <a:pt x="180" y="98"/>
                    </a:lnTo>
                    <a:lnTo>
                      <a:pt x="170" y="105"/>
                    </a:lnTo>
                    <a:lnTo>
                      <a:pt x="166" y="109"/>
                    </a:lnTo>
                    <a:lnTo>
                      <a:pt x="164" y="110"/>
                    </a:lnTo>
                    <a:lnTo>
                      <a:pt x="159" y="118"/>
                    </a:lnTo>
                    <a:lnTo>
                      <a:pt x="155" y="116"/>
                    </a:lnTo>
                    <a:lnTo>
                      <a:pt x="145" y="118"/>
                    </a:lnTo>
                    <a:lnTo>
                      <a:pt x="141" y="121"/>
                    </a:lnTo>
                    <a:lnTo>
                      <a:pt x="141" y="125"/>
                    </a:lnTo>
                    <a:lnTo>
                      <a:pt x="143" y="123"/>
                    </a:lnTo>
                    <a:lnTo>
                      <a:pt x="137" y="128"/>
                    </a:lnTo>
                    <a:lnTo>
                      <a:pt x="137" y="130"/>
                    </a:lnTo>
                    <a:lnTo>
                      <a:pt x="136" y="130"/>
                    </a:lnTo>
                    <a:lnTo>
                      <a:pt x="134" y="135"/>
                    </a:lnTo>
                    <a:lnTo>
                      <a:pt x="132" y="132"/>
                    </a:lnTo>
                    <a:lnTo>
                      <a:pt x="132" y="132"/>
                    </a:lnTo>
                    <a:lnTo>
                      <a:pt x="129" y="137"/>
                    </a:lnTo>
                    <a:lnTo>
                      <a:pt x="129" y="139"/>
                    </a:lnTo>
                    <a:lnTo>
                      <a:pt x="130" y="139"/>
                    </a:lnTo>
                    <a:lnTo>
                      <a:pt x="132" y="137"/>
                    </a:lnTo>
                    <a:lnTo>
                      <a:pt x="141" y="134"/>
                    </a:lnTo>
                    <a:lnTo>
                      <a:pt x="146" y="126"/>
                    </a:lnTo>
                    <a:lnTo>
                      <a:pt x="146" y="126"/>
                    </a:lnTo>
                    <a:lnTo>
                      <a:pt x="145" y="125"/>
                    </a:lnTo>
                    <a:lnTo>
                      <a:pt x="148" y="123"/>
                    </a:lnTo>
                    <a:lnTo>
                      <a:pt x="150" y="123"/>
                    </a:lnTo>
                    <a:lnTo>
                      <a:pt x="150" y="126"/>
                    </a:lnTo>
                    <a:lnTo>
                      <a:pt x="152" y="123"/>
                    </a:lnTo>
                    <a:lnTo>
                      <a:pt x="154" y="126"/>
                    </a:lnTo>
                    <a:lnTo>
                      <a:pt x="155" y="121"/>
                    </a:lnTo>
                    <a:lnTo>
                      <a:pt x="157" y="121"/>
                    </a:lnTo>
                    <a:lnTo>
                      <a:pt x="159" y="123"/>
                    </a:lnTo>
                    <a:lnTo>
                      <a:pt x="159" y="134"/>
                    </a:lnTo>
                    <a:lnTo>
                      <a:pt x="168" y="114"/>
                    </a:lnTo>
                    <a:lnTo>
                      <a:pt x="170" y="110"/>
                    </a:lnTo>
                    <a:lnTo>
                      <a:pt x="177" y="109"/>
                    </a:lnTo>
                    <a:lnTo>
                      <a:pt x="179" y="105"/>
                    </a:lnTo>
                    <a:lnTo>
                      <a:pt x="187" y="103"/>
                    </a:lnTo>
                    <a:lnTo>
                      <a:pt x="193" y="98"/>
                    </a:lnTo>
                    <a:lnTo>
                      <a:pt x="193" y="103"/>
                    </a:lnTo>
                    <a:lnTo>
                      <a:pt x="191" y="103"/>
                    </a:lnTo>
                    <a:lnTo>
                      <a:pt x="187" y="110"/>
                    </a:lnTo>
                    <a:lnTo>
                      <a:pt x="195" y="105"/>
                    </a:lnTo>
                    <a:lnTo>
                      <a:pt x="202" y="100"/>
                    </a:lnTo>
                    <a:lnTo>
                      <a:pt x="202" y="94"/>
                    </a:lnTo>
                    <a:lnTo>
                      <a:pt x="202" y="93"/>
                    </a:lnTo>
                    <a:lnTo>
                      <a:pt x="204" y="91"/>
                    </a:lnTo>
                    <a:lnTo>
                      <a:pt x="211" y="87"/>
                    </a:lnTo>
                    <a:lnTo>
                      <a:pt x="212" y="85"/>
                    </a:lnTo>
                    <a:lnTo>
                      <a:pt x="207" y="84"/>
                    </a:lnTo>
                    <a:lnTo>
                      <a:pt x="205" y="82"/>
                    </a:lnTo>
                    <a:lnTo>
                      <a:pt x="207" y="82"/>
                    </a:lnTo>
                    <a:lnTo>
                      <a:pt x="207" y="78"/>
                    </a:lnTo>
                    <a:lnTo>
                      <a:pt x="205" y="76"/>
                    </a:lnTo>
                    <a:lnTo>
                      <a:pt x="204" y="78"/>
                    </a:lnTo>
                    <a:lnTo>
                      <a:pt x="204" y="75"/>
                    </a:lnTo>
                    <a:lnTo>
                      <a:pt x="205" y="73"/>
                    </a:lnTo>
                    <a:lnTo>
                      <a:pt x="205" y="71"/>
                    </a:lnTo>
                    <a:lnTo>
                      <a:pt x="209" y="73"/>
                    </a:lnTo>
                    <a:lnTo>
                      <a:pt x="220" y="87"/>
                    </a:lnTo>
                    <a:lnTo>
                      <a:pt x="221" y="94"/>
                    </a:lnTo>
                    <a:lnTo>
                      <a:pt x="229" y="114"/>
                    </a:lnTo>
                    <a:lnTo>
                      <a:pt x="232" y="116"/>
                    </a:lnTo>
                    <a:lnTo>
                      <a:pt x="234" y="119"/>
                    </a:lnTo>
                    <a:lnTo>
                      <a:pt x="234" y="119"/>
                    </a:lnTo>
                    <a:lnTo>
                      <a:pt x="239" y="125"/>
                    </a:lnTo>
                    <a:lnTo>
                      <a:pt x="241" y="126"/>
                    </a:lnTo>
                    <a:lnTo>
                      <a:pt x="248" y="126"/>
                    </a:lnTo>
                    <a:lnTo>
                      <a:pt x="248" y="125"/>
                    </a:lnTo>
                    <a:lnTo>
                      <a:pt x="248" y="125"/>
                    </a:lnTo>
                    <a:lnTo>
                      <a:pt x="252" y="125"/>
                    </a:lnTo>
                    <a:lnTo>
                      <a:pt x="252" y="123"/>
                    </a:lnTo>
                    <a:lnTo>
                      <a:pt x="250" y="121"/>
                    </a:lnTo>
                    <a:lnTo>
                      <a:pt x="245" y="123"/>
                    </a:lnTo>
                    <a:lnTo>
                      <a:pt x="245" y="119"/>
                    </a:lnTo>
                    <a:lnTo>
                      <a:pt x="250" y="119"/>
                    </a:lnTo>
                    <a:lnTo>
                      <a:pt x="252" y="118"/>
                    </a:lnTo>
                    <a:lnTo>
                      <a:pt x="250" y="118"/>
                    </a:lnTo>
                    <a:lnTo>
                      <a:pt x="248" y="114"/>
                    </a:lnTo>
                    <a:lnTo>
                      <a:pt x="250" y="112"/>
                    </a:lnTo>
                    <a:lnTo>
                      <a:pt x="254" y="110"/>
                    </a:lnTo>
                    <a:lnTo>
                      <a:pt x="254" y="109"/>
                    </a:lnTo>
                    <a:lnTo>
                      <a:pt x="252" y="107"/>
                    </a:lnTo>
                    <a:lnTo>
                      <a:pt x="252" y="103"/>
                    </a:lnTo>
                    <a:lnTo>
                      <a:pt x="252" y="107"/>
                    </a:lnTo>
                    <a:lnTo>
                      <a:pt x="257" y="100"/>
                    </a:lnTo>
                    <a:lnTo>
                      <a:pt x="257" y="96"/>
                    </a:lnTo>
                    <a:lnTo>
                      <a:pt x="257" y="96"/>
                    </a:lnTo>
                    <a:lnTo>
                      <a:pt x="255" y="98"/>
                    </a:lnTo>
                    <a:lnTo>
                      <a:pt x="254" y="100"/>
                    </a:lnTo>
                    <a:lnTo>
                      <a:pt x="252" y="100"/>
                    </a:lnTo>
                    <a:lnTo>
                      <a:pt x="252" y="96"/>
                    </a:lnTo>
                    <a:lnTo>
                      <a:pt x="254" y="94"/>
                    </a:lnTo>
                    <a:lnTo>
                      <a:pt x="255" y="94"/>
                    </a:lnTo>
                    <a:lnTo>
                      <a:pt x="259" y="94"/>
                    </a:lnTo>
                    <a:lnTo>
                      <a:pt x="259" y="94"/>
                    </a:lnTo>
                    <a:lnTo>
                      <a:pt x="261" y="98"/>
                    </a:lnTo>
                    <a:lnTo>
                      <a:pt x="262" y="96"/>
                    </a:lnTo>
                    <a:lnTo>
                      <a:pt x="264" y="96"/>
                    </a:lnTo>
                    <a:lnTo>
                      <a:pt x="264" y="93"/>
                    </a:lnTo>
                    <a:lnTo>
                      <a:pt x="261" y="93"/>
                    </a:lnTo>
                    <a:lnTo>
                      <a:pt x="259" y="91"/>
                    </a:lnTo>
                    <a:lnTo>
                      <a:pt x="264" y="91"/>
                    </a:lnTo>
                    <a:lnTo>
                      <a:pt x="264" y="93"/>
                    </a:lnTo>
                    <a:lnTo>
                      <a:pt x="264" y="94"/>
                    </a:lnTo>
                    <a:lnTo>
                      <a:pt x="264" y="105"/>
                    </a:lnTo>
                    <a:lnTo>
                      <a:pt x="262" y="107"/>
                    </a:lnTo>
                    <a:lnTo>
                      <a:pt x="264" y="110"/>
                    </a:lnTo>
                    <a:lnTo>
                      <a:pt x="266" y="110"/>
                    </a:lnTo>
                    <a:lnTo>
                      <a:pt x="268" y="109"/>
                    </a:lnTo>
                    <a:lnTo>
                      <a:pt x="271" y="110"/>
                    </a:lnTo>
                    <a:lnTo>
                      <a:pt x="264" y="125"/>
                    </a:lnTo>
                    <a:lnTo>
                      <a:pt x="262" y="121"/>
                    </a:lnTo>
                    <a:lnTo>
                      <a:pt x="262" y="125"/>
                    </a:lnTo>
                    <a:lnTo>
                      <a:pt x="262" y="126"/>
                    </a:lnTo>
                    <a:lnTo>
                      <a:pt x="270" y="126"/>
                    </a:lnTo>
                    <a:lnTo>
                      <a:pt x="271" y="125"/>
                    </a:lnTo>
                    <a:lnTo>
                      <a:pt x="273" y="126"/>
                    </a:lnTo>
                    <a:lnTo>
                      <a:pt x="277" y="126"/>
                    </a:lnTo>
                    <a:lnTo>
                      <a:pt x="280" y="125"/>
                    </a:lnTo>
                    <a:lnTo>
                      <a:pt x="280" y="121"/>
                    </a:lnTo>
                    <a:lnTo>
                      <a:pt x="284" y="119"/>
                    </a:lnTo>
                    <a:lnTo>
                      <a:pt x="286" y="105"/>
                    </a:lnTo>
                    <a:lnTo>
                      <a:pt x="287" y="105"/>
                    </a:lnTo>
                    <a:lnTo>
                      <a:pt x="293" y="103"/>
                    </a:lnTo>
                    <a:lnTo>
                      <a:pt x="296" y="105"/>
                    </a:lnTo>
                    <a:lnTo>
                      <a:pt x="300" y="105"/>
                    </a:lnTo>
                    <a:lnTo>
                      <a:pt x="300" y="107"/>
                    </a:lnTo>
                    <a:lnTo>
                      <a:pt x="307" y="105"/>
                    </a:lnTo>
                    <a:lnTo>
                      <a:pt x="312" y="107"/>
                    </a:lnTo>
                    <a:lnTo>
                      <a:pt x="323" y="114"/>
                    </a:lnTo>
                    <a:lnTo>
                      <a:pt x="329" y="123"/>
                    </a:lnTo>
                    <a:lnTo>
                      <a:pt x="334" y="125"/>
                    </a:lnTo>
                    <a:lnTo>
                      <a:pt x="339" y="126"/>
                    </a:lnTo>
                    <a:lnTo>
                      <a:pt x="343" y="128"/>
                    </a:lnTo>
                    <a:lnTo>
                      <a:pt x="346" y="128"/>
                    </a:lnTo>
                    <a:lnTo>
                      <a:pt x="352" y="130"/>
                    </a:lnTo>
                    <a:lnTo>
                      <a:pt x="354" y="130"/>
                    </a:lnTo>
                    <a:lnTo>
                      <a:pt x="355" y="132"/>
                    </a:lnTo>
                    <a:lnTo>
                      <a:pt x="357" y="135"/>
                    </a:lnTo>
                    <a:lnTo>
                      <a:pt x="373" y="144"/>
                    </a:lnTo>
                    <a:lnTo>
                      <a:pt x="379" y="144"/>
                    </a:lnTo>
                    <a:lnTo>
                      <a:pt x="380" y="146"/>
                    </a:lnTo>
                    <a:lnTo>
                      <a:pt x="384" y="146"/>
                    </a:lnTo>
                    <a:lnTo>
                      <a:pt x="384" y="144"/>
                    </a:lnTo>
                    <a:lnTo>
                      <a:pt x="393" y="146"/>
                    </a:lnTo>
                    <a:lnTo>
                      <a:pt x="396" y="146"/>
                    </a:lnTo>
                    <a:lnTo>
                      <a:pt x="400" y="150"/>
                    </a:lnTo>
                    <a:lnTo>
                      <a:pt x="400" y="148"/>
                    </a:lnTo>
                    <a:lnTo>
                      <a:pt x="395" y="143"/>
                    </a:lnTo>
                    <a:lnTo>
                      <a:pt x="398" y="143"/>
                    </a:lnTo>
                    <a:lnTo>
                      <a:pt x="400" y="144"/>
                    </a:lnTo>
                    <a:lnTo>
                      <a:pt x="404" y="144"/>
                    </a:lnTo>
                    <a:lnTo>
                      <a:pt x="404" y="143"/>
                    </a:lnTo>
                    <a:lnTo>
                      <a:pt x="411" y="144"/>
                    </a:lnTo>
                    <a:lnTo>
                      <a:pt x="411" y="144"/>
                    </a:lnTo>
                    <a:lnTo>
                      <a:pt x="414" y="148"/>
                    </a:lnTo>
                    <a:lnTo>
                      <a:pt x="414" y="150"/>
                    </a:lnTo>
                    <a:lnTo>
                      <a:pt x="418" y="148"/>
                    </a:lnTo>
                    <a:lnTo>
                      <a:pt x="418" y="151"/>
                    </a:lnTo>
                    <a:lnTo>
                      <a:pt x="423" y="155"/>
                    </a:lnTo>
                    <a:lnTo>
                      <a:pt x="429" y="162"/>
                    </a:lnTo>
                    <a:lnTo>
                      <a:pt x="429" y="168"/>
                    </a:lnTo>
                    <a:lnTo>
                      <a:pt x="430" y="166"/>
                    </a:lnTo>
                    <a:lnTo>
                      <a:pt x="430" y="169"/>
                    </a:lnTo>
                    <a:lnTo>
                      <a:pt x="430" y="171"/>
                    </a:lnTo>
                    <a:lnTo>
                      <a:pt x="430" y="173"/>
                    </a:lnTo>
                    <a:lnTo>
                      <a:pt x="429" y="173"/>
                    </a:lnTo>
                    <a:lnTo>
                      <a:pt x="427" y="175"/>
                    </a:lnTo>
                    <a:lnTo>
                      <a:pt x="425" y="175"/>
                    </a:lnTo>
                    <a:lnTo>
                      <a:pt x="425" y="173"/>
                    </a:lnTo>
                    <a:lnTo>
                      <a:pt x="420" y="175"/>
                    </a:lnTo>
                    <a:lnTo>
                      <a:pt x="414" y="173"/>
                    </a:lnTo>
                    <a:lnTo>
                      <a:pt x="418" y="175"/>
                    </a:lnTo>
                    <a:lnTo>
                      <a:pt x="416" y="178"/>
                    </a:lnTo>
                    <a:lnTo>
                      <a:pt x="411" y="176"/>
                    </a:lnTo>
                    <a:lnTo>
                      <a:pt x="411" y="178"/>
                    </a:lnTo>
                    <a:lnTo>
                      <a:pt x="411" y="180"/>
                    </a:lnTo>
                    <a:lnTo>
                      <a:pt x="411" y="184"/>
                    </a:lnTo>
                    <a:lnTo>
                      <a:pt x="405" y="187"/>
                    </a:lnTo>
                    <a:lnTo>
                      <a:pt x="407" y="189"/>
                    </a:lnTo>
                    <a:lnTo>
                      <a:pt x="409" y="189"/>
                    </a:lnTo>
                    <a:lnTo>
                      <a:pt x="411" y="189"/>
                    </a:lnTo>
                    <a:lnTo>
                      <a:pt x="409" y="191"/>
                    </a:lnTo>
                    <a:lnTo>
                      <a:pt x="420" y="194"/>
                    </a:lnTo>
                    <a:lnTo>
                      <a:pt x="421" y="193"/>
                    </a:lnTo>
                    <a:lnTo>
                      <a:pt x="423" y="194"/>
                    </a:lnTo>
                    <a:lnTo>
                      <a:pt x="425" y="196"/>
                    </a:lnTo>
                    <a:lnTo>
                      <a:pt x="429" y="194"/>
                    </a:lnTo>
                    <a:lnTo>
                      <a:pt x="432" y="196"/>
                    </a:lnTo>
                    <a:lnTo>
                      <a:pt x="437" y="196"/>
                    </a:lnTo>
                    <a:lnTo>
                      <a:pt x="441" y="198"/>
                    </a:lnTo>
                    <a:lnTo>
                      <a:pt x="446" y="196"/>
                    </a:lnTo>
                    <a:lnTo>
                      <a:pt x="446" y="196"/>
                    </a:lnTo>
                    <a:lnTo>
                      <a:pt x="450" y="198"/>
                    </a:lnTo>
                    <a:lnTo>
                      <a:pt x="457" y="198"/>
                    </a:lnTo>
                    <a:lnTo>
                      <a:pt x="459" y="194"/>
                    </a:lnTo>
                    <a:lnTo>
                      <a:pt x="464" y="194"/>
                    </a:lnTo>
                    <a:lnTo>
                      <a:pt x="462" y="198"/>
                    </a:lnTo>
                    <a:lnTo>
                      <a:pt x="466" y="198"/>
                    </a:lnTo>
                    <a:lnTo>
                      <a:pt x="464" y="196"/>
                    </a:lnTo>
                    <a:lnTo>
                      <a:pt x="466" y="194"/>
                    </a:lnTo>
                    <a:lnTo>
                      <a:pt x="468" y="196"/>
                    </a:lnTo>
                    <a:lnTo>
                      <a:pt x="470" y="196"/>
                    </a:lnTo>
                    <a:lnTo>
                      <a:pt x="471" y="194"/>
                    </a:lnTo>
                    <a:lnTo>
                      <a:pt x="473" y="196"/>
                    </a:lnTo>
                    <a:lnTo>
                      <a:pt x="475" y="191"/>
                    </a:lnTo>
                    <a:lnTo>
                      <a:pt x="477" y="189"/>
                    </a:lnTo>
                    <a:lnTo>
                      <a:pt x="477" y="194"/>
                    </a:lnTo>
                    <a:lnTo>
                      <a:pt x="480" y="194"/>
                    </a:lnTo>
                    <a:lnTo>
                      <a:pt x="482" y="194"/>
                    </a:lnTo>
                    <a:lnTo>
                      <a:pt x="486" y="189"/>
                    </a:lnTo>
                    <a:lnTo>
                      <a:pt x="489" y="185"/>
                    </a:lnTo>
                    <a:lnTo>
                      <a:pt x="493" y="185"/>
                    </a:lnTo>
                    <a:lnTo>
                      <a:pt x="495" y="184"/>
                    </a:lnTo>
                    <a:lnTo>
                      <a:pt x="496" y="187"/>
                    </a:lnTo>
                    <a:lnTo>
                      <a:pt x="495" y="189"/>
                    </a:lnTo>
                    <a:lnTo>
                      <a:pt x="496" y="191"/>
                    </a:lnTo>
                    <a:lnTo>
                      <a:pt x="498" y="189"/>
                    </a:lnTo>
                    <a:lnTo>
                      <a:pt x="500" y="193"/>
                    </a:lnTo>
                    <a:lnTo>
                      <a:pt x="500" y="194"/>
                    </a:lnTo>
                    <a:lnTo>
                      <a:pt x="498" y="194"/>
                    </a:lnTo>
                    <a:lnTo>
                      <a:pt x="504" y="196"/>
                    </a:lnTo>
                    <a:lnTo>
                      <a:pt x="504" y="194"/>
                    </a:lnTo>
                    <a:lnTo>
                      <a:pt x="512" y="194"/>
                    </a:lnTo>
                    <a:lnTo>
                      <a:pt x="511" y="198"/>
                    </a:lnTo>
                    <a:lnTo>
                      <a:pt x="512" y="200"/>
                    </a:lnTo>
                    <a:lnTo>
                      <a:pt x="511" y="201"/>
                    </a:lnTo>
                    <a:lnTo>
                      <a:pt x="512" y="203"/>
                    </a:lnTo>
                    <a:lnTo>
                      <a:pt x="512" y="207"/>
                    </a:lnTo>
                    <a:lnTo>
                      <a:pt x="514" y="209"/>
                    </a:lnTo>
                    <a:lnTo>
                      <a:pt x="514" y="207"/>
                    </a:lnTo>
                    <a:lnTo>
                      <a:pt x="514" y="209"/>
                    </a:lnTo>
                    <a:lnTo>
                      <a:pt x="516" y="205"/>
                    </a:lnTo>
                    <a:lnTo>
                      <a:pt x="516" y="200"/>
                    </a:lnTo>
                    <a:lnTo>
                      <a:pt x="518" y="200"/>
                    </a:lnTo>
                    <a:lnTo>
                      <a:pt x="518" y="203"/>
                    </a:lnTo>
                    <a:lnTo>
                      <a:pt x="518" y="203"/>
                    </a:lnTo>
                    <a:lnTo>
                      <a:pt x="518" y="207"/>
                    </a:lnTo>
                    <a:lnTo>
                      <a:pt x="518" y="209"/>
                    </a:lnTo>
                    <a:lnTo>
                      <a:pt x="520" y="210"/>
                    </a:lnTo>
                    <a:lnTo>
                      <a:pt x="521" y="209"/>
                    </a:lnTo>
                    <a:lnTo>
                      <a:pt x="523" y="212"/>
                    </a:lnTo>
                    <a:lnTo>
                      <a:pt x="527" y="212"/>
                    </a:lnTo>
                    <a:lnTo>
                      <a:pt x="529" y="221"/>
                    </a:lnTo>
                    <a:lnTo>
                      <a:pt x="527" y="223"/>
                    </a:lnTo>
                    <a:lnTo>
                      <a:pt x="525" y="223"/>
                    </a:lnTo>
                    <a:lnTo>
                      <a:pt x="521" y="225"/>
                    </a:lnTo>
                    <a:lnTo>
                      <a:pt x="521" y="223"/>
                    </a:lnTo>
                    <a:lnTo>
                      <a:pt x="521" y="226"/>
                    </a:lnTo>
                    <a:lnTo>
                      <a:pt x="529" y="235"/>
                    </a:lnTo>
                    <a:lnTo>
                      <a:pt x="530" y="237"/>
                    </a:lnTo>
                    <a:lnTo>
                      <a:pt x="530" y="230"/>
                    </a:lnTo>
                    <a:lnTo>
                      <a:pt x="532" y="230"/>
                    </a:lnTo>
                    <a:lnTo>
                      <a:pt x="534" y="232"/>
                    </a:lnTo>
                    <a:lnTo>
                      <a:pt x="537" y="228"/>
                    </a:lnTo>
                    <a:lnTo>
                      <a:pt x="539" y="230"/>
                    </a:lnTo>
                    <a:lnTo>
                      <a:pt x="536" y="225"/>
                    </a:lnTo>
                    <a:lnTo>
                      <a:pt x="539" y="221"/>
                    </a:lnTo>
                    <a:lnTo>
                      <a:pt x="539" y="221"/>
                    </a:lnTo>
                    <a:lnTo>
                      <a:pt x="536" y="221"/>
                    </a:lnTo>
                    <a:lnTo>
                      <a:pt x="530" y="210"/>
                    </a:lnTo>
                    <a:lnTo>
                      <a:pt x="532" y="209"/>
                    </a:lnTo>
                    <a:lnTo>
                      <a:pt x="532" y="203"/>
                    </a:lnTo>
                    <a:lnTo>
                      <a:pt x="530" y="201"/>
                    </a:lnTo>
                    <a:lnTo>
                      <a:pt x="530" y="200"/>
                    </a:lnTo>
                    <a:lnTo>
                      <a:pt x="527" y="198"/>
                    </a:lnTo>
                    <a:lnTo>
                      <a:pt x="525" y="194"/>
                    </a:lnTo>
                    <a:lnTo>
                      <a:pt x="529" y="191"/>
                    </a:lnTo>
                    <a:lnTo>
                      <a:pt x="530" y="191"/>
                    </a:lnTo>
                    <a:lnTo>
                      <a:pt x="530" y="189"/>
                    </a:lnTo>
                    <a:lnTo>
                      <a:pt x="532" y="187"/>
                    </a:lnTo>
                    <a:lnTo>
                      <a:pt x="530" y="187"/>
                    </a:lnTo>
                    <a:lnTo>
                      <a:pt x="532" y="182"/>
                    </a:lnTo>
                    <a:lnTo>
                      <a:pt x="536" y="182"/>
                    </a:lnTo>
                    <a:lnTo>
                      <a:pt x="539" y="180"/>
                    </a:lnTo>
                    <a:lnTo>
                      <a:pt x="539" y="178"/>
                    </a:lnTo>
                    <a:lnTo>
                      <a:pt x="539" y="180"/>
                    </a:lnTo>
                    <a:lnTo>
                      <a:pt x="546" y="180"/>
                    </a:lnTo>
                    <a:lnTo>
                      <a:pt x="546" y="176"/>
                    </a:lnTo>
                    <a:lnTo>
                      <a:pt x="548" y="175"/>
                    </a:lnTo>
                    <a:lnTo>
                      <a:pt x="552" y="175"/>
                    </a:lnTo>
                    <a:lnTo>
                      <a:pt x="552" y="171"/>
                    </a:lnTo>
                    <a:lnTo>
                      <a:pt x="554" y="169"/>
                    </a:lnTo>
                    <a:lnTo>
                      <a:pt x="554" y="173"/>
                    </a:lnTo>
                    <a:lnTo>
                      <a:pt x="555" y="168"/>
                    </a:lnTo>
                    <a:lnTo>
                      <a:pt x="557" y="166"/>
                    </a:lnTo>
                    <a:lnTo>
                      <a:pt x="557" y="164"/>
                    </a:lnTo>
                    <a:lnTo>
                      <a:pt x="561" y="162"/>
                    </a:lnTo>
                    <a:lnTo>
                      <a:pt x="559" y="160"/>
                    </a:lnTo>
                    <a:lnTo>
                      <a:pt x="561" y="159"/>
                    </a:lnTo>
                    <a:lnTo>
                      <a:pt x="561" y="155"/>
                    </a:lnTo>
                    <a:lnTo>
                      <a:pt x="559" y="157"/>
                    </a:lnTo>
                    <a:lnTo>
                      <a:pt x="559" y="155"/>
                    </a:lnTo>
                    <a:lnTo>
                      <a:pt x="548" y="160"/>
                    </a:lnTo>
                    <a:lnTo>
                      <a:pt x="552" y="162"/>
                    </a:lnTo>
                    <a:lnTo>
                      <a:pt x="546" y="164"/>
                    </a:lnTo>
                    <a:lnTo>
                      <a:pt x="548" y="168"/>
                    </a:lnTo>
                    <a:lnTo>
                      <a:pt x="548" y="166"/>
                    </a:lnTo>
                    <a:lnTo>
                      <a:pt x="548" y="171"/>
                    </a:lnTo>
                    <a:lnTo>
                      <a:pt x="548" y="173"/>
                    </a:lnTo>
                    <a:lnTo>
                      <a:pt x="546" y="171"/>
                    </a:lnTo>
                    <a:lnTo>
                      <a:pt x="548" y="169"/>
                    </a:lnTo>
                    <a:lnTo>
                      <a:pt x="546" y="169"/>
                    </a:lnTo>
                    <a:lnTo>
                      <a:pt x="546" y="168"/>
                    </a:lnTo>
                    <a:lnTo>
                      <a:pt x="543" y="168"/>
                    </a:lnTo>
                    <a:lnTo>
                      <a:pt x="541" y="169"/>
                    </a:lnTo>
                    <a:lnTo>
                      <a:pt x="539" y="173"/>
                    </a:lnTo>
                    <a:lnTo>
                      <a:pt x="539" y="171"/>
                    </a:lnTo>
                    <a:lnTo>
                      <a:pt x="534" y="169"/>
                    </a:lnTo>
                    <a:lnTo>
                      <a:pt x="534" y="169"/>
                    </a:lnTo>
                    <a:lnTo>
                      <a:pt x="530" y="169"/>
                    </a:lnTo>
                    <a:lnTo>
                      <a:pt x="529" y="171"/>
                    </a:lnTo>
                    <a:lnTo>
                      <a:pt x="529" y="175"/>
                    </a:lnTo>
                    <a:lnTo>
                      <a:pt x="530" y="175"/>
                    </a:lnTo>
                    <a:lnTo>
                      <a:pt x="530" y="176"/>
                    </a:lnTo>
                    <a:lnTo>
                      <a:pt x="532" y="176"/>
                    </a:lnTo>
                    <a:lnTo>
                      <a:pt x="529" y="176"/>
                    </a:lnTo>
                    <a:lnTo>
                      <a:pt x="527" y="178"/>
                    </a:lnTo>
                    <a:lnTo>
                      <a:pt x="525" y="178"/>
                    </a:lnTo>
                    <a:lnTo>
                      <a:pt x="527" y="176"/>
                    </a:lnTo>
                    <a:lnTo>
                      <a:pt x="521" y="178"/>
                    </a:lnTo>
                    <a:lnTo>
                      <a:pt x="521" y="176"/>
                    </a:lnTo>
                    <a:lnTo>
                      <a:pt x="520" y="176"/>
                    </a:lnTo>
                    <a:lnTo>
                      <a:pt x="520" y="175"/>
                    </a:lnTo>
                    <a:lnTo>
                      <a:pt x="518" y="175"/>
                    </a:lnTo>
                    <a:lnTo>
                      <a:pt x="518" y="173"/>
                    </a:lnTo>
                    <a:lnTo>
                      <a:pt x="514" y="175"/>
                    </a:lnTo>
                    <a:lnTo>
                      <a:pt x="514" y="173"/>
                    </a:lnTo>
                    <a:lnTo>
                      <a:pt x="514" y="169"/>
                    </a:lnTo>
                    <a:lnTo>
                      <a:pt x="518" y="166"/>
                    </a:lnTo>
                    <a:lnTo>
                      <a:pt x="518" y="164"/>
                    </a:lnTo>
                    <a:lnTo>
                      <a:pt x="520" y="159"/>
                    </a:lnTo>
                    <a:lnTo>
                      <a:pt x="521" y="157"/>
                    </a:lnTo>
                    <a:lnTo>
                      <a:pt x="530" y="155"/>
                    </a:lnTo>
                    <a:lnTo>
                      <a:pt x="543" y="151"/>
                    </a:lnTo>
                    <a:lnTo>
                      <a:pt x="545" y="148"/>
                    </a:lnTo>
                    <a:lnTo>
                      <a:pt x="548" y="146"/>
                    </a:lnTo>
                    <a:lnTo>
                      <a:pt x="548" y="144"/>
                    </a:lnTo>
                    <a:lnTo>
                      <a:pt x="554" y="144"/>
                    </a:lnTo>
                    <a:lnTo>
                      <a:pt x="555" y="143"/>
                    </a:lnTo>
                    <a:lnTo>
                      <a:pt x="559" y="144"/>
                    </a:lnTo>
                    <a:lnTo>
                      <a:pt x="559" y="146"/>
                    </a:lnTo>
                    <a:lnTo>
                      <a:pt x="561" y="146"/>
                    </a:lnTo>
                    <a:lnTo>
                      <a:pt x="562" y="150"/>
                    </a:lnTo>
                    <a:lnTo>
                      <a:pt x="566" y="153"/>
                    </a:lnTo>
                    <a:lnTo>
                      <a:pt x="564" y="155"/>
                    </a:lnTo>
                    <a:lnTo>
                      <a:pt x="566" y="157"/>
                    </a:lnTo>
                    <a:lnTo>
                      <a:pt x="566" y="160"/>
                    </a:lnTo>
                    <a:lnTo>
                      <a:pt x="570" y="160"/>
                    </a:lnTo>
                    <a:lnTo>
                      <a:pt x="570" y="164"/>
                    </a:lnTo>
                    <a:lnTo>
                      <a:pt x="566" y="164"/>
                    </a:lnTo>
                    <a:lnTo>
                      <a:pt x="564" y="164"/>
                    </a:lnTo>
                    <a:lnTo>
                      <a:pt x="564" y="166"/>
                    </a:lnTo>
                    <a:lnTo>
                      <a:pt x="566" y="166"/>
                    </a:lnTo>
                    <a:lnTo>
                      <a:pt x="570" y="168"/>
                    </a:lnTo>
                    <a:lnTo>
                      <a:pt x="571" y="169"/>
                    </a:lnTo>
                    <a:lnTo>
                      <a:pt x="571" y="171"/>
                    </a:lnTo>
                    <a:lnTo>
                      <a:pt x="575" y="173"/>
                    </a:lnTo>
                    <a:lnTo>
                      <a:pt x="580" y="175"/>
                    </a:lnTo>
                    <a:lnTo>
                      <a:pt x="579" y="175"/>
                    </a:lnTo>
                    <a:lnTo>
                      <a:pt x="580" y="180"/>
                    </a:lnTo>
                    <a:lnTo>
                      <a:pt x="582" y="184"/>
                    </a:lnTo>
                    <a:lnTo>
                      <a:pt x="584" y="182"/>
                    </a:lnTo>
                    <a:lnTo>
                      <a:pt x="589" y="184"/>
                    </a:lnTo>
                    <a:lnTo>
                      <a:pt x="591" y="182"/>
                    </a:lnTo>
                    <a:lnTo>
                      <a:pt x="595" y="184"/>
                    </a:lnTo>
                    <a:lnTo>
                      <a:pt x="595" y="182"/>
                    </a:lnTo>
                    <a:lnTo>
                      <a:pt x="596" y="182"/>
                    </a:lnTo>
                    <a:lnTo>
                      <a:pt x="598" y="180"/>
                    </a:lnTo>
                    <a:lnTo>
                      <a:pt x="598" y="176"/>
                    </a:lnTo>
                    <a:lnTo>
                      <a:pt x="602" y="180"/>
                    </a:lnTo>
                    <a:lnTo>
                      <a:pt x="602" y="184"/>
                    </a:lnTo>
                    <a:lnTo>
                      <a:pt x="609" y="191"/>
                    </a:lnTo>
                    <a:lnTo>
                      <a:pt x="611" y="194"/>
                    </a:lnTo>
                    <a:lnTo>
                      <a:pt x="614" y="194"/>
                    </a:lnTo>
                    <a:lnTo>
                      <a:pt x="618" y="198"/>
                    </a:lnTo>
                    <a:lnTo>
                      <a:pt x="620" y="198"/>
                    </a:lnTo>
                    <a:lnTo>
                      <a:pt x="620" y="196"/>
                    </a:lnTo>
                    <a:lnTo>
                      <a:pt x="623" y="196"/>
                    </a:lnTo>
                    <a:lnTo>
                      <a:pt x="623" y="194"/>
                    </a:lnTo>
                    <a:lnTo>
                      <a:pt x="625" y="196"/>
                    </a:lnTo>
                    <a:lnTo>
                      <a:pt x="627" y="196"/>
                    </a:lnTo>
                    <a:lnTo>
                      <a:pt x="630" y="198"/>
                    </a:lnTo>
                    <a:lnTo>
                      <a:pt x="636" y="194"/>
                    </a:lnTo>
                    <a:lnTo>
                      <a:pt x="643" y="196"/>
                    </a:lnTo>
                    <a:lnTo>
                      <a:pt x="646" y="194"/>
                    </a:lnTo>
                    <a:lnTo>
                      <a:pt x="650" y="191"/>
                    </a:lnTo>
                    <a:lnTo>
                      <a:pt x="661" y="193"/>
                    </a:lnTo>
                    <a:lnTo>
                      <a:pt x="662" y="193"/>
                    </a:lnTo>
                    <a:lnTo>
                      <a:pt x="668" y="196"/>
                    </a:lnTo>
                    <a:lnTo>
                      <a:pt x="668" y="196"/>
                    </a:lnTo>
                    <a:lnTo>
                      <a:pt x="670" y="194"/>
                    </a:lnTo>
                    <a:lnTo>
                      <a:pt x="670" y="196"/>
                    </a:lnTo>
                    <a:lnTo>
                      <a:pt x="677" y="194"/>
                    </a:lnTo>
                    <a:lnTo>
                      <a:pt x="680" y="194"/>
                    </a:lnTo>
                    <a:lnTo>
                      <a:pt x="679" y="191"/>
                    </a:lnTo>
                    <a:lnTo>
                      <a:pt x="679" y="191"/>
                    </a:lnTo>
                    <a:lnTo>
                      <a:pt x="677" y="187"/>
                    </a:lnTo>
                    <a:lnTo>
                      <a:pt x="675" y="184"/>
                    </a:lnTo>
                    <a:lnTo>
                      <a:pt x="677" y="182"/>
                    </a:lnTo>
                    <a:lnTo>
                      <a:pt x="679" y="182"/>
                    </a:lnTo>
                    <a:lnTo>
                      <a:pt x="679" y="184"/>
                    </a:lnTo>
                    <a:lnTo>
                      <a:pt x="680" y="185"/>
                    </a:lnTo>
                    <a:lnTo>
                      <a:pt x="682" y="187"/>
                    </a:lnTo>
                    <a:lnTo>
                      <a:pt x="682" y="191"/>
                    </a:lnTo>
                    <a:lnTo>
                      <a:pt x="684" y="194"/>
                    </a:lnTo>
                    <a:lnTo>
                      <a:pt x="687" y="196"/>
                    </a:lnTo>
                    <a:lnTo>
                      <a:pt x="689" y="198"/>
                    </a:lnTo>
                    <a:lnTo>
                      <a:pt x="693" y="200"/>
                    </a:lnTo>
                    <a:lnTo>
                      <a:pt x="695" y="201"/>
                    </a:lnTo>
                    <a:lnTo>
                      <a:pt x="698" y="201"/>
                    </a:lnTo>
                    <a:lnTo>
                      <a:pt x="700" y="198"/>
                    </a:lnTo>
                    <a:lnTo>
                      <a:pt x="700" y="187"/>
                    </a:lnTo>
                    <a:lnTo>
                      <a:pt x="698" y="187"/>
                    </a:lnTo>
                    <a:lnTo>
                      <a:pt x="698" y="191"/>
                    </a:lnTo>
                    <a:lnTo>
                      <a:pt x="696" y="191"/>
                    </a:lnTo>
                    <a:lnTo>
                      <a:pt x="696" y="187"/>
                    </a:lnTo>
                    <a:lnTo>
                      <a:pt x="695" y="185"/>
                    </a:lnTo>
                    <a:lnTo>
                      <a:pt x="689" y="187"/>
                    </a:lnTo>
                    <a:lnTo>
                      <a:pt x="687" y="189"/>
                    </a:lnTo>
                    <a:lnTo>
                      <a:pt x="687" y="193"/>
                    </a:lnTo>
                    <a:lnTo>
                      <a:pt x="686" y="193"/>
                    </a:lnTo>
                    <a:lnTo>
                      <a:pt x="684" y="185"/>
                    </a:lnTo>
                    <a:lnTo>
                      <a:pt x="680" y="180"/>
                    </a:lnTo>
                    <a:lnTo>
                      <a:pt x="682" y="182"/>
                    </a:lnTo>
                    <a:lnTo>
                      <a:pt x="682" y="176"/>
                    </a:lnTo>
                    <a:lnTo>
                      <a:pt x="679" y="175"/>
                    </a:lnTo>
                    <a:lnTo>
                      <a:pt x="679" y="173"/>
                    </a:lnTo>
                    <a:lnTo>
                      <a:pt x="677" y="168"/>
                    </a:lnTo>
                    <a:lnTo>
                      <a:pt x="679" y="168"/>
                    </a:lnTo>
                    <a:lnTo>
                      <a:pt x="680" y="171"/>
                    </a:lnTo>
                    <a:lnTo>
                      <a:pt x="682" y="169"/>
                    </a:lnTo>
                    <a:lnTo>
                      <a:pt x="682" y="168"/>
                    </a:lnTo>
                    <a:lnTo>
                      <a:pt x="684" y="168"/>
                    </a:lnTo>
                    <a:lnTo>
                      <a:pt x="686" y="169"/>
                    </a:lnTo>
                    <a:lnTo>
                      <a:pt x="691" y="169"/>
                    </a:lnTo>
                    <a:lnTo>
                      <a:pt x="691" y="168"/>
                    </a:lnTo>
                    <a:lnTo>
                      <a:pt x="687" y="162"/>
                    </a:lnTo>
                    <a:lnTo>
                      <a:pt x="689" y="160"/>
                    </a:lnTo>
                    <a:lnTo>
                      <a:pt x="693" y="162"/>
                    </a:lnTo>
                    <a:lnTo>
                      <a:pt x="693" y="164"/>
                    </a:lnTo>
                    <a:lnTo>
                      <a:pt x="696" y="168"/>
                    </a:lnTo>
                    <a:lnTo>
                      <a:pt x="695" y="164"/>
                    </a:lnTo>
                    <a:lnTo>
                      <a:pt x="698" y="164"/>
                    </a:lnTo>
                    <a:lnTo>
                      <a:pt x="700" y="168"/>
                    </a:lnTo>
                    <a:lnTo>
                      <a:pt x="705" y="171"/>
                    </a:lnTo>
                    <a:lnTo>
                      <a:pt x="704" y="173"/>
                    </a:lnTo>
                    <a:lnTo>
                      <a:pt x="705" y="175"/>
                    </a:lnTo>
                    <a:lnTo>
                      <a:pt x="711" y="171"/>
                    </a:lnTo>
                    <a:lnTo>
                      <a:pt x="711" y="175"/>
                    </a:lnTo>
                    <a:lnTo>
                      <a:pt x="709" y="176"/>
                    </a:lnTo>
                    <a:lnTo>
                      <a:pt x="709" y="180"/>
                    </a:lnTo>
                    <a:lnTo>
                      <a:pt x="707" y="182"/>
                    </a:lnTo>
                    <a:lnTo>
                      <a:pt x="709" y="184"/>
                    </a:lnTo>
                    <a:lnTo>
                      <a:pt x="711" y="182"/>
                    </a:lnTo>
                    <a:lnTo>
                      <a:pt x="712" y="185"/>
                    </a:lnTo>
                    <a:lnTo>
                      <a:pt x="712" y="178"/>
                    </a:lnTo>
                    <a:lnTo>
                      <a:pt x="718" y="175"/>
                    </a:lnTo>
                    <a:lnTo>
                      <a:pt x="720" y="175"/>
                    </a:lnTo>
                    <a:lnTo>
                      <a:pt x="718" y="185"/>
                    </a:lnTo>
                    <a:lnTo>
                      <a:pt x="716" y="191"/>
                    </a:lnTo>
                    <a:lnTo>
                      <a:pt x="716" y="196"/>
                    </a:lnTo>
                    <a:lnTo>
                      <a:pt x="718" y="200"/>
                    </a:lnTo>
                    <a:lnTo>
                      <a:pt x="712" y="203"/>
                    </a:lnTo>
                    <a:lnTo>
                      <a:pt x="714" y="209"/>
                    </a:lnTo>
                    <a:lnTo>
                      <a:pt x="718" y="209"/>
                    </a:lnTo>
                    <a:lnTo>
                      <a:pt x="718" y="216"/>
                    </a:lnTo>
                    <a:lnTo>
                      <a:pt x="723" y="210"/>
                    </a:lnTo>
                    <a:lnTo>
                      <a:pt x="725" y="212"/>
                    </a:lnTo>
                    <a:lnTo>
                      <a:pt x="727" y="210"/>
                    </a:lnTo>
                    <a:lnTo>
                      <a:pt x="727" y="212"/>
                    </a:lnTo>
                    <a:lnTo>
                      <a:pt x="725" y="214"/>
                    </a:lnTo>
                    <a:lnTo>
                      <a:pt x="727" y="218"/>
                    </a:lnTo>
                    <a:lnTo>
                      <a:pt x="730" y="218"/>
                    </a:lnTo>
                    <a:lnTo>
                      <a:pt x="732" y="212"/>
                    </a:lnTo>
                    <a:lnTo>
                      <a:pt x="730" y="209"/>
                    </a:lnTo>
                    <a:lnTo>
                      <a:pt x="730" y="203"/>
                    </a:lnTo>
                    <a:lnTo>
                      <a:pt x="728" y="200"/>
                    </a:lnTo>
                    <a:lnTo>
                      <a:pt x="725" y="196"/>
                    </a:lnTo>
                    <a:lnTo>
                      <a:pt x="727" y="185"/>
                    </a:lnTo>
                    <a:lnTo>
                      <a:pt x="725" y="182"/>
                    </a:lnTo>
                    <a:lnTo>
                      <a:pt x="727" y="182"/>
                    </a:lnTo>
                    <a:lnTo>
                      <a:pt x="728" y="180"/>
                    </a:lnTo>
                    <a:lnTo>
                      <a:pt x="730" y="182"/>
                    </a:lnTo>
                    <a:lnTo>
                      <a:pt x="730" y="184"/>
                    </a:lnTo>
                    <a:lnTo>
                      <a:pt x="732" y="182"/>
                    </a:lnTo>
                    <a:lnTo>
                      <a:pt x="734" y="182"/>
                    </a:lnTo>
                    <a:lnTo>
                      <a:pt x="739" y="184"/>
                    </a:lnTo>
                    <a:lnTo>
                      <a:pt x="739" y="184"/>
                    </a:lnTo>
                    <a:lnTo>
                      <a:pt x="741" y="180"/>
                    </a:lnTo>
                    <a:lnTo>
                      <a:pt x="743" y="178"/>
                    </a:lnTo>
                    <a:lnTo>
                      <a:pt x="746" y="175"/>
                    </a:lnTo>
                    <a:lnTo>
                      <a:pt x="746" y="173"/>
                    </a:lnTo>
                    <a:lnTo>
                      <a:pt x="748" y="168"/>
                    </a:lnTo>
                    <a:lnTo>
                      <a:pt x="757" y="162"/>
                    </a:lnTo>
                    <a:lnTo>
                      <a:pt x="759" y="159"/>
                    </a:lnTo>
                    <a:lnTo>
                      <a:pt x="755" y="159"/>
                    </a:lnTo>
                    <a:lnTo>
                      <a:pt x="755" y="144"/>
                    </a:lnTo>
                    <a:lnTo>
                      <a:pt x="750" y="141"/>
                    </a:lnTo>
                    <a:lnTo>
                      <a:pt x="750" y="144"/>
                    </a:lnTo>
                    <a:lnTo>
                      <a:pt x="750" y="146"/>
                    </a:lnTo>
                    <a:lnTo>
                      <a:pt x="750" y="150"/>
                    </a:lnTo>
                    <a:lnTo>
                      <a:pt x="752" y="148"/>
                    </a:lnTo>
                    <a:lnTo>
                      <a:pt x="753" y="146"/>
                    </a:lnTo>
                    <a:lnTo>
                      <a:pt x="750" y="153"/>
                    </a:lnTo>
                    <a:lnTo>
                      <a:pt x="743" y="155"/>
                    </a:lnTo>
                    <a:lnTo>
                      <a:pt x="739" y="153"/>
                    </a:lnTo>
                    <a:lnTo>
                      <a:pt x="741" y="151"/>
                    </a:lnTo>
                    <a:lnTo>
                      <a:pt x="741" y="144"/>
                    </a:lnTo>
                    <a:lnTo>
                      <a:pt x="743" y="144"/>
                    </a:lnTo>
                    <a:lnTo>
                      <a:pt x="745" y="144"/>
                    </a:lnTo>
                    <a:lnTo>
                      <a:pt x="746" y="137"/>
                    </a:lnTo>
                    <a:lnTo>
                      <a:pt x="746" y="135"/>
                    </a:lnTo>
                    <a:lnTo>
                      <a:pt x="745" y="137"/>
                    </a:lnTo>
                    <a:lnTo>
                      <a:pt x="746" y="132"/>
                    </a:lnTo>
                    <a:lnTo>
                      <a:pt x="748" y="126"/>
                    </a:lnTo>
                    <a:lnTo>
                      <a:pt x="753" y="125"/>
                    </a:lnTo>
                    <a:lnTo>
                      <a:pt x="755" y="123"/>
                    </a:lnTo>
                    <a:lnTo>
                      <a:pt x="752" y="128"/>
                    </a:lnTo>
                    <a:lnTo>
                      <a:pt x="752" y="132"/>
                    </a:lnTo>
                    <a:lnTo>
                      <a:pt x="753" y="134"/>
                    </a:lnTo>
                    <a:lnTo>
                      <a:pt x="757" y="130"/>
                    </a:lnTo>
                    <a:lnTo>
                      <a:pt x="757" y="125"/>
                    </a:lnTo>
                    <a:lnTo>
                      <a:pt x="755" y="119"/>
                    </a:lnTo>
                    <a:lnTo>
                      <a:pt x="753" y="119"/>
                    </a:lnTo>
                    <a:lnTo>
                      <a:pt x="748" y="123"/>
                    </a:lnTo>
                    <a:lnTo>
                      <a:pt x="745" y="123"/>
                    </a:lnTo>
                    <a:lnTo>
                      <a:pt x="741" y="114"/>
                    </a:lnTo>
                    <a:lnTo>
                      <a:pt x="739" y="112"/>
                    </a:lnTo>
                    <a:lnTo>
                      <a:pt x="739" y="116"/>
                    </a:lnTo>
                    <a:lnTo>
                      <a:pt x="737" y="118"/>
                    </a:lnTo>
                    <a:lnTo>
                      <a:pt x="736" y="116"/>
                    </a:lnTo>
                    <a:lnTo>
                      <a:pt x="736" y="114"/>
                    </a:lnTo>
                    <a:lnTo>
                      <a:pt x="730" y="112"/>
                    </a:lnTo>
                    <a:lnTo>
                      <a:pt x="730" y="109"/>
                    </a:lnTo>
                    <a:lnTo>
                      <a:pt x="730" y="107"/>
                    </a:lnTo>
                    <a:lnTo>
                      <a:pt x="723" y="109"/>
                    </a:lnTo>
                    <a:lnTo>
                      <a:pt x="718" y="105"/>
                    </a:lnTo>
                    <a:lnTo>
                      <a:pt x="718" y="103"/>
                    </a:lnTo>
                    <a:lnTo>
                      <a:pt x="718" y="101"/>
                    </a:lnTo>
                    <a:lnTo>
                      <a:pt x="712" y="98"/>
                    </a:lnTo>
                    <a:lnTo>
                      <a:pt x="712" y="96"/>
                    </a:lnTo>
                    <a:lnTo>
                      <a:pt x="711" y="93"/>
                    </a:lnTo>
                    <a:lnTo>
                      <a:pt x="711" y="78"/>
                    </a:lnTo>
                    <a:lnTo>
                      <a:pt x="711" y="76"/>
                    </a:lnTo>
                    <a:lnTo>
                      <a:pt x="712" y="76"/>
                    </a:lnTo>
                    <a:lnTo>
                      <a:pt x="716" y="69"/>
                    </a:lnTo>
                    <a:lnTo>
                      <a:pt x="716" y="69"/>
                    </a:lnTo>
                    <a:lnTo>
                      <a:pt x="718" y="71"/>
                    </a:lnTo>
                    <a:lnTo>
                      <a:pt x="718" y="69"/>
                    </a:lnTo>
                    <a:lnTo>
                      <a:pt x="718" y="66"/>
                    </a:lnTo>
                    <a:lnTo>
                      <a:pt x="718" y="68"/>
                    </a:lnTo>
                    <a:lnTo>
                      <a:pt x="714" y="60"/>
                    </a:lnTo>
                    <a:lnTo>
                      <a:pt x="712" y="57"/>
                    </a:lnTo>
                    <a:lnTo>
                      <a:pt x="712" y="50"/>
                    </a:lnTo>
                    <a:lnTo>
                      <a:pt x="714" y="46"/>
                    </a:lnTo>
                    <a:lnTo>
                      <a:pt x="714" y="46"/>
                    </a:lnTo>
                    <a:lnTo>
                      <a:pt x="714" y="35"/>
                    </a:lnTo>
                    <a:lnTo>
                      <a:pt x="716" y="35"/>
                    </a:lnTo>
                    <a:lnTo>
                      <a:pt x="716" y="35"/>
                    </a:lnTo>
                    <a:lnTo>
                      <a:pt x="718" y="34"/>
                    </a:lnTo>
                    <a:lnTo>
                      <a:pt x="718" y="32"/>
                    </a:lnTo>
                    <a:lnTo>
                      <a:pt x="720" y="30"/>
                    </a:lnTo>
                    <a:lnTo>
                      <a:pt x="725" y="37"/>
                    </a:lnTo>
                    <a:lnTo>
                      <a:pt x="727" y="37"/>
                    </a:lnTo>
                    <a:lnTo>
                      <a:pt x="727" y="32"/>
                    </a:lnTo>
                    <a:lnTo>
                      <a:pt x="727" y="26"/>
                    </a:lnTo>
                    <a:lnTo>
                      <a:pt x="725" y="25"/>
                    </a:lnTo>
                    <a:lnTo>
                      <a:pt x="723" y="23"/>
                    </a:lnTo>
                    <a:lnTo>
                      <a:pt x="723" y="19"/>
                    </a:lnTo>
                    <a:lnTo>
                      <a:pt x="728" y="10"/>
                    </a:lnTo>
                    <a:lnTo>
                      <a:pt x="732" y="1"/>
                    </a:lnTo>
                    <a:lnTo>
                      <a:pt x="736" y="0"/>
                    </a:lnTo>
                    <a:lnTo>
                      <a:pt x="737" y="1"/>
                    </a:lnTo>
                    <a:lnTo>
                      <a:pt x="741" y="0"/>
                    </a:lnTo>
                    <a:lnTo>
                      <a:pt x="743" y="3"/>
                    </a:lnTo>
                    <a:lnTo>
                      <a:pt x="743" y="5"/>
                    </a:lnTo>
                    <a:lnTo>
                      <a:pt x="743" y="7"/>
                    </a:lnTo>
                    <a:lnTo>
                      <a:pt x="741" y="10"/>
                    </a:lnTo>
                    <a:lnTo>
                      <a:pt x="743" y="12"/>
                    </a:lnTo>
                    <a:lnTo>
                      <a:pt x="745" y="10"/>
                    </a:lnTo>
                    <a:lnTo>
                      <a:pt x="745" y="16"/>
                    </a:lnTo>
                    <a:lnTo>
                      <a:pt x="746" y="12"/>
                    </a:lnTo>
                    <a:lnTo>
                      <a:pt x="748" y="10"/>
                    </a:lnTo>
                    <a:lnTo>
                      <a:pt x="752" y="14"/>
                    </a:lnTo>
                    <a:lnTo>
                      <a:pt x="755" y="10"/>
                    </a:lnTo>
                    <a:lnTo>
                      <a:pt x="755" y="19"/>
                    </a:lnTo>
                    <a:lnTo>
                      <a:pt x="757" y="23"/>
                    </a:lnTo>
                    <a:lnTo>
                      <a:pt x="759" y="23"/>
                    </a:lnTo>
                    <a:lnTo>
                      <a:pt x="766" y="34"/>
                    </a:lnTo>
                    <a:lnTo>
                      <a:pt x="768" y="55"/>
                    </a:lnTo>
                    <a:lnTo>
                      <a:pt x="768" y="55"/>
                    </a:lnTo>
                    <a:lnTo>
                      <a:pt x="768" y="59"/>
                    </a:lnTo>
                    <a:lnTo>
                      <a:pt x="771" y="59"/>
                    </a:lnTo>
                    <a:lnTo>
                      <a:pt x="771" y="66"/>
                    </a:lnTo>
                    <a:lnTo>
                      <a:pt x="777" y="64"/>
                    </a:lnTo>
                    <a:lnTo>
                      <a:pt x="778" y="68"/>
                    </a:lnTo>
                    <a:lnTo>
                      <a:pt x="778" y="73"/>
                    </a:lnTo>
                    <a:lnTo>
                      <a:pt x="782" y="80"/>
                    </a:lnTo>
                    <a:lnTo>
                      <a:pt x="782" y="84"/>
                    </a:lnTo>
                    <a:lnTo>
                      <a:pt x="784" y="84"/>
                    </a:lnTo>
                    <a:lnTo>
                      <a:pt x="784" y="82"/>
                    </a:lnTo>
                    <a:lnTo>
                      <a:pt x="786" y="80"/>
                    </a:lnTo>
                    <a:lnTo>
                      <a:pt x="787" y="82"/>
                    </a:lnTo>
                    <a:lnTo>
                      <a:pt x="787" y="87"/>
                    </a:lnTo>
                    <a:lnTo>
                      <a:pt x="789" y="89"/>
                    </a:lnTo>
                    <a:lnTo>
                      <a:pt x="791" y="91"/>
                    </a:lnTo>
                    <a:lnTo>
                      <a:pt x="786" y="91"/>
                    </a:lnTo>
                    <a:lnTo>
                      <a:pt x="778" y="89"/>
                    </a:lnTo>
                    <a:lnTo>
                      <a:pt x="777" y="89"/>
                    </a:lnTo>
                    <a:lnTo>
                      <a:pt x="777" y="89"/>
                    </a:lnTo>
                    <a:lnTo>
                      <a:pt x="777" y="91"/>
                    </a:lnTo>
                    <a:lnTo>
                      <a:pt x="775" y="93"/>
                    </a:lnTo>
                    <a:lnTo>
                      <a:pt x="775" y="93"/>
                    </a:lnTo>
                    <a:lnTo>
                      <a:pt x="780" y="94"/>
                    </a:lnTo>
                    <a:lnTo>
                      <a:pt x="784" y="98"/>
                    </a:lnTo>
                    <a:lnTo>
                      <a:pt x="780" y="103"/>
                    </a:lnTo>
                    <a:lnTo>
                      <a:pt x="778" y="103"/>
                    </a:lnTo>
                    <a:lnTo>
                      <a:pt x="777" y="105"/>
                    </a:lnTo>
                    <a:lnTo>
                      <a:pt x="775" y="105"/>
                    </a:lnTo>
                    <a:lnTo>
                      <a:pt x="773" y="107"/>
                    </a:lnTo>
                    <a:lnTo>
                      <a:pt x="771" y="109"/>
                    </a:lnTo>
                    <a:lnTo>
                      <a:pt x="773" y="110"/>
                    </a:lnTo>
                    <a:lnTo>
                      <a:pt x="771" y="112"/>
                    </a:lnTo>
                    <a:lnTo>
                      <a:pt x="777" y="112"/>
                    </a:lnTo>
                    <a:lnTo>
                      <a:pt x="780" y="118"/>
                    </a:lnTo>
                    <a:lnTo>
                      <a:pt x="784" y="119"/>
                    </a:lnTo>
                    <a:lnTo>
                      <a:pt x="789" y="119"/>
                    </a:lnTo>
                    <a:lnTo>
                      <a:pt x="791" y="114"/>
                    </a:lnTo>
                    <a:lnTo>
                      <a:pt x="793" y="114"/>
                    </a:lnTo>
                    <a:lnTo>
                      <a:pt x="795" y="116"/>
                    </a:lnTo>
                    <a:lnTo>
                      <a:pt x="793" y="118"/>
                    </a:lnTo>
                    <a:lnTo>
                      <a:pt x="795" y="118"/>
                    </a:lnTo>
                    <a:lnTo>
                      <a:pt x="796" y="121"/>
                    </a:lnTo>
                    <a:lnTo>
                      <a:pt x="796" y="119"/>
                    </a:lnTo>
                    <a:lnTo>
                      <a:pt x="800" y="121"/>
                    </a:lnTo>
                    <a:lnTo>
                      <a:pt x="802" y="119"/>
                    </a:lnTo>
                    <a:lnTo>
                      <a:pt x="802" y="123"/>
                    </a:lnTo>
                    <a:lnTo>
                      <a:pt x="802" y="126"/>
                    </a:lnTo>
                    <a:lnTo>
                      <a:pt x="800" y="128"/>
                    </a:lnTo>
                    <a:lnTo>
                      <a:pt x="796" y="126"/>
                    </a:lnTo>
                    <a:lnTo>
                      <a:pt x="795" y="126"/>
                    </a:lnTo>
                    <a:lnTo>
                      <a:pt x="793" y="126"/>
                    </a:lnTo>
                    <a:lnTo>
                      <a:pt x="800" y="137"/>
                    </a:lnTo>
                    <a:lnTo>
                      <a:pt x="803" y="137"/>
                    </a:lnTo>
                    <a:lnTo>
                      <a:pt x="803" y="141"/>
                    </a:lnTo>
                    <a:lnTo>
                      <a:pt x="805" y="144"/>
                    </a:lnTo>
                    <a:lnTo>
                      <a:pt x="805" y="146"/>
                    </a:lnTo>
                    <a:lnTo>
                      <a:pt x="809" y="151"/>
                    </a:lnTo>
                    <a:lnTo>
                      <a:pt x="807" y="164"/>
                    </a:lnTo>
                    <a:lnTo>
                      <a:pt x="811" y="173"/>
                    </a:lnTo>
                    <a:lnTo>
                      <a:pt x="816" y="164"/>
                    </a:lnTo>
                    <a:lnTo>
                      <a:pt x="816" y="157"/>
                    </a:lnTo>
                    <a:lnTo>
                      <a:pt x="816" y="155"/>
                    </a:lnTo>
                    <a:lnTo>
                      <a:pt x="818" y="155"/>
                    </a:lnTo>
                    <a:lnTo>
                      <a:pt x="818" y="141"/>
                    </a:lnTo>
                    <a:lnTo>
                      <a:pt x="821" y="135"/>
                    </a:lnTo>
                    <a:lnTo>
                      <a:pt x="823" y="132"/>
                    </a:lnTo>
                    <a:lnTo>
                      <a:pt x="827" y="130"/>
                    </a:lnTo>
                    <a:lnTo>
                      <a:pt x="830" y="130"/>
                    </a:lnTo>
                    <a:lnTo>
                      <a:pt x="832" y="135"/>
                    </a:lnTo>
                    <a:lnTo>
                      <a:pt x="836" y="141"/>
                    </a:lnTo>
                    <a:lnTo>
                      <a:pt x="845" y="148"/>
                    </a:lnTo>
                    <a:lnTo>
                      <a:pt x="850" y="173"/>
                    </a:lnTo>
                    <a:lnTo>
                      <a:pt x="846" y="175"/>
                    </a:lnTo>
                    <a:lnTo>
                      <a:pt x="845" y="175"/>
                    </a:lnTo>
                    <a:lnTo>
                      <a:pt x="843" y="173"/>
                    </a:lnTo>
                    <a:lnTo>
                      <a:pt x="843" y="168"/>
                    </a:lnTo>
                    <a:lnTo>
                      <a:pt x="841" y="175"/>
                    </a:lnTo>
                    <a:lnTo>
                      <a:pt x="841" y="180"/>
                    </a:lnTo>
                    <a:lnTo>
                      <a:pt x="841" y="187"/>
                    </a:lnTo>
                    <a:lnTo>
                      <a:pt x="853" y="214"/>
                    </a:lnTo>
                    <a:lnTo>
                      <a:pt x="857" y="218"/>
                    </a:lnTo>
                    <a:lnTo>
                      <a:pt x="861" y="218"/>
                    </a:lnTo>
                    <a:lnTo>
                      <a:pt x="862" y="210"/>
                    </a:lnTo>
                    <a:lnTo>
                      <a:pt x="864" y="209"/>
                    </a:lnTo>
                    <a:lnTo>
                      <a:pt x="866" y="210"/>
                    </a:lnTo>
                    <a:lnTo>
                      <a:pt x="868" y="209"/>
                    </a:lnTo>
                    <a:lnTo>
                      <a:pt x="868" y="210"/>
                    </a:lnTo>
                    <a:lnTo>
                      <a:pt x="870" y="210"/>
                    </a:lnTo>
                    <a:lnTo>
                      <a:pt x="871" y="200"/>
                    </a:lnTo>
                    <a:lnTo>
                      <a:pt x="873" y="191"/>
                    </a:lnTo>
                    <a:lnTo>
                      <a:pt x="877" y="187"/>
                    </a:lnTo>
                    <a:lnTo>
                      <a:pt x="880" y="178"/>
                    </a:lnTo>
                    <a:lnTo>
                      <a:pt x="880" y="173"/>
                    </a:lnTo>
                    <a:lnTo>
                      <a:pt x="882" y="171"/>
                    </a:lnTo>
                    <a:lnTo>
                      <a:pt x="882" y="157"/>
                    </a:lnTo>
                    <a:lnTo>
                      <a:pt x="884" y="155"/>
                    </a:lnTo>
                    <a:lnTo>
                      <a:pt x="887" y="155"/>
                    </a:lnTo>
                    <a:lnTo>
                      <a:pt x="889" y="153"/>
                    </a:lnTo>
                    <a:lnTo>
                      <a:pt x="891" y="153"/>
                    </a:lnTo>
                    <a:lnTo>
                      <a:pt x="893" y="151"/>
                    </a:lnTo>
                    <a:lnTo>
                      <a:pt x="896" y="153"/>
                    </a:lnTo>
                    <a:lnTo>
                      <a:pt x="900" y="153"/>
                    </a:lnTo>
                    <a:lnTo>
                      <a:pt x="898" y="151"/>
                    </a:lnTo>
                    <a:lnTo>
                      <a:pt x="895" y="150"/>
                    </a:lnTo>
                    <a:lnTo>
                      <a:pt x="893" y="148"/>
                    </a:lnTo>
                    <a:lnTo>
                      <a:pt x="895" y="146"/>
                    </a:lnTo>
                    <a:lnTo>
                      <a:pt x="893" y="144"/>
                    </a:lnTo>
                    <a:lnTo>
                      <a:pt x="896" y="144"/>
                    </a:lnTo>
                    <a:lnTo>
                      <a:pt x="896" y="143"/>
                    </a:lnTo>
                    <a:lnTo>
                      <a:pt x="898" y="143"/>
                    </a:lnTo>
                    <a:lnTo>
                      <a:pt x="900" y="143"/>
                    </a:lnTo>
                    <a:lnTo>
                      <a:pt x="900" y="141"/>
                    </a:lnTo>
                    <a:lnTo>
                      <a:pt x="898" y="141"/>
                    </a:lnTo>
                    <a:lnTo>
                      <a:pt x="896" y="137"/>
                    </a:lnTo>
                    <a:lnTo>
                      <a:pt x="891" y="137"/>
                    </a:lnTo>
                    <a:lnTo>
                      <a:pt x="889" y="134"/>
                    </a:lnTo>
                    <a:lnTo>
                      <a:pt x="887" y="130"/>
                    </a:lnTo>
                    <a:lnTo>
                      <a:pt x="889" y="126"/>
                    </a:lnTo>
                    <a:lnTo>
                      <a:pt x="889" y="125"/>
                    </a:lnTo>
                    <a:lnTo>
                      <a:pt x="887" y="121"/>
                    </a:lnTo>
                    <a:lnTo>
                      <a:pt x="889" y="118"/>
                    </a:lnTo>
                    <a:lnTo>
                      <a:pt x="887" y="112"/>
                    </a:lnTo>
                    <a:lnTo>
                      <a:pt x="889" y="105"/>
                    </a:lnTo>
                    <a:lnTo>
                      <a:pt x="895" y="107"/>
                    </a:lnTo>
                    <a:lnTo>
                      <a:pt x="896" y="105"/>
                    </a:lnTo>
                    <a:lnTo>
                      <a:pt x="903" y="103"/>
                    </a:lnTo>
                    <a:lnTo>
                      <a:pt x="909" y="105"/>
                    </a:lnTo>
                    <a:lnTo>
                      <a:pt x="911" y="109"/>
                    </a:lnTo>
                    <a:lnTo>
                      <a:pt x="918" y="112"/>
                    </a:lnTo>
                    <a:lnTo>
                      <a:pt x="925" y="112"/>
                    </a:lnTo>
                    <a:lnTo>
                      <a:pt x="927" y="112"/>
                    </a:lnTo>
                    <a:lnTo>
                      <a:pt x="930" y="112"/>
                    </a:lnTo>
                    <a:lnTo>
                      <a:pt x="932" y="110"/>
                    </a:lnTo>
                    <a:lnTo>
                      <a:pt x="934" y="112"/>
                    </a:lnTo>
                    <a:lnTo>
                      <a:pt x="936" y="121"/>
                    </a:lnTo>
                    <a:lnTo>
                      <a:pt x="932" y="121"/>
                    </a:lnTo>
                    <a:lnTo>
                      <a:pt x="934" y="121"/>
                    </a:lnTo>
                    <a:lnTo>
                      <a:pt x="939" y="130"/>
                    </a:lnTo>
                    <a:lnTo>
                      <a:pt x="939" y="132"/>
                    </a:lnTo>
                    <a:lnTo>
                      <a:pt x="939" y="132"/>
                    </a:lnTo>
                    <a:lnTo>
                      <a:pt x="948" y="132"/>
                    </a:lnTo>
                    <a:lnTo>
                      <a:pt x="950" y="134"/>
                    </a:lnTo>
                    <a:lnTo>
                      <a:pt x="953" y="135"/>
                    </a:lnTo>
                    <a:lnTo>
                      <a:pt x="953" y="137"/>
                    </a:lnTo>
                    <a:lnTo>
                      <a:pt x="952" y="143"/>
                    </a:lnTo>
                    <a:lnTo>
                      <a:pt x="946" y="146"/>
                    </a:lnTo>
                    <a:lnTo>
                      <a:pt x="945" y="150"/>
                    </a:lnTo>
                    <a:lnTo>
                      <a:pt x="953" y="150"/>
                    </a:lnTo>
                    <a:lnTo>
                      <a:pt x="955" y="153"/>
                    </a:lnTo>
                    <a:lnTo>
                      <a:pt x="955" y="159"/>
                    </a:lnTo>
                    <a:lnTo>
                      <a:pt x="953" y="160"/>
                    </a:lnTo>
                    <a:lnTo>
                      <a:pt x="950" y="164"/>
                    </a:lnTo>
                    <a:lnTo>
                      <a:pt x="948" y="164"/>
                    </a:lnTo>
                    <a:lnTo>
                      <a:pt x="945" y="169"/>
                    </a:lnTo>
                    <a:lnTo>
                      <a:pt x="943" y="168"/>
                    </a:lnTo>
                    <a:lnTo>
                      <a:pt x="943" y="162"/>
                    </a:lnTo>
                    <a:lnTo>
                      <a:pt x="941" y="164"/>
                    </a:lnTo>
                    <a:lnTo>
                      <a:pt x="939" y="166"/>
                    </a:lnTo>
                    <a:lnTo>
                      <a:pt x="936" y="164"/>
                    </a:lnTo>
                    <a:lnTo>
                      <a:pt x="934" y="166"/>
                    </a:lnTo>
                    <a:lnTo>
                      <a:pt x="939" y="173"/>
                    </a:lnTo>
                    <a:lnTo>
                      <a:pt x="937" y="173"/>
                    </a:lnTo>
                    <a:lnTo>
                      <a:pt x="937" y="175"/>
                    </a:lnTo>
                    <a:lnTo>
                      <a:pt x="939" y="175"/>
                    </a:lnTo>
                    <a:lnTo>
                      <a:pt x="939" y="180"/>
                    </a:lnTo>
                    <a:lnTo>
                      <a:pt x="945" y="176"/>
                    </a:lnTo>
                    <a:lnTo>
                      <a:pt x="941" y="187"/>
                    </a:lnTo>
                    <a:lnTo>
                      <a:pt x="943" y="191"/>
                    </a:lnTo>
                    <a:lnTo>
                      <a:pt x="955" y="209"/>
                    </a:lnTo>
                    <a:lnTo>
                      <a:pt x="955" y="210"/>
                    </a:lnTo>
                    <a:lnTo>
                      <a:pt x="953" y="212"/>
                    </a:lnTo>
                    <a:lnTo>
                      <a:pt x="953" y="216"/>
                    </a:lnTo>
                    <a:lnTo>
                      <a:pt x="955" y="219"/>
                    </a:lnTo>
                    <a:lnTo>
                      <a:pt x="953" y="221"/>
                    </a:lnTo>
                    <a:lnTo>
                      <a:pt x="953" y="223"/>
                    </a:lnTo>
                    <a:lnTo>
                      <a:pt x="948" y="225"/>
                    </a:lnTo>
                    <a:lnTo>
                      <a:pt x="943" y="230"/>
                    </a:lnTo>
                    <a:lnTo>
                      <a:pt x="943" y="234"/>
                    </a:lnTo>
                    <a:lnTo>
                      <a:pt x="934" y="244"/>
                    </a:lnTo>
                    <a:lnTo>
                      <a:pt x="928" y="246"/>
                    </a:lnTo>
                    <a:lnTo>
                      <a:pt x="927" y="248"/>
                    </a:lnTo>
                    <a:lnTo>
                      <a:pt x="923" y="253"/>
                    </a:lnTo>
                    <a:lnTo>
                      <a:pt x="921" y="251"/>
                    </a:lnTo>
                    <a:lnTo>
                      <a:pt x="921" y="251"/>
                    </a:lnTo>
                    <a:lnTo>
                      <a:pt x="920" y="248"/>
                    </a:lnTo>
                    <a:lnTo>
                      <a:pt x="914" y="243"/>
                    </a:lnTo>
                    <a:lnTo>
                      <a:pt x="911" y="239"/>
                    </a:lnTo>
                    <a:lnTo>
                      <a:pt x="909" y="243"/>
                    </a:lnTo>
                    <a:lnTo>
                      <a:pt x="909" y="244"/>
                    </a:lnTo>
                    <a:lnTo>
                      <a:pt x="912" y="250"/>
                    </a:lnTo>
                    <a:lnTo>
                      <a:pt x="914" y="253"/>
                    </a:lnTo>
                    <a:lnTo>
                      <a:pt x="916" y="259"/>
                    </a:lnTo>
                    <a:lnTo>
                      <a:pt x="916" y="260"/>
                    </a:lnTo>
                    <a:lnTo>
                      <a:pt x="914" y="259"/>
                    </a:lnTo>
                    <a:lnTo>
                      <a:pt x="912" y="259"/>
                    </a:lnTo>
                    <a:lnTo>
                      <a:pt x="907" y="255"/>
                    </a:lnTo>
                    <a:lnTo>
                      <a:pt x="905" y="253"/>
                    </a:lnTo>
                    <a:lnTo>
                      <a:pt x="905" y="251"/>
                    </a:lnTo>
                    <a:lnTo>
                      <a:pt x="903" y="251"/>
                    </a:lnTo>
                    <a:lnTo>
                      <a:pt x="903" y="259"/>
                    </a:lnTo>
                    <a:lnTo>
                      <a:pt x="898" y="257"/>
                    </a:lnTo>
                    <a:lnTo>
                      <a:pt x="896" y="259"/>
                    </a:lnTo>
                    <a:lnTo>
                      <a:pt x="893" y="255"/>
                    </a:lnTo>
                    <a:lnTo>
                      <a:pt x="893" y="257"/>
                    </a:lnTo>
                    <a:lnTo>
                      <a:pt x="889" y="244"/>
                    </a:lnTo>
                    <a:lnTo>
                      <a:pt x="887" y="244"/>
                    </a:lnTo>
                    <a:lnTo>
                      <a:pt x="882" y="248"/>
                    </a:lnTo>
                    <a:lnTo>
                      <a:pt x="882" y="248"/>
                    </a:lnTo>
                    <a:lnTo>
                      <a:pt x="880" y="248"/>
                    </a:lnTo>
                    <a:lnTo>
                      <a:pt x="871" y="244"/>
                    </a:lnTo>
                    <a:lnTo>
                      <a:pt x="868" y="248"/>
                    </a:lnTo>
                    <a:lnTo>
                      <a:pt x="870" y="250"/>
                    </a:lnTo>
                    <a:lnTo>
                      <a:pt x="868" y="250"/>
                    </a:lnTo>
                    <a:lnTo>
                      <a:pt x="868" y="253"/>
                    </a:lnTo>
                    <a:lnTo>
                      <a:pt x="875" y="257"/>
                    </a:lnTo>
                    <a:lnTo>
                      <a:pt x="878" y="257"/>
                    </a:lnTo>
                    <a:lnTo>
                      <a:pt x="880" y="259"/>
                    </a:lnTo>
                    <a:lnTo>
                      <a:pt x="878" y="264"/>
                    </a:lnTo>
                    <a:lnTo>
                      <a:pt x="878" y="266"/>
                    </a:lnTo>
                    <a:lnTo>
                      <a:pt x="878" y="268"/>
                    </a:lnTo>
                    <a:lnTo>
                      <a:pt x="871" y="278"/>
                    </a:lnTo>
                    <a:lnTo>
                      <a:pt x="870" y="280"/>
                    </a:lnTo>
                    <a:lnTo>
                      <a:pt x="868" y="284"/>
                    </a:lnTo>
                    <a:lnTo>
                      <a:pt x="864" y="284"/>
                    </a:lnTo>
                    <a:lnTo>
                      <a:pt x="862" y="289"/>
                    </a:lnTo>
                    <a:lnTo>
                      <a:pt x="862" y="291"/>
                    </a:lnTo>
                    <a:lnTo>
                      <a:pt x="848" y="293"/>
                    </a:lnTo>
                    <a:lnTo>
                      <a:pt x="845" y="287"/>
                    </a:lnTo>
                    <a:lnTo>
                      <a:pt x="836" y="280"/>
                    </a:lnTo>
                    <a:lnTo>
                      <a:pt x="836" y="280"/>
                    </a:lnTo>
                    <a:lnTo>
                      <a:pt x="830" y="276"/>
                    </a:lnTo>
                    <a:lnTo>
                      <a:pt x="823" y="271"/>
                    </a:lnTo>
                    <a:lnTo>
                      <a:pt x="821" y="271"/>
                    </a:lnTo>
                    <a:lnTo>
                      <a:pt x="820" y="273"/>
                    </a:lnTo>
                    <a:lnTo>
                      <a:pt x="814" y="271"/>
                    </a:lnTo>
                    <a:lnTo>
                      <a:pt x="812" y="275"/>
                    </a:lnTo>
                    <a:lnTo>
                      <a:pt x="818" y="278"/>
                    </a:lnTo>
                    <a:lnTo>
                      <a:pt x="830" y="293"/>
                    </a:lnTo>
                    <a:lnTo>
                      <a:pt x="846" y="296"/>
                    </a:lnTo>
                    <a:lnTo>
                      <a:pt x="848" y="296"/>
                    </a:lnTo>
                    <a:lnTo>
                      <a:pt x="862" y="296"/>
                    </a:lnTo>
                    <a:lnTo>
                      <a:pt x="864" y="298"/>
                    </a:lnTo>
                    <a:lnTo>
                      <a:pt x="864" y="298"/>
                    </a:lnTo>
                    <a:lnTo>
                      <a:pt x="862" y="305"/>
                    </a:lnTo>
                    <a:lnTo>
                      <a:pt x="862" y="307"/>
                    </a:lnTo>
                    <a:lnTo>
                      <a:pt x="861" y="310"/>
                    </a:lnTo>
                    <a:lnTo>
                      <a:pt x="859" y="316"/>
                    </a:lnTo>
                    <a:lnTo>
                      <a:pt x="857" y="318"/>
                    </a:lnTo>
                    <a:lnTo>
                      <a:pt x="853" y="323"/>
                    </a:lnTo>
                    <a:lnTo>
                      <a:pt x="850" y="325"/>
                    </a:lnTo>
                    <a:lnTo>
                      <a:pt x="850" y="328"/>
                    </a:lnTo>
                    <a:lnTo>
                      <a:pt x="846" y="337"/>
                    </a:lnTo>
                    <a:lnTo>
                      <a:pt x="845" y="337"/>
                    </a:lnTo>
                    <a:lnTo>
                      <a:pt x="843" y="341"/>
                    </a:lnTo>
                    <a:lnTo>
                      <a:pt x="837" y="343"/>
                    </a:lnTo>
                    <a:lnTo>
                      <a:pt x="830" y="341"/>
                    </a:lnTo>
                    <a:lnTo>
                      <a:pt x="830" y="344"/>
                    </a:lnTo>
                    <a:lnTo>
                      <a:pt x="823" y="339"/>
                    </a:lnTo>
                    <a:lnTo>
                      <a:pt x="823" y="341"/>
                    </a:lnTo>
                    <a:lnTo>
                      <a:pt x="823" y="343"/>
                    </a:lnTo>
                    <a:lnTo>
                      <a:pt x="821" y="339"/>
                    </a:lnTo>
                    <a:lnTo>
                      <a:pt x="821" y="339"/>
                    </a:lnTo>
                    <a:lnTo>
                      <a:pt x="818" y="337"/>
                    </a:lnTo>
                    <a:lnTo>
                      <a:pt x="818" y="337"/>
                    </a:lnTo>
                    <a:lnTo>
                      <a:pt x="818" y="339"/>
                    </a:lnTo>
                    <a:lnTo>
                      <a:pt x="818" y="343"/>
                    </a:lnTo>
                    <a:lnTo>
                      <a:pt x="820" y="344"/>
                    </a:lnTo>
                    <a:lnTo>
                      <a:pt x="818" y="346"/>
                    </a:lnTo>
                    <a:lnTo>
                      <a:pt x="818" y="346"/>
                    </a:lnTo>
                    <a:lnTo>
                      <a:pt x="814" y="344"/>
                    </a:lnTo>
                    <a:lnTo>
                      <a:pt x="814" y="348"/>
                    </a:lnTo>
                    <a:lnTo>
                      <a:pt x="816" y="350"/>
                    </a:lnTo>
                    <a:lnTo>
                      <a:pt x="812" y="357"/>
                    </a:lnTo>
                    <a:lnTo>
                      <a:pt x="811" y="357"/>
                    </a:lnTo>
                    <a:lnTo>
                      <a:pt x="809" y="359"/>
                    </a:lnTo>
                    <a:lnTo>
                      <a:pt x="809" y="360"/>
                    </a:lnTo>
                    <a:lnTo>
                      <a:pt x="807" y="359"/>
                    </a:lnTo>
                    <a:lnTo>
                      <a:pt x="805" y="362"/>
                    </a:lnTo>
                    <a:lnTo>
                      <a:pt x="803" y="359"/>
                    </a:lnTo>
                    <a:lnTo>
                      <a:pt x="802" y="359"/>
                    </a:lnTo>
                    <a:lnTo>
                      <a:pt x="800" y="357"/>
                    </a:lnTo>
                    <a:lnTo>
                      <a:pt x="796" y="355"/>
                    </a:lnTo>
                    <a:lnTo>
                      <a:pt x="793" y="351"/>
                    </a:lnTo>
                    <a:lnTo>
                      <a:pt x="791" y="353"/>
                    </a:lnTo>
                    <a:lnTo>
                      <a:pt x="791" y="350"/>
                    </a:lnTo>
                    <a:lnTo>
                      <a:pt x="789" y="351"/>
                    </a:lnTo>
                    <a:lnTo>
                      <a:pt x="786" y="351"/>
                    </a:lnTo>
                    <a:lnTo>
                      <a:pt x="784" y="351"/>
                    </a:lnTo>
                    <a:lnTo>
                      <a:pt x="784" y="351"/>
                    </a:lnTo>
                    <a:lnTo>
                      <a:pt x="780" y="351"/>
                    </a:lnTo>
                    <a:lnTo>
                      <a:pt x="775" y="350"/>
                    </a:lnTo>
                    <a:lnTo>
                      <a:pt x="773" y="348"/>
                    </a:lnTo>
                    <a:lnTo>
                      <a:pt x="761" y="341"/>
                    </a:lnTo>
                    <a:lnTo>
                      <a:pt x="757" y="346"/>
                    </a:lnTo>
                    <a:lnTo>
                      <a:pt x="759" y="348"/>
                    </a:lnTo>
                    <a:lnTo>
                      <a:pt x="761" y="350"/>
                    </a:lnTo>
                    <a:lnTo>
                      <a:pt x="762" y="348"/>
                    </a:lnTo>
                    <a:lnTo>
                      <a:pt x="762" y="346"/>
                    </a:lnTo>
                    <a:lnTo>
                      <a:pt x="762" y="344"/>
                    </a:lnTo>
                    <a:lnTo>
                      <a:pt x="764" y="348"/>
                    </a:lnTo>
                    <a:lnTo>
                      <a:pt x="773" y="350"/>
                    </a:lnTo>
                    <a:lnTo>
                      <a:pt x="775" y="351"/>
                    </a:lnTo>
                    <a:lnTo>
                      <a:pt x="775" y="353"/>
                    </a:lnTo>
                    <a:lnTo>
                      <a:pt x="777" y="351"/>
                    </a:lnTo>
                    <a:lnTo>
                      <a:pt x="782" y="353"/>
                    </a:lnTo>
                    <a:lnTo>
                      <a:pt x="782" y="355"/>
                    </a:lnTo>
                    <a:lnTo>
                      <a:pt x="780" y="357"/>
                    </a:lnTo>
                    <a:lnTo>
                      <a:pt x="778" y="359"/>
                    </a:lnTo>
                    <a:lnTo>
                      <a:pt x="780" y="359"/>
                    </a:lnTo>
                    <a:lnTo>
                      <a:pt x="782" y="357"/>
                    </a:lnTo>
                    <a:lnTo>
                      <a:pt x="784" y="355"/>
                    </a:lnTo>
                    <a:lnTo>
                      <a:pt x="787" y="353"/>
                    </a:lnTo>
                    <a:lnTo>
                      <a:pt x="789" y="355"/>
                    </a:lnTo>
                    <a:lnTo>
                      <a:pt x="791" y="357"/>
                    </a:lnTo>
                    <a:lnTo>
                      <a:pt x="795" y="360"/>
                    </a:lnTo>
                    <a:lnTo>
                      <a:pt x="798" y="360"/>
                    </a:lnTo>
                    <a:lnTo>
                      <a:pt x="798" y="362"/>
                    </a:lnTo>
                    <a:lnTo>
                      <a:pt x="802" y="362"/>
                    </a:lnTo>
                    <a:lnTo>
                      <a:pt x="802" y="364"/>
                    </a:lnTo>
                    <a:lnTo>
                      <a:pt x="802" y="364"/>
                    </a:lnTo>
                    <a:lnTo>
                      <a:pt x="803" y="368"/>
                    </a:lnTo>
                    <a:lnTo>
                      <a:pt x="805" y="376"/>
                    </a:lnTo>
                    <a:lnTo>
                      <a:pt x="805" y="380"/>
                    </a:lnTo>
                    <a:lnTo>
                      <a:pt x="805" y="382"/>
                    </a:lnTo>
                    <a:lnTo>
                      <a:pt x="803" y="384"/>
                    </a:lnTo>
                    <a:lnTo>
                      <a:pt x="796" y="384"/>
                    </a:lnTo>
                    <a:lnTo>
                      <a:pt x="795" y="385"/>
                    </a:lnTo>
                    <a:lnTo>
                      <a:pt x="793" y="385"/>
                    </a:lnTo>
                    <a:lnTo>
                      <a:pt x="782" y="385"/>
                    </a:lnTo>
                    <a:lnTo>
                      <a:pt x="780" y="387"/>
                    </a:lnTo>
                    <a:lnTo>
                      <a:pt x="777" y="385"/>
                    </a:lnTo>
                    <a:lnTo>
                      <a:pt x="775" y="387"/>
                    </a:lnTo>
                    <a:lnTo>
                      <a:pt x="778" y="393"/>
                    </a:lnTo>
                    <a:lnTo>
                      <a:pt x="782" y="391"/>
                    </a:lnTo>
                    <a:lnTo>
                      <a:pt x="784" y="394"/>
                    </a:lnTo>
                    <a:lnTo>
                      <a:pt x="780" y="394"/>
                    </a:lnTo>
                    <a:lnTo>
                      <a:pt x="777" y="394"/>
                    </a:lnTo>
                    <a:lnTo>
                      <a:pt x="773" y="394"/>
                    </a:lnTo>
                    <a:lnTo>
                      <a:pt x="773" y="403"/>
                    </a:lnTo>
                    <a:lnTo>
                      <a:pt x="773" y="412"/>
                    </a:lnTo>
                    <a:lnTo>
                      <a:pt x="770" y="407"/>
                    </a:lnTo>
                    <a:lnTo>
                      <a:pt x="768" y="407"/>
                    </a:lnTo>
                    <a:lnTo>
                      <a:pt x="768" y="409"/>
                    </a:lnTo>
                    <a:lnTo>
                      <a:pt x="764" y="410"/>
                    </a:lnTo>
                    <a:lnTo>
                      <a:pt x="766" y="412"/>
                    </a:lnTo>
                    <a:lnTo>
                      <a:pt x="764" y="416"/>
                    </a:lnTo>
                    <a:lnTo>
                      <a:pt x="764" y="416"/>
                    </a:lnTo>
                    <a:lnTo>
                      <a:pt x="759" y="416"/>
                    </a:lnTo>
                    <a:lnTo>
                      <a:pt x="761" y="419"/>
                    </a:lnTo>
                    <a:lnTo>
                      <a:pt x="762" y="421"/>
                    </a:lnTo>
                    <a:lnTo>
                      <a:pt x="759" y="426"/>
                    </a:lnTo>
                    <a:lnTo>
                      <a:pt x="750" y="434"/>
                    </a:lnTo>
                    <a:lnTo>
                      <a:pt x="743" y="434"/>
                    </a:lnTo>
                    <a:lnTo>
                      <a:pt x="743" y="435"/>
                    </a:lnTo>
                    <a:lnTo>
                      <a:pt x="748" y="439"/>
                    </a:lnTo>
                    <a:lnTo>
                      <a:pt x="746" y="450"/>
                    </a:lnTo>
                    <a:lnTo>
                      <a:pt x="746" y="451"/>
                    </a:lnTo>
                    <a:lnTo>
                      <a:pt x="743" y="451"/>
                    </a:lnTo>
                    <a:lnTo>
                      <a:pt x="743" y="459"/>
                    </a:lnTo>
                    <a:lnTo>
                      <a:pt x="743" y="462"/>
                    </a:lnTo>
                    <a:lnTo>
                      <a:pt x="739" y="462"/>
                    </a:lnTo>
                    <a:lnTo>
                      <a:pt x="739" y="464"/>
                    </a:lnTo>
                    <a:lnTo>
                      <a:pt x="739" y="505"/>
                    </a:lnTo>
                    <a:lnTo>
                      <a:pt x="736" y="510"/>
                    </a:lnTo>
                    <a:lnTo>
                      <a:pt x="739" y="510"/>
                    </a:lnTo>
                    <a:lnTo>
                      <a:pt x="741" y="518"/>
                    </a:lnTo>
                    <a:lnTo>
                      <a:pt x="743" y="519"/>
                    </a:lnTo>
                    <a:lnTo>
                      <a:pt x="745" y="519"/>
                    </a:lnTo>
                    <a:lnTo>
                      <a:pt x="745" y="518"/>
                    </a:lnTo>
                    <a:lnTo>
                      <a:pt x="746" y="526"/>
                    </a:lnTo>
                    <a:lnTo>
                      <a:pt x="746" y="525"/>
                    </a:lnTo>
                    <a:lnTo>
                      <a:pt x="748" y="518"/>
                    </a:lnTo>
                    <a:lnTo>
                      <a:pt x="748" y="518"/>
                    </a:lnTo>
                    <a:lnTo>
                      <a:pt x="757" y="518"/>
                    </a:lnTo>
                    <a:lnTo>
                      <a:pt x="759" y="519"/>
                    </a:lnTo>
                    <a:lnTo>
                      <a:pt x="761" y="519"/>
                    </a:lnTo>
                    <a:lnTo>
                      <a:pt x="762" y="518"/>
                    </a:lnTo>
                    <a:lnTo>
                      <a:pt x="764" y="519"/>
                    </a:lnTo>
                    <a:lnTo>
                      <a:pt x="764" y="521"/>
                    </a:lnTo>
                    <a:lnTo>
                      <a:pt x="766" y="530"/>
                    </a:lnTo>
                    <a:lnTo>
                      <a:pt x="771" y="543"/>
                    </a:lnTo>
                    <a:lnTo>
                      <a:pt x="771" y="551"/>
                    </a:lnTo>
                    <a:lnTo>
                      <a:pt x="775" y="557"/>
                    </a:lnTo>
                    <a:lnTo>
                      <a:pt x="775" y="568"/>
                    </a:lnTo>
                    <a:lnTo>
                      <a:pt x="775" y="571"/>
                    </a:lnTo>
                    <a:lnTo>
                      <a:pt x="771" y="573"/>
                    </a:lnTo>
                    <a:lnTo>
                      <a:pt x="771" y="575"/>
                    </a:lnTo>
                    <a:lnTo>
                      <a:pt x="777" y="571"/>
                    </a:lnTo>
                    <a:lnTo>
                      <a:pt x="777" y="573"/>
                    </a:lnTo>
                    <a:lnTo>
                      <a:pt x="778" y="573"/>
                    </a:lnTo>
                    <a:lnTo>
                      <a:pt x="796" y="564"/>
                    </a:lnTo>
                    <a:lnTo>
                      <a:pt x="803" y="566"/>
                    </a:lnTo>
                    <a:lnTo>
                      <a:pt x="809" y="569"/>
                    </a:lnTo>
                    <a:lnTo>
                      <a:pt x="811" y="571"/>
                    </a:lnTo>
                    <a:lnTo>
                      <a:pt x="821" y="576"/>
                    </a:lnTo>
                    <a:lnTo>
                      <a:pt x="828" y="578"/>
                    </a:lnTo>
                    <a:lnTo>
                      <a:pt x="845" y="587"/>
                    </a:lnTo>
                    <a:lnTo>
                      <a:pt x="852" y="598"/>
                    </a:lnTo>
                    <a:lnTo>
                      <a:pt x="852" y="600"/>
                    </a:lnTo>
                    <a:lnTo>
                      <a:pt x="853" y="601"/>
                    </a:lnTo>
                    <a:lnTo>
                      <a:pt x="855" y="601"/>
                    </a:lnTo>
                    <a:lnTo>
                      <a:pt x="857" y="601"/>
                    </a:lnTo>
                    <a:lnTo>
                      <a:pt x="857" y="603"/>
                    </a:lnTo>
                    <a:lnTo>
                      <a:pt x="861" y="603"/>
                    </a:lnTo>
                    <a:lnTo>
                      <a:pt x="862" y="603"/>
                    </a:lnTo>
                    <a:lnTo>
                      <a:pt x="864" y="603"/>
                    </a:lnTo>
                    <a:lnTo>
                      <a:pt x="868" y="607"/>
                    </a:lnTo>
                    <a:lnTo>
                      <a:pt x="880" y="610"/>
                    </a:lnTo>
                    <a:lnTo>
                      <a:pt x="884" y="612"/>
                    </a:lnTo>
                    <a:lnTo>
                      <a:pt x="884" y="616"/>
                    </a:lnTo>
                    <a:lnTo>
                      <a:pt x="889" y="618"/>
                    </a:lnTo>
                    <a:lnTo>
                      <a:pt x="889" y="619"/>
                    </a:lnTo>
                    <a:lnTo>
                      <a:pt x="884" y="634"/>
                    </a:lnTo>
                    <a:lnTo>
                      <a:pt x="891" y="621"/>
                    </a:lnTo>
                    <a:lnTo>
                      <a:pt x="923" y="623"/>
                    </a:lnTo>
                    <a:lnTo>
                      <a:pt x="925" y="621"/>
                    </a:lnTo>
                    <a:lnTo>
                      <a:pt x="928" y="621"/>
                    </a:lnTo>
                    <a:lnTo>
                      <a:pt x="928" y="625"/>
                    </a:lnTo>
                    <a:lnTo>
                      <a:pt x="930" y="623"/>
                    </a:lnTo>
                    <a:lnTo>
                      <a:pt x="934" y="625"/>
                    </a:lnTo>
                    <a:lnTo>
                      <a:pt x="936" y="626"/>
                    </a:lnTo>
                    <a:lnTo>
                      <a:pt x="937" y="625"/>
                    </a:lnTo>
                    <a:lnTo>
                      <a:pt x="939" y="632"/>
                    </a:lnTo>
                    <a:lnTo>
                      <a:pt x="937" y="653"/>
                    </a:lnTo>
                    <a:lnTo>
                      <a:pt x="939" y="659"/>
                    </a:lnTo>
                    <a:lnTo>
                      <a:pt x="939" y="676"/>
                    </a:lnTo>
                    <a:lnTo>
                      <a:pt x="939" y="678"/>
                    </a:lnTo>
                    <a:lnTo>
                      <a:pt x="937" y="684"/>
                    </a:lnTo>
                    <a:lnTo>
                      <a:pt x="939" y="685"/>
                    </a:lnTo>
                    <a:lnTo>
                      <a:pt x="941" y="687"/>
                    </a:lnTo>
                    <a:lnTo>
                      <a:pt x="941" y="689"/>
                    </a:lnTo>
                    <a:lnTo>
                      <a:pt x="945" y="693"/>
                    </a:lnTo>
                    <a:lnTo>
                      <a:pt x="946" y="693"/>
                    </a:lnTo>
                    <a:lnTo>
                      <a:pt x="948" y="696"/>
                    </a:lnTo>
                    <a:lnTo>
                      <a:pt x="952" y="701"/>
                    </a:lnTo>
                    <a:lnTo>
                      <a:pt x="952" y="701"/>
                    </a:lnTo>
                    <a:lnTo>
                      <a:pt x="948" y="703"/>
                    </a:lnTo>
                    <a:lnTo>
                      <a:pt x="941" y="709"/>
                    </a:lnTo>
                    <a:lnTo>
                      <a:pt x="941" y="709"/>
                    </a:lnTo>
                    <a:lnTo>
                      <a:pt x="950" y="705"/>
                    </a:lnTo>
                    <a:lnTo>
                      <a:pt x="953" y="705"/>
                    </a:lnTo>
                    <a:lnTo>
                      <a:pt x="964" y="716"/>
                    </a:lnTo>
                    <a:lnTo>
                      <a:pt x="966" y="723"/>
                    </a:lnTo>
                    <a:lnTo>
                      <a:pt x="966" y="726"/>
                    </a:lnTo>
                    <a:lnTo>
                      <a:pt x="959" y="734"/>
                    </a:lnTo>
                    <a:lnTo>
                      <a:pt x="968" y="726"/>
                    </a:lnTo>
                    <a:lnTo>
                      <a:pt x="970" y="726"/>
                    </a:lnTo>
                    <a:lnTo>
                      <a:pt x="973" y="730"/>
                    </a:lnTo>
                    <a:lnTo>
                      <a:pt x="975" y="730"/>
                    </a:lnTo>
                    <a:lnTo>
                      <a:pt x="978" y="734"/>
                    </a:lnTo>
                    <a:lnTo>
                      <a:pt x="980" y="734"/>
                    </a:lnTo>
                    <a:lnTo>
                      <a:pt x="978" y="725"/>
                    </a:lnTo>
                    <a:lnTo>
                      <a:pt x="980" y="723"/>
                    </a:lnTo>
                    <a:lnTo>
                      <a:pt x="982" y="723"/>
                    </a:lnTo>
                    <a:lnTo>
                      <a:pt x="982" y="719"/>
                    </a:lnTo>
                    <a:lnTo>
                      <a:pt x="986" y="719"/>
                    </a:lnTo>
                    <a:lnTo>
                      <a:pt x="987" y="719"/>
                    </a:lnTo>
                    <a:lnTo>
                      <a:pt x="987" y="719"/>
                    </a:lnTo>
                    <a:lnTo>
                      <a:pt x="991" y="723"/>
                    </a:lnTo>
                    <a:lnTo>
                      <a:pt x="991" y="728"/>
                    </a:lnTo>
                    <a:lnTo>
                      <a:pt x="993" y="728"/>
                    </a:lnTo>
                    <a:lnTo>
                      <a:pt x="996" y="726"/>
                    </a:lnTo>
                    <a:lnTo>
                      <a:pt x="996" y="725"/>
                    </a:lnTo>
                    <a:lnTo>
                      <a:pt x="996" y="723"/>
                    </a:lnTo>
                    <a:lnTo>
                      <a:pt x="996" y="721"/>
                    </a:lnTo>
                    <a:lnTo>
                      <a:pt x="995" y="721"/>
                    </a:lnTo>
                    <a:lnTo>
                      <a:pt x="991" y="716"/>
                    </a:lnTo>
                    <a:lnTo>
                      <a:pt x="991" y="714"/>
                    </a:lnTo>
                    <a:lnTo>
                      <a:pt x="995" y="712"/>
                    </a:lnTo>
                    <a:lnTo>
                      <a:pt x="995" y="712"/>
                    </a:lnTo>
                    <a:lnTo>
                      <a:pt x="996" y="710"/>
                    </a:lnTo>
                    <a:lnTo>
                      <a:pt x="1000" y="705"/>
                    </a:lnTo>
                    <a:lnTo>
                      <a:pt x="1002" y="703"/>
                    </a:lnTo>
                    <a:lnTo>
                      <a:pt x="1007" y="703"/>
                    </a:lnTo>
                    <a:lnTo>
                      <a:pt x="1009" y="703"/>
                    </a:lnTo>
                    <a:lnTo>
                      <a:pt x="1009" y="701"/>
                    </a:lnTo>
                    <a:lnTo>
                      <a:pt x="1003" y="703"/>
                    </a:lnTo>
                    <a:lnTo>
                      <a:pt x="1002" y="703"/>
                    </a:lnTo>
                    <a:lnTo>
                      <a:pt x="1000" y="701"/>
                    </a:lnTo>
                    <a:lnTo>
                      <a:pt x="998" y="696"/>
                    </a:lnTo>
                    <a:lnTo>
                      <a:pt x="996" y="696"/>
                    </a:lnTo>
                    <a:lnTo>
                      <a:pt x="995" y="691"/>
                    </a:lnTo>
                    <a:lnTo>
                      <a:pt x="995" y="689"/>
                    </a:lnTo>
                    <a:lnTo>
                      <a:pt x="996" y="687"/>
                    </a:lnTo>
                    <a:lnTo>
                      <a:pt x="995" y="687"/>
                    </a:lnTo>
                    <a:lnTo>
                      <a:pt x="993" y="660"/>
                    </a:lnTo>
                    <a:lnTo>
                      <a:pt x="984" y="643"/>
                    </a:lnTo>
                    <a:lnTo>
                      <a:pt x="980" y="641"/>
                    </a:lnTo>
                    <a:lnTo>
                      <a:pt x="1018" y="614"/>
                    </a:lnTo>
                    <a:lnTo>
                      <a:pt x="1012" y="618"/>
                    </a:lnTo>
                    <a:lnTo>
                      <a:pt x="1027" y="594"/>
                    </a:lnTo>
                    <a:lnTo>
                      <a:pt x="1030" y="596"/>
                    </a:lnTo>
                    <a:lnTo>
                      <a:pt x="1032" y="598"/>
                    </a:lnTo>
                    <a:lnTo>
                      <a:pt x="1036" y="596"/>
                    </a:lnTo>
                    <a:lnTo>
                      <a:pt x="1036" y="593"/>
                    </a:lnTo>
                    <a:lnTo>
                      <a:pt x="1034" y="593"/>
                    </a:lnTo>
                    <a:lnTo>
                      <a:pt x="1034" y="585"/>
                    </a:lnTo>
                    <a:lnTo>
                      <a:pt x="1032" y="584"/>
                    </a:lnTo>
                    <a:lnTo>
                      <a:pt x="1028" y="593"/>
                    </a:lnTo>
                    <a:lnTo>
                      <a:pt x="1027" y="593"/>
                    </a:lnTo>
                    <a:lnTo>
                      <a:pt x="1025" y="573"/>
                    </a:lnTo>
                    <a:lnTo>
                      <a:pt x="1025" y="571"/>
                    </a:lnTo>
                    <a:lnTo>
                      <a:pt x="1014" y="534"/>
                    </a:lnTo>
                    <a:lnTo>
                      <a:pt x="1012" y="534"/>
                    </a:lnTo>
                    <a:lnTo>
                      <a:pt x="995" y="519"/>
                    </a:lnTo>
                    <a:lnTo>
                      <a:pt x="995" y="518"/>
                    </a:lnTo>
                    <a:lnTo>
                      <a:pt x="996" y="516"/>
                    </a:lnTo>
                    <a:lnTo>
                      <a:pt x="995" y="510"/>
                    </a:lnTo>
                    <a:lnTo>
                      <a:pt x="995" y="509"/>
                    </a:lnTo>
                    <a:lnTo>
                      <a:pt x="996" y="509"/>
                    </a:lnTo>
                    <a:lnTo>
                      <a:pt x="1000" y="505"/>
                    </a:lnTo>
                    <a:lnTo>
                      <a:pt x="1005" y="505"/>
                    </a:lnTo>
                    <a:lnTo>
                      <a:pt x="1007" y="503"/>
                    </a:lnTo>
                    <a:lnTo>
                      <a:pt x="1012" y="503"/>
                    </a:lnTo>
                    <a:lnTo>
                      <a:pt x="1012" y="500"/>
                    </a:lnTo>
                    <a:lnTo>
                      <a:pt x="1011" y="498"/>
                    </a:lnTo>
                    <a:lnTo>
                      <a:pt x="1011" y="494"/>
                    </a:lnTo>
                    <a:lnTo>
                      <a:pt x="1011" y="491"/>
                    </a:lnTo>
                    <a:lnTo>
                      <a:pt x="1016" y="493"/>
                    </a:lnTo>
                    <a:lnTo>
                      <a:pt x="1016" y="494"/>
                    </a:lnTo>
                    <a:lnTo>
                      <a:pt x="1023" y="493"/>
                    </a:lnTo>
                    <a:lnTo>
                      <a:pt x="1018" y="491"/>
                    </a:lnTo>
                    <a:lnTo>
                      <a:pt x="1016" y="489"/>
                    </a:lnTo>
                    <a:lnTo>
                      <a:pt x="1018" y="484"/>
                    </a:lnTo>
                    <a:lnTo>
                      <a:pt x="1018" y="484"/>
                    </a:lnTo>
                    <a:lnTo>
                      <a:pt x="1020" y="480"/>
                    </a:lnTo>
                    <a:lnTo>
                      <a:pt x="1018" y="482"/>
                    </a:lnTo>
                    <a:lnTo>
                      <a:pt x="1012" y="480"/>
                    </a:lnTo>
                    <a:lnTo>
                      <a:pt x="1012" y="478"/>
                    </a:lnTo>
                    <a:lnTo>
                      <a:pt x="1012" y="478"/>
                    </a:lnTo>
                    <a:lnTo>
                      <a:pt x="1014" y="476"/>
                    </a:lnTo>
                    <a:lnTo>
                      <a:pt x="1016" y="475"/>
                    </a:lnTo>
                    <a:lnTo>
                      <a:pt x="1014" y="473"/>
                    </a:lnTo>
                    <a:lnTo>
                      <a:pt x="1012" y="471"/>
                    </a:lnTo>
                    <a:lnTo>
                      <a:pt x="1011" y="466"/>
                    </a:lnTo>
                    <a:lnTo>
                      <a:pt x="1012" y="460"/>
                    </a:lnTo>
                    <a:lnTo>
                      <a:pt x="1011" y="460"/>
                    </a:lnTo>
                    <a:lnTo>
                      <a:pt x="1011" y="459"/>
                    </a:lnTo>
                    <a:lnTo>
                      <a:pt x="1016" y="457"/>
                    </a:lnTo>
                    <a:lnTo>
                      <a:pt x="1016" y="457"/>
                    </a:lnTo>
                    <a:lnTo>
                      <a:pt x="1012" y="457"/>
                    </a:lnTo>
                    <a:lnTo>
                      <a:pt x="1011" y="455"/>
                    </a:lnTo>
                    <a:lnTo>
                      <a:pt x="1009" y="457"/>
                    </a:lnTo>
                    <a:lnTo>
                      <a:pt x="1007" y="455"/>
                    </a:lnTo>
                    <a:lnTo>
                      <a:pt x="1005" y="453"/>
                    </a:lnTo>
                    <a:lnTo>
                      <a:pt x="1005" y="450"/>
                    </a:lnTo>
                    <a:lnTo>
                      <a:pt x="1007" y="444"/>
                    </a:lnTo>
                    <a:lnTo>
                      <a:pt x="1009" y="439"/>
                    </a:lnTo>
                    <a:lnTo>
                      <a:pt x="1011" y="437"/>
                    </a:lnTo>
                    <a:lnTo>
                      <a:pt x="1011" y="434"/>
                    </a:lnTo>
                    <a:lnTo>
                      <a:pt x="1012" y="434"/>
                    </a:lnTo>
                    <a:lnTo>
                      <a:pt x="1012" y="432"/>
                    </a:lnTo>
                    <a:lnTo>
                      <a:pt x="1014" y="428"/>
                    </a:lnTo>
                    <a:lnTo>
                      <a:pt x="1016" y="428"/>
                    </a:lnTo>
                    <a:lnTo>
                      <a:pt x="1016" y="423"/>
                    </a:lnTo>
                    <a:lnTo>
                      <a:pt x="1014" y="425"/>
                    </a:lnTo>
                    <a:lnTo>
                      <a:pt x="1012" y="426"/>
                    </a:lnTo>
                    <a:lnTo>
                      <a:pt x="1011" y="425"/>
                    </a:lnTo>
                    <a:lnTo>
                      <a:pt x="1009" y="423"/>
                    </a:lnTo>
                    <a:lnTo>
                      <a:pt x="1005" y="421"/>
                    </a:lnTo>
                    <a:lnTo>
                      <a:pt x="1005" y="418"/>
                    </a:lnTo>
                    <a:lnTo>
                      <a:pt x="1003" y="414"/>
                    </a:lnTo>
                    <a:lnTo>
                      <a:pt x="1003" y="407"/>
                    </a:lnTo>
                    <a:lnTo>
                      <a:pt x="1003" y="405"/>
                    </a:lnTo>
                    <a:lnTo>
                      <a:pt x="1007" y="403"/>
                    </a:lnTo>
                    <a:lnTo>
                      <a:pt x="1012" y="394"/>
                    </a:lnTo>
                    <a:lnTo>
                      <a:pt x="1014" y="394"/>
                    </a:lnTo>
                    <a:lnTo>
                      <a:pt x="1014" y="396"/>
                    </a:lnTo>
                    <a:lnTo>
                      <a:pt x="1025" y="396"/>
                    </a:lnTo>
                    <a:lnTo>
                      <a:pt x="1034" y="398"/>
                    </a:lnTo>
                    <a:lnTo>
                      <a:pt x="1036" y="400"/>
                    </a:lnTo>
                    <a:lnTo>
                      <a:pt x="1036" y="400"/>
                    </a:lnTo>
                    <a:lnTo>
                      <a:pt x="1039" y="401"/>
                    </a:lnTo>
                    <a:lnTo>
                      <a:pt x="1043" y="401"/>
                    </a:lnTo>
                    <a:lnTo>
                      <a:pt x="1046" y="403"/>
                    </a:lnTo>
                    <a:lnTo>
                      <a:pt x="1045" y="405"/>
                    </a:lnTo>
                    <a:lnTo>
                      <a:pt x="1045" y="407"/>
                    </a:lnTo>
                    <a:lnTo>
                      <a:pt x="1048" y="405"/>
                    </a:lnTo>
                    <a:lnTo>
                      <a:pt x="1053" y="403"/>
                    </a:lnTo>
                    <a:lnTo>
                      <a:pt x="1053" y="405"/>
                    </a:lnTo>
                    <a:lnTo>
                      <a:pt x="1053" y="409"/>
                    </a:lnTo>
                    <a:lnTo>
                      <a:pt x="1059" y="407"/>
                    </a:lnTo>
                    <a:lnTo>
                      <a:pt x="1059" y="407"/>
                    </a:lnTo>
                    <a:lnTo>
                      <a:pt x="1061" y="405"/>
                    </a:lnTo>
                    <a:lnTo>
                      <a:pt x="1070" y="401"/>
                    </a:lnTo>
                    <a:lnTo>
                      <a:pt x="1073" y="398"/>
                    </a:lnTo>
                    <a:lnTo>
                      <a:pt x="1084" y="403"/>
                    </a:lnTo>
                    <a:lnTo>
                      <a:pt x="1086" y="407"/>
                    </a:lnTo>
                    <a:lnTo>
                      <a:pt x="1089" y="409"/>
                    </a:lnTo>
                    <a:lnTo>
                      <a:pt x="1093" y="409"/>
                    </a:lnTo>
                    <a:lnTo>
                      <a:pt x="1093" y="410"/>
                    </a:lnTo>
                    <a:lnTo>
                      <a:pt x="1095" y="412"/>
                    </a:lnTo>
                    <a:lnTo>
                      <a:pt x="1091" y="419"/>
                    </a:lnTo>
                    <a:lnTo>
                      <a:pt x="1091" y="419"/>
                    </a:lnTo>
                    <a:lnTo>
                      <a:pt x="1093" y="419"/>
                    </a:lnTo>
                    <a:lnTo>
                      <a:pt x="1095" y="419"/>
                    </a:lnTo>
                    <a:lnTo>
                      <a:pt x="1095" y="416"/>
                    </a:lnTo>
                    <a:lnTo>
                      <a:pt x="1096" y="416"/>
                    </a:lnTo>
                    <a:lnTo>
                      <a:pt x="1098" y="416"/>
                    </a:lnTo>
                    <a:lnTo>
                      <a:pt x="1098" y="421"/>
                    </a:lnTo>
                    <a:lnTo>
                      <a:pt x="1102" y="423"/>
                    </a:lnTo>
                    <a:lnTo>
                      <a:pt x="1102" y="425"/>
                    </a:lnTo>
                    <a:lnTo>
                      <a:pt x="1100" y="426"/>
                    </a:lnTo>
                    <a:lnTo>
                      <a:pt x="1100" y="430"/>
                    </a:lnTo>
                    <a:lnTo>
                      <a:pt x="1102" y="428"/>
                    </a:lnTo>
                    <a:lnTo>
                      <a:pt x="1103" y="426"/>
                    </a:lnTo>
                    <a:lnTo>
                      <a:pt x="1105" y="425"/>
                    </a:lnTo>
                    <a:lnTo>
                      <a:pt x="1109" y="426"/>
                    </a:lnTo>
                    <a:lnTo>
                      <a:pt x="1111" y="428"/>
                    </a:lnTo>
                    <a:lnTo>
                      <a:pt x="1109" y="430"/>
                    </a:lnTo>
                    <a:lnTo>
                      <a:pt x="1107" y="430"/>
                    </a:lnTo>
                    <a:lnTo>
                      <a:pt x="1105" y="432"/>
                    </a:lnTo>
                    <a:lnTo>
                      <a:pt x="1105" y="435"/>
                    </a:lnTo>
                    <a:lnTo>
                      <a:pt x="1107" y="439"/>
                    </a:lnTo>
                    <a:lnTo>
                      <a:pt x="1111" y="439"/>
                    </a:lnTo>
                    <a:lnTo>
                      <a:pt x="1109" y="441"/>
                    </a:lnTo>
                    <a:lnTo>
                      <a:pt x="1109" y="443"/>
                    </a:lnTo>
                    <a:lnTo>
                      <a:pt x="1114" y="441"/>
                    </a:lnTo>
                    <a:lnTo>
                      <a:pt x="1118" y="443"/>
                    </a:lnTo>
                    <a:lnTo>
                      <a:pt x="1120" y="444"/>
                    </a:lnTo>
                    <a:lnTo>
                      <a:pt x="1120" y="448"/>
                    </a:lnTo>
                    <a:lnTo>
                      <a:pt x="1121" y="446"/>
                    </a:lnTo>
                    <a:lnTo>
                      <a:pt x="1127" y="446"/>
                    </a:lnTo>
                    <a:lnTo>
                      <a:pt x="1130" y="444"/>
                    </a:lnTo>
                    <a:lnTo>
                      <a:pt x="1132" y="446"/>
                    </a:lnTo>
                    <a:lnTo>
                      <a:pt x="1132" y="450"/>
                    </a:lnTo>
                    <a:lnTo>
                      <a:pt x="1132" y="451"/>
                    </a:lnTo>
                    <a:lnTo>
                      <a:pt x="1134" y="451"/>
                    </a:lnTo>
                    <a:lnTo>
                      <a:pt x="1139" y="448"/>
                    </a:lnTo>
                    <a:lnTo>
                      <a:pt x="1139" y="446"/>
                    </a:lnTo>
                    <a:lnTo>
                      <a:pt x="1141" y="446"/>
                    </a:lnTo>
                    <a:lnTo>
                      <a:pt x="1145" y="450"/>
                    </a:lnTo>
                    <a:lnTo>
                      <a:pt x="1145" y="451"/>
                    </a:lnTo>
                    <a:lnTo>
                      <a:pt x="1145" y="453"/>
                    </a:lnTo>
                    <a:lnTo>
                      <a:pt x="1141" y="457"/>
                    </a:lnTo>
                    <a:lnTo>
                      <a:pt x="1139" y="462"/>
                    </a:lnTo>
                    <a:lnTo>
                      <a:pt x="1141" y="466"/>
                    </a:lnTo>
                    <a:lnTo>
                      <a:pt x="1141" y="468"/>
                    </a:lnTo>
                    <a:lnTo>
                      <a:pt x="1141" y="468"/>
                    </a:lnTo>
                    <a:lnTo>
                      <a:pt x="1143" y="471"/>
                    </a:lnTo>
                    <a:lnTo>
                      <a:pt x="1145" y="476"/>
                    </a:lnTo>
                    <a:lnTo>
                      <a:pt x="1141" y="476"/>
                    </a:lnTo>
                    <a:lnTo>
                      <a:pt x="1141" y="478"/>
                    </a:lnTo>
                    <a:lnTo>
                      <a:pt x="1139" y="480"/>
                    </a:lnTo>
                    <a:lnTo>
                      <a:pt x="1123" y="478"/>
                    </a:lnTo>
                    <a:lnTo>
                      <a:pt x="1120" y="476"/>
                    </a:lnTo>
                    <a:lnTo>
                      <a:pt x="1118" y="476"/>
                    </a:lnTo>
                    <a:lnTo>
                      <a:pt x="1116" y="478"/>
                    </a:lnTo>
                    <a:lnTo>
                      <a:pt x="1121" y="478"/>
                    </a:lnTo>
                    <a:lnTo>
                      <a:pt x="1127" y="482"/>
                    </a:lnTo>
                    <a:lnTo>
                      <a:pt x="1137" y="482"/>
                    </a:lnTo>
                    <a:lnTo>
                      <a:pt x="1141" y="484"/>
                    </a:lnTo>
                    <a:lnTo>
                      <a:pt x="1145" y="485"/>
                    </a:lnTo>
                    <a:lnTo>
                      <a:pt x="1145" y="489"/>
                    </a:lnTo>
                    <a:lnTo>
                      <a:pt x="1145" y="489"/>
                    </a:lnTo>
                    <a:lnTo>
                      <a:pt x="1145" y="491"/>
                    </a:lnTo>
                    <a:lnTo>
                      <a:pt x="1141" y="500"/>
                    </a:lnTo>
                    <a:lnTo>
                      <a:pt x="1141" y="501"/>
                    </a:lnTo>
                    <a:lnTo>
                      <a:pt x="1146" y="500"/>
                    </a:lnTo>
                    <a:lnTo>
                      <a:pt x="1148" y="501"/>
                    </a:lnTo>
                    <a:lnTo>
                      <a:pt x="1148" y="503"/>
                    </a:lnTo>
                    <a:lnTo>
                      <a:pt x="1145" y="505"/>
                    </a:lnTo>
                    <a:lnTo>
                      <a:pt x="1145" y="507"/>
                    </a:lnTo>
                    <a:lnTo>
                      <a:pt x="1146" y="507"/>
                    </a:lnTo>
                    <a:lnTo>
                      <a:pt x="1148" y="509"/>
                    </a:lnTo>
                    <a:lnTo>
                      <a:pt x="1148" y="510"/>
                    </a:lnTo>
                    <a:lnTo>
                      <a:pt x="1148" y="512"/>
                    </a:lnTo>
                    <a:lnTo>
                      <a:pt x="1146" y="512"/>
                    </a:lnTo>
                    <a:lnTo>
                      <a:pt x="1146" y="510"/>
                    </a:lnTo>
                    <a:lnTo>
                      <a:pt x="1141" y="516"/>
                    </a:lnTo>
                    <a:lnTo>
                      <a:pt x="1139" y="512"/>
                    </a:lnTo>
                    <a:lnTo>
                      <a:pt x="1137" y="510"/>
                    </a:lnTo>
                    <a:lnTo>
                      <a:pt x="1136" y="512"/>
                    </a:lnTo>
                    <a:lnTo>
                      <a:pt x="1137" y="516"/>
                    </a:lnTo>
                    <a:lnTo>
                      <a:pt x="1137" y="518"/>
                    </a:lnTo>
                    <a:lnTo>
                      <a:pt x="1130" y="518"/>
                    </a:lnTo>
                    <a:lnTo>
                      <a:pt x="1132" y="519"/>
                    </a:lnTo>
                    <a:lnTo>
                      <a:pt x="1137" y="519"/>
                    </a:lnTo>
                    <a:lnTo>
                      <a:pt x="1139" y="521"/>
                    </a:lnTo>
                    <a:lnTo>
                      <a:pt x="1146" y="516"/>
                    </a:lnTo>
                    <a:lnTo>
                      <a:pt x="1157" y="514"/>
                    </a:lnTo>
                    <a:lnTo>
                      <a:pt x="1161" y="516"/>
                    </a:lnTo>
                    <a:lnTo>
                      <a:pt x="1162" y="523"/>
                    </a:lnTo>
                    <a:lnTo>
                      <a:pt x="1162" y="523"/>
                    </a:lnTo>
                    <a:lnTo>
                      <a:pt x="1164" y="528"/>
                    </a:lnTo>
                    <a:lnTo>
                      <a:pt x="1162" y="537"/>
                    </a:lnTo>
                    <a:lnTo>
                      <a:pt x="1146" y="546"/>
                    </a:lnTo>
                    <a:lnTo>
                      <a:pt x="1162" y="539"/>
                    </a:lnTo>
                    <a:lnTo>
                      <a:pt x="1166" y="526"/>
                    </a:lnTo>
                    <a:lnTo>
                      <a:pt x="1168" y="523"/>
                    </a:lnTo>
                    <a:lnTo>
                      <a:pt x="1168" y="530"/>
                    </a:lnTo>
                    <a:lnTo>
                      <a:pt x="1168" y="532"/>
                    </a:lnTo>
                    <a:lnTo>
                      <a:pt x="1171" y="528"/>
                    </a:lnTo>
                    <a:lnTo>
                      <a:pt x="1171" y="530"/>
                    </a:lnTo>
                    <a:lnTo>
                      <a:pt x="1171" y="534"/>
                    </a:lnTo>
                    <a:lnTo>
                      <a:pt x="1171" y="537"/>
                    </a:lnTo>
                    <a:lnTo>
                      <a:pt x="1171" y="539"/>
                    </a:lnTo>
                    <a:lnTo>
                      <a:pt x="1173" y="534"/>
                    </a:lnTo>
                    <a:lnTo>
                      <a:pt x="1182" y="528"/>
                    </a:lnTo>
                    <a:lnTo>
                      <a:pt x="1189" y="526"/>
                    </a:lnTo>
                    <a:lnTo>
                      <a:pt x="1193" y="516"/>
                    </a:lnTo>
                    <a:lnTo>
                      <a:pt x="1195" y="519"/>
                    </a:lnTo>
                    <a:lnTo>
                      <a:pt x="1198" y="519"/>
                    </a:lnTo>
                    <a:lnTo>
                      <a:pt x="1200" y="523"/>
                    </a:lnTo>
                    <a:lnTo>
                      <a:pt x="1198" y="528"/>
                    </a:lnTo>
                    <a:lnTo>
                      <a:pt x="1202" y="521"/>
                    </a:lnTo>
                    <a:lnTo>
                      <a:pt x="1196" y="514"/>
                    </a:lnTo>
                    <a:lnTo>
                      <a:pt x="1200" y="516"/>
                    </a:lnTo>
                    <a:lnTo>
                      <a:pt x="1202" y="516"/>
                    </a:lnTo>
                    <a:lnTo>
                      <a:pt x="1203" y="514"/>
                    </a:lnTo>
                    <a:lnTo>
                      <a:pt x="1202" y="512"/>
                    </a:lnTo>
                    <a:lnTo>
                      <a:pt x="1202" y="510"/>
                    </a:lnTo>
                    <a:lnTo>
                      <a:pt x="1205" y="510"/>
                    </a:lnTo>
                    <a:lnTo>
                      <a:pt x="1205" y="507"/>
                    </a:lnTo>
                    <a:lnTo>
                      <a:pt x="1203" y="501"/>
                    </a:lnTo>
                    <a:lnTo>
                      <a:pt x="1205" y="503"/>
                    </a:lnTo>
                    <a:lnTo>
                      <a:pt x="1207" y="501"/>
                    </a:lnTo>
                    <a:lnTo>
                      <a:pt x="1209" y="500"/>
                    </a:lnTo>
                    <a:lnTo>
                      <a:pt x="1209" y="498"/>
                    </a:lnTo>
                    <a:lnTo>
                      <a:pt x="1212" y="496"/>
                    </a:lnTo>
                    <a:lnTo>
                      <a:pt x="1207" y="487"/>
                    </a:lnTo>
                    <a:lnTo>
                      <a:pt x="1212" y="478"/>
                    </a:lnTo>
                    <a:lnTo>
                      <a:pt x="1214" y="476"/>
                    </a:lnTo>
                    <a:lnTo>
                      <a:pt x="1216" y="473"/>
                    </a:lnTo>
                    <a:lnTo>
                      <a:pt x="1216" y="473"/>
                    </a:lnTo>
                    <a:lnTo>
                      <a:pt x="1218" y="469"/>
                    </a:lnTo>
                    <a:lnTo>
                      <a:pt x="1221" y="469"/>
                    </a:lnTo>
                    <a:lnTo>
                      <a:pt x="1223" y="469"/>
                    </a:lnTo>
                    <a:lnTo>
                      <a:pt x="1225" y="471"/>
                    </a:lnTo>
                    <a:lnTo>
                      <a:pt x="1223" y="473"/>
                    </a:lnTo>
                    <a:lnTo>
                      <a:pt x="1225" y="475"/>
                    </a:lnTo>
                    <a:lnTo>
                      <a:pt x="1225" y="476"/>
                    </a:lnTo>
                    <a:lnTo>
                      <a:pt x="1225" y="478"/>
                    </a:lnTo>
                    <a:lnTo>
                      <a:pt x="1225" y="482"/>
                    </a:lnTo>
                    <a:lnTo>
                      <a:pt x="1225" y="484"/>
                    </a:lnTo>
                    <a:lnTo>
                      <a:pt x="1227" y="482"/>
                    </a:lnTo>
                    <a:lnTo>
                      <a:pt x="1228" y="484"/>
                    </a:lnTo>
                    <a:lnTo>
                      <a:pt x="1228" y="491"/>
                    </a:lnTo>
                    <a:lnTo>
                      <a:pt x="1232" y="491"/>
                    </a:lnTo>
                    <a:lnTo>
                      <a:pt x="1230" y="491"/>
                    </a:lnTo>
                    <a:lnTo>
                      <a:pt x="1230" y="494"/>
                    </a:lnTo>
                    <a:lnTo>
                      <a:pt x="1234" y="493"/>
                    </a:lnTo>
                    <a:lnTo>
                      <a:pt x="1236" y="494"/>
                    </a:lnTo>
                    <a:lnTo>
                      <a:pt x="1232" y="500"/>
                    </a:lnTo>
                    <a:lnTo>
                      <a:pt x="1236" y="500"/>
                    </a:lnTo>
                    <a:lnTo>
                      <a:pt x="1236" y="501"/>
                    </a:lnTo>
                    <a:lnTo>
                      <a:pt x="1237" y="500"/>
                    </a:lnTo>
                    <a:lnTo>
                      <a:pt x="1239" y="500"/>
                    </a:lnTo>
                    <a:lnTo>
                      <a:pt x="1239" y="503"/>
                    </a:lnTo>
                    <a:lnTo>
                      <a:pt x="1241" y="503"/>
                    </a:lnTo>
                    <a:lnTo>
                      <a:pt x="1243" y="503"/>
                    </a:lnTo>
                    <a:lnTo>
                      <a:pt x="1241" y="507"/>
                    </a:lnTo>
                    <a:lnTo>
                      <a:pt x="1237" y="509"/>
                    </a:lnTo>
                    <a:lnTo>
                      <a:pt x="1232" y="509"/>
                    </a:lnTo>
                    <a:lnTo>
                      <a:pt x="1228" y="510"/>
                    </a:lnTo>
                    <a:lnTo>
                      <a:pt x="1228" y="512"/>
                    </a:lnTo>
                    <a:lnTo>
                      <a:pt x="1230" y="510"/>
                    </a:lnTo>
                    <a:lnTo>
                      <a:pt x="1232" y="510"/>
                    </a:lnTo>
                    <a:lnTo>
                      <a:pt x="1234" y="510"/>
                    </a:lnTo>
                    <a:lnTo>
                      <a:pt x="1239" y="510"/>
                    </a:lnTo>
                    <a:lnTo>
                      <a:pt x="1243" y="509"/>
                    </a:lnTo>
                    <a:lnTo>
                      <a:pt x="1245" y="509"/>
                    </a:lnTo>
                    <a:lnTo>
                      <a:pt x="1243" y="512"/>
                    </a:lnTo>
                    <a:lnTo>
                      <a:pt x="1245" y="512"/>
                    </a:lnTo>
                    <a:lnTo>
                      <a:pt x="1245" y="516"/>
                    </a:lnTo>
                    <a:lnTo>
                      <a:pt x="1245" y="518"/>
                    </a:lnTo>
                    <a:lnTo>
                      <a:pt x="1245" y="518"/>
                    </a:lnTo>
                    <a:lnTo>
                      <a:pt x="1248" y="518"/>
                    </a:lnTo>
                    <a:lnTo>
                      <a:pt x="1248" y="519"/>
                    </a:lnTo>
                    <a:lnTo>
                      <a:pt x="1248" y="521"/>
                    </a:lnTo>
                    <a:lnTo>
                      <a:pt x="1250" y="521"/>
                    </a:lnTo>
                    <a:lnTo>
                      <a:pt x="1250" y="523"/>
                    </a:lnTo>
                    <a:lnTo>
                      <a:pt x="1243" y="525"/>
                    </a:lnTo>
                    <a:lnTo>
                      <a:pt x="1241" y="525"/>
                    </a:lnTo>
                    <a:lnTo>
                      <a:pt x="1239" y="525"/>
                    </a:lnTo>
                    <a:lnTo>
                      <a:pt x="1239" y="526"/>
                    </a:lnTo>
                    <a:lnTo>
                      <a:pt x="1241" y="526"/>
                    </a:lnTo>
                    <a:lnTo>
                      <a:pt x="1253" y="526"/>
                    </a:lnTo>
                    <a:lnTo>
                      <a:pt x="1255" y="530"/>
                    </a:lnTo>
                    <a:lnTo>
                      <a:pt x="1253" y="532"/>
                    </a:lnTo>
                    <a:lnTo>
                      <a:pt x="1252" y="534"/>
                    </a:lnTo>
                    <a:lnTo>
                      <a:pt x="1253" y="534"/>
                    </a:lnTo>
                    <a:lnTo>
                      <a:pt x="1252" y="535"/>
                    </a:lnTo>
                    <a:lnTo>
                      <a:pt x="1248" y="537"/>
                    </a:lnTo>
                    <a:lnTo>
                      <a:pt x="1245" y="541"/>
                    </a:lnTo>
                    <a:lnTo>
                      <a:pt x="1246" y="541"/>
                    </a:lnTo>
                    <a:lnTo>
                      <a:pt x="1250" y="537"/>
                    </a:lnTo>
                    <a:lnTo>
                      <a:pt x="1253" y="537"/>
                    </a:lnTo>
                    <a:lnTo>
                      <a:pt x="1255" y="537"/>
                    </a:lnTo>
                    <a:lnTo>
                      <a:pt x="1259" y="541"/>
                    </a:lnTo>
                    <a:lnTo>
                      <a:pt x="1257" y="541"/>
                    </a:lnTo>
                    <a:lnTo>
                      <a:pt x="1255" y="543"/>
                    </a:lnTo>
                    <a:lnTo>
                      <a:pt x="1255" y="544"/>
                    </a:lnTo>
                    <a:lnTo>
                      <a:pt x="1257" y="543"/>
                    </a:lnTo>
                    <a:lnTo>
                      <a:pt x="1261" y="544"/>
                    </a:lnTo>
                    <a:lnTo>
                      <a:pt x="1261" y="546"/>
                    </a:lnTo>
                    <a:lnTo>
                      <a:pt x="1262" y="548"/>
                    </a:lnTo>
                    <a:lnTo>
                      <a:pt x="1266" y="550"/>
                    </a:lnTo>
                    <a:lnTo>
                      <a:pt x="1266" y="553"/>
                    </a:lnTo>
                    <a:lnTo>
                      <a:pt x="1261" y="557"/>
                    </a:lnTo>
                    <a:lnTo>
                      <a:pt x="1257" y="557"/>
                    </a:lnTo>
                    <a:lnTo>
                      <a:pt x="1257" y="559"/>
                    </a:lnTo>
                    <a:lnTo>
                      <a:pt x="1264" y="559"/>
                    </a:lnTo>
                    <a:lnTo>
                      <a:pt x="1268" y="562"/>
                    </a:lnTo>
                    <a:lnTo>
                      <a:pt x="1266" y="564"/>
                    </a:lnTo>
                    <a:lnTo>
                      <a:pt x="1273" y="566"/>
                    </a:lnTo>
                    <a:lnTo>
                      <a:pt x="1273" y="571"/>
                    </a:lnTo>
                    <a:lnTo>
                      <a:pt x="1268" y="576"/>
                    </a:lnTo>
                    <a:lnTo>
                      <a:pt x="1268" y="580"/>
                    </a:lnTo>
                    <a:lnTo>
                      <a:pt x="1266" y="580"/>
                    </a:lnTo>
                    <a:lnTo>
                      <a:pt x="1259" y="576"/>
                    </a:lnTo>
                    <a:lnTo>
                      <a:pt x="1257" y="578"/>
                    </a:lnTo>
                    <a:lnTo>
                      <a:pt x="1261" y="580"/>
                    </a:lnTo>
                    <a:lnTo>
                      <a:pt x="1261" y="580"/>
                    </a:lnTo>
                    <a:lnTo>
                      <a:pt x="1250" y="582"/>
                    </a:lnTo>
                    <a:lnTo>
                      <a:pt x="1268" y="584"/>
                    </a:lnTo>
                    <a:lnTo>
                      <a:pt x="1268" y="585"/>
                    </a:lnTo>
                    <a:lnTo>
                      <a:pt x="1266" y="585"/>
                    </a:lnTo>
                    <a:lnTo>
                      <a:pt x="1264" y="587"/>
                    </a:lnTo>
                    <a:lnTo>
                      <a:pt x="1264" y="587"/>
                    </a:lnTo>
                    <a:lnTo>
                      <a:pt x="1268" y="591"/>
                    </a:lnTo>
                    <a:lnTo>
                      <a:pt x="1270" y="593"/>
                    </a:lnTo>
                    <a:lnTo>
                      <a:pt x="1266" y="593"/>
                    </a:lnTo>
                    <a:lnTo>
                      <a:pt x="1264" y="594"/>
                    </a:lnTo>
                    <a:lnTo>
                      <a:pt x="1275" y="594"/>
                    </a:lnTo>
                    <a:lnTo>
                      <a:pt x="1275" y="600"/>
                    </a:lnTo>
                    <a:lnTo>
                      <a:pt x="1277" y="601"/>
                    </a:lnTo>
                    <a:lnTo>
                      <a:pt x="1275" y="603"/>
                    </a:lnTo>
                    <a:lnTo>
                      <a:pt x="1284" y="603"/>
                    </a:lnTo>
                    <a:lnTo>
                      <a:pt x="1286" y="605"/>
                    </a:lnTo>
                    <a:lnTo>
                      <a:pt x="1286" y="609"/>
                    </a:lnTo>
                    <a:lnTo>
                      <a:pt x="1287" y="607"/>
                    </a:lnTo>
                    <a:lnTo>
                      <a:pt x="1291" y="607"/>
                    </a:lnTo>
                    <a:lnTo>
                      <a:pt x="1291" y="610"/>
                    </a:lnTo>
                    <a:lnTo>
                      <a:pt x="1289" y="612"/>
                    </a:lnTo>
                    <a:lnTo>
                      <a:pt x="1291" y="614"/>
                    </a:lnTo>
                    <a:lnTo>
                      <a:pt x="1293" y="616"/>
                    </a:lnTo>
                    <a:lnTo>
                      <a:pt x="1289" y="619"/>
                    </a:lnTo>
                    <a:lnTo>
                      <a:pt x="1289" y="621"/>
                    </a:lnTo>
                    <a:lnTo>
                      <a:pt x="1293" y="619"/>
                    </a:lnTo>
                    <a:lnTo>
                      <a:pt x="1296" y="621"/>
                    </a:lnTo>
                    <a:lnTo>
                      <a:pt x="1298" y="621"/>
                    </a:lnTo>
                    <a:lnTo>
                      <a:pt x="1302" y="619"/>
                    </a:lnTo>
                    <a:lnTo>
                      <a:pt x="1302" y="621"/>
                    </a:lnTo>
                    <a:lnTo>
                      <a:pt x="1303" y="623"/>
                    </a:lnTo>
                    <a:lnTo>
                      <a:pt x="1300" y="632"/>
                    </a:lnTo>
                    <a:lnTo>
                      <a:pt x="1307" y="625"/>
                    </a:lnTo>
                    <a:lnTo>
                      <a:pt x="1309" y="623"/>
                    </a:lnTo>
                    <a:lnTo>
                      <a:pt x="1309" y="626"/>
                    </a:lnTo>
                    <a:lnTo>
                      <a:pt x="1311" y="626"/>
                    </a:lnTo>
                    <a:lnTo>
                      <a:pt x="1312" y="625"/>
                    </a:lnTo>
                    <a:lnTo>
                      <a:pt x="1312" y="630"/>
                    </a:lnTo>
                    <a:lnTo>
                      <a:pt x="1316" y="632"/>
                    </a:lnTo>
                    <a:lnTo>
                      <a:pt x="1323" y="635"/>
                    </a:lnTo>
                    <a:lnTo>
                      <a:pt x="1325" y="634"/>
                    </a:lnTo>
                    <a:lnTo>
                      <a:pt x="1325" y="632"/>
                    </a:lnTo>
                    <a:lnTo>
                      <a:pt x="1327" y="630"/>
                    </a:lnTo>
                    <a:lnTo>
                      <a:pt x="1330" y="632"/>
                    </a:lnTo>
                    <a:lnTo>
                      <a:pt x="1328" y="635"/>
                    </a:lnTo>
                    <a:lnTo>
                      <a:pt x="1332" y="635"/>
                    </a:lnTo>
                    <a:lnTo>
                      <a:pt x="1334" y="637"/>
                    </a:lnTo>
                    <a:lnTo>
                      <a:pt x="1336" y="637"/>
                    </a:lnTo>
                    <a:lnTo>
                      <a:pt x="1337" y="641"/>
                    </a:lnTo>
                    <a:lnTo>
                      <a:pt x="1336" y="643"/>
                    </a:lnTo>
                    <a:lnTo>
                      <a:pt x="1336" y="644"/>
                    </a:lnTo>
                    <a:lnTo>
                      <a:pt x="1336" y="644"/>
                    </a:lnTo>
                    <a:lnTo>
                      <a:pt x="1334" y="644"/>
                    </a:lnTo>
                    <a:lnTo>
                      <a:pt x="1330" y="644"/>
                    </a:lnTo>
                    <a:lnTo>
                      <a:pt x="1328" y="644"/>
                    </a:lnTo>
                    <a:lnTo>
                      <a:pt x="1323" y="648"/>
                    </a:lnTo>
                    <a:lnTo>
                      <a:pt x="1323" y="648"/>
                    </a:lnTo>
                    <a:lnTo>
                      <a:pt x="1319" y="650"/>
                    </a:lnTo>
                    <a:lnTo>
                      <a:pt x="1305" y="653"/>
                    </a:lnTo>
                    <a:lnTo>
                      <a:pt x="1303" y="657"/>
                    </a:lnTo>
                    <a:lnTo>
                      <a:pt x="1307" y="655"/>
                    </a:lnTo>
                    <a:lnTo>
                      <a:pt x="1314" y="651"/>
                    </a:lnTo>
                    <a:lnTo>
                      <a:pt x="1316" y="653"/>
                    </a:lnTo>
                    <a:lnTo>
                      <a:pt x="1302" y="659"/>
                    </a:lnTo>
                    <a:lnTo>
                      <a:pt x="1298" y="659"/>
                    </a:lnTo>
                    <a:lnTo>
                      <a:pt x="1293" y="666"/>
                    </a:lnTo>
                    <a:lnTo>
                      <a:pt x="1289" y="664"/>
                    </a:lnTo>
                    <a:lnTo>
                      <a:pt x="1287" y="662"/>
                    </a:lnTo>
                    <a:lnTo>
                      <a:pt x="1282" y="660"/>
                    </a:lnTo>
                    <a:lnTo>
                      <a:pt x="1278" y="662"/>
                    </a:lnTo>
                    <a:lnTo>
                      <a:pt x="1278" y="664"/>
                    </a:lnTo>
                    <a:lnTo>
                      <a:pt x="1289" y="666"/>
                    </a:lnTo>
                    <a:lnTo>
                      <a:pt x="1291" y="669"/>
                    </a:lnTo>
                    <a:lnTo>
                      <a:pt x="1291" y="676"/>
                    </a:lnTo>
                    <a:lnTo>
                      <a:pt x="1298" y="671"/>
                    </a:lnTo>
                    <a:lnTo>
                      <a:pt x="1300" y="669"/>
                    </a:lnTo>
                    <a:lnTo>
                      <a:pt x="1307" y="664"/>
                    </a:lnTo>
                    <a:lnTo>
                      <a:pt x="1311" y="662"/>
                    </a:lnTo>
                    <a:lnTo>
                      <a:pt x="1314" y="657"/>
                    </a:lnTo>
                    <a:lnTo>
                      <a:pt x="1318" y="655"/>
                    </a:lnTo>
                    <a:lnTo>
                      <a:pt x="1327" y="653"/>
                    </a:lnTo>
                    <a:lnTo>
                      <a:pt x="1330" y="655"/>
                    </a:lnTo>
                    <a:lnTo>
                      <a:pt x="1332" y="653"/>
                    </a:lnTo>
                    <a:lnTo>
                      <a:pt x="1325" y="651"/>
                    </a:lnTo>
                    <a:lnTo>
                      <a:pt x="1321" y="653"/>
                    </a:lnTo>
                    <a:lnTo>
                      <a:pt x="1328" y="650"/>
                    </a:lnTo>
                    <a:lnTo>
                      <a:pt x="1339" y="650"/>
                    </a:lnTo>
                    <a:lnTo>
                      <a:pt x="1341" y="651"/>
                    </a:lnTo>
                    <a:lnTo>
                      <a:pt x="1339" y="655"/>
                    </a:lnTo>
                    <a:lnTo>
                      <a:pt x="1341" y="662"/>
                    </a:lnTo>
                    <a:lnTo>
                      <a:pt x="1339" y="664"/>
                    </a:lnTo>
                    <a:lnTo>
                      <a:pt x="1339" y="671"/>
                    </a:lnTo>
                    <a:lnTo>
                      <a:pt x="1339" y="671"/>
                    </a:lnTo>
                    <a:lnTo>
                      <a:pt x="1343" y="664"/>
                    </a:lnTo>
                    <a:lnTo>
                      <a:pt x="1346" y="662"/>
                    </a:lnTo>
                    <a:lnTo>
                      <a:pt x="1350" y="662"/>
                    </a:lnTo>
                    <a:lnTo>
                      <a:pt x="1352" y="662"/>
                    </a:lnTo>
                    <a:lnTo>
                      <a:pt x="1352" y="664"/>
                    </a:lnTo>
                    <a:lnTo>
                      <a:pt x="1361" y="668"/>
                    </a:lnTo>
                    <a:lnTo>
                      <a:pt x="1361" y="669"/>
                    </a:lnTo>
                    <a:lnTo>
                      <a:pt x="1359" y="669"/>
                    </a:lnTo>
                    <a:lnTo>
                      <a:pt x="1361" y="673"/>
                    </a:lnTo>
                    <a:lnTo>
                      <a:pt x="1362" y="673"/>
                    </a:lnTo>
                    <a:lnTo>
                      <a:pt x="1362" y="675"/>
                    </a:lnTo>
                    <a:lnTo>
                      <a:pt x="1364" y="676"/>
                    </a:lnTo>
                    <a:lnTo>
                      <a:pt x="1364" y="678"/>
                    </a:lnTo>
                    <a:lnTo>
                      <a:pt x="1362" y="678"/>
                    </a:lnTo>
                    <a:lnTo>
                      <a:pt x="1362" y="680"/>
                    </a:lnTo>
                    <a:lnTo>
                      <a:pt x="1355" y="678"/>
                    </a:lnTo>
                    <a:lnTo>
                      <a:pt x="1357" y="682"/>
                    </a:lnTo>
                    <a:lnTo>
                      <a:pt x="1359" y="682"/>
                    </a:lnTo>
                    <a:lnTo>
                      <a:pt x="1361" y="682"/>
                    </a:lnTo>
                    <a:lnTo>
                      <a:pt x="1362" y="685"/>
                    </a:lnTo>
                    <a:lnTo>
                      <a:pt x="1361" y="687"/>
                    </a:lnTo>
                    <a:lnTo>
                      <a:pt x="1361" y="689"/>
                    </a:lnTo>
                    <a:lnTo>
                      <a:pt x="1364" y="693"/>
                    </a:lnTo>
                    <a:lnTo>
                      <a:pt x="1361" y="693"/>
                    </a:lnTo>
                    <a:lnTo>
                      <a:pt x="1361" y="694"/>
                    </a:lnTo>
                    <a:lnTo>
                      <a:pt x="1364" y="696"/>
                    </a:lnTo>
                    <a:lnTo>
                      <a:pt x="1366" y="700"/>
                    </a:lnTo>
                    <a:lnTo>
                      <a:pt x="1361" y="698"/>
                    </a:lnTo>
                    <a:lnTo>
                      <a:pt x="1361" y="70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86" name="Freeform 1834"/>
              <p:cNvSpPr>
                <a:spLocks/>
              </p:cNvSpPr>
              <p:nvPr/>
            </p:nvSpPr>
            <p:spPr bwMode="auto">
              <a:xfrm>
                <a:off x="441" y="1031"/>
                <a:ext cx="1366" cy="944"/>
              </a:xfrm>
              <a:custGeom>
                <a:avLst/>
                <a:gdLst>
                  <a:gd name="T0" fmla="*/ 1195 w 1366"/>
                  <a:gd name="T1" fmla="*/ 755 h 944"/>
                  <a:gd name="T2" fmla="*/ 1227 w 1366"/>
                  <a:gd name="T3" fmla="*/ 789 h 944"/>
                  <a:gd name="T4" fmla="*/ 1264 w 1366"/>
                  <a:gd name="T5" fmla="*/ 857 h 944"/>
                  <a:gd name="T6" fmla="*/ 1218 w 1366"/>
                  <a:gd name="T7" fmla="*/ 903 h 944"/>
                  <a:gd name="T8" fmla="*/ 1225 w 1366"/>
                  <a:gd name="T9" fmla="*/ 859 h 944"/>
                  <a:gd name="T10" fmla="*/ 1123 w 1366"/>
                  <a:gd name="T11" fmla="*/ 871 h 944"/>
                  <a:gd name="T12" fmla="*/ 936 w 1366"/>
                  <a:gd name="T13" fmla="*/ 944 h 944"/>
                  <a:gd name="T14" fmla="*/ 961 w 1366"/>
                  <a:gd name="T15" fmla="*/ 882 h 944"/>
                  <a:gd name="T16" fmla="*/ 932 w 1366"/>
                  <a:gd name="T17" fmla="*/ 851 h 944"/>
                  <a:gd name="T18" fmla="*/ 846 w 1366"/>
                  <a:gd name="T19" fmla="*/ 785 h 944"/>
                  <a:gd name="T20" fmla="*/ 755 w 1366"/>
                  <a:gd name="T21" fmla="*/ 794 h 944"/>
                  <a:gd name="T22" fmla="*/ 279 w 1366"/>
                  <a:gd name="T23" fmla="*/ 773 h 944"/>
                  <a:gd name="T24" fmla="*/ 245 w 1366"/>
                  <a:gd name="T25" fmla="*/ 746 h 944"/>
                  <a:gd name="T26" fmla="*/ 218 w 1366"/>
                  <a:gd name="T27" fmla="*/ 723 h 944"/>
                  <a:gd name="T28" fmla="*/ 191 w 1366"/>
                  <a:gd name="T29" fmla="*/ 671 h 944"/>
                  <a:gd name="T30" fmla="*/ 175 w 1366"/>
                  <a:gd name="T31" fmla="*/ 601 h 944"/>
                  <a:gd name="T32" fmla="*/ 70 w 1366"/>
                  <a:gd name="T33" fmla="*/ 503 h 944"/>
                  <a:gd name="T34" fmla="*/ 43 w 1366"/>
                  <a:gd name="T35" fmla="*/ 134 h 944"/>
                  <a:gd name="T36" fmla="*/ 104 w 1366"/>
                  <a:gd name="T37" fmla="*/ 137 h 944"/>
                  <a:gd name="T38" fmla="*/ 180 w 1366"/>
                  <a:gd name="T39" fmla="*/ 85 h 944"/>
                  <a:gd name="T40" fmla="*/ 157 w 1366"/>
                  <a:gd name="T41" fmla="*/ 121 h 944"/>
                  <a:gd name="T42" fmla="*/ 239 w 1366"/>
                  <a:gd name="T43" fmla="*/ 125 h 944"/>
                  <a:gd name="T44" fmla="*/ 261 w 1366"/>
                  <a:gd name="T45" fmla="*/ 93 h 944"/>
                  <a:gd name="T46" fmla="*/ 346 w 1366"/>
                  <a:gd name="T47" fmla="*/ 128 h 944"/>
                  <a:gd name="T48" fmla="*/ 425 w 1366"/>
                  <a:gd name="T49" fmla="*/ 173 h 944"/>
                  <a:gd name="T50" fmla="*/ 473 w 1366"/>
                  <a:gd name="T51" fmla="*/ 196 h 944"/>
                  <a:gd name="T52" fmla="*/ 520 w 1366"/>
                  <a:gd name="T53" fmla="*/ 210 h 944"/>
                  <a:gd name="T54" fmla="*/ 539 w 1366"/>
                  <a:gd name="T55" fmla="*/ 180 h 944"/>
                  <a:gd name="T56" fmla="*/ 534 w 1366"/>
                  <a:gd name="T57" fmla="*/ 169 h 944"/>
                  <a:gd name="T58" fmla="*/ 566 w 1366"/>
                  <a:gd name="T59" fmla="*/ 153 h 944"/>
                  <a:gd name="T60" fmla="*/ 623 w 1366"/>
                  <a:gd name="T61" fmla="*/ 194 h 944"/>
                  <a:gd name="T62" fmla="*/ 698 w 1366"/>
                  <a:gd name="T63" fmla="*/ 191 h 944"/>
                  <a:gd name="T64" fmla="*/ 711 w 1366"/>
                  <a:gd name="T65" fmla="*/ 175 h 944"/>
                  <a:gd name="T66" fmla="*/ 730 w 1366"/>
                  <a:gd name="T67" fmla="*/ 184 h 944"/>
                  <a:gd name="T68" fmla="*/ 752 w 1366"/>
                  <a:gd name="T69" fmla="*/ 132 h 944"/>
                  <a:gd name="T70" fmla="*/ 712 w 1366"/>
                  <a:gd name="T71" fmla="*/ 50 h 944"/>
                  <a:gd name="T72" fmla="*/ 766 w 1366"/>
                  <a:gd name="T73" fmla="*/ 34 h 944"/>
                  <a:gd name="T74" fmla="*/ 777 w 1366"/>
                  <a:gd name="T75" fmla="*/ 112 h 944"/>
                  <a:gd name="T76" fmla="*/ 830 w 1366"/>
                  <a:gd name="T77" fmla="*/ 130 h 944"/>
                  <a:gd name="T78" fmla="*/ 898 w 1366"/>
                  <a:gd name="T79" fmla="*/ 151 h 944"/>
                  <a:gd name="T80" fmla="*/ 939 w 1366"/>
                  <a:gd name="T81" fmla="*/ 130 h 944"/>
                  <a:gd name="T82" fmla="*/ 955 w 1366"/>
                  <a:gd name="T83" fmla="*/ 219 h 944"/>
                  <a:gd name="T84" fmla="*/ 882 w 1366"/>
                  <a:gd name="T85" fmla="*/ 248 h 944"/>
                  <a:gd name="T86" fmla="*/ 864 w 1366"/>
                  <a:gd name="T87" fmla="*/ 298 h 944"/>
                  <a:gd name="T88" fmla="*/ 805 w 1366"/>
                  <a:gd name="T89" fmla="*/ 362 h 944"/>
                  <a:gd name="T90" fmla="*/ 789 w 1366"/>
                  <a:gd name="T91" fmla="*/ 355 h 944"/>
                  <a:gd name="T92" fmla="*/ 759 w 1366"/>
                  <a:gd name="T93" fmla="*/ 416 h 944"/>
                  <a:gd name="T94" fmla="*/ 775 w 1366"/>
                  <a:gd name="T95" fmla="*/ 557 h 944"/>
                  <a:gd name="T96" fmla="*/ 928 w 1366"/>
                  <a:gd name="T97" fmla="*/ 625 h 944"/>
                  <a:gd name="T98" fmla="*/ 980 w 1366"/>
                  <a:gd name="T99" fmla="*/ 723 h 944"/>
                  <a:gd name="T100" fmla="*/ 980 w 1366"/>
                  <a:gd name="T101" fmla="*/ 641 h 944"/>
                  <a:gd name="T102" fmla="*/ 1016 w 1366"/>
                  <a:gd name="T103" fmla="*/ 489 h 944"/>
                  <a:gd name="T104" fmla="*/ 1011 w 1366"/>
                  <a:gd name="T105" fmla="*/ 425 h 944"/>
                  <a:gd name="T106" fmla="*/ 1091 w 1366"/>
                  <a:gd name="T107" fmla="*/ 419 h 944"/>
                  <a:gd name="T108" fmla="*/ 1134 w 1366"/>
                  <a:gd name="T109" fmla="*/ 451 h 944"/>
                  <a:gd name="T110" fmla="*/ 1145 w 1366"/>
                  <a:gd name="T111" fmla="*/ 507 h 944"/>
                  <a:gd name="T112" fmla="*/ 1173 w 1366"/>
                  <a:gd name="T113" fmla="*/ 534 h 944"/>
                  <a:gd name="T114" fmla="*/ 1225 w 1366"/>
                  <a:gd name="T115" fmla="*/ 478 h 944"/>
                  <a:gd name="T116" fmla="*/ 1248 w 1366"/>
                  <a:gd name="T117" fmla="*/ 518 h 944"/>
                  <a:gd name="T118" fmla="*/ 1264 w 1366"/>
                  <a:gd name="T119" fmla="*/ 559 h 944"/>
                  <a:gd name="T120" fmla="*/ 1289 w 1366"/>
                  <a:gd name="T121" fmla="*/ 619 h 944"/>
                  <a:gd name="T122" fmla="*/ 1305 w 1366"/>
                  <a:gd name="T123" fmla="*/ 653 h 944"/>
                  <a:gd name="T124" fmla="*/ 1343 w 1366"/>
                  <a:gd name="T125" fmla="*/ 664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66" h="944">
                    <a:moveTo>
                      <a:pt x="1361" y="700"/>
                    </a:moveTo>
                    <a:lnTo>
                      <a:pt x="1366" y="705"/>
                    </a:lnTo>
                    <a:lnTo>
                      <a:pt x="1361" y="712"/>
                    </a:lnTo>
                    <a:lnTo>
                      <a:pt x="1355" y="716"/>
                    </a:lnTo>
                    <a:lnTo>
                      <a:pt x="1350" y="721"/>
                    </a:lnTo>
                    <a:lnTo>
                      <a:pt x="1346" y="721"/>
                    </a:lnTo>
                    <a:lnTo>
                      <a:pt x="1346" y="723"/>
                    </a:lnTo>
                    <a:lnTo>
                      <a:pt x="1336" y="723"/>
                    </a:lnTo>
                    <a:lnTo>
                      <a:pt x="1321" y="726"/>
                    </a:lnTo>
                    <a:lnTo>
                      <a:pt x="1318" y="728"/>
                    </a:lnTo>
                    <a:lnTo>
                      <a:pt x="1316" y="734"/>
                    </a:lnTo>
                    <a:lnTo>
                      <a:pt x="1314" y="734"/>
                    </a:lnTo>
                    <a:lnTo>
                      <a:pt x="1305" y="746"/>
                    </a:lnTo>
                    <a:lnTo>
                      <a:pt x="1302" y="748"/>
                    </a:lnTo>
                    <a:lnTo>
                      <a:pt x="1298" y="751"/>
                    </a:lnTo>
                    <a:lnTo>
                      <a:pt x="1296" y="753"/>
                    </a:lnTo>
                    <a:lnTo>
                      <a:pt x="1294" y="753"/>
                    </a:lnTo>
                    <a:lnTo>
                      <a:pt x="1293" y="751"/>
                    </a:lnTo>
                    <a:lnTo>
                      <a:pt x="1294" y="748"/>
                    </a:lnTo>
                    <a:lnTo>
                      <a:pt x="1293" y="750"/>
                    </a:lnTo>
                    <a:lnTo>
                      <a:pt x="1291" y="753"/>
                    </a:lnTo>
                    <a:lnTo>
                      <a:pt x="1271" y="757"/>
                    </a:lnTo>
                    <a:lnTo>
                      <a:pt x="1270" y="757"/>
                    </a:lnTo>
                    <a:lnTo>
                      <a:pt x="1270" y="755"/>
                    </a:lnTo>
                    <a:lnTo>
                      <a:pt x="1266" y="753"/>
                    </a:lnTo>
                    <a:lnTo>
                      <a:pt x="1248" y="751"/>
                    </a:lnTo>
                    <a:lnTo>
                      <a:pt x="1243" y="753"/>
                    </a:lnTo>
                    <a:lnTo>
                      <a:pt x="1225" y="751"/>
                    </a:lnTo>
                    <a:lnTo>
                      <a:pt x="1216" y="753"/>
                    </a:lnTo>
                    <a:lnTo>
                      <a:pt x="1211" y="751"/>
                    </a:lnTo>
                    <a:lnTo>
                      <a:pt x="1205" y="753"/>
                    </a:lnTo>
                    <a:lnTo>
                      <a:pt x="1202" y="753"/>
                    </a:lnTo>
                    <a:lnTo>
                      <a:pt x="1200" y="753"/>
                    </a:lnTo>
                    <a:lnTo>
                      <a:pt x="1195" y="753"/>
                    </a:lnTo>
                    <a:lnTo>
                      <a:pt x="1195" y="755"/>
                    </a:lnTo>
                    <a:lnTo>
                      <a:pt x="1193" y="757"/>
                    </a:lnTo>
                    <a:lnTo>
                      <a:pt x="1191" y="755"/>
                    </a:lnTo>
                    <a:lnTo>
                      <a:pt x="1189" y="757"/>
                    </a:lnTo>
                    <a:lnTo>
                      <a:pt x="1187" y="759"/>
                    </a:lnTo>
                    <a:lnTo>
                      <a:pt x="1184" y="764"/>
                    </a:lnTo>
                    <a:lnTo>
                      <a:pt x="1178" y="775"/>
                    </a:lnTo>
                    <a:lnTo>
                      <a:pt x="1178" y="776"/>
                    </a:lnTo>
                    <a:lnTo>
                      <a:pt x="1168" y="776"/>
                    </a:lnTo>
                    <a:lnTo>
                      <a:pt x="1164" y="780"/>
                    </a:lnTo>
                    <a:lnTo>
                      <a:pt x="1162" y="780"/>
                    </a:lnTo>
                    <a:lnTo>
                      <a:pt x="1162" y="782"/>
                    </a:lnTo>
                    <a:lnTo>
                      <a:pt x="1157" y="787"/>
                    </a:lnTo>
                    <a:lnTo>
                      <a:pt x="1153" y="787"/>
                    </a:lnTo>
                    <a:lnTo>
                      <a:pt x="1146" y="801"/>
                    </a:lnTo>
                    <a:lnTo>
                      <a:pt x="1143" y="803"/>
                    </a:lnTo>
                    <a:lnTo>
                      <a:pt x="1139" y="803"/>
                    </a:lnTo>
                    <a:lnTo>
                      <a:pt x="1139" y="809"/>
                    </a:lnTo>
                    <a:lnTo>
                      <a:pt x="1134" y="821"/>
                    </a:lnTo>
                    <a:lnTo>
                      <a:pt x="1132" y="821"/>
                    </a:lnTo>
                    <a:lnTo>
                      <a:pt x="1118" y="835"/>
                    </a:lnTo>
                    <a:lnTo>
                      <a:pt x="1118" y="835"/>
                    </a:lnTo>
                    <a:lnTo>
                      <a:pt x="1121" y="834"/>
                    </a:lnTo>
                    <a:lnTo>
                      <a:pt x="1125" y="832"/>
                    </a:lnTo>
                    <a:lnTo>
                      <a:pt x="1125" y="832"/>
                    </a:lnTo>
                    <a:lnTo>
                      <a:pt x="1127" y="830"/>
                    </a:lnTo>
                    <a:lnTo>
                      <a:pt x="1153" y="798"/>
                    </a:lnTo>
                    <a:lnTo>
                      <a:pt x="1157" y="798"/>
                    </a:lnTo>
                    <a:lnTo>
                      <a:pt x="1159" y="796"/>
                    </a:lnTo>
                    <a:lnTo>
                      <a:pt x="1191" y="780"/>
                    </a:lnTo>
                    <a:lnTo>
                      <a:pt x="1207" y="776"/>
                    </a:lnTo>
                    <a:lnTo>
                      <a:pt x="1216" y="778"/>
                    </a:lnTo>
                    <a:lnTo>
                      <a:pt x="1227" y="784"/>
                    </a:lnTo>
                    <a:lnTo>
                      <a:pt x="1228" y="789"/>
                    </a:lnTo>
                    <a:lnTo>
                      <a:pt x="1227" y="787"/>
                    </a:lnTo>
                    <a:lnTo>
                      <a:pt x="1227" y="789"/>
                    </a:lnTo>
                    <a:lnTo>
                      <a:pt x="1228" y="791"/>
                    </a:lnTo>
                    <a:lnTo>
                      <a:pt x="1228" y="794"/>
                    </a:lnTo>
                    <a:lnTo>
                      <a:pt x="1212" y="807"/>
                    </a:lnTo>
                    <a:lnTo>
                      <a:pt x="1207" y="807"/>
                    </a:lnTo>
                    <a:lnTo>
                      <a:pt x="1203" y="803"/>
                    </a:lnTo>
                    <a:lnTo>
                      <a:pt x="1193" y="807"/>
                    </a:lnTo>
                    <a:lnTo>
                      <a:pt x="1191" y="807"/>
                    </a:lnTo>
                    <a:lnTo>
                      <a:pt x="1195" y="807"/>
                    </a:lnTo>
                    <a:lnTo>
                      <a:pt x="1203" y="810"/>
                    </a:lnTo>
                    <a:lnTo>
                      <a:pt x="1205" y="814"/>
                    </a:lnTo>
                    <a:lnTo>
                      <a:pt x="1205" y="816"/>
                    </a:lnTo>
                    <a:lnTo>
                      <a:pt x="1214" y="810"/>
                    </a:lnTo>
                    <a:lnTo>
                      <a:pt x="1216" y="810"/>
                    </a:lnTo>
                    <a:lnTo>
                      <a:pt x="1216" y="812"/>
                    </a:lnTo>
                    <a:lnTo>
                      <a:pt x="1218" y="812"/>
                    </a:lnTo>
                    <a:lnTo>
                      <a:pt x="1220" y="814"/>
                    </a:lnTo>
                    <a:lnTo>
                      <a:pt x="1220" y="818"/>
                    </a:lnTo>
                    <a:lnTo>
                      <a:pt x="1216" y="825"/>
                    </a:lnTo>
                    <a:lnTo>
                      <a:pt x="1212" y="828"/>
                    </a:lnTo>
                    <a:lnTo>
                      <a:pt x="1212" y="830"/>
                    </a:lnTo>
                    <a:lnTo>
                      <a:pt x="1214" y="828"/>
                    </a:lnTo>
                    <a:lnTo>
                      <a:pt x="1220" y="830"/>
                    </a:lnTo>
                    <a:lnTo>
                      <a:pt x="1218" y="835"/>
                    </a:lnTo>
                    <a:lnTo>
                      <a:pt x="1223" y="846"/>
                    </a:lnTo>
                    <a:lnTo>
                      <a:pt x="1225" y="848"/>
                    </a:lnTo>
                    <a:lnTo>
                      <a:pt x="1225" y="848"/>
                    </a:lnTo>
                    <a:lnTo>
                      <a:pt x="1228" y="850"/>
                    </a:lnTo>
                    <a:lnTo>
                      <a:pt x="1236" y="851"/>
                    </a:lnTo>
                    <a:lnTo>
                      <a:pt x="1236" y="853"/>
                    </a:lnTo>
                    <a:lnTo>
                      <a:pt x="1234" y="855"/>
                    </a:lnTo>
                    <a:lnTo>
                      <a:pt x="1234" y="857"/>
                    </a:lnTo>
                    <a:lnTo>
                      <a:pt x="1252" y="860"/>
                    </a:lnTo>
                    <a:lnTo>
                      <a:pt x="1253" y="862"/>
                    </a:lnTo>
                    <a:lnTo>
                      <a:pt x="1259" y="862"/>
                    </a:lnTo>
                    <a:lnTo>
                      <a:pt x="1264" y="857"/>
                    </a:lnTo>
                    <a:lnTo>
                      <a:pt x="1266" y="860"/>
                    </a:lnTo>
                    <a:lnTo>
                      <a:pt x="1266" y="862"/>
                    </a:lnTo>
                    <a:lnTo>
                      <a:pt x="1268" y="862"/>
                    </a:lnTo>
                    <a:lnTo>
                      <a:pt x="1270" y="862"/>
                    </a:lnTo>
                    <a:lnTo>
                      <a:pt x="1273" y="862"/>
                    </a:lnTo>
                    <a:lnTo>
                      <a:pt x="1277" y="866"/>
                    </a:lnTo>
                    <a:lnTo>
                      <a:pt x="1275" y="868"/>
                    </a:lnTo>
                    <a:lnTo>
                      <a:pt x="1275" y="869"/>
                    </a:lnTo>
                    <a:lnTo>
                      <a:pt x="1278" y="869"/>
                    </a:lnTo>
                    <a:lnTo>
                      <a:pt x="1280" y="871"/>
                    </a:lnTo>
                    <a:lnTo>
                      <a:pt x="1278" y="871"/>
                    </a:lnTo>
                    <a:lnTo>
                      <a:pt x="1275" y="871"/>
                    </a:lnTo>
                    <a:lnTo>
                      <a:pt x="1273" y="873"/>
                    </a:lnTo>
                    <a:lnTo>
                      <a:pt x="1271" y="873"/>
                    </a:lnTo>
                    <a:lnTo>
                      <a:pt x="1259" y="880"/>
                    </a:lnTo>
                    <a:lnTo>
                      <a:pt x="1257" y="880"/>
                    </a:lnTo>
                    <a:lnTo>
                      <a:pt x="1257" y="882"/>
                    </a:lnTo>
                    <a:lnTo>
                      <a:pt x="1253" y="880"/>
                    </a:lnTo>
                    <a:lnTo>
                      <a:pt x="1250" y="884"/>
                    </a:lnTo>
                    <a:lnTo>
                      <a:pt x="1248" y="884"/>
                    </a:lnTo>
                    <a:lnTo>
                      <a:pt x="1246" y="884"/>
                    </a:lnTo>
                    <a:lnTo>
                      <a:pt x="1243" y="885"/>
                    </a:lnTo>
                    <a:lnTo>
                      <a:pt x="1239" y="884"/>
                    </a:lnTo>
                    <a:lnTo>
                      <a:pt x="1239" y="887"/>
                    </a:lnTo>
                    <a:lnTo>
                      <a:pt x="1239" y="889"/>
                    </a:lnTo>
                    <a:lnTo>
                      <a:pt x="1236" y="889"/>
                    </a:lnTo>
                    <a:lnTo>
                      <a:pt x="1234" y="887"/>
                    </a:lnTo>
                    <a:lnTo>
                      <a:pt x="1234" y="885"/>
                    </a:lnTo>
                    <a:lnTo>
                      <a:pt x="1232" y="889"/>
                    </a:lnTo>
                    <a:lnTo>
                      <a:pt x="1230" y="887"/>
                    </a:lnTo>
                    <a:lnTo>
                      <a:pt x="1228" y="889"/>
                    </a:lnTo>
                    <a:lnTo>
                      <a:pt x="1228" y="894"/>
                    </a:lnTo>
                    <a:lnTo>
                      <a:pt x="1225" y="896"/>
                    </a:lnTo>
                    <a:lnTo>
                      <a:pt x="1221" y="901"/>
                    </a:lnTo>
                    <a:lnTo>
                      <a:pt x="1218" y="903"/>
                    </a:lnTo>
                    <a:lnTo>
                      <a:pt x="1216" y="907"/>
                    </a:lnTo>
                    <a:lnTo>
                      <a:pt x="1214" y="907"/>
                    </a:lnTo>
                    <a:lnTo>
                      <a:pt x="1212" y="907"/>
                    </a:lnTo>
                    <a:lnTo>
                      <a:pt x="1211" y="910"/>
                    </a:lnTo>
                    <a:lnTo>
                      <a:pt x="1209" y="912"/>
                    </a:lnTo>
                    <a:lnTo>
                      <a:pt x="1209" y="912"/>
                    </a:lnTo>
                    <a:lnTo>
                      <a:pt x="1205" y="910"/>
                    </a:lnTo>
                    <a:lnTo>
                      <a:pt x="1203" y="907"/>
                    </a:lnTo>
                    <a:lnTo>
                      <a:pt x="1202" y="905"/>
                    </a:lnTo>
                    <a:lnTo>
                      <a:pt x="1200" y="905"/>
                    </a:lnTo>
                    <a:lnTo>
                      <a:pt x="1198" y="896"/>
                    </a:lnTo>
                    <a:lnTo>
                      <a:pt x="1198" y="893"/>
                    </a:lnTo>
                    <a:lnTo>
                      <a:pt x="1202" y="887"/>
                    </a:lnTo>
                    <a:lnTo>
                      <a:pt x="1202" y="889"/>
                    </a:lnTo>
                    <a:lnTo>
                      <a:pt x="1198" y="891"/>
                    </a:lnTo>
                    <a:lnTo>
                      <a:pt x="1198" y="889"/>
                    </a:lnTo>
                    <a:lnTo>
                      <a:pt x="1203" y="885"/>
                    </a:lnTo>
                    <a:lnTo>
                      <a:pt x="1205" y="885"/>
                    </a:lnTo>
                    <a:lnTo>
                      <a:pt x="1209" y="884"/>
                    </a:lnTo>
                    <a:lnTo>
                      <a:pt x="1207" y="882"/>
                    </a:lnTo>
                    <a:lnTo>
                      <a:pt x="1225" y="871"/>
                    </a:lnTo>
                    <a:lnTo>
                      <a:pt x="1227" y="873"/>
                    </a:lnTo>
                    <a:lnTo>
                      <a:pt x="1227" y="875"/>
                    </a:lnTo>
                    <a:lnTo>
                      <a:pt x="1230" y="876"/>
                    </a:lnTo>
                    <a:lnTo>
                      <a:pt x="1232" y="873"/>
                    </a:lnTo>
                    <a:lnTo>
                      <a:pt x="1236" y="871"/>
                    </a:lnTo>
                    <a:lnTo>
                      <a:pt x="1243" y="869"/>
                    </a:lnTo>
                    <a:lnTo>
                      <a:pt x="1243" y="868"/>
                    </a:lnTo>
                    <a:lnTo>
                      <a:pt x="1234" y="869"/>
                    </a:lnTo>
                    <a:lnTo>
                      <a:pt x="1227" y="868"/>
                    </a:lnTo>
                    <a:lnTo>
                      <a:pt x="1223" y="869"/>
                    </a:lnTo>
                    <a:lnTo>
                      <a:pt x="1220" y="869"/>
                    </a:lnTo>
                    <a:lnTo>
                      <a:pt x="1220" y="866"/>
                    </a:lnTo>
                    <a:lnTo>
                      <a:pt x="1227" y="859"/>
                    </a:lnTo>
                    <a:lnTo>
                      <a:pt x="1225" y="859"/>
                    </a:lnTo>
                    <a:lnTo>
                      <a:pt x="1223" y="857"/>
                    </a:lnTo>
                    <a:lnTo>
                      <a:pt x="1221" y="862"/>
                    </a:lnTo>
                    <a:lnTo>
                      <a:pt x="1218" y="862"/>
                    </a:lnTo>
                    <a:lnTo>
                      <a:pt x="1205" y="871"/>
                    </a:lnTo>
                    <a:lnTo>
                      <a:pt x="1202" y="871"/>
                    </a:lnTo>
                    <a:lnTo>
                      <a:pt x="1200" y="871"/>
                    </a:lnTo>
                    <a:lnTo>
                      <a:pt x="1196" y="875"/>
                    </a:lnTo>
                    <a:lnTo>
                      <a:pt x="1187" y="875"/>
                    </a:lnTo>
                    <a:lnTo>
                      <a:pt x="1186" y="875"/>
                    </a:lnTo>
                    <a:lnTo>
                      <a:pt x="1184" y="873"/>
                    </a:lnTo>
                    <a:lnTo>
                      <a:pt x="1182" y="875"/>
                    </a:lnTo>
                    <a:lnTo>
                      <a:pt x="1182" y="875"/>
                    </a:lnTo>
                    <a:lnTo>
                      <a:pt x="1178" y="875"/>
                    </a:lnTo>
                    <a:lnTo>
                      <a:pt x="1177" y="873"/>
                    </a:lnTo>
                    <a:lnTo>
                      <a:pt x="1175" y="869"/>
                    </a:lnTo>
                    <a:lnTo>
                      <a:pt x="1175" y="866"/>
                    </a:lnTo>
                    <a:lnTo>
                      <a:pt x="1171" y="862"/>
                    </a:lnTo>
                    <a:lnTo>
                      <a:pt x="1171" y="832"/>
                    </a:lnTo>
                    <a:lnTo>
                      <a:pt x="1162" y="825"/>
                    </a:lnTo>
                    <a:lnTo>
                      <a:pt x="1161" y="825"/>
                    </a:lnTo>
                    <a:lnTo>
                      <a:pt x="1159" y="826"/>
                    </a:lnTo>
                    <a:lnTo>
                      <a:pt x="1153" y="828"/>
                    </a:lnTo>
                    <a:lnTo>
                      <a:pt x="1150" y="826"/>
                    </a:lnTo>
                    <a:lnTo>
                      <a:pt x="1148" y="825"/>
                    </a:lnTo>
                    <a:lnTo>
                      <a:pt x="1146" y="823"/>
                    </a:lnTo>
                    <a:lnTo>
                      <a:pt x="1145" y="821"/>
                    </a:lnTo>
                    <a:lnTo>
                      <a:pt x="1143" y="823"/>
                    </a:lnTo>
                    <a:lnTo>
                      <a:pt x="1130" y="853"/>
                    </a:lnTo>
                    <a:lnTo>
                      <a:pt x="1128" y="864"/>
                    </a:lnTo>
                    <a:lnTo>
                      <a:pt x="1125" y="868"/>
                    </a:lnTo>
                    <a:lnTo>
                      <a:pt x="1125" y="869"/>
                    </a:lnTo>
                    <a:lnTo>
                      <a:pt x="1127" y="871"/>
                    </a:lnTo>
                    <a:lnTo>
                      <a:pt x="1125" y="871"/>
                    </a:lnTo>
                    <a:lnTo>
                      <a:pt x="1123" y="869"/>
                    </a:lnTo>
                    <a:lnTo>
                      <a:pt x="1123" y="871"/>
                    </a:lnTo>
                    <a:lnTo>
                      <a:pt x="1123" y="873"/>
                    </a:lnTo>
                    <a:lnTo>
                      <a:pt x="1120" y="871"/>
                    </a:lnTo>
                    <a:lnTo>
                      <a:pt x="1116" y="873"/>
                    </a:lnTo>
                    <a:lnTo>
                      <a:pt x="1114" y="873"/>
                    </a:lnTo>
                    <a:lnTo>
                      <a:pt x="1112" y="875"/>
                    </a:lnTo>
                    <a:lnTo>
                      <a:pt x="1111" y="878"/>
                    </a:lnTo>
                    <a:lnTo>
                      <a:pt x="1055" y="878"/>
                    </a:lnTo>
                    <a:lnTo>
                      <a:pt x="1045" y="885"/>
                    </a:lnTo>
                    <a:lnTo>
                      <a:pt x="1045" y="887"/>
                    </a:lnTo>
                    <a:lnTo>
                      <a:pt x="1039" y="893"/>
                    </a:lnTo>
                    <a:lnTo>
                      <a:pt x="1025" y="898"/>
                    </a:lnTo>
                    <a:lnTo>
                      <a:pt x="1023" y="896"/>
                    </a:lnTo>
                    <a:lnTo>
                      <a:pt x="1020" y="896"/>
                    </a:lnTo>
                    <a:lnTo>
                      <a:pt x="1020" y="898"/>
                    </a:lnTo>
                    <a:lnTo>
                      <a:pt x="1021" y="898"/>
                    </a:lnTo>
                    <a:lnTo>
                      <a:pt x="1023" y="901"/>
                    </a:lnTo>
                    <a:lnTo>
                      <a:pt x="1023" y="903"/>
                    </a:lnTo>
                    <a:lnTo>
                      <a:pt x="1021" y="903"/>
                    </a:lnTo>
                    <a:lnTo>
                      <a:pt x="1020" y="901"/>
                    </a:lnTo>
                    <a:lnTo>
                      <a:pt x="1005" y="901"/>
                    </a:lnTo>
                    <a:lnTo>
                      <a:pt x="989" y="905"/>
                    </a:lnTo>
                    <a:lnTo>
                      <a:pt x="978" y="916"/>
                    </a:lnTo>
                    <a:lnTo>
                      <a:pt x="986" y="918"/>
                    </a:lnTo>
                    <a:lnTo>
                      <a:pt x="991" y="918"/>
                    </a:lnTo>
                    <a:lnTo>
                      <a:pt x="995" y="926"/>
                    </a:lnTo>
                    <a:lnTo>
                      <a:pt x="980" y="925"/>
                    </a:lnTo>
                    <a:lnTo>
                      <a:pt x="971" y="928"/>
                    </a:lnTo>
                    <a:lnTo>
                      <a:pt x="966" y="932"/>
                    </a:lnTo>
                    <a:lnTo>
                      <a:pt x="957" y="930"/>
                    </a:lnTo>
                    <a:lnTo>
                      <a:pt x="950" y="932"/>
                    </a:lnTo>
                    <a:lnTo>
                      <a:pt x="950" y="934"/>
                    </a:lnTo>
                    <a:lnTo>
                      <a:pt x="946" y="937"/>
                    </a:lnTo>
                    <a:lnTo>
                      <a:pt x="946" y="937"/>
                    </a:lnTo>
                    <a:lnTo>
                      <a:pt x="943" y="939"/>
                    </a:lnTo>
                    <a:lnTo>
                      <a:pt x="936" y="944"/>
                    </a:lnTo>
                    <a:lnTo>
                      <a:pt x="936" y="944"/>
                    </a:lnTo>
                    <a:lnTo>
                      <a:pt x="932" y="944"/>
                    </a:lnTo>
                    <a:lnTo>
                      <a:pt x="930" y="944"/>
                    </a:lnTo>
                    <a:lnTo>
                      <a:pt x="925" y="944"/>
                    </a:lnTo>
                    <a:lnTo>
                      <a:pt x="925" y="941"/>
                    </a:lnTo>
                    <a:lnTo>
                      <a:pt x="927" y="937"/>
                    </a:lnTo>
                    <a:lnTo>
                      <a:pt x="928" y="935"/>
                    </a:lnTo>
                    <a:lnTo>
                      <a:pt x="928" y="937"/>
                    </a:lnTo>
                    <a:lnTo>
                      <a:pt x="932" y="937"/>
                    </a:lnTo>
                    <a:lnTo>
                      <a:pt x="936" y="937"/>
                    </a:lnTo>
                    <a:lnTo>
                      <a:pt x="936" y="937"/>
                    </a:lnTo>
                    <a:lnTo>
                      <a:pt x="937" y="934"/>
                    </a:lnTo>
                    <a:lnTo>
                      <a:pt x="936" y="934"/>
                    </a:lnTo>
                    <a:lnTo>
                      <a:pt x="936" y="932"/>
                    </a:lnTo>
                    <a:lnTo>
                      <a:pt x="934" y="930"/>
                    </a:lnTo>
                    <a:lnTo>
                      <a:pt x="937" y="921"/>
                    </a:lnTo>
                    <a:lnTo>
                      <a:pt x="939" y="921"/>
                    </a:lnTo>
                    <a:lnTo>
                      <a:pt x="941" y="919"/>
                    </a:lnTo>
                    <a:lnTo>
                      <a:pt x="941" y="918"/>
                    </a:lnTo>
                    <a:lnTo>
                      <a:pt x="945" y="918"/>
                    </a:lnTo>
                    <a:lnTo>
                      <a:pt x="946" y="914"/>
                    </a:lnTo>
                    <a:lnTo>
                      <a:pt x="946" y="896"/>
                    </a:lnTo>
                    <a:lnTo>
                      <a:pt x="953" y="885"/>
                    </a:lnTo>
                    <a:lnTo>
                      <a:pt x="953" y="882"/>
                    </a:lnTo>
                    <a:lnTo>
                      <a:pt x="950" y="875"/>
                    </a:lnTo>
                    <a:lnTo>
                      <a:pt x="950" y="875"/>
                    </a:lnTo>
                    <a:lnTo>
                      <a:pt x="948" y="873"/>
                    </a:lnTo>
                    <a:lnTo>
                      <a:pt x="950" y="871"/>
                    </a:lnTo>
                    <a:lnTo>
                      <a:pt x="953" y="873"/>
                    </a:lnTo>
                    <a:lnTo>
                      <a:pt x="957" y="880"/>
                    </a:lnTo>
                    <a:lnTo>
                      <a:pt x="957" y="880"/>
                    </a:lnTo>
                    <a:lnTo>
                      <a:pt x="959" y="880"/>
                    </a:lnTo>
                    <a:lnTo>
                      <a:pt x="959" y="878"/>
                    </a:lnTo>
                    <a:lnTo>
                      <a:pt x="959" y="882"/>
                    </a:lnTo>
                    <a:lnTo>
                      <a:pt x="961" y="882"/>
                    </a:lnTo>
                    <a:lnTo>
                      <a:pt x="961" y="887"/>
                    </a:lnTo>
                    <a:lnTo>
                      <a:pt x="962" y="884"/>
                    </a:lnTo>
                    <a:lnTo>
                      <a:pt x="964" y="884"/>
                    </a:lnTo>
                    <a:lnTo>
                      <a:pt x="964" y="887"/>
                    </a:lnTo>
                    <a:lnTo>
                      <a:pt x="970" y="889"/>
                    </a:lnTo>
                    <a:lnTo>
                      <a:pt x="975" y="889"/>
                    </a:lnTo>
                    <a:lnTo>
                      <a:pt x="975" y="887"/>
                    </a:lnTo>
                    <a:lnTo>
                      <a:pt x="975" y="885"/>
                    </a:lnTo>
                    <a:lnTo>
                      <a:pt x="973" y="882"/>
                    </a:lnTo>
                    <a:lnTo>
                      <a:pt x="975" y="882"/>
                    </a:lnTo>
                    <a:lnTo>
                      <a:pt x="975" y="880"/>
                    </a:lnTo>
                    <a:lnTo>
                      <a:pt x="977" y="882"/>
                    </a:lnTo>
                    <a:lnTo>
                      <a:pt x="978" y="882"/>
                    </a:lnTo>
                    <a:lnTo>
                      <a:pt x="980" y="882"/>
                    </a:lnTo>
                    <a:lnTo>
                      <a:pt x="980" y="882"/>
                    </a:lnTo>
                    <a:lnTo>
                      <a:pt x="978" y="880"/>
                    </a:lnTo>
                    <a:lnTo>
                      <a:pt x="977" y="878"/>
                    </a:lnTo>
                    <a:lnTo>
                      <a:pt x="975" y="875"/>
                    </a:lnTo>
                    <a:lnTo>
                      <a:pt x="975" y="875"/>
                    </a:lnTo>
                    <a:lnTo>
                      <a:pt x="975" y="871"/>
                    </a:lnTo>
                    <a:lnTo>
                      <a:pt x="975" y="869"/>
                    </a:lnTo>
                    <a:lnTo>
                      <a:pt x="973" y="869"/>
                    </a:lnTo>
                    <a:lnTo>
                      <a:pt x="971" y="869"/>
                    </a:lnTo>
                    <a:lnTo>
                      <a:pt x="970" y="866"/>
                    </a:lnTo>
                    <a:lnTo>
                      <a:pt x="966" y="864"/>
                    </a:lnTo>
                    <a:lnTo>
                      <a:pt x="964" y="859"/>
                    </a:lnTo>
                    <a:lnTo>
                      <a:pt x="953" y="855"/>
                    </a:lnTo>
                    <a:lnTo>
                      <a:pt x="950" y="857"/>
                    </a:lnTo>
                    <a:lnTo>
                      <a:pt x="950" y="855"/>
                    </a:lnTo>
                    <a:lnTo>
                      <a:pt x="950" y="853"/>
                    </a:lnTo>
                    <a:lnTo>
                      <a:pt x="946" y="853"/>
                    </a:lnTo>
                    <a:lnTo>
                      <a:pt x="937" y="853"/>
                    </a:lnTo>
                    <a:lnTo>
                      <a:pt x="936" y="851"/>
                    </a:lnTo>
                    <a:lnTo>
                      <a:pt x="934" y="851"/>
                    </a:lnTo>
                    <a:lnTo>
                      <a:pt x="932" y="851"/>
                    </a:lnTo>
                    <a:lnTo>
                      <a:pt x="930" y="850"/>
                    </a:lnTo>
                    <a:lnTo>
                      <a:pt x="927" y="851"/>
                    </a:lnTo>
                    <a:lnTo>
                      <a:pt x="927" y="851"/>
                    </a:lnTo>
                    <a:lnTo>
                      <a:pt x="914" y="848"/>
                    </a:lnTo>
                    <a:lnTo>
                      <a:pt x="911" y="848"/>
                    </a:lnTo>
                    <a:lnTo>
                      <a:pt x="909" y="848"/>
                    </a:lnTo>
                    <a:lnTo>
                      <a:pt x="909" y="846"/>
                    </a:lnTo>
                    <a:lnTo>
                      <a:pt x="907" y="843"/>
                    </a:lnTo>
                    <a:lnTo>
                      <a:pt x="905" y="841"/>
                    </a:lnTo>
                    <a:lnTo>
                      <a:pt x="905" y="843"/>
                    </a:lnTo>
                    <a:lnTo>
                      <a:pt x="905" y="844"/>
                    </a:lnTo>
                    <a:lnTo>
                      <a:pt x="903" y="844"/>
                    </a:lnTo>
                    <a:lnTo>
                      <a:pt x="903" y="844"/>
                    </a:lnTo>
                    <a:lnTo>
                      <a:pt x="903" y="844"/>
                    </a:lnTo>
                    <a:lnTo>
                      <a:pt x="903" y="843"/>
                    </a:lnTo>
                    <a:lnTo>
                      <a:pt x="903" y="841"/>
                    </a:lnTo>
                    <a:lnTo>
                      <a:pt x="903" y="839"/>
                    </a:lnTo>
                    <a:lnTo>
                      <a:pt x="903" y="839"/>
                    </a:lnTo>
                    <a:lnTo>
                      <a:pt x="902" y="837"/>
                    </a:lnTo>
                    <a:lnTo>
                      <a:pt x="903" y="835"/>
                    </a:lnTo>
                    <a:lnTo>
                      <a:pt x="900" y="834"/>
                    </a:lnTo>
                    <a:lnTo>
                      <a:pt x="900" y="828"/>
                    </a:lnTo>
                    <a:lnTo>
                      <a:pt x="900" y="825"/>
                    </a:lnTo>
                    <a:lnTo>
                      <a:pt x="896" y="819"/>
                    </a:lnTo>
                    <a:lnTo>
                      <a:pt x="895" y="818"/>
                    </a:lnTo>
                    <a:lnTo>
                      <a:pt x="896" y="809"/>
                    </a:lnTo>
                    <a:lnTo>
                      <a:pt x="884" y="810"/>
                    </a:lnTo>
                    <a:lnTo>
                      <a:pt x="880" y="807"/>
                    </a:lnTo>
                    <a:lnTo>
                      <a:pt x="873" y="791"/>
                    </a:lnTo>
                    <a:lnTo>
                      <a:pt x="870" y="791"/>
                    </a:lnTo>
                    <a:lnTo>
                      <a:pt x="866" y="789"/>
                    </a:lnTo>
                    <a:lnTo>
                      <a:pt x="862" y="789"/>
                    </a:lnTo>
                    <a:lnTo>
                      <a:pt x="862" y="801"/>
                    </a:lnTo>
                    <a:lnTo>
                      <a:pt x="857" y="789"/>
                    </a:lnTo>
                    <a:lnTo>
                      <a:pt x="846" y="785"/>
                    </a:lnTo>
                    <a:lnTo>
                      <a:pt x="845" y="785"/>
                    </a:lnTo>
                    <a:lnTo>
                      <a:pt x="845" y="787"/>
                    </a:lnTo>
                    <a:lnTo>
                      <a:pt x="845" y="793"/>
                    </a:lnTo>
                    <a:lnTo>
                      <a:pt x="845" y="793"/>
                    </a:lnTo>
                    <a:lnTo>
                      <a:pt x="841" y="794"/>
                    </a:lnTo>
                    <a:lnTo>
                      <a:pt x="841" y="798"/>
                    </a:lnTo>
                    <a:lnTo>
                      <a:pt x="839" y="798"/>
                    </a:lnTo>
                    <a:lnTo>
                      <a:pt x="839" y="796"/>
                    </a:lnTo>
                    <a:lnTo>
                      <a:pt x="841" y="791"/>
                    </a:lnTo>
                    <a:lnTo>
                      <a:pt x="841" y="789"/>
                    </a:lnTo>
                    <a:lnTo>
                      <a:pt x="836" y="800"/>
                    </a:lnTo>
                    <a:lnTo>
                      <a:pt x="834" y="800"/>
                    </a:lnTo>
                    <a:lnTo>
                      <a:pt x="834" y="798"/>
                    </a:lnTo>
                    <a:lnTo>
                      <a:pt x="834" y="794"/>
                    </a:lnTo>
                    <a:lnTo>
                      <a:pt x="828" y="800"/>
                    </a:lnTo>
                    <a:lnTo>
                      <a:pt x="827" y="803"/>
                    </a:lnTo>
                    <a:lnTo>
                      <a:pt x="827" y="805"/>
                    </a:lnTo>
                    <a:lnTo>
                      <a:pt x="825" y="807"/>
                    </a:lnTo>
                    <a:lnTo>
                      <a:pt x="820" y="809"/>
                    </a:lnTo>
                    <a:lnTo>
                      <a:pt x="818" y="809"/>
                    </a:lnTo>
                    <a:lnTo>
                      <a:pt x="814" y="807"/>
                    </a:lnTo>
                    <a:lnTo>
                      <a:pt x="807" y="807"/>
                    </a:lnTo>
                    <a:lnTo>
                      <a:pt x="802" y="805"/>
                    </a:lnTo>
                    <a:lnTo>
                      <a:pt x="798" y="805"/>
                    </a:lnTo>
                    <a:lnTo>
                      <a:pt x="795" y="807"/>
                    </a:lnTo>
                    <a:lnTo>
                      <a:pt x="793" y="807"/>
                    </a:lnTo>
                    <a:lnTo>
                      <a:pt x="789" y="805"/>
                    </a:lnTo>
                    <a:lnTo>
                      <a:pt x="787" y="803"/>
                    </a:lnTo>
                    <a:lnTo>
                      <a:pt x="777" y="798"/>
                    </a:lnTo>
                    <a:lnTo>
                      <a:pt x="777" y="796"/>
                    </a:lnTo>
                    <a:lnTo>
                      <a:pt x="770" y="794"/>
                    </a:lnTo>
                    <a:lnTo>
                      <a:pt x="762" y="793"/>
                    </a:lnTo>
                    <a:lnTo>
                      <a:pt x="761" y="794"/>
                    </a:lnTo>
                    <a:lnTo>
                      <a:pt x="757" y="794"/>
                    </a:lnTo>
                    <a:lnTo>
                      <a:pt x="755" y="794"/>
                    </a:lnTo>
                    <a:lnTo>
                      <a:pt x="755" y="794"/>
                    </a:lnTo>
                    <a:lnTo>
                      <a:pt x="755" y="793"/>
                    </a:lnTo>
                    <a:lnTo>
                      <a:pt x="750" y="791"/>
                    </a:lnTo>
                    <a:lnTo>
                      <a:pt x="745" y="791"/>
                    </a:lnTo>
                    <a:lnTo>
                      <a:pt x="745" y="791"/>
                    </a:lnTo>
                    <a:lnTo>
                      <a:pt x="743" y="791"/>
                    </a:lnTo>
                    <a:lnTo>
                      <a:pt x="739" y="785"/>
                    </a:lnTo>
                    <a:lnTo>
                      <a:pt x="739" y="784"/>
                    </a:lnTo>
                    <a:lnTo>
                      <a:pt x="736" y="775"/>
                    </a:lnTo>
                    <a:lnTo>
                      <a:pt x="732" y="775"/>
                    </a:lnTo>
                    <a:lnTo>
                      <a:pt x="732" y="785"/>
                    </a:lnTo>
                    <a:lnTo>
                      <a:pt x="291" y="785"/>
                    </a:lnTo>
                    <a:lnTo>
                      <a:pt x="291" y="784"/>
                    </a:lnTo>
                    <a:lnTo>
                      <a:pt x="289" y="782"/>
                    </a:lnTo>
                    <a:lnTo>
                      <a:pt x="287" y="782"/>
                    </a:lnTo>
                    <a:lnTo>
                      <a:pt x="287" y="782"/>
                    </a:lnTo>
                    <a:lnTo>
                      <a:pt x="287" y="780"/>
                    </a:lnTo>
                    <a:lnTo>
                      <a:pt x="291" y="780"/>
                    </a:lnTo>
                    <a:lnTo>
                      <a:pt x="295" y="780"/>
                    </a:lnTo>
                    <a:lnTo>
                      <a:pt x="295" y="778"/>
                    </a:lnTo>
                    <a:lnTo>
                      <a:pt x="293" y="778"/>
                    </a:lnTo>
                    <a:lnTo>
                      <a:pt x="293" y="778"/>
                    </a:lnTo>
                    <a:lnTo>
                      <a:pt x="293" y="776"/>
                    </a:lnTo>
                    <a:lnTo>
                      <a:pt x="289" y="778"/>
                    </a:lnTo>
                    <a:lnTo>
                      <a:pt x="286" y="778"/>
                    </a:lnTo>
                    <a:lnTo>
                      <a:pt x="286" y="776"/>
                    </a:lnTo>
                    <a:lnTo>
                      <a:pt x="286" y="776"/>
                    </a:lnTo>
                    <a:lnTo>
                      <a:pt x="284" y="775"/>
                    </a:lnTo>
                    <a:lnTo>
                      <a:pt x="284" y="775"/>
                    </a:lnTo>
                    <a:lnTo>
                      <a:pt x="286" y="775"/>
                    </a:lnTo>
                    <a:lnTo>
                      <a:pt x="286" y="768"/>
                    </a:lnTo>
                    <a:lnTo>
                      <a:pt x="284" y="766"/>
                    </a:lnTo>
                    <a:lnTo>
                      <a:pt x="284" y="768"/>
                    </a:lnTo>
                    <a:lnTo>
                      <a:pt x="280" y="771"/>
                    </a:lnTo>
                    <a:lnTo>
                      <a:pt x="279" y="773"/>
                    </a:lnTo>
                    <a:lnTo>
                      <a:pt x="279" y="773"/>
                    </a:lnTo>
                    <a:lnTo>
                      <a:pt x="277" y="771"/>
                    </a:lnTo>
                    <a:lnTo>
                      <a:pt x="277" y="769"/>
                    </a:lnTo>
                    <a:lnTo>
                      <a:pt x="279" y="768"/>
                    </a:lnTo>
                    <a:lnTo>
                      <a:pt x="277" y="768"/>
                    </a:lnTo>
                    <a:lnTo>
                      <a:pt x="277" y="766"/>
                    </a:lnTo>
                    <a:lnTo>
                      <a:pt x="275" y="766"/>
                    </a:lnTo>
                    <a:lnTo>
                      <a:pt x="275" y="764"/>
                    </a:lnTo>
                    <a:lnTo>
                      <a:pt x="275" y="762"/>
                    </a:lnTo>
                    <a:lnTo>
                      <a:pt x="273" y="760"/>
                    </a:lnTo>
                    <a:lnTo>
                      <a:pt x="273" y="759"/>
                    </a:lnTo>
                    <a:lnTo>
                      <a:pt x="271" y="759"/>
                    </a:lnTo>
                    <a:lnTo>
                      <a:pt x="273" y="762"/>
                    </a:lnTo>
                    <a:lnTo>
                      <a:pt x="273" y="764"/>
                    </a:lnTo>
                    <a:lnTo>
                      <a:pt x="271" y="760"/>
                    </a:lnTo>
                    <a:lnTo>
                      <a:pt x="270" y="764"/>
                    </a:lnTo>
                    <a:lnTo>
                      <a:pt x="268" y="764"/>
                    </a:lnTo>
                    <a:lnTo>
                      <a:pt x="264" y="764"/>
                    </a:lnTo>
                    <a:lnTo>
                      <a:pt x="261" y="760"/>
                    </a:lnTo>
                    <a:lnTo>
                      <a:pt x="259" y="757"/>
                    </a:lnTo>
                    <a:lnTo>
                      <a:pt x="261" y="755"/>
                    </a:lnTo>
                    <a:lnTo>
                      <a:pt x="262" y="755"/>
                    </a:lnTo>
                    <a:lnTo>
                      <a:pt x="261" y="753"/>
                    </a:lnTo>
                    <a:lnTo>
                      <a:pt x="261" y="751"/>
                    </a:lnTo>
                    <a:lnTo>
                      <a:pt x="261" y="750"/>
                    </a:lnTo>
                    <a:lnTo>
                      <a:pt x="261" y="748"/>
                    </a:lnTo>
                    <a:lnTo>
                      <a:pt x="259" y="750"/>
                    </a:lnTo>
                    <a:lnTo>
                      <a:pt x="257" y="750"/>
                    </a:lnTo>
                    <a:lnTo>
                      <a:pt x="255" y="750"/>
                    </a:lnTo>
                    <a:lnTo>
                      <a:pt x="255" y="746"/>
                    </a:lnTo>
                    <a:lnTo>
                      <a:pt x="255" y="746"/>
                    </a:lnTo>
                    <a:lnTo>
                      <a:pt x="252" y="748"/>
                    </a:lnTo>
                    <a:lnTo>
                      <a:pt x="248" y="746"/>
                    </a:lnTo>
                    <a:lnTo>
                      <a:pt x="246" y="748"/>
                    </a:lnTo>
                    <a:lnTo>
                      <a:pt x="245" y="746"/>
                    </a:lnTo>
                    <a:lnTo>
                      <a:pt x="245" y="748"/>
                    </a:lnTo>
                    <a:lnTo>
                      <a:pt x="243" y="748"/>
                    </a:lnTo>
                    <a:lnTo>
                      <a:pt x="243" y="746"/>
                    </a:lnTo>
                    <a:lnTo>
                      <a:pt x="234" y="746"/>
                    </a:lnTo>
                    <a:lnTo>
                      <a:pt x="232" y="744"/>
                    </a:lnTo>
                    <a:lnTo>
                      <a:pt x="239" y="743"/>
                    </a:lnTo>
                    <a:lnTo>
                      <a:pt x="241" y="743"/>
                    </a:lnTo>
                    <a:lnTo>
                      <a:pt x="237" y="743"/>
                    </a:lnTo>
                    <a:lnTo>
                      <a:pt x="237" y="739"/>
                    </a:lnTo>
                    <a:lnTo>
                      <a:pt x="236" y="737"/>
                    </a:lnTo>
                    <a:lnTo>
                      <a:pt x="234" y="737"/>
                    </a:lnTo>
                    <a:lnTo>
                      <a:pt x="234" y="737"/>
                    </a:lnTo>
                    <a:lnTo>
                      <a:pt x="236" y="737"/>
                    </a:lnTo>
                    <a:lnTo>
                      <a:pt x="237" y="737"/>
                    </a:lnTo>
                    <a:lnTo>
                      <a:pt x="236" y="735"/>
                    </a:lnTo>
                    <a:lnTo>
                      <a:pt x="230" y="734"/>
                    </a:lnTo>
                    <a:lnTo>
                      <a:pt x="229" y="735"/>
                    </a:lnTo>
                    <a:lnTo>
                      <a:pt x="227" y="735"/>
                    </a:lnTo>
                    <a:lnTo>
                      <a:pt x="223" y="735"/>
                    </a:lnTo>
                    <a:lnTo>
                      <a:pt x="221" y="735"/>
                    </a:lnTo>
                    <a:lnTo>
                      <a:pt x="223" y="737"/>
                    </a:lnTo>
                    <a:lnTo>
                      <a:pt x="221" y="737"/>
                    </a:lnTo>
                    <a:lnTo>
                      <a:pt x="214" y="734"/>
                    </a:lnTo>
                    <a:lnTo>
                      <a:pt x="212" y="732"/>
                    </a:lnTo>
                    <a:lnTo>
                      <a:pt x="212" y="730"/>
                    </a:lnTo>
                    <a:lnTo>
                      <a:pt x="212" y="728"/>
                    </a:lnTo>
                    <a:lnTo>
                      <a:pt x="214" y="726"/>
                    </a:lnTo>
                    <a:lnTo>
                      <a:pt x="216" y="726"/>
                    </a:lnTo>
                    <a:lnTo>
                      <a:pt x="218" y="726"/>
                    </a:lnTo>
                    <a:lnTo>
                      <a:pt x="216" y="725"/>
                    </a:lnTo>
                    <a:lnTo>
                      <a:pt x="214" y="725"/>
                    </a:lnTo>
                    <a:lnTo>
                      <a:pt x="212" y="725"/>
                    </a:lnTo>
                    <a:lnTo>
                      <a:pt x="212" y="725"/>
                    </a:lnTo>
                    <a:lnTo>
                      <a:pt x="216" y="723"/>
                    </a:lnTo>
                    <a:lnTo>
                      <a:pt x="218" y="723"/>
                    </a:lnTo>
                    <a:lnTo>
                      <a:pt x="220" y="723"/>
                    </a:lnTo>
                    <a:lnTo>
                      <a:pt x="216" y="721"/>
                    </a:lnTo>
                    <a:lnTo>
                      <a:pt x="216" y="719"/>
                    </a:lnTo>
                    <a:lnTo>
                      <a:pt x="218" y="718"/>
                    </a:lnTo>
                    <a:lnTo>
                      <a:pt x="216" y="716"/>
                    </a:lnTo>
                    <a:lnTo>
                      <a:pt x="212" y="719"/>
                    </a:lnTo>
                    <a:lnTo>
                      <a:pt x="211" y="719"/>
                    </a:lnTo>
                    <a:lnTo>
                      <a:pt x="211" y="719"/>
                    </a:lnTo>
                    <a:lnTo>
                      <a:pt x="211" y="714"/>
                    </a:lnTo>
                    <a:lnTo>
                      <a:pt x="211" y="709"/>
                    </a:lnTo>
                    <a:lnTo>
                      <a:pt x="211" y="709"/>
                    </a:lnTo>
                    <a:lnTo>
                      <a:pt x="209" y="709"/>
                    </a:lnTo>
                    <a:lnTo>
                      <a:pt x="211" y="703"/>
                    </a:lnTo>
                    <a:lnTo>
                      <a:pt x="211" y="701"/>
                    </a:lnTo>
                    <a:lnTo>
                      <a:pt x="209" y="701"/>
                    </a:lnTo>
                    <a:lnTo>
                      <a:pt x="209" y="698"/>
                    </a:lnTo>
                    <a:lnTo>
                      <a:pt x="209" y="698"/>
                    </a:lnTo>
                    <a:lnTo>
                      <a:pt x="205" y="700"/>
                    </a:lnTo>
                    <a:lnTo>
                      <a:pt x="204" y="700"/>
                    </a:lnTo>
                    <a:lnTo>
                      <a:pt x="204" y="698"/>
                    </a:lnTo>
                    <a:lnTo>
                      <a:pt x="204" y="698"/>
                    </a:lnTo>
                    <a:lnTo>
                      <a:pt x="204" y="696"/>
                    </a:lnTo>
                    <a:lnTo>
                      <a:pt x="204" y="694"/>
                    </a:lnTo>
                    <a:lnTo>
                      <a:pt x="202" y="694"/>
                    </a:lnTo>
                    <a:lnTo>
                      <a:pt x="198" y="696"/>
                    </a:lnTo>
                    <a:lnTo>
                      <a:pt x="196" y="694"/>
                    </a:lnTo>
                    <a:lnTo>
                      <a:pt x="195" y="694"/>
                    </a:lnTo>
                    <a:lnTo>
                      <a:pt x="195" y="691"/>
                    </a:lnTo>
                    <a:lnTo>
                      <a:pt x="193" y="689"/>
                    </a:lnTo>
                    <a:lnTo>
                      <a:pt x="191" y="687"/>
                    </a:lnTo>
                    <a:lnTo>
                      <a:pt x="191" y="685"/>
                    </a:lnTo>
                    <a:lnTo>
                      <a:pt x="189" y="682"/>
                    </a:lnTo>
                    <a:lnTo>
                      <a:pt x="191" y="678"/>
                    </a:lnTo>
                    <a:lnTo>
                      <a:pt x="191" y="671"/>
                    </a:lnTo>
                    <a:lnTo>
                      <a:pt x="191" y="671"/>
                    </a:lnTo>
                    <a:lnTo>
                      <a:pt x="189" y="669"/>
                    </a:lnTo>
                    <a:lnTo>
                      <a:pt x="187" y="671"/>
                    </a:lnTo>
                    <a:lnTo>
                      <a:pt x="187" y="671"/>
                    </a:lnTo>
                    <a:lnTo>
                      <a:pt x="187" y="671"/>
                    </a:lnTo>
                    <a:lnTo>
                      <a:pt x="186" y="669"/>
                    </a:lnTo>
                    <a:lnTo>
                      <a:pt x="186" y="669"/>
                    </a:lnTo>
                    <a:lnTo>
                      <a:pt x="175" y="657"/>
                    </a:lnTo>
                    <a:lnTo>
                      <a:pt x="173" y="655"/>
                    </a:lnTo>
                    <a:lnTo>
                      <a:pt x="175" y="653"/>
                    </a:lnTo>
                    <a:lnTo>
                      <a:pt x="175" y="651"/>
                    </a:lnTo>
                    <a:lnTo>
                      <a:pt x="177" y="651"/>
                    </a:lnTo>
                    <a:lnTo>
                      <a:pt x="177" y="650"/>
                    </a:lnTo>
                    <a:lnTo>
                      <a:pt x="173" y="650"/>
                    </a:lnTo>
                    <a:lnTo>
                      <a:pt x="171" y="650"/>
                    </a:lnTo>
                    <a:lnTo>
                      <a:pt x="170" y="646"/>
                    </a:lnTo>
                    <a:lnTo>
                      <a:pt x="168" y="644"/>
                    </a:lnTo>
                    <a:lnTo>
                      <a:pt x="168" y="641"/>
                    </a:lnTo>
                    <a:lnTo>
                      <a:pt x="170" y="637"/>
                    </a:lnTo>
                    <a:lnTo>
                      <a:pt x="171" y="635"/>
                    </a:lnTo>
                    <a:lnTo>
                      <a:pt x="173" y="637"/>
                    </a:lnTo>
                    <a:lnTo>
                      <a:pt x="175" y="637"/>
                    </a:lnTo>
                    <a:lnTo>
                      <a:pt x="173" y="635"/>
                    </a:lnTo>
                    <a:lnTo>
                      <a:pt x="173" y="634"/>
                    </a:lnTo>
                    <a:lnTo>
                      <a:pt x="173" y="630"/>
                    </a:lnTo>
                    <a:lnTo>
                      <a:pt x="175" y="630"/>
                    </a:lnTo>
                    <a:lnTo>
                      <a:pt x="175" y="628"/>
                    </a:lnTo>
                    <a:lnTo>
                      <a:pt x="175" y="626"/>
                    </a:lnTo>
                    <a:lnTo>
                      <a:pt x="173" y="626"/>
                    </a:lnTo>
                    <a:lnTo>
                      <a:pt x="175" y="625"/>
                    </a:lnTo>
                    <a:lnTo>
                      <a:pt x="175" y="625"/>
                    </a:lnTo>
                    <a:lnTo>
                      <a:pt x="175" y="623"/>
                    </a:lnTo>
                    <a:lnTo>
                      <a:pt x="175" y="621"/>
                    </a:lnTo>
                    <a:lnTo>
                      <a:pt x="175" y="616"/>
                    </a:lnTo>
                    <a:lnTo>
                      <a:pt x="175" y="603"/>
                    </a:lnTo>
                    <a:lnTo>
                      <a:pt x="175" y="601"/>
                    </a:lnTo>
                    <a:lnTo>
                      <a:pt x="175" y="601"/>
                    </a:lnTo>
                    <a:lnTo>
                      <a:pt x="173" y="598"/>
                    </a:lnTo>
                    <a:lnTo>
                      <a:pt x="168" y="598"/>
                    </a:lnTo>
                    <a:lnTo>
                      <a:pt x="159" y="589"/>
                    </a:lnTo>
                    <a:lnTo>
                      <a:pt x="148" y="587"/>
                    </a:lnTo>
                    <a:lnTo>
                      <a:pt x="146" y="584"/>
                    </a:lnTo>
                    <a:lnTo>
                      <a:pt x="143" y="580"/>
                    </a:lnTo>
                    <a:lnTo>
                      <a:pt x="141" y="571"/>
                    </a:lnTo>
                    <a:lnTo>
                      <a:pt x="137" y="569"/>
                    </a:lnTo>
                    <a:lnTo>
                      <a:pt x="137" y="568"/>
                    </a:lnTo>
                    <a:lnTo>
                      <a:pt x="137" y="566"/>
                    </a:lnTo>
                    <a:lnTo>
                      <a:pt x="137" y="566"/>
                    </a:lnTo>
                    <a:lnTo>
                      <a:pt x="132" y="559"/>
                    </a:lnTo>
                    <a:lnTo>
                      <a:pt x="130" y="553"/>
                    </a:lnTo>
                    <a:lnTo>
                      <a:pt x="130" y="553"/>
                    </a:lnTo>
                    <a:lnTo>
                      <a:pt x="111" y="518"/>
                    </a:lnTo>
                    <a:lnTo>
                      <a:pt x="105" y="516"/>
                    </a:lnTo>
                    <a:lnTo>
                      <a:pt x="104" y="514"/>
                    </a:lnTo>
                    <a:lnTo>
                      <a:pt x="104" y="512"/>
                    </a:lnTo>
                    <a:lnTo>
                      <a:pt x="104" y="509"/>
                    </a:lnTo>
                    <a:lnTo>
                      <a:pt x="100" y="505"/>
                    </a:lnTo>
                    <a:lnTo>
                      <a:pt x="95" y="496"/>
                    </a:lnTo>
                    <a:lnTo>
                      <a:pt x="93" y="496"/>
                    </a:lnTo>
                    <a:lnTo>
                      <a:pt x="93" y="494"/>
                    </a:lnTo>
                    <a:lnTo>
                      <a:pt x="89" y="489"/>
                    </a:lnTo>
                    <a:lnTo>
                      <a:pt x="88" y="487"/>
                    </a:lnTo>
                    <a:lnTo>
                      <a:pt x="88" y="487"/>
                    </a:lnTo>
                    <a:lnTo>
                      <a:pt x="80" y="493"/>
                    </a:lnTo>
                    <a:lnTo>
                      <a:pt x="75" y="493"/>
                    </a:lnTo>
                    <a:lnTo>
                      <a:pt x="73" y="494"/>
                    </a:lnTo>
                    <a:lnTo>
                      <a:pt x="73" y="498"/>
                    </a:lnTo>
                    <a:lnTo>
                      <a:pt x="71" y="500"/>
                    </a:lnTo>
                    <a:lnTo>
                      <a:pt x="70" y="500"/>
                    </a:lnTo>
                    <a:lnTo>
                      <a:pt x="70" y="501"/>
                    </a:lnTo>
                    <a:lnTo>
                      <a:pt x="70" y="503"/>
                    </a:lnTo>
                    <a:lnTo>
                      <a:pt x="68" y="507"/>
                    </a:lnTo>
                    <a:lnTo>
                      <a:pt x="63" y="509"/>
                    </a:lnTo>
                    <a:lnTo>
                      <a:pt x="59" y="512"/>
                    </a:lnTo>
                    <a:lnTo>
                      <a:pt x="55" y="514"/>
                    </a:lnTo>
                    <a:lnTo>
                      <a:pt x="54" y="512"/>
                    </a:lnTo>
                    <a:lnTo>
                      <a:pt x="54" y="512"/>
                    </a:lnTo>
                    <a:lnTo>
                      <a:pt x="50" y="503"/>
                    </a:lnTo>
                    <a:lnTo>
                      <a:pt x="45" y="500"/>
                    </a:lnTo>
                    <a:lnTo>
                      <a:pt x="50" y="496"/>
                    </a:lnTo>
                    <a:lnTo>
                      <a:pt x="50" y="494"/>
                    </a:lnTo>
                    <a:lnTo>
                      <a:pt x="45" y="491"/>
                    </a:lnTo>
                    <a:lnTo>
                      <a:pt x="48" y="494"/>
                    </a:lnTo>
                    <a:lnTo>
                      <a:pt x="48" y="496"/>
                    </a:lnTo>
                    <a:lnTo>
                      <a:pt x="45" y="494"/>
                    </a:lnTo>
                    <a:lnTo>
                      <a:pt x="43" y="498"/>
                    </a:lnTo>
                    <a:lnTo>
                      <a:pt x="27" y="478"/>
                    </a:lnTo>
                    <a:lnTo>
                      <a:pt x="29" y="478"/>
                    </a:lnTo>
                    <a:lnTo>
                      <a:pt x="29" y="469"/>
                    </a:lnTo>
                    <a:lnTo>
                      <a:pt x="20" y="469"/>
                    </a:lnTo>
                    <a:lnTo>
                      <a:pt x="16" y="475"/>
                    </a:lnTo>
                    <a:lnTo>
                      <a:pt x="14" y="473"/>
                    </a:lnTo>
                    <a:lnTo>
                      <a:pt x="9" y="471"/>
                    </a:lnTo>
                    <a:lnTo>
                      <a:pt x="5" y="473"/>
                    </a:lnTo>
                    <a:lnTo>
                      <a:pt x="0" y="469"/>
                    </a:lnTo>
                    <a:lnTo>
                      <a:pt x="0" y="109"/>
                    </a:lnTo>
                    <a:lnTo>
                      <a:pt x="0" y="110"/>
                    </a:lnTo>
                    <a:lnTo>
                      <a:pt x="5" y="112"/>
                    </a:lnTo>
                    <a:lnTo>
                      <a:pt x="20" y="112"/>
                    </a:lnTo>
                    <a:lnTo>
                      <a:pt x="21" y="116"/>
                    </a:lnTo>
                    <a:lnTo>
                      <a:pt x="27" y="116"/>
                    </a:lnTo>
                    <a:lnTo>
                      <a:pt x="38" y="132"/>
                    </a:lnTo>
                    <a:lnTo>
                      <a:pt x="39" y="132"/>
                    </a:lnTo>
                    <a:lnTo>
                      <a:pt x="41" y="132"/>
                    </a:lnTo>
                    <a:lnTo>
                      <a:pt x="41" y="130"/>
                    </a:lnTo>
                    <a:lnTo>
                      <a:pt x="43" y="134"/>
                    </a:lnTo>
                    <a:lnTo>
                      <a:pt x="48" y="139"/>
                    </a:lnTo>
                    <a:lnTo>
                      <a:pt x="52" y="141"/>
                    </a:lnTo>
                    <a:lnTo>
                      <a:pt x="55" y="144"/>
                    </a:lnTo>
                    <a:lnTo>
                      <a:pt x="57" y="144"/>
                    </a:lnTo>
                    <a:lnTo>
                      <a:pt x="61" y="144"/>
                    </a:lnTo>
                    <a:lnTo>
                      <a:pt x="66" y="148"/>
                    </a:lnTo>
                    <a:lnTo>
                      <a:pt x="68" y="148"/>
                    </a:lnTo>
                    <a:lnTo>
                      <a:pt x="70" y="146"/>
                    </a:lnTo>
                    <a:lnTo>
                      <a:pt x="71" y="148"/>
                    </a:lnTo>
                    <a:lnTo>
                      <a:pt x="71" y="146"/>
                    </a:lnTo>
                    <a:lnTo>
                      <a:pt x="70" y="144"/>
                    </a:lnTo>
                    <a:lnTo>
                      <a:pt x="77" y="146"/>
                    </a:lnTo>
                    <a:lnTo>
                      <a:pt x="79" y="148"/>
                    </a:lnTo>
                    <a:lnTo>
                      <a:pt x="80" y="148"/>
                    </a:lnTo>
                    <a:lnTo>
                      <a:pt x="89" y="157"/>
                    </a:lnTo>
                    <a:lnTo>
                      <a:pt x="91" y="157"/>
                    </a:lnTo>
                    <a:lnTo>
                      <a:pt x="93" y="157"/>
                    </a:lnTo>
                    <a:lnTo>
                      <a:pt x="93" y="155"/>
                    </a:lnTo>
                    <a:lnTo>
                      <a:pt x="89" y="151"/>
                    </a:lnTo>
                    <a:lnTo>
                      <a:pt x="88" y="148"/>
                    </a:lnTo>
                    <a:lnTo>
                      <a:pt x="88" y="146"/>
                    </a:lnTo>
                    <a:lnTo>
                      <a:pt x="89" y="146"/>
                    </a:lnTo>
                    <a:lnTo>
                      <a:pt x="93" y="148"/>
                    </a:lnTo>
                    <a:lnTo>
                      <a:pt x="96" y="148"/>
                    </a:lnTo>
                    <a:lnTo>
                      <a:pt x="98" y="148"/>
                    </a:lnTo>
                    <a:lnTo>
                      <a:pt x="100" y="150"/>
                    </a:lnTo>
                    <a:lnTo>
                      <a:pt x="102" y="153"/>
                    </a:lnTo>
                    <a:lnTo>
                      <a:pt x="102" y="155"/>
                    </a:lnTo>
                    <a:lnTo>
                      <a:pt x="107" y="160"/>
                    </a:lnTo>
                    <a:lnTo>
                      <a:pt x="107" y="162"/>
                    </a:lnTo>
                    <a:lnTo>
                      <a:pt x="109" y="159"/>
                    </a:lnTo>
                    <a:lnTo>
                      <a:pt x="109" y="155"/>
                    </a:lnTo>
                    <a:lnTo>
                      <a:pt x="102" y="141"/>
                    </a:lnTo>
                    <a:lnTo>
                      <a:pt x="102" y="139"/>
                    </a:lnTo>
                    <a:lnTo>
                      <a:pt x="104" y="137"/>
                    </a:lnTo>
                    <a:lnTo>
                      <a:pt x="107" y="134"/>
                    </a:lnTo>
                    <a:lnTo>
                      <a:pt x="111" y="130"/>
                    </a:lnTo>
                    <a:lnTo>
                      <a:pt x="113" y="126"/>
                    </a:lnTo>
                    <a:lnTo>
                      <a:pt x="114" y="128"/>
                    </a:lnTo>
                    <a:lnTo>
                      <a:pt x="116" y="126"/>
                    </a:lnTo>
                    <a:lnTo>
                      <a:pt x="123" y="125"/>
                    </a:lnTo>
                    <a:lnTo>
                      <a:pt x="125" y="123"/>
                    </a:lnTo>
                    <a:lnTo>
                      <a:pt x="127" y="121"/>
                    </a:lnTo>
                    <a:lnTo>
                      <a:pt x="127" y="114"/>
                    </a:lnTo>
                    <a:lnTo>
                      <a:pt x="130" y="112"/>
                    </a:lnTo>
                    <a:lnTo>
                      <a:pt x="130" y="114"/>
                    </a:lnTo>
                    <a:lnTo>
                      <a:pt x="132" y="114"/>
                    </a:lnTo>
                    <a:lnTo>
                      <a:pt x="132" y="110"/>
                    </a:lnTo>
                    <a:lnTo>
                      <a:pt x="134" y="109"/>
                    </a:lnTo>
                    <a:lnTo>
                      <a:pt x="136" y="109"/>
                    </a:lnTo>
                    <a:lnTo>
                      <a:pt x="136" y="110"/>
                    </a:lnTo>
                    <a:lnTo>
                      <a:pt x="141" y="110"/>
                    </a:lnTo>
                    <a:lnTo>
                      <a:pt x="143" y="109"/>
                    </a:lnTo>
                    <a:lnTo>
                      <a:pt x="143" y="107"/>
                    </a:lnTo>
                    <a:lnTo>
                      <a:pt x="145" y="107"/>
                    </a:lnTo>
                    <a:lnTo>
                      <a:pt x="152" y="101"/>
                    </a:lnTo>
                    <a:lnTo>
                      <a:pt x="152" y="100"/>
                    </a:lnTo>
                    <a:lnTo>
                      <a:pt x="157" y="101"/>
                    </a:lnTo>
                    <a:lnTo>
                      <a:pt x="159" y="98"/>
                    </a:lnTo>
                    <a:lnTo>
                      <a:pt x="161" y="94"/>
                    </a:lnTo>
                    <a:lnTo>
                      <a:pt x="161" y="93"/>
                    </a:lnTo>
                    <a:lnTo>
                      <a:pt x="164" y="91"/>
                    </a:lnTo>
                    <a:lnTo>
                      <a:pt x="166" y="89"/>
                    </a:lnTo>
                    <a:lnTo>
                      <a:pt x="170" y="91"/>
                    </a:lnTo>
                    <a:lnTo>
                      <a:pt x="171" y="91"/>
                    </a:lnTo>
                    <a:lnTo>
                      <a:pt x="173" y="93"/>
                    </a:lnTo>
                    <a:lnTo>
                      <a:pt x="177" y="93"/>
                    </a:lnTo>
                    <a:lnTo>
                      <a:pt x="177" y="89"/>
                    </a:lnTo>
                    <a:lnTo>
                      <a:pt x="179" y="87"/>
                    </a:lnTo>
                    <a:lnTo>
                      <a:pt x="180" y="85"/>
                    </a:lnTo>
                    <a:lnTo>
                      <a:pt x="180" y="87"/>
                    </a:lnTo>
                    <a:lnTo>
                      <a:pt x="182" y="89"/>
                    </a:lnTo>
                    <a:lnTo>
                      <a:pt x="184" y="93"/>
                    </a:lnTo>
                    <a:lnTo>
                      <a:pt x="182" y="94"/>
                    </a:lnTo>
                    <a:lnTo>
                      <a:pt x="180" y="98"/>
                    </a:lnTo>
                    <a:lnTo>
                      <a:pt x="170" y="105"/>
                    </a:lnTo>
                    <a:lnTo>
                      <a:pt x="166" y="109"/>
                    </a:lnTo>
                    <a:lnTo>
                      <a:pt x="164" y="110"/>
                    </a:lnTo>
                    <a:lnTo>
                      <a:pt x="159" y="118"/>
                    </a:lnTo>
                    <a:lnTo>
                      <a:pt x="155" y="116"/>
                    </a:lnTo>
                    <a:lnTo>
                      <a:pt x="145" y="118"/>
                    </a:lnTo>
                    <a:lnTo>
                      <a:pt x="141" y="121"/>
                    </a:lnTo>
                    <a:lnTo>
                      <a:pt x="141" y="125"/>
                    </a:lnTo>
                    <a:lnTo>
                      <a:pt x="143" y="123"/>
                    </a:lnTo>
                    <a:lnTo>
                      <a:pt x="137" y="128"/>
                    </a:lnTo>
                    <a:lnTo>
                      <a:pt x="137" y="130"/>
                    </a:lnTo>
                    <a:lnTo>
                      <a:pt x="136" y="130"/>
                    </a:lnTo>
                    <a:lnTo>
                      <a:pt x="134" y="135"/>
                    </a:lnTo>
                    <a:lnTo>
                      <a:pt x="132" y="132"/>
                    </a:lnTo>
                    <a:lnTo>
                      <a:pt x="132" y="132"/>
                    </a:lnTo>
                    <a:lnTo>
                      <a:pt x="129" y="137"/>
                    </a:lnTo>
                    <a:lnTo>
                      <a:pt x="129" y="139"/>
                    </a:lnTo>
                    <a:lnTo>
                      <a:pt x="130" y="139"/>
                    </a:lnTo>
                    <a:lnTo>
                      <a:pt x="132" y="137"/>
                    </a:lnTo>
                    <a:lnTo>
                      <a:pt x="141" y="134"/>
                    </a:lnTo>
                    <a:lnTo>
                      <a:pt x="146" y="126"/>
                    </a:lnTo>
                    <a:lnTo>
                      <a:pt x="146" y="126"/>
                    </a:lnTo>
                    <a:lnTo>
                      <a:pt x="145" y="125"/>
                    </a:lnTo>
                    <a:lnTo>
                      <a:pt x="148" y="123"/>
                    </a:lnTo>
                    <a:lnTo>
                      <a:pt x="150" y="123"/>
                    </a:lnTo>
                    <a:lnTo>
                      <a:pt x="150" y="126"/>
                    </a:lnTo>
                    <a:lnTo>
                      <a:pt x="152" y="123"/>
                    </a:lnTo>
                    <a:lnTo>
                      <a:pt x="154" y="126"/>
                    </a:lnTo>
                    <a:lnTo>
                      <a:pt x="155" y="121"/>
                    </a:lnTo>
                    <a:lnTo>
                      <a:pt x="157" y="121"/>
                    </a:lnTo>
                    <a:lnTo>
                      <a:pt x="159" y="123"/>
                    </a:lnTo>
                    <a:lnTo>
                      <a:pt x="159" y="134"/>
                    </a:lnTo>
                    <a:lnTo>
                      <a:pt x="168" y="114"/>
                    </a:lnTo>
                    <a:lnTo>
                      <a:pt x="170" y="110"/>
                    </a:lnTo>
                    <a:lnTo>
                      <a:pt x="177" y="109"/>
                    </a:lnTo>
                    <a:lnTo>
                      <a:pt x="179" y="105"/>
                    </a:lnTo>
                    <a:lnTo>
                      <a:pt x="187" y="103"/>
                    </a:lnTo>
                    <a:lnTo>
                      <a:pt x="193" y="98"/>
                    </a:lnTo>
                    <a:lnTo>
                      <a:pt x="193" y="103"/>
                    </a:lnTo>
                    <a:lnTo>
                      <a:pt x="191" y="103"/>
                    </a:lnTo>
                    <a:lnTo>
                      <a:pt x="187" y="110"/>
                    </a:lnTo>
                    <a:lnTo>
                      <a:pt x="195" y="105"/>
                    </a:lnTo>
                    <a:lnTo>
                      <a:pt x="202" y="100"/>
                    </a:lnTo>
                    <a:lnTo>
                      <a:pt x="202" y="94"/>
                    </a:lnTo>
                    <a:lnTo>
                      <a:pt x="202" y="93"/>
                    </a:lnTo>
                    <a:lnTo>
                      <a:pt x="204" y="91"/>
                    </a:lnTo>
                    <a:lnTo>
                      <a:pt x="211" y="87"/>
                    </a:lnTo>
                    <a:lnTo>
                      <a:pt x="212" y="85"/>
                    </a:lnTo>
                    <a:lnTo>
                      <a:pt x="207" y="84"/>
                    </a:lnTo>
                    <a:lnTo>
                      <a:pt x="205" y="82"/>
                    </a:lnTo>
                    <a:lnTo>
                      <a:pt x="207" y="82"/>
                    </a:lnTo>
                    <a:lnTo>
                      <a:pt x="207" y="78"/>
                    </a:lnTo>
                    <a:lnTo>
                      <a:pt x="205" y="76"/>
                    </a:lnTo>
                    <a:lnTo>
                      <a:pt x="204" y="78"/>
                    </a:lnTo>
                    <a:lnTo>
                      <a:pt x="204" y="75"/>
                    </a:lnTo>
                    <a:lnTo>
                      <a:pt x="205" y="73"/>
                    </a:lnTo>
                    <a:lnTo>
                      <a:pt x="205" y="71"/>
                    </a:lnTo>
                    <a:lnTo>
                      <a:pt x="209" y="73"/>
                    </a:lnTo>
                    <a:lnTo>
                      <a:pt x="220" y="87"/>
                    </a:lnTo>
                    <a:lnTo>
                      <a:pt x="221" y="94"/>
                    </a:lnTo>
                    <a:lnTo>
                      <a:pt x="229" y="114"/>
                    </a:lnTo>
                    <a:lnTo>
                      <a:pt x="232" y="116"/>
                    </a:lnTo>
                    <a:lnTo>
                      <a:pt x="234" y="119"/>
                    </a:lnTo>
                    <a:lnTo>
                      <a:pt x="234" y="119"/>
                    </a:lnTo>
                    <a:lnTo>
                      <a:pt x="239" y="125"/>
                    </a:lnTo>
                    <a:lnTo>
                      <a:pt x="241" y="126"/>
                    </a:lnTo>
                    <a:lnTo>
                      <a:pt x="248" y="126"/>
                    </a:lnTo>
                    <a:lnTo>
                      <a:pt x="248" y="125"/>
                    </a:lnTo>
                    <a:lnTo>
                      <a:pt x="248" y="125"/>
                    </a:lnTo>
                    <a:lnTo>
                      <a:pt x="252" y="125"/>
                    </a:lnTo>
                    <a:lnTo>
                      <a:pt x="252" y="123"/>
                    </a:lnTo>
                    <a:lnTo>
                      <a:pt x="250" y="121"/>
                    </a:lnTo>
                    <a:lnTo>
                      <a:pt x="245" y="123"/>
                    </a:lnTo>
                    <a:lnTo>
                      <a:pt x="245" y="119"/>
                    </a:lnTo>
                    <a:lnTo>
                      <a:pt x="250" y="119"/>
                    </a:lnTo>
                    <a:lnTo>
                      <a:pt x="252" y="118"/>
                    </a:lnTo>
                    <a:lnTo>
                      <a:pt x="250" y="118"/>
                    </a:lnTo>
                    <a:lnTo>
                      <a:pt x="248" y="114"/>
                    </a:lnTo>
                    <a:lnTo>
                      <a:pt x="250" y="112"/>
                    </a:lnTo>
                    <a:lnTo>
                      <a:pt x="254" y="110"/>
                    </a:lnTo>
                    <a:lnTo>
                      <a:pt x="254" y="109"/>
                    </a:lnTo>
                    <a:lnTo>
                      <a:pt x="252" y="107"/>
                    </a:lnTo>
                    <a:lnTo>
                      <a:pt x="252" y="103"/>
                    </a:lnTo>
                    <a:lnTo>
                      <a:pt x="252" y="107"/>
                    </a:lnTo>
                    <a:lnTo>
                      <a:pt x="257" y="100"/>
                    </a:lnTo>
                    <a:lnTo>
                      <a:pt x="257" y="96"/>
                    </a:lnTo>
                    <a:lnTo>
                      <a:pt x="257" y="96"/>
                    </a:lnTo>
                    <a:lnTo>
                      <a:pt x="255" y="98"/>
                    </a:lnTo>
                    <a:lnTo>
                      <a:pt x="254" y="100"/>
                    </a:lnTo>
                    <a:lnTo>
                      <a:pt x="252" y="100"/>
                    </a:lnTo>
                    <a:lnTo>
                      <a:pt x="252" y="96"/>
                    </a:lnTo>
                    <a:lnTo>
                      <a:pt x="254" y="94"/>
                    </a:lnTo>
                    <a:lnTo>
                      <a:pt x="255" y="94"/>
                    </a:lnTo>
                    <a:lnTo>
                      <a:pt x="259" y="94"/>
                    </a:lnTo>
                    <a:lnTo>
                      <a:pt x="259" y="94"/>
                    </a:lnTo>
                    <a:lnTo>
                      <a:pt x="261" y="98"/>
                    </a:lnTo>
                    <a:lnTo>
                      <a:pt x="262" y="96"/>
                    </a:lnTo>
                    <a:lnTo>
                      <a:pt x="264" y="96"/>
                    </a:lnTo>
                    <a:lnTo>
                      <a:pt x="264" y="93"/>
                    </a:lnTo>
                    <a:lnTo>
                      <a:pt x="261" y="93"/>
                    </a:lnTo>
                    <a:lnTo>
                      <a:pt x="259" y="91"/>
                    </a:lnTo>
                    <a:lnTo>
                      <a:pt x="264" y="91"/>
                    </a:lnTo>
                    <a:lnTo>
                      <a:pt x="264" y="93"/>
                    </a:lnTo>
                    <a:lnTo>
                      <a:pt x="264" y="94"/>
                    </a:lnTo>
                    <a:lnTo>
                      <a:pt x="264" y="105"/>
                    </a:lnTo>
                    <a:lnTo>
                      <a:pt x="262" y="107"/>
                    </a:lnTo>
                    <a:lnTo>
                      <a:pt x="264" y="110"/>
                    </a:lnTo>
                    <a:lnTo>
                      <a:pt x="266" y="110"/>
                    </a:lnTo>
                    <a:lnTo>
                      <a:pt x="268" y="109"/>
                    </a:lnTo>
                    <a:lnTo>
                      <a:pt x="271" y="110"/>
                    </a:lnTo>
                    <a:lnTo>
                      <a:pt x="264" y="125"/>
                    </a:lnTo>
                    <a:lnTo>
                      <a:pt x="262" y="121"/>
                    </a:lnTo>
                    <a:lnTo>
                      <a:pt x="262" y="125"/>
                    </a:lnTo>
                    <a:lnTo>
                      <a:pt x="262" y="126"/>
                    </a:lnTo>
                    <a:lnTo>
                      <a:pt x="270" y="126"/>
                    </a:lnTo>
                    <a:lnTo>
                      <a:pt x="271" y="125"/>
                    </a:lnTo>
                    <a:lnTo>
                      <a:pt x="273" y="126"/>
                    </a:lnTo>
                    <a:lnTo>
                      <a:pt x="277" y="126"/>
                    </a:lnTo>
                    <a:lnTo>
                      <a:pt x="280" y="125"/>
                    </a:lnTo>
                    <a:lnTo>
                      <a:pt x="280" y="121"/>
                    </a:lnTo>
                    <a:lnTo>
                      <a:pt x="284" y="119"/>
                    </a:lnTo>
                    <a:lnTo>
                      <a:pt x="286" y="105"/>
                    </a:lnTo>
                    <a:lnTo>
                      <a:pt x="287" y="105"/>
                    </a:lnTo>
                    <a:lnTo>
                      <a:pt x="293" y="103"/>
                    </a:lnTo>
                    <a:lnTo>
                      <a:pt x="296" y="105"/>
                    </a:lnTo>
                    <a:lnTo>
                      <a:pt x="300" y="105"/>
                    </a:lnTo>
                    <a:lnTo>
                      <a:pt x="300" y="107"/>
                    </a:lnTo>
                    <a:lnTo>
                      <a:pt x="307" y="105"/>
                    </a:lnTo>
                    <a:lnTo>
                      <a:pt x="312" y="107"/>
                    </a:lnTo>
                    <a:lnTo>
                      <a:pt x="323" y="114"/>
                    </a:lnTo>
                    <a:lnTo>
                      <a:pt x="329" y="123"/>
                    </a:lnTo>
                    <a:lnTo>
                      <a:pt x="334" y="125"/>
                    </a:lnTo>
                    <a:lnTo>
                      <a:pt x="339" y="126"/>
                    </a:lnTo>
                    <a:lnTo>
                      <a:pt x="343" y="128"/>
                    </a:lnTo>
                    <a:lnTo>
                      <a:pt x="346" y="128"/>
                    </a:lnTo>
                    <a:lnTo>
                      <a:pt x="352" y="130"/>
                    </a:lnTo>
                    <a:lnTo>
                      <a:pt x="354" y="130"/>
                    </a:lnTo>
                    <a:lnTo>
                      <a:pt x="355" y="132"/>
                    </a:lnTo>
                    <a:lnTo>
                      <a:pt x="357" y="135"/>
                    </a:lnTo>
                    <a:lnTo>
                      <a:pt x="373" y="144"/>
                    </a:lnTo>
                    <a:lnTo>
                      <a:pt x="379" y="144"/>
                    </a:lnTo>
                    <a:lnTo>
                      <a:pt x="380" y="146"/>
                    </a:lnTo>
                    <a:lnTo>
                      <a:pt x="384" y="146"/>
                    </a:lnTo>
                    <a:lnTo>
                      <a:pt x="384" y="144"/>
                    </a:lnTo>
                    <a:lnTo>
                      <a:pt x="393" y="146"/>
                    </a:lnTo>
                    <a:lnTo>
                      <a:pt x="396" y="146"/>
                    </a:lnTo>
                    <a:lnTo>
                      <a:pt x="400" y="150"/>
                    </a:lnTo>
                    <a:lnTo>
                      <a:pt x="400" y="148"/>
                    </a:lnTo>
                    <a:lnTo>
                      <a:pt x="395" y="143"/>
                    </a:lnTo>
                    <a:lnTo>
                      <a:pt x="398" y="143"/>
                    </a:lnTo>
                    <a:lnTo>
                      <a:pt x="400" y="144"/>
                    </a:lnTo>
                    <a:lnTo>
                      <a:pt x="404" y="144"/>
                    </a:lnTo>
                    <a:lnTo>
                      <a:pt x="404" y="143"/>
                    </a:lnTo>
                    <a:lnTo>
                      <a:pt x="411" y="144"/>
                    </a:lnTo>
                    <a:lnTo>
                      <a:pt x="411" y="144"/>
                    </a:lnTo>
                    <a:lnTo>
                      <a:pt x="414" y="148"/>
                    </a:lnTo>
                    <a:lnTo>
                      <a:pt x="414" y="150"/>
                    </a:lnTo>
                    <a:lnTo>
                      <a:pt x="418" y="148"/>
                    </a:lnTo>
                    <a:lnTo>
                      <a:pt x="418" y="151"/>
                    </a:lnTo>
                    <a:lnTo>
                      <a:pt x="423" y="155"/>
                    </a:lnTo>
                    <a:lnTo>
                      <a:pt x="429" y="162"/>
                    </a:lnTo>
                    <a:lnTo>
                      <a:pt x="429" y="168"/>
                    </a:lnTo>
                    <a:lnTo>
                      <a:pt x="430" y="166"/>
                    </a:lnTo>
                    <a:lnTo>
                      <a:pt x="430" y="169"/>
                    </a:lnTo>
                    <a:lnTo>
                      <a:pt x="430" y="171"/>
                    </a:lnTo>
                    <a:lnTo>
                      <a:pt x="430" y="173"/>
                    </a:lnTo>
                    <a:lnTo>
                      <a:pt x="429" y="173"/>
                    </a:lnTo>
                    <a:lnTo>
                      <a:pt x="427" y="175"/>
                    </a:lnTo>
                    <a:lnTo>
                      <a:pt x="425" y="175"/>
                    </a:lnTo>
                    <a:lnTo>
                      <a:pt x="425" y="173"/>
                    </a:lnTo>
                    <a:lnTo>
                      <a:pt x="420" y="175"/>
                    </a:lnTo>
                    <a:lnTo>
                      <a:pt x="414" y="173"/>
                    </a:lnTo>
                    <a:lnTo>
                      <a:pt x="418" y="175"/>
                    </a:lnTo>
                    <a:lnTo>
                      <a:pt x="416" y="178"/>
                    </a:lnTo>
                    <a:lnTo>
                      <a:pt x="411" y="176"/>
                    </a:lnTo>
                    <a:lnTo>
                      <a:pt x="411" y="178"/>
                    </a:lnTo>
                    <a:lnTo>
                      <a:pt x="411" y="180"/>
                    </a:lnTo>
                    <a:lnTo>
                      <a:pt x="411" y="184"/>
                    </a:lnTo>
                    <a:lnTo>
                      <a:pt x="405" y="187"/>
                    </a:lnTo>
                    <a:lnTo>
                      <a:pt x="407" y="189"/>
                    </a:lnTo>
                    <a:lnTo>
                      <a:pt x="409" y="189"/>
                    </a:lnTo>
                    <a:lnTo>
                      <a:pt x="411" y="189"/>
                    </a:lnTo>
                    <a:lnTo>
                      <a:pt x="409" y="191"/>
                    </a:lnTo>
                    <a:lnTo>
                      <a:pt x="420" y="194"/>
                    </a:lnTo>
                    <a:lnTo>
                      <a:pt x="421" y="193"/>
                    </a:lnTo>
                    <a:lnTo>
                      <a:pt x="423" y="194"/>
                    </a:lnTo>
                    <a:lnTo>
                      <a:pt x="425" y="196"/>
                    </a:lnTo>
                    <a:lnTo>
                      <a:pt x="429" y="194"/>
                    </a:lnTo>
                    <a:lnTo>
                      <a:pt x="432" y="196"/>
                    </a:lnTo>
                    <a:lnTo>
                      <a:pt x="437" y="196"/>
                    </a:lnTo>
                    <a:lnTo>
                      <a:pt x="441" y="198"/>
                    </a:lnTo>
                    <a:lnTo>
                      <a:pt x="446" y="196"/>
                    </a:lnTo>
                    <a:lnTo>
                      <a:pt x="446" y="196"/>
                    </a:lnTo>
                    <a:lnTo>
                      <a:pt x="450" y="198"/>
                    </a:lnTo>
                    <a:lnTo>
                      <a:pt x="457" y="198"/>
                    </a:lnTo>
                    <a:lnTo>
                      <a:pt x="459" y="194"/>
                    </a:lnTo>
                    <a:lnTo>
                      <a:pt x="464" y="194"/>
                    </a:lnTo>
                    <a:lnTo>
                      <a:pt x="462" y="198"/>
                    </a:lnTo>
                    <a:lnTo>
                      <a:pt x="466" y="198"/>
                    </a:lnTo>
                    <a:lnTo>
                      <a:pt x="464" y="196"/>
                    </a:lnTo>
                    <a:lnTo>
                      <a:pt x="466" y="194"/>
                    </a:lnTo>
                    <a:lnTo>
                      <a:pt x="468" y="196"/>
                    </a:lnTo>
                    <a:lnTo>
                      <a:pt x="470" y="196"/>
                    </a:lnTo>
                    <a:lnTo>
                      <a:pt x="471" y="194"/>
                    </a:lnTo>
                    <a:lnTo>
                      <a:pt x="473" y="196"/>
                    </a:lnTo>
                    <a:lnTo>
                      <a:pt x="475" y="191"/>
                    </a:lnTo>
                    <a:lnTo>
                      <a:pt x="477" y="189"/>
                    </a:lnTo>
                    <a:lnTo>
                      <a:pt x="477" y="194"/>
                    </a:lnTo>
                    <a:lnTo>
                      <a:pt x="480" y="194"/>
                    </a:lnTo>
                    <a:lnTo>
                      <a:pt x="482" y="194"/>
                    </a:lnTo>
                    <a:lnTo>
                      <a:pt x="486" y="189"/>
                    </a:lnTo>
                    <a:lnTo>
                      <a:pt x="489" y="185"/>
                    </a:lnTo>
                    <a:lnTo>
                      <a:pt x="493" y="185"/>
                    </a:lnTo>
                    <a:lnTo>
                      <a:pt x="495" y="184"/>
                    </a:lnTo>
                    <a:lnTo>
                      <a:pt x="496" y="187"/>
                    </a:lnTo>
                    <a:lnTo>
                      <a:pt x="495" y="189"/>
                    </a:lnTo>
                    <a:lnTo>
                      <a:pt x="496" y="191"/>
                    </a:lnTo>
                    <a:lnTo>
                      <a:pt x="498" y="189"/>
                    </a:lnTo>
                    <a:lnTo>
                      <a:pt x="500" y="193"/>
                    </a:lnTo>
                    <a:lnTo>
                      <a:pt x="500" y="194"/>
                    </a:lnTo>
                    <a:lnTo>
                      <a:pt x="498" y="194"/>
                    </a:lnTo>
                    <a:lnTo>
                      <a:pt x="504" y="196"/>
                    </a:lnTo>
                    <a:lnTo>
                      <a:pt x="504" y="194"/>
                    </a:lnTo>
                    <a:lnTo>
                      <a:pt x="512" y="194"/>
                    </a:lnTo>
                    <a:lnTo>
                      <a:pt x="511" y="198"/>
                    </a:lnTo>
                    <a:lnTo>
                      <a:pt x="512" y="200"/>
                    </a:lnTo>
                    <a:lnTo>
                      <a:pt x="511" y="201"/>
                    </a:lnTo>
                    <a:lnTo>
                      <a:pt x="512" y="203"/>
                    </a:lnTo>
                    <a:lnTo>
                      <a:pt x="512" y="207"/>
                    </a:lnTo>
                    <a:lnTo>
                      <a:pt x="514" y="209"/>
                    </a:lnTo>
                    <a:lnTo>
                      <a:pt x="514" y="207"/>
                    </a:lnTo>
                    <a:lnTo>
                      <a:pt x="514" y="209"/>
                    </a:lnTo>
                    <a:lnTo>
                      <a:pt x="516" y="205"/>
                    </a:lnTo>
                    <a:lnTo>
                      <a:pt x="516" y="200"/>
                    </a:lnTo>
                    <a:lnTo>
                      <a:pt x="518" y="200"/>
                    </a:lnTo>
                    <a:lnTo>
                      <a:pt x="518" y="203"/>
                    </a:lnTo>
                    <a:lnTo>
                      <a:pt x="518" y="203"/>
                    </a:lnTo>
                    <a:lnTo>
                      <a:pt x="518" y="207"/>
                    </a:lnTo>
                    <a:lnTo>
                      <a:pt x="518" y="209"/>
                    </a:lnTo>
                    <a:lnTo>
                      <a:pt x="520" y="210"/>
                    </a:lnTo>
                    <a:lnTo>
                      <a:pt x="521" y="209"/>
                    </a:lnTo>
                    <a:lnTo>
                      <a:pt x="523" y="212"/>
                    </a:lnTo>
                    <a:lnTo>
                      <a:pt x="527" y="212"/>
                    </a:lnTo>
                    <a:lnTo>
                      <a:pt x="529" y="221"/>
                    </a:lnTo>
                    <a:lnTo>
                      <a:pt x="527" y="223"/>
                    </a:lnTo>
                    <a:lnTo>
                      <a:pt x="525" y="223"/>
                    </a:lnTo>
                    <a:lnTo>
                      <a:pt x="521" y="225"/>
                    </a:lnTo>
                    <a:lnTo>
                      <a:pt x="521" y="223"/>
                    </a:lnTo>
                    <a:lnTo>
                      <a:pt x="521" y="226"/>
                    </a:lnTo>
                    <a:lnTo>
                      <a:pt x="529" y="235"/>
                    </a:lnTo>
                    <a:lnTo>
                      <a:pt x="530" y="237"/>
                    </a:lnTo>
                    <a:lnTo>
                      <a:pt x="530" y="230"/>
                    </a:lnTo>
                    <a:lnTo>
                      <a:pt x="532" y="230"/>
                    </a:lnTo>
                    <a:lnTo>
                      <a:pt x="534" y="232"/>
                    </a:lnTo>
                    <a:lnTo>
                      <a:pt x="537" y="228"/>
                    </a:lnTo>
                    <a:lnTo>
                      <a:pt x="539" y="230"/>
                    </a:lnTo>
                    <a:lnTo>
                      <a:pt x="536" y="225"/>
                    </a:lnTo>
                    <a:lnTo>
                      <a:pt x="539" y="221"/>
                    </a:lnTo>
                    <a:lnTo>
                      <a:pt x="539" y="221"/>
                    </a:lnTo>
                    <a:lnTo>
                      <a:pt x="536" y="221"/>
                    </a:lnTo>
                    <a:lnTo>
                      <a:pt x="530" y="210"/>
                    </a:lnTo>
                    <a:lnTo>
                      <a:pt x="532" y="209"/>
                    </a:lnTo>
                    <a:lnTo>
                      <a:pt x="532" y="203"/>
                    </a:lnTo>
                    <a:lnTo>
                      <a:pt x="530" y="201"/>
                    </a:lnTo>
                    <a:lnTo>
                      <a:pt x="530" y="200"/>
                    </a:lnTo>
                    <a:lnTo>
                      <a:pt x="527" y="198"/>
                    </a:lnTo>
                    <a:lnTo>
                      <a:pt x="525" y="194"/>
                    </a:lnTo>
                    <a:lnTo>
                      <a:pt x="529" y="191"/>
                    </a:lnTo>
                    <a:lnTo>
                      <a:pt x="530" y="191"/>
                    </a:lnTo>
                    <a:lnTo>
                      <a:pt x="530" y="189"/>
                    </a:lnTo>
                    <a:lnTo>
                      <a:pt x="532" y="187"/>
                    </a:lnTo>
                    <a:lnTo>
                      <a:pt x="530" y="187"/>
                    </a:lnTo>
                    <a:lnTo>
                      <a:pt x="532" y="182"/>
                    </a:lnTo>
                    <a:lnTo>
                      <a:pt x="536" y="182"/>
                    </a:lnTo>
                    <a:lnTo>
                      <a:pt x="539" y="180"/>
                    </a:lnTo>
                    <a:lnTo>
                      <a:pt x="539" y="178"/>
                    </a:lnTo>
                    <a:lnTo>
                      <a:pt x="539" y="180"/>
                    </a:lnTo>
                    <a:lnTo>
                      <a:pt x="546" y="180"/>
                    </a:lnTo>
                    <a:lnTo>
                      <a:pt x="546" y="176"/>
                    </a:lnTo>
                    <a:lnTo>
                      <a:pt x="548" y="175"/>
                    </a:lnTo>
                    <a:lnTo>
                      <a:pt x="552" y="175"/>
                    </a:lnTo>
                    <a:lnTo>
                      <a:pt x="552" y="171"/>
                    </a:lnTo>
                    <a:lnTo>
                      <a:pt x="554" y="169"/>
                    </a:lnTo>
                    <a:lnTo>
                      <a:pt x="554" y="173"/>
                    </a:lnTo>
                    <a:lnTo>
                      <a:pt x="555" y="168"/>
                    </a:lnTo>
                    <a:lnTo>
                      <a:pt x="557" y="166"/>
                    </a:lnTo>
                    <a:lnTo>
                      <a:pt x="557" y="164"/>
                    </a:lnTo>
                    <a:lnTo>
                      <a:pt x="561" y="162"/>
                    </a:lnTo>
                    <a:lnTo>
                      <a:pt x="559" y="160"/>
                    </a:lnTo>
                    <a:lnTo>
                      <a:pt x="561" y="159"/>
                    </a:lnTo>
                    <a:lnTo>
                      <a:pt x="561" y="155"/>
                    </a:lnTo>
                    <a:lnTo>
                      <a:pt x="559" y="157"/>
                    </a:lnTo>
                    <a:lnTo>
                      <a:pt x="559" y="155"/>
                    </a:lnTo>
                    <a:lnTo>
                      <a:pt x="548" y="160"/>
                    </a:lnTo>
                    <a:lnTo>
                      <a:pt x="552" y="162"/>
                    </a:lnTo>
                    <a:lnTo>
                      <a:pt x="546" y="164"/>
                    </a:lnTo>
                    <a:lnTo>
                      <a:pt x="548" y="168"/>
                    </a:lnTo>
                    <a:lnTo>
                      <a:pt x="548" y="166"/>
                    </a:lnTo>
                    <a:lnTo>
                      <a:pt x="548" y="171"/>
                    </a:lnTo>
                    <a:lnTo>
                      <a:pt x="548" y="173"/>
                    </a:lnTo>
                    <a:lnTo>
                      <a:pt x="546" y="171"/>
                    </a:lnTo>
                    <a:lnTo>
                      <a:pt x="548" y="169"/>
                    </a:lnTo>
                    <a:lnTo>
                      <a:pt x="546" y="169"/>
                    </a:lnTo>
                    <a:lnTo>
                      <a:pt x="546" y="168"/>
                    </a:lnTo>
                    <a:lnTo>
                      <a:pt x="543" y="168"/>
                    </a:lnTo>
                    <a:lnTo>
                      <a:pt x="541" y="169"/>
                    </a:lnTo>
                    <a:lnTo>
                      <a:pt x="539" y="173"/>
                    </a:lnTo>
                    <a:lnTo>
                      <a:pt x="539" y="171"/>
                    </a:lnTo>
                    <a:lnTo>
                      <a:pt x="534" y="169"/>
                    </a:lnTo>
                    <a:lnTo>
                      <a:pt x="534" y="169"/>
                    </a:lnTo>
                    <a:lnTo>
                      <a:pt x="530" y="169"/>
                    </a:lnTo>
                    <a:lnTo>
                      <a:pt x="529" y="171"/>
                    </a:lnTo>
                    <a:lnTo>
                      <a:pt x="529" y="175"/>
                    </a:lnTo>
                    <a:lnTo>
                      <a:pt x="530" y="175"/>
                    </a:lnTo>
                    <a:lnTo>
                      <a:pt x="530" y="176"/>
                    </a:lnTo>
                    <a:lnTo>
                      <a:pt x="532" y="176"/>
                    </a:lnTo>
                    <a:lnTo>
                      <a:pt x="529" y="176"/>
                    </a:lnTo>
                    <a:lnTo>
                      <a:pt x="527" y="178"/>
                    </a:lnTo>
                    <a:lnTo>
                      <a:pt x="525" y="178"/>
                    </a:lnTo>
                    <a:lnTo>
                      <a:pt x="527" y="176"/>
                    </a:lnTo>
                    <a:lnTo>
                      <a:pt x="521" y="178"/>
                    </a:lnTo>
                    <a:lnTo>
                      <a:pt x="521" y="176"/>
                    </a:lnTo>
                    <a:lnTo>
                      <a:pt x="520" y="176"/>
                    </a:lnTo>
                    <a:lnTo>
                      <a:pt x="520" y="175"/>
                    </a:lnTo>
                    <a:lnTo>
                      <a:pt x="518" y="175"/>
                    </a:lnTo>
                    <a:lnTo>
                      <a:pt x="518" y="173"/>
                    </a:lnTo>
                    <a:lnTo>
                      <a:pt x="514" y="175"/>
                    </a:lnTo>
                    <a:lnTo>
                      <a:pt x="514" y="173"/>
                    </a:lnTo>
                    <a:lnTo>
                      <a:pt x="514" y="169"/>
                    </a:lnTo>
                    <a:lnTo>
                      <a:pt x="518" y="166"/>
                    </a:lnTo>
                    <a:lnTo>
                      <a:pt x="518" y="164"/>
                    </a:lnTo>
                    <a:lnTo>
                      <a:pt x="520" y="159"/>
                    </a:lnTo>
                    <a:lnTo>
                      <a:pt x="521" y="157"/>
                    </a:lnTo>
                    <a:lnTo>
                      <a:pt x="530" y="155"/>
                    </a:lnTo>
                    <a:lnTo>
                      <a:pt x="543" y="151"/>
                    </a:lnTo>
                    <a:lnTo>
                      <a:pt x="545" y="148"/>
                    </a:lnTo>
                    <a:lnTo>
                      <a:pt x="548" y="146"/>
                    </a:lnTo>
                    <a:lnTo>
                      <a:pt x="548" y="144"/>
                    </a:lnTo>
                    <a:lnTo>
                      <a:pt x="554" y="144"/>
                    </a:lnTo>
                    <a:lnTo>
                      <a:pt x="555" y="143"/>
                    </a:lnTo>
                    <a:lnTo>
                      <a:pt x="559" y="144"/>
                    </a:lnTo>
                    <a:lnTo>
                      <a:pt x="559" y="146"/>
                    </a:lnTo>
                    <a:lnTo>
                      <a:pt x="561" y="146"/>
                    </a:lnTo>
                    <a:lnTo>
                      <a:pt x="562" y="150"/>
                    </a:lnTo>
                    <a:lnTo>
                      <a:pt x="566" y="153"/>
                    </a:lnTo>
                    <a:lnTo>
                      <a:pt x="564" y="155"/>
                    </a:lnTo>
                    <a:lnTo>
                      <a:pt x="566" y="157"/>
                    </a:lnTo>
                    <a:lnTo>
                      <a:pt x="566" y="160"/>
                    </a:lnTo>
                    <a:lnTo>
                      <a:pt x="570" y="160"/>
                    </a:lnTo>
                    <a:lnTo>
                      <a:pt x="570" y="164"/>
                    </a:lnTo>
                    <a:lnTo>
                      <a:pt x="566" y="164"/>
                    </a:lnTo>
                    <a:lnTo>
                      <a:pt x="564" y="164"/>
                    </a:lnTo>
                    <a:lnTo>
                      <a:pt x="564" y="166"/>
                    </a:lnTo>
                    <a:lnTo>
                      <a:pt x="566" y="166"/>
                    </a:lnTo>
                    <a:lnTo>
                      <a:pt x="570" y="168"/>
                    </a:lnTo>
                    <a:lnTo>
                      <a:pt x="571" y="169"/>
                    </a:lnTo>
                    <a:lnTo>
                      <a:pt x="571" y="171"/>
                    </a:lnTo>
                    <a:lnTo>
                      <a:pt x="575" y="173"/>
                    </a:lnTo>
                    <a:lnTo>
                      <a:pt x="580" y="175"/>
                    </a:lnTo>
                    <a:lnTo>
                      <a:pt x="579" y="175"/>
                    </a:lnTo>
                    <a:lnTo>
                      <a:pt x="580" y="180"/>
                    </a:lnTo>
                    <a:lnTo>
                      <a:pt x="582" y="184"/>
                    </a:lnTo>
                    <a:lnTo>
                      <a:pt x="584" y="182"/>
                    </a:lnTo>
                    <a:lnTo>
                      <a:pt x="589" y="184"/>
                    </a:lnTo>
                    <a:lnTo>
                      <a:pt x="591" y="182"/>
                    </a:lnTo>
                    <a:lnTo>
                      <a:pt x="595" y="184"/>
                    </a:lnTo>
                    <a:lnTo>
                      <a:pt x="595" y="182"/>
                    </a:lnTo>
                    <a:lnTo>
                      <a:pt x="596" y="182"/>
                    </a:lnTo>
                    <a:lnTo>
                      <a:pt x="598" y="180"/>
                    </a:lnTo>
                    <a:lnTo>
                      <a:pt x="598" y="176"/>
                    </a:lnTo>
                    <a:lnTo>
                      <a:pt x="602" y="180"/>
                    </a:lnTo>
                    <a:lnTo>
                      <a:pt x="602" y="184"/>
                    </a:lnTo>
                    <a:lnTo>
                      <a:pt x="609" y="191"/>
                    </a:lnTo>
                    <a:lnTo>
                      <a:pt x="611" y="194"/>
                    </a:lnTo>
                    <a:lnTo>
                      <a:pt x="614" y="194"/>
                    </a:lnTo>
                    <a:lnTo>
                      <a:pt x="618" y="198"/>
                    </a:lnTo>
                    <a:lnTo>
                      <a:pt x="620" y="198"/>
                    </a:lnTo>
                    <a:lnTo>
                      <a:pt x="620" y="196"/>
                    </a:lnTo>
                    <a:lnTo>
                      <a:pt x="623" y="196"/>
                    </a:lnTo>
                    <a:lnTo>
                      <a:pt x="623" y="194"/>
                    </a:lnTo>
                    <a:lnTo>
                      <a:pt x="625" y="196"/>
                    </a:lnTo>
                    <a:lnTo>
                      <a:pt x="627" y="196"/>
                    </a:lnTo>
                    <a:lnTo>
                      <a:pt x="630" y="198"/>
                    </a:lnTo>
                    <a:lnTo>
                      <a:pt x="636" y="194"/>
                    </a:lnTo>
                    <a:lnTo>
                      <a:pt x="643" y="196"/>
                    </a:lnTo>
                    <a:lnTo>
                      <a:pt x="646" y="194"/>
                    </a:lnTo>
                    <a:lnTo>
                      <a:pt x="650" y="191"/>
                    </a:lnTo>
                    <a:lnTo>
                      <a:pt x="661" y="193"/>
                    </a:lnTo>
                    <a:lnTo>
                      <a:pt x="662" y="193"/>
                    </a:lnTo>
                    <a:lnTo>
                      <a:pt x="668" y="196"/>
                    </a:lnTo>
                    <a:lnTo>
                      <a:pt x="668" y="196"/>
                    </a:lnTo>
                    <a:lnTo>
                      <a:pt x="670" y="194"/>
                    </a:lnTo>
                    <a:lnTo>
                      <a:pt x="670" y="196"/>
                    </a:lnTo>
                    <a:lnTo>
                      <a:pt x="677" y="194"/>
                    </a:lnTo>
                    <a:lnTo>
                      <a:pt x="680" y="194"/>
                    </a:lnTo>
                    <a:lnTo>
                      <a:pt x="679" y="191"/>
                    </a:lnTo>
                    <a:lnTo>
                      <a:pt x="679" y="191"/>
                    </a:lnTo>
                    <a:lnTo>
                      <a:pt x="677" y="187"/>
                    </a:lnTo>
                    <a:lnTo>
                      <a:pt x="675" y="184"/>
                    </a:lnTo>
                    <a:lnTo>
                      <a:pt x="677" y="182"/>
                    </a:lnTo>
                    <a:lnTo>
                      <a:pt x="679" y="182"/>
                    </a:lnTo>
                    <a:lnTo>
                      <a:pt x="679" y="184"/>
                    </a:lnTo>
                    <a:lnTo>
                      <a:pt x="680" y="185"/>
                    </a:lnTo>
                    <a:lnTo>
                      <a:pt x="682" y="187"/>
                    </a:lnTo>
                    <a:lnTo>
                      <a:pt x="682" y="191"/>
                    </a:lnTo>
                    <a:lnTo>
                      <a:pt x="684" y="194"/>
                    </a:lnTo>
                    <a:lnTo>
                      <a:pt x="687" y="196"/>
                    </a:lnTo>
                    <a:lnTo>
                      <a:pt x="689" y="198"/>
                    </a:lnTo>
                    <a:lnTo>
                      <a:pt x="693" y="200"/>
                    </a:lnTo>
                    <a:lnTo>
                      <a:pt x="695" y="201"/>
                    </a:lnTo>
                    <a:lnTo>
                      <a:pt x="698" y="201"/>
                    </a:lnTo>
                    <a:lnTo>
                      <a:pt x="700" y="198"/>
                    </a:lnTo>
                    <a:lnTo>
                      <a:pt x="700" y="187"/>
                    </a:lnTo>
                    <a:lnTo>
                      <a:pt x="698" y="187"/>
                    </a:lnTo>
                    <a:lnTo>
                      <a:pt x="698" y="191"/>
                    </a:lnTo>
                    <a:lnTo>
                      <a:pt x="696" y="191"/>
                    </a:lnTo>
                    <a:lnTo>
                      <a:pt x="696" y="187"/>
                    </a:lnTo>
                    <a:lnTo>
                      <a:pt x="695" y="185"/>
                    </a:lnTo>
                    <a:lnTo>
                      <a:pt x="689" y="187"/>
                    </a:lnTo>
                    <a:lnTo>
                      <a:pt x="687" y="189"/>
                    </a:lnTo>
                    <a:lnTo>
                      <a:pt x="687" y="193"/>
                    </a:lnTo>
                    <a:lnTo>
                      <a:pt x="686" y="193"/>
                    </a:lnTo>
                    <a:lnTo>
                      <a:pt x="684" y="185"/>
                    </a:lnTo>
                    <a:lnTo>
                      <a:pt x="680" y="180"/>
                    </a:lnTo>
                    <a:lnTo>
                      <a:pt x="682" y="182"/>
                    </a:lnTo>
                    <a:lnTo>
                      <a:pt x="682" y="176"/>
                    </a:lnTo>
                    <a:lnTo>
                      <a:pt x="679" y="175"/>
                    </a:lnTo>
                    <a:lnTo>
                      <a:pt x="679" y="173"/>
                    </a:lnTo>
                    <a:lnTo>
                      <a:pt x="677" y="168"/>
                    </a:lnTo>
                    <a:lnTo>
                      <a:pt x="679" y="168"/>
                    </a:lnTo>
                    <a:lnTo>
                      <a:pt x="680" y="171"/>
                    </a:lnTo>
                    <a:lnTo>
                      <a:pt x="682" y="169"/>
                    </a:lnTo>
                    <a:lnTo>
                      <a:pt x="682" y="168"/>
                    </a:lnTo>
                    <a:lnTo>
                      <a:pt x="684" y="168"/>
                    </a:lnTo>
                    <a:lnTo>
                      <a:pt x="686" y="169"/>
                    </a:lnTo>
                    <a:lnTo>
                      <a:pt x="691" y="169"/>
                    </a:lnTo>
                    <a:lnTo>
                      <a:pt x="691" y="168"/>
                    </a:lnTo>
                    <a:lnTo>
                      <a:pt x="687" y="162"/>
                    </a:lnTo>
                    <a:lnTo>
                      <a:pt x="689" y="160"/>
                    </a:lnTo>
                    <a:lnTo>
                      <a:pt x="693" y="162"/>
                    </a:lnTo>
                    <a:lnTo>
                      <a:pt x="693" y="164"/>
                    </a:lnTo>
                    <a:lnTo>
                      <a:pt x="696" y="168"/>
                    </a:lnTo>
                    <a:lnTo>
                      <a:pt x="695" y="164"/>
                    </a:lnTo>
                    <a:lnTo>
                      <a:pt x="698" y="164"/>
                    </a:lnTo>
                    <a:lnTo>
                      <a:pt x="700" y="168"/>
                    </a:lnTo>
                    <a:lnTo>
                      <a:pt x="705" y="171"/>
                    </a:lnTo>
                    <a:lnTo>
                      <a:pt x="704" y="173"/>
                    </a:lnTo>
                    <a:lnTo>
                      <a:pt x="705" y="175"/>
                    </a:lnTo>
                    <a:lnTo>
                      <a:pt x="711" y="171"/>
                    </a:lnTo>
                    <a:lnTo>
                      <a:pt x="711" y="175"/>
                    </a:lnTo>
                    <a:lnTo>
                      <a:pt x="709" y="176"/>
                    </a:lnTo>
                    <a:lnTo>
                      <a:pt x="709" y="180"/>
                    </a:lnTo>
                    <a:lnTo>
                      <a:pt x="707" y="182"/>
                    </a:lnTo>
                    <a:lnTo>
                      <a:pt x="709" y="184"/>
                    </a:lnTo>
                    <a:lnTo>
                      <a:pt x="711" y="182"/>
                    </a:lnTo>
                    <a:lnTo>
                      <a:pt x="712" y="185"/>
                    </a:lnTo>
                    <a:lnTo>
                      <a:pt x="712" y="178"/>
                    </a:lnTo>
                    <a:lnTo>
                      <a:pt x="718" y="175"/>
                    </a:lnTo>
                    <a:lnTo>
                      <a:pt x="720" y="175"/>
                    </a:lnTo>
                    <a:lnTo>
                      <a:pt x="718" y="185"/>
                    </a:lnTo>
                    <a:lnTo>
                      <a:pt x="716" y="191"/>
                    </a:lnTo>
                    <a:lnTo>
                      <a:pt x="716" y="196"/>
                    </a:lnTo>
                    <a:lnTo>
                      <a:pt x="718" y="200"/>
                    </a:lnTo>
                    <a:lnTo>
                      <a:pt x="712" y="203"/>
                    </a:lnTo>
                    <a:lnTo>
                      <a:pt x="714" y="209"/>
                    </a:lnTo>
                    <a:lnTo>
                      <a:pt x="718" y="209"/>
                    </a:lnTo>
                    <a:lnTo>
                      <a:pt x="718" y="216"/>
                    </a:lnTo>
                    <a:lnTo>
                      <a:pt x="723" y="210"/>
                    </a:lnTo>
                    <a:lnTo>
                      <a:pt x="725" y="212"/>
                    </a:lnTo>
                    <a:lnTo>
                      <a:pt x="727" y="210"/>
                    </a:lnTo>
                    <a:lnTo>
                      <a:pt x="727" y="212"/>
                    </a:lnTo>
                    <a:lnTo>
                      <a:pt x="725" y="214"/>
                    </a:lnTo>
                    <a:lnTo>
                      <a:pt x="727" y="218"/>
                    </a:lnTo>
                    <a:lnTo>
                      <a:pt x="730" y="218"/>
                    </a:lnTo>
                    <a:lnTo>
                      <a:pt x="732" y="212"/>
                    </a:lnTo>
                    <a:lnTo>
                      <a:pt x="730" y="209"/>
                    </a:lnTo>
                    <a:lnTo>
                      <a:pt x="730" y="203"/>
                    </a:lnTo>
                    <a:lnTo>
                      <a:pt x="728" y="200"/>
                    </a:lnTo>
                    <a:lnTo>
                      <a:pt x="725" y="196"/>
                    </a:lnTo>
                    <a:lnTo>
                      <a:pt x="727" y="185"/>
                    </a:lnTo>
                    <a:lnTo>
                      <a:pt x="725" y="182"/>
                    </a:lnTo>
                    <a:lnTo>
                      <a:pt x="727" y="182"/>
                    </a:lnTo>
                    <a:lnTo>
                      <a:pt x="728" y="180"/>
                    </a:lnTo>
                    <a:lnTo>
                      <a:pt x="730" y="182"/>
                    </a:lnTo>
                    <a:lnTo>
                      <a:pt x="730" y="184"/>
                    </a:lnTo>
                    <a:lnTo>
                      <a:pt x="732" y="182"/>
                    </a:lnTo>
                    <a:lnTo>
                      <a:pt x="734" y="182"/>
                    </a:lnTo>
                    <a:lnTo>
                      <a:pt x="739" y="184"/>
                    </a:lnTo>
                    <a:lnTo>
                      <a:pt x="739" y="184"/>
                    </a:lnTo>
                    <a:lnTo>
                      <a:pt x="741" y="180"/>
                    </a:lnTo>
                    <a:lnTo>
                      <a:pt x="743" y="178"/>
                    </a:lnTo>
                    <a:lnTo>
                      <a:pt x="746" y="175"/>
                    </a:lnTo>
                    <a:lnTo>
                      <a:pt x="746" y="173"/>
                    </a:lnTo>
                    <a:lnTo>
                      <a:pt x="748" y="168"/>
                    </a:lnTo>
                    <a:lnTo>
                      <a:pt x="757" y="162"/>
                    </a:lnTo>
                    <a:lnTo>
                      <a:pt x="759" y="159"/>
                    </a:lnTo>
                    <a:lnTo>
                      <a:pt x="755" y="159"/>
                    </a:lnTo>
                    <a:lnTo>
                      <a:pt x="755" y="144"/>
                    </a:lnTo>
                    <a:lnTo>
                      <a:pt x="750" y="141"/>
                    </a:lnTo>
                    <a:lnTo>
                      <a:pt x="750" y="144"/>
                    </a:lnTo>
                    <a:lnTo>
                      <a:pt x="750" y="146"/>
                    </a:lnTo>
                    <a:lnTo>
                      <a:pt x="750" y="150"/>
                    </a:lnTo>
                    <a:lnTo>
                      <a:pt x="752" y="148"/>
                    </a:lnTo>
                    <a:lnTo>
                      <a:pt x="753" y="146"/>
                    </a:lnTo>
                    <a:lnTo>
                      <a:pt x="750" y="153"/>
                    </a:lnTo>
                    <a:lnTo>
                      <a:pt x="743" y="155"/>
                    </a:lnTo>
                    <a:lnTo>
                      <a:pt x="739" y="153"/>
                    </a:lnTo>
                    <a:lnTo>
                      <a:pt x="741" y="151"/>
                    </a:lnTo>
                    <a:lnTo>
                      <a:pt x="741" y="144"/>
                    </a:lnTo>
                    <a:lnTo>
                      <a:pt x="743" y="144"/>
                    </a:lnTo>
                    <a:lnTo>
                      <a:pt x="745" y="144"/>
                    </a:lnTo>
                    <a:lnTo>
                      <a:pt x="746" y="137"/>
                    </a:lnTo>
                    <a:lnTo>
                      <a:pt x="746" y="135"/>
                    </a:lnTo>
                    <a:lnTo>
                      <a:pt x="745" y="137"/>
                    </a:lnTo>
                    <a:lnTo>
                      <a:pt x="746" y="132"/>
                    </a:lnTo>
                    <a:lnTo>
                      <a:pt x="748" y="126"/>
                    </a:lnTo>
                    <a:lnTo>
                      <a:pt x="753" y="125"/>
                    </a:lnTo>
                    <a:lnTo>
                      <a:pt x="755" y="123"/>
                    </a:lnTo>
                    <a:lnTo>
                      <a:pt x="752" y="128"/>
                    </a:lnTo>
                    <a:lnTo>
                      <a:pt x="752" y="132"/>
                    </a:lnTo>
                    <a:lnTo>
                      <a:pt x="753" y="134"/>
                    </a:lnTo>
                    <a:lnTo>
                      <a:pt x="757" y="130"/>
                    </a:lnTo>
                    <a:lnTo>
                      <a:pt x="757" y="125"/>
                    </a:lnTo>
                    <a:lnTo>
                      <a:pt x="755" y="119"/>
                    </a:lnTo>
                    <a:lnTo>
                      <a:pt x="753" y="119"/>
                    </a:lnTo>
                    <a:lnTo>
                      <a:pt x="748" y="123"/>
                    </a:lnTo>
                    <a:lnTo>
                      <a:pt x="745" y="123"/>
                    </a:lnTo>
                    <a:lnTo>
                      <a:pt x="741" y="114"/>
                    </a:lnTo>
                    <a:lnTo>
                      <a:pt x="739" y="112"/>
                    </a:lnTo>
                    <a:lnTo>
                      <a:pt x="739" y="116"/>
                    </a:lnTo>
                    <a:lnTo>
                      <a:pt x="737" y="118"/>
                    </a:lnTo>
                    <a:lnTo>
                      <a:pt x="736" y="116"/>
                    </a:lnTo>
                    <a:lnTo>
                      <a:pt x="736" y="114"/>
                    </a:lnTo>
                    <a:lnTo>
                      <a:pt x="730" y="112"/>
                    </a:lnTo>
                    <a:lnTo>
                      <a:pt x="730" y="109"/>
                    </a:lnTo>
                    <a:lnTo>
                      <a:pt x="730" y="107"/>
                    </a:lnTo>
                    <a:lnTo>
                      <a:pt x="723" y="109"/>
                    </a:lnTo>
                    <a:lnTo>
                      <a:pt x="718" y="105"/>
                    </a:lnTo>
                    <a:lnTo>
                      <a:pt x="718" y="103"/>
                    </a:lnTo>
                    <a:lnTo>
                      <a:pt x="718" y="101"/>
                    </a:lnTo>
                    <a:lnTo>
                      <a:pt x="712" y="98"/>
                    </a:lnTo>
                    <a:lnTo>
                      <a:pt x="712" y="96"/>
                    </a:lnTo>
                    <a:lnTo>
                      <a:pt x="711" y="93"/>
                    </a:lnTo>
                    <a:lnTo>
                      <a:pt x="711" y="78"/>
                    </a:lnTo>
                    <a:lnTo>
                      <a:pt x="711" y="76"/>
                    </a:lnTo>
                    <a:lnTo>
                      <a:pt x="712" y="76"/>
                    </a:lnTo>
                    <a:lnTo>
                      <a:pt x="716" y="69"/>
                    </a:lnTo>
                    <a:lnTo>
                      <a:pt x="716" y="69"/>
                    </a:lnTo>
                    <a:lnTo>
                      <a:pt x="718" y="71"/>
                    </a:lnTo>
                    <a:lnTo>
                      <a:pt x="718" y="69"/>
                    </a:lnTo>
                    <a:lnTo>
                      <a:pt x="718" y="66"/>
                    </a:lnTo>
                    <a:lnTo>
                      <a:pt x="718" y="68"/>
                    </a:lnTo>
                    <a:lnTo>
                      <a:pt x="714" y="60"/>
                    </a:lnTo>
                    <a:lnTo>
                      <a:pt x="712" y="57"/>
                    </a:lnTo>
                    <a:lnTo>
                      <a:pt x="712" y="50"/>
                    </a:lnTo>
                    <a:lnTo>
                      <a:pt x="714" y="46"/>
                    </a:lnTo>
                    <a:lnTo>
                      <a:pt x="714" y="46"/>
                    </a:lnTo>
                    <a:lnTo>
                      <a:pt x="714" y="35"/>
                    </a:lnTo>
                    <a:lnTo>
                      <a:pt x="716" y="35"/>
                    </a:lnTo>
                    <a:lnTo>
                      <a:pt x="716" y="35"/>
                    </a:lnTo>
                    <a:lnTo>
                      <a:pt x="718" y="34"/>
                    </a:lnTo>
                    <a:lnTo>
                      <a:pt x="718" y="32"/>
                    </a:lnTo>
                    <a:lnTo>
                      <a:pt x="720" y="30"/>
                    </a:lnTo>
                    <a:lnTo>
                      <a:pt x="725" y="37"/>
                    </a:lnTo>
                    <a:lnTo>
                      <a:pt x="727" y="37"/>
                    </a:lnTo>
                    <a:lnTo>
                      <a:pt x="727" y="32"/>
                    </a:lnTo>
                    <a:lnTo>
                      <a:pt x="727" y="26"/>
                    </a:lnTo>
                    <a:lnTo>
                      <a:pt x="725" y="25"/>
                    </a:lnTo>
                    <a:lnTo>
                      <a:pt x="723" y="23"/>
                    </a:lnTo>
                    <a:lnTo>
                      <a:pt x="723" y="19"/>
                    </a:lnTo>
                    <a:lnTo>
                      <a:pt x="728" y="10"/>
                    </a:lnTo>
                    <a:lnTo>
                      <a:pt x="732" y="1"/>
                    </a:lnTo>
                    <a:lnTo>
                      <a:pt x="736" y="0"/>
                    </a:lnTo>
                    <a:lnTo>
                      <a:pt x="737" y="1"/>
                    </a:lnTo>
                    <a:lnTo>
                      <a:pt x="741" y="0"/>
                    </a:lnTo>
                    <a:lnTo>
                      <a:pt x="743" y="3"/>
                    </a:lnTo>
                    <a:lnTo>
                      <a:pt x="743" y="5"/>
                    </a:lnTo>
                    <a:lnTo>
                      <a:pt x="743" y="7"/>
                    </a:lnTo>
                    <a:lnTo>
                      <a:pt x="741" y="10"/>
                    </a:lnTo>
                    <a:lnTo>
                      <a:pt x="743" y="12"/>
                    </a:lnTo>
                    <a:lnTo>
                      <a:pt x="745" y="10"/>
                    </a:lnTo>
                    <a:lnTo>
                      <a:pt x="745" y="16"/>
                    </a:lnTo>
                    <a:lnTo>
                      <a:pt x="746" y="12"/>
                    </a:lnTo>
                    <a:lnTo>
                      <a:pt x="748" y="10"/>
                    </a:lnTo>
                    <a:lnTo>
                      <a:pt x="752" y="14"/>
                    </a:lnTo>
                    <a:lnTo>
                      <a:pt x="755" y="10"/>
                    </a:lnTo>
                    <a:lnTo>
                      <a:pt x="755" y="19"/>
                    </a:lnTo>
                    <a:lnTo>
                      <a:pt x="757" y="23"/>
                    </a:lnTo>
                    <a:lnTo>
                      <a:pt x="759" y="23"/>
                    </a:lnTo>
                    <a:lnTo>
                      <a:pt x="766" y="34"/>
                    </a:lnTo>
                    <a:lnTo>
                      <a:pt x="768" y="55"/>
                    </a:lnTo>
                    <a:lnTo>
                      <a:pt x="768" y="55"/>
                    </a:lnTo>
                    <a:lnTo>
                      <a:pt x="768" y="59"/>
                    </a:lnTo>
                    <a:lnTo>
                      <a:pt x="771" y="59"/>
                    </a:lnTo>
                    <a:lnTo>
                      <a:pt x="771" y="66"/>
                    </a:lnTo>
                    <a:lnTo>
                      <a:pt x="777" y="64"/>
                    </a:lnTo>
                    <a:lnTo>
                      <a:pt x="778" y="68"/>
                    </a:lnTo>
                    <a:lnTo>
                      <a:pt x="778" y="73"/>
                    </a:lnTo>
                    <a:lnTo>
                      <a:pt x="782" y="80"/>
                    </a:lnTo>
                    <a:lnTo>
                      <a:pt x="782" y="84"/>
                    </a:lnTo>
                    <a:lnTo>
                      <a:pt x="784" y="84"/>
                    </a:lnTo>
                    <a:lnTo>
                      <a:pt x="784" y="82"/>
                    </a:lnTo>
                    <a:lnTo>
                      <a:pt x="786" y="80"/>
                    </a:lnTo>
                    <a:lnTo>
                      <a:pt x="787" y="82"/>
                    </a:lnTo>
                    <a:lnTo>
                      <a:pt x="787" y="87"/>
                    </a:lnTo>
                    <a:lnTo>
                      <a:pt x="789" y="89"/>
                    </a:lnTo>
                    <a:lnTo>
                      <a:pt x="791" y="91"/>
                    </a:lnTo>
                    <a:lnTo>
                      <a:pt x="786" y="91"/>
                    </a:lnTo>
                    <a:lnTo>
                      <a:pt x="778" y="89"/>
                    </a:lnTo>
                    <a:lnTo>
                      <a:pt x="777" y="89"/>
                    </a:lnTo>
                    <a:lnTo>
                      <a:pt x="777" y="89"/>
                    </a:lnTo>
                    <a:lnTo>
                      <a:pt x="777" y="91"/>
                    </a:lnTo>
                    <a:lnTo>
                      <a:pt x="775" y="93"/>
                    </a:lnTo>
                    <a:lnTo>
                      <a:pt x="775" y="93"/>
                    </a:lnTo>
                    <a:lnTo>
                      <a:pt x="780" y="94"/>
                    </a:lnTo>
                    <a:lnTo>
                      <a:pt x="784" y="98"/>
                    </a:lnTo>
                    <a:lnTo>
                      <a:pt x="780" y="103"/>
                    </a:lnTo>
                    <a:lnTo>
                      <a:pt x="778" y="103"/>
                    </a:lnTo>
                    <a:lnTo>
                      <a:pt x="777" y="105"/>
                    </a:lnTo>
                    <a:lnTo>
                      <a:pt x="775" y="105"/>
                    </a:lnTo>
                    <a:lnTo>
                      <a:pt x="773" y="107"/>
                    </a:lnTo>
                    <a:lnTo>
                      <a:pt x="771" y="109"/>
                    </a:lnTo>
                    <a:lnTo>
                      <a:pt x="773" y="110"/>
                    </a:lnTo>
                    <a:lnTo>
                      <a:pt x="771" y="112"/>
                    </a:lnTo>
                    <a:lnTo>
                      <a:pt x="777" y="112"/>
                    </a:lnTo>
                    <a:lnTo>
                      <a:pt x="780" y="118"/>
                    </a:lnTo>
                    <a:lnTo>
                      <a:pt x="784" y="119"/>
                    </a:lnTo>
                    <a:lnTo>
                      <a:pt x="789" y="119"/>
                    </a:lnTo>
                    <a:lnTo>
                      <a:pt x="791" y="114"/>
                    </a:lnTo>
                    <a:lnTo>
                      <a:pt x="793" y="114"/>
                    </a:lnTo>
                    <a:lnTo>
                      <a:pt x="795" y="116"/>
                    </a:lnTo>
                    <a:lnTo>
                      <a:pt x="793" y="118"/>
                    </a:lnTo>
                    <a:lnTo>
                      <a:pt x="795" y="118"/>
                    </a:lnTo>
                    <a:lnTo>
                      <a:pt x="796" y="121"/>
                    </a:lnTo>
                    <a:lnTo>
                      <a:pt x="796" y="119"/>
                    </a:lnTo>
                    <a:lnTo>
                      <a:pt x="800" y="121"/>
                    </a:lnTo>
                    <a:lnTo>
                      <a:pt x="802" y="119"/>
                    </a:lnTo>
                    <a:lnTo>
                      <a:pt x="802" y="123"/>
                    </a:lnTo>
                    <a:lnTo>
                      <a:pt x="802" y="126"/>
                    </a:lnTo>
                    <a:lnTo>
                      <a:pt x="800" y="128"/>
                    </a:lnTo>
                    <a:lnTo>
                      <a:pt x="796" y="126"/>
                    </a:lnTo>
                    <a:lnTo>
                      <a:pt x="795" y="126"/>
                    </a:lnTo>
                    <a:lnTo>
                      <a:pt x="793" y="126"/>
                    </a:lnTo>
                    <a:lnTo>
                      <a:pt x="800" y="137"/>
                    </a:lnTo>
                    <a:lnTo>
                      <a:pt x="803" y="137"/>
                    </a:lnTo>
                    <a:lnTo>
                      <a:pt x="803" y="141"/>
                    </a:lnTo>
                    <a:lnTo>
                      <a:pt x="805" y="144"/>
                    </a:lnTo>
                    <a:lnTo>
                      <a:pt x="805" y="146"/>
                    </a:lnTo>
                    <a:lnTo>
                      <a:pt x="809" y="151"/>
                    </a:lnTo>
                    <a:lnTo>
                      <a:pt x="807" y="164"/>
                    </a:lnTo>
                    <a:lnTo>
                      <a:pt x="811" y="173"/>
                    </a:lnTo>
                    <a:lnTo>
                      <a:pt x="816" y="164"/>
                    </a:lnTo>
                    <a:lnTo>
                      <a:pt x="816" y="157"/>
                    </a:lnTo>
                    <a:lnTo>
                      <a:pt x="816" y="155"/>
                    </a:lnTo>
                    <a:lnTo>
                      <a:pt x="818" y="155"/>
                    </a:lnTo>
                    <a:lnTo>
                      <a:pt x="818" y="141"/>
                    </a:lnTo>
                    <a:lnTo>
                      <a:pt x="821" y="135"/>
                    </a:lnTo>
                    <a:lnTo>
                      <a:pt x="823" y="132"/>
                    </a:lnTo>
                    <a:lnTo>
                      <a:pt x="827" y="130"/>
                    </a:lnTo>
                    <a:lnTo>
                      <a:pt x="830" y="130"/>
                    </a:lnTo>
                    <a:lnTo>
                      <a:pt x="832" y="135"/>
                    </a:lnTo>
                    <a:lnTo>
                      <a:pt x="836" y="141"/>
                    </a:lnTo>
                    <a:lnTo>
                      <a:pt x="845" y="148"/>
                    </a:lnTo>
                    <a:lnTo>
                      <a:pt x="850" y="173"/>
                    </a:lnTo>
                    <a:lnTo>
                      <a:pt x="846" y="175"/>
                    </a:lnTo>
                    <a:lnTo>
                      <a:pt x="845" y="175"/>
                    </a:lnTo>
                    <a:lnTo>
                      <a:pt x="843" y="173"/>
                    </a:lnTo>
                    <a:lnTo>
                      <a:pt x="843" y="168"/>
                    </a:lnTo>
                    <a:lnTo>
                      <a:pt x="841" y="175"/>
                    </a:lnTo>
                    <a:lnTo>
                      <a:pt x="841" y="180"/>
                    </a:lnTo>
                    <a:lnTo>
                      <a:pt x="841" y="187"/>
                    </a:lnTo>
                    <a:lnTo>
                      <a:pt x="853" y="214"/>
                    </a:lnTo>
                    <a:lnTo>
                      <a:pt x="857" y="218"/>
                    </a:lnTo>
                    <a:lnTo>
                      <a:pt x="861" y="218"/>
                    </a:lnTo>
                    <a:lnTo>
                      <a:pt x="862" y="210"/>
                    </a:lnTo>
                    <a:lnTo>
                      <a:pt x="864" y="209"/>
                    </a:lnTo>
                    <a:lnTo>
                      <a:pt x="866" y="210"/>
                    </a:lnTo>
                    <a:lnTo>
                      <a:pt x="868" y="209"/>
                    </a:lnTo>
                    <a:lnTo>
                      <a:pt x="868" y="210"/>
                    </a:lnTo>
                    <a:lnTo>
                      <a:pt x="870" y="210"/>
                    </a:lnTo>
                    <a:lnTo>
                      <a:pt x="871" y="200"/>
                    </a:lnTo>
                    <a:lnTo>
                      <a:pt x="873" y="191"/>
                    </a:lnTo>
                    <a:lnTo>
                      <a:pt x="877" y="187"/>
                    </a:lnTo>
                    <a:lnTo>
                      <a:pt x="880" y="178"/>
                    </a:lnTo>
                    <a:lnTo>
                      <a:pt x="880" y="173"/>
                    </a:lnTo>
                    <a:lnTo>
                      <a:pt x="882" y="171"/>
                    </a:lnTo>
                    <a:lnTo>
                      <a:pt x="882" y="157"/>
                    </a:lnTo>
                    <a:lnTo>
                      <a:pt x="884" y="155"/>
                    </a:lnTo>
                    <a:lnTo>
                      <a:pt x="887" y="155"/>
                    </a:lnTo>
                    <a:lnTo>
                      <a:pt x="889" y="153"/>
                    </a:lnTo>
                    <a:lnTo>
                      <a:pt x="891" y="153"/>
                    </a:lnTo>
                    <a:lnTo>
                      <a:pt x="893" y="151"/>
                    </a:lnTo>
                    <a:lnTo>
                      <a:pt x="896" y="153"/>
                    </a:lnTo>
                    <a:lnTo>
                      <a:pt x="900" y="153"/>
                    </a:lnTo>
                    <a:lnTo>
                      <a:pt x="898" y="151"/>
                    </a:lnTo>
                    <a:lnTo>
                      <a:pt x="895" y="150"/>
                    </a:lnTo>
                    <a:lnTo>
                      <a:pt x="893" y="148"/>
                    </a:lnTo>
                    <a:lnTo>
                      <a:pt x="895" y="146"/>
                    </a:lnTo>
                    <a:lnTo>
                      <a:pt x="893" y="144"/>
                    </a:lnTo>
                    <a:lnTo>
                      <a:pt x="896" y="144"/>
                    </a:lnTo>
                    <a:lnTo>
                      <a:pt x="896" y="143"/>
                    </a:lnTo>
                    <a:lnTo>
                      <a:pt x="898" y="143"/>
                    </a:lnTo>
                    <a:lnTo>
                      <a:pt x="900" y="143"/>
                    </a:lnTo>
                    <a:lnTo>
                      <a:pt x="900" y="141"/>
                    </a:lnTo>
                    <a:lnTo>
                      <a:pt x="898" y="141"/>
                    </a:lnTo>
                    <a:lnTo>
                      <a:pt x="896" y="137"/>
                    </a:lnTo>
                    <a:lnTo>
                      <a:pt x="891" y="137"/>
                    </a:lnTo>
                    <a:lnTo>
                      <a:pt x="889" y="134"/>
                    </a:lnTo>
                    <a:lnTo>
                      <a:pt x="887" y="130"/>
                    </a:lnTo>
                    <a:lnTo>
                      <a:pt x="889" y="126"/>
                    </a:lnTo>
                    <a:lnTo>
                      <a:pt x="889" y="125"/>
                    </a:lnTo>
                    <a:lnTo>
                      <a:pt x="887" y="121"/>
                    </a:lnTo>
                    <a:lnTo>
                      <a:pt x="889" y="118"/>
                    </a:lnTo>
                    <a:lnTo>
                      <a:pt x="887" y="112"/>
                    </a:lnTo>
                    <a:lnTo>
                      <a:pt x="889" y="105"/>
                    </a:lnTo>
                    <a:lnTo>
                      <a:pt x="895" y="107"/>
                    </a:lnTo>
                    <a:lnTo>
                      <a:pt x="896" y="105"/>
                    </a:lnTo>
                    <a:lnTo>
                      <a:pt x="903" y="103"/>
                    </a:lnTo>
                    <a:lnTo>
                      <a:pt x="909" y="105"/>
                    </a:lnTo>
                    <a:lnTo>
                      <a:pt x="911" y="109"/>
                    </a:lnTo>
                    <a:lnTo>
                      <a:pt x="918" y="112"/>
                    </a:lnTo>
                    <a:lnTo>
                      <a:pt x="925" y="112"/>
                    </a:lnTo>
                    <a:lnTo>
                      <a:pt x="927" y="112"/>
                    </a:lnTo>
                    <a:lnTo>
                      <a:pt x="930" y="112"/>
                    </a:lnTo>
                    <a:lnTo>
                      <a:pt x="932" y="110"/>
                    </a:lnTo>
                    <a:lnTo>
                      <a:pt x="934" y="112"/>
                    </a:lnTo>
                    <a:lnTo>
                      <a:pt x="936" y="121"/>
                    </a:lnTo>
                    <a:lnTo>
                      <a:pt x="932" y="121"/>
                    </a:lnTo>
                    <a:lnTo>
                      <a:pt x="934" y="121"/>
                    </a:lnTo>
                    <a:lnTo>
                      <a:pt x="939" y="130"/>
                    </a:lnTo>
                    <a:lnTo>
                      <a:pt x="939" y="132"/>
                    </a:lnTo>
                    <a:lnTo>
                      <a:pt x="939" y="132"/>
                    </a:lnTo>
                    <a:lnTo>
                      <a:pt x="948" y="132"/>
                    </a:lnTo>
                    <a:lnTo>
                      <a:pt x="950" y="134"/>
                    </a:lnTo>
                    <a:lnTo>
                      <a:pt x="953" y="135"/>
                    </a:lnTo>
                    <a:lnTo>
                      <a:pt x="953" y="137"/>
                    </a:lnTo>
                    <a:lnTo>
                      <a:pt x="952" y="143"/>
                    </a:lnTo>
                    <a:lnTo>
                      <a:pt x="946" y="146"/>
                    </a:lnTo>
                    <a:lnTo>
                      <a:pt x="945" y="150"/>
                    </a:lnTo>
                    <a:lnTo>
                      <a:pt x="953" y="150"/>
                    </a:lnTo>
                    <a:lnTo>
                      <a:pt x="955" y="153"/>
                    </a:lnTo>
                    <a:lnTo>
                      <a:pt x="955" y="159"/>
                    </a:lnTo>
                    <a:lnTo>
                      <a:pt x="953" y="160"/>
                    </a:lnTo>
                    <a:lnTo>
                      <a:pt x="950" y="164"/>
                    </a:lnTo>
                    <a:lnTo>
                      <a:pt x="948" y="164"/>
                    </a:lnTo>
                    <a:lnTo>
                      <a:pt x="945" y="169"/>
                    </a:lnTo>
                    <a:lnTo>
                      <a:pt x="943" y="168"/>
                    </a:lnTo>
                    <a:lnTo>
                      <a:pt x="943" y="162"/>
                    </a:lnTo>
                    <a:lnTo>
                      <a:pt x="941" y="164"/>
                    </a:lnTo>
                    <a:lnTo>
                      <a:pt x="939" y="166"/>
                    </a:lnTo>
                    <a:lnTo>
                      <a:pt x="936" y="164"/>
                    </a:lnTo>
                    <a:lnTo>
                      <a:pt x="934" y="166"/>
                    </a:lnTo>
                    <a:lnTo>
                      <a:pt x="939" y="173"/>
                    </a:lnTo>
                    <a:lnTo>
                      <a:pt x="937" y="173"/>
                    </a:lnTo>
                    <a:lnTo>
                      <a:pt x="937" y="175"/>
                    </a:lnTo>
                    <a:lnTo>
                      <a:pt x="939" y="175"/>
                    </a:lnTo>
                    <a:lnTo>
                      <a:pt x="939" y="180"/>
                    </a:lnTo>
                    <a:lnTo>
                      <a:pt x="945" y="176"/>
                    </a:lnTo>
                    <a:lnTo>
                      <a:pt x="941" y="187"/>
                    </a:lnTo>
                    <a:lnTo>
                      <a:pt x="943" y="191"/>
                    </a:lnTo>
                    <a:lnTo>
                      <a:pt x="955" y="209"/>
                    </a:lnTo>
                    <a:lnTo>
                      <a:pt x="955" y="210"/>
                    </a:lnTo>
                    <a:lnTo>
                      <a:pt x="953" y="212"/>
                    </a:lnTo>
                    <a:lnTo>
                      <a:pt x="953" y="216"/>
                    </a:lnTo>
                    <a:lnTo>
                      <a:pt x="955" y="219"/>
                    </a:lnTo>
                    <a:lnTo>
                      <a:pt x="953" y="221"/>
                    </a:lnTo>
                    <a:lnTo>
                      <a:pt x="953" y="223"/>
                    </a:lnTo>
                    <a:lnTo>
                      <a:pt x="948" y="225"/>
                    </a:lnTo>
                    <a:lnTo>
                      <a:pt x="943" y="230"/>
                    </a:lnTo>
                    <a:lnTo>
                      <a:pt x="943" y="234"/>
                    </a:lnTo>
                    <a:lnTo>
                      <a:pt x="934" y="244"/>
                    </a:lnTo>
                    <a:lnTo>
                      <a:pt x="928" y="246"/>
                    </a:lnTo>
                    <a:lnTo>
                      <a:pt x="927" y="248"/>
                    </a:lnTo>
                    <a:lnTo>
                      <a:pt x="923" y="253"/>
                    </a:lnTo>
                    <a:lnTo>
                      <a:pt x="921" y="251"/>
                    </a:lnTo>
                    <a:lnTo>
                      <a:pt x="921" y="251"/>
                    </a:lnTo>
                    <a:lnTo>
                      <a:pt x="920" y="248"/>
                    </a:lnTo>
                    <a:lnTo>
                      <a:pt x="914" y="243"/>
                    </a:lnTo>
                    <a:lnTo>
                      <a:pt x="911" y="239"/>
                    </a:lnTo>
                    <a:lnTo>
                      <a:pt x="909" y="243"/>
                    </a:lnTo>
                    <a:lnTo>
                      <a:pt x="909" y="244"/>
                    </a:lnTo>
                    <a:lnTo>
                      <a:pt x="912" y="250"/>
                    </a:lnTo>
                    <a:lnTo>
                      <a:pt x="914" y="253"/>
                    </a:lnTo>
                    <a:lnTo>
                      <a:pt x="916" y="259"/>
                    </a:lnTo>
                    <a:lnTo>
                      <a:pt x="916" y="260"/>
                    </a:lnTo>
                    <a:lnTo>
                      <a:pt x="914" y="259"/>
                    </a:lnTo>
                    <a:lnTo>
                      <a:pt x="912" y="259"/>
                    </a:lnTo>
                    <a:lnTo>
                      <a:pt x="907" y="255"/>
                    </a:lnTo>
                    <a:lnTo>
                      <a:pt x="905" y="253"/>
                    </a:lnTo>
                    <a:lnTo>
                      <a:pt x="905" y="251"/>
                    </a:lnTo>
                    <a:lnTo>
                      <a:pt x="903" y="251"/>
                    </a:lnTo>
                    <a:lnTo>
                      <a:pt x="903" y="259"/>
                    </a:lnTo>
                    <a:lnTo>
                      <a:pt x="898" y="257"/>
                    </a:lnTo>
                    <a:lnTo>
                      <a:pt x="896" y="259"/>
                    </a:lnTo>
                    <a:lnTo>
                      <a:pt x="893" y="255"/>
                    </a:lnTo>
                    <a:lnTo>
                      <a:pt x="893" y="257"/>
                    </a:lnTo>
                    <a:lnTo>
                      <a:pt x="889" y="244"/>
                    </a:lnTo>
                    <a:lnTo>
                      <a:pt x="887" y="244"/>
                    </a:lnTo>
                    <a:lnTo>
                      <a:pt x="882" y="248"/>
                    </a:lnTo>
                    <a:lnTo>
                      <a:pt x="882" y="248"/>
                    </a:lnTo>
                    <a:lnTo>
                      <a:pt x="880" y="248"/>
                    </a:lnTo>
                    <a:lnTo>
                      <a:pt x="871" y="244"/>
                    </a:lnTo>
                    <a:lnTo>
                      <a:pt x="868" y="248"/>
                    </a:lnTo>
                    <a:lnTo>
                      <a:pt x="870" y="250"/>
                    </a:lnTo>
                    <a:lnTo>
                      <a:pt x="868" y="250"/>
                    </a:lnTo>
                    <a:lnTo>
                      <a:pt x="868" y="253"/>
                    </a:lnTo>
                    <a:lnTo>
                      <a:pt x="875" y="257"/>
                    </a:lnTo>
                    <a:lnTo>
                      <a:pt x="878" y="257"/>
                    </a:lnTo>
                    <a:lnTo>
                      <a:pt x="880" y="259"/>
                    </a:lnTo>
                    <a:lnTo>
                      <a:pt x="878" y="264"/>
                    </a:lnTo>
                    <a:lnTo>
                      <a:pt x="878" y="266"/>
                    </a:lnTo>
                    <a:lnTo>
                      <a:pt x="878" y="268"/>
                    </a:lnTo>
                    <a:lnTo>
                      <a:pt x="871" y="278"/>
                    </a:lnTo>
                    <a:lnTo>
                      <a:pt x="870" y="280"/>
                    </a:lnTo>
                    <a:lnTo>
                      <a:pt x="868" y="284"/>
                    </a:lnTo>
                    <a:lnTo>
                      <a:pt x="864" y="284"/>
                    </a:lnTo>
                    <a:lnTo>
                      <a:pt x="862" y="289"/>
                    </a:lnTo>
                    <a:lnTo>
                      <a:pt x="862" y="291"/>
                    </a:lnTo>
                    <a:lnTo>
                      <a:pt x="848" y="293"/>
                    </a:lnTo>
                    <a:lnTo>
                      <a:pt x="845" y="287"/>
                    </a:lnTo>
                    <a:lnTo>
                      <a:pt x="836" y="280"/>
                    </a:lnTo>
                    <a:lnTo>
                      <a:pt x="836" y="280"/>
                    </a:lnTo>
                    <a:lnTo>
                      <a:pt x="830" y="276"/>
                    </a:lnTo>
                    <a:lnTo>
                      <a:pt x="823" y="271"/>
                    </a:lnTo>
                    <a:lnTo>
                      <a:pt x="821" y="271"/>
                    </a:lnTo>
                    <a:lnTo>
                      <a:pt x="820" y="273"/>
                    </a:lnTo>
                    <a:lnTo>
                      <a:pt x="814" y="271"/>
                    </a:lnTo>
                    <a:lnTo>
                      <a:pt x="812" y="275"/>
                    </a:lnTo>
                    <a:lnTo>
                      <a:pt x="818" y="278"/>
                    </a:lnTo>
                    <a:lnTo>
                      <a:pt x="830" y="293"/>
                    </a:lnTo>
                    <a:lnTo>
                      <a:pt x="846" y="296"/>
                    </a:lnTo>
                    <a:lnTo>
                      <a:pt x="848" y="296"/>
                    </a:lnTo>
                    <a:lnTo>
                      <a:pt x="862" y="296"/>
                    </a:lnTo>
                    <a:lnTo>
                      <a:pt x="864" y="298"/>
                    </a:lnTo>
                    <a:lnTo>
                      <a:pt x="864" y="298"/>
                    </a:lnTo>
                    <a:lnTo>
                      <a:pt x="862" y="305"/>
                    </a:lnTo>
                    <a:lnTo>
                      <a:pt x="862" y="307"/>
                    </a:lnTo>
                    <a:lnTo>
                      <a:pt x="861" y="310"/>
                    </a:lnTo>
                    <a:lnTo>
                      <a:pt x="859" y="316"/>
                    </a:lnTo>
                    <a:lnTo>
                      <a:pt x="857" y="318"/>
                    </a:lnTo>
                    <a:lnTo>
                      <a:pt x="853" y="323"/>
                    </a:lnTo>
                    <a:lnTo>
                      <a:pt x="850" y="325"/>
                    </a:lnTo>
                    <a:lnTo>
                      <a:pt x="850" y="328"/>
                    </a:lnTo>
                    <a:lnTo>
                      <a:pt x="846" y="337"/>
                    </a:lnTo>
                    <a:lnTo>
                      <a:pt x="845" y="337"/>
                    </a:lnTo>
                    <a:lnTo>
                      <a:pt x="843" y="341"/>
                    </a:lnTo>
                    <a:lnTo>
                      <a:pt x="837" y="343"/>
                    </a:lnTo>
                    <a:lnTo>
                      <a:pt x="830" y="341"/>
                    </a:lnTo>
                    <a:lnTo>
                      <a:pt x="830" y="344"/>
                    </a:lnTo>
                    <a:lnTo>
                      <a:pt x="823" y="339"/>
                    </a:lnTo>
                    <a:lnTo>
                      <a:pt x="823" y="341"/>
                    </a:lnTo>
                    <a:lnTo>
                      <a:pt x="823" y="343"/>
                    </a:lnTo>
                    <a:lnTo>
                      <a:pt x="821" y="339"/>
                    </a:lnTo>
                    <a:lnTo>
                      <a:pt x="821" y="339"/>
                    </a:lnTo>
                    <a:lnTo>
                      <a:pt x="818" y="337"/>
                    </a:lnTo>
                    <a:lnTo>
                      <a:pt x="818" y="337"/>
                    </a:lnTo>
                    <a:lnTo>
                      <a:pt x="818" y="339"/>
                    </a:lnTo>
                    <a:lnTo>
                      <a:pt x="818" y="343"/>
                    </a:lnTo>
                    <a:lnTo>
                      <a:pt x="820" y="344"/>
                    </a:lnTo>
                    <a:lnTo>
                      <a:pt x="818" y="346"/>
                    </a:lnTo>
                    <a:lnTo>
                      <a:pt x="818" y="346"/>
                    </a:lnTo>
                    <a:lnTo>
                      <a:pt x="814" y="344"/>
                    </a:lnTo>
                    <a:lnTo>
                      <a:pt x="814" y="348"/>
                    </a:lnTo>
                    <a:lnTo>
                      <a:pt x="816" y="350"/>
                    </a:lnTo>
                    <a:lnTo>
                      <a:pt x="812" y="357"/>
                    </a:lnTo>
                    <a:lnTo>
                      <a:pt x="811" y="357"/>
                    </a:lnTo>
                    <a:lnTo>
                      <a:pt x="809" y="359"/>
                    </a:lnTo>
                    <a:lnTo>
                      <a:pt x="809" y="360"/>
                    </a:lnTo>
                    <a:lnTo>
                      <a:pt x="807" y="359"/>
                    </a:lnTo>
                    <a:lnTo>
                      <a:pt x="805" y="362"/>
                    </a:lnTo>
                    <a:lnTo>
                      <a:pt x="803" y="359"/>
                    </a:lnTo>
                    <a:lnTo>
                      <a:pt x="802" y="359"/>
                    </a:lnTo>
                    <a:lnTo>
                      <a:pt x="800" y="357"/>
                    </a:lnTo>
                    <a:lnTo>
                      <a:pt x="796" y="355"/>
                    </a:lnTo>
                    <a:lnTo>
                      <a:pt x="793" y="351"/>
                    </a:lnTo>
                    <a:lnTo>
                      <a:pt x="791" y="353"/>
                    </a:lnTo>
                    <a:lnTo>
                      <a:pt x="791" y="350"/>
                    </a:lnTo>
                    <a:lnTo>
                      <a:pt x="789" y="351"/>
                    </a:lnTo>
                    <a:lnTo>
                      <a:pt x="786" y="351"/>
                    </a:lnTo>
                    <a:lnTo>
                      <a:pt x="784" y="351"/>
                    </a:lnTo>
                    <a:lnTo>
                      <a:pt x="784" y="351"/>
                    </a:lnTo>
                    <a:lnTo>
                      <a:pt x="780" y="351"/>
                    </a:lnTo>
                    <a:lnTo>
                      <a:pt x="775" y="350"/>
                    </a:lnTo>
                    <a:lnTo>
                      <a:pt x="773" y="348"/>
                    </a:lnTo>
                    <a:lnTo>
                      <a:pt x="761" y="341"/>
                    </a:lnTo>
                    <a:lnTo>
                      <a:pt x="757" y="346"/>
                    </a:lnTo>
                    <a:lnTo>
                      <a:pt x="759" y="348"/>
                    </a:lnTo>
                    <a:lnTo>
                      <a:pt x="761" y="350"/>
                    </a:lnTo>
                    <a:lnTo>
                      <a:pt x="762" y="348"/>
                    </a:lnTo>
                    <a:lnTo>
                      <a:pt x="762" y="346"/>
                    </a:lnTo>
                    <a:lnTo>
                      <a:pt x="762" y="344"/>
                    </a:lnTo>
                    <a:lnTo>
                      <a:pt x="764" y="348"/>
                    </a:lnTo>
                    <a:lnTo>
                      <a:pt x="773" y="350"/>
                    </a:lnTo>
                    <a:lnTo>
                      <a:pt x="775" y="351"/>
                    </a:lnTo>
                    <a:lnTo>
                      <a:pt x="775" y="353"/>
                    </a:lnTo>
                    <a:lnTo>
                      <a:pt x="777" y="351"/>
                    </a:lnTo>
                    <a:lnTo>
                      <a:pt x="782" y="353"/>
                    </a:lnTo>
                    <a:lnTo>
                      <a:pt x="782" y="355"/>
                    </a:lnTo>
                    <a:lnTo>
                      <a:pt x="780" y="357"/>
                    </a:lnTo>
                    <a:lnTo>
                      <a:pt x="778" y="359"/>
                    </a:lnTo>
                    <a:lnTo>
                      <a:pt x="780" y="359"/>
                    </a:lnTo>
                    <a:lnTo>
                      <a:pt x="782" y="357"/>
                    </a:lnTo>
                    <a:lnTo>
                      <a:pt x="784" y="355"/>
                    </a:lnTo>
                    <a:lnTo>
                      <a:pt x="787" y="353"/>
                    </a:lnTo>
                    <a:lnTo>
                      <a:pt x="789" y="355"/>
                    </a:lnTo>
                    <a:lnTo>
                      <a:pt x="791" y="357"/>
                    </a:lnTo>
                    <a:lnTo>
                      <a:pt x="795" y="360"/>
                    </a:lnTo>
                    <a:lnTo>
                      <a:pt x="798" y="360"/>
                    </a:lnTo>
                    <a:lnTo>
                      <a:pt x="798" y="362"/>
                    </a:lnTo>
                    <a:lnTo>
                      <a:pt x="802" y="362"/>
                    </a:lnTo>
                    <a:lnTo>
                      <a:pt x="802" y="364"/>
                    </a:lnTo>
                    <a:lnTo>
                      <a:pt x="802" y="364"/>
                    </a:lnTo>
                    <a:lnTo>
                      <a:pt x="803" y="368"/>
                    </a:lnTo>
                    <a:lnTo>
                      <a:pt x="805" y="376"/>
                    </a:lnTo>
                    <a:lnTo>
                      <a:pt x="805" y="380"/>
                    </a:lnTo>
                    <a:lnTo>
                      <a:pt x="805" y="382"/>
                    </a:lnTo>
                    <a:lnTo>
                      <a:pt x="803" y="384"/>
                    </a:lnTo>
                    <a:lnTo>
                      <a:pt x="796" y="384"/>
                    </a:lnTo>
                    <a:lnTo>
                      <a:pt x="795" y="385"/>
                    </a:lnTo>
                    <a:lnTo>
                      <a:pt x="793" y="385"/>
                    </a:lnTo>
                    <a:lnTo>
                      <a:pt x="782" y="385"/>
                    </a:lnTo>
                    <a:lnTo>
                      <a:pt x="780" y="387"/>
                    </a:lnTo>
                    <a:lnTo>
                      <a:pt x="777" y="385"/>
                    </a:lnTo>
                    <a:lnTo>
                      <a:pt x="775" y="387"/>
                    </a:lnTo>
                    <a:lnTo>
                      <a:pt x="778" y="393"/>
                    </a:lnTo>
                    <a:lnTo>
                      <a:pt x="782" y="391"/>
                    </a:lnTo>
                    <a:lnTo>
                      <a:pt x="784" y="394"/>
                    </a:lnTo>
                    <a:lnTo>
                      <a:pt x="780" y="394"/>
                    </a:lnTo>
                    <a:lnTo>
                      <a:pt x="777" y="394"/>
                    </a:lnTo>
                    <a:lnTo>
                      <a:pt x="773" y="394"/>
                    </a:lnTo>
                    <a:lnTo>
                      <a:pt x="773" y="403"/>
                    </a:lnTo>
                    <a:lnTo>
                      <a:pt x="773" y="412"/>
                    </a:lnTo>
                    <a:lnTo>
                      <a:pt x="770" y="407"/>
                    </a:lnTo>
                    <a:lnTo>
                      <a:pt x="768" y="407"/>
                    </a:lnTo>
                    <a:lnTo>
                      <a:pt x="768" y="409"/>
                    </a:lnTo>
                    <a:lnTo>
                      <a:pt x="764" y="410"/>
                    </a:lnTo>
                    <a:lnTo>
                      <a:pt x="766" y="412"/>
                    </a:lnTo>
                    <a:lnTo>
                      <a:pt x="764" y="416"/>
                    </a:lnTo>
                    <a:lnTo>
                      <a:pt x="764" y="416"/>
                    </a:lnTo>
                    <a:lnTo>
                      <a:pt x="759" y="416"/>
                    </a:lnTo>
                    <a:lnTo>
                      <a:pt x="761" y="419"/>
                    </a:lnTo>
                    <a:lnTo>
                      <a:pt x="762" y="421"/>
                    </a:lnTo>
                    <a:lnTo>
                      <a:pt x="759" y="426"/>
                    </a:lnTo>
                    <a:lnTo>
                      <a:pt x="750" y="434"/>
                    </a:lnTo>
                    <a:lnTo>
                      <a:pt x="743" y="434"/>
                    </a:lnTo>
                    <a:lnTo>
                      <a:pt x="743" y="435"/>
                    </a:lnTo>
                    <a:lnTo>
                      <a:pt x="748" y="439"/>
                    </a:lnTo>
                    <a:lnTo>
                      <a:pt x="746" y="450"/>
                    </a:lnTo>
                    <a:lnTo>
                      <a:pt x="746" y="451"/>
                    </a:lnTo>
                    <a:lnTo>
                      <a:pt x="743" y="451"/>
                    </a:lnTo>
                    <a:lnTo>
                      <a:pt x="743" y="459"/>
                    </a:lnTo>
                    <a:lnTo>
                      <a:pt x="743" y="462"/>
                    </a:lnTo>
                    <a:lnTo>
                      <a:pt x="739" y="462"/>
                    </a:lnTo>
                    <a:lnTo>
                      <a:pt x="739" y="464"/>
                    </a:lnTo>
                    <a:lnTo>
                      <a:pt x="739" y="505"/>
                    </a:lnTo>
                    <a:lnTo>
                      <a:pt x="736" y="510"/>
                    </a:lnTo>
                    <a:lnTo>
                      <a:pt x="739" y="510"/>
                    </a:lnTo>
                    <a:lnTo>
                      <a:pt x="741" y="518"/>
                    </a:lnTo>
                    <a:lnTo>
                      <a:pt x="743" y="519"/>
                    </a:lnTo>
                    <a:lnTo>
                      <a:pt x="745" y="519"/>
                    </a:lnTo>
                    <a:lnTo>
                      <a:pt x="745" y="518"/>
                    </a:lnTo>
                    <a:lnTo>
                      <a:pt x="746" y="526"/>
                    </a:lnTo>
                    <a:lnTo>
                      <a:pt x="746" y="525"/>
                    </a:lnTo>
                    <a:lnTo>
                      <a:pt x="748" y="518"/>
                    </a:lnTo>
                    <a:lnTo>
                      <a:pt x="748" y="518"/>
                    </a:lnTo>
                    <a:lnTo>
                      <a:pt x="757" y="518"/>
                    </a:lnTo>
                    <a:lnTo>
                      <a:pt x="759" y="519"/>
                    </a:lnTo>
                    <a:lnTo>
                      <a:pt x="761" y="519"/>
                    </a:lnTo>
                    <a:lnTo>
                      <a:pt x="762" y="518"/>
                    </a:lnTo>
                    <a:lnTo>
                      <a:pt x="764" y="519"/>
                    </a:lnTo>
                    <a:lnTo>
                      <a:pt x="764" y="521"/>
                    </a:lnTo>
                    <a:lnTo>
                      <a:pt x="766" y="530"/>
                    </a:lnTo>
                    <a:lnTo>
                      <a:pt x="771" y="543"/>
                    </a:lnTo>
                    <a:lnTo>
                      <a:pt x="771" y="551"/>
                    </a:lnTo>
                    <a:lnTo>
                      <a:pt x="775" y="557"/>
                    </a:lnTo>
                    <a:lnTo>
                      <a:pt x="775" y="568"/>
                    </a:lnTo>
                    <a:lnTo>
                      <a:pt x="775" y="571"/>
                    </a:lnTo>
                    <a:lnTo>
                      <a:pt x="771" y="573"/>
                    </a:lnTo>
                    <a:lnTo>
                      <a:pt x="771" y="575"/>
                    </a:lnTo>
                    <a:lnTo>
                      <a:pt x="777" y="571"/>
                    </a:lnTo>
                    <a:lnTo>
                      <a:pt x="777" y="573"/>
                    </a:lnTo>
                    <a:lnTo>
                      <a:pt x="778" y="573"/>
                    </a:lnTo>
                    <a:lnTo>
                      <a:pt x="796" y="564"/>
                    </a:lnTo>
                    <a:lnTo>
                      <a:pt x="803" y="566"/>
                    </a:lnTo>
                    <a:lnTo>
                      <a:pt x="809" y="569"/>
                    </a:lnTo>
                    <a:lnTo>
                      <a:pt x="811" y="571"/>
                    </a:lnTo>
                    <a:lnTo>
                      <a:pt x="821" y="576"/>
                    </a:lnTo>
                    <a:lnTo>
                      <a:pt x="828" y="578"/>
                    </a:lnTo>
                    <a:lnTo>
                      <a:pt x="845" y="587"/>
                    </a:lnTo>
                    <a:lnTo>
                      <a:pt x="852" y="598"/>
                    </a:lnTo>
                    <a:lnTo>
                      <a:pt x="852" y="600"/>
                    </a:lnTo>
                    <a:lnTo>
                      <a:pt x="853" y="601"/>
                    </a:lnTo>
                    <a:lnTo>
                      <a:pt x="855" y="601"/>
                    </a:lnTo>
                    <a:lnTo>
                      <a:pt x="857" y="601"/>
                    </a:lnTo>
                    <a:lnTo>
                      <a:pt x="857" y="603"/>
                    </a:lnTo>
                    <a:lnTo>
                      <a:pt x="861" y="603"/>
                    </a:lnTo>
                    <a:lnTo>
                      <a:pt x="862" y="603"/>
                    </a:lnTo>
                    <a:lnTo>
                      <a:pt x="864" y="603"/>
                    </a:lnTo>
                    <a:lnTo>
                      <a:pt x="868" y="607"/>
                    </a:lnTo>
                    <a:lnTo>
                      <a:pt x="880" y="610"/>
                    </a:lnTo>
                    <a:lnTo>
                      <a:pt x="884" y="612"/>
                    </a:lnTo>
                    <a:lnTo>
                      <a:pt x="884" y="616"/>
                    </a:lnTo>
                    <a:lnTo>
                      <a:pt x="889" y="618"/>
                    </a:lnTo>
                    <a:lnTo>
                      <a:pt x="889" y="619"/>
                    </a:lnTo>
                    <a:lnTo>
                      <a:pt x="884" y="634"/>
                    </a:lnTo>
                    <a:lnTo>
                      <a:pt x="891" y="621"/>
                    </a:lnTo>
                    <a:lnTo>
                      <a:pt x="923" y="623"/>
                    </a:lnTo>
                    <a:lnTo>
                      <a:pt x="925" y="621"/>
                    </a:lnTo>
                    <a:lnTo>
                      <a:pt x="928" y="621"/>
                    </a:lnTo>
                    <a:lnTo>
                      <a:pt x="928" y="625"/>
                    </a:lnTo>
                    <a:lnTo>
                      <a:pt x="930" y="623"/>
                    </a:lnTo>
                    <a:lnTo>
                      <a:pt x="934" y="625"/>
                    </a:lnTo>
                    <a:lnTo>
                      <a:pt x="936" y="626"/>
                    </a:lnTo>
                    <a:lnTo>
                      <a:pt x="937" y="625"/>
                    </a:lnTo>
                    <a:lnTo>
                      <a:pt x="939" y="632"/>
                    </a:lnTo>
                    <a:lnTo>
                      <a:pt x="937" y="653"/>
                    </a:lnTo>
                    <a:lnTo>
                      <a:pt x="939" y="659"/>
                    </a:lnTo>
                    <a:lnTo>
                      <a:pt x="939" y="676"/>
                    </a:lnTo>
                    <a:lnTo>
                      <a:pt x="939" y="678"/>
                    </a:lnTo>
                    <a:lnTo>
                      <a:pt x="937" y="684"/>
                    </a:lnTo>
                    <a:lnTo>
                      <a:pt x="939" y="685"/>
                    </a:lnTo>
                    <a:lnTo>
                      <a:pt x="941" y="687"/>
                    </a:lnTo>
                    <a:lnTo>
                      <a:pt x="941" y="689"/>
                    </a:lnTo>
                    <a:lnTo>
                      <a:pt x="945" y="693"/>
                    </a:lnTo>
                    <a:lnTo>
                      <a:pt x="946" y="693"/>
                    </a:lnTo>
                    <a:lnTo>
                      <a:pt x="948" y="696"/>
                    </a:lnTo>
                    <a:lnTo>
                      <a:pt x="952" y="701"/>
                    </a:lnTo>
                    <a:lnTo>
                      <a:pt x="952" y="701"/>
                    </a:lnTo>
                    <a:lnTo>
                      <a:pt x="948" y="703"/>
                    </a:lnTo>
                    <a:lnTo>
                      <a:pt x="941" y="709"/>
                    </a:lnTo>
                    <a:lnTo>
                      <a:pt x="941" y="709"/>
                    </a:lnTo>
                    <a:lnTo>
                      <a:pt x="950" y="705"/>
                    </a:lnTo>
                    <a:lnTo>
                      <a:pt x="953" y="705"/>
                    </a:lnTo>
                    <a:lnTo>
                      <a:pt x="964" y="716"/>
                    </a:lnTo>
                    <a:lnTo>
                      <a:pt x="966" y="723"/>
                    </a:lnTo>
                    <a:lnTo>
                      <a:pt x="966" y="726"/>
                    </a:lnTo>
                    <a:lnTo>
                      <a:pt x="959" y="734"/>
                    </a:lnTo>
                    <a:lnTo>
                      <a:pt x="968" y="726"/>
                    </a:lnTo>
                    <a:lnTo>
                      <a:pt x="970" y="726"/>
                    </a:lnTo>
                    <a:lnTo>
                      <a:pt x="973" y="730"/>
                    </a:lnTo>
                    <a:lnTo>
                      <a:pt x="975" y="730"/>
                    </a:lnTo>
                    <a:lnTo>
                      <a:pt x="978" y="734"/>
                    </a:lnTo>
                    <a:lnTo>
                      <a:pt x="980" y="734"/>
                    </a:lnTo>
                    <a:lnTo>
                      <a:pt x="978" y="725"/>
                    </a:lnTo>
                    <a:lnTo>
                      <a:pt x="980" y="723"/>
                    </a:lnTo>
                    <a:lnTo>
                      <a:pt x="982" y="723"/>
                    </a:lnTo>
                    <a:lnTo>
                      <a:pt x="982" y="719"/>
                    </a:lnTo>
                    <a:lnTo>
                      <a:pt x="986" y="719"/>
                    </a:lnTo>
                    <a:lnTo>
                      <a:pt x="987" y="719"/>
                    </a:lnTo>
                    <a:lnTo>
                      <a:pt x="987" y="719"/>
                    </a:lnTo>
                    <a:lnTo>
                      <a:pt x="991" y="723"/>
                    </a:lnTo>
                    <a:lnTo>
                      <a:pt x="991" y="728"/>
                    </a:lnTo>
                    <a:lnTo>
                      <a:pt x="993" y="728"/>
                    </a:lnTo>
                    <a:lnTo>
                      <a:pt x="996" y="726"/>
                    </a:lnTo>
                    <a:lnTo>
                      <a:pt x="996" y="725"/>
                    </a:lnTo>
                    <a:lnTo>
                      <a:pt x="996" y="723"/>
                    </a:lnTo>
                    <a:lnTo>
                      <a:pt x="996" y="721"/>
                    </a:lnTo>
                    <a:lnTo>
                      <a:pt x="995" y="721"/>
                    </a:lnTo>
                    <a:lnTo>
                      <a:pt x="991" y="716"/>
                    </a:lnTo>
                    <a:lnTo>
                      <a:pt x="991" y="714"/>
                    </a:lnTo>
                    <a:lnTo>
                      <a:pt x="995" y="712"/>
                    </a:lnTo>
                    <a:lnTo>
                      <a:pt x="995" y="712"/>
                    </a:lnTo>
                    <a:lnTo>
                      <a:pt x="996" y="710"/>
                    </a:lnTo>
                    <a:lnTo>
                      <a:pt x="1000" y="705"/>
                    </a:lnTo>
                    <a:lnTo>
                      <a:pt x="1002" y="703"/>
                    </a:lnTo>
                    <a:lnTo>
                      <a:pt x="1007" y="703"/>
                    </a:lnTo>
                    <a:lnTo>
                      <a:pt x="1009" y="703"/>
                    </a:lnTo>
                    <a:lnTo>
                      <a:pt x="1009" y="701"/>
                    </a:lnTo>
                    <a:lnTo>
                      <a:pt x="1003" y="703"/>
                    </a:lnTo>
                    <a:lnTo>
                      <a:pt x="1002" y="703"/>
                    </a:lnTo>
                    <a:lnTo>
                      <a:pt x="1000" y="701"/>
                    </a:lnTo>
                    <a:lnTo>
                      <a:pt x="998" y="696"/>
                    </a:lnTo>
                    <a:lnTo>
                      <a:pt x="996" y="696"/>
                    </a:lnTo>
                    <a:lnTo>
                      <a:pt x="995" y="691"/>
                    </a:lnTo>
                    <a:lnTo>
                      <a:pt x="995" y="689"/>
                    </a:lnTo>
                    <a:lnTo>
                      <a:pt x="996" y="687"/>
                    </a:lnTo>
                    <a:lnTo>
                      <a:pt x="995" y="687"/>
                    </a:lnTo>
                    <a:lnTo>
                      <a:pt x="993" y="660"/>
                    </a:lnTo>
                    <a:lnTo>
                      <a:pt x="984" y="643"/>
                    </a:lnTo>
                    <a:lnTo>
                      <a:pt x="980" y="641"/>
                    </a:lnTo>
                    <a:lnTo>
                      <a:pt x="1018" y="614"/>
                    </a:lnTo>
                    <a:lnTo>
                      <a:pt x="1012" y="618"/>
                    </a:lnTo>
                    <a:lnTo>
                      <a:pt x="1027" y="594"/>
                    </a:lnTo>
                    <a:lnTo>
                      <a:pt x="1030" y="596"/>
                    </a:lnTo>
                    <a:lnTo>
                      <a:pt x="1032" y="598"/>
                    </a:lnTo>
                    <a:lnTo>
                      <a:pt x="1036" y="596"/>
                    </a:lnTo>
                    <a:lnTo>
                      <a:pt x="1036" y="593"/>
                    </a:lnTo>
                    <a:lnTo>
                      <a:pt x="1034" y="593"/>
                    </a:lnTo>
                    <a:lnTo>
                      <a:pt x="1034" y="585"/>
                    </a:lnTo>
                    <a:lnTo>
                      <a:pt x="1032" y="584"/>
                    </a:lnTo>
                    <a:lnTo>
                      <a:pt x="1028" y="593"/>
                    </a:lnTo>
                    <a:lnTo>
                      <a:pt x="1027" y="593"/>
                    </a:lnTo>
                    <a:lnTo>
                      <a:pt x="1025" y="573"/>
                    </a:lnTo>
                    <a:lnTo>
                      <a:pt x="1025" y="571"/>
                    </a:lnTo>
                    <a:lnTo>
                      <a:pt x="1014" y="534"/>
                    </a:lnTo>
                    <a:lnTo>
                      <a:pt x="1012" y="534"/>
                    </a:lnTo>
                    <a:lnTo>
                      <a:pt x="995" y="519"/>
                    </a:lnTo>
                    <a:lnTo>
                      <a:pt x="995" y="518"/>
                    </a:lnTo>
                    <a:lnTo>
                      <a:pt x="996" y="516"/>
                    </a:lnTo>
                    <a:lnTo>
                      <a:pt x="995" y="510"/>
                    </a:lnTo>
                    <a:lnTo>
                      <a:pt x="995" y="509"/>
                    </a:lnTo>
                    <a:lnTo>
                      <a:pt x="996" y="509"/>
                    </a:lnTo>
                    <a:lnTo>
                      <a:pt x="1000" y="505"/>
                    </a:lnTo>
                    <a:lnTo>
                      <a:pt x="1005" y="505"/>
                    </a:lnTo>
                    <a:lnTo>
                      <a:pt x="1007" y="503"/>
                    </a:lnTo>
                    <a:lnTo>
                      <a:pt x="1012" y="503"/>
                    </a:lnTo>
                    <a:lnTo>
                      <a:pt x="1012" y="500"/>
                    </a:lnTo>
                    <a:lnTo>
                      <a:pt x="1011" y="498"/>
                    </a:lnTo>
                    <a:lnTo>
                      <a:pt x="1011" y="494"/>
                    </a:lnTo>
                    <a:lnTo>
                      <a:pt x="1011" y="491"/>
                    </a:lnTo>
                    <a:lnTo>
                      <a:pt x="1016" y="493"/>
                    </a:lnTo>
                    <a:lnTo>
                      <a:pt x="1016" y="494"/>
                    </a:lnTo>
                    <a:lnTo>
                      <a:pt x="1023" y="493"/>
                    </a:lnTo>
                    <a:lnTo>
                      <a:pt x="1018" y="491"/>
                    </a:lnTo>
                    <a:lnTo>
                      <a:pt x="1016" y="489"/>
                    </a:lnTo>
                    <a:lnTo>
                      <a:pt x="1018" y="484"/>
                    </a:lnTo>
                    <a:lnTo>
                      <a:pt x="1018" y="484"/>
                    </a:lnTo>
                    <a:lnTo>
                      <a:pt x="1020" y="480"/>
                    </a:lnTo>
                    <a:lnTo>
                      <a:pt x="1018" y="482"/>
                    </a:lnTo>
                    <a:lnTo>
                      <a:pt x="1012" y="480"/>
                    </a:lnTo>
                    <a:lnTo>
                      <a:pt x="1012" y="478"/>
                    </a:lnTo>
                    <a:lnTo>
                      <a:pt x="1012" y="478"/>
                    </a:lnTo>
                    <a:lnTo>
                      <a:pt x="1014" y="476"/>
                    </a:lnTo>
                    <a:lnTo>
                      <a:pt x="1016" y="475"/>
                    </a:lnTo>
                    <a:lnTo>
                      <a:pt x="1014" y="473"/>
                    </a:lnTo>
                    <a:lnTo>
                      <a:pt x="1012" y="471"/>
                    </a:lnTo>
                    <a:lnTo>
                      <a:pt x="1011" y="466"/>
                    </a:lnTo>
                    <a:lnTo>
                      <a:pt x="1012" y="460"/>
                    </a:lnTo>
                    <a:lnTo>
                      <a:pt x="1011" y="460"/>
                    </a:lnTo>
                    <a:lnTo>
                      <a:pt x="1011" y="459"/>
                    </a:lnTo>
                    <a:lnTo>
                      <a:pt x="1016" y="457"/>
                    </a:lnTo>
                    <a:lnTo>
                      <a:pt x="1016" y="457"/>
                    </a:lnTo>
                    <a:lnTo>
                      <a:pt x="1012" y="457"/>
                    </a:lnTo>
                    <a:lnTo>
                      <a:pt x="1011" y="455"/>
                    </a:lnTo>
                    <a:lnTo>
                      <a:pt x="1009" y="457"/>
                    </a:lnTo>
                    <a:lnTo>
                      <a:pt x="1007" y="455"/>
                    </a:lnTo>
                    <a:lnTo>
                      <a:pt x="1005" y="453"/>
                    </a:lnTo>
                    <a:lnTo>
                      <a:pt x="1005" y="450"/>
                    </a:lnTo>
                    <a:lnTo>
                      <a:pt x="1007" y="444"/>
                    </a:lnTo>
                    <a:lnTo>
                      <a:pt x="1009" y="439"/>
                    </a:lnTo>
                    <a:lnTo>
                      <a:pt x="1011" y="437"/>
                    </a:lnTo>
                    <a:lnTo>
                      <a:pt x="1011" y="434"/>
                    </a:lnTo>
                    <a:lnTo>
                      <a:pt x="1012" y="434"/>
                    </a:lnTo>
                    <a:lnTo>
                      <a:pt x="1012" y="432"/>
                    </a:lnTo>
                    <a:lnTo>
                      <a:pt x="1014" y="428"/>
                    </a:lnTo>
                    <a:lnTo>
                      <a:pt x="1016" y="428"/>
                    </a:lnTo>
                    <a:lnTo>
                      <a:pt x="1016" y="423"/>
                    </a:lnTo>
                    <a:lnTo>
                      <a:pt x="1014" y="425"/>
                    </a:lnTo>
                    <a:lnTo>
                      <a:pt x="1012" y="426"/>
                    </a:lnTo>
                    <a:lnTo>
                      <a:pt x="1011" y="425"/>
                    </a:lnTo>
                    <a:lnTo>
                      <a:pt x="1009" y="423"/>
                    </a:lnTo>
                    <a:lnTo>
                      <a:pt x="1005" y="421"/>
                    </a:lnTo>
                    <a:lnTo>
                      <a:pt x="1005" y="418"/>
                    </a:lnTo>
                    <a:lnTo>
                      <a:pt x="1003" y="414"/>
                    </a:lnTo>
                    <a:lnTo>
                      <a:pt x="1003" y="407"/>
                    </a:lnTo>
                    <a:lnTo>
                      <a:pt x="1003" y="405"/>
                    </a:lnTo>
                    <a:lnTo>
                      <a:pt x="1007" y="403"/>
                    </a:lnTo>
                    <a:lnTo>
                      <a:pt x="1012" y="394"/>
                    </a:lnTo>
                    <a:lnTo>
                      <a:pt x="1014" y="394"/>
                    </a:lnTo>
                    <a:lnTo>
                      <a:pt x="1014" y="396"/>
                    </a:lnTo>
                    <a:lnTo>
                      <a:pt x="1025" y="396"/>
                    </a:lnTo>
                    <a:lnTo>
                      <a:pt x="1034" y="398"/>
                    </a:lnTo>
                    <a:lnTo>
                      <a:pt x="1036" y="400"/>
                    </a:lnTo>
                    <a:lnTo>
                      <a:pt x="1036" y="400"/>
                    </a:lnTo>
                    <a:lnTo>
                      <a:pt x="1039" y="401"/>
                    </a:lnTo>
                    <a:lnTo>
                      <a:pt x="1043" y="401"/>
                    </a:lnTo>
                    <a:lnTo>
                      <a:pt x="1046" y="403"/>
                    </a:lnTo>
                    <a:lnTo>
                      <a:pt x="1045" y="405"/>
                    </a:lnTo>
                    <a:lnTo>
                      <a:pt x="1045" y="407"/>
                    </a:lnTo>
                    <a:lnTo>
                      <a:pt x="1048" y="405"/>
                    </a:lnTo>
                    <a:lnTo>
                      <a:pt x="1053" y="403"/>
                    </a:lnTo>
                    <a:lnTo>
                      <a:pt x="1053" y="405"/>
                    </a:lnTo>
                    <a:lnTo>
                      <a:pt x="1053" y="409"/>
                    </a:lnTo>
                    <a:lnTo>
                      <a:pt x="1059" y="407"/>
                    </a:lnTo>
                    <a:lnTo>
                      <a:pt x="1059" y="407"/>
                    </a:lnTo>
                    <a:lnTo>
                      <a:pt x="1061" y="405"/>
                    </a:lnTo>
                    <a:lnTo>
                      <a:pt x="1070" y="401"/>
                    </a:lnTo>
                    <a:lnTo>
                      <a:pt x="1073" y="398"/>
                    </a:lnTo>
                    <a:lnTo>
                      <a:pt x="1084" y="403"/>
                    </a:lnTo>
                    <a:lnTo>
                      <a:pt x="1086" y="407"/>
                    </a:lnTo>
                    <a:lnTo>
                      <a:pt x="1089" y="409"/>
                    </a:lnTo>
                    <a:lnTo>
                      <a:pt x="1093" y="409"/>
                    </a:lnTo>
                    <a:lnTo>
                      <a:pt x="1093" y="410"/>
                    </a:lnTo>
                    <a:lnTo>
                      <a:pt x="1095" y="412"/>
                    </a:lnTo>
                    <a:lnTo>
                      <a:pt x="1091" y="419"/>
                    </a:lnTo>
                    <a:lnTo>
                      <a:pt x="1091" y="419"/>
                    </a:lnTo>
                    <a:lnTo>
                      <a:pt x="1093" y="419"/>
                    </a:lnTo>
                    <a:lnTo>
                      <a:pt x="1095" y="419"/>
                    </a:lnTo>
                    <a:lnTo>
                      <a:pt x="1095" y="416"/>
                    </a:lnTo>
                    <a:lnTo>
                      <a:pt x="1096" y="416"/>
                    </a:lnTo>
                    <a:lnTo>
                      <a:pt x="1098" y="416"/>
                    </a:lnTo>
                    <a:lnTo>
                      <a:pt x="1098" y="421"/>
                    </a:lnTo>
                    <a:lnTo>
                      <a:pt x="1102" y="423"/>
                    </a:lnTo>
                    <a:lnTo>
                      <a:pt x="1102" y="425"/>
                    </a:lnTo>
                    <a:lnTo>
                      <a:pt x="1100" y="426"/>
                    </a:lnTo>
                    <a:lnTo>
                      <a:pt x="1100" y="430"/>
                    </a:lnTo>
                    <a:lnTo>
                      <a:pt x="1102" y="428"/>
                    </a:lnTo>
                    <a:lnTo>
                      <a:pt x="1103" y="426"/>
                    </a:lnTo>
                    <a:lnTo>
                      <a:pt x="1105" y="425"/>
                    </a:lnTo>
                    <a:lnTo>
                      <a:pt x="1109" y="426"/>
                    </a:lnTo>
                    <a:lnTo>
                      <a:pt x="1111" y="428"/>
                    </a:lnTo>
                    <a:lnTo>
                      <a:pt x="1109" y="430"/>
                    </a:lnTo>
                    <a:lnTo>
                      <a:pt x="1107" y="430"/>
                    </a:lnTo>
                    <a:lnTo>
                      <a:pt x="1105" y="432"/>
                    </a:lnTo>
                    <a:lnTo>
                      <a:pt x="1105" y="435"/>
                    </a:lnTo>
                    <a:lnTo>
                      <a:pt x="1107" y="439"/>
                    </a:lnTo>
                    <a:lnTo>
                      <a:pt x="1111" y="439"/>
                    </a:lnTo>
                    <a:lnTo>
                      <a:pt x="1109" y="441"/>
                    </a:lnTo>
                    <a:lnTo>
                      <a:pt x="1109" y="443"/>
                    </a:lnTo>
                    <a:lnTo>
                      <a:pt x="1114" y="441"/>
                    </a:lnTo>
                    <a:lnTo>
                      <a:pt x="1118" y="443"/>
                    </a:lnTo>
                    <a:lnTo>
                      <a:pt x="1120" y="444"/>
                    </a:lnTo>
                    <a:lnTo>
                      <a:pt x="1120" y="448"/>
                    </a:lnTo>
                    <a:lnTo>
                      <a:pt x="1121" y="446"/>
                    </a:lnTo>
                    <a:lnTo>
                      <a:pt x="1127" y="446"/>
                    </a:lnTo>
                    <a:lnTo>
                      <a:pt x="1130" y="444"/>
                    </a:lnTo>
                    <a:lnTo>
                      <a:pt x="1132" y="446"/>
                    </a:lnTo>
                    <a:lnTo>
                      <a:pt x="1132" y="450"/>
                    </a:lnTo>
                    <a:lnTo>
                      <a:pt x="1132" y="451"/>
                    </a:lnTo>
                    <a:lnTo>
                      <a:pt x="1134" y="451"/>
                    </a:lnTo>
                    <a:lnTo>
                      <a:pt x="1139" y="448"/>
                    </a:lnTo>
                    <a:lnTo>
                      <a:pt x="1139" y="446"/>
                    </a:lnTo>
                    <a:lnTo>
                      <a:pt x="1141" y="446"/>
                    </a:lnTo>
                    <a:lnTo>
                      <a:pt x="1145" y="450"/>
                    </a:lnTo>
                    <a:lnTo>
                      <a:pt x="1145" y="451"/>
                    </a:lnTo>
                    <a:lnTo>
                      <a:pt x="1145" y="453"/>
                    </a:lnTo>
                    <a:lnTo>
                      <a:pt x="1141" y="457"/>
                    </a:lnTo>
                    <a:lnTo>
                      <a:pt x="1139" y="462"/>
                    </a:lnTo>
                    <a:lnTo>
                      <a:pt x="1141" y="466"/>
                    </a:lnTo>
                    <a:lnTo>
                      <a:pt x="1141" y="468"/>
                    </a:lnTo>
                    <a:lnTo>
                      <a:pt x="1141" y="468"/>
                    </a:lnTo>
                    <a:lnTo>
                      <a:pt x="1143" y="471"/>
                    </a:lnTo>
                    <a:lnTo>
                      <a:pt x="1145" y="476"/>
                    </a:lnTo>
                    <a:lnTo>
                      <a:pt x="1141" y="476"/>
                    </a:lnTo>
                    <a:lnTo>
                      <a:pt x="1141" y="478"/>
                    </a:lnTo>
                    <a:lnTo>
                      <a:pt x="1139" y="480"/>
                    </a:lnTo>
                    <a:lnTo>
                      <a:pt x="1123" y="478"/>
                    </a:lnTo>
                    <a:lnTo>
                      <a:pt x="1120" y="476"/>
                    </a:lnTo>
                    <a:lnTo>
                      <a:pt x="1118" y="476"/>
                    </a:lnTo>
                    <a:lnTo>
                      <a:pt x="1116" y="478"/>
                    </a:lnTo>
                    <a:lnTo>
                      <a:pt x="1121" y="478"/>
                    </a:lnTo>
                    <a:lnTo>
                      <a:pt x="1127" y="482"/>
                    </a:lnTo>
                    <a:lnTo>
                      <a:pt x="1137" y="482"/>
                    </a:lnTo>
                    <a:lnTo>
                      <a:pt x="1141" y="484"/>
                    </a:lnTo>
                    <a:lnTo>
                      <a:pt x="1145" y="485"/>
                    </a:lnTo>
                    <a:lnTo>
                      <a:pt x="1145" y="489"/>
                    </a:lnTo>
                    <a:lnTo>
                      <a:pt x="1145" y="489"/>
                    </a:lnTo>
                    <a:lnTo>
                      <a:pt x="1145" y="491"/>
                    </a:lnTo>
                    <a:lnTo>
                      <a:pt x="1141" y="500"/>
                    </a:lnTo>
                    <a:lnTo>
                      <a:pt x="1141" y="501"/>
                    </a:lnTo>
                    <a:lnTo>
                      <a:pt x="1146" y="500"/>
                    </a:lnTo>
                    <a:lnTo>
                      <a:pt x="1148" y="501"/>
                    </a:lnTo>
                    <a:lnTo>
                      <a:pt x="1148" y="503"/>
                    </a:lnTo>
                    <a:lnTo>
                      <a:pt x="1145" y="505"/>
                    </a:lnTo>
                    <a:lnTo>
                      <a:pt x="1145" y="507"/>
                    </a:lnTo>
                    <a:lnTo>
                      <a:pt x="1146" y="507"/>
                    </a:lnTo>
                    <a:lnTo>
                      <a:pt x="1148" y="509"/>
                    </a:lnTo>
                    <a:lnTo>
                      <a:pt x="1148" y="510"/>
                    </a:lnTo>
                    <a:lnTo>
                      <a:pt x="1148" y="512"/>
                    </a:lnTo>
                    <a:lnTo>
                      <a:pt x="1146" y="512"/>
                    </a:lnTo>
                    <a:lnTo>
                      <a:pt x="1146" y="510"/>
                    </a:lnTo>
                    <a:lnTo>
                      <a:pt x="1141" y="516"/>
                    </a:lnTo>
                    <a:lnTo>
                      <a:pt x="1139" y="512"/>
                    </a:lnTo>
                    <a:lnTo>
                      <a:pt x="1137" y="510"/>
                    </a:lnTo>
                    <a:lnTo>
                      <a:pt x="1136" y="512"/>
                    </a:lnTo>
                    <a:lnTo>
                      <a:pt x="1137" y="516"/>
                    </a:lnTo>
                    <a:lnTo>
                      <a:pt x="1137" y="518"/>
                    </a:lnTo>
                    <a:lnTo>
                      <a:pt x="1130" y="518"/>
                    </a:lnTo>
                    <a:lnTo>
                      <a:pt x="1132" y="519"/>
                    </a:lnTo>
                    <a:lnTo>
                      <a:pt x="1137" y="519"/>
                    </a:lnTo>
                    <a:lnTo>
                      <a:pt x="1139" y="521"/>
                    </a:lnTo>
                    <a:lnTo>
                      <a:pt x="1146" y="516"/>
                    </a:lnTo>
                    <a:lnTo>
                      <a:pt x="1157" y="514"/>
                    </a:lnTo>
                    <a:lnTo>
                      <a:pt x="1161" y="516"/>
                    </a:lnTo>
                    <a:lnTo>
                      <a:pt x="1162" y="523"/>
                    </a:lnTo>
                    <a:lnTo>
                      <a:pt x="1162" y="523"/>
                    </a:lnTo>
                    <a:lnTo>
                      <a:pt x="1164" y="528"/>
                    </a:lnTo>
                    <a:lnTo>
                      <a:pt x="1162" y="537"/>
                    </a:lnTo>
                    <a:lnTo>
                      <a:pt x="1146" y="546"/>
                    </a:lnTo>
                    <a:lnTo>
                      <a:pt x="1162" y="539"/>
                    </a:lnTo>
                    <a:lnTo>
                      <a:pt x="1166" y="526"/>
                    </a:lnTo>
                    <a:lnTo>
                      <a:pt x="1168" y="523"/>
                    </a:lnTo>
                    <a:lnTo>
                      <a:pt x="1168" y="530"/>
                    </a:lnTo>
                    <a:lnTo>
                      <a:pt x="1168" y="532"/>
                    </a:lnTo>
                    <a:lnTo>
                      <a:pt x="1171" y="528"/>
                    </a:lnTo>
                    <a:lnTo>
                      <a:pt x="1171" y="530"/>
                    </a:lnTo>
                    <a:lnTo>
                      <a:pt x="1171" y="534"/>
                    </a:lnTo>
                    <a:lnTo>
                      <a:pt x="1171" y="537"/>
                    </a:lnTo>
                    <a:lnTo>
                      <a:pt x="1171" y="539"/>
                    </a:lnTo>
                    <a:lnTo>
                      <a:pt x="1173" y="534"/>
                    </a:lnTo>
                    <a:lnTo>
                      <a:pt x="1182" y="528"/>
                    </a:lnTo>
                    <a:lnTo>
                      <a:pt x="1189" y="526"/>
                    </a:lnTo>
                    <a:lnTo>
                      <a:pt x="1193" y="516"/>
                    </a:lnTo>
                    <a:lnTo>
                      <a:pt x="1195" y="519"/>
                    </a:lnTo>
                    <a:lnTo>
                      <a:pt x="1198" y="519"/>
                    </a:lnTo>
                    <a:lnTo>
                      <a:pt x="1200" y="523"/>
                    </a:lnTo>
                    <a:lnTo>
                      <a:pt x="1198" y="528"/>
                    </a:lnTo>
                    <a:lnTo>
                      <a:pt x="1202" y="521"/>
                    </a:lnTo>
                    <a:lnTo>
                      <a:pt x="1196" y="514"/>
                    </a:lnTo>
                    <a:lnTo>
                      <a:pt x="1200" y="516"/>
                    </a:lnTo>
                    <a:lnTo>
                      <a:pt x="1202" y="516"/>
                    </a:lnTo>
                    <a:lnTo>
                      <a:pt x="1203" y="514"/>
                    </a:lnTo>
                    <a:lnTo>
                      <a:pt x="1202" y="512"/>
                    </a:lnTo>
                    <a:lnTo>
                      <a:pt x="1202" y="510"/>
                    </a:lnTo>
                    <a:lnTo>
                      <a:pt x="1205" y="510"/>
                    </a:lnTo>
                    <a:lnTo>
                      <a:pt x="1205" y="507"/>
                    </a:lnTo>
                    <a:lnTo>
                      <a:pt x="1203" y="501"/>
                    </a:lnTo>
                    <a:lnTo>
                      <a:pt x="1205" y="503"/>
                    </a:lnTo>
                    <a:lnTo>
                      <a:pt x="1207" y="501"/>
                    </a:lnTo>
                    <a:lnTo>
                      <a:pt x="1209" y="500"/>
                    </a:lnTo>
                    <a:lnTo>
                      <a:pt x="1209" y="498"/>
                    </a:lnTo>
                    <a:lnTo>
                      <a:pt x="1212" y="496"/>
                    </a:lnTo>
                    <a:lnTo>
                      <a:pt x="1207" y="487"/>
                    </a:lnTo>
                    <a:lnTo>
                      <a:pt x="1212" y="478"/>
                    </a:lnTo>
                    <a:lnTo>
                      <a:pt x="1214" y="476"/>
                    </a:lnTo>
                    <a:lnTo>
                      <a:pt x="1216" y="473"/>
                    </a:lnTo>
                    <a:lnTo>
                      <a:pt x="1216" y="473"/>
                    </a:lnTo>
                    <a:lnTo>
                      <a:pt x="1218" y="469"/>
                    </a:lnTo>
                    <a:lnTo>
                      <a:pt x="1221" y="469"/>
                    </a:lnTo>
                    <a:lnTo>
                      <a:pt x="1223" y="469"/>
                    </a:lnTo>
                    <a:lnTo>
                      <a:pt x="1225" y="471"/>
                    </a:lnTo>
                    <a:lnTo>
                      <a:pt x="1223" y="473"/>
                    </a:lnTo>
                    <a:lnTo>
                      <a:pt x="1225" y="475"/>
                    </a:lnTo>
                    <a:lnTo>
                      <a:pt x="1225" y="476"/>
                    </a:lnTo>
                    <a:lnTo>
                      <a:pt x="1225" y="478"/>
                    </a:lnTo>
                    <a:lnTo>
                      <a:pt x="1225" y="482"/>
                    </a:lnTo>
                    <a:lnTo>
                      <a:pt x="1225" y="484"/>
                    </a:lnTo>
                    <a:lnTo>
                      <a:pt x="1227" y="482"/>
                    </a:lnTo>
                    <a:lnTo>
                      <a:pt x="1228" y="484"/>
                    </a:lnTo>
                    <a:lnTo>
                      <a:pt x="1228" y="491"/>
                    </a:lnTo>
                    <a:lnTo>
                      <a:pt x="1232" y="491"/>
                    </a:lnTo>
                    <a:lnTo>
                      <a:pt x="1230" y="491"/>
                    </a:lnTo>
                    <a:lnTo>
                      <a:pt x="1230" y="494"/>
                    </a:lnTo>
                    <a:lnTo>
                      <a:pt x="1234" y="493"/>
                    </a:lnTo>
                    <a:lnTo>
                      <a:pt x="1236" y="494"/>
                    </a:lnTo>
                    <a:lnTo>
                      <a:pt x="1232" y="500"/>
                    </a:lnTo>
                    <a:lnTo>
                      <a:pt x="1236" y="500"/>
                    </a:lnTo>
                    <a:lnTo>
                      <a:pt x="1236" y="501"/>
                    </a:lnTo>
                    <a:lnTo>
                      <a:pt x="1237" y="500"/>
                    </a:lnTo>
                    <a:lnTo>
                      <a:pt x="1239" y="500"/>
                    </a:lnTo>
                    <a:lnTo>
                      <a:pt x="1239" y="503"/>
                    </a:lnTo>
                    <a:lnTo>
                      <a:pt x="1241" y="503"/>
                    </a:lnTo>
                    <a:lnTo>
                      <a:pt x="1243" y="503"/>
                    </a:lnTo>
                    <a:lnTo>
                      <a:pt x="1241" y="507"/>
                    </a:lnTo>
                    <a:lnTo>
                      <a:pt x="1237" y="509"/>
                    </a:lnTo>
                    <a:lnTo>
                      <a:pt x="1232" y="509"/>
                    </a:lnTo>
                    <a:lnTo>
                      <a:pt x="1228" y="510"/>
                    </a:lnTo>
                    <a:lnTo>
                      <a:pt x="1228" y="512"/>
                    </a:lnTo>
                    <a:lnTo>
                      <a:pt x="1230" y="510"/>
                    </a:lnTo>
                    <a:lnTo>
                      <a:pt x="1232" y="510"/>
                    </a:lnTo>
                    <a:lnTo>
                      <a:pt x="1234" y="510"/>
                    </a:lnTo>
                    <a:lnTo>
                      <a:pt x="1239" y="510"/>
                    </a:lnTo>
                    <a:lnTo>
                      <a:pt x="1243" y="509"/>
                    </a:lnTo>
                    <a:lnTo>
                      <a:pt x="1245" y="509"/>
                    </a:lnTo>
                    <a:lnTo>
                      <a:pt x="1243" y="512"/>
                    </a:lnTo>
                    <a:lnTo>
                      <a:pt x="1245" y="512"/>
                    </a:lnTo>
                    <a:lnTo>
                      <a:pt x="1245" y="516"/>
                    </a:lnTo>
                    <a:lnTo>
                      <a:pt x="1245" y="518"/>
                    </a:lnTo>
                    <a:lnTo>
                      <a:pt x="1245" y="518"/>
                    </a:lnTo>
                    <a:lnTo>
                      <a:pt x="1248" y="518"/>
                    </a:lnTo>
                    <a:lnTo>
                      <a:pt x="1248" y="519"/>
                    </a:lnTo>
                    <a:lnTo>
                      <a:pt x="1248" y="521"/>
                    </a:lnTo>
                    <a:lnTo>
                      <a:pt x="1250" y="521"/>
                    </a:lnTo>
                    <a:lnTo>
                      <a:pt x="1250" y="523"/>
                    </a:lnTo>
                    <a:lnTo>
                      <a:pt x="1243" y="525"/>
                    </a:lnTo>
                    <a:lnTo>
                      <a:pt x="1241" y="525"/>
                    </a:lnTo>
                    <a:lnTo>
                      <a:pt x="1239" y="525"/>
                    </a:lnTo>
                    <a:lnTo>
                      <a:pt x="1239" y="526"/>
                    </a:lnTo>
                    <a:lnTo>
                      <a:pt x="1241" y="526"/>
                    </a:lnTo>
                    <a:lnTo>
                      <a:pt x="1253" y="526"/>
                    </a:lnTo>
                    <a:lnTo>
                      <a:pt x="1255" y="530"/>
                    </a:lnTo>
                    <a:lnTo>
                      <a:pt x="1253" y="532"/>
                    </a:lnTo>
                    <a:lnTo>
                      <a:pt x="1252" y="534"/>
                    </a:lnTo>
                    <a:lnTo>
                      <a:pt x="1253" y="534"/>
                    </a:lnTo>
                    <a:lnTo>
                      <a:pt x="1252" y="535"/>
                    </a:lnTo>
                    <a:lnTo>
                      <a:pt x="1248" y="537"/>
                    </a:lnTo>
                    <a:lnTo>
                      <a:pt x="1245" y="541"/>
                    </a:lnTo>
                    <a:lnTo>
                      <a:pt x="1246" y="541"/>
                    </a:lnTo>
                    <a:lnTo>
                      <a:pt x="1250" y="537"/>
                    </a:lnTo>
                    <a:lnTo>
                      <a:pt x="1253" y="537"/>
                    </a:lnTo>
                    <a:lnTo>
                      <a:pt x="1255" y="537"/>
                    </a:lnTo>
                    <a:lnTo>
                      <a:pt x="1259" y="541"/>
                    </a:lnTo>
                    <a:lnTo>
                      <a:pt x="1257" y="541"/>
                    </a:lnTo>
                    <a:lnTo>
                      <a:pt x="1255" y="543"/>
                    </a:lnTo>
                    <a:lnTo>
                      <a:pt x="1255" y="544"/>
                    </a:lnTo>
                    <a:lnTo>
                      <a:pt x="1257" y="543"/>
                    </a:lnTo>
                    <a:lnTo>
                      <a:pt x="1261" y="544"/>
                    </a:lnTo>
                    <a:lnTo>
                      <a:pt x="1261" y="546"/>
                    </a:lnTo>
                    <a:lnTo>
                      <a:pt x="1262" y="548"/>
                    </a:lnTo>
                    <a:lnTo>
                      <a:pt x="1266" y="550"/>
                    </a:lnTo>
                    <a:lnTo>
                      <a:pt x="1266" y="553"/>
                    </a:lnTo>
                    <a:lnTo>
                      <a:pt x="1261" y="557"/>
                    </a:lnTo>
                    <a:lnTo>
                      <a:pt x="1257" y="557"/>
                    </a:lnTo>
                    <a:lnTo>
                      <a:pt x="1257" y="559"/>
                    </a:lnTo>
                    <a:lnTo>
                      <a:pt x="1264" y="559"/>
                    </a:lnTo>
                    <a:lnTo>
                      <a:pt x="1268" y="562"/>
                    </a:lnTo>
                    <a:lnTo>
                      <a:pt x="1266" y="564"/>
                    </a:lnTo>
                    <a:lnTo>
                      <a:pt x="1273" y="566"/>
                    </a:lnTo>
                    <a:lnTo>
                      <a:pt x="1273" y="571"/>
                    </a:lnTo>
                    <a:lnTo>
                      <a:pt x="1268" y="576"/>
                    </a:lnTo>
                    <a:lnTo>
                      <a:pt x="1268" y="580"/>
                    </a:lnTo>
                    <a:lnTo>
                      <a:pt x="1266" y="580"/>
                    </a:lnTo>
                    <a:lnTo>
                      <a:pt x="1259" y="576"/>
                    </a:lnTo>
                    <a:lnTo>
                      <a:pt x="1257" y="578"/>
                    </a:lnTo>
                    <a:lnTo>
                      <a:pt x="1261" y="580"/>
                    </a:lnTo>
                    <a:lnTo>
                      <a:pt x="1261" y="580"/>
                    </a:lnTo>
                    <a:lnTo>
                      <a:pt x="1250" y="582"/>
                    </a:lnTo>
                    <a:lnTo>
                      <a:pt x="1268" y="584"/>
                    </a:lnTo>
                    <a:lnTo>
                      <a:pt x="1268" y="585"/>
                    </a:lnTo>
                    <a:lnTo>
                      <a:pt x="1266" y="585"/>
                    </a:lnTo>
                    <a:lnTo>
                      <a:pt x="1264" y="587"/>
                    </a:lnTo>
                    <a:lnTo>
                      <a:pt x="1264" y="587"/>
                    </a:lnTo>
                    <a:lnTo>
                      <a:pt x="1268" y="591"/>
                    </a:lnTo>
                    <a:lnTo>
                      <a:pt x="1270" y="593"/>
                    </a:lnTo>
                    <a:lnTo>
                      <a:pt x="1266" y="593"/>
                    </a:lnTo>
                    <a:lnTo>
                      <a:pt x="1264" y="594"/>
                    </a:lnTo>
                    <a:lnTo>
                      <a:pt x="1275" y="594"/>
                    </a:lnTo>
                    <a:lnTo>
                      <a:pt x="1275" y="600"/>
                    </a:lnTo>
                    <a:lnTo>
                      <a:pt x="1277" y="601"/>
                    </a:lnTo>
                    <a:lnTo>
                      <a:pt x="1275" y="603"/>
                    </a:lnTo>
                    <a:lnTo>
                      <a:pt x="1284" y="603"/>
                    </a:lnTo>
                    <a:lnTo>
                      <a:pt x="1286" y="605"/>
                    </a:lnTo>
                    <a:lnTo>
                      <a:pt x="1286" y="609"/>
                    </a:lnTo>
                    <a:lnTo>
                      <a:pt x="1287" y="607"/>
                    </a:lnTo>
                    <a:lnTo>
                      <a:pt x="1291" y="607"/>
                    </a:lnTo>
                    <a:lnTo>
                      <a:pt x="1291" y="610"/>
                    </a:lnTo>
                    <a:lnTo>
                      <a:pt x="1289" y="612"/>
                    </a:lnTo>
                    <a:lnTo>
                      <a:pt x="1291" y="614"/>
                    </a:lnTo>
                    <a:lnTo>
                      <a:pt x="1293" y="616"/>
                    </a:lnTo>
                    <a:lnTo>
                      <a:pt x="1289" y="619"/>
                    </a:lnTo>
                    <a:lnTo>
                      <a:pt x="1289" y="621"/>
                    </a:lnTo>
                    <a:lnTo>
                      <a:pt x="1293" y="619"/>
                    </a:lnTo>
                    <a:lnTo>
                      <a:pt x="1296" y="621"/>
                    </a:lnTo>
                    <a:lnTo>
                      <a:pt x="1298" y="621"/>
                    </a:lnTo>
                    <a:lnTo>
                      <a:pt x="1302" y="619"/>
                    </a:lnTo>
                    <a:lnTo>
                      <a:pt x="1302" y="621"/>
                    </a:lnTo>
                    <a:lnTo>
                      <a:pt x="1303" y="623"/>
                    </a:lnTo>
                    <a:lnTo>
                      <a:pt x="1300" y="632"/>
                    </a:lnTo>
                    <a:lnTo>
                      <a:pt x="1307" y="625"/>
                    </a:lnTo>
                    <a:lnTo>
                      <a:pt x="1309" y="623"/>
                    </a:lnTo>
                    <a:lnTo>
                      <a:pt x="1309" y="626"/>
                    </a:lnTo>
                    <a:lnTo>
                      <a:pt x="1311" y="626"/>
                    </a:lnTo>
                    <a:lnTo>
                      <a:pt x="1312" y="625"/>
                    </a:lnTo>
                    <a:lnTo>
                      <a:pt x="1312" y="630"/>
                    </a:lnTo>
                    <a:lnTo>
                      <a:pt x="1316" y="632"/>
                    </a:lnTo>
                    <a:lnTo>
                      <a:pt x="1323" y="635"/>
                    </a:lnTo>
                    <a:lnTo>
                      <a:pt x="1325" y="634"/>
                    </a:lnTo>
                    <a:lnTo>
                      <a:pt x="1325" y="632"/>
                    </a:lnTo>
                    <a:lnTo>
                      <a:pt x="1327" y="630"/>
                    </a:lnTo>
                    <a:lnTo>
                      <a:pt x="1330" y="632"/>
                    </a:lnTo>
                    <a:lnTo>
                      <a:pt x="1328" y="635"/>
                    </a:lnTo>
                    <a:lnTo>
                      <a:pt x="1332" y="635"/>
                    </a:lnTo>
                    <a:lnTo>
                      <a:pt x="1334" y="637"/>
                    </a:lnTo>
                    <a:lnTo>
                      <a:pt x="1336" y="637"/>
                    </a:lnTo>
                    <a:lnTo>
                      <a:pt x="1337" y="641"/>
                    </a:lnTo>
                    <a:lnTo>
                      <a:pt x="1336" y="643"/>
                    </a:lnTo>
                    <a:lnTo>
                      <a:pt x="1336" y="644"/>
                    </a:lnTo>
                    <a:lnTo>
                      <a:pt x="1336" y="644"/>
                    </a:lnTo>
                    <a:lnTo>
                      <a:pt x="1334" y="644"/>
                    </a:lnTo>
                    <a:lnTo>
                      <a:pt x="1330" y="644"/>
                    </a:lnTo>
                    <a:lnTo>
                      <a:pt x="1328" y="644"/>
                    </a:lnTo>
                    <a:lnTo>
                      <a:pt x="1323" y="648"/>
                    </a:lnTo>
                    <a:lnTo>
                      <a:pt x="1323" y="648"/>
                    </a:lnTo>
                    <a:lnTo>
                      <a:pt x="1319" y="650"/>
                    </a:lnTo>
                    <a:lnTo>
                      <a:pt x="1305" y="653"/>
                    </a:lnTo>
                    <a:lnTo>
                      <a:pt x="1303" y="657"/>
                    </a:lnTo>
                    <a:lnTo>
                      <a:pt x="1307" y="655"/>
                    </a:lnTo>
                    <a:lnTo>
                      <a:pt x="1314" y="651"/>
                    </a:lnTo>
                    <a:lnTo>
                      <a:pt x="1316" y="653"/>
                    </a:lnTo>
                    <a:lnTo>
                      <a:pt x="1302" y="659"/>
                    </a:lnTo>
                    <a:lnTo>
                      <a:pt x="1298" y="659"/>
                    </a:lnTo>
                    <a:lnTo>
                      <a:pt x="1293" y="666"/>
                    </a:lnTo>
                    <a:lnTo>
                      <a:pt x="1289" y="664"/>
                    </a:lnTo>
                    <a:lnTo>
                      <a:pt x="1287" y="662"/>
                    </a:lnTo>
                    <a:lnTo>
                      <a:pt x="1282" y="660"/>
                    </a:lnTo>
                    <a:lnTo>
                      <a:pt x="1278" y="662"/>
                    </a:lnTo>
                    <a:lnTo>
                      <a:pt x="1278" y="664"/>
                    </a:lnTo>
                    <a:lnTo>
                      <a:pt x="1289" y="666"/>
                    </a:lnTo>
                    <a:lnTo>
                      <a:pt x="1291" y="669"/>
                    </a:lnTo>
                    <a:lnTo>
                      <a:pt x="1291" y="676"/>
                    </a:lnTo>
                    <a:lnTo>
                      <a:pt x="1298" y="671"/>
                    </a:lnTo>
                    <a:lnTo>
                      <a:pt x="1300" y="669"/>
                    </a:lnTo>
                    <a:lnTo>
                      <a:pt x="1307" y="664"/>
                    </a:lnTo>
                    <a:lnTo>
                      <a:pt x="1311" y="662"/>
                    </a:lnTo>
                    <a:lnTo>
                      <a:pt x="1314" y="657"/>
                    </a:lnTo>
                    <a:lnTo>
                      <a:pt x="1318" y="655"/>
                    </a:lnTo>
                    <a:lnTo>
                      <a:pt x="1327" y="653"/>
                    </a:lnTo>
                    <a:lnTo>
                      <a:pt x="1330" y="655"/>
                    </a:lnTo>
                    <a:lnTo>
                      <a:pt x="1332" y="653"/>
                    </a:lnTo>
                    <a:lnTo>
                      <a:pt x="1325" y="651"/>
                    </a:lnTo>
                    <a:lnTo>
                      <a:pt x="1321" y="653"/>
                    </a:lnTo>
                    <a:lnTo>
                      <a:pt x="1328" y="650"/>
                    </a:lnTo>
                    <a:lnTo>
                      <a:pt x="1339" y="650"/>
                    </a:lnTo>
                    <a:lnTo>
                      <a:pt x="1341" y="651"/>
                    </a:lnTo>
                    <a:lnTo>
                      <a:pt x="1339" y="655"/>
                    </a:lnTo>
                    <a:lnTo>
                      <a:pt x="1341" y="662"/>
                    </a:lnTo>
                    <a:lnTo>
                      <a:pt x="1339" y="664"/>
                    </a:lnTo>
                    <a:lnTo>
                      <a:pt x="1339" y="671"/>
                    </a:lnTo>
                    <a:lnTo>
                      <a:pt x="1339" y="671"/>
                    </a:lnTo>
                    <a:lnTo>
                      <a:pt x="1343" y="664"/>
                    </a:lnTo>
                    <a:lnTo>
                      <a:pt x="1346" y="662"/>
                    </a:lnTo>
                    <a:lnTo>
                      <a:pt x="1350" y="662"/>
                    </a:lnTo>
                    <a:lnTo>
                      <a:pt x="1352" y="662"/>
                    </a:lnTo>
                    <a:lnTo>
                      <a:pt x="1352" y="664"/>
                    </a:lnTo>
                    <a:lnTo>
                      <a:pt x="1361" y="668"/>
                    </a:lnTo>
                    <a:lnTo>
                      <a:pt x="1361" y="669"/>
                    </a:lnTo>
                    <a:lnTo>
                      <a:pt x="1359" y="669"/>
                    </a:lnTo>
                    <a:lnTo>
                      <a:pt x="1361" y="673"/>
                    </a:lnTo>
                    <a:lnTo>
                      <a:pt x="1362" y="673"/>
                    </a:lnTo>
                    <a:lnTo>
                      <a:pt x="1362" y="675"/>
                    </a:lnTo>
                    <a:lnTo>
                      <a:pt x="1364" y="676"/>
                    </a:lnTo>
                    <a:lnTo>
                      <a:pt x="1364" y="678"/>
                    </a:lnTo>
                    <a:lnTo>
                      <a:pt x="1362" y="678"/>
                    </a:lnTo>
                    <a:lnTo>
                      <a:pt x="1362" y="680"/>
                    </a:lnTo>
                    <a:lnTo>
                      <a:pt x="1355" y="678"/>
                    </a:lnTo>
                    <a:lnTo>
                      <a:pt x="1357" y="682"/>
                    </a:lnTo>
                    <a:lnTo>
                      <a:pt x="1359" y="682"/>
                    </a:lnTo>
                    <a:lnTo>
                      <a:pt x="1361" y="682"/>
                    </a:lnTo>
                    <a:lnTo>
                      <a:pt x="1362" y="685"/>
                    </a:lnTo>
                    <a:lnTo>
                      <a:pt x="1361" y="687"/>
                    </a:lnTo>
                    <a:lnTo>
                      <a:pt x="1361" y="689"/>
                    </a:lnTo>
                    <a:lnTo>
                      <a:pt x="1364" y="693"/>
                    </a:lnTo>
                    <a:lnTo>
                      <a:pt x="1361" y="693"/>
                    </a:lnTo>
                    <a:lnTo>
                      <a:pt x="1361" y="694"/>
                    </a:lnTo>
                    <a:lnTo>
                      <a:pt x="1364" y="696"/>
                    </a:lnTo>
                    <a:lnTo>
                      <a:pt x="1366" y="700"/>
                    </a:lnTo>
                    <a:lnTo>
                      <a:pt x="1361" y="698"/>
                    </a:lnTo>
                    <a:lnTo>
                      <a:pt x="1361" y="70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87" name="Freeform 1835"/>
              <p:cNvSpPr>
                <a:spLocks/>
              </p:cNvSpPr>
              <p:nvPr/>
            </p:nvSpPr>
            <p:spPr bwMode="auto">
              <a:xfrm>
                <a:off x="1714" y="1863"/>
                <a:ext cx="27" cy="32"/>
              </a:xfrm>
              <a:custGeom>
                <a:avLst/>
                <a:gdLst>
                  <a:gd name="T0" fmla="*/ 25 w 27"/>
                  <a:gd name="T1" fmla="*/ 18 h 32"/>
                  <a:gd name="T2" fmla="*/ 23 w 27"/>
                  <a:gd name="T3" fmla="*/ 16 h 32"/>
                  <a:gd name="T4" fmla="*/ 20 w 27"/>
                  <a:gd name="T5" fmla="*/ 19 h 32"/>
                  <a:gd name="T6" fmla="*/ 20 w 27"/>
                  <a:gd name="T7" fmla="*/ 18 h 32"/>
                  <a:gd name="T8" fmla="*/ 14 w 27"/>
                  <a:gd name="T9" fmla="*/ 21 h 32"/>
                  <a:gd name="T10" fmla="*/ 13 w 27"/>
                  <a:gd name="T11" fmla="*/ 19 h 32"/>
                  <a:gd name="T12" fmla="*/ 16 w 27"/>
                  <a:gd name="T13" fmla="*/ 16 h 32"/>
                  <a:gd name="T14" fmla="*/ 14 w 27"/>
                  <a:gd name="T15" fmla="*/ 16 h 32"/>
                  <a:gd name="T16" fmla="*/ 18 w 27"/>
                  <a:gd name="T17" fmla="*/ 3 h 32"/>
                  <a:gd name="T18" fmla="*/ 16 w 27"/>
                  <a:gd name="T19" fmla="*/ 0 h 32"/>
                  <a:gd name="T20" fmla="*/ 16 w 27"/>
                  <a:gd name="T21" fmla="*/ 0 h 32"/>
                  <a:gd name="T22" fmla="*/ 14 w 27"/>
                  <a:gd name="T23" fmla="*/ 0 h 32"/>
                  <a:gd name="T24" fmla="*/ 14 w 27"/>
                  <a:gd name="T25" fmla="*/ 0 h 32"/>
                  <a:gd name="T26" fmla="*/ 13 w 27"/>
                  <a:gd name="T27" fmla="*/ 0 h 32"/>
                  <a:gd name="T28" fmla="*/ 13 w 27"/>
                  <a:gd name="T29" fmla="*/ 2 h 32"/>
                  <a:gd name="T30" fmla="*/ 2 w 27"/>
                  <a:gd name="T31" fmla="*/ 19 h 32"/>
                  <a:gd name="T32" fmla="*/ 0 w 27"/>
                  <a:gd name="T33" fmla="*/ 28 h 32"/>
                  <a:gd name="T34" fmla="*/ 2 w 27"/>
                  <a:gd name="T35" fmla="*/ 32 h 32"/>
                  <a:gd name="T36" fmla="*/ 5 w 27"/>
                  <a:gd name="T37" fmla="*/ 32 h 32"/>
                  <a:gd name="T38" fmla="*/ 9 w 27"/>
                  <a:gd name="T39" fmla="*/ 30 h 32"/>
                  <a:gd name="T40" fmla="*/ 14 w 27"/>
                  <a:gd name="T41" fmla="*/ 32 h 32"/>
                  <a:gd name="T42" fmla="*/ 20 w 27"/>
                  <a:gd name="T43" fmla="*/ 28 h 32"/>
                  <a:gd name="T44" fmla="*/ 23 w 27"/>
                  <a:gd name="T45" fmla="*/ 25 h 32"/>
                  <a:gd name="T46" fmla="*/ 27 w 27"/>
                  <a:gd name="T47" fmla="*/ 23 h 32"/>
                  <a:gd name="T48" fmla="*/ 27 w 27"/>
                  <a:gd name="T49" fmla="*/ 23 h 32"/>
                  <a:gd name="T50" fmla="*/ 25 w 27"/>
                  <a:gd name="T51" fmla="*/ 21 h 32"/>
                  <a:gd name="T52" fmla="*/ 25 w 27"/>
                  <a:gd name="T53"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32">
                    <a:moveTo>
                      <a:pt x="25" y="18"/>
                    </a:moveTo>
                    <a:lnTo>
                      <a:pt x="23" y="16"/>
                    </a:lnTo>
                    <a:lnTo>
                      <a:pt x="20" y="19"/>
                    </a:lnTo>
                    <a:lnTo>
                      <a:pt x="20" y="18"/>
                    </a:lnTo>
                    <a:lnTo>
                      <a:pt x="14" y="21"/>
                    </a:lnTo>
                    <a:lnTo>
                      <a:pt x="13" y="19"/>
                    </a:lnTo>
                    <a:lnTo>
                      <a:pt x="16" y="16"/>
                    </a:lnTo>
                    <a:lnTo>
                      <a:pt x="14" y="16"/>
                    </a:lnTo>
                    <a:lnTo>
                      <a:pt x="18" y="3"/>
                    </a:lnTo>
                    <a:lnTo>
                      <a:pt x="16" y="0"/>
                    </a:lnTo>
                    <a:lnTo>
                      <a:pt x="16" y="0"/>
                    </a:lnTo>
                    <a:lnTo>
                      <a:pt x="14" y="0"/>
                    </a:lnTo>
                    <a:lnTo>
                      <a:pt x="14" y="0"/>
                    </a:lnTo>
                    <a:lnTo>
                      <a:pt x="13" y="0"/>
                    </a:lnTo>
                    <a:lnTo>
                      <a:pt x="13" y="2"/>
                    </a:lnTo>
                    <a:lnTo>
                      <a:pt x="2" y="19"/>
                    </a:lnTo>
                    <a:lnTo>
                      <a:pt x="0" y="28"/>
                    </a:lnTo>
                    <a:lnTo>
                      <a:pt x="2" y="32"/>
                    </a:lnTo>
                    <a:lnTo>
                      <a:pt x="5" y="32"/>
                    </a:lnTo>
                    <a:lnTo>
                      <a:pt x="9" y="30"/>
                    </a:lnTo>
                    <a:lnTo>
                      <a:pt x="14" y="32"/>
                    </a:lnTo>
                    <a:lnTo>
                      <a:pt x="20" y="28"/>
                    </a:lnTo>
                    <a:lnTo>
                      <a:pt x="23" y="25"/>
                    </a:lnTo>
                    <a:lnTo>
                      <a:pt x="27" y="23"/>
                    </a:lnTo>
                    <a:lnTo>
                      <a:pt x="27" y="23"/>
                    </a:lnTo>
                    <a:lnTo>
                      <a:pt x="25" y="21"/>
                    </a:lnTo>
                    <a:lnTo>
                      <a:pt x="25" y="1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88" name="Freeform 1836"/>
              <p:cNvSpPr>
                <a:spLocks/>
              </p:cNvSpPr>
              <p:nvPr/>
            </p:nvSpPr>
            <p:spPr bwMode="auto">
              <a:xfrm>
                <a:off x="1714" y="1863"/>
                <a:ext cx="27" cy="32"/>
              </a:xfrm>
              <a:custGeom>
                <a:avLst/>
                <a:gdLst>
                  <a:gd name="T0" fmla="*/ 25 w 27"/>
                  <a:gd name="T1" fmla="*/ 18 h 32"/>
                  <a:gd name="T2" fmla="*/ 23 w 27"/>
                  <a:gd name="T3" fmla="*/ 16 h 32"/>
                  <a:gd name="T4" fmla="*/ 20 w 27"/>
                  <a:gd name="T5" fmla="*/ 19 h 32"/>
                  <a:gd name="T6" fmla="*/ 20 w 27"/>
                  <a:gd name="T7" fmla="*/ 18 h 32"/>
                  <a:gd name="T8" fmla="*/ 14 w 27"/>
                  <a:gd name="T9" fmla="*/ 21 h 32"/>
                  <a:gd name="T10" fmla="*/ 13 w 27"/>
                  <a:gd name="T11" fmla="*/ 19 h 32"/>
                  <a:gd name="T12" fmla="*/ 16 w 27"/>
                  <a:gd name="T13" fmla="*/ 16 h 32"/>
                  <a:gd name="T14" fmla="*/ 14 w 27"/>
                  <a:gd name="T15" fmla="*/ 16 h 32"/>
                  <a:gd name="T16" fmla="*/ 18 w 27"/>
                  <a:gd name="T17" fmla="*/ 3 h 32"/>
                  <a:gd name="T18" fmla="*/ 16 w 27"/>
                  <a:gd name="T19" fmla="*/ 0 h 32"/>
                  <a:gd name="T20" fmla="*/ 16 w 27"/>
                  <a:gd name="T21" fmla="*/ 0 h 32"/>
                  <a:gd name="T22" fmla="*/ 14 w 27"/>
                  <a:gd name="T23" fmla="*/ 0 h 32"/>
                  <a:gd name="T24" fmla="*/ 14 w 27"/>
                  <a:gd name="T25" fmla="*/ 0 h 32"/>
                  <a:gd name="T26" fmla="*/ 13 w 27"/>
                  <a:gd name="T27" fmla="*/ 0 h 32"/>
                  <a:gd name="T28" fmla="*/ 13 w 27"/>
                  <a:gd name="T29" fmla="*/ 2 h 32"/>
                  <a:gd name="T30" fmla="*/ 2 w 27"/>
                  <a:gd name="T31" fmla="*/ 19 h 32"/>
                  <a:gd name="T32" fmla="*/ 0 w 27"/>
                  <a:gd name="T33" fmla="*/ 28 h 32"/>
                  <a:gd name="T34" fmla="*/ 2 w 27"/>
                  <a:gd name="T35" fmla="*/ 32 h 32"/>
                  <a:gd name="T36" fmla="*/ 5 w 27"/>
                  <a:gd name="T37" fmla="*/ 32 h 32"/>
                  <a:gd name="T38" fmla="*/ 9 w 27"/>
                  <a:gd name="T39" fmla="*/ 30 h 32"/>
                  <a:gd name="T40" fmla="*/ 14 w 27"/>
                  <a:gd name="T41" fmla="*/ 32 h 32"/>
                  <a:gd name="T42" fmla="*/ 20 w 27"/>
                  <a:gd name="T43" fmla="*/ 28 h 32"/>
                  <a:gd name="T44" fmla="*/ 23 w 27"/>
                  <a:gd name="T45" fmla="*/ 25 h 32"/>
                  <a:gd name="T46" fmla="*/ 27 w 27"/>
                  <a:gd name="T47" fmla="*/ 23 h 32"/>
                  <a:gd name="T48" fmla="*/ 27 w 27"/>
                  <a:gd name="T49" fmla="*/ 23 h 32"/>
                  <a:gd name="T50" fmla="*/ 25 w 27"/>
                  <a:gd name="T51" fmla="*/ 21 h 32"/>
                  <a:gd name="T52" fmla="*/ 25 w 27"/>
                  <a:gd name="T53"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32">
                    <a:moveTo>
                      <a:pt x="25" y="18"/>
                    </a:moveTo>
                    <a:lnTo>
                      <a:pt x="23" y="16"/>
                    </a:lnTo>
                    <a:lnTo>
                      <a:pt x="20" y="19"/>
                    </a:lnTo>
                    <a:lnTo>
                      <a:pt x="20" y="18"/>
                    </a:lnTo>
                    <a:lnTo>
                      <a:pt x="14" y="21"/>
                    </a:lnTo>
                    <a:lnTo>
                      <a:pt x="13" y="19"/>
                    </a:lnTo>
                    <a:lnTo>
                      <a:pt x="16" y="16"/>
                    </a:lnTo>
                    <a:lnTo>
                      <a:pt x="14" y="16"/>
                    </a:lnTo>
                    <a:lnTo>
                      <a:pt x="18" y="3"/>
                    </a:lnTo>
                    <a:lnTo>
                      <a:pt x="16" y="0"/>
                    </a:lnTo>
                    <a:lnTo>
                      <a:pt x="16" y="0"/>
                    </a:lnTo>
                    <a:lnTo>
                      <a:pt x="14" y="0"/>
                    </a:lnTo>
                    <a:lnTo>
                      <a:pt x="14" y="0"/>
                    </a:lnTo>
                    <a:lnTo>
                      <a:pt x="13" y="0"/>
                    </a:lnTo>
                    <a:lnTo>
                      <a:pt x="13" y="2"/>
                    </a:lnTo>
                    <a:lnTo>
                      <a:pt x="2" y="19"/>
                    </a:lnTo>
                    <a:lnTo>
                      <a:pt x="0" y="28"/>
                    </a:lnTo>
                    <a:lnTo>
                      <a:pt x="2" y="32"/>
                    </a:lnTo>
                    <a:lnTo>
                      <a:pt x="5" y="32"/>
                    </a:lnTo>
                    <a:lnTo>
                      <a:pt x="9" y="30"/>
                    </a:lnTo>
                    <a:lnTo>
                      <a:pt x="14" y="32"/>
                    </a:lnTo>
                    <a:lnTo>
                      <a:pt x="20" y="28"/>
                    </a:lnTo>
                    <a:lnTo>
                      <a:pt x="23" y="25"/>
                    </a:lnTo>
                    <a:lnTo>
                      <a:pt x="27" y="23"/>
                    </a:lnTo>
                    <a:lnTo>
                      <a:pt x="27" y="23"/>
                    </a:lnTo>
                    <a:lnTo>
                      <a:pt x="25" y="21"/>
                    </a:lnTo>
                    <a:lnTo>
                      <a:pt x="25" y="1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89" name="Freeform 1837"/>
              <p:cNvSpPr>
                <a:spLocks/>
              </p:cNvSpPr>
              <p:nvPr/>
            </p:nvSpPr>
            <p:spPr bwMode="auto">
              <a:xfrm>
                <a:off x="1123" y="579"/>
                <a:ext cx="57" cy="93"/>
              </a:xfrm>
              <a:custGeom>
                <a:avLst/>
                <a:gdLst>
                  <a:gd name="T0" fmla="*/ 57 w 57"/>
                  <a:gd name="T1" fmla="*/ 48 h 93"/>
                  <a:gd name="T2" fmla="*/ 57 w 57"/>
                  <a:gd name="T3" fmla="*/ 46 h 93"/>
                  <a:gd name="T4" fmla="*/ 52 w 57"/>
                  <a:gd name="T5" fmla="*/ 36 h 93"/>
                  <a:gd name="T6" fmla="*/ 45 w 57"/>
                  <a:gd name="T7" fmla="*/ 30 h 93"/>
                  <a:gd name="T8" fmla="*/ 41 w 57"/>
                  <a:gd name="T9" fmla="*/ 32 h 93"/>
                  <a:gd name="T10" fmla="*/ 36 w 57"/>
                  <a:gd name="T11" fmla="*/ 32 h 93"/>
                  <a:gd name="T12" fmla="*/ 38 w 57"/>
                  <a:gd name="T13" fmla="*/ 21 h 93"/>
                  <a:gd name="T14" fmla="*/ 36 w 57"/>
                  <a:gd name="T15" fmla="*/ 20 h 93"/>
                  <a:gd name="T16" fmla="*/ 34 w 57"/>
                  <a:gd name="T17" fmla="*/ 20 h 93"/>
                  <a:gd name="T18" fmla="*/ 30 w 57"/>
                  <a:gd name="T19" fmla="*/ 14 h 93"/>
                  <a:gd name="T20" fmla="*/ 27 w 57"/>
                  <a:gd name="T21" fmla="*/ 14 h 93"/>
                  <a:gd name="T22" fmla="*/ 14 w 57"/>
                  <a:gd name="T23" fmla="*/ 2 h 93"/>
                  <a:gd name="T24" fmla="*/ 5 w 57"/>
                  <a:gd name="T25" fmla="*/ 0 h 93"/>
                  <a:gd name="T26" fmla="*/ 2 w 57"/>
                  <a:gd name="T27" fmla="*/ 5 h 93"/>
                  <a:gd name="T28" fmla="*/ 2 w 57"/>
                  <a:gd name="T29" fmla="*/ 7 h 93"/>
                  <a:gd name="T30" fmla="*/ 0 w 57"/>
                  <a:gd name="T31" fmla="*/ 9 h 93"/>
                  <a:gd name="T32" fmla="*/ 2 w 57"/>
                  <a:gd name="T33" fmla="*/ 20 h 93"/>
                  <a:gd name="T34" fmla="*/ 4 w 57"/>
                  <a:gd name="T35" fmla="*/ 21 h 93"/>
                  <a:gd name="T36" fmla="*/ 5 w 57"/>
                  <a:gd name="T37" fmla="*/ 25 h 93"/>
                  <a:gd name="T38" fmla="*/ 4 w 57"/>
                  <a:gd name="T39" fmla="*/ 27 h 93"/>
                  <a:gd name="T40" fmla="*/ 0 w 57"/>
                  <a:gd name="T41" fmla="*/ 28 h 93"/>
                  <a:gd name="T42" fmla="*/ 4 w 57"/>
                  <a:gd name="T43" fmla="*/ 37 h 93"/>
                  <a:gd name="T44" fmla="*/ 5 w 57"/>
                  <a:gd name="T45" fmla="*/ 37 h 93"/>
                  <a:gd name="T46" fmla="*/ 5 w 57"/>
                  <a:gd name="T47" fmla="*/ 41 h 93"/>
                  <a:gd name="T48" fmla="*/ 5 w 57"/>
                  <a:gd name="T49" fmla="*/ 48 h 93"/>
                  <a:gd name="T50" fmla="*/ 9 w 57"/>
                  <a:gd name="T51" fmla="*/ 48 h 93"/>
                  <a:gd name="T52" fmla="*/ 9 w 57"/>
                  <a:gd name="T53" fmla="*/ 52 h 93"/>
                  <a:gd name="T54" fmla="*/ 7 w 57"/>
                  <a:gd name="T55" fmla="*/ 52 h 93"/>
                  <a:gd name="T56" fmla="*/ 7 w 57"/>
                  <a:gd name="T57" fmla="*/ 53 h 93"/>
                  <a:gd name="T58" fmla="*/ 13 w 57"/>
                  <a:gd name="T59" fmla="*/ 55 h 93"/>
                  <a:gd name="T60" fmla="*/ 16 w 57"/>
                  <a:gd name="T61" fmla="*/ 55 h 93"/>
                  <a:gd name="T62" fmla="*/ 25 w 57"/>
                  <a:gd name="T63" fmla="*/ 61 h 93"/>
                  <a:gd name="T64" fmla="*/ 23 w 57"/>
                  <a:gd name="T65" fmla="*/ 62 h 93"/>
                  <a:gd name="T66" fmla="*/ 25 w 57"/>
                  <a:gd name="T67" fmla="*/ 64 h 93"/>
                  <a:gd name="T68" fmla="*/ 23 w 57"/>
                  <a:gd name="T69" fmla="*/ 66 h 93"/>
                  <a:gd name="T70" fmla="*/ 11 w 57"/>
                  <a:gd name="T71" fmla="*/ 66 h 93"/>
                  <a:gd name="T72" fmla="*/ 9 w 57"/>
                  <a:gd name="T73" fmla="*/ 70 h 93"/>
                  <a:gd name="T74" fmla="*/ 22 w 57"/>
                  <a:gd name="T75" fmla="*/ 82 h 93"/>
                  <a:gd name="T76" fmla="*/ 18 w 57"/>
                  <a:gd name="T77" fmla="*/ 87 h 93"/>
                  <a:gd name="T78" fmla="*/ 18 w 57"/>
                  <a:gd name="T79" fmla="*/ 91 h 93"/>
                  <a:gd name="T80" fmla="*/ 25 w 57"/>
                  <a:gd name="T81" fmla="*/ 93 h 93"/>
                  <a:gd name="T82" fmla="*/ 29 w 57"/>
                  <a:gd name="T83" fmla="*/ 87 h 93"/>
                  <a:gd name="T84" fmla="*/ 29 w 57"/>
                  <a:gd name="T85" fmla="*/ 86 h 93"/>
                  <a:gd name="T86" fmla="*/ 27 w 57"/>
                  <a:gd name="T87" fmla="*/ 86 h 93"/>
                  <a:gd name="T88" fmla="*/ 27 w 57"/>
                  <a:gd name="T89" fmla="*/ 86 h 93"/>
                  <a:gd name="T90" fmla="*/ 30 w 57"/>
                  <a:gd name="T91" fmla="*/ 80 h 93"/>
                  <a:gd name="T92" fmla="*/ 34 w 57"/>
                  <a:gd name="T93" fmla="*/ 86 h 93"/>
                  <a:gd name="T94" fmla="*/ 38 w 57"/>
                  <a:gd name="T95" fmla="*/ 84 h 93"/>
                  <a:gd name="T96" fmla="*/ 48 w 57"/>
                  <a:gd name="T97" fmla="*/ 78 h 93"/>
                  <a:gd name="T98" fmla="*/ 52 w 57"/>
                  <a:gd name="T99" fmla="*/ 80 h 93"/>
                  <a:gd name="T100" fmla="*/ 54 w 57"/>
                  <a:gd name="T101" fmla="*/ 80 h 93"/>
                  <a:gd name="T102" fmla="*/ 54 w 57"/>
                  <a:gd name="T103" fmla="*/ 80 h 93"/>
                  <a:gd name="T104" fmla="*/ 57 w 57"/>
                  <a:gd name="T105" fmla="*/ 68 h 93"/>
                  <a:gd name="T106" fmla="*/ 55 w 57"/>
                  <a:gd name="T107" fmla="*/ 66 h 93"/>
                  <a:gd name="T108" fmla="*/ 54 w 57"/>
                  <a:gd name="T109" fmla="*/ 66 h 93"/>
                  <a:gd name="T110" fmla="*/ 54 w 57"/>
                  <a:gd name="T111" fmla="*/ 66 h 93"/>
                  <a:gd name="T112" fmla="*/ 54 w 57"/>
                  <a:gd name="T113" fmla="*/ 52 h 93"/>
                  <a:gd name="T114" fmla="*/ 57 w 57"/>
                  <a:gd name="T115" fmla="*/ 48 h 93"/>
                  <a:gd name="T116" fmla="*/ 57 w 57"/>
                  <a:gd name="T117" fmla="*/ 4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 h="93">
                    <a:moveTo>
                      <a:pt x="57" y="48"/>
                    </a:moveTo>
                    <a:lnTo>
                      <a:pt x="57" y="46"/>
                    </a:lnTo>
                    <a:lnTo>
                      <a:pt x="52" y="36"/>
                    </a:lnTo>
                    <a:lnTo>
                      <a:pt x="45" y="30"/>
                    </a:lnTo>
                    <a:lnTo>
                      <a:pt x="41" y="32"/>
                    </a:lnTo>
                    <a:lnTo>
                      <a:pt x="36" y="32"/>
                    </a:lnTo>
                    <a:lnTo>
                      <a:pt x="38" y="21"/>
                    </a:lnTo>
                    <a:lnTo>
                      <a:pt x="36" y="20"/>
                    </a:lnTo>
                    <a:lnTo>
                      <a:pt x="34" y="20"/>
                    </a:lnTo>
                    <a:lnTo>
                      <a:pt x="30" y="14"/>
                    </a:lnTo>
                    <a:lnTo>
                      <a:pt x="27" y="14"/>
                    </a:lnTo>
                    <a:lnTo>
                      <a:pt x="14" y="2"/>
                    </a:lnTo>
                    <a:lnTo>
                      <a:pt x="5" y="0"/>
                    </a:lnTo>
                    <a:lnTo>
                      <a:pt x="2" y="5"/>
                    </a:lnTo>
                    <a:lnTo>
                      <a:pt x="2" y="7"/>
                    </a:lnTo>
                    <a:lnTo>
                      <a:pt x="0" y="9"/>
                    </a:lnTo>
                    <a:lnTo>
                      <a:pt x="2" y="20"/>
                    </a:lnTo>
                    <a:lnTo>
                      <a:pt x="4" y="21"/>
                    </a:lnTo>
                    <a:lnTo>
                      <a:pt x="5" y="25"/>
                    </a:lnTo>
                    <a:lnTo>
                      <a:pt x="4" y="27"/>
                    </a:lnTo>
                    <a:lnTo>
                      <a:pt x="0" y="28"/>
                    </a:lnTo>
                    <a:lnTo>
                      <a:pt x="4" y="37"/>
                    </a:lnTo>
                    <a:lnTo>
                      <a:pt x="5" y="37"/>
                    </a:lnTo>
                    <a:lnTo>
                      <a:pt x="5" y="41"/>
                    </a:lnTo>
                    <a:lnTo>
                      <a:pt x="5" y="48"/>
                    </a:lnTo>
                    <a:lnTo>
                      <a:pt x="9" y="48"/>
                    </a:lnTo>
                    <a:lnTo>
                      <a:pt x="9" y="52"/>
                    </a:lnTo>
                    <a:lnTo>
                      <a:pt x="7" y="52"/>
                    </a:lnTo>
                    <a:lnTo>
                      <a:pt x="7" y="53"/>
                    </a:lnTo>
                    <a:lnTo>
                      <a:pt x="13" y="55"/>
                    </a:lnTo>
                    <a:lnTo>
                      <a:pt x="16" y="55"/>
                    </a:lnTo>
                    <a:lnTo>
                      <a:pt x="25" y="61"/>
                    </a:lnTo>
                    <a:lnTo>
                      <a:pt x="23" y="62"/>
                    </a:lnTo>
                    <a:lnTo>
                      <a:pt x="25" y="64"/>
                    </a:lnTo>
                    <a:lnTo>
                      <a:pt x="23" y="66"/>
                    </a:lnTo>
                    <a:lnTo>
                      <a:pt x="11" y="66"/>
                    </a:lnTo>
                    <a:lnTo>
                      <a:pt x="9" y="70"/>
                    </a:lnTo>
                    <a:lnTo>
                      <a:pt x="22" y="82"/>
                    </a:lnTo>
                    <a:lnTo>
                      <a:pt x="18" y="87"/>
                    </a:lnTo>
                    <a:lnTo>
                      <a:pt x="18" y="91"/>
                    </a:lnTo>
                    <a:lnTo>
                      <a:pt x="25" y="93"/>
                    </a:lnTo>
                    <a:lnTo>
                      <a:pt x="29" y="87"/>
                    </a:lnTo>
                    <a:lnTo>
                      <a:pt x="29" y="86"/>
                    </a:lnTo>
                    <a:lnTo>
                      <a:pt x="27" y="86"/>
                    </a:lnTo>
                    <a:lnTo>
                      <a:pt x="27" y="86"/>
                    </a:lnTo>
                    <a:lnTo>
                      <a:pt x="30" y="80"/>
                    </a:lnTo>
                    <a:lnTo>
                      <a:pt x="34" y="86"/>
                    </a:lnTo>
                    <a:lnTo>
                      <a:pt x="38" y="84"/>
                    </a:lnTo>
                    <a:lnTo>
                      <a:pt x="48" y="78"/>
                    </a:lnTo>
                    <a:lnTo>
                      <a:pt x="52" y="80"/>
                    </a:lnTo>
                    <a:lnTo>
                      <a:pt x="54" y="80"/>
                    </a:lnTo>
                    <a:lnTo>
                      <a:pt x="54" y="80"/>
                    </a:lnTo>
                    <a:lnTo>
                      <a:pt x="57" y="68"/>
                    </a:lnTo>
                    <a:lnTo>
                      <a:pt x="55" y="66"/>
                    </a:lnTo>
                    <a:lnTo>
                      <a:pt x="54" y="66"/>
                    </a:lnTo>
                    <a:lnTo>
                      <a:pt x="54" y="66"/>
                    </a:lnTo>
                    <a:lnTo>
                      <a:pt x="54" y="52"/>
                    </a:lnTo>
                    <a:lnTo>
                      <a:pt x="57" y="48"/>
                    </a:lnTo>
                    <a:lnTo>
                      <a:pt x="57" y="4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90" name="Freeform 1838"/>
              <p:cNvSpPr>
                <a:spLocks/>
              </p:cNvSpPr>
              <p:nvPr/>
            </p:nvSpPr>
            <p:spPr bwMode="auto">
              <a:xfrm>
                <a:off x="1005" y="543"/>
                <a:ext cx="107" cy="125"/>
              </a:xfrm>
              <a:custGeom>
                <a:avLst/>
                <a:gdLst>
                  <a:gd name="T0" fmla="*/ 97 w 107"/>
                  <a:gd name="T1" fmla="*/ 82 h 125"/>
                  <a:gd name="T2" fmla="*/ 93 w 107"/>
                  <a:gd name="T3" fmla="*/ 77 h 125"/>
                  <a:gd name="T4" fmla="*/ 95 w 107"/>
                  <a:gd name="T5" fmla="*/ 66 h 125"/>
                  <a:gd name="T6" fmla="*/ 97 w 107"/>
                  <a:gd name="T7" fmla="*/ 59 h 125"/>
                  <a:gd name="T8" fmla="*/ 95 w 107"/>
                  <a:gd name="T9" fmla="*/ 56 h 125"/>
                  <a:gd name="T10" fmla="*/ 93 w 107"/>
                  <a:gd name="T11" fmla="*/ 57 h 125"/>
                  <a:gd name="T12" fmla="*/ 91 w 107"/>
                  <a:gd name="T13" fmla="*/ 52 h 125"/>
                  <a:gd name="T14" fmla="*/ 88 w 107"/>
                  <a:gd name="T15" fmla="*/ 50 h 125"/>
                  <a:gd name="T16" fmla="*/ 86 w 107"/>
                  <a:gd name="T17" fmla="*/ 41 h 125"/>
                  <a:gd name="T18" fmla="*/ 75 w 107"/>
                  <a:gd name="T19" fmla="*/ 38 h 125"/>
                  <a:gd name="T20" fmla="*/ 70 w 107"/>
                  <a:gd name="T21" fmla="*/ 41 h 125"/>
                  <a:gd name="T22" fmla="*/ 68 w 107"/>
                  <a:gd name="T23" fmla="*/ 39 h 125"/>
                  <a:gd name="T24" fmla="*/ 68 w 107"/>
                  <a:gd name="T25" fmla="*/ 31 h 125"/>
                  <a:gd name="T26" fmla="*/ 65 w 107"/>
                  <a:gd name="T27" fmla="*/ 22 h 125"/>
                  <a:gd name="T28" fmla="*/ 61 w 107"/>
                  <a:gd name="T29" fmla="*/ 27 h 125"/>
                  <a:gd name="T30" fmla="*/ 61 w 107"/>
                  <a:gd name="T31" fmla="*/ 23 h 125"/>
                  <a:gd name="T32" fmla="*/ 56 w 107"/>
                  <a:gd name="T33" fmla="*/ 16 h 125"/>
                  <a:gd name="T34" fmla="*/ 48 w 107"/>
                  <a:gd name="T35" fmla="*/ 13 h 125"/>
                  <a:gd name="T36" fmla="*/ 43 w 107"/>
                  <a:gd name="T37" fmla="*/ 23 h 125"/>
                  <a:gd name="T38" fmla="*/ 41 w 107"/>
                  <a:gd name="T39" fmla="*/ 34 h 125"/>
                  <a:gd name="T40" fmla="*/ 40 w 107"/>
                  <a:gd name="T41" fmla="*/ 11 h 125"/>
                  <a:gd name="T42" fmla="*/ 34 w 107"/>
                  <a:gd name="T43" fmla="*/ 6 h 125"/>
                  <a:gd name="T44" fmla="*/ 31 w 107"/>
                  <a:gd name="T45" fmla="*/ 6 h 125"/>
                  <a:gd name="T46" fmla="*/ 23 w 107"/>
                  <a:gd name="T47" fmla="*/ 0 h 125"/>
                  <a:gd name="T48" fmla="*/ 6 w 107"/>
                  <a:gd name="T49" fmla="*/ 7 h 125"/>
                  <a:gd name="T50" fmla="*/ 2 w 107"/>
                  <a:gd name="T51" fmla="*/ 6 h 125"/>
                  <a:gd name="T52" fmla="*/ 2 w 107"/>
                  <a:gd name="T53" fmla="*/ 31 h 125"/>
                  <a:gd name="T54" fmla="*/ 11 w 107"/>
                  <a:gd name="T55" fmla="*/ 29 h 125"/>
                  <a:gd name="T56" fmla="*/ 13 w 107"/>
                  <a:gd name="T57" fmla="*/ 43 h 125"/>
                  <a:gd name="T58" fmla="*/ 11 w 107"/>
                  <a:gd name="T59" fmla="*/ 47 h 125"/>
                  <a:gd name="T60" fmla="*/ 20 w 107"/>
                  <a:gd name="T61" fmla="*/ 36 h 125"/>
                  <a:gd name="T62" fmla="*/ 23 w 107"/>
                  <a:gd name="T63" fmla="*/ 32 h 125"/>
                  <a:gd name="T64" fmla="*/ 27 w 107"/>
                  <a:gd name="T65" fmla="*/ 34 h 125"/>
                  <a:gd name="T66" fmla="*/ 25 w 107"/>
                  <a:gd name="T67" fmla="*/ 43 h 125"/>
                  <a:gd name="T68" fmla="*/ 23 w 107"/>
                  <a:gd name="T69" fmla="*/ 50 h 125"/>
                  <a:gd name="T70" fmla="*/ 29 w 107"/>
                  <a:gd name="T71" fmla="*/ 48 h 125"/>
                  <a:gd name="T72" fmla="*/ 31 w 107"/>
                  <a:gd name="T73" fmla="*/ 52 h 125"/>
                  <a:gd name="T74" fmla="*/ 36 w 107"/>
                  <a:gd name="T75" fmla="*/ 54 h 125"/>
                  <a:gd name="T76" fmla="*/ 27 w 107"/>
                  <a:gd name="T77" fmla="*/ 59 h 125"/>
                  <a:gd name="T78" fmla="*/ 36 w 107"/>
                  <a:gd name="T79" fmla="*/ 63 h 125"/>
                  <a:gd name="T80" fmla="*/ 27 w 107"/>
                  <a:gd name="T81" fmla="*/ 70 h 125"/>
                  <a:gd name="T82" fmla="*/ 13 w 107"/>
                  <a:gd name="T83" fmla="*/ 66 h 125"/>
                  <a:gd name="T84" fmla="*/ 13 w 107"/>
                  <a:gd name="T85" fmla="*/ 79 h 125"/>
                  <a:gd name="T86" fmla="*/ 23 w 107"/>
                  <a:gd name="T87" fmla="*/ 89 h 125"/>
                  <a:gd name="T88" fmla="*/ 32 w 107"/>
                  <a:gd name="T89" fmla="*/ 89 h 125"/>
                  <a:gd name="T90" fmla="*/ 36 w 107"/>
                  <a:gd name="T91" fmla="*/ 84 h 125"/>
                  <a:gd name="T92" fmla="*/ 45 w 107"/>
                  <a:gd name="T93" fmla="*/ 82 h 125"/>
                  <a:gd name="T94" fmla="*/ 48 w 107"/>
                  <a:gd name="T95" fmla="*/ 89 h 125"/>
                  <a:gd name="T96" fmla="*/ 56 w 107"/>
                  <a:gd name="T97" fmla="*/ 88 h 125"/>
                  <a:gd name="T98" fmla="*/ 68 w 107"/>
                  <a:gd name="T99" fmla="*/ 91 h 125"/>
                  <a:gd name="T100" fmla="*/ 72 w 107"/>
                  <a:gd name="T101" fmla="*/ 95 h 125"/>
                  <a:gd name="T102" fmla="*/ 75 w 107"/>
                  <a:gd name="T103" fmla="*/ 93 h 125"/>
                  <a:gd name="T104" fmla="*/ 77 w 107"/>
                  <a:gd name="T105" fmla="*/ 100 h 125"/>
                  <a:gd name="T106" fmla="*/ 81 w 107"/>
                  <a:gd name="T107" fmla="*/ 114 h 125"/>
                  <a:gd name="T108" fmla="*/ 86 w 107"/>
                  <a:gd name="T109" fmla="*/ 122 h 125"/>
                  <a:gd name="T110" fmla="*/ 91 w 107"/>
                  <a:gd name="T111" fmla="*/ 125 h 125"/>
                  <a:gd name="T112" fmla="*/ 95 w 107"/>
                  <a:gd name="T113" fmla="*/ 122 h 125"/>
                  <a:gd name="T114" fmla="*/ 104 w 107"/>
                  <a:gd name="T115" fmla="*/ 120 h 125"/>
                  <a:gd name="T116" fmla="*/ 104 w 107"/>
                  <a:gd name="T117" fmla="*/ 111 h 125"/>
                  <a:gd name="T118" fmla="*/ 98 w 107"/>
                  <a:gd name="T119" fmla="*/ 88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7" h="125">
                    <a:moveTo>
                      <a:pt x="98" y="88"/>
                    </a:moveTo>
                    <a:lnTo>
                      <a:pt x="97" y="82"/>
                    </a:lnTo>
                    <a:lnTo>
                      <a:pt x="93" y="81"/>
                    </a:lnTo>
                    <a:lnTo>
                      <a:pt x="93" y="77"/>
                    </a:lnTo>
                    <a:lnTo>
                      <a:pt x="91" y="72"/>
                    </a:lnTo>
                    <a:lnTo>
                      <a:pt x="95" y="66"/>
                    </a:lnTo>
                    <a:lnTo>
                      <a:pt x="95" y="63"/>
                    </a:lnTo>
                    <a:lnTo>
                      <a:pt x="97" y="59"/>
                    </a:lnTo>
                    <a:lnTo>
                      <a:pt x="97" y="57"/>
                    </a:lnTo>
                    <a:lnTo>
                      <a:pt x="95" y="56"/>
                    </a:lnTo>
                    <a:lnTo>
                      <a:pt x="95" y="56"/>
                    </a:lnTo>
                    <a:lnTo>
                      <a:pt x="93" y="57"/>
                    </a:lnTo>
                    <a:lnTo>
                      <a:pt x="91" y="52"/>
                    </a:lnTo>
                    <a:lnTo>
                      <a:pt x="91" y="52"/>
                    </a:lnTo>
                    <a:lnTo>
                      <a:pt x="88" y="52"/>
                    </a:lnTo>
                    <a:lnTo>
                      <a:pt x="88" y="50"/>
                    </a:lnTo>
                    <a:lnTo>
                      <a:pt x="88" y="47"/>
                    </a:lnTo>
                    <a:lnTo>
                      <a:pt x="86" y="41"/>
                    </a:lnTo>
                    <a:lnTo>
                      <a:pt x="77" y="34"/>
                    </a:lnTo>
                    <a:lnTo>
                      <a:pt x="75" y="38"/>
                    </a:lnTo>
                    <a:lnTo>
                      <a:pt x="72" y="38"/>
                    </a:lnTo>
                    <a:lnTo>
                      <a:pt x="70" y="41"/>
                    </a:lnTo>
                    <a:lnTo>
                      <a:pt x="68" y="41"/>
                    </a:lnTo>
                    <a:lnTo>
                      <a:pt x="68" y="39"/>
                    </a:lnTo>
                    <a:lnTo>
                      <a:pt x="66" y="38"/>
                    </a:lnTo>
                    <a:lnTo>
                      <a:pt x="68" y="31"/>
                    </a:lnTo>
                    <a:lnTo>
                      <a:pt x="66" y="25"/>
                    </a:lnTo>
                    <a:lnTo>
                      <a:pt x="65" y="22"/>
                    </a:lnTo>
                    <a:lnTo>
                      <a:pt x="65" y="25"/>
                    </a:lnTo>
                    <a:lnTo>
                      <a:pt x="61" y="27"/>
                    </a:lnTo>
                    <a:lnTo>
                      <a:pt x="61" y="25"/>
                    </a:lnTo>
                    <a:lnTo>
                      <a:pt x="61" y="23"/>
                    </a:lnTo>
                    <a:lnTo>
                      <a:pt x="59" y="20"/>
                    </a:lnTo>
                    <a:lnTo>
                      <a:pt x="56" y="16"/>
                    </a:lnTo>
                    <a:lnTo>
                      <a:pt x="52" y="13"/>
                    </a:lnTo>
                    <a:lnTo>
                      <a:pt x="48" y="13"/>
                    </a:lnTo>
                    <a:lnTo>
                      <a:pt x="43" y="20"/>
                    </a:lnTo>
                    <a:lnTo>
                      <a:pt x="43" y="23"/>
                    </a:lnTo>
                    <a:lnTo>
                      <a:pt x="43" y="31"/>
                    </a:lnTo>
                    <a:lnTo>
                      <a:pt x="41" y="34"/>
                    </a:lnTo>
                    <a:lnTo>
                      <a:pt x="38" y="29"/>
                    </a:lnTo>
                    <a:lnTo>
                      <a:pt x="40" y="11"/>
                    </a:lnTo>
                    <a:lnTo>
                      <a:pt x="38" y="7"/>
                    </a:lnTo>
                    <a:lnTo>
                      <a:pt x="34" y="6"/>
                    </a:lnTo>
                    <a:lnTo>
                      <a:pt x="31" y="7"/>
                    </a:lnTo>
                    <a:lnTo>
                      <a:pt x="31" y="6"/>
                    </a:lnTo>
                    <a:lnTo>
                      <a:pt x="31" y="4"/>
                    </a:lnTo>
                    <a:lnTo>
                      <a:pt x="23" y="0"/>
                    </a:lnTo>
                    <a:lnTo>
                      <a:pt x="18" y="4"/>
                    </a:lnTo>
                    <a:lnTo>
                      <a:pt x="6" y="7"/>
                    </a:lnTo>
                    <a:lnTo>
                      <a:pt x="4" y="6"/>
                    </a:lnTo>
                    <a:lnTo>
                      <a:pt x="2" y="6"/>
                    </a:lnTo>
                    <a:lnTo>
                      <a:pt x="0" y="16"/>
                    </a:lnTo>
                    <a:lnTo>
                      <a:pt x="2" y="31"/>
                    </a:lnTo>
                    <a:lnTo>
                      <a:pt x="4" y="31"/>
                    </a:lnTo>
                    <a:lnTo>
                      <a:pt x="11" y="29"/>
                    </a:lnTo>
                    <a:lnTo>
                      <a:pt x="15" y="29"/>
                    </a:lnTo>
                    <a:lnTo>
                      <a:pt x="13" y="43"/>
                    </a:lnTo>
                    <a:lnTo>
                      <a:pt x="9" y="45"/>
                    </a:lnTo>
                    <a:lnTo>
                      <a:pt x="11" y="47"/>
                    </a:lnTo>
                    <a:lnTo>
                      <a:pt x="16" y="45"/>
                    </a:lnTo>
                    <a:lnTo>
                      <a:pt x="20" y="36"/>
                    </a:lnTo>
                    <a:lnTo>
                      <a:pt x="22" y="34"/>
                    </a:lnTo>
                    <a:lnTo>
                      <a:pt x="23" y="32"/>
                    </a:lnTo>
                    <a:lnTo>
                      <a:pt x="25" y="32"/>
                    </a:lnTo>
                    <a:lnTo>
                      <a:pt x="27" y="34"/>
                    </a:lnTo>
                    <a:lnTo>
                      <a:pt x="27" y="38"/>
                    </a:lnTo>
                    <a:lnTo>
                      <a:pt x="25" y="43"/>
                    </a:lnTo>
                    <a:lnTo>
                      <a:pt x="23" y="45"/>
                    </a:lnTo>
                    <a:lnTo>
                      <a:pt x="23" y="50"/>
                    </a:lnTo>
                    <a:lnTo>
                      <a:pt x="27" y="52"/>
                    </a:lnTo>
                    <a:lnTo>
                      <a:pt x="29" y="48"/>
                    </a:lnTo>
                    <a:lnTo>
                      <a:pt x="29" y="48"/>
                    </a:lnTo>
                    <a:lnTo>
                      <a:pt x="31" y="52"/>
                    </a:lnTo>
                    <a:lnTo>
                      <a:pt x="36" y="50"/>
                    </a:lnTo>
                    <a:lnTo>
                      <a:pt x="36" y="54"/>
                    </a:lnTo>
                    <a:lnTo>
                      <a:pt x="34" y="56"/>
                    </a:lnTo>
                    <a:lnTo>
                      <a:pt x="27" y="59"/>
                    </a:lnTo>
                    <a:lnTo>
                      <a:pt x="27" y="61"/>
                    </a:lnTo>
                    <a:lnTo>
                      <a:pt x="36" y="63"/>
                    </a:lnTo>
                    <a:lnTo>
                      <a:pt x="34" y="72"/>
                    </a:lnTo>
                    <a:lnTo>
                      <a:pt x="27" y="70"/>
                    </a:lnTo>
                    <a:lnTo>
                      <a:pt x="18" y="66"/>
                    </a:lnTo>
                    <a:lnTo>
                      <a:pt x="13" y="66"/>
                    </a:lnTo>
                    <a:lnTo>
                      <a:pt x="11" y="70"/>
                    </a:lnTo>
                    <a:lnTo>
                      <a:pt x="13" y="79"/>
                    </a:lnTo>
                    <a:lnTo>
                      <a:pt x="16" y="84"/>
                    </a:lnTo>
                    <a:lnTo>
                      <a:pt x="23" y="89"/>
                    </a:lnTo>
                    <a:lnTo>
                      <a:pt x="31" y="91"/>
                    </a:lnTo>
                    <a:lnTo>
                      <a:pt x="32" y="89"/>
                    </a:lnTo>
                    <a:lnTo>
                      <a:pt x="34" y="84"/>
                    </a:lnTo>
                    <a:lnTo>
                      <a:pt x="36" y="84"/>
                    </a:lnTo>
                    <a:lnTo>
                      <a:pt x="47" y="81"/>
                    </a:lnTo>
                    <a:lnTo>
                      <a:pt x="45" y="82"/>
                    </a:lnTo>
                    <a:lnTo>
                      <a:pt x="47" y="86"/>
                    </a:lnTo>
                    <a:lnTo>
                      <a:pt x="48" y="89"/>
                    </a:lnTo>
                    <a:lnTo>
                      <a:pt x="52" y="89"/>
                    </a:lnTo>
                    <a:lnTo>
                      <a:pt x="56" y="88"/>
                    </a:lnTo>
                    <a:lnTo>
                      <a:pt x="66" y="89"/>
                    </a:lnTo>
                    <a:lnTo>
                      <a:pt x="68" y="91"/>
                    </a:lnTo>
                    <a:lnTo>
                      <a:pt x="68" y="95"/>
                    </a:lnTo>
                    <a:lnTo>
                      <a:pt x="72" y="95"/>
                    </a:lnTo>
                    <a:lnTo>
                      <a:pt x="73" y="93"/>
                    </a:lnTo>
                    <a:lnTo>
                      <a:pt x="75" y="93"/>
                    </a:lnTo>
                    <a:lnTo>
                      <a:pt x="75" y="97"/>
                    </a:lnTo>
                    <a:lnTo>
                      <a:pt x="77" y="100"/>
                    </a:lnTo>
                    <a:lnTo>
                      <a:pt x="77" y="107"/>
                    </a:lnTo>
                    <a:lnTo>
                      <a:pt x="81" y="114"/>
                    </a:lnTo>
                    <a:lnTo>
                      <a:pt x="81" y="116"/>
                    </a:lnTo>
                    <a:lnTo>
                      <a:pt x="86" y="122"/>
                    </a:lnTo>
                    <a:lnTo>
                      <a:pt x="88" y="122"/>
                    </a:lnTo>
                    <a:lnTo>
                      <a:pt x="91" y="125"/>
                    </a:lnTo>
                    <a:lnTo>
                      <a:pt x="93" y="123"/>
                    </a:lnTo>
                    <a:lnTo>
                      <a:pt x="95" y="122"/>
                    </a:lnTo>
                    <a:lnTo>
                      <a:pt x="98" y="122"/>
                    </a:lnTo>
                    <a:lnTo>
                      <a:pt x="104" y="120"/>
                    </a:lnTo>
                    <a:lnTo>
                      <a:pt x="106" y="116"/>
                    </a:lnTo>
                    <a:lnTo>
                      <a:pt x="104" y="111"/>
                    </a:lnTo>
                    <a:lnTo>
                      <a:pt x="107" y="104"/>
                    </a:lnTo>
                    <a:lnTo>
                      <a:pt x="98" y="88"/>
                    </a:lnTo>
                    <a:lnTo>
                      <a:pt x="98" y="8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91" name="Freeform 1839"/>
              <p:cNvSpPr>
                <a:spLocks/>
              </p:cNvSpPr>
              <p:nvPr/>
            </p:nvSpPr>
            <p:spPr bwMode="auto">
              <a:xfrm>
                <a:off x="1103" y="486"/>
                <a:ext cx="22" cy="34"/>
              </a:xfrm>
              <a:custGeom>
                <a:avLst/>
                <a:gdLst>
                  <a:gd name="T0" fmla="*/ 0 w 22"/>
                  <a:gd name="T1" fmla="*/ 14 h 34"/>
                  <a:gd name="T2" fmla="*/ 9 w 22"/>
                  <a:gd name="T3" fmla="*/ 14 h 34"/>
                  <a:gd name="T4" fmla="*/ 11 w 22"/>
                  <a:gd name="T5" fmla="*/ 16 h 34"/>
                  <a:gd name="T6" fmla="*/ 11 w 22"/>
                  <a:gd name="T7" fmla="*/ 20 h 34"/>
                  <a:gd name="T8" fmla="*/ 11 w 22"/>
                  <a:gd name="T9" fmla="*/ 21 h 34"/>
                  <a:gd name="T10" fmla="*/ 17 w 22"/>
                  <a:gd name="T11" fmla="*/ 32 h 34"/>
                  <a:gd name="T12" fmla="*/ 18 w 22"/>
                  <a:gd name="T13" fmla="*/ 34 h 34"/>
                  <a:gd name="T14" fmla="*/ 22 w 22"/>
                  <a:gd name="T15" fmla="*/ 7 h 34"/>
                  <a:gd name="T16" fmla="*/ 20 w 22"/>
                  <a:gd name="T17" fmla="*/ 0 h 34"/>
                  <a:gd name="T18" fmla="*/ 2 w 22"/>
                  <a:gd name="T19" fmla="*/ 0 h 34"/>
                  <a:gd name="T20" fmla="*/ 0 w 22"/>
                  <a:gd name="T21" fmla="*/ 14 h 34"/>
                  <a:gd name="T22" fmla="*/ 0 w 22"/>
                  <a:gd name="T23" fmla="*/ 1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34">
                    <a:moveTo>
                      <a:pt x="0" y="14"/>
                    </a:moveTo>
                    <a:lnTo>
                      <a:pt x="9" y="14"/>
                    </a:lnTo>
                    <a:lnTo>
                      <a:pt x="11" y="16"/>
                    </a:lnTo>
                    <a:lnTo>
                      <a:pt x="11" y="20"/>
                    </a:lnTo>
                    <a:lnTo>
                      <a:pt x="11" y="21"/>
                    </a:lnTo>
                    <a:lnTo>
                      <a:pt x="17" y="32"/>
                    </a:lnTo>
                    <a:lnTo>
                      <a:pt x="18" y="34"/>
                    </a:lnTo>
                    <a:lnTo>
                      <a:pt x="22" y="7"/>
                    </a:lnTo>
                    <a:lnTo>
                      <a:pt x="20" y="0"/>
                    </a:lnTo>
                    <a:lnTo>
                      <a:pt x="2" y="0"/>
                    </a:lnTo>
                    <a:lnTo>
                      <a:pt x="0" y="14"/>
                    </a:lnTo>
                    <a:lnTo>
                      <a:pt x="0" y="1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92" name="Freeform 1840"/>
              <p:cNvSpPr>
                <a:spLocks/>
              </p:cNvSpPr>
              <p:nvPr/>
            </p:nvSpPr>
            <p:spPr bwMode="auto">
              <a:xfrm>
                <a:off x="1159" y="486"/>
                <a:ext cx="177" cy="163"/>
              </a:xfrm>
              <a:custGeom>
                <a:avLst/>
                <a:gdLst>
                  <a:gd name="T0" fmla="*/ 7 w 177"/>
                  <a:gd name="T1" fmla="*/ 11 h 163"/>
                  <a:gd name="T2" fmla="*/ 5 w 177"/>
                  <a:gd name="T3" fmla="*/ 20 h 163"/>
                  <a:gd name="T4" fmla="*/ 27 w 177"/>
                  <a:gd name="T5" fmla="*/ 34 h 163"/>
                  <a:gd name="T6" fmla="*/ 30 w 177"/>
                  <a:gd name="T7" fmla="*/ 41 h 163"/>
                  <a:gd name="T8" fmla="*/ 14 w 177"/>
                  <a:gd name="T9" fmla="*/ 41 h 163"/>
                  <a:gd name="T10" fmla="*/ 12 w 177"/>
                  <a:gd name="T11" fmla="*/ 52 h 163"/>
                  <a:gd name="T12" fmla="*/ 21 w 177"/>
                  <a:gd name="T13" fmla="*/ 55 h 163"/>
                  <a:gd name="T14" fmla="*/ 25 w 177"/>
                  <a:gd name="T15" fmla="*/ 68 h 163"/>
                  <a:gd name="T16" fmla="*/ 32 w 177"/>
                  <a:gd name="T17" fmla="*/ 57 h 163"/>
                  <a:gd name="T18" fmla="*/ 43 w 177"/>
                  <a:gd name="T19" fmla="*/ 55 h 163"/>
                  <a:gd name="T20" fmla="*/ 39 w 177"/>
                  <a:gd name="T21" fmla="*/ 64 h 163"/>
                  <a:gd name="T22" fmla="*/ 46 w 177"/>
                  <a:gd name="T23" fmla="*/ 59 h 163"/>
                  <a:gd name="T24" fmla="*/ 50 w 177"/>
                  <a:gd name="T25" fmla="*/ 59 h 163"/>
                  <a:gd name="T26" fmla="*/ 57 w 177"/>
                  <a:gd name="T27" fmla="*/ 55 h 163"/>
                  <a:gd name="T28" fmla="*/ 80 w 177"/>
                  <a:gd name="T29" fmla="*/ 59 h 163"/>
                  <a:gd name="T30" fmla="*/ 66 w 177"/>
                  <a:gd name="T31" fmla="*/ 63 h 163"/>
                  <a:gd name="T32" fmla="*/ 62 w 177"/>
                  <a:gd name="T33" fmla="*/ 68 h 163"/>
                  <a:gd name="T34" fmla="*/ 91 w 177"/>
                  <a:gd name="T35" fmla="*/ 66 h 163"/>
                  <a:gd name="T36" fmla="*/ 44 w 177"/>
                  <a:gd name="T37" fmla="*/ 84 h 163"/>
                  <a:gd name="T38" fmla="*/ 48 w 177"/>
                  <a:gd name="T39" fmla="*/ 104 h 163"/>
                  <a:gd name="T40" fmla="*/ 46 w 177"/>
                  <a:gd name="T41" fmla="*/ 109 h 163"/>
                  <a:gd name="T42" fmla="*/ 48 w 177"/>
                  <a:gd name="T43" fmla="*/ 118 h 163"/>
                  <a:gd name="T44" fmla="*/ 57 w 177"/>
                  <a:gd name="T45" fmla="*/ 121 h 163"/>
                  <a:gd name="T46" fmla="*/ 52 w 177"/>
                  <a:gd name="T47" fmla="*/ 132 h 163"/>
                  <a:gd name="T48" fmla="*/ 59 w 177"/>
                  <a:gd name="T49" fmla="*/ 146 h 163"/>
                  <a:gd name="T50" fmla="*/ 64 w 177"/>
                  <a:gd name="T51" fmla="*/ 145 h 163"/>
                  <a:gd name="T52" fmla="*/ 66 w 177"/>
                  <a:gd name="T53" fmla="*/ 155 h 163"/>
                  <a:gd name="T54" fmla="*/ 94 w 177"/>
                  <a:gd name="T55" fmla="*/ 163 h 163"/>
                  <a:gd name="T56" fmla="*/ 87 w 177"/>
                  <a:gd name="T57" fmla="*/ 148 h 163"/>
                  <a:gd name="T58" fmla="*/ 105 w 177"/>
                  <a:gd name="T59" fmla="*/ 157 h 163"/>
                  <a:gd name="T60" fmla="*/ 94 w 177"/>
                  <a:gd name="T61" fmla="*/ 123 h 163"/>
                  <a:gd name="T62" fmla="*/ 107 w 177"/>
                  <a:gd name="T63" fmla="*/ 141 h 163"/>
                  <a:gd name="T64" fmla="*/ 121 w 177"/>
                  <a:gd name="T65" fmla="*/ 139 h 163"/>
                  <a:gd name="T66" fmla="*/ 118 w 177"/>
                  <a:gd name="T67" fmla="*/ 123 h 163"/>
                  <a:gd name="T68" fmla="*/ 128 w 177"/>
                  <a:gd name="T69" fmla="*/ 125 h 163"/>
                  <a:gd name="T70" fmla="*/ 127 w 177"/>
                  <a:gd name="T71" fmla="*/ 80 h 163"/>
                  <a:gd name="T72" fmla="*/ 143 w 177"/>
                  <a:gd name="T73" fmla="*/ 100 h 163"/>
                  <a:gd name="T74" fmla="*/ 150 w 177"/>
                  <a:gd name="T75" fmla="*/ 89 h 163"/>
                  <a:gd name="T76" fmla="*/ 177 w 177"/>
                  <a:gd name="T77" fmla="*/ 66 h 163"/>
                  <a:gd name="T78" fmla="*/ 171 w 177"/>
                  <a:gd name="T79" fmla="*/ 48 h 163"/>
                  <a:gd name="T80" fmla="*/ 157 w 177"/>
                  <a:gd name="T81" fmla="*/ 50 h 163"/>
                  <a:gd name="T82" fmla="*/ 155 w 177"/>
                  <a:gd name="T83" fmla="*/ 36 h 163"/>
                  <a:gd name="T84" fmla="*/ 143 w 177"/>
                  <a:gd name="T85" fmla="*/ 30 h 163"/>
                  <a:gd name="T86" fmla="*/ 135 w 177"/>
                  <a:gd name="T87" fmla="*/ 32 h 163"/>
                  <a:gd name="T88" fmla="*/ 141 w 177"/>
                  <a:gd name="T89" fmla="*/ 9 h 163"/>
                  <a:gd name="T90" fmla="*/ 30 w 177"/>
                  <a:gd name="T91" fmla="*/ 0 h 163"/>
                  <a:gd name="T92" fmla="*/ 30 w 177"/>
                  <a:gd name="T93" fmla="*/ 0 h 163"/>
                  <a:gd name="T94" fmla="*/ 2 w 177"/>
                  <a:gd name="T9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7" h="163">
                    <a:moveTo>
                      <a:pt x="2" y="5"/>
                    </a:moveTo>
                    <a:lnTo>
                      <a:pt x="7" y="7"/>
                    </a:lnTo>
                    <a:lnTo>
                      <a:pt x="7" y="9"/>
                    </a:lnTo>
                    <a:lnTo>
                      <a:pt x="7" y="11"/>
                    </a:lnTo>
                    <a:lnTo>
                      <a:pt x="0" y="11"/>
                    </a:lnTo>
                    <a:lnTo>
                      <a:pt x="3" y="14"/>
                    </a:lnTo>
                    <a:lnTo>
                      <a:pt x="3" y="16"/>
                    </a:lnTo>
                    <a:lnTo>
                      <a:pt x="5" y="20"/>
                    </a:lnTo>
                    <a:lnTo>
                      <a:pt x="10" y="29"/>
                    </a:lnTo>
                    <a:lnTo>
                      <a:pt x="16" y="34"/>
                    </a:lnTo>
                    <a:lnTo>
                      <a:pt x="18" y="36"/>
                    </a:lnTo>
                    <a:lnTo>
                      <a:pt x="27" y="34"/>
                    </a:lnTo>
                    <a:lnTo>
                      <a:pt x="30" y="36"/>
                    </a:lnTo>
                    <a:lnTo>
                      <a:pt x="37" y="30"/>
                    </a:lnTo>
                    <a:lnTo>
                      <a:pt x="35" y="38"/>
                    </a:lnTo>
                    <a:lnTo>
                      <a:pt x="30" y="41"/>
                    </a:lnTo>
                    <a:lnTo>
                      <a:pt x="25" y="41"/>
                    </a:lnTo>
                    <a:lnTo>
                      <a:pt x="23" y="43"/>
                    </a:lnTo>
                    <a:lnTo>
                      <a:pt x="19" y="45"/>
                    </a:lnTo>
                    <a:lnTo>
                      <a:pt x="14" y="41"/>
                    </a:lnTo>
                    <a:lnTo>
                      <a:pt x="12" y="43"/>
                    </a:lnTo>
                    <a:lnTo>
                      <a:pt x="10" y="46"/>
                    </a:lnTo>
                    <a:lnTo>
                      <a:pt x="12" y="48"/>
                    </a:lnTo>
                    <a:lnTo>
                      <a:pt x="12" y="52"/>
                    </a:lnTo>
                    <a:lnTo>
                      <a:pt x="14" y="55"/>
                    </a:lnTo>
                    <a:lnTo>
                      <a:pt x="18" y="54"/>
                    </a:lnTo>
                    <a:lnTo>
                      <a:pt x="18" y="55"/>
                    </a:lnTo>
                    <a:lnTo>
                      <a:pt x="21" y="55"/>
                    </a:lnTo>
                    <a:lnTo>
                      <a:pt x="21" y="57"/>
                    </a:lnTo>
                    <a:lnTo>
                      <a:pt x="23" y="61"/>
                    </a:lnTo>
                    <a:lnTo>
                      <a:pt x="23" y="61"/>
                    </a:lnTo>
                    <a:lnTo>
                      <a:pt x="25" y="68"/>
                    </a:lnTo>
                    <a:lnTo>
                      <a:pt x="27" y="64"/>
                    </a:lnTo>
                    <a:lnTo>
                      <a:pt x="28" y="61"/>
                    </a:lnTo>
                    <a:lnTo>
                      <a:pt x="32" y="61"/>
                    </a:lnTo>
                    <a:lnTo>
                      <a:pt x="32" y="57"/>
                    </a:lnTo>
                    <a:lnTo>
                      <a:pt x="32" y="55"/>
                    </a:lnTo>
                    <a:lnTo>
                      <a:pt x="34" y="52"/>
                    </a:lnTo>
                    <a:lnTo>
                      <a:pt x="39" y="55"/>
                    </a:lnTo>
                    <a:lnTo>
                      <a:pt x="43" y="55"/>
                    </a:lnTo>
                    <a:lnTo>
                      <a:pt x="39" y="59"/>
                    </a:lnTo>
                    <a:lnTo>
                      <a:pt x="37" y="61"/>
                    </a:lnTo>
                    <a:lnTo>
                      <a:pt x="37" y="64"/>
                    </a:lnTo>
                    <a:lnTo>
                      <a:pt x="39" y="64"/>
                    </a:lnTo>
                    <a:lnTo>
                      <a:pt x="41" y="68"/>
                    </a:lnTo>
                    <a:lnTo>
                      <a:pt x="43" y="68"/>
                    </a:lnTo>
                    <a:lnTo>
                      <a:pt x="46" y="64"/>
                    </a:lnTo>
                    <a:lnTo>
                      <a:pt x="46" y="59"/>
                    </a:lnTo>
                    <a:lnTo>
                      <a:pt x="50" y="57"/>
                    </a:lnTo>
                    <a:lnTo>
                      <a:pt x="52" y="50"/>
                    </a:lnTo>
                    <a:lnTo>
                      <a:pt x="52" y="52"/>
                    </a:lnTo>
                    <a:lnTo>
                      <a:pt x="50" y="59"/>
                    </a:lnTo>
                    <a:lnTo>
                      <a:pt x="52" y="61"/>
                    </a:lnTo>
                    <a:lnTo>
                      <a:pt x="57" y="59"/>
                    </a:lnTo>
                    <a:lnTo>
                      <a:pt x="57" y="55"/>
                    </a:lnTo>
                    <a:lnTo>
                      <a:pt x="57" y="55"/>
                    </a:lnTo>
                    <a:lnTo>
                      <a:pt x="64" y="52"/>
                    </a:lnTo>
                    <a:lnTo>
                      <a:pt x="62" y="57"/>
                    </a:lnTo>
                    <a:lnTo>
                      <a:pt x="68" y="61"/>
                    </a:lnTo>
                    <a:lnTo>
                      <a:pt x="80" y="59"/>
                    </a:lnTo>
                    <a:lnTo>
                      <a:pt x="82" y="59"/>
                    </a:lnTo>
                    <a:lnTo>
                      <a:pt x="80" y="61"/>
                    </a:lnTo>
                    <a:lnTo>
                      <a:pt x="77" y="63"/>
                    </a:lnTo>
                    <a:lnTo>
                      <a:pt x="66" y="63"/>
                    </a:lnTo>
                    <a:lnTo>
                      <a:pt x="64" y="64"/>
                    </a:lnTo>
                    <a:lnTo>
                      <a:pt x="60" y="64"/>
                    </a:lnTo>
                    <a:lnTo>
                      <a:pt x="60" y="66"/>
                    </a:lnTo>
                    <a:lnTo>
                      <a:pt x="62" y="68"/>
                    </a:lnTo>
                    <a:lnTo>
                      <a:pt x="66" y="71"/>
                    </a:lnTo>
                    <a:lnTo>
                      <a:pt x="77" y="70"/>
                    </a:lnTo>
                    <a:lnTo>
                      <a:pt x="78" y="68"/>
                    </a:lnTo>
                    <a:lnTo>
                      <a:pt x="91" y="66"/>
                    </a:lnTo>
                    <a:lnTo>
                      <a:pt x="94" y="64"/>
                    </a:lnTo>
                    <a:lnTo>
                      <a:pt x="93" y="70"/>
                    </a:lnTo>
                    <a:lnTo>
                      <a:pt x="52" y="77"/>
                    </a:lnTo>
                    <a:lnTo>
                      <a:pt x="44" y="84"/>
                    </a:lnTo>
                    <a:lnTo>
                      <a:pt x="41" y="86"/>
                    </a:lnTo>
                    <a:lnTo>
                      <a:pt x="37" y="91"/>
                    </a:lnTo>
                    <a:lnTo>
                      <a:pt x="43" y="104"/>
                    </a:lnTo>
                    <a:lnTo>
                      <a:pt x="48" y="104"/>
                    </a:lnTo>
                    <a:lnTo>
                      <a:pt x="53" y="107"/>
                    </a:lnTo>
                    <a:lnTo>
                      <a:pt x="55" y="111"/>
                    </a:lnTo>
                    <a:lnTo>
                      <a:pt x="48" y="111"/>
                    </a:lnTo>
                    <a:lnTo>
                      <a:pt x="46" y="109"/>
                    </a:lnTo>
                    <a:lnTo>
                      <a:pt x="44" y="109"/>
                    </a:lnTo>
                    <a:lnTo>
                      <a:pt x="44" y="114"/>
                    </a:lnTo>
                    <a:lnTo>
                      <a:pt x="46" y="118"/>
                    </a:lnTo>
                    <a:lnTo>
                      <a:pt x="48" y="118"/>
                    </a:lnTo>
                    <a:lnTo>
                      <a:pt x="48" y="120"/>
                    </a:lnTo>
                    <a:lnTo>
                      <a:pt x="48" y="121"/>
                    </a:lnTo>
                    <a:lnTo>
                      <a:pt x="50" y="123"/>
                    </a:lnTo>
                    <a:lnTo>
                      <a:pt x="57" y="121"/>
                    </a:lnTo>
                    <a:lnTo>
                      <a:pt x="59" y="123"/>
                    </a:lnTo>
                    <a:lnTo>
                      <a:pt x="71" y="129"/>
                    </a:lnTo>
                    <a:lnTo>
                      <a:pt x="69" y="130"/>
                    </a:lnTo>
                    <a:lnTo>
                      <a:pt x="52" y="132"/>
                    </a:lnTo>
                    <a:lnTo>
                      <a:pt x="52" y="138"/>
                    </a:lnTo>
                    <a:lnTo>
                      <a:pt x="53" y="141"/>
                    </a:lnTo>
                    <a:lnTo>
                      <a:pt x="57" y="143"/>
                    </a:lnTo>
                    <a:lnTo>
                      <a:pt x="59" y="146"/>
                    </a:lnTo>
                    <a:lnTo>
                      <a:pt x="60" y="148"/>
                    </a:lnTo>
                    <a:lnTo>
                      <a:pt x="62" y="146"/>
                    </a:lnTo>
                    <a:lnTo>
                      <a:pt x="62" y="145"/>
                    </a:lnTo>
                    <a:lnTo>
                      <a:pt x="64" y="145"/>
                    </a:lnTo>
                    <a:lnTo>
                      <a:pt x="64" y="146"/>
                    </a:lnTo>
                    <a:lnTo>
                      <a:pt x="62" y="148"/>
                    </a:lnTo>
                    <a:lnTo>
                      <a:pt x="64" y="152"/>
                    </a:lnTo>
                    <a:lnTo>
                      <a:pt x="66" y="155"/>
                    </a:lnTo>
                    <a:lnTo>
                      <a:pt x="71" y="155"/>
                    </a:lnTo>
                    <a:lnTo>
                      <a:pt x="73" y="159"/>
                    </a:lnTo>
                    <a:lnTo>
                      <a:pt x="85" y="163"/>
                    </a:lnTo>
                    <a:lnTo>
                      <a:pt x="94" y="163"/>
                    </a:lnTo>
                    <a:lnTo>
                      <a:pt x="96" y="159"/>
                    </a:lnTo>
                    <a:lnTo>
                      <a:pt x="94" y="154"/>
                    </a:lnTo>
                    <a:lnTo>
                      <a:pt x="89" y="152"/>
                    </a:lnTo>
                    <a:lnTo>
                      <a:pt x="87" y="148"/>
                    </a:lnTo>
                    <a:lnTo>
                      <a:pt x="96" y="148"/>
                    </a:lnTo>
                    <a:lnTo>
                      <a:pt x="100" y="150"/>
                    </a:lnTo>
                    <a:lnTo>
                      <a:pt x="102" y="154"/>
                    </a:lnTo>
                    <a:lnTo>
                      <a:pt x="105" y="157"/>
                    </a:lnTo>
                    <a:lnTo>
                      <a:pt x="107" y="161"/>
                    </a:lnTo>
                    <a:lnTo>
                      <a:pt x="107" y="159"/>
                    </a:lnTo>
                    <a:lnTo>
                      <a:pt x="94" y="130"/>
                    </a:lnTo>
                    <a:lnTo>
                      <a:pt x="94" y="123"/>
                    </a:lnTo>
                    <a:lnTo>
                      <a:pt x="96" y="123"/>
                    </a:lnTo>
                    <a:lnTo>
                      <a:pt x="96" y="125"/>
                    </a:lnTo>
                    <a:lnTo>
                      <a:pt x="102" y="136"/>
                    </a:lnTo>
                    <a:lnTo>
                      <a:pt x="107" y="141"/>
                    </a:lnTo>
                    <a:lnTo>
                      <a:pt x="112" y="154"/>
                    </a:lnTo>
                    <a:lnTo>
                      <a:pt x="116" y="159"/>
                    </a:lnTo>
                    <a:lnTo>
                      <a:pt x="118" y="159"/>
                    </a:lnTo>
                    <a:lnTo>
                      <a:pt x="121" y="139"/>
                    </a:lnTo>
                    <a:lnTo>
                      <a:pt x="116" y="130"/>
                    </a:lnTo>
                    <a:lnTo>
                      <a:pt x="116" y="120"/>
                    </a:lnTo>
                    <a:lnTo>
                      <a:pt x="118" y="121"/>
                    </a:lnTo>
                    <a:lnTo>
                      <a:pt x="118" y="123"/>
                    </a:lnTo>
                    <a:lnTo>
                      <a:pt x="121" y="130"/>
                    </a:lnTo>
                    <a:lnTo>
                      <a:pt x="123" y="134"/>
                    </a:lnTo>
                    <a:lnTo>
                      <a:pt x="127" y="134"/>
                    </a:lnTo>
                    <a:lnTo>
                      <a:pt x="128" y="125"/>
                    </a:lnTo>
                    <a:lnTo>
                      <a:pt x="127" y="121"/>
                    </a:lnTo>
                    <a:lnTo>
                      <a:pt x="125" y="118"/>
                    </a:lnTo>
                    <a:lnTo>
                      <a:pt x="127" y="82"/>
                    </a:lnTo>
                    <a:lnTo>
                      <a:pt x="127" y="80"/>
                    </a:lnTo>
                    <a:lnTo>
                      <a:pt x="128" y="111"/>
                    </a:lnTo>
                    <a:lnTo>
                      <a:pt x="134" y="118"/>
                    </a:lnTo>
                    <a:lnTo>
                      <a:pt x="135" y="118"/>
                    </a:lnTo>
                    <a:lnTo>
                      <a:pt x="143" y="100"/>
                    </a:lnTo>
                    <a:lnTo>
                      <a:pt x="143" y="84"/>
                    </a:lnTo>
                    <a:lnTo>
                      <a:pt x="144" y="88"/>
                    </a:lnTo>
                    <a:lnTo>
                      <a:pt x="146" y="95"/>
                    </a:lnTo>
                    <a:lnTo>
                      <a:pt x="150" y="89"/>
                    </a:lnTo>
                    <a:lnTo>
                      <a:pt x="150" y="89"/>
                    </a:lnTo>
                    <a:lnTo>
                      <a:pt x="150" y="84"/>
                    </a:lnTo>
                    <a:lnTo>
                      <a:pt x="166" y="77"/>
                    </a:lnTo>
                    <a:lnTo>
                      <a:pt x="177" y="66"/>
                    </a:lnTo>
                    <a:lnTo>
                      <a:pt x="177" y="59"/>
                    </a:lnTo>
                    <a:lnTo>
                      <a:pt x="177" y="55"/>
                    </a:lnTo>
                    <a:lnTo>
                      <a:pt x="173" y="54"/>
                    </a:lnTo>
                    <a:lnTo>
                      <a:pt x="171" y="48"/>
                    </a:lnTo>
                    <a:lnTo>
                      <a:pt x="164" y="36"/>
                    </a:lnTo>
                    <a:lnTo>
                      <a:pt x="162" y="36"/>
                    </a:lnTo>
                    <a:lnTo>
                      <a:pt x="159" y="46"/>
                    </a:lnTo>
                    <a:lnTo>
                      <a:pt x="157" y="50"/>
                    </a:lnTo>
                    <a:lnTo>
                      <a:pt x="157" y="48"/>
                    </a:lnTo>
                    <a:lnTo>
                      <a:pt x="159" y="46"/>
                    </a:lnTo>
                    <a:lnTo>
                      <a:pt x="157" y="38"/>
                    </a:lnTo>
                    <a:lnTo>
                      <a:pt x="155" y="36"/>
                    </a:lnTo>
                    <a:lnTo>
                      <a:pt x="152" y="29"/>
                    </a:lnTo>
                    <a:lnTo>
                      <a:pt x="148" y="27"/>
                    </a:lnTo>
                    <a:lnTo>
                      <a:pt x="146" y="27"/>
                    </a:lnTo>
                    <a:lnTo>
                      <a:pt x="143" y="30"/>
                    </a:lnTo>
                    <a:lnTo>
                      <a:pt x="141" y="30"/>
                    </a:lnTo>
                    <a:lnTo>
                      <a:pt x="137" y="36"/>
                    </a:lnTo>
                    <a:lnTo>
                      <a:pt x="135" y="36"/>
                    </a:lnTo>
                    <a:lnTo>
                      <a:pt x="135" y="32"/>
                    </a:lnTo>
                    <a:lnTo>
                      <a:pt x="137" y="29"/>
                    </a:lnTo>
                    <a:lnTo>
                      <a:pt x="141" y="27"/>
                    </a:lnTo>
                    <a:lnTo>
                      <a:pt x="144" y="7"/>
                    </a:lnTo>
                    <a:lnTo>
                      <a:pt x="141" y="9"/>
                    </a:lnTo>
                    <a:lnTo>
                      <a:pt x="141" y="7"/>
                    </a:lnTo>
                    <a:lnTo>
                      <a:pt x="144" y="4"/>
                    </a:lnTo>
                    <a:lnTo>
                      <a:pt x="143" y="0"/>
                    </a:lnTo>
                    <a:lnTo>
                      <a:pt x="30" y="0"/>
                    </a:lnTo>
                    <a:lnTo>
                      <a:pt x="32" y="2"/>
                    </a:lnTo>
                    <a:lnTo>
                      <a:pt x="32" y="4"/>
                    </a:lnTo>
                    <a:lnTo>
                      <a:pt x="30" y="0"/>
                    </a:lnTo>
                    <a:lnTo>
                      <a:pt x="30" y="0"/>
                    </a:lnTo>
                    <a:lnTo>
                      <a:pt x="23" y="0"/>
                    </a:lnTo>
                    <a:lnTo>
                      <a:pt x="21" y="0"/>
                    </a:lnTo>
                    <a:lnTo>
                      <a:pt x="21" y="0"/>
                    </a:lnTo>
                    <a:lnTo>
                      <a:pt x="2" y="0"/>
                    </a:lnTo>
                    <a:lnTo>
                      <a:pt x="0" y="2"/>
                    </a:lnTo>
                    <a:lnTo>
                      <a:pt x="2" y="5"/>
                    </a:lnTo>
                    <a:lnTo>
                      <a:pt x="2"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93" name="Freeform 1841"/>
              <p:cNvSpPr>
                <a:spLocks/>
              </p:cNvSpPr>
              <p:nvPr/>
            </p:nvSpPr>
            <p:spPr bwMode="auto">
              <a:xfrm>
                <a:off x="1262" y="486"/>
                <a:ext cx="300" cy="302"/>
              </a:xfrm>
              <a:custGeom>
                <a:avLst/>
                <a:gdLst>
                  <a:gd name="T0" fmla="*/ 52 w 300"/>
                  <a:gd name="T1" fmla="*/ 20 h 302"/>
                  <a:gd name="T2" fmla="*/ 88 w 300"/>
                  <a:gd name="T3" fmla="*/ 71 h 302"/>
                  <a:gd name="T4" fmla="*/ 99 w 300"/>
                  <a:gd name="T5" fmla="*/ 89 h 302"/>
                  <a:gd name="T6" fmla="*/ 81 w 300"/>
                  <a:gd name="T7" fmla="*/ 89 h 302"/>
                  <a:gd name="T8" fmla="*/ 129 w 300"/>
                  <a:gd name="T9" fmla="*/ 91 h 302"/>
                  <a:gd name="T10" fmla="*/ 118 w 300"/>
                  <a:gd name="T11" fmla="*/ 104 h 302"/>
                  <a:gd name="T12" fmla="*/ 116 w 300"/>
                  <a:gd name="T13" fmla="*/ 116 h 302"/>
                  <a:gd name="T14" fmla="*/ 79 w 300"/>
                  <a:gd name="T15" fmla="*/ 100 h 302"/>
                  <a:gd name="T16" fmla="*/ 41 w 300"/>
                  <a:gd name="T17" fmla="*/ 127 h 302"/>
                  <a:gd name="T18" fmla="*/ 41 w 300"/>
                  <a:gd name="T19" fmla="*/ 154 h 302"/>
                  <a:gd name="T20" fmla="*/ 54 w 300"/>
                  <a:gd name="T21" fmla="*/ 152 h 302"/>
                  <a:gd name="T22" fmla="*/ 65 w 300"/>
                  <a:gd name="T23" fmla="*/ 161 h 302"/>
                  <a:gd name="T24" fmla="*/ 77 w 300"/>
                  <a:gd name="T25" fmla="*/ 146 h 302"/>
                  <a:gd name="T26" fmla="*/ 86 w 300"/>
                  <a:gd name="T27" fmla="*/ 161 h 302"/>
                  <a:gd name="T28" fmla="*/ 66 w 300"/>
                  <a:gd name="T29" fmla="*/ 168 h 302"/>
                  <a:gd name="T30" fmla="*/ 77 w 300"/>
                  <a:gd name="T31" fmla="*/ 177 h 302"/>
                  <a:gd name="T32" fmla="*/ 70 w 300"/>
                  <a:gd name="T33" fmla="*/ 186 h 302"/>
                  <a:gd name="T34" fmla="*/ 77 w 300"/>
                  <a:gd name="T35" fmla="*/ 204 h 302"/>
                  <a:gd name="T36" fmla="*/ 109 w 300"/>
                  <a:gd name="T37" fmla="*/ 171 h 302"/>
                  <a:gd name="T38" fmla="*/ 95 w 300"/>
                  <a:gd name="T39" fmla="*/ 211 h 302"/>
                  <a:gd name="T40" fmla="*/ 82 w 300"/>
                  <a:gd name="T41" fmla="*/ 218 h 302"/>
                  <a:gd name="T42" fmla="*/ 54 w 300"/>
                  <a:gd name="T43" fmla="*/ 191 h 302"/>
                  <a:gd name="T44" fmla="*/ 20 w 300"/>
                  <a:gd name="T45" fmla="*/ 189 h 302"/>
                  <a:gd name="T46" fmla="*/ 38 w 300"/>
                  <a:gd name="T47" fmla="*/ 218 h 302"/>
                  <a:gd name="T48" fmla="*/ 38 w 300"/>
                  <a:gd name="T49" fmla="*/ 230 h 302"/>
                  <a:gd name="T50" fmla="*/ 34 w 300"/>
                  <a:gd name="T51" fmla="*/ 238 h 302"/>
                  <a:gd name="T52" fmla="*/ 16 w 300"/>
                  <a:gd name="T53" fmla="*/ 241 h 302"/>
                  <a:gd name="T54" fmla="*/ 11 w 300"/>
                  <a:gd name="T55" fmla="*/ 279 h 302"/>
                  <a:gd name="T56" fmla="*/ 29 w 300"/>
                  <a:gd name="T57" fmla="*/ 286 h 302"/>
                  <a:gd name="T58" fmla="*/ 47 w 300"/>
                  <a:gd name="T59" fmla="*/ 271 h 302"/>
                  <a:gd name="T60" fmla="*/ 70 w 300"/>
                  <a:gd name="T61" fmla="*/ 275 h 302"/>
                  <a:gd name="T62" fmla="*/ 97 w 300"/>
                  <a:gd name="T63" fmla="*/ 261 h 302"/>
                  <a:gd name="T64" fmla="*/ 122 w 300"/>
                  <a:gd name="T65" fmla="*/ 280 h 302"/>
                  <a:gd name="T66" fmla="*/ 157 w 300"/>
                  <a:gd name="T67" fmla="*/ 293 h 302"/>
                  <a:gd name="T68" fmla="*/ 170 w 300"/>
                  <a:gd name="T69" fmla="*/ 255 h 302"/>
                  <a:gd name="T70" fmla="*/ 157 w 300"/>
                  <a:gd name="T71" fmla="*/ 230 h 302"/>
                  <a:gd name="T72" fmla="*/ 120 w 300"/>
                  <a:gd name="T73" fmla="*/ 225 h 302"/>
                  <a:gd name="T74" fmla="*/ 168 w 300"/>
                  <a:gd name="T75" fmla="*/ 223 h 302"/>
                  <a:gd name="T76" fmla="*/ 190 w 300"/>
                  <a:gd name="T77" fmla="*/ 202 h 302"/>
                  <a:gd name="T78" fmla="*/ 181 w 300"/>
                  <a:gd name="T79" fmla="*/ 175 h 302"/>
                  <a:gd name="T80" fmla="*/ 222 w 300"/>
                  <a:gd name="T81" fmla="*/ 166 h 302"/>
                  <a:gd name="T82" fmla="*/ 232 w 300"/>
                  <a:gd name="T83" fmla="*/ 143 h 302"/>
                  <a:gd name="T84" fmla="*/ 234 w 300"/>
                  <a:gd name="T85" fmla="*/ 125 h 302"/>
                  <a:gd name="T86" fmla="*/ 215 w 300"/>
                  <a:gd name="T87" fmla="*/ 96 h 302"/>
                  <a:gd name="T88" fmla="*/ 191 w 300"/>
                  <a:gd name="T89" fmla="*/ 88 h 302"/>
                  <a:gd name="T90" fmla="*/ 188 w 300"/>
                  <a:gd name="T91" fmla="*/ 75 h 302"/>
                  <a:gd name="T92" fmla="*/ 240 w 300"/>
                  <a:gd name="T93" fmla="*/ 88 h 302"/>
                  <a:gd name="T94" fmla="*/ 193 w 300"/>
                  <a:gd name="T95" fmla="*/ 70 h 302"/>
                  <a:gd name="T96" fmla="*/ 199 w 300"/>
                  <a:gd name="T97" fmla="*/ 52 h 302"/>
                  <a:gd name="T98" fmla="*/ 199 w 300"/>
                  <a:gd name="T99" fmla="*/ 45 h 302"/>
                  <a:gd name="T100" fmla="*/ 247 w 300"/>
                  <a:gd name="T101" fmla="*/ 46 h 302"/>
                  <a:gd name="T102" fmla="*/ 238 w 300"/>
                  <a:gd name="T103" fmla="*/ 18 h 302"/>
                  <a:gd name="T104" fmla="*/ 274 w 300"/>
                  <a:gd name="T105" fmla="*/ 30 h 302"/>
                  <a:gd name="T106" fmla="*/ 295 w 300"/>
                  <a:gd name="T107" fmla="*/ 5 h 302"/>
                  <a:gd name="T108" fmla="*/ 125 w 300"/>
                  <a:gd name="T109" fmla="*/ 25 h 302"/>
                  <a:gd name="T110" fmla="*/ 152 w 300"/>
                  <a:gd name="T111" fmla="*/ 34 h 302"/>
                  <a:gd name="T112" fmla="*/ 124 w 300"/>
                  <a:gd name="T113" fmla="*/ 39 h 302"/>
                  <a:gd name="T114" fmla="*/ 66 w 300"/>
                  <a:gd name="T115" fmla="*/ 5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0" h="302">
                    <a:moveTo>
                      <a:pt x="66" y="5"/>
                    </a:moveTo>
                    <a:lnTo>
                      <a:pt x="66" y="7"/>
                    </a:lnTo>
                    <a:lnTo>
                      <a:pt x="66" y="9"/>
                    </a:lnTo>
                    <a:lnTo>
                      <a:pt x="56" y="4"/>
                    </a:lnTo>
                    <a:lnTo>
                      <a:pt x="54" y="2"/>
                    </a:lnTo>
                    <a:lnTo>
                      <a:pt x="50" y="2"/>
                    </a:lnTo>
                    <a:lnTo>
                      <a:pt x="49" y="2"/>
                    </a:lnTo>
                    <a:lnTo>
                      <a:pt x="49" y="16"/>
                    </a:lnTo>
                    <a:lnTo>
                      <a:pt x="52" y="20"/>
                    </a:lnTo>
                    <a:lnTo>
                      <a:pt x="59" y="25"/>
                    </a:lnTo>
                    <a:lnTo>
                      <a:pt x="63" y="25"/>
                    </a:lnTo>
                    <a:lnTo>
                      <a:pt x="70" y="32"/>
                    </a:lnTo>
                    <a:lnTo>
                      <a:pt x="74" y="41"/>
                    </a:lnTo>
                    <a:lnTo>
                      <a:pt x="81" y="52"/>
                    </a:lnTo>
                    <a:lnTo>
                      <a:pt x="82" y="64"/>
                    </a:lnTo>
                    <a:lnTo>
                      <a:pt x="82" y="66"/>
                    </a:lnTo>
                    <a:lnTo>
                      <a:pt x="84" y="73"/>
                    </a:lnTo>
                    <a:lnTo>
                      <a:pt x="88" y="71"/>
                    </a:lnTo>
                    <a:lnTo>
                      <a:pt x="90" y="70"/>
                    </a:lnTo>
                    <a:lnTo>
                      <a:pt x="90" y="71"/>
                    </a:lnTo>
                    <a:lnTo>
                      <a:pt x="88" y="75"/>
                    </a:lnTo>
                    <a:lnTo>
                      <a:pt x="91" y="80"/>
                    </a:lnTo>
                    <a:lnTo>
                      <a:pt x="93" y="80"/>
                    </a:lnTo>
                    <a:lnTo>
                      <a:pt x="95" y="84"/>
                    </a:lnTo>
                    <a:lnTo>
                      <a:pt x="97" y="86"/>
                    </a:lnTo>
                    <a:lnTo>
                      <a:pt x="100" y="86"/>
                    </a:lnTo>
                    <a:lnTo>
                      <a:pt x="99" y="89"/>
                    </a:lnTo>
                    <a:lnTo>
                      <a:pt x="93" y="88"/>
                    </a:lnTo>
                    <a:lnTo>
                      <a:pt x="90" y="88"/>
                    </a:lnTo>
                    <a:lnTo>
                      <a:pt x="86" y="80"/>
                    </a:lnTo>
                    <a:lnTo>
                      <a:pt x="82" y="80"/>
                    </a:lnTo>
                    <a:lnTo>
                      <a:pt x="81" y="77"/>
                    </a:lnTo>
                    <a:lnTo>
                      <a:pt x="79" y="79"/>
                    </a:lnTo>
                    <a:lnTo>
                      <a:pt x="77" y="82"/>
                    </a:lnTo>
                    <a:lnTo>
                      <a:pt x="77" y="88"/>
                    </a:lnTo>
                    <a:lnTo>
                      <a:pt x="81" y="89"/>
                    </a:lnTo>
                    <a:lnTo>
                      <a:pt x="86" y="95"/>
                    </a:lnTo>
                    <a:lnTo>
                      <a:pt x="102" y="96"/>
                    </a:lnTo>
                    <a:lnTo>
                      <a:pt x="109" y="100"/>
                    </a:lnTo>
                    <a:lnTo>
                      <a:pt x="118" y="100"/>
                    </a:lnTo>
                    <a:lnTo>
                      <a:pt x="120" y="100"/>
                    </a:lnTo>
                    <a:lnTo>
                      <a:pt x="120" y="96"/>
                    </a:lnTo>
                    <a:lnTo>
                      <a:pt x="122" y="96"/>
                    </a:lnTo>
                    <a:lnTo>
                      <a:pt x="125" y="91"/>
                    </a:lnTo>
                    <a:lnTo>
                      <a:pt x="129" y="91"/>
                    </a:lnTo>
                    <a:lnTo>
                      <a:pt x="129" y="91"/>
                    </a:lnTo>
                    <a:lnTo>
                      <a:pt x="127" y="96"/>
                    </a:lnTo>
                    <a:lnTo>
                      <a:pt x="125" y="102"/>
                    </a:lnTo>
                    <a:lnTo>
                      <a:pt x="127" y="102"/>
                    </a:lnTo>
                    <a:lnTo>
                      <a:pt x="124" y="105"/>
                    </a:lnTo>
                    <a:lnTo>
                      <a:pt x="124" y="104"/>
                    </a:lnTo>
                    <a:lnTo>
                      <a:pt x="122" y="107"/>
                    </a:lnTo>
                    <a:lnTo>
                      <a:pt x="122" y="107"/>
                    </a:lnTo>
                    <a:lnTo>
                      <a:pt x="118" y="104"/>
                    </a:lnTo>
                    <a:lnTo>
                      <a:pt x="116" y="105"/>
                    </a:lnTo>
                    <a:lnTo>
                      <a:pt x="104" y="104"/>
                    </a:lnTo>
                    <a:lnTo>
                      <a:pt x="100" y="105"/>
                    </a:lnTo>
                    <a:lnTo>
                      <a:pt x="102" y="109"/>
                    </a:lnTo>
                    <a:lnTo>
                      <a:pt x="106" y="111"/>
                    </a:lnTo>
                    <a:lnTo>
                      <a:pt x="109" y="113"/>
                    </a:lnTo>
                    <a:lnTo>
                      <a:pt x="109" y="114"/>
                    </a:lnTo>
                    <a:lnTo>
                      <a:pt x="118" y="114"/>
                    </a:lnTo>
                    <a:lnTo>
                      <a:pt x="116" y="116"/>
                    </a:lnTo>
                    <a:lnTo>
                      <a:pt x="113" y="116"/>
                    </a:lnTo>
                    <a:lnTo>
                      <a:pt x="116" y="125"/>
                    </a:lnTo>
                    <a:lnTo>
                      <a:pt x="116" y="127"/>
                    </a:lnTo>
                    <a:lnTo>
                      <a:pt x="111" y="123"/>
                    </a:lnTo>
                    <a:lnTo>
                      <a:pt x="109" y="121"/>
                    </a:lnTo>
                    <a:lnTo>
                      <a:pt x="107" y="116"/>
                    </a:lnTo>
                    <a:lnTo>
                      <a:pt x="104" y="116"/>
                    </a:lnTo>
                    <a:lnTo>
                      <a:pt x="91" y="102"/>
                    </a:lnTo>
                    <a:lnTo>
                      <a:pt x="79" y="100"/>
                    </a:lnTo>
                    <a:lnTo>
                      <a:pt x="70" y="96"/>
                    </a:lnTo>
                    <a:lnTo>
                      <a:pt x="68" y="96"/>
                    </a:lnTo>
                    <a:lnTo>
                      <a:pt x="68" y="98"/>
                    </a:lnTo>
                    <a:lnTo>
                      <a:pt x="65" y="102"/>
                    </a:lnTo>
                    <a:lnTo>
                      <a:pt x="45" y="105"/>
                    </a:lnTo>
                    <a:lnTo>
                      <a:pt x="43" y="107"/>
                    </a:lnTo>
                    <a:lnTo>
                      <a:pt x="40" y="123"/>
                    </a:lnTo>
                    <a:lnTo>
                      <a:pt x="43" y="125"/>
                    </a:lnTo>
                    <a:lnTo>
                      <a:pt x="41" y="127"/>
                    </a:lnTo>
                    <a:lnTo>
                      <a:pt x="36" y="129"/>
                    </a:lnTo>
                    <a:lnTo>
                      <a:pt x="34" y="130"/>
                    </a:lnTo>
                    <a:lnTo>
                      <a:pt x="31" y="138"/>
                    </a:lnTo>
                    <a:lnTo>
                      <a:pt x="32" y="141"/>
                    </a:lnTo>
                    <a:lnTo>
                      <a:pt x="32" y="146"/>
                    </a:lnTo>
                    <a:lnTo>
                      <a:pt x="34" y="146"/>
                    </a:lnTo>
                    <a:lnTo>
                      <a:pt x="34" y="154"/>
                    </a:lnTo>
                    <a:lnTo>
                      <a:pt x="36" y="152"/>
                    </a:lnTo>
                    <a:lnTo>
                      <a:pt x="41" y="154"/>
                    </a:lnTo>
                    <a:lnTo>
                      <a:pt x="36" y="155"/>
                    </a:lnTo>
                    <a:lnTo>
                      <a:pt x="34" y="157"/>
                    </a:lnTo>
                    <a:lnTo>
                      <a:pt x="34" y="159"/>
                    </a:lnTo>
                    <a:lnTo>
                      <a:pt x="34" y="161"/>
                    </a:lnTo>
                    <a:lnTo>
                      <a:pt x="41" y="163"/>
                    </a:lnTo>
                    <a:lnTo>
                      <a:pt x="49" y="159"/>
                    </a:lnTo>
                    <a:lnTo>
                      <a:pt x="50" y="154"/>
                    </a:lnTo>
                    <a:lnTo>
                      <a:pt x="54" y="154"/>
                    </a:lnTo>
                    <a:lnTo>
                      <a:pt x="54" y="152"/>
                    </a:lnTo>
                    <a:lnTo>
                      <a:pt x="56" y="145"/>
                    </a:lnTo>
                    <a:lnTo>
                      <a:pt x="59" y="141"/>
                    </a:lnTo>
                    <a:lnTo>
                      <a:pt x="57" y="150"/>
                    </a:lnTo>
                    <a:lnTo>
                      <a:pt x="54" y="157"/>
                    </a:lnTo>
                    <a:lnTo>
                      <a:pt x="54" y="159"/>
                    </a:lnTo>
                    <a:lnTo>
                      <a:pt x="54" y="161"/>
                    </a:lnTo>
                    <a:lnTo>
                      <a:pt x="54" y="163"/>
                    </a:lnTo>
                    <a:lnTo>
                      <a:pt x="56" y="164"/>
                    </a:lnTo>
                    <a:lnTo>
                      <a:pt x="65" y="161"/>
                    </a:lnTo>
                    <a:lnTo>
                      <a:pt x="66" y="163"/>
                    </a:lnTo>
                    <a:lnTo>
                      <a:pt x="68" y="161"/>
                    </a:lnTo>
                    <a:lnTo>
                      <a:pt x="79" y="123"/>
                    </a:lnTo>
                    <a:lnTo>
                      <a:pt x="77" y="141"/>
                    </a:lnTo>
                    <a:lnTo>
                      <a:pt x="77" y="143"/>
                    </a:lnTo>
                    <a:lnTo>
                      <a:pt x="79" y="143"/>
                    </a:lnTo>
                    <a:lnTo>
                      <a:pt x="81" y="141"/>
                    </a:lnTo>
                    <a:lnTo>
                      <a:pt x="79" y="143"/>
                    </a:lnTo>
                    <a:lnTo>
                      <a:pt x="77" y="146"/>
                    </a:lnTo>
                    <a:lnTo>
                      <a:pt x="75" y="148"/>
                    </a:lnTo>
                    <a:lnTo>
                      <a:pt x="75" y="154"/>
                    </a:lnTo>
                    <a:lnTo>
                      <a:pt x="75" y="155"/>
                    </a:lnTo>
                    <a:lnTo>
                      <a:pt x="81" y="154"/>
                    </a:lnTo>
                    <a:lnTo>
                      <a:pt x="86" y="155"/>
                    </a:lnTo>
                    <a:lnTo>
                      <a:pt x="86" y="157"/>
                    </a:lnTo>
                    <a:lnTo>
                      <a:pt x="88" y="155"/>
                    </a:lnTo>
                    <a:lnTo>
                      <a:pt x="88" y="159"/>
                    </a:lnTo>
                    <a:lnTo>
                      <a:pt x="86" y="161"/>
                    </a:lnTo>
                    <a:lnTo>
                      <a:pt x="81" y="157"/>
                    </a:lnTo>
                    <a:lnTo>
                      <a:pt x="74" y="159"/>
                    </a:lnTo>
                    <a:lnTo>
                      <a:pt x="72" y="161"/>
                    </a:lnTo>
                    <a:lnTo>
                      <a:pt x="72" y="163"/>
                    </a:lnTo>
                    <a:lnTo>
                      <a:pt x="70" y="166"/>
                    </a:lnTo>
                    <a:lnTo>
                      <a:pt x="75" y="168"/>
                    </a:lnTo>
                    <a:lnTo>
                      <a:pt x="72" y="170"/>
                    </a:lnTo>
                    <a:lnTo>
                      <a:pt x="68" y="168"/>
                    </a:lnTo>
                    <a:lnTo>
                      <a:pt x="66" y="168"/>
                    </a:lnTo>
                    <a:lnTo>
                      <a:pt x="61" y="175"/>
                    </a:lnTo>
                    <a:lnTo>
                      <a:pt x="61" y="177"/>
                    </a:lnTo>
                    <a:lnTo>
                      <a:pt x="63" y="177"/>
                    </a:lnTo>
                    <a:lnTo>
                      <a:pt x="63" y="179"/>
                    </a:lnTo>
                    <a:lnTo>
                      <a:pt x="66" y="177"/>
                    </a:lnTo>
                    <a:lnTo>
                      <a:pt x="74" y="177"/>
                    </a:lnTo>
                    <a:lnTo>
                      <a:pt x="75" y="175"/>
                    </a:lnTo>
                    <a:lnTo>
                      <a:pt x="77" y="175"/>
                    </a:lnTo>
                    <a:lnTo>
                      <a:pt x="77" y="177"/>
                    </a:lnTo>
                    <a:lnTo>
                      <a:pt x="75" y="177"/>
                    </a:lnTo>
                    <a:lnTo>
                      <a:pt x="72" y="180"/>
                    </a:lnTo>
                    <a:lnTo>
                      <a:pt x="74" y="179"/>
                    </a:lnTo>
                    <a:lnTo>
                      <a:pt x="72" y="179"/>
                    </a:lnTo>
                    <a:lnTo>
                      <a:pt x="66" y="180"/>
                    </a:lnTo>
                    <a:lnTo>
                      <a:pt x="66" y="180"/>
                    </a:lnTo>
                    <a:lnTo>
                      <a:pt x="66" y="184"/>
                    </a:lnTo>
                    <a:lnTo>
                      <a:pt x="72" y="182"/>
                    </a:lnTo>
                    <a:lnTo>
                      <a:pt x="70" y="186"/>
                    </a:lnTo>
                    <a:lnTo>
                      <a:pt x="68" y="189"/>
                    </a:lnTo>
                    <a:lnTo>
                      <a:pt x="70" y="195"/>
                    </a:lnTo>
                    <a:lnTo>
                      <a:pt x="74" y="198"/>
                    </a:lnTo>
                    <a:lnTo>
                      <a:pt x="77" y="193"/>
                    </a:lnTo>
                    <a:lnTo>
                      <a:pt x="77" y="189"/>
                    </a:lnTo>
                    <a:lnTo>
                      <a:pt x="79" y="188"/>
                    </a:lnTo>
                    <a:lnTo>
                      <a:pt x="79" y="191"/>
                    </a:lnTo>
                    <a:lnTo>
                      <a:pt x="75" y="200"/>
                    </a:lnTo>
                    <a:lnTo>
                      <a:pt x="77" y="204"/>
                    </a:lnTo>
                    <a:lnTo>
                      <a:pt x="81" y="205"/>
                    </a:lnTo>
                    <a:lnTo>
                      <a:pt x="86" y="204"/>
                    </a:lnTo>
                    <a:lnTo>
                      <a:pt x="91" y="205"/>
                    </a:lnTo>
                    <a:lnTo>
                      <a:pt x="97" y="204"/>
                    </a:lnTo>
                    <a:lnTo>
                      <a:pt x="100" y="198"/>
                    </a:lnTo>
                    <a:lnTo>
                      <a:pt x="104" y="186"/>
                    </a:lnTo>
                    <a:lnTo>
                      <a:pt x="107" y="182"/>
                    </a:lnTo>
                    <a:lnTo>
                      <a:pt x="109" y="175"/>
                    </a:lnTo>
                    <a:lnTo>
                      <a:pt x="109" y="171"/>
                    </a:lnTo>
                    <a:lnTo>
                      <a:pt x="109" y="168"/>
                    </a:lnTo>
                    <a:lnTo>
                      <a:pt x="111" y="166"/>
                    </a:lnTo>
                    <a:lnTo>
                      <a:pt x="115" y="166"/>
                    </a:lnTo>
                    <a:lnTo>
                      <a:pt x="111" y="170"/>
                    </a:lnTo>
                    <a:lnTo>
                      <a:pt x="111" y="175"/>
                    </a:lnTo>
                    <a:lnTo>
                      <a:pt x="99" y="202"/>
                    </a:lnTo>
                    <a:lnTo>
                      <a:pt x="99" y="204"/>
                    </a:lnTo>
                    <a:lnTo>
                      <a:pt x="93" y="209"/>
                    </a:lnTo>
                    <a:lnTo>
                      <a:pt x="95" y="211"/>
                    </a:lnTo>
                    <a:lnTo>
                      <a:pt x="95" y="213"/>
                    </a:lnTo>
                    <a:lnTo>
                      <a:pt x="97" y="213"/>
                    </a:lnTo>
                    <a:lnTo>
                      <a:pt x="97" y="214"/>
                    </a:lnTo>
                    <a:lnTo>
                      <a:pt x="95" y="216"/>
                    </a:lnTo>
                    <a:lnTo>
                      <a:pt x="91" y="214"/>
                    </a:lnTo>
                    <a:lnTo>
                      <a:pt x="90" y="213"/>
                    </a:lnTo>
                    <a:lnTo>
                      <a:pt x="81" y="213"/>
                    </a:lnTo>
                    <a:lnTo>
                      <a:pt x="82" y="216"/>
                    </a:lnTo>
                    <a:lnTo>
                      <a:pt x="82" y="218"/>
                    </a:lnTo>
                    <a:lnTo>
                      <a:pt x="82" y="220"/>
                    </a:lnTo>
                    <a:lnTo>
                      <a:pt x="81" y="220"/>
                    </a:lnTo>
                    <a:lnTo>
                      <a:pt x="74" y="214"/>
                    </a:lnTo>
                    <a:lnTo>
                      <a:pt x="68" y="214"/>
                    </a:lnTo>
                    <a:lnTo>
                      <a:pt x="63" y="211"/>
                    </a:lnTo>
                    <a:lnTo>
                      <a:pt x="61" y="211"/>
                    </a:lnTo>
                    <a:lnTo>
                      <a:pt x="61" y="209"/>
                    </a:lnTo>
                    <a:lnTo>
                      <a:pt x="56" y="193"/>
                    </a:lnTo>
                    <a:lnTo>
                      <a:pt x="54" y="191"/>
                    </a:lnTo>
                    <a:lnTo>
                      <a:pt x="54" y="188"/>
                    </a:lnTo>
                    <a:lnTo>
                      <a:pt x="49" y="180"/>
                    </a:lnTo>
                    <a:lnTo>
                      <a:pt x="34" y="177"/>
                    </a:lnTo>
                    <a:lnTo>
                      <a:pt x="25" y="182"/>
                    </a:lnTo>
                    <a:lnTo>
                      <a:pt x="24" y="182"/>
                    </a:lnTo>
                    <a:lnTo>
                      <a:pt x="22" y="186"/>
                    </a:lnTo>
                    <a:lnTo>
                      <a:pt x="20" y="186"/>
                    </a:lnTo>
                    <a:lnTo>
                      <a:pt x="20" y="188"/>
                    </a:lnTo>
                    <a:lnTo>
                      <a:pt x="20" y="189"/>
                    </a:lnTo>
                    <a:lnTo>
                      <a:pt x="20" y="191"/>
                    </a:lnTo>
                    <a:lnTo>
                      <a:pt x="20" y="196"/>
                    </a:lnTo>
                    <a:lnTo>
                      <a:pt x="25" y="202"/>
                    </a:lnTo>
                    <a:lnTo>
                      <a:pt x="25" y="204"/>
                    </a:lnTo>
                    <a:lnTo>
                      <a:pt x="29" y="209"/>
                    </a:lnTo>
                    <a:lnTo>
                      <a:pt x="29" y="214"/>
                    </a:lnTo>
                    <a:lnTo>
                      <a:pt x="31" y="218"/>
                    </a:lnTo>
                    <a:lnTo>
                      <a:pt x="34" y="220"/>
                    </a:lnTo>
                    <a:lnTo>
                      <a:pt x="38" y="218"/>
                    </a:lnTo>
                    <a:lnTo>
                      <a:pt x="41" y="218"/>
                    </a:lnTo>
                    <a:lnTo>
                      <a:pt x="41" y="220"/>
                    </a:lnTo>
                    <a:lnTo>
                      <a:pt x="36" y="223"/>
                    </a:lnTo>
                    <a:lnTo>
                      <a:pt x="36" y="223"/>
                    </a:lnTo>
                    <a:lnTo>
                      <a:pt x="40" y="225"/>
                    </a:lnTo>
                    <a:lnTo>
                      <a:pt x="40" y="225"/>
                    </a:lnTo>
                    <a:lnTo>
                      <a:pt x="38" y="227"/>
                    </a:lnTo>
                    <a:lnTo>
                      <a:pt x="38" y="230"/>
                    </a:lnTo>
                    <a:lnTo>
                      <a:pt x="38" y="230"/>
                    </a:lnTo>
                    <a:lnTo>
                      <a:pt x="40" y="230"/>
                    </a:lnTo>
                    <a:lnTo>
                      <a:pt x="45" y="232"/>
                    </a:lnTo>
                    <a:lnTo>
                      <a:pt x="43" y="232"/>
                    </a:lnTo>
                    <a:lnTo>
                      <a:pt x="43" y="234"/>
                    </a:lnTo>
                    <a:lnTo>
                      <a:pt x="40" y="232"/>
                    </a:lnTo>
                    <a:lnTo>
                      <a:pt x="40" y="230"/>
                    </a:lnTo>
                    <a:lnTo>
                      <a:pt x="34" y="232"/>
                    </a:lnTo>
                    <a:lnTo>
                      <a:pt x="32" y="234"/>
                    </a:lnTo>
                    <a:lnTo>
                      <a:pt x="34" y="238"/>
                    </a:lnTo>
                    <a:lnTo>
                      <a:pt x="31" y="238"/>
                    </a:lnTo>
                    <a:lnTo>
                      <a:pt x="31" y="236"/>
                    </a:lnTo>
                    <a:lnTo>
                      <a:pt x="29" y="236"/>
                    </a:lnTo>
                    <a:lnTo>
                      <a:pt x="27" y="238"/>
                    </a:lnTo>
                    <a:lnTo>
                      <a:pt x="25" y="236"/>
                    </a:lnTo>
                    <a:lnTo>
                      <a:pt x="22" y="236"/>
                    </a:lnTo>
                    <a:lnTo>
                      <a:pt x="20" y="236"/>
                    </a:lnTo>
                    <a:lnTo>
                      <a:pt x="20" y="239"/>
                    </a:lnTo>
                    <a:lnTo>
                      <a:pt x="16" y="241"/>
                    </a:lnTo>
                    <a:lnTo>
                      <a:pt x="15" y="243"/>
                    </a:lnTo>
                    <a:lnTo>
                      <a:pt x="13" y="246"/>
                    </a:lnTo>
                    <a:lnTo>
                      <a:pt x="2" y="254"/>
                    </a:lnTo>
                    <a:lnTo>
                      <a:pt x="0" y="259"/>
                    </a:lnTo>
                    <a:lnTo>
                      <a:pt x="0" y="268"/>
                    </a:lnTo>
                    <a:lnTo>
                      <a:pt x="0" y="273"/>
                    </a:lnTo>
                    <a:lnTo>
                      <a:pt x="6" y="284"/>
                    </a:lnTo>
                    <a:lnTo>
                      <a:pt x="7" y="284"/>
                    </a:lnTo>
                    <a:lnTo>
                      <a:pt x="11" y="279"/>
                    </a:lnTo>
                    <a:lnTo>
                      <a:pt x="11" y="273"/>
                    </a:lnTo>
                    <a:lnTo>
                      <a:pt x="13" y="282"/>
                    </a:lnTo>
                    <a:lnTo>
                      <a:pt x="15" y="275"/>
                    </a:lnTo>
                    <a:lnTo>
                      <a:pt x="13" y="261"/>
                    </a:lnTo>
                    <a:lnTo>
                      <a:pt x="15" y="257"/>
                    </a:lnTo>
                    <a:lnTo>
                      <a:pt x="16" y="284"/>
                    </a:lnTo>
                    <a:lnTo>
                      <a:pt x="22" y="284"/>
                    </a:lnTo>
                    <a:lnTo>
                      <a:pt x="24" y="288"/>
                    </a:lnTo>
                    <a:lnTo>
                      <a:pt x="29" y="286"/>
                    </a:lnTo>
                    <a:lnTo>
                      <a:pt x="31" y="280"/>
                    </a:lnTo>
                    <a:lnTo>
                      <a:pt x="29" y="275"/>
                    </a:lnTo>
                    <a:lnTo>
                      <a:pt x="31" y="280"/>
                    </a:lnTo>
                    <a:lnTo>
                      <a:pt x="36" y="284"/>
                    </a:lnTo>
                    <a:lnTo>
                      <a:pt x="38" y="288"/>
                    </a:lnTo>
                    <a:lnTo>
                      <a:pt x="41" y="288"/>
                    </a:lnTo>
                    <a:lnTo>
                      <a:pt x="43" y="282"/>
                    </a:lnTo>
                    <a:lnTo>
                      <a:pt x="45" y="279"/>
                    </a:lnTo>
                    <a:lnTo>
                      <a:pt x="47" y="271"/>
                    </a:lnTo>
                    <a:lnTo>
                      <a:pt x="47" y="275"/>
                    </a:lnTo>
                    <a:lnTo>
                      <a:pt x="49" y="280"/>
                    </a:lnTo>
                    <a:lnTo>
                      <a:pt x="47" y="280"/>
                    </a:lnTo>
                    <a:lnTo>
                      <a:pt x="57" y="291"/>
                    </a:lnTo>
                    <a:lnTo>
                      <a:pt x="65" y="293"/>
                    </a:lnTo>
                    <a:lnTo>
                      <a:pt x="66" y="295"/>
                    </a:lnTo>
                    <a:lnTo>
                      <a:pt x="79" y="293"/>
                    </a:lnTo>
                    <a:lnTo>
                      <a:pt x="70" y="280"/>
                    </a:lnTo>
                    <a:lnTo>
                      <a:pt x="70" y="275"/>
                    </a:lnTo>
                    <a:lnTo>
                      <a:pt x="74" y="284"/>
                    </a:lnTo>
                    <a:lnTo>
                      <a:pt x="79" y="284"/>
                    </a:lnTo>
                    <a:lnTo>
                      <a:pt x="82" y="279"/>
                    </a:lnTo>
                    <a:lnTo>
                      <a:pt x="82" y="270"/>
                    </a:lnTo>
                    <a:lnTo>
                      <a:pt x="90" y="280"/>
                    </a:lnTo>
                    <a:lnTo>
                      <a:pt x="97" y="284"/>
                    </a:lnTo>
                    <a:lnTo>
                      <a:pt x="100" y="282"/>
                    </a:lnTo>
                    <a:lnTo>
                      <a:pt x="100" y="275"/>
                    </a:lnTo>
                    <a:lnTo>
                      <a:pt x="97" y="261"/>
                    </a:lnTo>
                    <a:lnTo>
                      <a:pt x="104" y="284"/>
                    </a:lnTo>
                    <a:lnTo>
                      <a:pt x="107" y="288"/>
                    </a:lnTo>
                    <a:lnTo>
                      <a:pt x="116" y="284"/>
                    </a:lnTo>
                    <a:lnTo>
                      <a:pt x="118" y="277"/>
                    </a:lnTo>
                    <a:lnTo>
                      <a:pt x="113" y="266"/>
                    </a:lnTo>
                    <a:lnTo>
                      <a:pt x="115" y="268"/>
                    </a:lnTo>
                    <a:lnTo>
                      <a:pt x="120" y="270"/>
                    </a:lnTo>
                    <a:lnTo>
                      <a:pt x="120" y="277"/>
                    </a:lnTo>
                    <a:lnTo>
                      <a:pt x="122" y="280"/>
                    </a:lnTo>
                    <a:lnTo>
                      <a:pt x="129" y="280"/>
                    </a:lnTo>
                    <a:lnTo>
                      <a:pt x="132" y="279"/>
                    </a:lnTo>
                    <a:lnTo>
                      <a:pt x="136" y="279"/>
                    </a:lnTo>
                    <a:lnTo>
                      <a:pt x="138" y="284"/>
                    </a:lnTo>
                    <a:lnTo>
                      <a:pt x="138" y="288"/>
                    </a:lnTo>
                    <a:lnTo>
                      <a:pt x="136" y="295"/>
                    </a:lnTo>
                    <a:lnTo>
                      <a:pt x="134" y="298"/>
                    </a:lnTo>
                    <a:lnTo>
                      <a:pt x="136" y="302"/>
                    </a:lnTo>
                    <a:lnTo>
                      <a:pt x="157" y="293"/>
                    </a:lnTo>
                    <a:lnTo>
                      <a:pt x="170" y="275"/>
                    </a:lnTo>
                    <a:lnTo>
                      <a:pt x="170" y="284"/>
                    </a:lnTo>
                    <a:lnTo>
                      <a:pt x="177" y="279"/>
                    </a:lnTo>
                    <a:lnTo>
                      <a:pt x="179" y="273"/>
                    </a:lnTo>
                    <a:lnTo>
                      <a:pt x="184" y="271"/>
                    </a:lnTo>
                    <a:lnTo>
                      <a:pt x="184" y="252"/>
                    </a:lnTo>
                    <a:lnTo>
                      <a:pt x="182" y="245"/>
                    </a:lnTo>
                    <a:lnTo>
                      <a:pt x="177" y="246"/>
                    </a:lnTo>
                    <a:lnTo>
                      <a:pt x="170" y="255"/>
                    </a:lnTo>
                    <a:lnTo>
                      <a:pt x="168" y="255"/>
                    </a:lnTo>
                    <a:lnTo>
                      <a:pt x="168" y="250"/>
                    </a:lnTo>
                    <a:lnTo>
                      <a:pt x="161" y="246"/>
                    </a:lnTo>
                    <a:lnTo>
                      <a:pt x="163" y="245"/>
                    </a:lnTo>
                    <a:lnTo>
                      <a:pt x="168" y="241"/>
                    </a:lnTo>
                    <a:lnTo>
                      <a:pt x="170" y="238"/>
                    </a:lnTo>
                    <a:lnTo>
                      <a:pt x="166" y="230"/>
                    </a:lnTo>
                    <a:lnTo>
                      <a:pt x="163" y="229"/>
                    </a:lnTo>
                    <a:lnTo>
                      <a:pt x="157" y="230"/>
                    </a:lnTo>
                    <a:lnTo>
                      <a:pt x="149" y="239"/>
                    </a:lnTo>
                    <a:lnTo>
                      <a:pt x="147" y="239"/>
                    </a:lnTo>
                    <a:lnTo>
                      <a:pt x="150" y="232"/>
                    </a:lnTo>
                    <a:lnTo>
                      <a:pt x="150" y="229"/>
                    </a:lnTo>
                    <a:lnTo>
                      <a:pt x="138" y="227"/>
                    </a:lnTo>
                    <a:lnTo>
                      <a:pt x="131" y="229"/>
                    </a:lnTo>
                    <a:lnTo>
                      <a:pt x="124" y="238"/>
                    </a:lnTo>
                    <a:lnTo>
                      <a:pt x="122" y="229"/>
                    </a:lnTo>
                    <a:lnTo>
                      <a:pt x="120" y="225"/>
                    </a:lnTo>
                    <a:lnTo>
                      <a:pt x="125" y="227"/>
                    </a:lnTo>
                    <a:lnTo>
                      <a:pt x="134" y="223"/>
                    </a:lnTo>
                    <a:lnTo>
                      <a:pt x="134" y="221"/>
                    </a:lnTo>
                    <a:lnTo>
                      <a:pt x="129" y="218"/>
                    </a:lnTo>
                    <a:lnTo>
                      <a:pt x="127" y="213"/>
                    </a:lnTo>
                    <a:lnTo>
                      <a:pt x="127" y="211"/>
                    </a:lnTo>
                    <a:lnTo>
                      <a:pt x="136" y="220"/>
                    </a:lnTo>
                    <a:lnTo>
                      <a:pt x="145" y="225"/>
                    </a:lnTo>
                    <a:lnTo>
                      <a:pt x="168" y="223"/>
                    </a:lnTo>
                    <a:lnTo>
                      <a:pt x="170" y="220"/>
                    </a:lnTo>
                    <a:lnTo>
                      <a:pt x="174" y="221"/>
                    </a:lnTo>
                    <a:lnTo>
                      <a:pt x="172" y="223"/>
                    </a:lnTo>
                    <a:lnTo>
                      <a:pt x="172" y="223"/>
                    </a:lnTo>
                    <a:lnTo>
                      <a:pt x="181" y="220"/>
                    </a:lnTo>
                    <a:lnTo>
                      <a:pt x="184" y="211"/>
                    </a:lnTo>
                    <a:lnTo>
                      <a:pt x="186" y="205"/>
                    </a:lnTo>
                    <a:lnTo>
                      <a:pt x="186" y="204"/>
                    </a:lnTo>
                    <a:lnTo>
                      <a:pt x="190" y="202"/>
                    </a:lnTo>
                    <a:lnTo>
                      <a:pt x="191" y="200"/>
                    </a:lnTo>
                    <a:lnTo>
                      <a:pt x="184" y="195"/>
                    </a:lnTo>
                    <a:lnTo>
                      <a:pt x="184" y="191"/>
                    </a:lnTo>
                    <a:lnTo>
                      <a:pt x="186" y="189"/>
                    </a:lnTo>
                    <a:lnTo>
                      <a:pt x="184" y="184"/>
                    </a:lnTo>
                    <a:lnTo>
                      <a:pt x="181" y="182"/>
                    </a:lnTo>
                    <a:lnTo>
                      <a:pt x="182" y="182"/>
                    </a:lnTo>
                    <a:lnTo>
                      <a:pt x="182" y="179"/>
                    </a:lnTo>
                    <a:lnTo>
                      <a:pt x="181" y="175"/>
                    </a:lnTo>
                    <a:lnTo>
                      <a:pt x="181" y="173"/>
                    </a:lnTo>
                    <a:lnTo>
                      <a:pt x="184" y="175"/>
                    </a:lnTo>
                    <a:lnTo>
                      <a:pt x="199" y="175"/>
                    </a:lnTo>
                    <a:lnTo>
                      <a:pt x="200" y="179"/>
                    </a:lnTo>
                    <a:lnTo>
                      <a:pt x="206" y="177"/>
                    </a:lnTo>
                    <a:lnTo>
                      <a:pt x="211" y="170"/>
                    </a:lnTo>
                    <a:lnTo>
                      <a:pt x="216" y="171"/>
                    </a:lnTo>
                    <a:lnTo>
                      <a:pt x="218" y="173"/>
                    </a:lnTo>
                    <a:lnTo>
                      <a:pt x="222" y="166"/>
                    </a:lnTo>
                    <a:lnTo>
                      <a:pt x="222" y="166"/>
                    </a:lnTo>
                    <a:lnTo>
                      <a:pt x="224" y="161"/>
                    </a:lnTo>
                    <a:lnTo>
                      <a:pt x="202" y="155"/>
                    </a:lnTo>
                    <a:lnTo>
                      <a:pt x="206" y="152"/>
                    </a:lnTo>
                    <a:lnTo>
                      <a:pt x="213" y="152"/>
                    </a:lnTo>
                    <a:lnTo>
                      <a:pt x="222" y="157"/>
                    </a:lnTo>
                    <a:lnTo>
                      <a:pt x="227" y="148"/>
                    </a:lnTo>
                    <a:lnTo>
                      <a:pt x="232" y="145"/>
                    </a:lnTo>
                    <a:lnTo>
                      <a:pt x="232" y="143"/>
                    </a:lnTo>
                    <a:lnTo>
                      <a:pt x="229" y="138"/>
                    </a:lnTo>
                    <a:lnTo>
                      <a:pt x="225" y="136"/>
                    </a:lnTo>
                    <a:lnTo>
                      <a:pt x="218" y="134"/>
                    </a:lnTo>
                    <a:lnTo>
                      <a:pt x="215" y="132"/>
                    </a:lnTo>
                    <a:lnTo>
                      <a:pt x="211" y="130"/>
                    </a:lnTo>
                    <a:lnTo>
                      <a:pt x="215" y="129"/>
                    </a:lnTo>
                    <a:lnTo>
                      <a:pt x="229" y="129"/>
                    </a:lnTo>
                    <a:lnTo>
                      <a:pt x="232" y="127"/>
                    </a:lnTo>
                    <a:lnTo>
                      <a:pt x="234" y="125"/>
                    </a:lnTo>
                    <a:lnTo>
                      <a:pt x="240" y="121"/>
                    </a:lnTo>
                    <a:lnTo>
                      <a:pt x="236" y="120"/>
                    </a:lnTo>
                    <a:lnTo>
                      <a:pt x="236" y="116"/>
                    </a:lnTo>
                    <a:lnTo>
                      <a:pt x="238" y="114"/>
                    </a:lnTo>
                    <a:lnTo>
                      <a:pt x="236" y="102"/>
                    </a:lnTo>
                    <a:lnTo>
                      <a:pt x="234" y="100"/>
                    </a:lnTo>
                    <a:lnTo>
                      <a:pt x="225" y="96"/>
                    </a:lnTo>
                    <a:lnTo>
                      <a:pt x="213" y="98"/>
                    </a:lnTo>
                    <a:lnTo>
                      <a:pt x="215" y="96"/>
                    </a:lnTo>
                    <a:lnTo>
                      <a:pt x="218" y="95"/>
                    </a:lnTo>
                    <a:lnTo>
                      <a:pt x="220" y="93"/>
                    </a:lnTo>
                    <a:lnTo>
                      <a:pt x="220" y="91"/>
                    </a:lnTo>
                    <a:lnTo>
                      <a:pt x="218" y="88"/>
                    </a:lnTo>
                    <a:lnTo>
                      <a:pt x="197" y="89"/>
                    </a:lnTo>
                    <a:lnTo>
                      <a:pt x="193" y="91"/>
                    </a:lnTo>
                    <a:lnTo>
                      <a:pt x="191" y="95"/>
                    </a:lnTo>
                    <a:lnTo>
                      <a:pt x="190" y="95"/>
                    </a:lnTo>
                    <a:lnTo>
                      <a:pt x="191" y="88"/>
                    </a:lnTo>
                    <a:lnTo>
                      <a:pt x="188" y="88"/>
                    </a:lnTo>
                    <a:lnTo>
                      <a:pt x="188" y="84"/>
                    </a:lnTo>
                    <a:lnTo>
                      <a:pt x="195" y="86"/>
                    </a:lnTo>
                    <a:lnTo>
                      <a:pt x="207" y="82"/>
                    </a:lnTo>
                    <a:lnTo>
                      <a:pt x="216" y="82"/>
                    </a:lnTo>
                    <a:lnTo>
                      <a:pt x="216" y="80"/>
                    </a:lnTo>
                    <a:lnTo>
                      <a:pt x="209" y="77"/>
                    </a:lnTo>
                    <a:lnTo>
                      <a:pt x="190" y="77"/>
                    </a:lnTo>
                    <a:lnTo>
                      <a:pt x="188" y="75"/>
                    </a:lnTo>
                    <a:lnTo>
                      <a:pt x="191" y="73"/>
                    </a:lnTo>
                    <a:lnTo>
                      <a:pt x="206" y="73"/>
                    </a:lnTo>
                    <a:lnTo>
                      <a:pt x="207" y="71"/>
                    </a:lnTo>
                    <a:lnTo>
                      <a:pt x="218" y="73"/>
                    </a:lnTo>
                    <a:lnTo>
                      <a:pt x="220" y="77"/>
                    </a:lnTo>
                    <a:lnTo>
                      <a:pt x="220" y="80"/>
                    </a:lnTo>
                    <a:lnTo>
                      <a:pt x="222" y="84"/>
                    </a:lnTo>
                    <a:lnTo>
                      <a:pt x="224" y="86"/>
                    </a:lnTo>
                    <a:lnTo>
                      <a:pt x="240" y="88"/>
                    </a:lnTo>
                    <a:lnTo>
                      <a:pt x="241" y="86"/>
                    </a:lnTo>
                    <a:lnTo>
                      <a:pt x="241" y="84"/>
                    </a:lnTo>
                    <a:lnTo>
                      <a:pt x="241" y="79"/>
                    </a:lnTo>
                    <a:lnTo>
                      <a:pt x="238" y="73"/>
                    </a:lnTo>
                    <a:lnTo>
                      <a:pt x="241" y="70"/>
                    </a:lnTo>
                    <a:lnTo>
                      <a:pt x="238" y="68"/>
                    </a:lnTo>
                    <a:lnTo>
                      <a:pt x="218" y="68"/>
                    </a:lnTo>
                    <a:lnTo>
                      <a:pt x="218" y="66"/>
                    </a:lnTo>
                    <a:lnTo>
                      <a:pt x="193" y="70"/>
                    </a:lnTo>
                    <a:lnTo>
                      <a:pt x="195" y="68"/>
                    </a:lnTo>
                    <a:lnTo>
                      <a:pt x="195" y="66"/>
                    </a:lnTo>
                    <a:lnTo>
                      <a:pt x="190" y="64"/>
                    </a:lnTo>
                    <a:lnTo>
                      <a:pt x="186" y="63"/>
                    </a:lnTo>
                    <a:lnTo>
                      <a:pt x="191" y="61"/>
                    </a:lnTo>
                    <a:lnTo>
                      <a:pt x="199" y="61"/>
                    </a:lnTo>
                    <a:lnTo>
                      <a:pt x="197" y="54"/>
                    </a:lnTo>
                    <a:lnTo>
                      <a:pt x="195" y="52"/>
                    </a:lnTo>
                    <a:lnTo>
                      <a:pt x="199" y="52"/>
                    </a:lnTo>
                    <a:lnTo>
                      <a:pt x="199" y="54"/>
                    </a:lnTo>
                    <a:lnTo>
                      <a:pt x="200" y="57"/>
                    </a:lnTo>
                    <a:lnTo>
                      <a:pt x="204" y="59"/>
                    </a:lnTo>
                    <a:lnTo>
                      <a:pt x="218" y="61"/>
                    </a:lnTo>
                    <a:lnTo>
                      <a:pt x="218" y="57"/>
                    </a:lnTo>
                    <a:lnTo>
                      <a:pt x="215" y="54"/>
                    </a:lnTo>
                    <a:lnTo>
                      <a:pt x="215" y="52"/>
                    </a:lnTo>
                    <a:lnTo>
                      <a:pt x="200" y="48"/>
                    </a:lnTo>
                    <a:lnTo>
                      <a:pt x="199" y="45"/>
                    </a:lnTo>
                    <a:lnTo>
                      <a:pt x="200" y="45"/>
                    </a:lnTo>
                    <a:lnTo>
                      <a:pt x="211" y="46"/>
                    </a:lnTo>
                    <a:lnTo>
                      <a:pt x="222" y="55"/>
                    </a:lnTo>
                    <a:lnTo>
                      <a:pt x="231" y="55"/>
                    </a:lnTo>
                    <a:lnTo>
                      <a:pt x="232" y="54"/>
                    </a:lnTo>
                    <a:lnTo>
                      <a:pt x="232" y="48"/>
                    </a:lnTo>
                    <a:lnTo>
                      <a:pt x="236" y="50"/>
                    </a:lnTo>
                    <a:lnTo>
                      <a:pt x="245" y="52"/>
                    </a:lnTo>
                    <a:lnTo>
                      <a:pt x="247" y="46"/>
                    </a:lnTo>
                    <a:lnTo>
                      <a:pt x="247" y="45"/>
                    </a:lnTo>
                    <a:lnTo>
                      <a:pt x="249" y="45"/>
                    </a:lnTo>
                    <a:lnTo>
                      <a:pt x="249" y="43"/>
                    </a:lnTo>
                    <a:lnTo>
                      <a:pt x="250" y="46"/>
                    </a:lnTo>
                    <a:lnTo>
                      <a:pt x="256" y="45"/>
                    </a:lnTo>
                    <a:lnTo>
                      <a:pt x="257" y="39"/>
                    </a:lnTo>
                    <a:lnTo>
                      <a:pt x="254" y="25"/>
                    </a:lnTo>
                    <a:lnTo>
                      <a:pt x="236" y="23"/>
                    </a:lnTo>
                    <a:lnTo>
                      <a:pt x="238" y="18"/>
                    </a:lnTo>
                    <a:lnTo>
                      <a:pt x="243" y="18"/>
                    </a:lnTo>
                    <a:lnTo>
                      <a:pt x="250" y="21"/>
                    </a:lnTo>
                    <a:lnTo>
                      <a:pt x="257" y="21"/>
                    </a:lnTo>
                    <a:lnTo>
                      <a:pt x="257" y="25"/>
                    </a:lnTo>
                    <a:lnTo>
                      <a:pt x="257" y="29"/>
                    </a:lnTo>
                    <a:lnTo>
                      <a:pt x="263" y="32"/>
                    </a:lnTo>
                    <a:lnTo>
                      <a:pt x="266" y="32"/>
                    </a:lnTo>
                    <a:lnTo>
                      <a:pt x="266" y="32"/>
                    </a:lnTo>
                    <a:lnTo>
                      <a:pt x="274" y="30"/>
                    </a:lnTo>
                    <a:lnTo>
                      <a:pt x="281" y="30"/>
                    </a:lnTo>
                    <a:lnTo>
                      <a:pt x="282" y="29"/>
                    </a:lnTo>
                    <a:lnTo>
                      <a:pt x="286" y="29"/>
                    </a:lnTo>
                    <a:lnTo>
                      <a:pt x="293" y="16"/>
                    </a:lnTo>
                    <a:lnTo>
                      <a:pt x="290" y="14"/>
                    </a:lnTo>
                    <a:lnTo>
                      <a:pt x="286" y="16"/>
                    </a:lnTo>
                    <a:lnTo>
                      <a:pt x="286" y="13"/>
                    </a:lnTo>
                    <a:lnTo>
                      <a:pt x="290" y="7"/>
                    </a:lnTo>
                    <a:lnTo>
                      <a:pt x="295" y="5"/>
                    </a:lnTo>
                    <a:lnTo>
                      <a:pt x="297" y="4"/>
                    </a:lnTo>
                    <a:lnTo>
                      <a:pt x="300" y="0"/>
                    </a:lnTo>
                    <a:lnTo>
                      <a:pt x="115" y="0"/>
                    </a:lnTo>
                    <a:lnTo>
                      <a:pt x="115" y="0"/>
                    </a:lnTo>
                    <a:lnTo>
                      <a:pt x="129" y="7"/>
                    </a:lnTo>
                    <a:lnTo>
                      <a:pt x="127" y="9"/>
                    </a:lnTo>
                    <a:lnTo>
                      <a:pt x="124" y="11"/>
                    </a:lnTo>
                    <a:lnTo>
                      <a:pt x="125" y="13"/>
                    </a:lnTo>
                    <a:lnTo>
                      <a:pt x="125" y="25"/>
                    </a:lnTo>
                    <a:lnTo>
                      <a:pt x="127" y="25"/>
                    </a:lnTo>
                    <a:lnTo>
                      <a:pt x="127" y="27"/>
                    </a:lnTo>
                    <a:lnTo>
                      <a:pt x="129" y="29"/>
                    </a:lnTo>
                    <a:lnTo>
                      <a:pt x="134" y="30"/>
                    </a:lnTo>
                    <a:lnTo>
                      <a:pt x="140" y="36"/>
                    </a:lnTo>
                    <a:lnTo>
                      <a:pt x="150" y="30"/>
                    </a:lnTo>
                    <a:lnTo>
                      <a:pt x="154" y="30"/>
                    </a:lnTo>
                    <a:lnTo>
                      <a:pt x="154" y="32"/>
                    </a:lnTo>
                    <a:lnTo>
                      <a:pt x="152" y="34"/>
                    </a:lnTo>
                    <a:lnTo>
                      <a:pt x="150" y="34"/>
                    </a:lnTo>
                    <a:lnTo>
                      <a:pt x="140" y="39"/>
                    </a:lnTo>
                    <a:lnTo>
                      <a:pt x="140" y="41"/>
                    </a:lnTo>
                    <a:lnTo>
                      <a:pt x="140" y="43"/>
                    </a:lnTo>
                    <a:lnTo>
                      <a:pt x="140" y="45"/>
                    </a:lnTo>
                    <a:lnTo>
                      <a:pt x="140" y="45"/>
                    </a:lnTo>
                    <a:lnTo>
                      <a:pt x="129" y="38"/>
                    </a:lnTo>
                    <a:lnTo>
                      <a:pt x="125" y="38"/>
                    </a:lnTo>
                    <a:lnTo>
                      <a:pt x="124" y="39"/>
                    </a:lnTo>
                    <a:lnTo>
                      <a:pt x="124" y="32"/>
                    </a:lnTo>
                    <a:lnTo>
                      <a:pt x="120" y="32"/>
                    </a:lnTo>
                    <a:lnTo>
                      <a:pt x="120" y="25"/>
                    </a:lnTo>
                    <a:lnTo>
                      <a:pt x="118" y="23"/>
                    </a:lnTo>
                    <a:lnTo>
                      <a:pt x="118" y="20"/>
                    </a:lnTo>
                    <a:lnTo>
                      <a:pt x="104" y="0"/>
                    </a:lnTo>
                    <a:lnTo>
                      <a:pt x="54" y="0"/>
                    </a:lnTo>
                    <a:lnTo>
                      <a:pt x="65" y="4"/>
                    </a:lnTo>
                    <a:lnTo>
                      <a:pt x="66" y="5"/>
                    </a:lnTo>
                    <a:lnTo>
                      <a:pt x="66"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94" name="Freeform 1842"/>
              <p:cNvSpPr>
                <a:spLocks/>
              </p:cNvSpPr>
              <p:nvPr/>
            </p:nvSpPr>
            <p:spPr bwMode="auto">
              <a:xfrm>
                <a:off x="1414" y="1616"/>
                <a:ext cx="9" cy="9"/>
              </a:xfrm>
              <a:custGeom>
                <a:avLst/>
                <a:gdLst>
                  <a:gd name="T0" fmla="*/ 0 w 9"/>
                  <a:gd name="T1" fmla="*/ 9 h 9"/>
                  <a:gd name="T2" fmla="*/ 2 w 9"/>
                  <a:gd name="T3" fmla="*/ 9 h 9"/>
                  <a:gd name="T4" fmla="*/ 7 w 9"/>
                  <a:gd name="T5" fmla="*/ 6 h 9"/>
                  <a:gd name="T6" fmla="*/ 9 w 9"/>
                  <a:gd name="T7" fmla="*/ 0 h 9"/>
                  <a:gd name="T8" fmla="*/ 9 w 9"/>
                  <a:gd name="T9" fmla="*/ 0 h 9"/>
                  <a:gd name="T10" fmla="*/ 9 w 9"/>
                  <a:gd name="T11" fmla="*/ 0 h 9"/>
                  <a:gd name="T12" fmla="*/ 9 w 9"/>
                  <a:gd name="T13" fmla="*/ 2 h 9"/>
                  <a:gd name="T14" fmla="*/ 7 w 9"/>
                  <a:gd name="T15" fmla="*/ 4 h 9"/>
                  <a:gd name="T16" fmla="*/ 7 w 9"/>
                  <a:gd name="T17" fmla="*/ 6 h 9"/>
                  <a:gd name="T18" fmla="*/ 5 w 9"/>
                  <a:gd name="T19" fmla="*/ 6 h 9"/>
                  <a:gd name="T20" fmla="*/ 4 w 9"/>
                  <a:gd name="T21" fmla="*/ 4 h 9"/>
                  <a:gd name="T22" fmla="*/ 4 w 9"/>
                  <a:gd name="T23" fmla="*/ 4 h 9"/>
                  <a:gd name="T24" fmla="*/ 4 w 9"/>
                  <a:gd name="T25" fmla="*/ 6 h 9"/>
                  <a:gd name="T26" fmla="*/ 4 w 9"/>
                  <a:gd name="T27" fmla="*/ 6 h 9"/>
                  <a:gd name="T28" fmla="*/ 4 w 9"/>
                  <a:gd name="T29" fmla="*/ 6 h 9"/>
                  <a:gd name="T30" fmla="*/ 4 w 9"/>
                  <a:gd name="T31" fmla="*/ 6 h 9"/>
                  <a:gd name="T32" fmla="*/ 2 w 9"/>
                  <a:gd name="T33" fmla="*/ 6 h 9"/>
                  <a:gd name="T34" fmla="*/ 2 w 9"/>
                  <a:gd name="T35" fmla="*/ 6 h 9"/>
                  <a:gd name="T36" fmla="*/ 2 w 9"/>
                  <a:gd name="T37" fmla="*/ 8 h 9"/>
                  <a:gd name="T38" fmla="*/ 0 w 9"/>
                  <a:gd name="T39" fmla="*/ 8 h 9"/>
                  <a:gd name="T40" fmla="*/ 0 w 9"/>
                  <a:gd name="T41" fmla="*/ 8 h 9"/>
                  <a:gd name="T42" fmla="*/ 0 w 9"/>
                  <a:gd name="T43" fmla="*/ 9 h 9"/>
                  <a:gd name="T44" fmla="*/ 0 w 9"/>
                  <a:gd name="T45" fmla="*/ 9 h 9"/>
                  <a:gd name="T46" fmla="*/ 0 w 9"/>
                  <a:gd name="T47" fmla="*/ 9 h 9"/>
                  <a:gd name="T48" fmla="*/ 0 w 9"/>
                  <a:gd name="T4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 h="9">
                    <a:moveTo>
                      <a:pt x="0" y="9"/>
                    </a:moveTo>
                    <a:lnTo>
                      <a:pt x="2" y="9"/>
                    </a:lnTo>
                    <a:lnTo>
                      <a:pt x="7" y="6"/>
                    </a:lnTo>
                    <a:lnTo>
                      <a:pt x="9" y="0"/>
                    </a:lnTo>
                    <a:lnTo>
                      <a:pt x="9" y="0"/>
                    </a:lnTo>
                    <a:lnTo>
                      <a:pt x="9" y="0"/>
                    </a:lnTo>
                    <a:lnTo>
                      <a:pt x="9" y="2"/>
                    </a:lnTo>
                    <a:lnTo>
                      <a:pt x="7" y="4"/>
                    </a:lnTo>
                    <a:lnTo>
                      <a:pt x="7" y="6"/>
                    </a:lnTo>
                    <a:lnTo>
                      <a:pt x="5" y="6"/>
                    </a:lnTo>
                    <a:lnTo>
                      <a:pt x="4" y="4"/>
                    </a:lnTo>
                    <a:lnTo>
                      <a:pt x="4" y="4"/>
                    </a:lnTo>
                    <a:lnTo>
                      <a:pt x="4" y="6"/>
                    </a:lnTo>
                    <a:lnTo>
                      <a:pt x="4" y="6"/>
                    </a:lnTo>
                    <a:lnTo>
                      <a:pt x="4" y="6"/>
                    </a:lnTo>
                    <a:lnTo>
                      <a:pt x="4" y="6"/>
                    </a:lnTo>
                    <a:lnTo>
                      <a:pt x="2" y="6"/>
                    </a:lnTo>
                    <a:lnTo>
                      <a:pt x="2" y="6"/>
                    </a:lnTo>
                    <a:lnTo>
                      <a:pt x="2" y="8"/>
                    </a:lnTo>
                    <a:lnTo>
                      <a:pt x="0" y="8"/>
                    </a:lnTo>
                    <a:lnTo>
                      <a:pt x="0" y="8"/>
                    </a:lnTo>
                    <a:lnTo>
                      <a:pt x="0" y="9"/>
                    </a:lnTo>
                    <a:lnTo>
                      <a:pt x="0" y="9"/>
                    </a:lnTo>
                    <a:lnTo>
                      <a:pt x="0" y="9"/>
                    </a:lnTo>
                    <a:lnTo>
                      <a:pt x="0"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95" name="Freeform 1843"/>
              <p:cNvSpPr>
                <a:spLocks/>
              </p:cNvSpPr>
              <p:nvPr/>
            </p:nvSpPr>
            <p:spPr bwMode="auto">
              <a:xfrm>
                <a:off x="1414" y="1616"/>
                <a:ext cx="9" cy="9"/>
              </a:xfrm>
              <a:custGeom>
                <a:avLst/>
                <a:gdLst>
                  <a:gd name="T0" fmla="*/ 0 w 9"/>
                  <a:gd name="T1" fmla="*/ 9 h 9"/>
                  <a:gd name="T2" fmla="*/ 2 w 9"/>
                  <a:gd name="T3" fmla="*/ 9 h 9"/>
                  <a:gd name="T4" fmla="*/ 7 w 9"/>
                  <a:gd name="T5" fmla="*/ 6 h 9"/>
                  <a:gd name="T6" fmla="*/ 9 w 9"/>
                  <a:gd name="T7" fmla="*/ 0 h 9"/>
                  <a:gd name="T8" fmla="*/ 9 w 9"/>
                  <a:gd name="T9" fmla="*/ 0 h 9"/>
                  <a:gd name="T10" fmla="*/ 9 w 9"/>
                  <a:gd name="T11" fmla="*/ 0 h 9"/>
                  <a:gd name="T12" fmla="*/ 9 w 9"/>
                  <a:gd name="T13" fmla="*/ 2 h 9"/>
                  <a:gd name="T14" fmla="*/ 7 w 9"/>
                  <a:gd name="T15" fmla="*/ 4 h 9"/>
                  <a:gd name="T16" fmla="*/ 7 w 9"/>
                  <a:gd name="T17" fmla="*/ 6 h 9"/>
                  <a:gd name="T18" fmla="*/ 5 w 9"/>
                  <a:gd name="T19" fmla="*/ 6 h 9"/>
                  <a:gd name="T20" fmla="*/ 4 w 9"/>
                  <a:gd name="T21" fmla="*/ 4 h 9"/>
                  <a:gd name="T22" fmla="*/ 4 w 9"/>
                  <a:gd name="T23" fmla="*/ 4 h 9"/>
                  <a:gd name="T24" fmla="*/ 4 w 9"/>
                  <a:gd name="T25" fmla="*/ 6 h 9"/>
                  <a:gd name="T26" fmla="*/ 4 w 9"/>
                  <a:gd name="T27" fmla="*/ 6 h 9"/>
                  <a:gd name="T28" fmla="*/ 4 w 9"/>
                  <a:gd name="T29" fmla="*/ 6 h 9"/>
                  <a:gd name="T30" fmla="*/ 4 w 9"/>
                  <a:gd name="T31" fmla="*/ 6 h 9"/>
                  <a:gd name="T32" fmla="*/ 2 w 9"/>
                  <a:gd name="T33" fmla="*/ 6 h 9"/>
                  <a:gd name="T34" fmla="*/ 2 w 9"/>
                  <a:gd name="T35" fmla="*/ 6 h 9"/>
                  <a:gd name="T36" fmla="*/ 2 w 9"/>
                  <a:gd name="T37" fmla="*/ 8 h 9"/>
                  <a:gd name="T38" fmla="*/ 0 w 9"/>
                  <a:gd name="T39" fmla="*/ 8 h 9"/>
                  <a:gd name="T40" fmla="*/ 0 w 9"/>
                  <a:gd name="T41" fmla="*/ 8 h 9"/>
                  <a:gd name="T42" fmla="*/ 0 w 9"/>
                  <a:gd name="T43" fmla="*/ 9 h 9"/>
                  <a:gd name="T44" fmla="*/ 0 w 9"/>
                  <a:gd name="T45" fmla="*/ 9 h 9"/>
                  <a:gd name="T46" fmla="*/ 0 w 9"/>
                  <a:gd name="T47" fmla="*/ 9 h 9"/>
                  <a:gd name="T48" fmla="*/ 0 w 9"/>
                  <a:gd name="T4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 h="9">
                    <a:moveTo>
                      <a:pt x="0" y="9"/>
                    </a:moveTo>
                    <a:lnTo>
                      <a:pt x="2" y="9"/>
                    </a:lnTo>
                    <a:lnTo>
                      <a:pt x="7" y="6"/>
                    </a:lnTo>
                    <a:lnTo>
                      <a:pt x="9" y="0"/>
                    </a:lnTo>
                    <a:lnTo>
                      <a:pt x="9" y="0"/>
                    </a:lnTo>
                    <a:lnTo>
                      <a:pt x="9" y="0"/>
                    </a:lnTo>
                    <a:lnTo>
                      <a:pt x="9" y="2"/>
                    </a:lnTo>
                    <a:lnTo>
                      <a:pt x="7" y="4"/>
                    </a:lnTo>
                    <a:lnTo>
                      <a:pt x="7" y="6"/>
                    </a:lnTo>
                    <a:lnTo>
                      <a:pt x="5" y="6"/>
                    </a:lnTo>
                    <a:lnTo>
                      <a:pt x="4" y="4"/>
                    </a:lnTo>
                    <a:lnTo>
                      <a:pt x="4" y="4"/>
                    </a:lnTo>
                    <a:lnTo>
                      <a:pt x="4" y="6"/>
                    </a:lnTo>
                    <a:lnTo>
                      <a:pt x="4" y="6"/>
                    </a:lnTo>
                    <a:lnTo>
                      <a:pt x="4" y="6"/>
                    </a:lnTo>
                    <a:lnTo>
                      <a:pt x="4" y="6"/>
                    </a:lnTo>
                    <a:lnTo>
                      <a:pt x="2" y="6"/>
                    </a:lnTo>
                    <a:lnTo>
                      <a:pt x="2" y="6"/>
                    </a:lnTo>
                    <a:lnTo>
                      <a:pt x="2" y="8"/>
                    </a:lnTo>
                    <a:lnTo>
                      <a:pt x="0" y="8"/>
                    </a:lnTo>
                    <a:lnTo>
                      <a:pt x="0" y="8"/>
                    </a:lnTo>
                    <a:lnTo>
                      <a:pt x="0" y="9"/>
                    </a:lnTo>
                    <a:lnTo>
                      <a:pt x="0" y="9"/>
                    </a:lnTo>
                    <a:lnTo>
                      <a:pt x="0" y="9"/>
                    </a:lnTo>
                    <a:lnTo>
                      <a:pt x="0"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96" name="Freeform 1844"/>
              <p:cNvSpPr>
                <a:spLocks/>
              </p:cNvSpPr>
              <p:nvPr/>
            </p:nvSpPr>
            <p:spPr bwMode="auto">
              <a:xfrm>
                <a:off x="1416" y="1613"/>
                <a:ext cx="18" cy="25"/>
              </a:xfrm>
              <a:custGeom>
                <a:avLst/>
                <a:gdLst>
                  <a:gd name="T0" fmla="*/ 16 w 18"/>
                  <a:gd name="T1" fmla="*/ 11 h 25"/>
                  <a:gd name="T2" fmla="*/ 18 w 18"/>
                  <a:gd name="T3" fmla="*/ 9 h 25"/>
                  <a:gd name="T4" fmla="*/ 16 w 18"/>
                  <a:gd name="T5" fmla="*/ 9 h 25"/>
                  <a:gd name="T6" fmla="*/ 18 w 18"/>
                  <a:gd name="T7" fmla="*/ 9 h 25"/>
                  <a:gd name="T8" fmla="*/ 18 w 18"/>
                  <a:gd name="T9" fmla="*/ 7 h 25"/>
                  <a:gd name="T10" fmla="*/ 16 w 18"/>
                  <a:gd name="T11" fmla="*/ 7 h 25"/>
                  <a:gd name="T12" fmla="*/ 14 w 18"/>
                  <a:gd name="T13" fmla="*/ 5 h 25"/>
                  <a:gd name="T14" fmla="*/ 14 w 18"/>
                  <a:gd name="T15" fmla="*/ 3 h 25"/>
                  <a:gd name="T16" fmla="*/ 12 w 18"/>
                  <a:gd name="T17" fmla="*/ 3 h 25"/>
                  <a:gd name="T18" fmla="*/ 12 w 18"/>
                  <a:gd name="T19" fmla="*/ 2 h 25"/>
                  <a:gd name="T20" fmla="*/ 12 w 18"/>
                  <a:gd name="T21" fmla="*/ 0 h 25"/>
                  <a:gd name="T22" fmla="*/ 9 w 18"/>
                  <a:gd name="T23" fmla="*/ 12 h 25"/>
                  <a:gd name="T24" fmla="*/ 7 w 18"/>
                  <a:gd name="T25" fmla="*/ 14 h 25"/>
                  <a:gd name="T26" fmla="*/ 7 w 18"/>
                  <a:gd name="T27" fmla="*/ 14 h 25"/>
                  <a:gd name="T28" fmla="*/ 7 w 18"/>
                  <a:gd name="T29" fmla="*/ 14 h 25"/>
                  <a:gd name="T30" fmla="*/ 9 w 18"/>
                  <a:gd name="T31" fmla="*/ 11 h 25"/>
                  <a:gd name="T32" fmla="*/ 9 w 18"/>
                  <a:gd name="T33" fmla="*/ 5 h 25"/>
                  <a:gd name="T34" fmla="*/ 9 w 18"/>
                  <a:gd name="T35" fmla="*/ 3 h 25"/>
                  <a:gd name="T36" fmla="*/ 9 w 18"/>
                  <a:gd name="T37" fmla="*/ 5 h 25"/>
                  <a:gd name="T38" fmla="*/ 5 w 18"/>
                  <a:gd name="T39" fmla="*/ 12 h 25"/>
                  <a:gd name="T40" fmla="*/ 0 w 18"/>
                  <a:gd name="T41" fmla="*/ 19 h 25"/>
                  <a:gd name="T42" fmla="*/ 0 w 18"/>
                  <a:gd name="T43" fmla="*/ 21 h 25"/>
                  <a:gd name="T44" fmla="*/ 0 w 18"/>
                  <a:gd name="T45" fmla="*/ 21 h 25"/>
                  <a:gd name="T46" fmla="*/ 2 w 18"/>
                  <a:gd name="T47" fmla="*/ 23 h 25"/>
                  <a:gd name="T48" fmla="*/ 2 w 18"/>
                  <a:gd name="T49" fmla="*/ 23 h 25"/>
                  <a:gd name="T50" fmla="*/ 9 w 18"/>
                  <a:gd name="T51" fmla="*/ 14 h 25"/>
                  <a:gd name="T52" fmla="*/ 9 w 18"/>
                  <a:gd name="T53" fmla="*/ 16 h 25"/>
                  <a:gd name="T54" fmla="*/ 3 w 18"/>
                  <a:gd name="T55" fmla="*/ 25 h 25"/>
                  <a:gd name="T56" fmla="*/ 5 w 18"/>
                  <a:gd name="T57" fmla="*/ 21 h 25"/>
                  <a:gd name="T58" fmla="*/ 7 w 18"/>
                  <a:gd name="T59" fmla="*/ 21 h 25"/>
                  <a:gd name="T60" fmla="*/ 7 w 18"/>
                  <a:gd name="T61" fmla="*/ 23 h 25"/>
                  <a:gd name="T62" fmla="*/ 9 w 18"/>
                  <a:gd name="T63" fmla="*/ 21 h 25"/>
                  <a:gd name="T64" fmla="*/ 14 w 18"/>
                  <a:gd name="T65" fmla="*/ 12 h 25"/>
                  <a:gd name="T66" fmla="*/ 12 w 18"/>
                  <a:gd name="T67" fmla="*/ 21 h 25"/>
                  <a:gd name="T68" fmla="*/ 14 w 18"/>
                  <a:gd name="T69" fmla="*/ 12 h 25"/>
                  <a:gd name="T70" fmla="*/ 14 w 18"/>
                  <a:gd name="T71" fmla="*/ 12 h 25"/>
                  <a:gd name="T72" fmla="*/ 16 w 18"/>
                  <a:gd name="T73" fmla="*/ 9 h 25"/>
                  <a:gd name="T74" fmla="*/ 16 w 18"/>
                  <a:gd name="T75" fmla="*/ 7 h 25"/>
                  <a:gd name="T76" fmla="*/ 16 w 18"/>
                  <a:gd name="T77" fmla="*/ 7 h 25"/>
                  <a:gd name="T78" fmla="*/ 16 w 18"/>
                  <a:gd name="T79" fmla="*/ 9 h 25"/>
                  <a:gd name="T80" fmla="*/ 12 w 18"/>
                  <a:gd name="T81" fmla="*/ 21 h 25"/>
                  <a:gd name="T82" fmla="*/ 12 w 18"/>
                  <a:gd name="T83"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5">
                    <a:moveTo>
                      <a:pt x="14" y="19"/>
                    </a:moveTo>
                    <a:lnTo>
                      <a:pt x="16" y="11"/>
                    </a:lnTo>
                    <a:lnTo>
                      <a:pt x="18" y="11"/>
                    </a:lnTo>
                    <a:lnTo>
                      <a:pt x="18" y="9"/>
                    </a:lnTo>
                    <a:lnTo>
                      <a:pt x="18" y="9"/>
                    </a:lnTo>
                    <a:lnTo>
                      <a:pt x="16" y="9"/>
                    </a:lnTo>
                    <a:lnTo>
                      <a:pt x="18" y="9"/>
                    </a:lnTo>
                    <a:lnTo>
                      <a:pt x="18" y="9"/>
                    </a:lnTo>
                    <a:lnTo>
                      <a:pt x="18" y="9"/>
                    </a:lnTo>
                    <a:lnTo>
                      <a:pt x="18" y="7"/>
                    </a:lnTo>
                    <a:lnTo>
                      <a:pt x="16" y="5"/>
                    </a:lnTo>
                    <a:lnTo>
                      <a:pt x="16" y="7"/>
                    </a:lnTo>
                    <a:lnTo>
                      <a:pt x="16" y="5"/>
                    </a:lnTo>
                    <a:lnTo>
                      <a:pt x="14" y="5"/>
                    </a:lnTo>
                    <a:lnTo>
                      <a:pt x="14" y="5"/>
                    </a:lnTo>
                    <a:lnTo>
                      <a:pt x="14" y="3"/>
                    </a:lnTo>
                    <a:lnTo>
                      <a:pt x="14" y="3"/>
                    </a:lnTo>
                    <a:lnTo>
                      <a:pt x="12" y="3"/>
                    </a:lnTo>
                    <a:lnTo>
                      <a:pt x="12" y="3"/>
                    </a:lnTo>
                    <a:lnTo>
                      <a:pt x="12" y="2"/>
                    </a:lnTo>
                    <a:lnTo>
                      <a:pt x="12" y="2"/>
                    </a:lnTo>
                    <a:lnTo>
                      <a:pt x="12" y="0"/>
                    </a:lnTo>
                    <a:lnTo>
                      <a:pt x="12" y="0"/>
                    </a:lnTo>
                    <a:lnTo>
                      <a:pt x="9" y="12"/>
                    </a:lnTo>
                    <a:lnTo>
                      <a:pt x="9" y="12"/>
                    </a:lnTo>
                    <a:lnTo>
                      <a:pt x="7" y="14"/>
                    </a:lnTo>
                    <a:lnTo>
                      <a:pt x="7" y="14"/>
                    </a:lnTo>
                    <a:lnTo>
                      <a:pt x="7" y="14"/>
                    </a:lnTo>
                    <a:lnTo>
                      <a:pt x="7" y="14"/>
                    </a:lnTo>
                    <a:lnTo>
                      <a:pt x="7" y="14"/>
                    </a:lnTo>
                    <a:lnTo>
                      <a:pt x="7" y="12"/>
                    </a:lnTo>
                    <a:lnTo>
                      <a:pt x="9" y="11"/>
                    </a:lnTo>
                    <a:lnTo>
                      <a:pt x="9" y="9"/>
                    </a:lnTo>
                    <a:lnTo>
                      <a:pt x="9" y="5"/>
                    </a:lnTo>
                    <a:lnTo>
                      <a:pt x="9" y="2"/>
                    </a:lnTo>
                    <a:lnTo>
                      <a:pt x="9" y="3"/>
                    </a:lnTo>
                    <a:lnTo>
                      <a:pt x="9" y="3"/>
                    </a:lnTo>
                    <a:lnTo>
                      <a:pt x="9" y="5"/>
                    </a:lnTo>
                    <a:lnTo>
                      <a:pt x="7" y="11"/>
                    </a:lnTo>
                    <a:lnTo>
                      <a:pt x="5" y="12"/>
                    </a:lnTo>
                    <a:lnTo>
                      <a:pt x="5" y="14"/>
                    </a:lnTo>
                    <a:lnTo>
                      <a:pt x="0" y="19"/>
                    </a:lnTo>
                    <a:lnTo>
                      <a:pt x="0" y="21"/>
                    </a:lnTo>
                    <a:lnTo>
                      <a:pt x="0" y="21"/>
                    </a:lnTo>
                    <a:lnTo>
                      <a:pt x="0" y="21"/>
                    </a:lnTo>
                    <a:lnTo>
                      <a:pt x="0" y="21"/>
                    </a:lnTo>
                    <a:lnTo>
                      <a:pt x="2" y="21"/>
                    </a:lnTo>
                    <a:lnTo>
                      <a:pt x="2" y="23"/>
                    </a:lnTo>
                    <a:lnTo>
                      <a:pt x="2" y="23"/>
                    </a:lnTo>
                    <a:lnTo>
                      <a:pt x="2" y="23"/>
                    </a:lnTo>
                    <a:lnTo>
                      <a:pt x="7" y="14"/>
                    </a:lnTo>
                    <a:lnTo>
                      <a:pt x="9" y="14"/>
                    </a:lnTo>
                    <a:lnTo>
                      <a:pt x="9" y="14"/>
                    </a:lnTo>
                    <a:lnTo>
                      <a:pt x="9" y="16"/>
                    </a:lnTo>
                    <a:lnTo>
                      <a:pt x="3" y="25"/>
                    </a:lnTo>
                    <a:lnTo>
                      <a:pt x="3" y="25"/>
                    </a:lnTo>
                    <a:lnTo>
                      <a:pt x="5" y="21"/>
                    </a:lnTo>
                    <a:lnTo>
                      <a:pt x="5" y="21"/>
                    </a:lnTo>
                    <a:lnTo>
                      <a:pt x="7" y="21"/>
                    </a:lnTo>
                    <a:lnTo>
                      <a:pt x="7" y="21"/>
                    </a:lnTo>
                    <a:lnTo>
                      <a:pt x="7" y="23"/>
                    </a:lnTo>
                    <a:lnTo>
                      <a:pt x="7" y="23"/>
                    </a:lnTo>
                    <a:lnTo>
                      <a:pt x="7" y="23"/>
                    </a:lnTo>
                    <a:lnTo>
                      <a:pt x="9" y="21"/>
                    </a:lnTo>
                    <a:lnTo>
                      <a:pt x="14" y="12"/>
                    </a:lnTo>
                    <a:lnTo>
                      <a:pt x="14" y="12"/>
                    </a:lnTo>
                    <a:lnTo>
                      <a:pt x="14" y="14"/>
                    </a:lnTo>
                    <a:lnTo>
                      <a:pt x="12" y="21"/>
                    </a:lnTo>
                    <a:lnTo>
                      <a:pt x="14" y="12"/>
                    </a:lnTo>
                    <a:lnTo>
                      <a:pt x="14" y="12"/>
                    </a:lnTo>
                    <a:lnTo>
                      <a:pt x="16" y="12"/>
                    </a:lnTo>
                    <a:lnTo>
                      <a:pt x="14" y="12"/>
                    </a:lnTo>
                    <a:lnTo>
                      <a:pt x="14" y="12"/>
                    </a:lnTo>
                    <a:lnTo>
                      <a:pt x="16" y="9"/>
                    </a:lnTo>
                    <a:lnTo>
                      <a:pt x="16" y="9"/>
                    </a:lnTo>
                    <a:lnTo>
                      <a:pt x="16" y="7"/>
                    </a:lnTo>
                    <a:lnTo>
                      <a:pt x="16" y="7"/>
                    </a:lnTo>
                    <a:lnTo>
                      <a:pt x="16" y="7"/>
                    </a:lnTo>
                    <a:lnTo>
                      <a:pt x="16" y="9"/>
                    </a:lnTo>
                    <a:lnTo>
                      <a:pt x="16" y="9"/>
                    </a:lnTo>
                    <a:lnTo>
                      <a:pt x="12" y="19"/>
                    </a:lnTo>
                    <a:lnTo>
                      <a:pt x="12" y="21"/>
                    </a:lnTo>
                    <a:lnTo>
                      <a:pt x="12" y="23"/>
                    </a:lnTo>
                    <a:lnTo>
                      <a:pt x="12" y="21"/>
                    </a:lnTo>
                    <a:lnTo>
                      <a:pt x="14" y="1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97" name="Freeform 1845"/>
              <p:cNvSpPr>
                <a:spLocks/>
              </p:cNvSpPr>
              <p:nvPr/>
            </p:nvSpPr>
            <p:spPr bwMode="auto">
              <a:xfrm>
                <a:off x="1416" y="1613"/>
                <a:ext cx="18" cy="25"/>
              </a:xfrm>
              <a:custGeom>
                <a:avLst/>
                <a:gdLst>
                  <a:gd name="T0" fmla="*/ 16 w 18"/>
                  <a:gd name="T1" fmla="*/ 11 h 25"/>
                  <a:gd name="T2" fmla="*/ 18 w 18"/>
                  <a:gd name="T3" fmla="*/ 9 h 25"/>
                  <a:gd name="T4" fmla="*/ 16 w 18"/>
                  <a:gd name="T5" fmla="*/ 9 h 25"/>
                  <a:gd name="T6" fmla="*/ 18 w 18"/>
                  <a:gd name="T7" fmla="*/ 9 h 25"/>
                  <a:gd name="T8" fmla="*/ 18 w 18"/>
                  <a:gd name="T9" fmla="*/ 7 h 25"/>
                  <a:gd name="T10" fmla="*/ 16 w 18"/>
                  <a:gd name="T11" fmla="*/ 7 h 25"/>
                  <a:gd name="T12" fmla="*/ 14 w 18"/>
                  <a:gd name="T13" fmla="*/ 5 h 25"/>
                  <a:gd name="T14" fmla="*/ 14 w 18"/>
                  <a:gd name="T15" fmla="*/ 3 h 25"/>
                  <a:gd name="T16" fmla="*/ 12 w 18"/>
                  <a:gd name="T17" fmla="*/ 3 h 25"/>
                  <a:gd name="T18" fmla="*/ 12 w 18"/>
                  <a:gd name="T19" fmla="*/ 2 h 25"/>
                  <a:gd name="T20" fmla="*/ 12 w 18"/>
                  <a:gd name="T21" fmla="*/ 0 h 25"/>
                  <a:gd name="T22" fmla="*/ 9 w 18"/>
                  <a:gd name="T23" fmla="*/ 12 h 25"/>
                  <a:gd name="T24" fmla="*/ 7 w 18"/>
                  <a:gd name="T25" fmla="*/ 14 h 25"/>
                  <a:gd name="T26" fmla="*/ 7 w 18"/>
                  <a:gd name="T27" fmla="*/ 14 h 25"/>
                  <a:gd name="T28" fmla="*/ 7 w 18"/>
                  <a:gd name="T29" fmla="*/ 14 h 25"/>
                  <a:gd name="T30" fmla="*/ 9 w 18"/>
                  <a:gd name="T31" fmla="*/ 11 h 25"/>
                  <a:gd name="T32" fmla="*/ 9 w 18"/>
                  <a:gd name="T33" fmla="*/ 5 h 25"/>
                  <a:gd name="T34" fmla="*/ 9 w 18"/>
                  <a:gd name="T35" fmla="*/ 3 h 25"/>
                  <a:gd name="T36" fmla="*/ 9 w 18"/>
                  <a:gd name="T37" fmla="*/ 5 h 25"/>
                  <a:gd name="T38" fmla="*/ 5 w 18"/>
                  <a:gd name="T39" fmla="*/ 12 h 25"/>
                  <a:gd name="T40" fmla="*/ 0 w 18"/>
                  <a:gd name="T41" fmla="*/ 19 h 25"/>
                  <a:gd name="T42" fmla="*/ 0 w 18"/>
                  <a:gd name="T43" fmla="*/ 21 h 25"/>
                  <a:gd name="T44" fmla="*/ 0 w 18"/>
                  <a:gd name="T45" fmla="*/ 21 h 25"/>
                  <a:gd name="T46" fmla="*/ 2 w 18"/>
                  <a:gd name="T47" fmla="*/ 23 h 25"/>
                  <a:gd name="T48" fmla="*/ 2 w 18"/>
                  <a:gd name="T49" fmla="*/ 23 h 25"/>
                  <a:gd name="T50" fmla="*/ 9 w 18"/>
                  <a:gd name="T51" fmla="*/ 14 h 25"/>
                  <a:gd name="T52" fmla="*/ 9 w 18"/>
                  <a:gd name="T53" fmla="*/ 16 h 25"/>
                  <a:gd name="T54" fmla="*/ 3 w 18"/>
                  <a:gd name="T55" fmla="*/ 25 h 25"/>
                  <a:gd name="T56" fmla="*/ 5 w 18"/>
                  <a:gd name="T57" fmla="*/ 21 h 25"/>
                  <a:gd name="T58" fmla="*/ 7 w 18"/>
                  <a:gd name="T59" fmla="*/ 21 h 25"/>
                  <a:gd name="T60" fmla="*/ 7 w 18"/>
                  <a:gd name="T61" fmla="*/ 23 h 25"/>
                  <a:gd name="T62" fmla="*/ 9 w 18"/>
                  <a:gd name="T63" fmla="*/ 21 h 25"/>
                  <a:gd name="T64" fmla="*/ 14 w 18"/>
                  <a:gd name="T65" fmla="*/ 12 h 25"/>
                  <a:gd name="T66" fmla="*/ 12 w 18"/>
                  <a:gd name="T67" fmla="*/ 21 h 25"/>
                  <a:gd name="T68" fmla="*/ 14 w 18"/>
                  <a:gd name="T69" fmla="*/ 12 h 25"/>
                  <a:gd name="T70" fmla="*/ 14 w 18"/>
                  <a:gd name="T71" fmla="*/ 12 h 25"/>
                  <a:gd name="T72" fmla="*/ 16 w 18"/>
                  <a:gd name="T73" fmla="*/ 9 h 25"/>
                  <a:gd name="T74" fmla="*/ 16 w 18"/>
                  <a:gd name="T75" fmla="*/ 7 h 25"/>
                  <a:gd name="T76" fmla="*/ 16 w 18"/>
                  <a:gd name="T77" fmla="*/ 7 h 25"/>
                  <a:gd name="T78" fmla="*/ 16 w 18"/>
                  <a:gd name="T79" fmla="*/ 9 h 25"/>
                  <a:gd name="T80" fmla="*/ 12 w 18"/>
                  <a:gd name="T81" fmla="*/ 21 h 25"/>
                  <a:gd name="T82" fmla="*/ 12 w 18"/>
                  <a:gd name="T83"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 h="25">
                    <a:moveTo>
                      <a:pt x="14" y="19"/>
                    </a:moveTo>
                    <a:lnTo>
                      <a:pt x="16" y="11"/>
                    </a:lnTo>
                    <a:lnTo>
                      <a:pt x="18" y="11"/>
                    </a:lnTo>
                    <a:lnTo>
                      <a:pt x="18" y="9"/>
                    </a:lnTo>
                    <a:lnTo>
                      <a:pt x="18" y="9"/>
                    </a:lnTo>
                    <a:lnTo>
                      <a:pt x="16" y="9"/>
                    </a:lnTo>
                    <a:lnTo>
                      <a:pt x="18" y="9"/>
                    </a:lnTo>
                    <a:lnTo>
                      <a:pt x="18" y="9"/>
                    </a:lnTo>
                    <a:lnTo>
                      <a:pt x="18" y="9"/>
                    </a:lnTo>
                    <a:lnTo>
                      <a:pt x="18" y="7"/>
                    </a:lnTo>
                    <a:lnTo>
                      <a:pt x="16" y="5"/>
                    </a:lnTo>
                    <a:lnTo>
                      <a:pt x="16" y="7"/>
                    </a:lnTo>
                    <a:lnTo>
                      <a:pt x="16" y="5"/>
                    </a:lnTo>
                    <a:lnTo>
                      <a:pt x="14" y="5"/>
                    </a:lnTo>
                    <a:lnTo>
                      <a:pt x="14" y="5"/>
                    </a:lnTo>
                    <a:lnTo>
                      <a:pt x="14" y="3"/>
                    </a:lnTo>
                    <a:lnTo>
                      <a:pt x="14" y="3"/>
                    </a:lnTo>
                    <a:lnTo>
                      <a:pt x="12" y="3"/>
                    </a:lnTo>
                    <a:lnTo>
                      <a:pt x="12" y="3"/>
                    </a:lnTo>
                    <a:lnTo>
                      <a:pt x="12" y="2"/>
                    </a:lnTo>
                    <a:lnTo>
                      <a:pt x="12" y="2"/>
                    </a:lnTo>
                    <a:lnTo>
                      <a:pt x="12" y="0"/>
                    </a:lnTo>
                    <a:lnTo>
                      <a:pt x="12" y="0"/>
                    </a:lnTo>
                    <a:lnTo>
                      <a:pt x="9" y="12"/>
                    </a:lnTo>
                    <a:lnTo>
                      <a:pt x="9" y="12"/>
                    </a:lnTo>
                    <a:lnTo>
                      <a:pt x="7" y="14"/>
                    </a:lnTo>
                    <a:lnTo>
                      <a:pt x="7" y="14"/>
                    </a:lnTo>
                    <a:lnTo>
                      <a:pt x="7" y="14"/>
                    </a:lnTo>
                    <a:lnTo>
                      <a:pt x="7" y="14"/>
                    </a:lnTo>
                    <a:lnTo>
                      <a:pt x="7" y="14"/>
                    </a:lnTo>
                    <a:lnTo>
                      <a:pt x="7" y="12"/>
                    </a:lnTo>
                    <a:lnTo>
                      <a:pt x="9" y="11"/>
                    </a:lnTo>
                    <a:lnTo>
                      <a:pt x="9" y="9"/>
                    </a:lnTo>
                    <a:lnTo>
                      <a:pt x="9" y="5"/>
                    </a:lnTo>
                    <a:lnTo>
                      <a:pt x="9" y="2"/>
                    </a:lnTo>
                    <a:lnTo>
                      <a:pt x="9" y="3"/>
                    </a:lnTo>
                    <a:lnTo>
                      <a:pt x="9" y="3"/>
                    </a:lnTo>
                    <a:lnTo>
                      <a:pt x="9" y="5"/>
                    </a:lnTo>
                    <a:lnTo>
                      <a:pt x="7" y="11"/>
                    </a:lnTo>
                    <a:lnTo>
                      <a:pt x="5" y="12"/>
                    </a:lnTo>
                    <a:lnTo>
                      <a:pt x="5" y="14"/>
                    </a:lnTo>
                    <a:lnTo>
                      <a:pt x="0" y="19"/>
                    </a:lnTo>
                    <a:lnTo>
                      <a:pt x="0" y="21"/>
                    </a:lnTo>
                    <a:lnTo>
                      <a:pt x="0" y="21"/>
                    </a:lnTo>
                    <a:lnTo>
                      <a:pt x="0" y="21"/>
                    </a:lnTo>
                    <a:lnTo>
                      <a:pt x="0" y="21"/>
                    </a:lnTo>
                    <a:lnTo>
                      <a:pt x="2" y="21"/>
                    </a:lnTo>
                    <a:lnTo>
                      <a:pt x="2" y="23"/>
                    </a:lnTo>
                    <a:lnTo>
                      <a:pt x="2" y="23"/>
                    </a:lnTo>
                    <a:lnTo>
                      <a:pt x="2" y="23"/>
                    </a:lnTo>
                    <a:lnTo>
                      <a:pt x="7" y="14"/>
                    </a:lnTo>
                    <a:lnTo>
                      <a:pt x="9" y="14"/>
                    </a:lnTo>
                    <a:lnTo>
                      <a:pt x="9" y="14"/>
                    </a:lnTo>
                    <a:lnTo>
                      <a:pt x="9" y="16"/>
                    </a:lnTo>
                    <a:lnTo>
                      <a:pt x="3" y="25"/>
                    </a:lnTo>
                    <a:lnTo>
                      <a:pt x="3" y="25"/>
                    </a:lnTo>
                    <a:lnTo>
                      <a:pt x="5" y="21"/>
                    </a:lnTo>
                    <a:lnTo>
                      <a:pt x="5" y="21"/>
                    </a:lnTo>
                    <a:lnTo>
                      <a:pt x="7" y="21"/>
                    </a:lnTo>
                    <a:lnTo>
                      <a:pt x="7" y="21"/>
                    </a:lnTo>
                    <a:lnTo>
                      <a:pt x="7" y="23"/>
                    </a:lnTo>
                    <a:lnTo>
                      <a:pt x="7" y="23"/>
                    </a:lnTo>
                    <a:lnTo>
                      <a:pt x="7" y="23"/>
                    </a:lnTo>
                    <a:lnTo>
                      <a:pt x="9" y="21"/>
                    </a:lnTo>
                    <a:lnTo>
                      <a:pt x="14" y="12"/>
                    </a:lnTo>
                    <a:lnTo>
                      <a:pt x="14" y="12"/>
                    </a:lnTo>
                    <a:lnTo>
                      <a:pt x="14" y="14"/>
                    </a:lnTo>
                    <a:lnTo>
                      <a:pt x="12" y="21"/>
                    </a:lnTo>
                    <a:lnTo>
                      <a:pt x="14" y="12"/>
                    </a:lnTo>
                    <a:lnTo>
                      <a:pt x="14" y="12"/>
                    </a:lnTo>
                    <a:lnTo>
                      <a:pt x="16" y="12"/>
                    </a:lnTo>
                    <a:lnTo>
                      <a:pt x="14" y="12"/>
                    </a:lnTo>
                    <a:lnTo>
                      <a:pt x="14" y="12"/>
                    </a:lnTo>
                    <a:lnTo>
                      <a:pt x="16" y="9"/>
                    </a:lnTo>
                    <a:lnTo>
                      <a:pt x="16" y="9"/>
                    </a:lnTo>
                    <a:lnTo>
                      <a:pt x="16" y="7"/>
                    </a:lnTo>
                    <a:lnTo>
                      <a:pt x="16" y="7"/>
                    </a:lnTo>
                    <a:lnTo>
                      <a:pt x="16" y="7"/>
                    </a:lnTo>
                    <a:lnTo>
                      <a:pt x="16" y="9"/>
                    </a:lnTo>
                    <a:lnTo>
                      <a:pt x="16" y="9"/>
                    </a:lnTo>
                    <a:lnTo>
                      <a:pt x="12" y="19"/>
                    </a:lnTo>
                    <a:lnTo>
                      <a:pt x="12" y="21"/>
                    </a:lnTo>
                    <a:lnTo>
                      <a:pt x="12" y="23"/>
                    </a:lnTo>
                    <a:lnTo>
                      <a:pt x="12" y="21"/>
                    </a:lnTo>
                    <a:lnTo>
                      <a:pt x="14" y="1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98" name="Freeform 1846"/>
              <p:cNvSpPr>
                <a:spLocks/>
              </p:cNvSpPr>
              <p:nvPr/>
            </p:nvSpPr>
            <p:spPr bwMode="auto">
              <a:xfrm>
                <a:off x="1434" y="1618"/>
                <a:ext cx="3" cy="11"/>
              </a:xfrm>
              <a:custGeom>
                <a:avLst/>
                <a:gdLst>
                  <a:gd name="T0" fmla="*/ 0 w 3"/>
                  <a:gd name="T1" fmla="*/ 9 h 11"/>
                  <a:gd name="T2" fmla="*/ 2 w 3"/>
                  <a:gd name="T3" fmla="*/ 9 h 11"/>
                  <a:gd name="T4" fmla="*/ 2 w 3"/>
                  <a:gd name="T5" fmla="*/ 9 h 11"/>
                  <a:gd name="T6" fmla="*/ 2 w 3"/>
                  <a:gd name="T7" fmla="*/ 9 h 11"/>
                  <a:gd name="T8" fmla="*/ 2 w 3"/>
                  <a:gd name="T9" fmla="*/ 9 h 11"/>
                  <a:gd name="T10" fmla="*/ 3 w 3"/>
                  <a:gd name="T11" fmla="*/ 9 h 11"/>
                  <a:gd name="T12" fmla="*/ 3 w 3"/>
                  <a:gd name="T13" fmla="*/ 9 h 11"/>
                  <a:gd name="T14" fmla="*/ 3 w 3"/>
                  <a:gd name="T15" fmla="*/ 7 h 11"/>
                  <a:gd name="T16" fmla="*/ 3 w 3"/>
                  <a:gd name="T17" fmla="*/ 7 h 11"/>
                  <a:gd name="T18" fmla="*/ 3 w 3"/>
                  <a:gd name="T19" fmla="*/ 7 h 11"/>
                  <a:gd name="T20" fmla="*/ 3 w 3"/>
                  <a:gd name="T21" fmla="*/ 6 h 11"/>
                  <a:gd name="T22" fmla="*/ 3 w 3"/>
                  <a:gd name="T23" fmla="*/ 6 h 11"/>
                  <a:gd name="T24" fmla="*/ 3 w 3"/>
                  <a:gd name="T25" fmla="*/ 6 h 11"/>
                  <a:gd name="T26" fmla="*/ 3 w 3"/>
                  <a:gd name="T27" fmla="*/ 0 h 11"/>
                  <a:gd name="T28" fmla="*/ 3 w 3"/>
                  <a:gd name="T29" fmla="*/ 0 h 11"/>
                  <a:gd name="T30" fmla="*/ 2 w 3"/>
                  <a:gd name="T31" fmla="*/ 0 h 11"/>
                  <a:gd name="T32" fmla="*/ 2 w 3"/>
                  <a:gd name="T33" fmla="*/ 2 h 11"/>
                  <a:gd name="T34" fmla="*/ 2 w 3"/>
                  <a:gd name="T35" fmla="*/ 2 h 11"/>
                  <a:gd name="T36" fmla="*/ 2 w 3"/>
                  <a:gd name="T37" fmla="*/ 2 h 11"/>
                  <a:gd name="T38" fmla="*/ 2 w 3"/>
                  <a:gd name="T39" fmla="*/ 4 h 11"/>
                  <a:gd name="T40" fmla="*/ 2 w 3"/>
                  <a:gd name="T41" fmla="*/ 4 h 11"/>
                  <a:gd name="T42" fmla="*/ 2 w 3"/>
                  <a:gd name="T43" fmla="*/ 4 h 11"/>
                  <a:gd name="T44" fmla="*/ 2 w 3"/>
                  <a:gd name="T45" fmla="*/ 4 h 11"/>
                  <a:gd name="T46" fmla="*/ 0 w 3"/>
                  <a:gd name="T47" fmla="*/ 6 h 11"/>
                  <a:gd name="T48" fmla="*/ 2 w 3"/>
                  <a:gd name="T49" fmla="*/ 6 h 11"/>
                  <a:gd name="T50" fmla="*/ 2 w 3"/>
                  <a:gd name="T51" fmla="*/ 7 h 11"/>
                  <a:gd name="T52" fmla="*/ 0 w 3"/>
                  <a:gd name="T53" fmla="*/ 9 h 11"/>
                  <a:gd name="T54" fmla="*/ 0 w 3"/>
                  <a:gd name="T55" fmla="*/ 11 h 11"/>
                  <a:gd name="T56" fmla="*/ 0 w 3"/>
                  <a:gd name="T57" fmla="*/ 9 h 11"/>
                  <a:gd name="T58" fmla="*/ 0 w 3"/>
                  <a:gd name="T5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 h="11">
                    <a:moveTo>
                      <a:pt x="0" y="9"/>
                    </a:moveTo>
                    <a:lnTo>
                      <a:pt x="2" y="9"/>
                    </a:lnTo>
                    <a:lnTo>
                      <a:pt x="2" y="9"/>
                    </a:lnTo>
                    <a:lnTo>
                      <a:pt x="2" y="9"/>
                    </a:lnTo>
                    <a:lnTo>
                      <a:pt x="2" y="9"/>
                    </a:lnTo>
                    <a:lnTo>
                      <a:pt x="3" y="9"/>
                    </a:lnTo>
                    <a:lnTo>
                      <a:pt x="3" y="9"/>
                    </a:lnTo>
                    <a:lnTo>
                      <a:pt x="3" y="7"/>
                    </a:lnTo>
                    <a:lnTo>
                      <a:pt x="3" y="7"/>
                    </a:lnTo>
                    <a:lnTo>
                      <a:pt x="3" y="7"/>
                    </a:lnTo>
                    <a:lnTo>
                      <a:pt x="3" y="6"/>
                    </a:lnTo>
                    <a:lnTo>
                      <a:pt x="3" y="6"/>
                    </a:lnTo>
                    <a:lnTo>
                      <a:pt x="3" y="6"/>
                    </a:lnTo>
                    <a:lnTo>
                      <a:pt x="3" y="0"/>
                    </a:lnTo>
                    <a:lnTo>
                      <a:pt x="3" y="0"/>
                    </a:lnTo>
                    <a:lnTo>
                      <a:pt x="2" y="0"/>
                    </a:lnTo>
                    <a:lnTo>
                      <a:pt x="2" y="2"/>
                    </a:lnTo>
                    <a:lnTo>
                      <a:pt x="2" y="2"/>
                    </a:lnTo>
                    <a:lnTo>
                      <a:pt x="2" y="2"/>
                    </a:lnTo>
                    <a:lnTo>
                      <a:pt x="2" y="4"/>
                    </a:lnTo>
                    <a:lnTo>
                      <a:pt x="2" y="4"/>
                    </a:lnTo>
                    <a:lnTo>
                      <a:pt x="2" y="4"/>
                    </a:lnTo>
                    <a:lnTo>
                      <a:pt x="2" y="4"/>
                    </a:lnTo>
                    <a:lnTo>
                      <a:pt x="0" y="6"/>
                    </a:lnTo>
                    <a:lnTo>
                      <a:pt x="2" y="6"/>
                    </a:lnTo>
                    <a:lnTo>
                      <a:pt x="2" y="7"/>
                    </a:lnTo>
                    <a:lnTo>
                      <a:pt x="0" y="9"/>
                    </a:lnTo>
                    <a:lnTo>
                      <a:pt x="0" y="11"/>
                    </a:lnTo>
                    <a:lnTo>
                      <a:pt x="0" y="9"/>
                    </a:lnTo>
                    <a:lnTo>
                      <a:pt x="0"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99" name="Freeform 1847"/>
              <p:cNvSpPr>
                <a:spLocks/>
              </p:cNvSpPr>
              <p:nvPr/>
            </p:nvSpPr>
            <p:spPr bwMode="auto">
              <a:xfrm>
                <a:off x="1434" y="1618"/>
                <a:ext cx="3" cy="11"/>
              </a:xfrm>
              <a:custGeom>
                <a:avLst/>
                <a:gdLst>
                  <a:gd name="T0" fmla="*/ 0 w 3"/>
                  <a:gd name="T1" fmla="*/ 9 h 11"/>
                  <a:gd name="T2" fmla="*/ 2 w 3"/>
                  <a:gd name="T3" fmla="*/ 9 h 11"/>
                  <a:gd name="T4" fmla="*/ 2 w 3"/>
                  <a:gd name="T5" fmla="*/ 9 h 11"/>
                  <a:gd name="T6" fmla="*/ 2 w 3"/>
                  <a:gd name="T7" fmla="*/ 9 h 11"/>
                  <a:gd name="T8" fmla="*/ 2 w 3"/>
                  <a:gd name="T9" fmla="*/ 9 h 11"/>
                  <a:gd name="T10" fmla="*/ 3 w 3"/>
                  <a:gd name="T11" fmla="*/ 9 h 11"/>
                  <a:gd name="T12" fmla="*/ 3 w 3"/>
                  <a:gd name="T13" fmla="*/ 9 h 11"/>
                  <a:gd name="T14" fmla="*/ 3 w 3"/>
                  <a:gd name="T15" fmla="*/ 7 h 11"/>
                  <a:gd name="T16" fmla="*/ 3 w 3"/>
                  <a:gd name="T17" fmla="*/ 7 h 11"/>
                  <a:gd name="T18" fmla="*/ 3 w 3"/>
                  <a:gd name="T19" fmla="*/ 7 h 11"/>
                  <a:gd name="T20" fmla="*/ 3 w 3"/>
                  <a:gd name="T21" fmla="*/ 6 h 11"/>
                  <a:gd name="T22" fmla="*/ 3 w 3"/>
                  <a:gd name="T23" fmla="*/ 6 h 11"/>
                  <a:gd name="T24" fmla="*/ 3 w 3"/>
                  <a:gd name="T25" fmla="*/ 6 h 11"/>
                  <a:gd name="T26" fmla="*/ 3 w 3"/>
                  <a:gd name="T27" fmla="*/ 0 h 11"/>
                  <a:gd name="T28" fmla="*/ 3 w 3"/>
                  <a:gd name="T29" fmla="*/ 0 h 11"/>
                  <a:gd name="T30" fmla="*/ 2 w 3"/>
                  <a:gd name="T31" fmla="*/ 0 h 11"/>
                  <a:gd name="T32" fmla="*/ 2 w 3"/>
                  <a:gd name="T33" fmla="*/ 2 h 11"/>
                  <a:gd name="T34" fmla="*/ 2 w 3"/>
                  <a:gd name="T35" fmla="*/ 2 h 11"/>
                  <a:gd name="T36" fmla="*/ 2 w 3"/>
                  <a:gd name="T37" fmla="*/ 2 h 11"/>
                  <a:gd name="T38" fmla="*/ 2 w 3"/>
                  <a:gd name="T39" fmla="*/ 4 h 11"/>
                  <a:gd name="T40" fmla="*/ 2 w 3"/>
                  <a:gd name="T41" fmla="*/ 4 h 11"/>
                  <a:gd name="T42" fmla="*/ 2 w 3"/>
                  <a:gd name="T43" fmla="*/ 4 h 11"/>
                  <a:gd name="T44" fmla="*/ 2 w 3"/>
                  <a:gd name="T45" fmla="*/ 4 h 11"/>
                  <a:gd name="T46" fmla="*/ 0 w 3"/>
                  <a:gd name="T47" fmla="*/ 6 h 11"/>
                  <a:gd name="T48" fmla="*/ 2 w 3"/>
                  <a:gd name="T49" fmla="*/ 6 h 11"/>
                  <a:gd name="T50" fmla="*/ 2 w 3"/>
                  <a:gd name="T51" fmla="*/ 7 h 11"/>
                  <a:gd name="T52" fmla="*/ 0 w 3"/>
                  <a:gd name="T53" fmla="*/ 9 h 11"/>
                  <a:gd name="T54" fmla="*/ 0 w 3"/>
                  <a:gd name="T55" fmla="*/ 11 h 11"/>
                  <a:gd name="T56" fmla="*/ 0 w 3"/>
                  <a:gd name="T57" fmla="*/ 9 h 11"/>
                  <a:gd name="T58" fmla="*/ 0 w 3"/>
                  <a:gd name="T5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 h="11">
                    <a:moveTo>
                      <a:pt x="0" y="9"/>
                    </a:moveTo>
                    <a:lnTo>
                      <a:pt x="2" y="9"/>
                    </a:lnTo>
                    <a:lnTo>
                      <a:pt x="2" y="9"/>
                    </a:lnTo>
                    <a:lnTo>
                      <a:pt x="2" y="9"/>
                    </a:lnTo>
                    <a:lnTo>
                      <a:pt x="2" y="9"/>
                    </a:lnTo>
                    <a:lnTo>
                      <a:pt x="3" y="9"/>
                    </a:lnTo>
                    <a:lnTo>
                      <a:pt x="3" y="9"/>
                    </a:lnTo>
                    <a:lnTo>
                      <a:pt x="3" y="7"/>
                    </a:lnTo>
                    <a:lnTo>
                      <a:pt x="3" y="7"/>
                    </a:lnTo>
                    <a:lnTo>
                      <a:pt x="3" y="7"/>
                    </a:lnTo>
                    <a:lnTo>
                      <a:pt x="3" y="6"/>
                    </a:lnTo>
                    <a:lnTo>
                      <a:pt x="3" y="6"/>
                    </a:lnTo>
                    <a:lnTo>
                      <a:pt x="3" y="6"/>
                    </a:lnTo>
                    <a:lnTo>
                      <a:pt x="3" y="0"/>
                    </a:lnTo>
                    <a:lnTo>
                      <a:pt x="3" y="0"/>
                    </a:lnTo>
                    <a:lnTo>
                      <a:pt x="2" y="0"/>
                    </a:lnTo>
                    <a:lnTo>
                      <a:pt x="2" y="2"/>
                    </a:lnTo>
                    <a:lnTo>
                      <a:pt x="2" y="2"/>
                    </a:lnTo>
                    <a:lnTo>
                      <a:pt x="2" y="2"/>
                    </a:lnTo>
                    <a:lnTo>
                      <a:pt x="2" y="4"/>
                    </a:lnTo>
                    <a:lnTo>
                      <a:pt x="2" y="4"/>
                    </a:lnTo>
                    <a:lnTo>
                      <a:pt x="2" y="4"/>
                    </a:lnTo>
                    <a:lnTo>
                      <a:pt x="2" y="4"/>
                    </a:lnTo>
                    <a:lnTo>
                      <a:pt x="0" y="6"/>
                    </a:lnTo>
                    <a:lnTo>
                      <a:pt x="2" y="6"/>
                    </a:lnTo>
                    <a:lnTo>
                      <a:pt x="2" y="7"/>
                    </a:lnTo>
                    <a:lnTo>
                      <a:pt x="0" y="9"/>
                    </a:lnTo>
                    <a:lnTo>
                      <a:pt x="0" y="11"/>
                    </a:lnTo>
                    <a:lnTo>
                      <a:pt x="0" y="9"/>
                    </a:lnTo>
                    <a:lnTo>
                      <a:pt x="0"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00" name="Freeform 1848"/>
              <p:cNvSpPr>
                <a:spLocks/>
              </p:cNvSpPr>
              <p:nvPr/>
            </p:nvSpPr>
            <p:spPr bwMode="auto">
              <a:xfrm>
                <a:off x="1164" y="909"/>
                <a:ext cx="89" cy="122"/>
              </a:xfrm>
              <a:custGeom>
                <a:avLst/>
                <a:gdLst>
                  <a:gd name="T0" fmla="*/ 38 w 89"/>
                  <a:gd name="T1" fmla="*/ 0 h 122"/>
                  <a:gd name="T2" fmla="*/ 32 w 89"/>
                  <a:gd name="T3" fmla="*/ 2 h 122"/>
                  <a:gd name="T4" fmla="*/ 30 w 89"/>
                  <a:gd name="T5" fmla="*/ 6 h 122"/>
                  <a:gd name="T6" fmla="*/ 27 w 89"/>
                  <a:gd name="T7" fmla="*/ 2 h 122"/>
                  <a:gd name="T8" fmla="*/ 18 w 89"/>
                  <a:gd name="T9" fmla="*/ 6 h 122"/>
                  <a:gd name="T10" fmla="*/ 11 w 89"/>
                  <a:gd name="T11" fmla="*/ 9 h 122"/>
                  <a:gd name="T12" fmla="*/ 7 w 89"/>
                  <a:gd name="T13" fmla="*/ 16 h 122"/>
                  <a:gd name="T14" fmla="*/ 11 w 89"/>
                  <a:gd name="T15" fmla="*/ 20 h 122"/>
                  <a:gd name="T16" fmla="*/ 13 w 89"/>
                  <a:gd name="T17" fmla="*/ 20 h 122"/>
                  <a:gd name="T18" fmla="*/ 11 w 89"/>
                  <a:gd name="T19" fmla="*/ 22 h 122"/>
                  <a:gd name="T20" fmla="*/ 14 w 89"/>
                  <a:gd name="T21" fmla="*/ 29 h 122"/>
                  <a:gd name="T22" fmla="*/ 18 w 89"/>
                  <a:gd name="T23" fmla="*/ 31 h 122"/>
                  <a:gd name="T24" fmla="*/ 14 w 89"/>
                  <a:gd name="T25" fmla="*/ 31 h 122"/>
                  <a:gd name="T26" fmla="*/ 7 w 89"/>
                  <a:gd name="T27" fmla="*/ 25 h 122"/>
                  <a:gd name="T28" fmla="*/ 4 w 89"/>
                  <a:gd name="T29" fmla="*/ 25 h 122"/>
                  <a:gd name="T30" fmla="*/ 0 w 89"/>
                  <a:gd name="T31" fmla="*/ 29 h 122"/>
                  <a:gd name="T32" fmla="*/ 2 w 89"/>
                  <a:gd name="T33" fmla="*/ 32 h 122"/>
                  <a:gd name="T34" fmla="*/ 4 w 89"/>
                  <a:gd name="T35" fmla="*/ 36 h 122"/>
                  <a:gd name="T36" fmla="*/ 2 w 89"/>
                  <a:gd name="T37" fmla="*/ 38 h 122"/>
                  <a:gd name="T38" fmla="*/ 2 w 89"/>
                  <a:gd name="T39" fmla="*/ 50 h 122"/>
                  <a:gd name="T40" fmla="*/ 4 w 89"/>
                  <a:gd name="T41" fmla="*/ 61 h 122"/>
                  <a:gd name="T42" fmla="*/ 2 w 89"/>
                  <a:gd name="T43" fmla="*/ 63 h 122"/>
                  <a:gd name="T44" fmla="*/ 2 w 89"/>
                  <a:gd name="T45" fmla="*/ 72 h 122"/>
                  <a:gd name="T46" fmla="*/ 4 w 89"/>
                  <a:gd name="T47" fmla="*/ 79 h 122"/>
                  <a:gd name="T48" fmla="*/ 2 w 89"/>
                  <a:gd name="T49" fmla="*/ 84 h 122"/>
                  <a:gd name="T50" fmla="*/ 7 w 89"/>
                  <a:gd name="T51" fmla="*/ 88 h 122"/>
                  <a:gd name="T52" fmla="*/ 9 w 89"/>
                  <a:gd name="T53" fmla="*/ 97 h 122"/>
                  <a:gd name="T54" fmla="*/ 9 w 89"/>
                  <a:gd name="T55" fmla="*/ 111 h 122"/>
                  <a:gd name="T56" fmla="*/ 13 w 89"/>
                  <a:gd name="T57" fmla="*/ 111 h 122"/>
                  <a:gd name="T58" fmla="*/ 11 w 89"/>
                  <a:gd name="T59" fmla="*/ 116 h 122"/>
                  <a:gd name="T60" fmla="*/ 11 w 89"/>
                  <a:gd name="T61" fmla="*/ 122 h 122"/>
                  <a:gd name="T62" fmla="*/ 18 w 89"/>
                  <a:gd name="T63" fmla="*/ 120 h 122"/>
                  <a:gd name="T64" fmla="*/ 27 w 89"/>
                  <a:gd name="T65" fmla="*/ 122 h 122"/>
                  <a:gd name="T66" fmla="*/ 27 w 89"/>
                  <a:gd name="T67" fmla="*/ 116 h 122"/>
                  <a:gd name="T68" fmla="*/ 25 w 89"/>
                  <a:gd name="T69" fmla="*/ 118 h 122"/>
                  <a:gd name="T70" fmla="*/ 27 w 89"/>
                  <a:gd name="T71" fmla="*/ 116 h 122"/>
                  <a:gd name="T72" fmla="*/ 30 w 89"/>
                  <a:gd name="T73" fmla="*/ 104 h 122"/>
                  <a:gd name="T74" fmla="*/ 34 w 89"/>
                  <a:gd name="T75" fmla="*/ 102 h 122"/>
                  <a:gd name="T76" fmla="*/ 34 w 89"/>
                  <a:gd name="T77" fmla="*/ 88 h 122"/>
                  <a:gd name="T78" fmla="*/ 30 w 89"/>
                  <a:gd name="T79" fmla="*/ 82 h 122"/>
                  <a:gd name="T80" fmla="*/ 25 w 89"/>
                  <a:gd name="T81" fmla="*/ 81 h 122"/>
                  <a:gd name="T82" fmla="*/ 23 w 89"/>
                  <a:gd name="T83" fmla="*/ 82 h 122"/>
                  <a:gd name="T84" fmla="*/ 23 w 89"/>
                  <a:gd name="T85" fmla="*/ 79 h 122"/>
                  <a:gd name="T86" fmla="*/ 36 w 89"/>
                  <a:gd name="T87" fmla="*/ 77 h 122"/>
                  <a:gd name="T88" fmla="*/ 39 w 89"/>
                  <a:gd name="T89" fmla="*/ 77 h 122"/>
                  <a:gd name="T90" fmla="*/ 43 w 89"/>
                  <a:gd name="T91" fmla="*/ 79 h 122"/>
                  <a:gd name="T92" fmla="*/ 48 w 89"/>
                  <a:gd name="T93" fmla="*/ 81 h 122"/>
                  <a:gd name="T94" fmla="*/ 55 w 89"/>
                  <a:gd name="T95" fmla="*/ 82 h 122"/>
                  <a:gd name="T96" fmla="*/ 63 w 89"/>
                  <a:gd name="T97" fmla="*/ 75 h 122"/>
                  <a:gd name="T98" fmla="*/ 64 w 89"/>
                  <a:gd name="T99" fmla="*/ 70 h 122"/>
                  <a:gd name="T100" fmla="*/ 70 w 89"/>
                  <a:gd name="T101" fmla="*/ 57 h 122"/>
                  <a:gd name="T102" fmla="*/ 66 w 89"/>
                  <a:gd name="T103" fmla="*/ 54 h 122"/>
                  <a:gd name="T104" fmla="*/ 72 w 89"/>
                  <a:gd name="T105" fmla="*/ 52 h 122"/>
                  <a:gd name="T106" fmla="*/ 77 w 89"/>
                  <a:gd name="T107" fmla="*/ 36 h 122"/>
                  <a:gd name="T108" fmla="*/ 86 w 89"/>
                  <a:gd name="T109" fmla="*/ 22 h 122"/>
                  <a:gd name="T110" fmla="*/ 88 w 89"/>
                  <a:gd name="T111" fmla="*/ 20 h 122"/>
                  <a:gd name="T112" fmla="*/ 88 w 89"/>
                  <a:gd name="T113" fmla="*/ 15 h 122"/>
                  <a:gd name="T114" fmla="*/ 72 w 89"/>
                  <a:gd name="T115" fmla="*/ 9 h 122"/>
                  <a:gd name="T116" fmla="*/ 61 w 89"/>
                  <a:gd name="T117" fmla="*/ 9 h 122"/>
                  <a:gd name="T118" fmla="*/ 57 w 89"/>
                  <a:gd name="T119" fmla="*/ 15 h 122"/>
                  <a:gd name="T120" fmla="*/ 55 w 89"/>
                  <a:gd name="T121" fmla="*/ 9 h 122"/>
                  <a:gd name="T122" fmla="*/ 48 w 89"/>
                  <a:gd name="T123" fmla="*/ 6 h 122"/>
                  <a:gd name="T124" fmla="*/ 41 w 89"/>
                  <a:gd name="T125" fmla="*/ 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 h="122">
                    <a:moveTo>
                      <a:pt x="41" y="2"/>
                    </a:moveTo>
                    <a:lnTo>
                      <a:pt x="39" y="0"/>
                    </a:lnTo>
                    <a:lnTo>
                      <a:pt x="38" y="0"/>
                    </a:lnTo>
                    <a:lnTo>
                      <a:pt x="36" y="0"/>
                    </a:lnTo>
                    <a:lnTo>
                      <a:pt x="32" y="2"/>
                    </a:lnTo>
                    <a:lnTo>
                      <a:pt x="32" y="2"/>
                    </a:lnTo>
                    <a:lnTo>
                      <a:pt x="32" y="6"/>
                    </a:lnTo>
                    <a:lnTo>
                      <a:pt x="32" y="6"/>
                    </a:lnTo>
                    <a:lnTo>
                      <a:pt x="30" y="6"/>
                    </a:lnTo>
                    <a:lnTo>
                      <a:pt x="30" y="4"/>
                    </a:lnTo>
                    <a:lnTo>
                      <a:pt x="29" y="2"/>
                    </a:lnTo>
                    <a:lnTo>
                      <a:pt x="27" y="2"/>
                    </a:lnTo>
                    <a:lnTo>
                      <a:pt x="20" y="6"/>
                    </a:lnTo>
                    <a:lnTo>
                      <a:pt x="20" y="6"/>
                    </a:lnTo>
                    <a:lnTo>
                      <a:pt x="18" y="6"/>
                    </a:lnTo>
                    <a:lnTo>
                      <a:pt x="16" y="6"/>
                    </a:lnTo>
                    <a:lnTo>
                      <a:pt x="14" y="7"/>
                    </a:lnTo>
                    <a:lnTo>
                      <a:pt x="11" y="9"/>
                    </a:lnTo>
                    <a:lnTo>
                      <a:pt x="9" y="9"/>
                    </a:lnTo>
                    <a:lnTo>
                      <a:pt x="7" y="13"/>
                    </a:lnTo>
                    <a:lnTo>
                      <a:pt x="7" y="16"/>
                    </a:lnTo>
                    <a:lnTo>
                      <a:pt x="7" y="18"/>
                    </a:lnTo>
                    <a:lnTo>
                      <a:pt x="9" y="22"/>
                    </a:lnTo>
                    <a:lnTo>
                      <a:pt x="11" y="20"/>
                    </a:lnTo>
                    <a:lnTo>
                      <a:pt x="11" y="20"/>
                    </a:lnTo>
                    <a:lnTo>
                      <a:pt x="11" y="20"/>
                    </a:lnTo>
                    <a:lnTo>
                      <a:pt x="13" y="20"/>
                    </a:lnTo>
                    <a:lnTo>
                      <a:pt x="11" y="20"/>
                    </a:lnTo>
                    <a:lnTo>
                      <a:pt x="11" y="22"/>
                    </a:lnTo>
                    <a:lnTo>
                      <a:pt x="11" y="22"/>
                    </a:lnTo>
                    <a:lnTo>
                      <a:pt x="13" y="27"/>
                    </a:lnTo>
                    <a:lnTo>
                      <a:pt x="14" y="29"/>
                    </a:lnTo>
                    <a:lnTo>
                      <a:pt x="14" y="29"/>
                    </a:lnTo>
                    <a:lnTo>
                      <a:pt x="16" y="29"/>
                    </a:lnTo>
                    <a:lnTo>
                      <a:pt x="18" y="31"/>
                    </a:lnTo>
                    <a:lnTo>
                      <a:pt x="18" y="31"/>
                    </a:lnTo>
                    <a:lnTo>
                      <a:pt x="18" y="31"/>
                    </a:lnTo>
                    <a:lnTo>
                      <a:pt x="16" y="31"/>
                    </a:lnTo>
                    <a:lnTo>
                      <a:pt x="14" y="31"/>
                    </a:lnTo>
                    <a:lnTo>
                      <a:pt x="11" y="29"/>
                    </a:lnTo>
                    <a:lnTo>
                      <a:pt x="7" y="23"/>
                    </a:lnTo>
                    <a:lnTo>
                      <a:pt x="7" y="25"/>
                    </a:lnTo>
                    <a:lnTo>
                      <a:pt x="5" y="25"/>
                    </a:lnTo>
                    <a:lnTo>
                      <a:pt x="5" y="23"/>
                    </a:lnTo>
                    <a:lnTo>
                      <a:pt x="4" y="25"/>
                    </a:lnTo>
                    <a:lnTo>
                      <a:pt x="4" y="25"/>
                    </a:lnTo>
                    <a:lnTo>
                      <a:pt x="2" y="25"/>
                    </a:lnTo>
                    <a:lnTo>
                      <a:pt x="0" y="29"/>
                    </a:lnTo>
                    <a:lnTo>
                      <a:pt x="2" y="31"/>
                    </a:lnTo>
                    <a:lnTo>
                      <a:pt x="0" y="32"/>
                    </a:lnTo>
                    <a:lnTo>
                      <a:pt x="2" y="32"/>
                    </a:lnTo>
                    <a:lnTo>
                      <a:pt x="2" y="34"/>
                    </a:lnTo>
                    <a:lnTo>
                      <a:pt x="4" y="34"/>
                    </a:lnTo>
                    <a:lnTo>
                      <a:pt x="4" y="36"/>
                    </a:lnTo>
                    <a:lnTo>
                      <a:pt x="2" y="34"/>
                    </a:lnTo>
                    <a:lnTo>
                      <a:pt x="0" y="36"/>
                    </a:lnTo>
                    <a:lnTo>
                      <a:pt x="2" y="38"/>
                    </a:lnTo>
                    <a:lnTo>
                      <a:pt x="2" y="43"/>
                    </a:lnTo>
                    <a:lnTo>
                      <a:pt x="2" y="48"/>
                    </a:lnTo>
                    <a:lnTo>
                      <a:pt x="2" y="50"/>
                    </a:lnTo>
                    <a:lnTo>
                      <a:pt x="2" y="50"/>
                    </a:lnTo>
                    <a:lnTo>
                      <a:pt x="2" y="57"/>
                    </a:lnTo>
                    <a:lnTo>
                      <a:pt x="4" y="61"/>
                    </a:lnTo>
                    <a:lnTo>
                      <a:pt x="2" y="59"/>
                    </a:lnTo>
                    <a:lnTo>
                      <a:pt x="2" y="61"/>
                    </a:lnTo>
                    <a:lnTo>
                      <a:pt x="2" y="63"/>
                    </a:lnTo>
                    <a:lnTo>
                      <a:pt x="2" y="65"/>
                    </a:lnTo>
                    <a:lnTo>
                      <a:pt x="0" y="68"/>
                    </a:lnTo>
                    <a:lnTo>
                      <a:pt x="2" y="72"/>
                    </a:lnTo>
                    <a:lnTo>
                      <a:pt x="2" y="79"/>
                    </a:lnTo>
                    <a:lnTo>
                      <a:pt x="2" y="79"/>
                    </a:lnTo>
                    <a:lnTo>
                      <a:pt x="4" y="79"/>
                    </a:lnTo>
                    <a:lnTo>
                      <a:pt x="4" y="81"/>
                    </a:lnTo>
                    <a:lnTo>
                      <a:pt x="2" y="81"/>
                    </a:lnTo>
                    <a:lnTo>
                      <a:pt x="2" y="84"/>
                    </a:lnTo>
                    <a:lnTo>
                      <a:pt x="2" y="84"/>
                    </a:lnTo>
                    <a:lnTo>
                      <a:pt x="4" y="84"/>
                    </a:lnTo>
                    <a:lnTo>
                      <a:pt x="7" y="88"/>
                    </a:lnTo>
                    <a:lnTo>
                      <a:pt x="7" y="91"/>
                    </a:lnTo>
                    <a:lnTo>
                      <a:pt x="9" y="95"/>
                    </a:lnTo>
                    <a:lnTo>
                      <a:pt x="9" y="97"/>
                    </a:lnTo>
                    <a:lnTo>
                      <a:pt x="9" y="98"/>
                    </a:lnTo>
                    <a:lnTo>
                      <a:pt x="9" y="100"/>
                    </a:lnTo>
                    <a:lnTo>
                      <a:pt x="9" y="111"/>
                    </a:lnTo>
                    <a:lnTo>
                      <a:pt x="9" y="113"/>
                    </a:lnTo>
                    <a:lnTo>
                      <a:pt x="11" y="113"/>
                    </a:lnTo>
                    <a:lnTo>
                      <a:pt x="13" y="111"/>
                    </a:lnTo>
                    <a:lnTo>
                      <a:pt x="16" y="113"/>
                    </a:lnTo>
                    <a:lnTo>
                      <a:pt x="11" y="113"/>
                    </a:lnTo>
                    <a:lnTo>
                      <a:pt x="11" y="116"/>
                    </a:lnTo>
                    <a:lnTo>
                      <a:pt x="9" y="116"/>
                    </a:lnTo>
                    <a:lnTo>
                      <a:pt x="9" y="122"/>
                    </a:lnTo>
                    <a:lnTo>
                      <a:pt x="11" y="122"/>
                    </a:lnTo>
                    <a:lnTo>
                      <a:pt x="9" y="122"/>
                    </a:lnTo>
                    <a:lnTo>
                      <a:pt x="18" y="120"/>
                    </a:lnTo>
                    <a:lnTo>
                      <a:pt x="18" y="120"/>
                    </a:lnTo>
                    <a:lnTo>
                      <a:pt x="20" y="120"/>
                    </a:lnTo>
                    <a:lnTo>
                      <a:pt x="22" y="118"/>
                    </a:lnTo>
                    <a:lnTo>
                      <a:pt x="27" y="122"/>
                    </a:lnTo>
                    <a:lnTo>
                      <a:pt x="27" y="120"/>
                    </a:lnTo>
                    <a:lnTo>
                      <a:pt x="27" y="118"/>
                    </a:lnTo>
                    <a:lnTo>
                      <a:pt x="27" y="116"/>
                    </a:lnTo>
                    <a:lnTo>
                      <a:pt x="27" y="116"/>
                    </a:lnTo>
                    <a:lnTo>
                      <a:pt x="25" y="118"/>
                    </a:lnTo>
                    <a:lnTo>
                      <a:pt x="25" y="118"/>
                    </a:lnTo>
                    <a:lnTo>
                      <a:pt x="25" y="118"/>
                    </a:lnTo>
                    <a:lnTo>
                      <a:pt x="25" y="118"/>
                    </a:lnTo>
                    <a:lnTo>
                      <a:pt x="27" y="116"/>
                    </a:lnTo>
                    <a:lnTo>
                      <a:pt x="27" y="115"/>
                    </a:lnTo>
                    <a:lnTo>
                      <a:pt x="27" y="113"/>
                    </a:lnTo>
                    <a:lnTo>
                      <a:pt x="30" y="104"/>
                    </a:lnTo>
                    <a:lnTo>
                      <a:pt x="32" y="104"/>
                    </a:lnTo>
                    <a:lnTo>
                      <a:pt x="32" y="104"/>
                    </a:lnTo>
                    <a:lnTo>
                      <a:pt x="34" y="102"/>
                    </a:lnTo>
                    <a:lnTo>
                      <a:pt x="36" y="97"/>
                    </a:lnTo>
                    <a:lnTo>
                      <a:pt x="36" y="91"/>
                    </a:lnTo>
                    <a:lnTo>
                      <a:pt x="34" y="88"/>
                    </a:lnTo>
                    <a:lnTo>
                      <a:pt x="30" y="86"/>
                    </a:lnTo>
                    <a:lnTo>
                      <a:pt x="30" y="82"/>
                    </a:lnTo>
                    <a:lnTo>
                      <a:pt x="30" y="82"/>
                    </a:lnTo>
                    <a:lnTo>
                      <a:pt x="30" y="82"/>
                    </a:lnTo>
                    <a:lnTo>
                      <a:pt x="27" y="82"/>
                    </a:lnTo>
                    <a:lnTo>
                      <a:pt x="25" y="81"/>
                    </a:lnTo>
                    <a:lnTo>
                      <a:pt x="25" y="82"/>
                    </a:lnTo>
                    <a:lnTo>
                      <a:pt x="25" y="81"/>
                    </a:lnTo>
                    <a:lnTo>
                      <a:pt x="23" y="82"/>
                    </a:lnTo>
                    <a:lnTo>
                      <a:pt x="23" y="81"/>
                    </a:lnTo>
                    <a:lnTo>
                      <a:pt x="23" y="81"/>
                    </a:lnTo>
                    <a:lnTo>
                      <a:pt x="23" y="79"/>
                    </a:lnTo>
                    <a:lnTo>
                      <a:pt x="25" y="79"/>
                    </a:lnTo>
                    <a:lnTo>
                      <a:pt x="34" y="79"/>
                    </a:lnTo>
                    <a:lnTo>
                      <a:pt x="36" y="77"/>
                    </a:lnTo>
                    <a:lnTo>
                      <a:pt x="38" y="79"/>
                    </a:lnTo>
                    <a:lnTo>
                      <a:pt x="38" y="79"/>
                    </a:lnTo>
                    <a:lnTo>
                      <a:pt x="39" y="77"/>
                    </a:lnTo>
                    <a:lnTo>
                      <a:pt x="39" y="79"/>
                    </a:lnTo>
                    <a:lnTo>
                      <a:pt x="41" y="79"/>
                    </a:lnTo>
                    <a:lnTo>
                      <a:pt x="43" y="79"/>
                    </a:lnTo>
                    <a:lnTo>
                      <a:pt x="45" y="79"/>
                    </a:lnTo>
                    <a:lnTo>
                      <a:pt x="47" y="81"/>
                    </a:lnTo>
                    <a:lnTo>
                      <a:pt x="48" y="81"/>
                    </a:lnTo>
                    <a:lnTo>
                      <a:pt x="52" y="82"/>
                    </a:lnTo>
                    <a:lnTo>
                      <a:pt x="54" y="82"/>
                    </a:lnTo>
                    <a:lnTo>
                      <a:pt x="55" y="82"/>
                    </a:lnTo>
                    <a:lnTo>
                      <a:pt x="59" y="81"/>
                    </a:lnTo>
                    <a:lnTo>
                      <a:pt x="59" y="79"/>
                    </a:lnTo>
                    <a:lnTo>
                      <a:pt x="63" y="75"/>
                    </a:lnTo>
                    <a:lnTo>
                      <a:pt x="63" y="73"/>
                    </a:lnTo>
                    <a:lnTo>
                      <a:pt x="63" y="72"/>
                    </a:lnTo>
                    <a:lnTo>
                      <a:pt x="64" y="70"/>
                    </a:lnTo>
                    <a:lnTo>
                      <a:pt x="66" y="68"/>
                    </a:lnTo>
                    <a:lnTo>
                      <a:pt x="66" y="66"/>
                    </a:lnTo>
                    <a:lnTo>
                      <a:pt x="70" y="57"/>
                    </a:lnTo>
                    <a:lnTo>
                      <a:pt x="70" y="56"/>
                    </a:lnTo>
                    <a:lnTo>
                      <a:pt x="68" y="56"/>
                    </a:lnTo>
                    <a:lnTo>
                      <a:pt x="66" y="54"/>
                    </a:lnTo>
                    <a:lnTo>
                      <a:pt x="68" y="54"/>
                    </a:lnTo>
                    <a:lnTo>
                      <a:pt x="70" y="54"/>
                    </a:lnTo>
                    <a:lnTo>
                      <a:pt x="72" y="52"/>
                    </a:lnTo>
                    <a:lnTo>
                      <a:pt x="77" y="40"/>
                    </a:lnTo>
                    <a:lnTo>
                      <a:pt x="77" y="38"/>
                    </a:lnTo>
                    <a:lnTo>
                      <a:pt x="77" y="36"/>
                    </a:lnTo>
                    <a:lnTo>
                      <a:pt x="77" y="38"/>
                    </a:lnTo>
                    <a:lnTo>
                      <a:pt x="79" y="38"/>
                    </a:lnTo>
                    <a:lnTo>
                      <a:pt x="86" y="22"/>
                    </a:lnTo>
                    <a:lnTo>
                      <a:pt x="86" y="20"/>
                    </a:lnTo>
                    <a:lnTo>
                      <a:pt x="88" y="18"/>
                    </a:lnTo>
                    <a:lnTo>
                      <a:pt x="88" y="20"/>
                    </a:lnTo>
                    <a:lnTo>
                      <a:pt x="88" y="18"/>
                    </a:lnTo>
                    <a:lnTo>
                      <a:pt x="89" y="16"/>
                    </a:lnTo>
                    <a:lnTo>
                      <a:pt x="88" y="15"/>
                    </a:lnTo>
                    <a:lnTo>
                      <a:pt x="88" y="15"/>
                    </a:lnTo>
                    <a:lnTo>
                      <a:pt x="86" y="16"/>
                    </a:lnTo>
                    <a:lnTo>
                      <a:pt x="72" y="9"/>
                    </a:lnTo>
                    <a:lnTo>
                      <a:pt x="64" y="9"/>
                    </a:lnTo>
                    <a:lnTo>
                      <a:pt x="63" y="9"/>
                    </a:lnTo>
                    <a:lnTo>
                      <a:pt x="61" y="9"/>
                    </a:lnTo>
                    <a:lnTo>
                      <a:pt x="59" y="13"/>
                    </a:lnTo>
                    <a:lnTo>
                      <a:pt x="59" y="13"/>
                    </a:lnTo>
                    <a:lnTo>
                      <a:pt x="57" y="15"/>
                    </a:lnTo>
                    <a:lnTo>
                      <a:pt x="55" y="13"/>
                    </a:lnTo>
                    <a:lnTo>
                      <a:pt x="55" y="11"/>
                    </a:lnTo>
                    <a:lnTo>
                      <a:pt x="55" y="9"/>
                    </a:lnTo>
                    <a:lnTo>
                      <a:pt x="52" y="6"/>
                    </a:lnTo>
                    <a:lnTo>
                      <a:pt x="50" y="4"/>
                    </a:lnTo>
                    <a:lnTo>
                      <a:pt x="48" y="6"/>
                    </a:lnTo>
                    <a:lnTo>
                      <a:pt x="48" y="6"/>
                    </a:lnTo>
                    <a:lnTo>
                      <a:pt x="48" y="4"/>
                    </a:lnTo>
                    <a:lnTo>
                      <a:pt x="41"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01" name="Freeform 1849"/>
              <p:cNvSpPr>
                <a:spLocks/>
              </p:cNvSpPr>
              <p:nvPr/>
            </p:nvSpPr>
            <p:spPr bwMode="auto">
              <a:xfrm>
                <a:off x="1164" y="909"/>
                <a:ext cx="89" cy="122"/>
              </a:xfrm>
              <a:custGeom>
                <a:avLst/>
                <a:gdLst>
                  <a:gd name="T0" fmla="*/ 38 w 89"/>
                  <a:gd name="T1" fmla="*/ 0 h 122"/>
                  <a:gd name="T2" fmla="*/ 32 w 89"/>
                  <a:gd name="T3" fmla="*/ 2 h 122"/>
                  <a:gd name="T4" fmla="*/ 30 w 89"/>
                  <a:gd name="T5" fmla="*/ 6 h 122"/>
                  <a:gd name="T6" fmla="*/ 27 w 89"/>
                  <a:gd name="T7" fmla="*/ 2 h 122"/>
                  <a:gd name="T8" fmla="*/ 18 w 89"/>
                  <a:gd name="T9" fmla="*/ 6 h 122"/>
                  <a:gd name="T10" fmla="*/ 11 w 89"/>
                  <a:gd name="T11" fmla="*/ 9 h 122"/>
                  <a:gd name="T12" fmla="*/ 7 w 89"/>
                  <a:gd name="T13" fmla="*/ 16 h 122"/>
                  <a:gd name="T14" fmla="*/ 11 w 89"/>
                  <a:gd name="T15" fmla="*/ 20 h 122"/>
                  <a:gd name="T16" fmla="*/ 13 w 89"/>
                  <a:gd name="T17" fmla="*/ 20 h 122"/>
                  <a:gd name="T18" fmla="*/ 11 w 89"/>
                  <a:gd name="T19" fmla="*/ 22 h 122"/>
                  <a:gd name="T20" fmla="*/ 14 w 89"/>
                  <a:gd name="T21" fmla="*/ 29 h 122"/>
                  <a:gd name="T22" fmla="*/ 18 w 89"/>
                  <a:gd name="T23" fmla="*/ 31 h 122"/>
                  <a:gd name="T24" fmla="*/ 14 w 89"/>
                  <a:gd name="T25" fmla="*/ 31 h 122"/>
                  <a:gd name="T26" fmla="*/ 7 w 89"/>
                  <a:gd name="T27" fmla="*/ 25 h 122"/>
                  <a:gd name="T28" fmla="*/ 4 w 89"/>
                  <a:gd name="T29" fmla="*/ 25 h 122"/>
                  <a:gd name="T30" fmla="*/ 0 w 89"/>
                  <a:gd name="T31" fmla="*/ 29 h 122"/>
                  <a:gd name="T32" fmla="*/ 2 w 89"/>
                  <a:gd name="T33" fmla="*/ 32 h 122"/>
                  <a:gd name="T34" fmla="*/ 4 w 89"/>
                  <a:gd name="T35" fmla="*/ 36 h 122"/>
                  <a:gd name="T36" fmla="*/ 2 w 89"/>
                  <a:gd name="T37" fmla="*/ 38 h 122"/>
                  <a:gd name="T38" fmla="*/ 2 w 89"/>
                  <a:gd name="T39" fmla="*/ 50 h 122"/>
                  <a:gd name="T40" fmla="*/ 4 w 89"/>
                  <a:gd name="T41" fmla="*/ 61 h 122"/>
                  <a:gd name="T42" fmla="*/ 2 w 89"/>
                  <a:gd name="T43" fmla="*/ 63 h 122"/>
                  <a:gd name="T44" fmla="*/ 2 w 89"/>
                  <a:gd name="T45" fmla="*/ 72 h 122"/>
                  <a:gd name="T46" fmla="*/ 4 w 89"/>
                  <a:gd name="T47" fmla="*/ 79 h 122"/>
                  <a:gd name="T48" fmla="*/ 2 w 89"/>
                  <a:gd name="T49" fmla="*/ 84 h 122"/>
                  <a:gd name="T50" fmla="*/ 7 w 89"/>
                  <a:gd name="T51" fmla="*/ 88 h 122"/>
                  <a:gd name="T52" fmla="*/ 9 w 89"/>
                  <a:gd name="T53" fmla="*/ 97 h 122"/>
                  <a:gd name="T54" fmla="*/ 9 w 89"/>
                  <a:gd name="T55" fmla="*/ 111 h 122"/>
                  <a:gd name="T56" fmla="*/ 13 w 89"/>
                  <a:gd name="T57" fmla="*/ 111 h 122"/>
                  <a:gd name="T58" fmla="*/ 11 w 89"/>
                  <a:gd name="T59" fmla="*/ 116 h 122"/>
                  <a:gd name="T60" fmla="*/ 11 w 89"/>
                  <a:gd name="T61" fmla="*/ 122 h 122"/>
                  <a:gd name="T62" fmla="*/ 18 w 89"/>
                  <a:gd name="T63" fmla="*/ 120 h 122"/>
                  <a:gd name="T64" fmla="*/ 27 w 89"/>
                  <a:gd name="T65" fmla="*/ 122 h 122"/>
                  <a:gd name="T66" fmla="*/ 27 w 89"/>
                  <a:gd name="T67" fmla="*/ 116 h 122"/>
                  <a:gd name="T68" fmla="*/ 25 w 89"/>
                  <a:gd name="T69" fmla="*/ 118 h 122"/>
                  <a:gd name="T70" fmla="*/ 27 w 89"/>
                  <a:gd name="T71" fmla="*/ 116 h 122"/>
                  <a:gd name="T72" fmla="*/ 30 w 89"/>
                  <a:gd name="T73" fmla="*/ 104 h 122"/>
                  <a:gd name="T74" fmla="*/ 34 w 89"/>
                  <a:gd name="T75" fmla="*/ 102 h 122"/>
                  <a:gd name="T76" fmla="*/ 34 w 89"/>
                  <a:gd name="T77" fmla="*/ 88 h 122"/>
                  <a:gd name="T78" fmla="*/ 30 w 89"/>
                  <a:gd name="T79" fmla="*/ 82 h 122"/>
                  <a:gd name="T80" fmla="*/ 25 w 89"/>
                  <a:gd name="T81" fmla="*/ 81 h 122"/>
                  <a:gd name="T82" fmla="*/ 23 w 89"/>
                  <a:gd name="T83" fmla="*/ 82 h 122"/>
                  <a:gd name="T84" fmla="*/ 23 w 89"/>
                  <a:gd name="T85" fmla="*/ 79 h 122"/>
                  <a:gd name="T86" fmla="*/ 36 w 89"/>
                  <a:gd name="T87" fmla="*/ 77 h 122"/>
                  <a:gd name="T88" fmla="*/ 39 w 89"/>
                  <a:gd name="T89" fmla="*/ 77 h 122"/>
                  <a:gd name="T90" fmla="*/ 43 w 89"/>
                  <a:gd name="T91" fmla="*/ 79 h 122"/>
                  <a:gd name="T92" fmla="*/ 48 w 89"/>
                  <a:gd name="T93" fmla="*/ 81 h 122"/>
                  <a:gd name="T94" fmla="*/ 55 w 89"/>
                  <a:gd name="T95" fmla="*/ 82 h 122"/>
                  <a:gd name="T96" fmla="*/ 63 w 89"/>
                  <a:gd name="T97" fmla="*/ 75 h 122"/>
                  <a:gd name="T98" fmla="*/ 64 w 89"/>
                  <a:gd name="T99" fmla="*/ 70 h 122"/>
                  <a:gd name="T100" fmla="*/ 70 w 89"/>
                  <a:gd name="T101" fmla="*/ 57 h 122"/>
                  <a:gd name="T102" fmla="*/ 66 w 89"/>
                  <a:gd name="T103" fmla="*/ 54 h 122"/>
                  <a:gd name="T104" fmla="*/ 72 w 89"/>
                  <a:gd name="T105" fmla="*/ 52 h 122"/>
                  <a:gd name="T106" fmla="*/ 77 w 89"/>
                  <a:gd name="T107" fmla="*/ 36 h 122"/>
                  <a:gd name="T108" fmla="*/ 86 w 89"/>
                  <a:gd name="T109" fmla="*/ 22 h 122"/>
                  <a:gd name="T110" fmla="*/ 88 w 89"/>
                  <a:gd name="T111" fmla="*/ 20 h 122"/>
                  <a:gd name="T112" fmla="*/ 88 w 89"/>
                  <a:gd name="T113" fmla="*/ 15 h 122"/>
                  <a:gd name="T114" fmla="*/ 72 w 89"/>
                  <a:gd name="T115" fmla="*/ 9 h 122"/>
                  <a:gd name="T116" fmla="*/ 61 w 89"/>
                  <a:gd name="T117" fmla="*/ 9 h 122"/>
                  <a:gd name="T118" fmla="*/ 57 w 89"/>
                  <a:gd name="T119" fmla="*/ 15 h 122"/>
                  <a:gd name="T120" fmla="*/ 55 w 89"/>
                  <a:gd name="T121" fmla="*/ 9 h 122"/>
                  <a:gd name="T122" fmla="*/ 48 w 89"/>
                  <a:gd name="T123" fmla="*/ 6 h 122"/>
                  <a:gd name="T124" fmla="*/ 41 w 89"/>
                  <a:gd name="T125" fmla="*/ 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9" h="122">
                    <a:moveTo>
                      <a:pt x="41" y="2"/>
                    </a:moveTo>
                    <a:lnTo>
                      <a:pt x="39" y="0"/>
                    </a:lnTo>
                    <a:lnTo>
                      <a:pt x="38" y="0"/>
                    </a:lnTo>
                    <a:lnTo>
                      <a:pt x="36" y="0"/>
                    </a:lnTo>
                    <a:lnTo>
                      <a:pt x="32" y="2"/>
                    </a:lnTo>
                    <a:lnTo>
                      <a:pt x="32" y="2"/>
                    </a:lnTo>
                    <a:lnTo>
                      <a:pt x="32" y="6"/>
                    </a:lnTo>
                    <a:lnTo>
                      <a:pt x="32" y="6"/>
                    </a:lnTo>
                    <a:lnTo>
                      <a:pt x="30" y="6"/>
                    </a:lnTo>
                    <a:lnTo>
                      <a:pt x="30" y="4"/>
                    </a:lnTo>
                    <a:lnTo>
                      <a:pt x="29" y="2"/>
                    </a:lnTo>
                    <a:lnTo>
                      <a:pt x="27" y="2"/>
                    </a:lnTo>
                    <a:lnTo>
                      <a:pt x="20" y="6"/>
                    </a:lnTo>
                    <a:lnTo>
                      <a:pt x="20" y="6"/>
                    </a:lnTo>
                    <a:lnTo>
                      <a:pt x="18" y="6"/>
                    </a:lnTo>
                    <a:lnTo>
                      <a:pt x="16" y="6"/>
                    </a:lnTo>
                    <a:lnTo>
                      <a:pt x="14" y="7"/>
                    </a:lnTo>
                    <a:lnTo>
                      <a:pt x="11" y="9"/>
                    </a:lnTo>
                    <a:lnTo>
                      <a:pt x="9" y="9"/>
                    </a:lnTo>
                    <a:lnTo>
                      <a:pt x="7" y="13"/>
                    </a:lnTo>
                    <a:lnTo>
                      <a:pt x="7" y="16"/>
                    </a:lnTo>
                    <a:lnTo>
                      <a:pt x="7" y="18"/>
                    </a:lnTo>
                    <a:lnTo>
                      <a:pt x="9" y="22"/>
                    </a:lnTo>
                    <a:lnTo>
                      <a:pt x="11" y="20"/>
                    </a:lnTo>
                    <a:lnTo>
                      <a:pt x="11" y="20"/>
                    </a:lnTo>
                    <a:lnTo>
                      <a:pt x="11" y="20"/>
                    </a:lnTo>
                    <a:lnTo>
                      <a:pt x="13" y="20"/>
                    </a:lnTo>
                    <a:lnTo>
                      <a:pt x="11" y="20"/>
                    </a:lnTo>
                    <a:lnTo>
                      <a:pt x="11" y="22"/>
                    </a:lnTo>
                    <a:lnTo>
                      <a:pt x="11" y="22"/>
                    </a:lnTo>
                    <a:lnTo>
                      <a:pt x="13" y="27"/>
                    </a:lnTo>
                    <a:lnTo>
                      <a:pt x="14" y="29"/>
                    </a:lnTo>
                    <a:lnTo>
                      <a:pt x="14" y="29"/>
                    </a:lnTo>
                    <a:lnTo>
                      <a:pt x="16" y="29"/>
                    </a:lnTo>
                    <a:lnTo>
                      <a:pt x="18" y="31"/>
                    </a:lnTo>
                    <a:lnTo>
                      <a:pt x="18" y="31"/>
                    </a:lnTo>
                    <a:lnTo>
                      <a:pt x="18" y="31"/>
                    </a:lnTo>
                    <a:lnTo>
                      <a:pt x="16" y="31"/>
                    </a:lnTo>
                    <a:lnTo>
                      <a:pt x="14" y="31"/>
                    </a:lnTo>
                    <a:lnTo>
                      <a:pt x="11" y="29"/>
                    </a:lnTo>
                    <a:lnTo>
                      <a:pt x="7" y="23"/>
                    </a:lnTo>
                    <a:lnTo>
                      <a:pt x="7" y="25"/>
                    </a:lnTo>
                    <a:lnTo>
                      <a:pt x="5" y="25"/>
                    </a:lnTo>
                    <a:lnTo>
                      <a:pt x="5" y="23"/>
                    </a:lnTo>
                    <a:lnTo>
                      <a:pt x="4" y="25"/>
                    </a:lnTo>
                    <a:lnTo>
                      <a:pt x="4" y="25"/>
                    </a:lnTo>
                    <a:lnTo>
                      <a:pt x="2" y="25"/>
                    </a:lnTo>
                    <a:lnTo>
                      <a:pt x="0" y="29"/>
                    </a:lnTo>
                    <a:lnTo>
                      <a:pt x="2" y="31"/>
                    </a:lnTo>
                    <a:lnTo>
                      <a:pt x="0" y="32"/>
                    </a:lnTo>
                    <a:lnTo>
                      <a:pt x="2" y="32"/>
                    </a:lnTo>
                    <a:lnTo>
                      <a:pt x="2" y="34"/>
                    </a:lnTo>
                    <a:lnTo>
                      <a:pt x="4" y="34"/>
                    </a:lnTo>
                    <a:lnTo>
                      <a:pt x="4" y="36"/>
                    </a:lnTo>
                    <a:lnTo>
                      <a:pt x="2" y="34"/>
                    </a:lnTo>
                    <a:lnTo>
                      <a:pt x="0" y="36"/>
                    </a:lnTo>
                    <a:lnTo>
                      <a:pt x="2" y="38"/>
                    </a:lnTo>
                    <a:lnTo>
                      <a:pt x="2" y="43"/>
                    </a:lnTo>
                    <a:lnTo>
                      <a:pt x="2" y="48"/>
                    </a:lnTo>
                    <a:lnTo>
                      <a:pt x="2" y="50"/>
                    </a:lnTo>
                    <a:lnTo>
                      <a:pt x="2" y="50"/>
                    </a:lnTo>
                    <a:lnTo>
                      <a:pt x="2" y="57"/>
                    </a:lnTo>
                    <a:lnTo>
                      <a:pt x="4" y="61"/>
                    </a:lnTo>
                    <a:lnTo>
                      <a:pt x="2" y="59"/>
                    </a:lnTo>
                    <a:lnTo>
                      <a:pt x="2" y="61"/>
                    </a:lnTo>
                    <a:lnTo>
                      <a:pt x="2" y="63"/>
                    </a:lnTo>
                    <a:lnTo>
                      <a:pt x="2" y="65"/>
                    </a:lnTo>
                    <a:lnTo>
                      <a:pt x="0" y="68"/>
                    </a:lnTo>
                    <a:lnTo>
                      <a:pt x="2" y="72"/>
                    </a:lnTo>
                    <a:lnTo>
                      <a:pt x="2" y="79"/>
                    </a:lnTo>
                    <a:lnTo>
                      <a:pt x="2" y="79"/>
                    </a:lnTo>
                    <a:lnTo>
                      <a:pt x="4" y="79"/>
                    </a:lnTo>
                    <a:lnTo>
                      <a:pt x="4" y="81"/>
                    </a:lnTo>
                    <a:lnTo>
                      <a:pt x="2" y="81"/>
                    </a:lnTo>
                    <a:lnTo>
                      <a:pt x="2" y="84"/>
                    </a:lnTo>
                    <a:lnTo>
                      <a:pt x="2" y="84"/>
                    </a:lnTo>
                    <a:lnTo>
                      <a:pt x="4" y="84"/>
                    </a:lnTo>
                    <a:lnTo>
                      <a:pt x="7" y="88"/>
                    </a:lnTo>
                    <a:lnTo>
                      <a:pt x="7" y="91"/>
                    </a:lnTo>
                    <a:lnTo>
                      <a:pt x="9" y="95"/>
                    </a:lnTo>
                    <a:lnTo>
                      <a:pt x="9" y="97"/>
                    </a:lnTo>
                    <a:lnTo>
                      <a:pt x="9" y="98"/>
                    </a:lnTo>
                    <a:lnTo>
                      <a:pt x="9" y="100"/>
                    </a:lnTo>
                    <a:lnTo>
                      <a:pt x="9" y="111"/>
                    </a:lnTo>
                    <a:lnTo>
                      <a:pt x="9" y="113"/>
                    </a:lnTo>
                    <a:lnTo>
                      <a:pt x="11" y="113"/>
                    </a:lnTo>
                    <a:lnTo>
                      <a:pt x="13" y="111"/>
                    </a:lnTo>
                    <a:lnTo>
                      <a:pt x="16" y="113"/>
                    </a:lnTo>
                    <a:lnTo>
                      <a:pt x="11" y="113"/>
                    </a:lnTo>
                    <a:lnTo>
                      <a:pt x="11" y="116"/>
                    </a:lnTo>
                    <a:lnTo>
                      <a:pt x="9" y="116"/>
                    </a:lnTo>
                    <a:lnTo>
                      <a:pt x="9" y="122"/>
                    </a:lnTo>
                    <a:lnTo>
                      <a:pt x="11" y="122"/>
                    </a:lnTo>
                    <a:lnTo>
                      <a:pt x="9" y="122"/>
                    </a:lnTo>
                    <a:lnTo>
                      <a:pt x="18" y="120"/>
                    </a:lnTo>
                    <a:lnTo>
                      <a:pt x="18" y="120"/>
                    </a:lnTo>
                    <a:lnTo>
                      <a:pt x="20" y="120"/>
                    </a:lnTo>
                    <a:lnTo>
                      <a:pt x="22" y="118"/>
                    </a:lnTo>
                    <a:lnTo>
                      <a:pt x="27" y="122"/>
                    </a:lnTo>
                    <a:lnTo>
                      <a:pt x="27" y="120"/>
                    </a:lnTo>
                    <a:lnTo>
                      <a:pt x="27" y="118"/>
                    </a:lnTo>
                    <a:lnTo>
                      <a:pt x="27" y="116"/>
                    </a:lnTo>
                    <a:lnTo>
                      <a:pt x="27" y="116"/>
                    </a:lnTo>
                    <a:lnTo>
                      <a:pt x="25" y="118"/>
                    </a:lnTo>
                    <a:lnTo>
                      <a:pt x="25" y="118"/>
                    </a:lnTo>
                    <a:lnTo>
                      <a:pt x="25" y="118"/>
                    </a:lnTo>
                    <a:lnTo>
                      <a:pt x="25" y="118"/>
                    </a:lnTo>
                    <a:lnTo>
                      <a:pt x="27" y="116"/>
                    </a:lnTo>
                    <a:lnTo>
                      <a:pt x="27" y="115"/>
                    </a:lnTo>
                    <a:lnTo>
                      <a:pt x="27" y="113"/>
                    </a:lnTo>
                    <a:lnTo>
                      <a:pt x="30" y="104"/>
                    </a:lnTo>
                    <a:lnTo>
                      <a:pt x="32" y="104"/>
                    </a:lnTo>
                    <a:lnTo>
                      <a:pt x="32" y="104"/>
                    </a:lnTo>
                    <a:lnTo>
                      <a:pt x="34" y="102"/>
                    </a:lnTo>
                    <a:lnTo>
                      <a:pt x="36" y="97"/>
                    </a:lnTo>
                    <a:lnTo>
                      <a:pt x="36" y="91"/>
                    </a:lnTo>
                    <a:lnTo>
                      <a:pt x="34" y="88"/>
                    </a:lnTo>
                    <a:lnTo>
                      <a:pt x="30" y="86"/>
                    </a:lnTo>
                    <a:lnTo>
                      <a:pt x="30" y="82"/>
                    </a:lnTo>
                    <a:lnTo>
                      <a:pt x="30" y="82"/>
                    </a:lnTo>
                    <a:lnTo>
                      <a:pt x="30" y="82"/>
                    </a:lnTo>
                    <a:lnTo>
                      <a:pt x="27" y="82"/>
                    </a:lnTo>
                    <a:lnTo>
                      <a:pt x="25" y="81"/>
                    </a:lnTo>
                    <a:lnTo>
                      <a:pt x="25" y="82"/>
                    </a:lnTo>
                    <a:lnTo>
                      <a:pt x="25" y="81"/>
                    </a:lnTo>
                    <a:lnTo>
                      <a:pt x="23" y="82"/>
                    </a:lnTo>
                    <a:lnTo>
                      <a:pt x="23" y="81"/>
                    </a:lnTo>
                    <a:lnTo>
                      <a:pt x="23" y="81"/>
                    </a:lnTo>
                    <a:lnTo>
                      <a:pt x="23" y="79"/>
                    </a:lnTo>
                    <a:lnTo>
                      <a:pt x="25" y="79"/>
                    </a:lnTo>
                    <a:lnTo>
                      <a:pt x="34" y="79"/>
                    </a:lnTo>
                    <a:lnTo>
                      <a:pt x="36" y="77"/>
                    </a:lnTo>
                    <a:lnTo>
                      <a:pt x="38" y="79"/>
                    </a:lnTo>
                    <a:lnTo>
                      <a:pt x="38" y="79"/>
                    </a:lnTo>
                    <a:lnTo>
                      <a:pt x="39" y="77"/>
                    </a:lnTo>
                    <a:lnTo>
                      <a:pt x="39" y="79"/>
                    </a:lnTo>
                    <a:lnTo>
                      <a:pt x="41" y="79"/>
                    </a:lnTo>
                    <a:lnTo>
                      <a:pt x="43" y="79"/>
                    </a:lnTo>
                    <a:lnTo>
                      <a:pt x="45" y="79"/>
                    </a:lnTo>
                    <a:lnTo>
                      <a:pt x="47" y="81"/>
                    </a:lnTo>
                    <a:lnTo>
                      <a:pt x="48" y="81"/>
                    </a:lnTo>
                    <a:lnTo>
                      <a:pt x="52" y="82"/>
                    </a:lnTo>
                    <a:lnTo>
                      <a:pt x="54" y="82"/>
                    </a:lnTo>
                    <a:lnTo>
                      <a:pt x="55" y="82"/>
                    </a:lnTo>
                    <a:lnTo>
                      <a:pt x="59" y="81"/>
                    </a:lnTo>
                    <a:lnTo>
                      <a:pt x="59" y="79"/>
                    </a:lnTo>
                    <a:lnTo>
                      <a:pt x="63" y="75"/>
                    </a:lnTo>
                    <a:lnTo>
                      <a:pt x="63" y="73"/>
                    </a:lnTo>
                    <a:lnTo>
                      <a:pt x="63" y="72"/>
                    </a:lnTo>
                    <a:lnTo>
                      <a:pt x="64" y="70"/>
                    </a:lnTo>
                    <a:lnTo>
                      <a:pt x="66" y="68"/>
                    </a:lnTo>
                    <a:lnTo>
                      <a:pt x="66" y="66"/>
                    </a:lnTo>
                    <a:lnTo>
                      <a:pt x="70" y="57"/>
                    </a:lnTo>
                    <a:lnTo>
                      <a:pt x="70" y="56"/>
                    </a:lnTo>
                    <a:lnTo>
                      <a:pt x="68" y="56"/>
                    </a:lnTo>
                    <a:lnTo>
                      <a:pt x="66" y="54"/>
                    </a:lnTo>
                    <a:lnTo>
                      <a:pt x="68" y="54"/>
                    </a:lnTo>
                    <a:lnTo>
                      <a:pt x="70" y="54"/>
                    </a:lnTo>
                    <a:lnTo>
                      <a:pt x="72" y="52"/>
                    </a:lnTo>
                    <a:lnTo>
                      <a:pt x="77" y="40"/>
                    </a:lnTo>
                    <a:lnTo>
                      <a:pt x="77" y="38"/>
                    </a:lnTo>
                    <a:lnTo>
                      <a:pt x="77" y="36"/>
                    </a:lnTo>
                    <a:lnTo>
                      <a:pt x="77" y="38"/>
                    </a:lnTo>
                    <a:lnTo>
                      <a:pt x="79" y="38"/>
                    </a:lnTo>
                    <a:lnTo>
                      <a:pt x="86" y="22"/>
                    </a:lnTo>
                    <a:lnTo>
                      <a:pt x="86" y="20"/>
                    </a:lnTo>
                    <a:lnTo>
                      <a:pt x="88" y="18"/>
                    </a:lnTo>
                    <a:lnTo>
                      <a:pt x="88" y="20"/>
                    </a:lnTo>
                    <a:lnTo>
                      <a:pt x="88" y="18"/>
                    </a:lnTo>
                    <a:lnTo>
                      <a:pt x="89" y="16"/>
                    </a:lnTo>
                    <a:lnTo>
                      <a:pt x="88" y="15"/>
                    </a:lnTo>
                    <a:lnTo>
                      <a:pt x="88" y="15"/>
                    </a:lnTo>
                    <a:lnTo>
                      <a:pt x="86" y="16"/>
                    </a:lnTo>
                    <a:lnTo>
                      <a:pt x="72" y="9"/>
                    </a:lnTo>
                    <a:lnTo>
                      <a:pt x="64" y="9"/>
                    </a:lnTo>
                    <a:lnTo>
                      <a:pt x="63" y="9"/>
                    </a:lnTo>
                    <a:lnTo>
                      <a:pt x="61" y="9"/>
                    </a:lnTo>
                    <a:lnTo>
                      <a:pt x="59" y="13"/>
                    </a:lnTo>
                    <a:lnTo>
                      <a:pt x="59" y="13"/>
                    </a:lnTo>
                    <a:lnTo>
                      <a:pt x="57" y="15"/>
                    </a:lnTo>
                    <a:lnTo>
                      <a:pt x="55" y="13"/>
                    </a:lnTo>
                    <a:lnTo>
                      <a:pt x="55" y="11"/>
                    </a:lnTo>
                    <a:lnTo>
                      <a:pt x="55" y="9"/>
                    </a:lnTo>
                    <a:lnTo>
                      <a:pt x="52" y="6"/>
                    </a:lnTo>
                    <a:lnTo>
                      <a:pt x="50" y="4"/>
                    </a:lnTo>
                    <a:lnTo>
                      <a:pt x="48" y="6"/>
                    </a:lnTo>
                    <a:lnTo>
                      <a:pt x="48" y="6"/>
                    </a:lnTo>
                    <a:lnTo>
                      <a:pt x="48" y="4"/>
                    </a:lnTo>
                    <a:lnTo>
                      <a:pt x="41"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02" name="Freeform 1850"/>
              <p:cNvSpPr>
                <a:spLocks/>
              </p:cNvSpPr>
              <p:nvPr/>
            </p:nvSpPr>
            <p:spPr bwMode="auto">
              <a:xfrm>
                <a:off x="702" y="1806"/>
                <a:ext cx="925" cy="494"/>
              </a:xfrm>
              <a:custGeom>
                <a:avLst/>
                <a:gdLst>
                  <a:gd name="T0" fmla="*/ 901 w 925"/>
                  <a:gd name="T1" fmla="*/ 50 h 494"/>
                  <a:gd name="T2" fmla="*/ 864 w 925"/>
                  <a:gd name="T3" fmla="*/ 96 h 494"/>
                  <a:gd name="T4" fmla="*/ 775 w 925"/>
                  <a:gd name="T5" fmla="*/ 125 h 494"/>
                  <a:gd name="T6" fmla="*/ 757 w 925"/>
                  <a:gd name="T7" fmla="*/ 141 h 494"/>
                  <a:gd name="T8" fmla="*/ 680 w 925"/>
                  <a:gd name="T9" fmla="*/ 178 h 494"/>
                  <a:gd name="T10" fmla="*/ 669 w 925"/>
                  <a:gd name="T11" fmla="*/ 155 h 494"/>
                  <a:gd name="T12" fmla="*/ 653 w 925"/>
                  <a:gd name="T13" fmla="*/ 126 h 494"/>
                  <a:gd name="T14" fmla="*/ 650 w 925"/>
                  <a:gd name="T15" fmla="*/ 93 h 494"/>
                  <a:gd name="T16" fmla="*/ 625 w 925"/>
                  <a:gd name="T17" fmla="*/ 107 h 494"/>
                  <a:gd name="T18" fmla="*/ 614 w 925"/>
                  <a:gd name="T19" fmla="*/ 155 h 494"/>
                  <a:gd name="T20" fmla="*/ 589 w 925"/>
                  <a:gd name="T21" fmla="*/ 105 h 494"/>
                  <a:gd name="T22" fmla="*/ 637 w 925"/>
                  <a:gd name="T23" fmla="*/ 84 h 494"/>
                  <a:gd name="T24" fmla="*/ 646 w 925"/>
                  <a:gd name="T25" fmla="*/ 69 h 494"/>
                  <a:gd name="T26" fmla="*/ 592 w 925"/>
                  <a:gd name="T27" fmla="*/ 64 h 494"/>
                  <a:gd name="T28" fmla="*/ 557 w 925"/>
                  <a:gd name="T29" fmla="*/ 62 h 494"/>
                  <a:gd name="T30" fmla="*/ 559 w 925"/>
                  <a:gd name="T31" fmla="*/ 34 h 494"/>
                  <a:gd name="T32" fmla="*/ 500 w 925"/>
                  <a:gd name="T33" fmla="*/ 19 h 494"/>
                  <a:gd name="T34" fmla="*/ 30 w 925"/>
                  <a:gd name="T35" fmla="*/ 10 h 494"/>
                  <a:gd name="T36" fmla="*/ 37 w 925"/>
                  <a:gd name="T37" fmla="*/ 25 h 494"/>
                  <a:gd name="T38" fmla="*/ 30 w 925"/>
                  <a:gd name="T39" fmla="*/ 37 h 494"/>
                  <a:gd name="T40" fmla="*/ 9 w 925"/>
                  <a:gd name="T41" fmla="*/ 57 h 494"/>
                  <a:gd name="T42" fmla="*/ 12 w 925"/>
                  <a:gd name="T43" fmla="*/ 66 h 494"/>
                  <a:gd name="T44" fmla="*/ 12 w 925"/>
                  <a:gd name="T45" fmla="*/ 93 h 494"/>
                  <a:gd name="T46" fmla="*/ 16 w 925"/>
                  <a:gd name="T47" fmla="*/ 219 h 494"/>
                  <a:gd name="T48" fmla="*/ 41 w 925"/>
                  <a:gd name="T49" fmla="*/ 250 h 494"/>
                  <a:gd name="T50" fmla="*/ 44 w 925"/>
                  <a:gd name="T51" fmla="*/ 273 h 494"/>
                  <a:gd name="T52" fmla="*/ 75 w 925"/>
                  <a:gd name="T53" fmla="*/ 323 h 494"/>
                  <a:gd name="T54" fmla="*/ 107 w 925"/>
                  <a:gd name="T55" fmla="*/ 337 h 494"/>
                  <a:gd name="T56" fmla="*/ 316 w 925"/>
                  <a:gd name="T57" fmla="*/ 394 h 494"/>
                  <a:gd name="T58" fmla="*/ 410 w 925"/>
                  <a:gd name="T59" fmla="*/ 471 h 494"/>
                  <a:gd name="T60" fmla="*/ 437 w 925"/>
                  <a:gd name="T61" fmla="*/ 459 h 494"/>
                  <a:gd name="T62" fmla="*/ 444 w 925"/>
                  <a:gd name="T63" fmla="*/ 441 h 494"/>
                  <a:gd name="T64" fmla="*/ 453 w 925"/>
                  <a:gd name="T65" fmla="*/ 430 h 494"/>
                  <a:gd name="T66" fmla="*/ 457 w 925"/>
                  <a:gd name="T67" fmla="*/ 435 h 494"/>
                  <a:gd name="T68" fmla="*/ 517 w 925"/>
                  <a:gd name="T69" fmla="*/ 414 h 494"/>
                  <a:gd name="T70" fmla="*/ 546 w 925"/>
                  <a:gd name="T71" fmla="*/ 421 h 494"/>
                  <a:gd name="T72" fmla="*/ 559 w 925"/>
                  <a:gd name="T73" fmla="*/ 414 h 494"/>
                  <a:gd name="T74" fmla="*/ 550 w 925"/>
                  <a:gd name="T75" fmla="*/ 405 h 494"/>
                  <a:gd name="T76" fmla="*/ 596 w 925"/>
                  <a:gd name="T77" fmla="*/ 400 h 494"/>
                  <a:gd name="T78" fmla="*/ 630 w 925"/>
                  <a:gd name="T79" fmla="*/ 410 h 494"/>
                  <a:gd name="T80" fmla="*/ 669 w 925"/>
                  <a:gd name="T81" fmla="*/ 421 h 494"/>
                  <a:gd name="T82" fmla="*/ 682 w 925"/>
                  <a:gd name="T83" fmla="*/ 466 h 494"/>
                  <a:gd name="T84" fmla="*/ 710 w 925"/>
                  <a:gd name="T85" fmla="*/ 491 h 494"/>
                  <a:gd name="T86" fmla="*/ 703 w 925"/>
                  <a:gd name="T87" fmla="*/ 366 h 494"/>
                  <a:gd name="T88" fmla="*/ 726 w 925"/>
                  <a:gd name="T89" fmla="*/ 344 h 494"/>
                  <a:gd name="T90" fmla="*/ 773 w 925"/>
                  <a:gd name="T91" fmla="*/ 312 h 494"/>
                  <a:gd name="T92" fmla="*/ 773 w 925"/>
                  <a:gd name="T93" fmla="*/ 303 h 494"/>
                  <a:gd name="T94" fmla="*/ 767 w 925"/>
                  <a:gd name="T95" fmla="*/ 287 h 494"/>
                  <a:gd name="T96" fmla="*/ 780 w 925"/>
                  <a:gd name="T97" fmla="*/ 278 h 494"/>
                  <a:gd name="T98" fmla="*/ 775 w 925"/>
                  <a:gd name="T99" fmla="*/ 266 h 494"/>
                  <a:gd name="T100" fmla="*/ 760 w 925"/>
                  <a:gd name="T101" fmla="*/ 241 h 494"/>
                  <a:gd name="T102" fmla="*/ 771 w 925"/>
                  <a:gd name="T103" fmla="*/ 237 h 494"/>
                  <a:gd name="T104" fmla="*/ 776 w 925"/>
                  <a:gd name="T105" fmla="*/ 232 h 494"/>
                  <a:gd name="T106" fmla="*/ 782 w 925"/>
                  <a:gd name="T107" fmla="*/ 251 h 494"/>
                  <a:gd name="T108" fmla="*/ 785 w 925"/>
                  <a:gd name="T109" fmla="*/ 223 h 494"/>
                  <a:gd name="T110" fmla="*/ 810 w 925"/>
                  <a:gd name="T111" fmla="*/ 212 h 494"/>
                  <a:gd name="T112" fmla="*/ 834 w 925"/>
                  <a:gd name="T113" fmla="*/ 185 h 494"/>
                  <a:gd name="T114" fmla="*/ 873 w 925"/>
                  <a:gd name="T115" fmla="*/ 178 h 494"/>
                  <a:gd name="T116" fmla="*/ 860 w 925"/>
                  <a:gd name="T117" fmla="*/ 162 h 494"/>
                  <a:gd name="T118" fmla="*/ 878 w 925"/>
                  <a:gd name="T119" fmla="*/ 128 h 494"/>
                  <a:gd name="T120" fmla="*/ 891 w 925"/>
                  <a:gd name="T121" fmla="*/ 121 h 494"/>
                  <a:gd name="T122" fmla="*/ 909 w 925"/>
                  <a:gd name="T123" fmla="*/ 116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5" h="494">
                    <a:moveTo>
                      <a:pt x="923" y="107"/>
                    </a:moveTo>
                    <a:lnTo>
                      <a:pt x="921" y="105"/>
                    </a:lnTo>
                    <a:lnTo>
                      <a:pt x="921" y="105"/>
                    </a:lnTo>
                    <a:lnTo>
                      <a:pt x="923" y="103"/>
                    </a:lnTo>
                    <a:lnTo>
                      <a:pt x="923" y="98"/>
                    </a:lnTo>
                    <a:lnTo>
                      <a:pt x="921" y="100"/>
                    </a:lnTo>
                    <a:lnTo>
                      <a:pt x="921" y="100"/>
                    </a:lnTo>
                    <a:lnTo>
                      <a:pt x="917" y="100"/>
                    </a:lnTo>
                    <a:lnTo>
                      <a:pt x="916" y="98"/>
                    </a:lnTo>
                    <a:lnTo>
                      <a:pt x="914" y="94"/>
                    </a:lnTo>
                    <a:lnTo>
                      <a:pt x="914" y="91"/>
                    </a:lnTo>
                    <a:lnTo>
                      <a:pt x="910" y="87"/>
                    </a:lnTo>
                    <a:lnTo>
                      <a:pt x="910" y="57"/>
                    </a:lnTo>
                    <a:lnTo>
                      <a:pt x="901" y="50"/>
                    </a:lnTo>
                    <a:lnTo>
                      <a:pt x="900" y="50"/>
                    </a:lnTo>
                    <a:lnTo>
                      <a:pt x="898" y="51"/>
                    </a:lnTo>
                    <a:lnTo>
                      <a:pt x="892" y="53"/>
                    </a:lnTo>
                    <a:lnTo>
                      <a:pt x="889" y="51"/>
                    </a:lnTo>
                    <a:lnTo>
                      <a:pt x="887" y="50"/>
                    </a:lnTo>
                    <a:lnTo>
                      <a:pt x="885" y="48"/>
                    </a:lnTo>
                    <a:lnTo>
                      <a:pt x="884" y="46"/>
                    </a:lnTo>
                    <a:lnTo>
                      <a:pt x="882" y="48"/>
                    </a:lnTo>
                    <a:lnTo>
                      <a:pt x="869" y="78"/>
                    </a:lnTo>
                    <a:lnTo>
                      <a:pt x="867" y="89"/>
                    </a:lnTo>
                    <a:lnTo>
                      <a:pt x="864" y="93"/>
                    </a:lnTo>
                    <a:lnTo>
                      <a:pt x="864" y="94"/>
                    </a:lnTo>
                    <a:lnTo>
                      <a:pt x="866" y="96"/>
                    </a:lnTo>
                    <a:lnTo>
                      <a:pt x="864" y="96"/>
                    </a:lnTo>
                    <a:lnTo>
                      <a:pt x="862" y="94"/>
                    </a:lnTo>
                    <a:lnTo>
                      <a:pt x="862" y="96"/>
                    </a:lnTo>
                    <a:lnTo>
                      <a:pt x="862" y="98"/>
                    </a:lnTo>
                    <a:lnTo>
                      <a:pt x="859" y="96"/>
                    </a:lnTo>
                    <a:lnTo>
                      <a:pt x="855" y="98"/>
                    </a:lnTo>
                    <a:lnTo>
                      <a:pt x="853" y="98"/>
                    </a:lnTo>
                    <a:lnTo>
                      <a:pt x="851" y="100"/>
                    </a:lnTo>
                    <a:lnTo>
                      <a:pt x="850" y="103"/>
                    </a:lnTo>
                    <a:lnTo>
                      <a:pt x="794" y="103"/>
                    </a:lnTo>
                    <a:lnTo>
                      <a:pt x="784" y="110"/>
                    </a:lnTo>
                    <a:lnTo>
                      <a:pt x="780" y="118"/>
                    </a:lnTo>
                    <a:lnTo>
                      <a:pt x="775" y="121"/>
                    </a:lnTo>
                    <a:lnTo>
                      <a:pt x="773" y="123"/>
                    </a:lnTo>
                    <a:lnTo>
                      <a:pt x="775" y="125"/>
                    </a:lnTo>
                    <a:lnTo>
                      <a:pt x="776" y="125"/>
                    </a:lnTo>
                    <a:lnTo>
                      <a:pt x="776" y="125"/>
                    </a:lnTo>
                    <a:lnTo>
                      <a:pt x="776" y="126"/>
                    </a:lnTo>
                    <a:lnTo>
                      <a:pt x="776" y="128"/>
                    </a:lnTo>
                    <a:lnTo>
                      <a:pt x="775" y="126"/>
                    </a:lnTo>
                    <a:lnTo>
                      <a:pt x="775" y="128"/>
                    </a:lnTo>
                    <a:lnTo>
                      <a:pt x="775" y="128"/>
                    </a:lnTo>
                    <a:lnTo>
                      <a:pt x="776" y="130"/>
                    </a:lnTo>
                    <a:lnTo>
                      <a:pt x="776" y="134"/>
                    </a:lnTo>
                    <a:lnTo>
                      <a:pt x="776" y="135"/>
                    </a:lnTo>
                    <a:lnTo>
                      <a:pt x="771" y="135"/>
                    </a:lnTo>
                    <a:lnTo>
                      <a:pt x="766" y="141"/>
                    </a:lnTo>
                    <a:lnTo>
                      <a:pt x="764" y="141"/>
                    </a:lnTo>
                    <a:lnTo>
                      <a:pt x="757" y="141"/>
                    </a:lnTo>
                    <a:lnTo>
                      <a:pt x="757" y="141"/>
                    </a:lnTo>
                    <a:lnTo>
                      <a:pt x="753" y="143"/>
                    </a:lnTo>
                    <a:lnTo>
                      <a:pt x="751" y="139"/>
                    </a:lnTo>
                    <a:lnTo>
                      <a:pt x="744" y="139"/>
                    </a:lnTo>
                    <a:lnTo>
                      <a:pt x="730" y="143"/>
                    </a:lnTo>
                    <a:lnTo>
                      <a:pt x="734" y="151"/>
                    </a:lnTo>
                    <a:lnTo>
                      <a:pt x="728" y="155"/>
                    </a:lnTo>
                    <a:lnTo>
                      <a:pt x="728" y="157"/>
                    </a:lnTo>
                    <a:lnTo>
                      <a:pt x="726" y="157"/>
                    </a:lnTo>
                    <a:lnTo>
                      <a:pt x="726" y="157"/>
                    </a:lnTo>
                    <a:lnTo>
                      <a:pt x="716" y="166"/>
                    </a:lnTo>
                    <a:lnTo>
                      <a:pt x="712" y="166"/>
                    </a:lnTo>
                    <a:lnTo>
                      <a:pt x="685" y="178"/>
                    </a:lnTo>
                    <a:lnTo>
                      <a:pt x="680" y="178"/>
                    </a:lnTo>
                    <a:lnTo>
                      <a:pt x="675" y="180"/>
                    </a:lnTo>
                    <a:lnTo>
                      <a:pt x="669" y="180"/>
                    </a:lnTo>
                    <a:lnTo>
                      <a:pt x="669" y="178"/>
                    </a:lnTo>
                    <a:lnTo>
                      <a:pt x="667" y="178"/>
                    </a:lnTo>
                    <a:lnTo>
                      <a:pt x="666" y="178"/>
                    </a:lnTo>
                    <a:lnTo>
                      <a:pt x="664" y="176"/>
                    </a:lnTo>
                    <a:lnTo>
                      <a:pt x="659" y="175"/>
                    </a:lnTo>
                    <a:lnTo>
                      <a:pt x="664" y="169"/>
                    </a:lnTo>
                    <a:lnTo>
                      <a:pt x="664" y="166"/>
                    </a:lnTo>
                    <a:lnTo>
                      <a:pt x="666" y="162"/>
                    </a:lnTo>
                    <a:lnTo>
                      <a:pt x="667" y="160"/>
                    </a:lnTo>
                    <a:lnTo>
                      <a:pt x="667" y="159"/>
                    </a:lnTo>
                    <a:lnTo>
                      <a:pt x="667" y="157"/>
                    </a:lnTo>
                    <a:lnTo>
                      <a:pt x="669" y="155"/>
                    </a:lnTo>
                    <a:lnTo>
                      <a:pt x="673" y="155"/>
                    </a:lnTo>
                    <a:lnTo>
                      <a:pt x="676" y="146"/>
                    </a:lnTo>
                    <a:lnTo>
                      <a:pt x="675" y="146"/>
                    </a:lnTo>
                    <a:lnTo>
                      <a:pt x="673" y="143"/>
                    </a:lnTo>
                    <a:lnTo>
                      <a:pt x="673" y="134"/>
                    </a:lnTo>
                    <a:lnTo>
                      <a:pt x="667" y="123"/>
                    </a:lnTo>
                    <a:lnTo>
                      <a:pt x="666" y="125"/>
                    </a:lnTo>
                    <a:lnTo>
                      <a:pt x="660" y="126"/>
                    </a:lnTo>
                    <a:lnTo>
                      <a:pt x="660" y="126"/>
                    </a:lnTo>
                    <a:lnTo>
                      <a:pt x="659" y="132"/>
                    </a:lnTo>
                    <a:lnTo>
                      <a:pt x="653" y="134"/>
                    </a:lnTo>
                    <a:lnTo>
                      <a:pt x="651" y="132"/>
                    </a:lnTo>
                    <a:lnTo>
                      <a:pt x="651" y="132"/>
                    </a:lnTo>
                    <a:lnTo>
                      <a:pt x="653" y="126"/>
                    </a:lnTo>
                    <a:lnTo>
                      <a:pt x="657" y="123"/>
                    </a:lnTo>
                    <a:lnTo>
                      <a:pt x="659" y="119"/>
                    </a:lnTo>
                    <a:lnTo>
                      <a:pt x="660" y="118"/>
                    </a:lnTo>
                    <a:lnTo>
                      <a:pt x="660" y="116"/>
                    </a:lnTo>
                    <a:lnTo>
                      <a:pt x="660" y="107"/>
                    </a:lnTo>
                    <a:lnTo>
                      <a:pt x="659" y="105"/>
                    </a:lnTo>
                    <a:lnTo>
                      <a:pt x="659" y="103"/>
                    </a:lnTo>
                    <a:lnTo>
                      <a:pt x="660" y="101"/>
                    </a:lnTo>
                    <a:lnTo>
                      <a:pt x="660" y="101"/>
                    </a:lnTo>
                    <a:lnTo>
                      <a:pt x="659" y="98"/>
                    </a:lnTo>
                    <a:lnTo>
                      <a:pt x="657" y="96"/>
                    </a:lnTo>
                    <a:lnTo>
                      <a:pt x="651" y="94"/>
                    </a:lnTo>
                    <a:lnTo>
                      <a:pt x="650" y="93"/>
                    </a:lnTo>
                    <a:lnTo>
                      <a:pt x="650" y="93"/>
                    </a:lnTo>
                    <a:lnTo>
                      <a:pt x="646" y="89"/>
                    </a:lnTo>
                    <a:lnTo>
                      <a:pt x="644" y="89"/>
                    </a:lnTo>
                    <a:lnTo>
                      <a:pt x="642" y="89"/>
                    </a:lnTo>
                    <a:lnTo>
                      <a:pt x="641" y="87"/>
                    </a:lnTo>
                    <a:lnTo>
                      <a:pt x="637" y="87"/>
                    </a:lnTo>
                    <a:lnTo>
                      <a:pt x="634" y="87"/>
                    </a:lnTo>
                    <a:lnTo>
                      <a:pt x="634" y="89"/>
                    </a:lnTo>
                    <a:lnTo>
                      <a:pt x="634" y="93"/>
                    </a:lnTo>
                    <a:lnTo>
                      <a:pt x="635" y="94"/>
                    </a:lnTo>
                    <a:lnTo>
                      <a:pt x="634" y="94"/>
                    </a:lnTo>
                    <a:lnTo>
                      <a:pt x="628" y="98"/>
                    </a:lnTo>
                    <a:lnTo>
                      <a:pt x="626" y="105"/>
                    </a:lnTo>
                    <a:lnTo>
                      <a:pt x="625" y="105"/>
                    </a:lnTo>
                    <a:lnTo>
                      <a:pt x="625" y="107"/>
                    </a:lnTo>
                    <a:lnTo>
                      <a:pt x="625" y="105"/>
                    </a:lnTo>
                    <a:lnTo>
                      <a:pt x="623" y="101"/>
                    </a:lnTo>
                    <a:lnTo>
                      <a:pt x="623" y="100"/>
                    </a:lnTo>
                    <a:lnTo>
                      <a:pt x="621" y="101"/>
                    </a:lnTo>
                    <a:lnTo>
                      <a:pt x="619" y="103"/>
                    </a:lnTo>
                    <a:lnTo>
                      <a:pt x="616" y="105"/>
                    </a:lnTo>
                    <a:lnTo>
                      <a:pt x="616" y="109"/>
                    </a:lnTo>
                    <a:lnTo>
                      <a:pt x="614" y="110"/>
                    </a:lnTo>
                    <a:lnTo>
                      <a:pt x="612" y="119"/>
                    </a:lnTo>
                    <a:lnTo>
                      <a:pt x="614" y="119"/>
                    </a:lnTo>
                    <a:lnTo>
                      <a:pt x="612" y="121"/>
                    </a:lnTo>
                    <a:lnTo>
                      <a:pt x="609" y="134"/>
                    </a:lnTo>
                    <a:lnTo>
                      <a:pt x="614" y="144"/>
                    </a:lnTo>
                    <a:lnTo>
                      <a:pt x="614" y="155"/>
                    </a:lnTo>
                    <a:lnTo>
                      <a:pt x="607" y="171"/>
                    </a:lnTo>
                    <a:lnTo>
                      <a:pt x="600" y="176"/>
                    </a:lnTo>
                    <a:lnTo>
                      <a:pt x="596" y="176"/>
                    </a:lnTo>
                    <a:lnTo>
                      <a:pt x="594" y="175"/>
                    </a:lnTo>
                    <a:lnTo>
                      <a:pt x="589" y="162"/>
                    </a:lnTo>
                    <a:lnTo>
                      <a:pt x="587" y="143"/>
                    </a:lnTo>
                    <a:lnTo>
                      <a:pt x="601" y="100"/>
                    </a:lnTo>
                    <a:lnTo>
                      <a:pt x="600" y="98"/>
                    </a:lnTo>
                    <a:lnTo>
                      <a:pt x="596" y="101"/>
                    </a:lnTo>
                    <a:lnTo>
                      <a:pt x="596" y="107"/>
                    </a:lnTo>
                    <a:lnTo>
                      <a:pt x="592" y="107"/>
                    </a:lnTo>
                    <a:lnTo>
                      <a:pt x="587" y="114"/>
                    </a:lnTo>
                    <a:lnTo>
                      <a:pt x="587" y="112"/>
                    </a:lnTo>
                    <a:lnTo>
                      <a:pt x="589" y="105"/>
                    </a:lnTo>
                    <a:lnTo>
                      <a:pt x="591" y="105"/>
                    </a:lnTo>
                    <a:lnTo>
                      <a:pt x="603" y="85"/>
                    </a:lnTo>
                    <a:lnTo>
                      <a:pt x="603" y="87"/>
                    </a:lnTo>
                    <a:lnTo>
                      <a:pt x="607" y="85"/>
                    </a:lnTo>
                    <a:lnTo>
                      <a:pt x="609" y="84"/>
                    </a:lnTo>
                    <a:lnTo>
                      <a:pt x="609" y="89"/>
                    </a:lnTo>
                    <a:lnTo>
                      <a:pt x="609" y="89"/>
                    </a:lnTo>
                    <a:lnTo>
                      <a:pt x="614" y="84"/>
                    </a:lnTo>
                    <a:lnTo>
                      <a:pt x="623" y="82"/>
                    </a:lnTo>
                    <a:lnTo>
                      <a:pt x="625" y="80"/>
                    </a:lnTo>
                    <a:lnTo>
                      <a:pt x="628" y="78"/>
                    </a:lnTo>
                    <a:lnTo>
                      <a:pt x="632" y="80"/>
                    </a:lnTo>
                    <a:lnTo>
                      <a:pt x="635" y="82"/>
                    </a:lnTo>
                    <a:lnTo>
                      <a:pt x="637" y="84"/>
                    </a:lnTo>
                    <a:lnTo>
                      <a:pt x="639" y="84"/>
                    </a:lnTo>
                    <a:lnTo>
                      <a:pt x="641" y="82"/>
                    </a:lnTo>
                    <a:lnTo>
                      <a:pt x="641" y="80"/>
                    </a:lnTo>
                    <a:lnTo>
                      <a:pt x="642" y="80"/>
                    </a:lnTo>
                    <a:lnTo>
                      <a:pt x="644" y="82"/>
                    </a:lnTo>
                    <a:lnTo>
                      <a:pt x="651" y="82"/>
                    </a:lnTo>
                    <a:lnTo>
                      <a:pt x="651" y="80"/>
                    </a:lnTo>
                    <a:lnTo>
                      <a:pt x="650" y="80"/>
                    </a:lnTo>
                    <a:lnTo>
                      <a:pt x="650" y="78"/>
                    </a:lnTo>
                    <a:lnTo>
                      <a:pt x="648" y="78"/>
                    </a:lnTo>
                    <a:lnTo>
                      <a:pt x="646" y="76"/>
                    </a:lnTo>
                    <a:lnTo>
                      <a:pt x="646" y="73"/>
                    </a:lnTo>
                    <a:lnTo>
                      <a:pt x="646" y="71"/>
                    </a:lnTo>
                    <a:lnTo>
                      <a:pt x="646" y="69"/>
                    </a:lnTo>
                    <a:lnTo>
                      <a:pt x="644" y="69"/>
                    </a:lnTo>
                    <a:lnTo>
                      <a:pt x="637" y="69"/>
                    </a:lnTo>
                    <a:lnTo>
                      <a:pt x="634" y="68"/>
                    </a:lnTo>
                    <a:lnTo>
                      <a:pt x="634" y="64"/>
                    </a:lnTo>
                    <a:lnTo>
                      <a:pt x="632" y="62"/>
                    </a:lnTo>
                    <a:lnTo>
                      <a:pt x="630" y="62"/>
                    </a:lnTo>
                    <a:lnTo>
                      <a:pt x="626" y="64"/>
                    </a:lnTo>
                    <a:lnTo>
                      <a:pt x="616" y="64"/>
                    </a:lnTo>
                    <a:lnTo>
                      <a:pt x="610" y="68"/>
                    </a:lnTo>
                    <a:lnTo>
                      <a:pt x="609" y="69"/>
                    </a:lnTo>
                    <a:lnTo>
                      <a:pt x="607" y="69"/>
                    </a:lnTo>
                    <a:lnTo>
                      <a:pt x="600" y="69"/>
                    </a:lnTo>
                    <a:lnTo>
                      <a:pt x="598" y="69"/>
                    </a:lnTo>
                    <a:lnTo>
                      <a:pt x="592" y="64"/>
                    </a:lnTo>
                    <a:lnTo>
                      <a:pt x="587" y="60"/>
                    </a:lnTo>
                    <a:lnTo>
                      <a:pt x="582" y="60"/>
                    </a:lnTo>
                    <a:lnTo>
                      <a:pt x="580" y="60"/>
                    </a:lnTo>
                    <a:lnTo>
                      <a:pt x="578" y="62"/>
                    </a:lnTo>
                    <a:lnTo>
                      <a:pt x="578" y="59"/>
                    </a:lnTo>
                    <a:lnTo>
                      <a:pt x="580" y="57"/>
                    </a:lnTo>
                    <a:lnTo>
                      <a:pt x="582" y="55"/>
                    </a:lnTo>
                    <a:lnTo>
                      <a:pt x="587" y="50"/>
                    </a:lnTo>
                    <a:lnTo>
                      <a:pt x="589" y="48"/>
                    </a:lnTo>
                    <a:lnTo>
                      <a:pt x="589" y="46"/>
                    </a:lnTo>
                    <a:lnTo>
                      <a:pt x="585" y="46"/>
                    </a:lnTo>
                    <a:lnTo>
                      <a:pt x="578" y="50"/>
                    </a:lnTo>
                    <a:lnTo>
                      <a:pt x="564" y="60"/>
                    </a:lnTo>
                    <a:lnTo>
                      <a:pt x="557" y="62"/>
                    </a:lnTo>
                    <a:lnTo>
                      <a:pt x="551" y="66"/>
                    </a:lnTo>
                    <a:lnTo>
                      <a:pt x="542" y="66"/>
                    </a:lnTo>
                    <a:lnTo>
                      <a:pt x="541" y="68"/>
                    </a:lnTo>
                    <a:lnTo>
                      <a:pt x="541" y="66"/>
                    </a:lnTo>
                    <a:lnTo>
                      <a:pt x="541" y="64"/>
                    </a:lnTo>
                    <a:lnTo>
                      <a:pt x="541" y="60"/>
                    </a:lnTo>
                    <a:lnTo>
                      <a:pt x="539" y="59"/>
                    </a:lnTo>
                    <a:lnTo>
                      <a:pt x="528" y="66"/>
                    </a:lnTo>
                    <a:lnTo>
                      <a:pt x="525" y="66"/>
                    </a:lnTo>
                    <a:lnTo>
                      <a:pt x="523" y="66"/>
                    </a:lnTo>
                    <a:lnTo>
                      <a:pt x="521" y="64"/>
                    </a:lnTo>
                    <a:lnTo>
                      <a:pt x="546" y="43"/>
                    </a:lnTo>
                    <a:lnTo>
                      <a:pt x="551" y="41"/>
                    </a:lnTo>
                    <a:lnTo>
                      <a:pt x="559" y="34"/>
                    </a:lnTo>
                    <a:lnTo>
                      <a:pt x="557" y="34"/>
                    </a:lnTo>
                    <a:lnTo>
                      <a:pt x="553" y="32"/>
                    </a:lnTo>
                    <a:lnTo>
                      <a:pt x="546" y="32"/>
                    </a:lnTo>
                    <a:lnTo>
                      <a:pt x="541" y="30"/>
                    </a:lnTo>
                    <a:lnTo>
                      <a:pt x="537" y="30"/>
                    </a:lnTo>
                    <a:lnTo>
                      <a:pt x="534" y="32"/>
                    </a:lnTo>
                    <a:lnTo>
                      <a:pt x="532" y="32"/>
                    </a:lnTo>
                    <a:lnTo>
                      <a:pt x="528" y="30"/>
                    </a:lnTo>
                    <a:lnTo>
                      <a:pt x="526" y="28"/>
                    </a:lnTo>
                    <a:lnTo>
                      <a:pt x="516" y="23"/>
                    </a:lnTo>
                    <a:lnTo>
                      <a:pt x="516" y="21"/>
                    </a:lnTo>
                    <a:lnTo>
                      <a:pt x="509" y="19"/>
                    </a:lnTo>
                    <a:lnTo>
                      <a:pt x="501" y="18"/>
                    </a:lnTo>
                    <a:lnTo>
                      <a:pt x="500" y="19"/>
                    </a:lnTo>
                    <a:lnTo>
                      <a:pt x="496" y="19"/>
                    </a:lnTo>
                    <a:lnTo>
                      <a:pt x="494" y="19"/>
                    </a:lnTo>
                    <a:lnTo>
                      <a:pt x="494" y="19"/>
                    </a:lnTo>
                    <a:lnTo>
                      <a:pt x="494" y="18"/>
                    </a:lnTo>
                    <a:lnTo>
                      <a:pt x="489" y="16"/>
                    </a:lnTo>
                    <a:lnTo>
                      <a:pt x="484" y="16"/>
                    </a:lnTo>
                    <a:lnTo>
                      <a:pt x="484" y="16"/>
                    </a:lnTo>
                    <a:lnTo>
                      <a:pt x="482" y="16"/>
                    </a:lnTo>
                    <a:lnTo>
                      <a:pt x="478" y="10"/>
                    </a:lnTo>
                    <a:lnTo>
                      <a:pt x="478" y="9"/>
                    </a:lnTo>
                    <a:lnTo>
                      <a:pt x="475" y="0"/>
                    </a:lnTo>
                    <a:lnTo>
                      <a:pt x="471" y="0"/>
                    </a:lnTo>
                    <a:lnTo>
                      <a:pt x="471" y="10"/>
                    </a:lnTo>
                    <a:lnTo>
                      <a:pt x="30" y="10"/>
                    </a:lnTo>
                    <a:lnTo>
                      <a:pt x="32" y="12"/>
                    </a:lnTo>
                    <a:lnTo>
                      <a:pt x="34" y="14"/>
                    </a:lnTo>
                    <a:lnTo>
                      <a:pt x="35" y="14"/>
                    </a:lnTo>
                    <a:lnTo>
                      <a:pt x="37" y="16"/>
                    </a:lnTo>
                    <a:lnTo>
                      <a:pt x="39" y="16"/>
                    </a:lnTo>
                    <a:lnTo>
                      <a:pt x="39" y="18"/>
                    </a:lnTo>
                    <a:lnTo>
                      <a:pt x="37" y="16"/>
                    </a:lnTo>
                    <a:lnTo>
                      <a:pt x="35" y="16"/>
                    </a:lnTo>
                    <a:lnTo>
                      <a:pt x="35" y="19"/>
                    </a:lnTo>
                    <a:lnTo>
                      <a:pt x="35" y="21"/>
                    </a:lnTo>
                    <a:lnTo>
                      <a:pt x="34" y="21"/>
                    </a:lnTo>
                    <a:lnTo>
                      <a:pt x="34" y="21"/>
                    </a:lnTo>
                    <a:lnTo>
                      <a:pt x="35" y="23"/>
                    </a:lnTo>
                    <a:lnTo>
                      <a:pt x="37" y="25"/>
                    </a:lnTo>
                    <a:lnTo>
                      <a:pt x="39" y="30"/>
                    </a:lnTo>
                    <a:lnTo>
                      <a:pt x="39" y="39"/>
                    </a:lnTo>
                    <a:lnTo>
                      <a:pt x="37" y="39"/>
                    </a:lnTo>
                    <a:lnTo>
                      <a:pt x="37" y="37"/>
                    </a:lnTo>
                    <a:lnTo>
                      <a:pt x="35" y="35"/>
                    </a:lnTo>
                    <a:lnTo>
                      <a:pt x="34" y="37"/>
                    </a:lnTo>
                    <a:lnTo>
                      <a:pt x="32" y="41"/>
                    </a:lnTo>
                    <a:lnTo>
                      <a:pt x="30" y="43"/>
                    </a:lnTo>
                    <a:lnTo>
                      <a:pt x="28" y="44"/>
                    </a:lnTo>
                    <a:lnTo>
                      <a:pt x="30" y="44"/>
                    </a:lnTo>
                    <a:lnTo>
                      <a:pt x="28" y="46"/>
                    </a:lnTo>
                    <a:lnTo>
                      <a:pt x="26" y="48"/>
                    </a:lnTo>
                    <a:lnTo>
                      <a:pt x="26" y="44"/>
                    </a:lnTo>
                    <a:lnTo>
                      <a:pt x="30" y="37"/>
                    </a:lnTo>
                    <a:lnTo>
                      <a:pt x="32" y="35"/>
                    </a:lnTo>
                    <a:lnTo>
                      <a:pt x="32" y="35"/>
                    </a:lnTo>
                    <a:lnTo>
                      <a:pt x="32" y="32"/>
                    </a:lnTo>
                    <a:lnTo>
                      <a:pt x="32" y="30"/>
                    </a:lnTo>
                    <a:lnTo>
                      <a:pt x="28" y="30"/>
                    </a:lnTo>
                    <a:lnTo>
                      <a:pt x="25" y="28"/>
                    </a:lnTo>
                    <a:lnTo>
                      <a:pt x="14" y="28"/>
                    </a:lnTo>
                    <a:lnTo>
                      <a:pt x="1" y="23"/>
                    </a:lnTo>
                    <a:lnTo>
                      <a:pt x="1" y="25"/>
                    </a:lnTo>
                    <a:lnTo>
                      <a:pt x="0" y="28"/>
                    </a:lnTo>
                    <a:lnTo>
                      <a:pt x="0" y="30"/>
                    </a:lnTo>
                    <a:lnTo>
                      <a:pt x="1" y="35"/>
                    </a:lnTo>
                    <a:lnTo>
                      <a:pt x="5" y="37"/>
                    </a:lnTo>
                    <a:lnTo>
                      <a:pt x="9" y="57"/>
                    </a:lnTo>
                    <a:lnTo>
                      <a:pt x="10" y="57"/>
                    </a:lnTo>
                    <a:lnTo>
                      <a:pt x="10" y="55"/>
                    </a:lnTo>
                    <a:lnTo>
                      <a:pt x="12" y="57"/>
                    </a:lnTo>
                    <a:lnTo>
                      <a:pt x="12" y="59"/>
                    </a:lnTo>
                    <a:lnTo>
                      <a:pt x="10" y="59"/>
                    </a:lnTo>
                    <a:lnTo>
                      <a:pt x="10" y="62"/>
                    </a:lnTo>
                    <a:lnTo>
                      <a:pt x="10" y="62"/>
                    </a:lnTo>
                    <a:lnTo>
                      <a:pt x="12" y="62"/>
                    </a:lnTo>
                    <a:lnTo>
                      <a:pt x="14" y="62"/>
                    </a:lnTo>
                    <a:lnTo>
                      <a:pt x="14" y="62"/>
                    </a:lnTo>
                    <a:lnTo>
                      <a:pt x="14" y="69"/>
                    </a:lnTo>
                    <a:lnTo>
                      <a:pt x="14" y="69"/>
                    </a:lnTo>
                    <a:lnTo>
                      <a:pt x="12" y="69"/>
                    </a:lnTo>
                    <a:lnTo>
                      <a:pt x="12" y="66"/>
                    </a:lnTo>
                    <a:lnTo>
                      <a:pt x="10" y="66"/>
                    </a:lnTo>
                    <a:lnTo>
                      <a:pt x="12" y="71"/>
                    </a:lnTo>
                    <a:lnTo>
                      <a:pt x="14" y="73"/>
                    </a:lnTo>
                    <a:lnTo>
                      <a:pt x="19" y="73"/>
                    </a:lnTo>
                    <a:lnTo>
                      <a:pt x="23" y="76"/>
                    </a:lnTo>
                    <a:lnTo>
                      <a:pt x="23" y="76"/>
                    </a:lnTo>
                    <a:lnTo>
                      <a:pt x="19" y="75"/>
                    </a:lnTo>
                    <a:lnTo>
                      <a:pt x="14" y="76"/>
                    </a:lnTo>
                    <a:lnTo>
                      <a:pt x="14" y="76"/>
                    </a:lnTo>
                    <a:lnTo>
                      <a:pt x="12" y="85"/>
                    </a:lnTo>
                    <a:lnTo>
                      <a:pt x="14" y="85"/>
                    </a:lnTo>
                    <a:lnTo>
                      <a:pt x="12" y="87"/>
                    </a:lnTo>
                    <a:lnTo>
                      <a:pt x="14" y="91"/>
                    </a:lnTo>
                    <a:lnTo>
                      <a:pt x="12" y="93"/>
                    </a:lnTo>
                    <a:lnTo>
                      <a:pt x="9" y="135"/>
                    </a:lnTo>
                    <a:lnTo>
                      <a:pt x="9" y="135"/>
                    </a:lnTo>
                    <a:lnTo>
                      <a:pt x="9" y="135"/>
                    </a:lnTo>
                    <a:lnTo>
                      <a:pt x="9" y="137"/>
                    </a:lnTo>
                    <a:lnTo>
                      <a:pt x="7" y="139"/>
                    </a:lnTo>
                    <a:lnTo>
                      <a:pt x="5" y="143"/>
                    </a:lnTo>
                    <a:lnTo>
                      <a:pt x="5" y="150"/>
                    </a:lnTo>
                    <a:lnTo>
                      <a:pt x="10" y="182"/>
                    </a:lnTo>
                    <a:lnTo>
                      <a:pt x="10" y="194"/>
                    </a:lnTo>
                    <a:lnTo>
                      <a:pt x="7" y="200"/>
                    </a:lnTo>
                    <a:lnTo>
                      <a:pt x="7" y="205"/>
                    </a:lnTo>
                    <a:lnTo>
                      <a:pt x="9" y="207"/>
                    </a:lnTo>
                    <a:lnTo>
                      <a:pt x="16" y="218"/>
                    </a:lnTo>
                    <a:lnTo>
                      <a:pt x="16" y="219"/>
                    </a:lnTo>
                    <a:lnTo>
                      <a:pt x="16" y="225"/>
                    </a:lnTo>
                    <a:lnTo>
                      <a:pt x="18" y="235"/>
                    </a:lnTo>
                    <a:lnTo>
                      <a:pt x="28" y="246"/>
                    </a:lnTo>
                    <a:lnTo>
                      <a:pt x="28" y="248"/>
                    </a:lnTo>
                    <a:lnTo>
                      <a:pt x="28" y="250"/>
                    </a:lnTo>
                    <a:lnTo>
                      <a:pt x="28" y="251"/>
                    </a:lnTo>
                    <a:lnTo>
                      <a:pt x="32" y="253"/>
                    </a:lnTo>
                    <a:lnTo>
                      <a:pt x="34" y="253"/>
                    </a:lnTo>
                    <a:lnTo>
                      <a:pt x="34" y="253"/>
                    </a:lnTo>
                    <a:lnTo>
                      <a:pt x="35" y="255"/>
                    </a:lnTo>
                    <a:lnTo>
                      <a:pt x="35" y="253"/>
                    </a:lnTo>
                    <a:lnTo>
                      <a:pt x="35" y="253"/>
                    </a:lnTo>
                    <a:lnTo>
                      <a:pt x="35" y="248"/>
                    </a:lnTo>
                    <a:lnTo>
                      <a:pt x="41" y="250"/>
                    </a:lnTo>
                    <a:lnTo>
                      <a:pt x="44" y="250"/>
                    </a:lnTo>
                    <a:lnTo>
                      <a:pt x="43" y="251"/>
                    </a:lnTo>
                    <a:lnTo>
                      <a:pt x="41" y="251"/>
                    </a:lnTo>
                    <a:lnTo>
                      <a:pt x="39" y="253"/>
                    </a:lnTo>
                    <a:lnTo>
                      <a:pt x="39" y="255"/>
                    </a:lnTo>
                    <a:lnTo>
                      <a:pt x="43" y="260"/>
                    </a:lnTo>
                    <a:lnTo>
                      <a:pt x="43" y="262"/>
                    </a:lnTo>
                    <a:lnTo>
                      <a:pt x="37" y="259"/>
                    </a:lnTo>
                    <a:lnTo>
                      <a:pt x="37" y="257"/>
                    </a:lnTo>
                    <a:lnTo>
                      <a:pt x="35" y="257"/>
                    </a:lnTo>
                    <a:lnTo>
                      <a:pt x="35" y="259"/>
                    </a:lnTo>
                    <a:lnTo>
                      <a:pt x="39" y="269"/>
                    </a:lnTo>
                    <a:lnTo>
                      <a:pt x="41" y="273"/>
                    </a:lnTo>
                    <a:lnTo>
                      <a:pt x="44" y="273"/>
                    </a:lnTo>
                    <a:lnTo>
                      <a:pt x="46" y="276"/>
                    </a:lnTo>
                    <a:lnTo>
                      <a:pt x="46" y="278"/>
                    </a:lnTo>
                    <a:lnTo>
                      <a:pt x="44" y="280"/>
                    </a:lnTo>
                    <a:lnTo>
                      <a:pt x="46" y="285"/>
                    </a:lnTo>
                    <a:lnTo>
                      <a:pt x="60" y="303"/>
                    </a:lnTo>
                    <a:lnTo>
                      <a:pt x="62" y="303"/>
                    </a:lnTo>
                    <a:lnTo>
                      <a:pt x="62" y="307"/>
                    </a:lnTo>
                    <a:lnTo>
                      <a:pt x="64" y="309"/>
                    </a:lnTo>
                    <a:lnTo>
                      <a:pt x="66" y="310"/>
                    </a:lnTo>
                    <a:lnTo>
                      <a:pt x="66" y="310"/>
                    </a:lnTo>
                    <a:lnTo>
                      <a:pt x="66" y="312"/>
                    </a:lnTo>
                    <a:lnTo>
                      <a:pt x="68" y="319"/>
                    </a:lnTo>
                    <a:lnTo>
                      <a:pt x="68" y="321"/>
                    </a:lnTo>
                    <a:lnTo>
                      <a:pt x="75" y="323"/>
                    </a:lnTo>
                    <a:lnTo>
                      <a:pt x="78" y="325"/>
                    </a:lnTo>
                    <a:lnTo>
                      <a:pt x="80" y="323"/>
                    </a:lnTo>
                    <a:lnTo>
                      <a:pt x="82" y="323"/>
                    </a:lnTo>
                    <a:lnTo>
                      <a:pt x="87" y="326"/>
                    </a:lnTo>
                    <a:lnTo>
                      <a:pt x="89" y="328"/>
                    </a:lnTo>
                    <a:lnTo>
                      <a:pt x="94" y="330"/>
                    </a:lnTo>
                    <a:lnTo>
                      <a:pt x="96" y="332"/>
                    </a:lnTo>
                    <a:lnTo>
                      <a:pt x="96" y="330"/>
                    </a:lnTo>
                    <a:lnTo>
                      <a:pt x="98" y="330"/>
                    </a:lnTo>
                    <a:lnTo>
                      <a:pt x="100" y="330"/>
                    </a:lnTo>
                    <a:lnTo>
                      <a:pt x="101" y="332"/>
                    </a:lnTo>
                    <a:lnTo>
                      <a:pt x="101" y="335"/>
                    </a:lnTo>
                    <a:lnTo>
                      <a:pt x="101" y="335"/>
                    </a:lnTo>
                    <a:lnTo>
                      <a:pt x="107" y="337"/>
                    </a:lnTo>
                    <a:lnTo>
                      <a:pt x="118" y="348"/>
                    </a:lnTo>
                    <a:lnTo>
                      <a:pt x="119" y="350"/>
                    </a:lnTo>
                    <a:lnTo>
                      <a:pt x="121" y="360"/>
                    </a:lnTo>
                    <a:lnTo>
                      <a:pt x="157" y="357"/>
                    </a:lnTo>
                    <a:lnTo>
                      <a:pt x="159" y="359"/>
                    </a:lnTo>
                    <a:lnTo>
                      <a:pt x="219" y="382"/>
                    </a:lnTo>
                    <a:lnTo>
                      <a:pt x="262" y="382"/>
                    </a:lnTo>
                    <a:lnTo>
                      <a:pt x="262" y="373"/>
                    </a:lnTo>
                    <a:lnTo>
                      <a:pt x="289" y="373"/>
                    </a:lnTo>
                    <a:lnTo>
                      <a:pt x="293" y="375"/>
                    </a:lnTo>
                    <a:lnTo>
                      <a:pt x="294" y="378"/>
                    </a:lnTo>
                    <a:lnTo>
                      <a:pt x="298" y="380"/>
                    </a:lnTo>
                    <a:lnTo>
                      <a:pt x="301" y="384"/>
                    </a:lnTo>
                    <a:lnTo>
                      <a:pt x="316" y="394"/>
                    </a:lnTo>
                    <a:lnTo>
                      <a:pt x="319" y="409"/>
                    </a:lnTo>
                    <a:lnTo>
                      <a:pt x="335" y="423"/>
                    </a:lnTo>
                    <a:lnTo>
                      <a:pt x="343" y="425"/>
                    </a:lnTo>
                    <a:lnTo>
                      <a:pt x="351" y="410"/>
                    </a:lnTo>
                    <a:lnTo>
                      <a:pt x="353" y="409"/>
                    </a:lnTo>
                    <a:lnTo>
                      <a:pt x="357" y="410"/>
                    </a:lnTo>
                    <a:lnTo>
                      <a:pt x="369" y="409"/>
                    </a:lnTo>
                    <a:lnTo>
                      <a:pt x="382" y="423"/>
                    </a:lnTo>
                    <a:lnTo>
                      <a:pt x="387" y="435"/>
                    </a:lnTo>
                    <a:lnTo>
                      <a:pt x="393" y="441"/>
                    </a:lnTo>
                    <a:lnTo>
                      <a:pt x="396" y="446"/>
                    </a:lnTo>
                    <a:lnTo>
                      <a:pt x="400" y="450"/>
                    </a:lnTo>
                    <a:lnTo>
                      <a:pt x="405" y="464"/>
                    </a:lnTo>
                    <a:lnTo>
                      <a:pt x="410" y="471"/>
                    </a:lnTo>
                    <a:lnTo>
                      <a:pt x="414" y="475"/>
                    </a:lnTo>
                    <a:lnTo>
                      <a:pt x="419" y="475"/>
                    </a:lnTo>
                    <a:lnTo>
                      <a:pt x="423" y="476"/>
                    </a:lnTo>
                    <a:lnTo>
                      <a:pt x="430" y="478"/>
                    </a:lnTo>
                    <a:lnTo>
                      <a:pt x="435" y="480"/>
                    </a:lnTo>
                    <a:lnTo>
                      <a:pt x="441" y="480"/>
                    </a:lnTo>
                    <a:lnTo>
                      <a:pt x="441" y="480"/>
                    </a:lnTo>
                    <a:lnTo>
                      <a:pt x="441" y="480"/>
                    </a:lnTo>
                    <a:lnTo>
                      <a:pt x="439" y="475"/>
                    </a:lnTo>
                    <a:lnTo>
                      <a:pt x="437" y="473"/>
                    </a:lnTo>
                    <a:lnTo>
                      <a:pt x="435" y="462"/>
                    </a:lnTo>
                    <a:lnTo>
                      <a:pt x="437" y="462"/>
                    </a:lnTo>
                    <a:lnTo>
                      <a:pt x="437" y="459"/>
                    </a:lnTo>
                    <a:lnTo>
                      <a:pt x="437" y="459"/>
                    </a:lnTo>
                    <a:lnTo>
                      <a:pt x="435" y="457"/>
                    </a:lnTo>
                    <a:lnTo>
                      <a:pt x="434" y="457"/>
                    </a:lnTo>
                    <a:lnTo>
                      <a:pt x="435" y="457"/>
                    </a:lnTo>
                    <a:lnTo>
                      <a:pt x="437" y="457"/>
                    </a:lnTo>
                    <a:lnTo>
                      <a:pt x="437" y="457"/>
                    </a:lnTo>
                    <a:lnTo>
                      <a:pt x="439" y="455"/>
                    </a:lnTo>
                    <a:lnTo>
                      <a:pt x="439" y="450"/>
                    </a:lnTo>
                    <a:lnTo>
                      <a:pt x="437" y="446"/>
                    </a:lnTo>
                    <a:lnTo>
                      <a:pt x="443" y="446"/>
                    </a:lnTo>
                    <a:lnTo>
                      <a:pt x="444" y="443"/>
                    </a:lnTo>
                    <a:lnTo>
                      <a:pt x="443" y="443"/>
                    </a:lnTo>
                    <a:lnTo>
                      <a:pt x="443" y="443"/>
                    </a:lnTo>
                    <a:lnTo>
                      <a:pt x="443" y="441"/>
                    </a:lnTo>
                    <a:lnTo>
                      <a:pt x="444" y="441"/>
                    </a:lnTo>
                    <a:lnTo>
                      <a:pt x="446" y="441"/>
                    </a:lnTo>
                    <a:lnTo>
                      <a:pt x="448" y="439"/>
                    </a:lnTo>
                    <a:lnTo>
                      <a:pt x="448" y="437"/>
                    </a:lnTo>
                    <a:lnTo>
                      <a:pt x="448" y="437"/>
                    </a:lnTo>
                    <a:lnTo>
                      <a:pt x="451" y="435"/>
                    </a:lnTo>
                    <a:lnTo>
                      <a:pt x="451" y="435"/>
                    </a:lnTo>
                    <a:lnTo>
                      <a:pt x="453" y="434"/>
                    </a:lnTo>
                    <a:lnTo>
                      <a:pt x="451" y="434"/>
                    </a:lnTo>
                    <a:lnTo>
                      <a:pt x="451" y="432"/>
                    </a:lnTo>
                    <a:lnTo>
                      <a:pt x="451" y="430"/>
                    </a:lnTo>
                    <a:lnTo>
                      <a:pt x="453" y="432"/>
                    </a:lnTo>
                    <a:lnTo>
                      <a:pt x="453" y="432"/>
                    </a:lnTo>
                    <a:lnTo>
                      <a:pt x="453" y="432"/>
                    </a:lnTo>
                    <a:lnTo>
                      <a:pt x="453" y="430"/>
                    </a:lnTo>
                    <a:lnTo>
                      <a:pt x="455" y="430"/>
                    </a:lnTo>
                    <a:lnTo>
                      <a:pt x="455" y="430"/>
                    </a:lnTo>
                    <a:lnTo>
                      <a:pt x="455" y="432"/>
                    </a:lnTo>
                    <a:lnTo>
                      <a:pt x="457" y="432"/>
                    </a:lnTo>
                    <a:lnTo>
                      <a:pt x="457" y="432"/>
                    </a:lnTo>
                    <a:lnTo>
                      <a:pt x="457" y="430"/>
                    </a:lnTo>
                    <a:lnTo>
                      <a:pt x="459" y="430"/>
                    </a:lnTo>
                    <a:lnTo>
                      <a:pt x="459" y="432"/>
                    </a:lnTo>
                    <a:lnTo>
                      <a:pt x="464" y="430"/>
                    </a:lnTo>
                    <a:lnTo>
                      <a:pt x="464" y="430"/>
                    </a:lnTo>
                    <a:lnTo>
                      <a:pt x="464" y="432"/>
                    </a:lnTo>
                    <a:lnTo>
                      <a:pt x="457" y="434"/>
                    </a:lnTo>
                    <a:lnTo>
                      <a:pt x="457" y="435"/>
                    </a:lnTo>
                    <a:lnTo>
                      <a:pt x="457" y="435"/>
                    </a:lnTo>
                    <a:lnTo>
                      <a:pt x="473" y="426"/>
                    </a:lnTo>
                    <a:lnTo>
                      <a:pt x="475" y="421"/>
                    </a:lnTo>
                    <a:lnTo>
                      <a:pt x="475" y="412"/>
                    </a:lnTo>
                    <a:lnTo>
                      <a:pt x="476" y="410"/>
                    </a:lnTo>
                    <a:lnTo>
                      <a:pt x="476" y="410"/>
                    </a:lnTo>
                    <a:lnTo>
                      <a:pt x="478" y="410"/>
                    </a:lnTo>
                    <a:lnTo>
                      <a:pt x="478" y="414"/>
                    </a:lnTo>
                    <a:lnTo>
                      <a:pt x="480" y="414"/>
                    </a:lnTo>
                    <a:lnTo>
                      <a:pt x="480" y="414"/>
                    </a:lnTo>
                    <a:lnTo>
                      <a:pt x="478" y="416"/>
                    </a:lnTo>
                    <a:lnTo>
                      <a:pt x="478" y="416"/>
                    </a:lnTo>
                    <a:lnTo>
                      <a:pt x="487" y="412"/>
                    </a:lnTo>
                    <a:lnTo>
                      <a:pt x="501" y="410"/>
                    </a:lnTo>
                    <a:lnTo>
                      <a:pt x="517" y="414"/>
                    </a:lnTo>
                    <a:lnTo>
                      <a:pt x="519" y="412"/>
                    </a:lnTo>
                    <a:lnTo>
                      <a:pt x="519" y="410"/>
                    </a:lnTo>
                    <a:lnTo>
                      <a:pt x="521" y="410"/>
                    </a:lnTo>
                    <a:lnTo>
                      <a:pt x="523" y="410"/>
                    </a:lnTo>
                    <a:lnTo>
                      <a:pt x="528" y="412"/>
                    </a:lnTo>
                    <a:lnTo>
                      <a:pt x="530" y="414"/>
                    </a:lnTo>
                    <a:lnTo>
                      <a:pt x="532" y="414"/>
                    </a:lnTo>
                    <a:lnTo>
                      <a:pt x="535" y="419"/>
                    </a:lnTo>
                    <a:lnTo>
                      <a:pt x="539" y="419"/>
                    </a:lnTo>
                    <a:lnTo>
                      <a:pt x="539" y="421"/>
                    </a:lnTo>
                    <a:lnTo>
                      <a:pt x="541" y="421"/>
                    </a:lnTo>
                    <a:lnTo>
                      <a:pt x="544" y="419"/>
                    </a:lnTo>
                    <a:lnTo>
                      <a:pt x="546" y="421"/>
                    </a:lnTo>
                    <a:lnTo>
                      <a:pt x="546" y="421"/>
                    </a:lnTo>
                    <a:lnTo>
                      <a:pt x="551" y="421"/>
                    </a:lnTo>
                    <a:lnTo>
                      <a:pt x="553" y="419"/>
                    </a:lnTo>
                    <a:lnTo>
                      <a:pt x="553" y="418"/>
                    </a:lnTo>
                    <a:lnTo>
                      <a:pt x="553" y="418"/>
                    </a:lnTo>
                    <a:lnTo>
                      <a:pt x="553" y="416"/>
                    </a:lnTo>
                    <a:lnTo>
                      <a:pt x="555" y="416"/>
                    </a:lnTo>
                    <a:lnTo>
                      <a:pt x="557" y="418"/>
                    </a:lnTo>
                    <a:lnTo>
                      <a:pt x="560" y="419"/>
                    </a:lnTo>
                    <a:lnTo>
                      <a:pt x="564" y="425"/>
                    </a:lnTo>
                    <a:lnTo>
                      <a:pt x="567" y="423"/>
                    </a:lnTo>
                    <a:lnTo>
                      <a:pt x="567" y="421"/>
                    </a:lnTo>
                    <a:lnTo>
                      <a:pt x="566" y="419"/>
                    </a:lnTo>
                    <a:lnTo>
                      <a:pt x="562" y="418"/>
                    </a:lnTo>
                    <a:lnTo>
                      <a:pt x="559" y="414"/>
                    </a:lnTo>
                    <a:lnTo>
                      <a:pt x="560" y="414"/>
                    </a:lnTo>
                    <a:lnTo>
                      <a:pt x="560" y="410"/>
                    </a:lnTo>
                    <a:lnTo>
                      <a:pt x="564" y="409"/>
                    </a:lnTo>
                    <a:lnTo>
                      <a:pt x="564" y="405"/>
                    </a:lnTo>
                    <a:lnTo>
                      <a:pt x="564" y="403"/>
                    </a:lnTo>
                    <a:lnTo>
                      <a:pt x="564" y="403"/>
                    </a:lnTo>
                    <a:lnTo>
                      <a:pt x="560" y="405"/>
                    </a:lnTo>
                    <a:lnTo>
                      <a:pt x="559" y="407"/>
                    </a:lnTo>
                    <a:lnTo>
                      <a:pt x="557" y="407"/>
                    </a:lnTo>
                    <a:lnTo>
                      <a:pt x="557" y="403"/>
                    </a:lnTo>
                    <a:lnTo>
                      <a:pt x="555" y="403"/>
                    </a:lnTo>
                    <a:lnTo>
                      <a:pt x="555" y="403"/>
                    </a:lnTo>
                    <a:lnTo>
                      <a:pt x="553" y="405"/>
                    </a:lnTo>
                    <a:lnTo>
                      <a:pt x="550" y="405"/>
                    </a:lnTo>
                    <a:lnTo>
                      <a:pt x="548" y="403"/>
                    </a:lnTo>
                    <a:lnTo>
                      <a:pt x="548" y="400"/>
                    </a:lnTo>
                    <a:lnTo>
                      <a:pt x="551" y="398"/>
                    </a:lnTo>
                    <a:lnTo>
                      <a:pt x="560" y="401"/>
                    </a:lnTo>
                    <a:lnTo>
                      <a:pt x="564" y="400"/>
                    </a:lnTo>
                    <a:lnTo>
                      <a:pt x="566" y="400"/>
                    </a:lnTo>
                    <a:lnTo>
                      <a:pt x="569" y="398"/>
                    </a:lnTo>
                    <a:lnTo>
                      <a:pt x="582" y="400"/>
                    </a:lnTo>
                    <a:lnTo>
                      <a:pt x="584" y="398"/>
                    </a:lnTo>
                    <a:lnTo>
                      <a:pt x="585" y="389"/>
                    </a:lnTo>
                    <a:lnTo>
                      <a:pt x="587" y="398"/>
                    </a:lnTo>
                    <a:lnTo>
                      <a:pt x="585" y="401"/>
                    </a:lnTo>
                    <a:lnTo>
                      <a:pt x="587" y="401"/>
                    </a:lnTo>
                    <a:lnTo>
                      <a:pt x="596" y="400"/>
                    </a:lnTo>
                    <a:lnTo>
                      <a:pt x="598" y="396"/>
                    </a:lnTo>
                    <a:lnTo>
                      <a:pt x="600" y="396"/>
                    </a:lnTo>
                    <a:lnTo>
                      <a:pt x="601" y="396"/>
                    </a:lnTo>
                    <a:lnTo>
                      <a:pt x="601" y="396"/>
                    </a:lnTo>
                    <a:lnTo>
                      <a:pt x="601" y="396"/>
                    </a:lnTo>
                    <a:lnTo>
                      <a:pt x="600" y="398"/>
                    </a:lnTo>
                    <a:lnTo>
                      <a:pt x="612" y="396"/>
                    </a:lnTo>
                    <a:lnTo>
                      <a:pt x="614" y="398"/>
                    </a:lnTo>
                    <a:lnTo>
                      <a:pt x="614" y="398"/>
                    </a:lnTo>
                    <a:lnTo>
                      <a:pt x="612" y="398"/>
                    </a:lnTo>
                    <a:lnTo>
                      <a:pt x="612" y="400"/>
                    </a:lnTo>
                    <a:lnTo>
                      <a:pt x="625" y="405"/>
                    </a:lnTo>
                    <a:lnTo>
                      <a:pt x="628" y="410"/>
                    </a:lnTo>
                    <a:lnTo>
                      <a:pt x="630" y="410"/>
                    </a:lnTo>
                    <a:lnTo>
                      <a:pt x="637" y="409"/>
                    </a:lnTo>
                    <a:lnTo>
                      <a:pt x="642" y="407"/>
                    </a:lnTo>
                    <a:lnTo>
                      <a:pt x="644" y="407"/>
                    </a:lnTo>
                    <a:lnTo>
                      <a:pt x="644" y="407"/>
                    </a:lnTo>
                    <a:lnTo>
                      <a:pt x="644" y="405"/>
                    </a:lnTo>
                    <a:lnTo>
                      <a:pt x="646" y="405"/>
                    </a:lnTo>
                    <a:lnTo>
                      <a:pt x="648" y="405"/>
                    </a:lnTo>
                    <a:lnTo>
                      <a:pt x="653" y="405"/>
                    </a:lnTo>
                    <a:lnTo>
                      <a:pt x="657" y="410"/>
                    </a:lnTo>
                    <a:lnTo>
                      <a:pt x="659" y="412"/>
                    </a:lnTo>
                    <a:lnTo>
                      <a:pt x="659" y="414"/>
                    </a:lnTo>
                    <a:lnTo>
                      <a:pt x="660" y="416"/>
                    </a:lnTo>
                    <a:lnTo>
                      <a:pt x="666" y="421"/>
                    </a:lnTo>
                    <a:lnTo>
                      <a:pt x="669" y="421"/>
                    </a:lnTo>
                    <a:lnTo>
                      <a:pt x="669" y="423"/>
                    </a:lnTo>
                    <a:lnTo>
                      <a:pt x="669" y="446"/>
                    </a:lnTo>
                    <a:lnTo>
                      <a:pt x="669" y="446"/>
                    </a:lnTo>
                    <a:lnTo>
                      <a:pt x="671" y="446"/>
                    </a:lnTo>
                    <a:lnTo>
                      <a:pt x="671" y="443"/>
                    </a:lnTo>
                    <a:lnTo>
                      <a:pt x="673" y="443"/>
                    </a:lnTo>
                    <a:lnTo>
                      <a:pt x="673" y="444"/>
                    </a:lnTo>
                    <a:lnTo>
                      <a:pt x="671" y="451"/>
                    </a:lnTo>
                    <a:lnTo>
                      <a:pt x="673" y="453"/>
                    </a:lnTo>
                    <a:lnTo>
                      <a:pt x="678" y="462"/>
                    </a:lnTo>
                    <a:lnTo>
                      <a:pt x="678" y="462"/>
                    </a:lnTo>
                    <a:lnTo>
                      <a:pt x="680" y="462"/>
                    </a:lnTo>
                    <a:lnTo>
                      <a:pt x="682" y="468"/>
                    </a:lnTo>
                    <a:lnTo>
                      <a:pt x="682" y="466"/>
                    </a:lnTo>
                    <a:lnTo>
                      <a:pt x="684" y="468"/>
                    </a:lnTo>
                    <a:lnTo>
                      <a:pt x="682" y="469"/>
                    </a:lnTo>
                    <a:lnTo>
                      <a:pt x="685" y="478"/>
                    </a:lnTo>
                    <a:lnTo>
                      <a:pt x="687" y="480"/>
                    </a:lnTo>
                    <a:lnTo>
                      <a:pt x="691" y="480"/>
                    </a:lnTo>
                    <a:lnTo>
                      <a:pt x="692" y="482"/>
                    </a:lnTo>
                    <a:lnTo>
                      <a:pt x="694" y="489"/>
                    </a:lnTo>
                    <a:lnTo>
                      <a:pt x="694" y="493"/>
                    </a:lnTo>
                    <a:lnTo>
                      <a:pt x="694" y="493"/>
                    </a:lnTo>
                    <a:lnTo>
                      <a:pt x="696" y="494"/>
                    </a:lnTo>
                    <a:lnTo>
                      <a:pt x="703" y="493"/>
                    </a:lnTo>
                    <a:lnTo>
                      <a:pt x="707" y="491"/>
                    </a:lnTo>
                    <a:lnTo>
                      <a:pt x="709" y="493"/>
                    </a:lnTo>
                    <a:lnTo>
                      <a:pt x="710" y="491"/>
                    </a:lnTo>
                    <a:lnTo>
                      <a:pt x="709" y="489"/>
                    </a:lnTo>
                    <a:lnTo>
                      <a:pt x="712" y="476"/>
                    </a:lnTo>
                    <a:lnTo>
                      <a:pt x="712" y="462"/>
                    </a:lnTo>
                    <a:lnTo>
                      <a:pt x="703" y="441"/>
                    </a:lnTo>
                    <a:lnTo>
                      <a:pt x="703" y="432"/>
                    </a:lnTo>
                    <a:lnTo>
                      <a:pt x="689" y="394"/>
                    </a:lnTo>
                    <a:lnTo>
                      <a:pt x="691" y="393"/>
                    </a:lnTo>
                    <a:lnTo>
                      <a:pt x="691" y="389"/>
                    </a:lnTo>
                    <a:lnTo>
                      <a:pt x="700" y="369"/>
                    </a:lnTo>
                    <a:lnTo>
                      <a:pt x="700" y="368"/>
                    </a:lnTo>
                    <a:lnTo>
                      <a:pt x="700" y="368"/>
                    </a:lnTo>
                    <a:lnTo>
                      <a:pt x="700" y="366"/>
                    </a:lnTo>
                    <a:lnTo>
                      <a:pt x="703" y="366"/>
                    </a:lnTo>
                    <a:lnTo>
                      <a:pt x="703" y="366"/>
                    </a:lnTo>
                    <a:lnTo>
                      <a:pt x="705" y="364"/>
                    </a:lnTo>
                    <a:lnTo>
                      <a:pt x="703" y="360"/>
                    </a:lnTo>
                    <a:lnTo>
                      <a:pt x="703" y="359"/>
                    </a:lnTo>
                    <a:lnTo>
                      <a:pt x="703" y="359"/>
                    </a:lnTo>
                    <a:lnTo>
                      <a:pt x="712" y="359"/>
                    </a:lnTo>
                    <a:lnTo>
                      <a:pt x="714" y="359"/>
                    </a:lnTo>
                    <a:lnTo>
                      <a:pt x="719" y="353"/>
                    </a:lnTo>
                    <a:lnTo>
                      <a:pt x="721" y="353"/>
                    </a:lnTo>
                    <a:lnTo>
                      <a:pt x="723" y="351"/>
                    </a:lnTo>
                    <a:lnTo>
                      <a:pt x="723" y="350"/>
                    </a:lnTo>
                    <a:lnTo>
                      <a:pt x="725" y="350"/>
                    </a:lnTo>
                    <a:lnTo>
                      <a:pt x="726" y="348"/>
                    </a:lnTo>
                    <a:lnTo>
                      <a:pt x="728" y="346"/>
                    </a:lnTo>
                    <a:lnTo>
                      <a:pt x="726" y="344"/>
                    </a:lnTo>
                    <a:lnTo>
                      <a:pt x="728" y="343"/>
                    </a:lnTo>
                    <a:lnTo>
                      <a:pt x="730" y="339"/>
                    </a:lnTo>
                    <a:lnTo>
                      <a:pt x="734" y="337"/>
                    </a:lnTo>
                    <a:lnTo>
                      <a:pt x="737" y="335"/>
                    </a:lnTo>
                    <a:lnTo>
                      <a:pt x="737" y="334"/>
                    </a:lnTo>
                    <a:lnTo>
                      <a:pt x="744" y="332"/>
                    </a:lnTo>
                    <a:lnTo>
                      <a:pt x="750" y="330"/>
                    </a:lnTo>
                    <a:lnTo>
                      <a:pt x="750" y="328"/>
                    </a:lnTo>
                    <a:lnTo>
                      <a:pt x="753" y="323"/>
                    </a:lnTo>
                    <a:lnTo>
                      <a:pt x="762" y="319"/>
                    </a:lnTo>
                    <a:lnTo>
                      <a:pt x="767" y="319"/>
                    </a:lnTo>
                    <a:lnTo>
                      <a:pt x="773" y="316"/>
                    </a:lnTo>
                    <a:lnTo>
                      <a:pt x="773" y="314"/>
                    </a:lnTo>
                    <a:lnTo>
                      <a:pt x="773" y="312"/>
                    </a:lnTo>
                    <a:lnTo>
                      <a:pt x="769" y="312"/>
                    </a:lnTo>
                    <a:lnTo>
                      <a:pt x="769" y="312"/>
                    </a:lnTo>
                    <a:lnTo>
                      <a:pt x="767" y="312"/>
                    </a:lnTo>
                    <a:lnTo>
                      <a:pt x="767" y="312"/>
                    </a:lnTo>
                    <a:lnTo>
                      <a:pt x="767" y="310"/>
                    </a:lnTo>
                    <a:lnTo>
                      <a:pt x="769" y="309"/>
                    </a:lnTo>
                    <a:lnTo>
                      <a:pt x="771" y="309"/>
                    </a:lnTo>
                    <a:lnTo>
                      <a:pt x="771" y="307"/>
                    </a:lnTo>
                    <a:lnTo>
                      <a:pt x="771" y="305"/>
                    </a:lnTo>
                    <a:lnTo>
                      <a:pt x="766" y="303"/>
                    </a:lnTo>
                    <a:lnTo>
                      <a:pt x="769" y="303"/>
                    </a:lnTo>
                    <a:lnTo>
                      <a:pt x="771" y="301"/>
                    </a:lnTo>
                    <a:lnTo>
                      <a:pt x="773" y="303"/>
                    </a:lnTo>
                    <a:lnTo>
                      <a:pt x="773" y="303"/>
                    </a:lnTo>
                    <a:lnTo>
                      <a:pt x="775" y="305"/>
                    </a:lnTo>
                    <a:lnTo>
                      <a:pt x="776" y="305"/>
                    </a:lnTo>
                    <a:lnTo>
                      <a:pt x="778" y="305"/>
                    </a:lnTo>
                    <a:lnTo>
                      <a:pt x="782" y="301"/>
                    </a:lnTo>
                    <a:lnTo>
                      <a:pt x="784" y="300"/>
                    </a:lnTo>
                    <a:lnTo>
                      <a:pt x="784" y="296"/>
                    </a:lnTo>
                    <a:lnTo>
                      <a:pt x="782" y="294"/>
                    </a:lnTo>
                    <a:lnTo>
                      <a:pt x="778" y="298"/>
                    </a:lnTo>
                    <a:lnTo>
                      <a:pt x="778" y="298"/>
                    </a:lnTo>
                    <a:lnTo>
                      <a:pt x="778" y="296"/>
                    </a:lnTo>
                    <a:lnTo>
                      <a:pt x="778" y="293"/>
                    </a:lnTo>
                    <a:lnTo>
                      <a:pt x="771" y="294"/>
                    </a:lnTo>
                    <a:lnTo>
                      <a:pt x="769" y="294"/>
                    </a:lnTo>
                    <a:lnTo>
                      <a:pt x="767" y="287"/>
                    </a:lnTo>
                    <a:lnTo>
                      <a:pt x="769" y="287"/>
                    </a:lnTo>
                    <a:lnTo>
                      <a:pt x="769" y="291"/>
                    </a:lnTo>
                    <a:lnTo>
                      <a:pt x="771" y="291"/>
                    </a:lnTo>
                    <a:lnTo>
                      <a:pt x="773" y="291"/>
                    </a:lnTo>
                    <a:lnTo>
                      <a:pt x="776" y="289"/>
                    </a:lnTo>
                    <a:lnTo>
                      <a:pt x="778" y="289"/>
                    </a:lnTo>
                    <a:lnTo>
                      <a:pt x="778" y="289"/>
                    </a:lnTo>
                    <a:lnTo>
                      <a:pt x="780" y="289"/>
                    </a:lnTo>
                    <a:lnTo>
                      <a:pt x="782" y="289"/>
                    </a:lnTo>
                    <a:lnTo>
                      <a:pt x="782" y="291"/>
                    </a:lnTo>
                    <a:lnTo>
                      <a:pt x="782" y="291"/>
                    </a:lnTo>
                    <a:lnTo>
                      <a:pt x="780" y="284"/>
                    </a:lnTo>
                    <a:lnTo>
                      <a:pt x="780" y="284"/>
                    </a:lnTo>
                    <a:lnTo>
                      <a:pt x="780" y="278"/>
                    </a:lnTo>
                    <a:lnTo>
                      <a:pt x="780" y="275"/>
                    </a:lnTo>
                    <a:lnTo>
                      <a:pt x="775" y="273"/>
                    </a:lnTo>
                    <a:lnTo>
                      <a:pt x="775" y="273"/>
                    </a:lnTo>
                    <a:lnTo>
                      <a:pt x="775" y="275"/>
                    </a:lnTo>
                    <a:lnTo>
                      <a:pt x="771" y="273"/>
                    </a:lnTo>
                    <a:lnTo>
                      <a:pt x="771" y="271"/>
                    </a:lnTo>
                    <a:lnTo>
                      <a:pt x="775" y="271"/>
                    </a:lnTo>
                    <a:lnTo>
                      <a:pt x="775" y="271"/>
                    </a:lnTo>
                    <a:lnTo>
                      <a:pt x="775" y="269"/>
                    </a:lnTo>
                    <a:lnTo>
                      <a:pt x="773" y="269"/>
                    </a:lnTo>
                    <a:lnTo>
                      <a:pt x="773" y="268"/>
                    </a:lnTo>
                    <a:lnTo>
                      <a:pt x="773" y="266"/>
                    </a:lnTo>
                    <a:lnTo>
                      <a:pt x="775" y="266"/>
                    </a:lnTo>
                    <a:lnTo>
                      <a:pt x="775" y="266"/>
                    </a:lnTo>
                    <a:lnTo>
                      <a:pt x="775" y="262"/>
                    </a:lnTo>
                    <a:lnTo>
                      <a:pt x="773" y="262"/>
                    </a:lnTo>
                    <a:lnTo>
                      <a:pt x="773" y="259"/>
                    </a:lnTo>
                    <a:lnTo>
                      <a:pt x="773" y="259"/>
                    </a:lnTo>
                    <a:lnTo>
                      <a:pt x="775" y="255"/>
                    </a:lnTo>
                    <a:lnTo>
                      <a:pt x="775" y="253"/>
                    </a:lnTo>
                    <a:lnTo>
                      <a:pt x="773" y="251"/>
                    </a:lnTo>
                    <a:lnTo>
                      <a:pt x="766" y="250"/>
                    </a:lnTo>
                    <a:lnTo>
                      <a:pt x="762" y="246"/>
                    </a:lnTo>
                    <a:lnTo>
                      <a:pt x="759" y="244"/>
                    </a:lnTo>
                    <a:lnTo>
                      <a:pt x="757" y="243"/>
                    </a:lnTo>
                    <a:lnTo>
                      <a:pt x="757" y="243"/>
                    </a:lnTo>
                    <a:lnTo>
                      <a:pt x="759" y="241"/>
                    </a:lnTo>
                    <a:lnTo>
                      <a:pt x="760" y="241"/>
                    </a:lnTo>
                    <a:lnTo>
                      <a:pt x="760" y="241"/>
                    </a:lnTo>
                    <a:lnTo>
                      <a:pt x="759" y="243"/>
                    </a:lnTo>
                    <a:lnTo>
                      <a:pt x="760" y="243"/>
                    </a:lnTo>
                    <a:lnTo>
                      <a:pt x="766" y="246"/>
                    </a:lnTo>
                    <a:lnTo>
                      <a:pt x="766" y="246"/>
                    </a:lnTo>
                    <a:lnTo>
                      <a:pt x="767" y="246"/>
                    </a:lnTo>
                    <a:lnTo>
                      <a:pt x="769" y="248"/>
                    </a:lnTo>
                    <a:lnTo>
                      <a:pt x="771" y="250"/>
                    </a:lnTo>
                    <a:lnTo>
                      <a:pt x="773" y="250"/>
                    </a:lnTo>
                    <a:lnTo>
                      <a:pt x="773" y="246"/>
                    </a:lnTo>
                    <a:lnTo>
                      <a:pt x="769" y="243"/>
                    </a:lnTo>
                    <a:lnTo>
                      <a:pt x="771" y="243"/>
                    </a:lnTo>
                    <a:lnTo>
                      <a:pt x="771" y="243"/>
                    </a:lnTo>
                    <a:lnTo>
                      <a:pt x="771" y="237"/>
                    </a:lnTo>
                    <a:lnTo>
                      <a:pt x="771" y="230"/>
                    </a:lnTo>
                    <a:lnTo>
                      <a:pt x="771" y="228"/>
                    </a:lnTo>
                    <a:lnTo>
                      <a:pt x="773" y="226"/>
                    </a:lnTo>
                    <a:lnTo>
                      <a:pt x="776" y="223"/>
                    </a:lnTo>
                    <a:lnTo>
                      <a:pt x="778" y="219"/>
                    </a:lnTo>
                    <a:lnTo>
                      <a:pt x="780" y="221"/>
                    </a:lnTo>
                    <a:lnTo>
                      <a:pt x="780" y="221"/>
                    </a:lnTo>
                    <a:lnTo>
                      <a:pt x="780" y="221"/>
                    </a:lnTo>
                    <a:lnTo>
                      <a:pt x="778" y="225"/>
                    </a:lnTo>
                    <a:lnTo>
                      <a:pt x="778" y="225"/>
                    </a:lnTo>
                    <a:lnTo>
                      <a:pt x="776" y="226"/>
                    </a:lnTo>
                    <a:lnTo>
                      <a:pt x="776" y="228"/>
                    </a:lnTo>
                    <a:lnTo>
                      <a:pt x="776" y="230"/>
                    </a:lnTo>
                    <a:lnTo>
                      <a:pt x="776" y="232"/>
                    </a:lnTo>
                    <a:lnTo>
                      <a:pt x="775" y="234"/>
                    </a:lnTo>
                    <a:lnTo>
                      <a:pt x="775" y="234"/>
                    </a:lnTo>
                    <a:lnTo>
                      <a:pt x="776" y="234"/>
                    </a:lnTo>
                    <a:lnTo>
                      <a:pt x="776" y="235"/>
                    </a:lnTo>
                    <a:lnTo>
                      <a:pt x="776" y="239"/>
                    </a:lnTo>
                    <a:lnTo>
                      <a:pt x="776" y="241"/>
                    </a:lnTo>
                    <a:lnTo>
                      <a:pt x="775" y="241"/>
                    </a:lnTo>
                    <a:lnTo>
                      <a:pt x="775" y="243"/>
                    </a:lnTo>
                    <a:lnTo>
                      <a:pt x="775" y="244"/>
                    </a:lnTo>
                    <a:lnTo>
                      <a:pt x="776" y="246"/>
                    </a:lnTo>
                    <a:lnTo>
                      <a:pt x="780" y="246"/>
                    </a:lnTo>
                    <a:lnTo>
                      <a:pt x="780" y="248"/>
                    </a:lnTo>
                    <a:lnTo>
                      <a:pt x="782" y="250"/>
                    </a:lnTo>
                    <a:lnTo>
                      <a:pt x="782" y="251"/>
                    </a:lnTo>
                    <a:lnTo>
                      <a:pt x="784" y="253"/>
                    </a:lnTo>
                    <a:lnTo>
                      <a:pt x="784" y="253"/>
                    </a:lnTo>
                    <a:lnTo>
                      <a:pt x="784" y="255"/>
                    </a:lnTo>
                    <a:lnTo>
                      <a:pt x="782" y="255"/>
                    </a:lnTo>
                    <a:lnTo>
                      <a:pt x="778" y="264"/>
                    </a:lnTo>
                    <a:lnTo>
                      <a:pt x="780" y="269"/>
                    </a:lnTo>
                    <a:lnTo>
                      <a:pt x="780" y="269"/>
                    </a:lnTo>
                    <a:lnTo>
                      <a:pt x="782" y="269"/>
                    </a:lnTo>
                    <a:lnTo>
                      <a:pt x="784" y="269"/>
                    </a:lnTo>
                    <a:lnTo>
                      <a:pt x="791" y="251"/>
                    </a:lnTo>
                    <a:lnTo>
                      <a:pt x="791" y="250"/>
                    </a:lnTo>
                    <a:lnTo>
                      <a:pt x="792" y="246"/>
                    </a:lnTo>
                    <a:lnTo>
                      <a:pt x="794" y="241"/>
                    </a:lnTo>
                    <a:lnTo>
                      <a:pt x="785" y="223"/>
                    </a:lnTo>
                    <a:lnTo>
                      <a:pt x="785" y="221"/>
                    </a:lnTo>
                    <a:lnTo>
                      <a:pt x="789" y="225"/>
                    </a:lnTo>
                    <a:lnTo>
                      <a:pt x="792" y="226"/>
                    </a:lnTo>
                    <a:lnTo>
                      <a:pt x="794" y="228"/>
                    </a:lnTo>
                    <a:lnTo>
                      <a:pt x="796" y="228"/>
                    </a:lnTo>
                    <a:lnTo>
                      <a:pt x="796" y="232"/>
                    </a:lnTo>
                    <a:lnTo>
                      <a:pt x="798" y="232"/>
                    </a:lnTo>
                    <a:lnTo>
                      <a:pt x="805" y="221"/>
                    </a:lnTo>
                    <a:lnTo>
                      <a:pt x="805" y="219"/>
                    </a:lnTo>
                    <a:lnTo>
                      <a:pt x="807" y="219"/>
                    </a:lnTo>
                    <a:lnTo>
                      <a:pt x="809" y="218"/>
                    </a:lnTo>
                    <a:lnTo>
                      <a:pt x="809" y="212"/>
                    </a:lnTo>
                    <a:lnTo>
                      <a:pt x="809" y="212"/>
                    </a:lnTo>
                    <a:lnTo>
                      <a:pt x="810" y="212"/>
                    </a:lnTo>
                    <a:lnTo>
                      <a:pt x="810" y="212"/>
                    </a:lnTo>
                    <a:lnTo>
                      <a:pt x="812" y="207"/>
                    </a:lnTo>
                    <a:lnTo>
                      <a:pt x="812" y="205"/>
                    </a:lnTo>
                    <a:lnTo>
                      <a:pt x="810" y="203"/>
                    </a:lnTo>
                    <a:lnTo>
                      <a:pt x="809" y="201"/>
                    </a:lnTo>
                    <a:lnTo>
                      <a:pt x="807" y="201"/>
                    </a:lnTo>
                    <a:lnTo>
                      <a:pt x="807" y="200"/>
                    </a:lnTo>
                    <a:lnTo>
                      <a:pt x="812" y="193"/>
                    </a:lnTo>
                    <a:lnTo>
                      <a:pt x="814" y="193"/>
                    </a:lnTo>
                    <a:lnTo>
                      <a:pt x="816" y="191"/>
                    </a:lnTo>
                    <a:lnTo>
                      <a:pt x="826" y="187"/>
                    </a:lnTo>
                    <a:lnTo>
                      <a:pt x="826" y="185"/>
                    </a:lnTo>
                    <a:lnTo>
                      <a:pt x="830" y="184"/>
                    </a:lnTo>
                    <a:lnTo>
                      <a:pt x="834" y="185"/>
                    </a:lnTo>
                    <a:lnTo>
                      <a:pt x="851" y="182"/>
                    </a:lnTo>
                    <a:lnTo>
                      <a:pt x="853" y="180"/>
                    </a:lnTo>
                    <a:lnTo>
                      <a:pt x="855" y="176"/>
                    </a:lnTo>
                    <a:lnTo>
                      <a:pt x="855" y="175"/>
                    </a:lnTo>
                    <a:lnTo>
                      <a:pt x="857" y="176"/>
                    </a:lnTo>
                    <a:lnTo>
                      <a:pt x="857" y="178"/>
                    </a:lnTo>
                    <a:lnTo>
                      <a:pt x="859" y="178"/>
                    </a:lnTo>
                    <a:lnTo>
                      <a:pt x="860" y="178"/>
                    </a:lnTo>
                    <a:lnTo>
                      <a:pt x="864" y="176"/>
                    </a:lnTo>
                    <a:lnTo>
                      <a:pt x="866" y="176"/>
                    </a:lnTo>
                    <a:lnTo>
                      <a:pt x="866" y="178"/>
                    </a:lnTo>
                    <a:lnTo>
                      <a:pt x="867" y="178"/>
                    </a:lnTo>
                    <a:lnTo>
                      <a:pt x="871" y="176"/>
                    </a:lnTo>
                    <a:lnTo>
                      <a:pt x="873" y="178"/>
                    </a:lnTo>
                    <a:lnTo>
                      <a:pt x="876" y="175"/>
                    </a:lnTo>
                    <a:lnTo>
                      <a:pt x="876" y="175"/>
                    </a:lnTo>
                    <a:lnTo>
                      <a:pt x="876" y="171"/>
                    </a:lnTo>
                    <a:lnTo>
                      <a:pt x="876" y="169"/>
                    </a:lnTo>
                    <a:lnTo>
                      <a:pt x="875" y="169"/>
                    </a:lnTo>
                    <a:lnTo>
                      <a:pt x="875" y="173"/>
                    </a:lnTo>
                    <a:lnTo>
                      <a:pt x="875" y="175"/>
                    </a:lnTo>
                    <a:lnTo>
                      <a:pt x="873" y="175"/>
                    </a:lnTo>
                    <a:lnTo>
                      <a:pt x="867" y="173"/>
                    </a:lnTo>
                    <a:lnTo>
                      <a:pt x="866" y="169"/>
                    </a:lnTo>
                    <a:lnTo>
                      <a:pt x="864" y="169"/>
                    </a:lnTo>
                    <a:lnTo>
                      <a:pt x="864" y="166"/>
                    </a:lnTo>
                    <a:lnTo>
                      <a:pt x="862" y="164"/>
                    </a:lnTo>
                    <a:lnTo>
                      <a:pt x="860" y="162"/>
                    </a:lnTo>
                    <a:lnTo>
                      <a:pt x="860" y="162"/>
                    </a:lnTo>
                    <a:lnTo>
                      <a:pt x="860" y="160"/>
                    </a:lnTo>
                    <a:lnTo>
                      <a:pt x="860" y="160"/>
                    </a:lnTo>
                    <a:lnTo>
                      <a:pt x="862" y="159"/>
                    </a:lnTo>
                    <a:lnTo>
                      <a:pt x="862" y="157"/>
                    </a:lnTo>
                    <a:lnTo>
                      <a:pt x="864" y="157"/>
                    </a:lnTo>
                    <a:lnTo>
                      <a:pt x="860" y="150"/>
                    </a:lnTo>
                    <a:lnTo>
                      <a:pt x="862" y="146"/>
                    </a:lnTo>
                    <a:lnTo>
                      <a:pt x="867" y="143"/>
                    </a:lnTo>
                    <a:lnTo>
                      <a:pt x="871" y="135"/>
                    </a:lnTo>
                    <a:lnTo>
                      <a:pt x="873" y="132"/>
                    </a:lnTo>
                    <a:lnTo>
                      <a:pt x="875" y="130"/>
                    </a:lnTo>
                    <a:lnTo>
                      <a:pt x="876" y="128"/>
                    </a:lnTo>
                    <a:lnTo>
                      <a:pt x="878" y="128"/>
                    </a:lnTo>
                    <a:lnTo>
                      <a:pt x="878" y="132"/>
                    </a:lnTo>
                    <a:lnTo>
                      <a:pt x="878" y="132"/>
                    </a:lnTo>
                    <a:lnTo>
                      <a:pt x="880" y="130"/>
                    </a:lnTo>
                    <a:lnTo>
                      <a:pt x="880" y="126"/>
                    </a:lnTo>
                    <a:lnTo>
                      <a:pt x="882" y="126"/>
                    </a:lnTo>
                    <a:lnTo>
                      <a:pt x="882" y="128"/>
                    </a:lnTo>
                    <a:lnTo>
                      <a:pt x="884" y="128"/>
                    </a:lnTo>
                    <a:lnTo>
                      <a:pt x="885" y="128"/>
                    </a:lnTo>
                    <a:lnTo>
                      <a:pt x="885" y="126"/>
                    </a:lnTo>
                    <a:lnTo>
                      <a:pt x="887" y="125"/>
                    </a:lnTo>
                    <a:lnTo>
                      <a:pt x="889" y="125"/>
                    </a:lnTo>
                    <a:lnTo>
                      <a:pt x="889" y="125"/>
                    </a:lnTo>
                    <a:lnTo>
                      <a:pt x="891" y="123"/>
                    </a:lnTo>
                    <a:lnTo>
                      <a:pt x="891" y="121"/>
                    </a:lnTo>
                    <a:lnTo>
                      <a:pt x="892" y="119"/>
                    </a:lnTo>
                    <a:lnTo>
                      <a:pt x="892" y="116"/>
                    </a:lnTo>
                    <a:lnTo>
                      <a:pt x="894" y="114"/>
                    </a:lnTo>
                    <a:lnTo>
                      <a:pt x="894" y="114"/>
                    </a:lnTo>
                    <a:lnTo>
                      <a:pt x="896" y="114"/>
                    </a:lnTo>
                    <a:lnTo>
                      <a:pt x="896" y="116"/>
                    </a:lnTo>
                    <a:lnTo>
                      <a:pt x="896" y="118"/>
                    </a:lnTo>
                    <a:lnTo>
                      <a:pt x="898" y="118"/>
                    </a:lnTo>
                    <a:lnTo>
                      <a:pt x="900" y="118"/>
                    </a:lnTo>
                    <a:lnTo>
                      <a:pt x="901" y="119"/>
                    </a:lnTo>
                    <a:lnTo>
                      <a:pt x="903" y="119"/>
                    </a:lnTo>
                    <a:lnTo>
                      <a:pt x="905" y="118"/>
                    </a:lnTo>
                    <a:lnTo>
                      <a:pt x="907" y="116"/>
                    </a:lnTo>
                    <a:lnTo>
                      <a:pt x="909" y="116"/>
                    </a:lnTo>
                    <a:lnTo>
                      <a:pt x="910" y="116"/>
                    </a:lnTo>
                    <a:lnTo>
                      <a:pt x="910" y="114"/>
                    </a:lnTo>
                    <a:lnTo>
                      <a:pt x="916" y="112"/>
                    </a:lnTo>
                    <a:lnTo>
                      <a:pt x="916" y="112"/>
                    </a:lnTo>
                    <a:lnTo>
                      <a:pt x="917" y="112"/>
                    </a:lnTo>
                    <a:lnTo>
                      <a:pt x="919" y="110"/>
                    </a:lnTo>
                    <a:lnTo>
                      <a:pt x="921" y="110"/>
                    </a:lnTo>
                    <a:lnTo>
                      <a:pt x="923" y="109"/>
                    </a:lnTo>
                    <a:lnTo>
                      <a:pt x="925" y="107"/>
                    </a:lnTo>
                    <a:lnTo>
                      <a:pt x="923" y="10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03" name="Freeform 1851"/>
              <p:cNvSpPr>
                <a:spLocks/>
              </p:cNvSpPr>
              <p:nvPr/>
            </p:nvSpPr>
            <p:spPr bwMode="auto">
              <a:xfrm>
                <a:off x="702" y="1806"/>
                <a:ext cx="925" cy="494"/>
              </a:xfrm>
              <a:custGeom>
                <a:avLst/>
                <a:gdLst>
                  <a:gd name="T0" fmla="*/ 901 w 925"/>
                  <a:gd name="T1" fmla="*/ 50 h 494"/>
                  <a:gd name="T2" fmla="*/ 864 w 925"/>
                  <a:gd name="T3" fmla="*/ 96 h 494"/>
                  <a:gd name="T4" fmla="*/ 775 w 925"/>
                  <a:gd name="T5" fmla="*/ 125 h 494"/>
                  <a:gd name="T6" fmla="*/ 757 w 925"/>
                  <a:gd name="T7" fmla="*/ 141 h 494"/>
                  <a:gd name="T8" fmla="*/ 680 w 925"/>
                  <a:gd name="T9" fmla="*/ 178 h 494"/>
                  <a:gd name="T10" fmla="*/ 669 w 925"/>
                  <a:gd name="T11" fmla="*/ 155 h 494"/>
                  <a:gd name="T12" fmla="*/ 653 w 925"/>
                  <a:gd name="T13" fmla="*/ 126 h 494"/>
                  <a:gd name="T14" fmla="*/ 650 w 925"/>
                  <a:gd name="T15" fmla="*/ 93 h 494"/>
                  <a:gd name="T16" fmla="*/ 625 w 925"/>
                  <a:gd name="T17" fmla="*/ 107 h 494"/>
                  <a:gd name="T18" fmla="*/ 614 w 925"/>
                  <a:gd name="T19" fmla="*/ 155 h 494"/>
                  <a:gd name="T20" fmla="*/ 589 w 925"/>
                  <a:gd name="T21" fmla="*/ 105 h 494"/>
                  <a:gd name="T22" fmla="*/ 637 w 925"/>
                  <a:gd name="T23" fmla="*/ 84 h 494"/>
                  <a:gd name="T24" fmla="*/ 646 w 925"/>
                  <a:gd name="T25" fmla="*/ 69 h 494"/>
                  <a:gd name="T26" fmla="*/ 592 w 925"/>
                  <a:gd name="T27" fmla="*/ 64 h 494"/>
                  <a:gd name="T28" fmla="*/ 557 w 925"/>
                  <a:gd name="T29" fmla="*/ 62 h 494"/>
                  <a:gd name="T30" fmla="*/ 559 w 925"/>
                  <a:gd name="T31" fmla="*/ 34 h 494"/>
                  <a:gd name="T32" fmla="*/ 500 w 925"/>
                  <a:gd name="T33" fmla="*/ 19 h 494"/>
                  <a:gd name="T34" fmla="*/ 30 w 925"/>
                  <a:gd name="T35" fmla="*/ 10 h 494"/>
                  <a:gd name="T36" fmla="*/ 37 w 925"/>
                  <a:gd name="T37" fmla="*/ 25 h 494"/>
                  <a:gd name="T38" fmla="*/ 30 w 925"/>
                  <a:gd name="T39" fmla="*/ 37 h 494"/>
                  <a:gd name="T40" fmla="*/ 9 w 925"/>
                  <a:gd name="T41" fmla="*/ 57 h 494"/>
                  <a:gd name="T42" fmla="*/ 12 w 925"/>
                  <a:gd name="T43" fmla="*/ 66 h 494"/>
                  <a:gd name="T44" fmla="*/ 12 w 925"/>
                  <a:gd name="T45" fmla="*/ 93 h 494"/>
                  <a:gd name="T46" fmla="*/ 16 w 925"/>
                  <a:gd name="T47" fmla="*/ 219 h 494"/>
                  <a:gd name="T48" fmla="*/ 41 w 925"/>
                  <a:gd name="T49" fmla="*/ 250 h 494"/>
                  <a:gd name="T50" fmla="*/ 44 w 925"/>
                  <a:gd name="T51" fmla="*/ 273 h 494"/>
                  <a:gd name="T52" fmla="*/ 75 w 925"/>
                  <a:gd name="T53" fmla="*/ 323 h 494"/>
                  <a:gd name="T54" fmla="*/ 107 w 925"/>
                  <a:gd name="T55" fmla="*/ 337 h 494"/>
                  <a:gd name="T56" fmla="*/ 316 w 925"/>
                  <a:gd name="T57" fmla="*/ 394 h 494"/>
                  <a:gd name="T58" fmla="*/ 410 w 925"/>
                  <a:gd name="T59" fmla="*/ 471 h 494"/>
                  <a:gd name="T60" fmla="*/ 437 w 925"/>
                  <a:gd name="T61" fmla="*/ 459 h 494"/>
                  <a:gd name="T62" fmla="*/ 444 w 925"/>
                  <a:gd name="T63" fmla="*/ 441 h 494"/>
                  <a:gd name="T64" fmla="*/ 453 w 925"/>
                  <a:gd name="T65" fmla="*/ 430 h 494"/>
                  <a:gd name="T66" fmla="*/ 457 w 925"/>
                  <a:gd name="T67" fmla="*/ 435 h 494"/>
                  <a:gd name="T68" fmla="*/ 517 w 925"/>
                  <a:gd name="T69" fmla="*/ 414 h 494"/>
                  <a:gd name="T70" fmla="*/ 546 w 925"/>
                  <a:gd name="T71" fmla="*/ 421 h 494"/>
                  <a:gd name="T72" fmla="*/ 559 w 925"/>
                  <a:gd name="T73" fmla="*/ 414 h 494"/>
                  <a:gd name="T74" fmla="*/ 550 w 925"/>
                  <a:gd name="T75" fmla="*/ 405 h 494"/>
                  <a:gd name="T76" fmla="*/ 596 w 925"/>
                  <a:gd name="T77" fmla="*/ 400 h 494"/>
                  <a:gd name="T78" fmla="*/ 630 w 925"/>
                  <a:gd name="T79" fmla="*/ 410 h 494"/>
                  <a:gd name="T80" fmla="*/ 669 w 925"/>
                  <a:gd name="T81" fmla="*/ 421 h 494"/>
                  <a:gd name="T82" fmla="*/ 682 w 925"/>
                  <a:gd name="T83" fmla="*/ 466 h 494"/>
                  <a:gd name="T84" fmla="*/ 710 w 925"/>
                  <a:gd name="T85" fmla="*/ 491 h 494"/>
                  <a:gd name="T86" fmla="*/ 703 w 925"/>
                  <a:gd name="T87" fmla="*/ 366 h 494"/>
                  <a:gd name="T88" fmla="*/ 726 w 925"/>
                  <a:gd name="T89" fmla="*/ 344 h 494"/>
                  <a:gd name="T90" fmla="*/ 773 w 925"/>
                  <a:gd name="T91" fmla="*/ 312 h 494"/>
                  <a:gd name="T92" fmla="*/ 773 w 925"/>
                  <a:gd name="T93" fmla="*/ 303 h 494"/>
                  <a:gd name="T94" fmla="*/ 767 w 925"/>
                  <a:gd name="T95" fmla="*/ 287 h 494"/>
                  <a:gd name="T96" fmla="*/ 780 w 925"/>
                  <a:gd name="T97" fmla="*/ 278 h 494"/>
                  <a:gd name="T98" fmla="*/ 775 w 925"/>
                  <a:gd name="T99" fmla="*/ 266 h 494"/>
                  <a:gd name="T100" fmla="*/ 760 w 925"/>
                  <a:gd name="T101" fmla="*/ 241 h 494"/>
                  <a:gd name="T102" fmla="*/ 771 w 925"/>
                  <a:gd name="T103" fmla="*/ 237 h 494"/>
                  <a:gd name="T104" fmla="*/ 776 w 925"/>
                  <a:gd name="T105" fmla="*/ 232 h 494"/>
                  <a:gd name="T106" fmla="*/ 782 w 925"/>
                  <a:gd name="T107" fmla="*/ 251 h 494"/>
                  <a:gd name="T108" fmla="*/ 785 w 925"/>
                  <a:gd name="T109" fmla="*/ 223 h 494"/>
                  <a:gd name="T110" fmla="*/ 810 w 925"/>
                  <a:gd name="T111" fmla="*/ 212 h 494"/>
                  <a:gd name="T112" fmla="*/ 834 w 925"/>
                  <a:gd name="T113" fmla="*/ 185 h 494"/>
                  <a:gd name="T114" fmla="*/ 873 w 925"/>
                  <a:gd name="T115" fmla="*/ 178 h 494"/>
                  <a:gd name="T116" fmla="*/ 860 w 925"/>
                  <a:gd name="T117" fmla="*/ 162 h 494"/>
                  <a:gd name="T118" fmla="*/ 878 w 925"/>
                  <a:gd name="T119" fmla="*/ 128 h 494"/>
                  <a:gd name="T120" fmla="*/ 891 w 925"/>
                  <a:gd name="T121" fmla="*/ 121 h 494"/>
                  <a:gd name="T122" fmla="*/ 909 w 925"/>
                  <a:gd name="T123" fmla="*/ 116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5" h="494">
                    <a:moveTo>
                      <a:pt x="923" y="107"/>
                    </a:moveTo>
                    <a:lnTo>
                      <a:pt x="921" y="105"/>
                    </a:lnTo>
                    <a:lnTo>
                      <a:pt x="921" y="105"/>
                    </a:lnTo>
                    <a:lnTo>
                      <a:pt x="923" y="103"/>
                    </a:lnTo>
                    <a:lnTo>
                      <a:pt x="923" y="98"/>
                    </a:lnTo>
                    <a:lnTo>
                      <a:pt x="921" y="100"/>
                    </a:lnTo>
                    <a:lnTo>
                      <a:pt x="921" y="100"/>
                    </a:lnTo>
                    <a:lnTo>
                      <a:pt x="917" y="100"/>
                    </a:lnTo>
                    <a:lnTo>
                      <a:pt x="916" y="98"/>
                    </a:lnTo>
                    <a:lnTo>
                      <a:pt x="914" y="94"/>
                    </a:lnTo>
                    <a:lnTo>
                      <a:pt x="914" y="91"/>
                    </a:lnTo>
                    <a:lnTo>
                      <a:pt x="910" y="87"/>
                    </a:lnTo>
                    <a:lnTo>
                      <a:pt x="910" y="57"/>
                    </a:lnTo>
                    <a:lnTo>
                      <a:pt x="901" y="50"/>
                    </a:lnTo>
                    <a:lnTo>
                      <a:pt x="900" y="50"/>
                    </a:lnTo>
                    <a:lnTo>
                      <a:pt x="898" y="51"/>
                    </a:lnTo>
                    <a:lnTo>
                      <a:pt x="892" y="53"/>
                    </a:lnTo>
                    <a:lnTo>
                      <a:pt x="889" y="51"/>
                    </a:lnTo>
                    <a:lnTo>
                      <a:pt x="887" y="50"/>
                    </a:lnTo>
                    <a:lnTo>
                      <a:pt x="885" y="48"/>
                    </a:lnTo>
                    <a:lnTo>
                      <a:pt x="884" y="46"/>
                    </a:lnTo>
                    <a:lnTo>
                      <a:pt x="882" y="48"/>
                    </a:lnTo>
                    <a:lnTo>
                      <a:pt x="869" y="78"/>
                    </a:lnTo>
                    <a:lnTo>
                      <a:pt x="867" y="89"/>
                    </a:lnTo>
                    <a:lnTo>
                      <a:pt x="864" y="93"/>
                    </a:lnTo>
                    <a:lnTo>
                      <a:pt x="864" y="94"/>
                    </a:lnTo>
                    <a:lnTo>
                      <a:pt x="866" y="96"/>
                    </a:lnTo>
                    <a:lnTo>
                      <a:pt x="864" y="96"/>
                    </a:lnTo>
                    <a:lnTo>
                      <a:pt x="862" y="94"/>
                    </a:lnTo>
                    <a:lnTo>
                      <a:pt x="862" y="96"/>
                    </a:lnTo>
                    <a:lnTo>
                      <a:pt x="862" y="98"/>
                    </a:lnTo>
                    <a:lnTo>
                      <a:pt x="859" y="96"/>
                    </a:lnTo>
                    <a:lnTo>
                      <a:pt x="855" y="98"/>
                    </a:lnTo>
                    <a:lnTo>
                      <a:pt x="853" y="98"/>
                    </a:lnTo>
                    <a:lnTo>
                      <a:pt x="851" y="100"/>
                    </a:lnTo>
                    <a:lnTo>
                      <a:pt x="850" y="103"/>
                    </a:lnTo>
                    <a:lnTo>
                      <a:pt x="794" y="103"/>
                    </a:lnTo>
                    <a:lnTo>
                      <a:pt x="784" y="110"/>
                    </a:lnTo>
                    <a:lnTo>
                      <a:pt x="780" y="118"/>
                    </a:lnTo>
                    <a:lnTo>
                      <a:pt x="775" y="121"/>
                    </a:lnTo>
                    <a:lnTo>
                      <a:pt x="773" y="123"/>
                    </a:lnTo>
                    <a:lnTo>
                      <a:pt x="775" y="125"/>
                    </a:lnTo>
                    <a:lnTo>
                      <a:pt x="776" y="125"/>
                    </a:lnTo>
                    <a:lnTo>
                      <a:pt x="776" y="125"/>
                    </a:lnTo>
                    <a:lnTo>
                      <a:pt x="776" y="126"/>
                    </a:lnTo>
                    <a:lnTo>
                      <a:pt x="776" y="128"/>
                    </a:lnTo>
                    <a:lnTo>
                      <a:pt x="775" y="126"/>
                    </a:lnTo>
                    <a:lnTo>
                      <a:pt x="775" y="128"/>
                    </a:lnTo>
                    <a:lnTo>
                      <a:pt x="775" y="128"/>
                    </a:lnTo>
                    <a:lnTo>
                      <a:pt x="776" y="130"/>
                    </a:lnTo>
                    <a:lnTo>
                      <a:pt x="776" y="134"/>
                    </a:lnTo>
                    <a:lnTo>
                      <a:pt x="776" y="135"/>
                    </a:lnTo>
                    <a:lnTo>
                      <a:pt x="771" y="135"/>
                    </a:lnTo>
                    <a:lnTo>
                      <a:pt x="766" y="141"/>
                    </a:lnTo>
                    <a:lnTo>
                      <a:pt x="764" y="141"/>
                    </a:lnTo>
                    <a:lnTo>
                      <a:pt x="757" y="141"/>
                    </a:lnTo>
                    <a:lnTo>
                      <a:pt x="757" y="141"/>
                    </a:lnTo>
                    <a:lnTo>
                      <a:pt x="753" y="143"/>
                    </a:lnTo>
                    <a:lnTo>
                      <a:pt x="751" y="139"/>
                    </a:lnTo>
                    <a:lnTo>
                      <a:pt x="744" y="139"/>
                    </a:lnTo>
                    <a:lnTo>
                      <a:pt x="730" y="143"/>
                    </a:lnTo>
                    <a:lnTo>
                      <a:pt x="734" y="151"/>
                    </a:lnTo>
                    <a:lnTo>
                      <a:pt x="728" y="155"/>
                    </a:lnTo>
                    <a:lnTo>
                      <a:pt x="728" y="157"/>
                    </a:lnTo>
                    <a:lnTo>
                      <a:pt x="726" y="157"/>
                    </a:lnTo>
                    <a:lnTo>
                      <a:pt x="726" y="157"/>
                    </a:lnTo>
                    <a:lnTo>
                      <a:pt x="716" y="166"/>
                    </a:lnTo>
                    <a:lnTo>
                      <a:pt x="712" y="166"/>
                    </a:lnTo>
                    <a:lnTo>
                      <a:pt x="685" y="178"/>
                    </a:lnTo>
                    <a:lnTo>
                      <a:pt x="680" y="178"/>
                    </a:lnTo>
                    <a:lnTo>
                      <a:pt x="675" y="180"/>
                    </a:lnTo>
                    <a:lnTo>
                      <a:pt x="669" y="180"/>
                    </a:lnTo>
                    <a:lnTo>
                      <a:pt x="669" y="178"/>
                    </a:lnTo>
                    <a:lnTo>
                      <a:pt x="667" y="178"/>
                    </a:lnTo>
                    <a:lnTo>
                      <a:pt x="666" y="178"/>
                    </a:lnTo>
                    <a:lnTo>
                      <a:pt x="664" y="176"/>
                    </a:lnTo>
                    <a:lnTo>
                      <a:pt x="659" y="175"/>
                    </a:lnTo>
                    <a:lnTo>
                      <a:pt x="664" y="169"/>
                    </a:lnTo>
                    <a:lnTo>
                      <a:pt x="664" y="166"/>
                    </a:lnTo>
                    <a:lnTo>
                      <a:pt x="666" y="162"/>
                    </a:lnTo>
                    <a:lnTo>
                      <a:pt x="667" y="160"/>
                    </a:lnTo>
                    <a:lnTo>
                      <a:pt x="667" y="159"/>
                    </a:lnTo>
                    <a:lnTo>
                      <a:pt x="667" y="157"/>
                    </a:lnTo>
                    <a:lnTo>
                      <a:pt x="669" y="155"/>
                    </a:lnTo>
                    <a:lnTo>
                      <a:pt x="673" y="155"/>
                    </a:lnTo>
                    <a:lnTo>
                      <a:pt x="676" y="146"/>
                    </a:lnTo>
                    <a:lnTo>
                      <a:pt x="675" y="146"/>
                    </a:lnTo>
                    <a:lnTo>
                      <a:pt x="673" y="143"/>
                    </a:lnTo>
                    <a:lnTo>
                      <a:pt x="673" y="134"/>
                    </a:lnTo>
                    <a:lnTo>
                      <a:pt x="667" y="123"/>
                    </a:lnTo>
                    <a:lnTo>
                      <a:pt x="666" y="125"/>
                    </a:lnTo>
                    <a:lnTo>
                      <a:pt x="660" y="126"/>
                    </a:lnTo>
                    <a:lnTo>
                      <a:pt x="660" y="126"/>
                    </a:lnTo>
                    <a:lnTo>
                      <a:pt x="659" y="132"/>
                    </a:lnTo>
                    <a:lnTo>
                      <a:pt x="653" y="134"/>
                    </a:lnTo>
                    <a:lnTo>
                      <a:pt x="651" y="132"/>
                    </a:lnTo>
                    <a:lnTo>
                      <a:pt x="651" y="132"/>
                    </a:lnTo>
                    <a:lnTo>
                      <a:pt x="653" y="126"/>
                    </a:lnTo>
                    <a:lnTo>
                      <a:pt x="657" y="123"/>
                    </a:lnTo>
                    <a:lnTo>
                      <a:pt x="659" y="119"/>
                    </a:lnTo>
                    <a:lnTo>
                      <a:pt x="660" y="118"/>
                    </a:lnTo>
                    <a:lnTo>
                      <a:pt x="660" y="116"/>
                    </a:lnTo>
                    <a:lnTo>
                      <a:pt x="660" y="107"/>
                    </a:lnTo>
                    <a:lnTo>
                      <a:pt x="659" y="105"/>
                    </a:lnTo>
                    <a:lnTo>
                      <a:pt x="659" y="103"/>
                    </a:lnTo>
                    <a:lnTo>
                      <a:pt x="660" y="101"/>
                    </a:lnTo>
                    <a:lnTo>
                      <a:pt x="660" y="101"/>
                    </a:lnTo>
                    <a:lnTo>
                      <a:pt x="659" y="98"/>
                    </a:lnTo>
                    <a:lnTo>
                      <a:pt x="657" y="96"/>
                    </a:lnTo>
                    <a:lnTo>
                      <a:pt x="651" y="94"/>
                    </a:lnTo>
                    <a:lnTo>
                      <a:pt x="650" y="93"/>
                    </a:lnTo>
                    <a:lnTo>
                      <a:pt x="650" y="93"/>
                    </a:lnTo>
                    <a:lnTo>
                      <a:pt x="646" y="89"/>
                    </a:lnTo>
                    <a:lnTo>
                      <a:pt x="644" y="89"/>
                    </a:lnTo>
                    <a:lnTo>
                      <a:pt x="642" y="89"/>
                    </a:lnTo>
                    <a:lnTo>
                      <a:pt x="641" y="87"/>
                    </a:lnTo>
                    <a:lnTo>
                      <a:pt x="637" y="87"/>
                    </a:lnTo>
                    <a:lnTo>
                      <a:pt x="634" y="87"/>
                    </a:lnTo>
                    <a:lnTo>
                      <a:pt x="634" y="89"/>
                    </a:lnTo>
                    <a:lnTo>
                      <a:pt x="634" y="93"/>
                    </a:lnTo>
                    <a:lnTo>
                      <a:pt x="635" y="94"/>
                    </a:lnTo>
                    <a:lnTo>
                      <a:pt x="634" y="94"/>
                    </a:lnTo>
                    <a:lnTo>
                      <a:pt x="628" y="98"/>
                    </a:lnTo>
                    <a:lnTo>
                      <a:pt x="626" y="105"/>
                    </a:lnTo>
                    <a:lnTo>
                      <a:pt x="625" y="105"/>
                    </a:lnTo>
                    <a:lnTo>
                      <a:pt x="625" y="107"/>
                    </a:lnTo>
                    <a:lnTo>
                      <a:pt x="625" y="105"/>
                    </a:lnTo>
                    <a:lnTo>
                      <a:pt x="623" y="101"/>
                    </a:lnTo>
                    <a:lnTo>
                      <a:pt x="623" y="100"/>
                    </a:lnTo>
                    <a:lnTo>
                      <a:pt x="621" y="101"/>
                    </a:lnTo>
                    <a:lnTo>
                      <a:pt x="619" y="103"/>
                    </a:lnTo>
                    <a:lnTo>
                      <a:pt x="616" y="105"/>
                    </a:lnTo>
                    <a:lnTo>
                      <a:pt x="616" y="109"/>
                    </a:lnTo>
                    <a:lnTo>
                      <a:pt x="614" y="110"/>
                    </a:lnTo>
                    <a:lnTo>
                      <a:pt x="612" y="119"/>
                    </a:lnTo>
                    <a:lnTo>
                      <a:pt x="614" y="119"/>
                    </a:lnTo>
                    <a:lnTo>
                      <a:pt x="612" y="121"/>
                    </a:lnTo>
                    <a:lnTo>
                      <a:pt x="609" y="134"/>
                    </a:lnTo>
                    <a:lnTo>
                      <a:pt x="614" y="144"/>
                    </a:lnTo>
                    <a:lnTo>
                      <a:pt x="614" y="155"/>
                    </a:lnTo>
                    <a:lnTo>
                      <a:pt x="607" y="171"/>
                    </a:lnTo>
                    <a:lnTo>
                      <a:pt x="600" y="176"/>
                    </a:lnTo>
                    <a:lnTo>
                      <a:pt x="596" y="176"/>
                    </a:lnTo>
                    <a:lnTo>
                      <a:pt x="594" y="175"/>
                    </a:lnTo>
                    <a:lnTo>
                      <a:pt x="589" y="162"/>
                    </a:lnTo>
                    <a:lnTo>
                      <a:pt x="587" y="143"/>
                    </a:lnTo>
                    <a:lnTo>
                      <a:pt x="601" y="100"/>
                    </a:lnTo>
                    <a:lnTo>
                      <a:pt x="600" y="98"/>
                    </a:lnTo>
                    <a:lnTo>
                      <a:pt x="596" y="101"/>
                    </a:lnTo>
                    <a:lnTo>
                      <a:pt x="596" y="107"/>
                    </a:lnTo>
                    <a:lnTo>
                      <a:pt x="592" y="107"/>
                    </a:lnTo>
                    <a:lnTo>
                      <a:pt x="587" y="114"/>
                    </a:lnTo>
                    <a:lnTo>
                      <a:pt x="587" y="112"/>
                    </a:lnTo>
                    <a:lnTo>
                      <a:pt x="589" y="105"/>
                    </a:lnTo>
                    <a:lnTo>
                      <a:pt x="591" y="105"/>
                    </a:lnTo>
                    <a:lnTo>
                      <a:pt x="603" y="85"/>
                    </a:lnTo>
                    <a:lnTo>
                      <a:pt x="603" y="87"/>
                    </a:lnTo>
                    <a:lnTo>
                      <a:pt x="607" y="85"/>
                    </a:lnTo>
                    <a:lnTo>
                      <a:pt x="609" y="84"/>
                    </a:lnTo>
                    <a:lnTo>
                      <a:pt x="609" y="89"/>
                    </a:lnTo>
                    <a:lnTo>
                      <a:pt x="609" y="89"/>
                    </a:lnTo>
                    <a:lnTo>
                      <a:pt x="614" y="84"/>
                    </a:lnTo>
                    <a:lnTo>
                      <a:pt x="623" y="82"/>
                    </a:lnTo>
                    <a:lnTo>
                      <a:pt x="625" y="80"/>
                    </a:lnTo>
                    <a:lnTo>
                      <a:pt x="628" y="78"/>
                    </a:lnTo>
                    <a:lnTo>
                      <a:pt x="632" y="80"/>
                    </a:lnTo>
                    <a:lnTo>
                      <a:pt x="635" y="82"/>
                    </a:lnTo>
                    <a:lnTo>
                      <a:pt x="637" y="84"/>
                    </a:lnTo>
                    <a:lnTo>
                      <a:pt x="639" y="84"/>
                    </a:lnTo>
                    <a:lnTo>
                      <a:pt x="641" y="82"/>
                    </a:lnTo>
                    <a:lnTo>
                      <a:pt x="641" y="80"/>
                    </a:lnTo>
                    <a:lnTo>
                      <a:pt x="642" y="80"/>
                    </a:lnTo>
                    <a:lnTo>
                      <a:pt x="644" y="82"/>
                    </a:lnTo>
                    <a:lnTo>
                      <a:pt x="651" y="82"/>
                    </a:lnTo>
                    <a:lnTo>
                      <a:pt x="651" y="80"/>
                    </a:lnTo>
                    <a:lnTo>
                      <a:pt x="650" y="80"/>
                    </a:lnTo>
                    <a:lnTo>
                      <a:pt x="650" y="78"/>
                    </a:lnTo>
                    <a:lnTo>
                      <a:pt x="648" y="78"/>
                    </a:lnTo>
                    <a:lnTo>
                      <a:pt x="646" y="76"/>
                    </a:lnTo>
                    <a:lnTo>
                      <a:pt x="646" y="73"/>
                    </a:lnTo>
                    <a:lnTo>
                      <a:pt x="646" y="71"/>
                    </a:lnTo>
                    <a:lnTo>
                      <a:pt x="646" y="69"/>
                    </a:lnTo>
                    <a:lnTo>
                      <a:pt x="644" y="69"/>
                    </a:lnTo>
                    <a:lnTo>
                      <a:pt x="637" y="69"/>
                    </a:lnTo>
                    <a:lnTo>
                      <a:pt x="634" y="68"/>
                    </a:lnTo>
                    <a:lnTo>
                      <a:pt x="634" y="64"/>
                    </a:lnTo>
                    <a:lnTo>
                      <a:pt x="632" y="62"/>
                    </a:lnTo>
                    <a:lnTo>
                      <a:pt x="630" y="62"/>
                    </a:lnTo>
                    <a:lnTo>
                      <a:pt x="626" y="64"/>
                    </a:lnTo>
                    <a:lnTo>
                      <a:pt x="616" y="64"/>
                    </a:lnTo>
                    <a:lnTo>
                      <a:pt x="610" y="68"/>
                    </a:lnTo>
                    <a:lnTo>
                      <a:pt x="609" y="69"/>
                    </a:lnTo>
                    <a:lnTo>
                      <a:pt x="607" y="69"/>
                    </a:lnTo>
                    <a:lnTo>
                      <a:pt x="600" y="69"/>
                    </a:lnTo>
                    <a:lnTo>
                      <a:pt x="598" y="69"/>
                    </a:lnTo>
                    <a:lnTo>
                      <a:pt x="592" y="64"/>
                    </a:lnTo>
                    <a:lnTo>
                      <a:pt x="587" y="60"/>
                    </a:lnTo>
                    <a:lnTo>
                      <a:pt x="582" y="60"/>
                    </a:lnTo>
                    <a:lnTo>
                      <a:pt x="580" y="60"/>
                    </a:lnTo>
                    <a:lnTo>
                      <a:pt x="578" y="62"/>
                    </a:lnTo>
                    <a:lnTo>
                      <a:pt x="578" y="59"/>
                    </a:lnTo>
                    <a:lnTo>
                      <a:pt x="580" y="57"/>
                    </a:lnTo>
                    <a:lnTo>
                      <a:pt x="582" y="55"/>
                    </a:lnTo>
                    <a:lnTo>
                      <a:pt x="587" y="50"/>
                    </a:lnTo>
                    <a:lnTo>
                      <a:pt x="589" y="48"/>
                    </a:lnTo>
                    <a:lnTo>
                      <a:pt x="589" y="46"/>
                    </a:lnTo>
                    <a:lnTo>
                      <a:pt x="585" y="46"/>
                    </a:lnTo>
                    <a:lnTo>
                      <a:pt x="578" y="50"/>
                    </a:lnTo>
                    <a:lnTo>
                      <a:pt x="564" y="60"/>
                    </a:lnTo>
                    <a:lnTo>
                      <a:pt x="557" y="62"/>
                    </a:lnTo>
                    <a:lnTo>
                      <a:pt x="551" y="66"/>
                    </a:lnTo>
                    <a:lnTo>
                      <a:pt x="542" y="66"/>
                    </a:lnTo>
                    <a:lnTo>
                      <a:pt x="541" y="68"/>
                    </a:lnTo>
                    <a:lnTo>
                      <a:pt x="541" y="66"/>
                    </a:lnTo>
                    <a:lnTo>
                      <a:pt x="541" y="64"/>
                    </a:lnTo>
                    <a:lnTo>
                      <a:pt x="541" y="60"/>
                    </a:lnTo>
                    <a:lnTo>
                      <a:pt x="539" y="59"/>
                    </a:lnTo>
                    <a:lnTo>
                      <a:pt x="528" y="66"/>
                    </a:lnTo>
                    <a:lnTo>
                      <a:pt x="525" y="66"/>
                    </a:lnTo>
                    <a:lnTo>
                      <a:pt x="523" y="66"/>
                    </a:lnTo>
                    <a:lnTo>
                      <a:pt x="521" y="64"/>
                    </a:lnTo>
                    <a:lnTo>
                      <a:pt x="546" y="43"/>
                    </a:lnTo>
                    <a:lnTo>
                      <a:pt x="551" y="41"/>
                    </a:lnTo>
                    <a:lnTo>
                      <a:pt x="559" y="34"/>
                    </a:lnTo>
                    <a:lnTo>
                      <a:pt x="557" y="34"/>
                    </a:lnTo>
                    <a:lnTo>
                      <a:pt x="553" y="32"/>
                    </a:lnTo>
                    <a:lnTo>
                      <a:pt x="546" y="32"/>
                    </a:lnTo>
                    <a:lnTo>
                      <a:pt x="541" y="30"/>
                    </a:lnTo>
                    <a:lnTo>
                      <a:pt x="537" y="30"/>
                    </a:lnTo>
                    <a:lnTo>
                      <a:pt x="534" y="32"/>
                    </a:lnTo>
                    <a:lnTo>
                      <a:pt x="532" y="32"/>
                    </a:lnTo>
                    <a:lnTo>
                      <a:pt x="528" y="30"/>
                    </a:lnTo>
                    <a:lnTo>
                      <a:pt x="526" y="28"/>
                    </a:lnTo>
                    <a:lnTo>
                      <a:pt x="516" y="23"/>
                    </a:lnTo>
                    <a:lnTo>
                      <a:pt x="516" y="21"/>
                    </a:lnTo>
                    <a:lnTo>
                      <a:pt x="509" y="19"/>
                    </a:lnTo>
                    <a:lnTo>
                      <a:pt x="501" y="18"/>
                    </a:lnTo>
                    <a:lnTo>
                      <a:pt x="500" y="19"/>
                    </a:lnTo>
                    <a:lnTo>
                      <a:pt x="496" y="19"/>
                    </a:lnTo>
                    <a:lnTo>
                      <a:pt x="494" y="19"/>
                    </a:lnTo>
                    <a:lnTo>
                      <a:pt x="494" y="19"/>
                    </a:lnTo>
                    <a:lnTo>
                      <a:pt x="494" y="18"/>
                    </a:lnTo>
                    <a:lnTo>
                      <a:pt x="489" y="16"/>
                    </a:lnTo>
                    <a:lnTo>
                      <a:pt x="484" y="16"/>
                    </a:lnTo>
                    <a:lnTo>
                      <a:pt x="484" y="16"/>
                    </a:lnTo>
                    <a:lnTo>
                      <a:pt x="482" y="16"/>
                    </a:lnTo>
                    <a:lnTo>
                      <a:pt x="478" y="10"/>
                    </a:lnTo>
                    <a:lnTo>
                      <a:pt x="478" y="9"/>
                    </a:lnTo>
                    <a:lnTo>
                      <a:pt x="475" y="0"/>
                    </a:lnTo>
                    <a:lnTo>
                      <a:pt x="471" y="0"/>
                    </a:lnTo>
                    <a:lnTo>
                      <a:pt x="471" y="10"/>
                    </a:lnTo>
                    <a:lnTo>
                      <a:pt x="30" y="10"/>
                    </a:lnTo>
                    <a:lnTo>
                      <a:pt x="32" y="12"/>
                    </a:lnTo>
                    <a:lnTo>
                      <a:pt x="34" y="14"/>
                    </a:lnTo>
                    <a:lnTo>
                      <a:pt x="35" y="14"/>
                    </a:lnTo>
                    <a:lnTo>
                      <a:pt x="37" y="16"/>
                    </a:lnTo>
                    <a:lnTo>
                      <a:pt x="39" y="16"/>
                    </a:lnTo>
                    <a:lnTo>
                      <a:pt x="39" y="18"/>
                    </a:lnTo>
                    <a:lnTo>
                      <a:pt x="37" y="16"/>
                    </a:lnTo>
                    <a:lnTo>
                      <a:pt x="35" y="16"/>
                    </a:lnTo>
                    <a:lnTo>
                      <a:pt x="35" y="19"/>
                    </a:lnTo>
                    <a:lnTo>
                      <a:pt x="35" y="21"/>
                    </a:lnTo>
                    <a:lnTo>
                      <a:pt x="34" y="21"/>
                    </a:lnTo>
                    <a:lnTo>
                      <a:pt x="34" y="21"/>
                    </a:lnTo>
                    <a:lnTo>
                      <a:pt x="35" y="23"/>
                    </a:lnTo>
                    <a:lnTo>
                      <a:pt x="37" y="25"/>
                    </a:lnTo>
                    <a:lnTo>
                      <a:pt x="39" y="30"/>
                    </a:lnTo>
                    <a:lnTo>
                      <a:pt x="39" y="39"/>
                    </a:lnTo>
                    <a:lnTo>
                      <a:pt x="37" y="39"/>
                    </a:lnTo>
                    <a:lnTo>
                      <a:pt x="37" y="37"/>
                    </a:lnTo>
                    <a:lnTo>
                      <a:pt x="35" y="35"/>
                    </a:lnTo>
                    <a:lnTo>
                      <a:pt x="34" y="37"/>
                    </a:lnTo>
                    <a:lnTo>
                      <a:pt x="32" y="41"/>
                    </a:lnTo>
                    <a:lnTo>
                      <a:pt x="30" y="43"/>
                    </a:lnTo>
                    <a:lnTo>
                      <a:pt x="28" y="44"/>
                    </a:lnTo>
                    <a:lnTo>
                      <a:pt x="30" y="44"/>
                    </a:lnTo>
                    <a:lnTo>
                      <a:pt x="28" y="46"/>
                    </a:lnTo>
                    <a:lnTo>
                      <a:pt x="26" y="48"/>
                    </a:lnTo>
                    <a:lnTo>
                      <a:pt x="26" y="44"/>
                    </a:lnTo>
                    <a:lnTo>
                      <a:pt x="30" y="37"/>
                    </a:lnTo>
                    <a:lnTo>
                      <a:pt x="32" y="35"/>
                    </a:lnTo>
                    <a:lnTo>
                      <a:pt x="32" y="35"/>
                    </a:lnTo>
                    <a:lnTo>
                      <a:pt x="32" y="32"/>
                    </a:lnTo>
                    <a:lnTo>
                      <a:pt x="32" y="30"/>
                    </a:lnTo>
                    <a:lnTo>
                      <a:pt x="28" y="30"/>
                    </a:lnTo>
                    <a:lnTo>
                      <a:pt x="25" y="28"/>
                    </a:lnTo>
                    <a:lnTo>
                      <a:pt x="14" y="28"/>
                    </a:lnTo>
                    <a:lnTo>
                      <a:pt x="1" y="23"/>
                    </a:lnTo>
                    <a:lnTo>
                      <a:pt x="1" y="25"/>
                    </a:lnTo>
                    <a:lnTo>
                      <a:pt x="0" y="28"/>
                    </a:lnTo>
                    <a:lnTo>
                      <a:pt x="0" y="30"/>
                    </a:lnTo>
                    <a:lnTo>
                      <a:pt x="1" y="35"/>
                    </a:lnTo>
                    <a:lnTo>
                      <a:pt x="5" y="37"/>
                    </a:lnTo>
                    <a:lnTo>
                      <a:pt x="9" y="57"/>
                    </a:lnTo>
                    <a:lnTo>
                      <a:pt x="10" y="57"/>
                    </a:lnTo>
                    <a:lnTo>
                      <a:pt x="10" y="55"/>
                    </a:lnTo>
                    <a:lnTo>
                      <a:pt x="12" y="57"/>
                    </a:lnTo>
                    <a:lnTo>
                      <a:pt x="12" y="59"/>
                    </a:lnTo>
                    <a:lnTo>
                      <a:pt x="10" y="59"/>
                    </a:lnTo>
                    <a:lnTo>
                      <a:pt x="10" y="62"/>
                    </a:lnTo>
                    <a:lnTo>
                      <a:pt x="10" y="62"/>
                    </a:lnTo>
                    <a:lnTo>
                      <a:pt x="12" y="62"/>
                    </a:lnTo>
                    <a:lnTo>
                      <a:pt x="14" y="62"/>
                    </a:lnTo>
                    <a:lnTo>
                      <a:pt x="14" y="62"/>
                    </a:lnTo>
                    <a:lnTo>
                      <a:pt x="14" y="69"/>
                    </a:lnTo>
                    <a:lnTo>
                      <a:pt x="14" y="69"/>
                    </a:lnTo>
                    <a:lnTo>
                      <a:pt x="12" y="69"/>
                    </a:lnTo>
                    <a:lnTo>
                      <a:pt x="12" y="66"/>
                    </a:lnTo>
                    <a:lnTo>
                      <a:pt x="10" y="66"/>
                    </a:lnTo>
                    <a:lnTo>
                      <a:pt x="12" y="71"/>
                    </a:lnTo>
                    <a:lnTo>
                      <a:pt x="14" y="73"/>
                    </a:lnTo>
                    <a:lnTo>
                      <a:pt x="19" y="73"/>
                    </a:lnTo>
                    <a:lnTo>
                      <a:pt x="23" y="76"/>
                    </a:lnTo>
                    <a:lnTo>
                      <a:pt x="23" y="76"/>
                    </a:lnTo>
                    <a:lnTo>
                      <a:pt x="19" y="75"/>
                    </a:lnTo>
                    <a:lnTo>
                      <a:pt x="14" y="76"/>
                    </a:lnTo>
                    <a:lnTo>
                      <a:pt x="14" y="76"/>
                    </a:lnTo>
                    <a:lnTo>
                      <a:pt x="12" y="85"/>
                    </a:lnTo>
                    <a:lnTo>
                      <a:pt x="14" y="85"/>
                    </a:lnTo>
                    <a:lnTo>
                      <a:pt x="12" y="87"/>
                    </a:lnTo>
                    <a:lnTo>
                      <a:pt x="14" y="91"/>
                    </a:lnTo>
                    <a:lnTo>
                      <a:pt x="12" y="93"/>
                    </a:lnTo>
                    <a:lnTo>
                      <a:pt x="9" y="135"/>
                    </a:lnTo>
                    <a:lnTo>
                      <a:pt x="9" y="135"/>
                    </a:lnTo>
                    <a:lnTo>
                      <a:pt x="9" y="135"/>
                    </a:lnTo>
                    <a:lnTo>
                      <a:pt x="9" y="137"/>
                    </a:lnTo>
                    <a:lnTo>
                      <a:pt x="7" y="139"/>
                    </a:lnTo>
                    <a:lnTo>
                      <a:pt x="5" y="143"/>
                    </a:lnTo>
                    <a:lnTo>
                      <a:pt x="5" y="150"/>
                    </a:lnTo>
                    <a:lnTo>
                      <a:pt x="10" y="182"/>
                    </a:lnTo>
                    <a:lnTo>
                      <a:pt x="10" y="194"/>
                    </a:lnTo>
                    <a:lnTo>
                      <a:pt x="7" y="200"/>
                    </a:lnTo>
                    <a:lnTo>
                      <a:pt x="7" y="205"/>
                    </a:lnTo>
                    <a:lnTo>
                      <a:pt x="9" y="207"/>
                    </a:lnTo>
                    <a:lnTo>
                      <a:pt x="16" y="218"/>
                    </a:lnTo>
                    <a:lnTo>
                      <a:pt x="16" y="219"/>
                    </a:lnTo>
                    <a:lnTo>
                      <a:pt x="16" y="225"/>
                    </a:lnTo>
                    <a:lnTo>
                      <a:pt x="18" y="235"/>
                    </a:lnTo>
                    <a:lnTo>
                      <a:pt x="28" y="246"/>
                    </a:lnTo>
                    <a:lnTo>
                      <a:pt x="28" y="248"/>
                    </a:lnTo>
                    <a:lnTo>
                      <a:pt x="28" y="250"/>
                    </a:lnTo>
                    <a:lnTo>
                      <a:pt x="28" y="251"/>
                    </a:lnTo>
                    <a:lnTo>
                      <a:pt x="32" y="253"/>
                    </a:lnTo>
                    <a:lnTo>
                      <a:pt x="34" y="253"/>
                    </a:lnTo>
                    <a:lnTo>
                      <a:pt x="34" y="253"/>
                    </a:lnTo>
                    <a:lnTo>
                      <a:pt x="35" y="255"/>
                    </a:lnTo>
                    <a:lnTo>
                      <a:pt x="35" y="253"/>
                    </a:lnTo>
                    <a:lnTo>
                      <a:pt x="35" y="253"/>
                    </a:lnTo>
                    <a:lnTo>
                      <a:pt x="35" y="248"/>
                    </a:lnTo>
                    <a:lnTo>
                      <a:pt x="41" y="250"/>
                    </a:lnTo>
                    <a:lnTo>
                      <a:pt x="44" y="250"/>
                    </a:lnTo>
                    <a:lnTo>
                      <a:pt x="43" y="251"/>
                    </a:lnTo>
                    <a:lnTo>
                      <a:pt x="41" y="251"/>
                    </a:lnTo>
                    <a:lnTo>
                      <a:pt x="39" y="253"/>
                    </a:lnTo>
                    <a:lnTo>
                      <a:pt x="39" y="255"/>
                    </a:lnTo>
                    <a:lnTo>
                      <a:pt x="43" y="260"/>
                    </a:lnTo>
                    <a:lnTo>
                      <a:pt x="43" y="262"/>
                    </a:lnTo>
                    <a:lnTo>
                      <a:pt x="37" y="259"/>
                    </a:lnTo>
                    <a:lnTo>
                      <a:pt x="37" y="257"/>
                    </a:lnTo>
                    <a:lnTo>
                      <a:pt x="35" y="257"/>
                    </a:lnTo>
                    <a:lnTo>
                      <a:pt x="35" y="259"/>
                    </a:lnTo>
                    <a:lnTo>
                      <a:pt x="39" y="269"/>
                    </a:lnTo>
                    <a:lnTo>
                      <a:pt x="41" y="273"/>
                    </a:lnTo>
                    <a:lnTo>
                      <a:pt x="44" y="273"/>
                    </a:lnTo>
                    <a:lnTo>
                      <a:pt x="46" y="276"/>
                    </a:lnTo>
                    <a:lnTo>
                      <a:pt x="46" y="278"/>
                    </a:lnTo>
                    <a:lnTo>
                      <a:pt x="44" y="280"/>
                    </a:lnTo>
                    <a:lnTo>
                      <a:pt x="46" y="285"/>
                    </a:lnTo>
                    <a:lnTo>
                      <a:pt x="60" y="303"/>
                    </a:lnTo>
                    <a:lnTo>
                      <a:pt x="62" y="303"/>
                    </a:lnTo>
                    <a:lnTo>
                      <a:pt x="62" y="307"/>
                    </a:lnTo>
                    <a:lnTo>
                      <a:pt x="64" y="309"/>
                    </a:lnTo>
                    <a:lnTo>
                      <a:pt x="66" y="310"/>
                    </a:lnTo>
                    <a:lnTo>
                      <a:pt x="66" y="310"/>
                    </a:lnTo>
                    <a:lnTo>
                      <a:pt x="66" y="312"/>
                    </a:lnTo>
                    <a:lnTo>
                      <a:pt x="68" y="319"/>
                    </a:lnTo>
                    <a:lnTo>
                      <a:pt x="68" y="321"/>
                    </a:lnTo>
                    <a:lnTo>
                      <a:pt x="75" y="323"/>
                    </a:lnTo>
                    <a:lnTo>
                      <a:pt x="78" y="325"/>
                    </a:lnTo>
                    <a:lnTo>
                      <a:pt x="80" y="323"/>
                    </a:lnTo>
                    <a:lnTo>
                      <a:pt x="82" y="323"/>
                    </a:lnTo>
                    <a:lnTo>
                      <a:pt x="87" y="326"/>
                    </a:lnTo>
                    <a:lnTo>
                      <a:pt x="89" y="328"/>
                    </a:lnTo>
                    <a:lnTo>
                      <a:pt x="94" y="330"/>
                    </a:lnTo>
                    <a:lnTo>
                      <a:pt x="96" y="332"/>
                    </a:lnTo>
                    <a:lnTo>
                      <a:pt x="96" y="330"/>
                    </a:lnTo>
                    <a:lnTo>
                      <a:pt x="98" y="330"/>
                    </a:lnTo>
                    <a:lnTo>
                      <a:pt x="100" y="330"/>
                    </a:lnTo>
                    <a:lnTo>
                      <a:pt x="101" y="332"/>
                    </a:lnTo>
                    <a:lnTo>
                      <a:pt x="101" y="335"/>
                    </a:lnTo>
                    <a:lnTo>
                      <a:pt x="101" y="335"/>
                    </a:lnTo>
                    <a:lnTo>
                      <a:pt x="107" y="337"/>
                    </a:lnTo>
                    <a:lnTo>
                      <a:pt x="118" y="348"/>
                    </a:lnTo>
                    <a:lnTo>
                      <a:pt x="119" y="350"/>
                    </a:lnTo>
                    <a:lnTo>
                      <a:pt x="121" y="360"/>
                    </a:lnTo>
                    <a:lnTo>
                      <a:pt x="157" y="357"/>
                    </a:lnTo>
                    <a:lnTo>
                      <a:pt x="159" y="359"/>
                    </a:lnTo>
                    <a:lnTo>
                      <a:pt x="219" y="382"/>
                    </a:lnTo>
                    <a:lnTo>
                      <a:pt x="262" y="382"/>
                    </a:lnTo>
                    <a:lnTo>
                      <a:pt x="262" y="373"/>
                    </a:lnTo>
                    <a:lnTo>
                      <a:pt x="289" y="373"/>
                    </a:lnTo>
                    <a:lnTo>
                      <a:pt x="293" y="375"/>
                    </a:lnTo>
                    <a:lnTo>
                      <a:pt x="294" y="378"/>
                    </a:lnTo>
                    <a:lnTo>
                      <a:pt x="298" y="380"/>
                    </a:lnTo>
                    <a:lnTo>
                      <a:pt x="301" y="384"/>
                    </a:lnTo>
                    <a:lnTo>
                      <a:pt x="316" y="394"/>
                    </a:lnTo>
                    <a:lnTo>
                      <a:pt x="319" y="409"/>
                    </a:lnTo>
                    <a:lnTo>
                      <a:pt x="335" y="423"/>
                    </a:lnTo>
                    <a:lnTo>
                      <a:pt x="343" y="425"/>
                    </a:lnTo>
                    <a:lnTo>
                      <a:pt x="351" y="410"/>
                    </a:lnTo>
                    <a:lnTo>
                      <a:pt x="353" y="409"/>
                    </a:lnTo>
                    <a:lnTo>
                      <a:pt x="357" y="410"/>
                    </a:lnTo>
                    <a:lnTo>
                      <a:pt x="369" y="409"/>
                    </a:lnTo>
                    <a:lnTo>
                      <a:pt x="382" y="423"/>
                    </a:lnTo>
                    <a:lnTo>
                      <a:pt x="387" y="435"/>
                    </a:lnTo>
                    <a:lnTo>
                      <a:pt x="393" y="441"/>
                    </a:lnTo>
                    <a:lnTo>
                      <a:pt x="396" y="446"/>
                    </a:lnTo>
                    <a:lnTo>
                      <a:pt x="400" y="450"/>
                    </a:lnTo>
                    <a:lnTo>
                      <a:pt x="405" y="464"/>
                    </a:lnTo>
                    <a:lnTo>
                      <a:pt x="410" y="471"/>
                    </a:lnTo>
                    <a:lnTo>
                      <a:pt x="414" y="475"/>
                    </a:lnTo>
                    <a:lnTo>
                      <a:pt x="419" y="475"/>
                    </a:lnTo>
                    <a:lnTo>
                      <a:pt x="423" y="476"/>
                    </a:lnTo>
                    <a:lnTo>
                      <a:pt x="430" y="478"/>
                    </a:lnTo>
                    <a:lnTo>
                      <a:pt x="435" y="480"/>
                    </a:lnTo>
                    <a:lnTo>
                      <a:pt x="441" y="480"/>
                    </a:lnTo>
                    <a:lnTo>
                      <a:pt x="441" y="480"/>
                    </a:lnTo>
                    <a:lnTo>
                      <a:pt x="441" y="480"/>
                    </a:lnTo>
                    <a:lnTo>
                      <a:pt x="439" y="475"/>
                    </a:lnTo>
                    <a:lnTo>
                      <a:pt x="437" y="473"/>
                    </a:lnTo>
                    <a:lnTo>
                      <a:pt x="435" y="462"/>
                    </a:lnTo>
                    <a:lnTo>
                      <a:pt x="437" y="462"/>
                    </a:lnTo>
                    <a:lnTo>
                      <a:pt x="437" y="459"/>
                    </a:lnTo>
                    <a:lnTo>
                      <a:pt x="437" y="459"/>
                    </a:lnTo>
                    <a:lnTo>
                      <a:pt x="435" y="457"/>
                    </a:lnTo>
                    <a:lnTo>
                      <a:pt x="434" y="457"/>
                    </a:lnTo>
                    <a:lnTo>
                      <a:pt x="435" y="457"/>
                    </a:lnTo>
                    <a:lnTo>
                      <a:pt x="437" y="457"/>
                    </a:lnTo>
                    <a:lnTo>
                      <a:pt x="437" y="457"/>
                    </a:lnTo>
                    <a:lnTo>
                      <a:pt x="439" y="455"/>
                    </a:lnTo>
                    <a:lnTo>
                      <a:pt x="439" y="450"/>
                    </a:lnTo>
                    <a:lnTo>
                      <a:pt x="437" y="446"/>
                    </a:lnTo>
                    <a:lnTo>
                      <a:pt x="443" y="446"/>
                    </a:lnTo>
                    <a:lnTo>
                      <a:pt x="444" y="443"/>
                    </a:lnTo>
                    <a:lnTo>
                      <a:pt x="443" y="443"/>
                    </a:lnTo>
                    <a:lnTo>
                      <a:pt x="443" y="443"/>
                    </a:lnTo>
                    <a:lnTo>
                      <a:pt x="443" y="441"/>
                    </a:lnTo>
                    <a:lnTo>
                      <a:pt x="444" y="441"/>
                    </a:lnTo>
                    <a:lnTo>
                      <a:pt x="446" y="441"/>
                    </a:lnTo>
                    <a:lnTo>
                      <a:pt x="448" y="439"/>
                    </a:lnTo>
                    <a:lnTo>
                      <a:pt x="448" y="437"/>
                    </a:lnTo>
                    <a:lnTo>
                      <a:pt x="448" y="437"/>
                    </a:lnTo>
                    <a:lnTo>
                      <a:pt x="451" y="435"/>
                    </a:lnTo>
                    <a:lnTo>
                      <a:pt x="451" y="435"/>
                    </a:lnTo>
                    <a:lnTo>
                      <a:pt x="453" y="434"/>
                    </a:lnTo>
                    <a:lnTo>
                      <a:pt x="451" y="434"/>
                    </a:lnTo>
                    <a:lnTo>
                      <a:pt x="451" y="432"/>
                    </a:lnTo>
                    <a:lnTo>
                      <a:pt x="451" y="430"/>
                    </a:lnTo>
                    <a:lnTo>
                      <a:pt x="453" y="432"/>
                    </a:lnTo>
                    <a:lnTo>
                      <a:pt x="453" y="432"/>
                    </a:lnTo>
                    <a:lnTo>
                      <a:pt x="453" y="432"/>
                    </a:lnTo>
                    <a:lnTo>
                      <a:pt x="453" y="430"/>
                    </a:lnTo>
                    <a:lnTo>
                      <a:pt x="455" y="430"/>
                    </a:lnTo>
                    <a:lnTo>
                      <a:pt x="455" y="430"/>
                    </a:lnTo>
                    <a:lnTo>
                      <a:pt x="455" y="432"/>
                    </a:lnTo>
                    <a:lnTo>
                      <a:pt x="457" y="432"/>
                    </a:lnTo>
                    <a:lnTo>
                      <a:pt x="457" y="432"/>
                    </a:lnTo>
                    <a:lnTo>
                      <a:pt x="457" y="430"/>
                    </a:lnTo>
                    <a:lnTo>
                      <a:pt x="459" y="430"/>
                    </a:lnTo>
                    <a:lnTo>
                      <a:pt x="459" y="432"/>
                    </a:lnTo>
                    <a:lnTo>
                      <a:pt x="464" y="430"/>
                    </a:lnTo>
                    <a:lnTo>
                      <a:pt x="464" y="430"/>
                    </a:lnTo>
                    <a:lnTo>
                      <a:pt x="464" y="432"/>
                    </a:lnTo>
                    <a:lnTo>
                      <a:pt x="457" y="434"/>
                    </a:lnTo>
                    <a:lnTo>
                      <a:pt x="457" y="435"/>
                    </a:lnTo>
                    <a:lnTo>
                      <a:pt x="457" y="435"/>
                    </a:lnTo>
                    <a:lnTo>
                      <a:pt x="473" y="426"/>
                    </a:lnTo>
                    <a:lnTo>
                      <a:pt x="475" y="421"/>
                    </a:lnTo>
                    <a:lnTo>
                      <a:pt x="475" y="412"/>
                    </a:lnTo>
                    <a:lnTo>
                      <a:pt x="476" y="410"/>
                    </a:lnTo>
                    <a:lnTo>
                      <a:pt x="476" y="410"/>
                    </a:lnTo>
                    <a:lnTo>
                      <a:pt x="478" y="410"/>
                    </a:lnTo>
                    <a:lnTo>
                      <a:pt x="478" y="414"/>
                    </a:lnTo>
                    <a:lnTo>
                      <a:pt x="480" y="414"/>
                    </a:lnTo>
                    <a:lnTo>
                      <a:pt x="480" y="414"/>
                    </a:lnTo>
                    <a:lnTo>
                      <a:pt x="478" y="416"/>
                    </a:lnTo>
                    <a:lnTo>
                      <a:pt x="478" y="416"/>
                    </a:lnTo>
                    <a:lnTo>
                      <a:pt x="487" y="412"/>
                    </a:lnTo>
                    <a:lnTo>
                      <a:pt x="501" y="410"/>
                    </a:lnTo>
                    <a:lnTo>
                      <a:pt x="517" y="414"/>
                    </a:lnTo>
                    <a:lnTo>
                      <a:pt x="519" y="412"/>
                    </a:lnTo>
                    <a:lnTo>
                      <a:pt x="519" y="410"/>
                    </a:lnTo>
                    <a:lnTo>
                      <a:pt x="521" y="410"/>
                    </a:lnTo>
                    <a:lnTo>
                      <a:pt x="523" y="410"/>
                    </a:lnTo>
                    <a:lnTo>
                      <a:pt x="528" y="412"/>
                    </a:lnTo>
                    <a:lnTo>
                      <a:pt x="530" y="414"/>
                    </a:lnTo>
                    <a:lnTo>
                      <a:pt x="532" y="414"/>
                    </a:lnTo>
                    <a:lnTo>
                      <a:pt x="535" y="419"/>
                    </a:lnTo>
                    <a:lnTo>
                      <a:pt x="539" y="419"/>
                    </a:lnTo>
                    <a:lnTo>
                      <a:pt x="539" y="421"/>
                    </a:lnTo>
                    <a:lnTo>
                      <a:pt x="541" y="421"/>
                    </a:lnTo>
                    <a:lnTo>
                      <a:pt x="544" y="419"/>
                    </a:lnTo>
                    <a:lnTo>
                      <a:pt x="546" y="421"/>
                    </a:lnTo>
                    <a:lnTo>
                      <a:pt x="546" y="421"/>
                    </a:lnTo>
                    <a:lnTo>
                      <a:pt x="551" y="421"/>
                    </a:lnTo>
                    <a:lnTo>
                      <a:pt x="553" y="419"/>
                    </a:lnTo>
                    <a:lnTo>
                      <a:pt x="553" y="418"/>
                    </a:lnTo>
                    <a:lnTo>
                      <a:pt x="553" y="418"/>
                    </a:lnTo>
                    <a:lnTo>
                      <a:pt x="553" y="416"/>
                    </a:lnTo>
                    <a:lnTo>
                      <a:pt x="555" y="416"/>
                    </a:lnTo>
                    <a:lnTo>
                      <a:pt x="557" y="418"/>
                    </a:lnTo>
                    <a:lnTo>
                      <a:pt x="560" y="419"/>
                    </a:lnTo>
                    <a:lnTo>
                      <a:pt x="564" y="425"/>
                    </a:lnTo>
                    <a:lnTo>
                      <a:pt x="567" y="423"/>
                    </a:lnTo>
                    <a:lnTo>
                      <a:pt x="567" y="421"/>
                    </a:lnTo>
                    <a:lnTo>
                      <a:pt x="566" y="419"/>
                    </a:lnTo>
                    <a:lnTo>
                      <a:pt x="562" y="418"/>
                    </a:lnTo>
                    <a:lnTo>
                      <a:pt x="559" y="414"/>
                    </a:lnTo>
                    <a:lnTo>
                      <a:pt x="560" y="414"/>
                    </a:lnTo>
                    <a:lnTo>
                      <a:pt x="560" y="410"/>
                    </a:lnTo>
                    <a:lnTo>
                      <a:pt x="564" y="409"/>
                    </a:lnTo>
                    <a:lnTo>
                      <a:pt x="564" y="405"/>
                    </a:lnTo>
                    <a:lnTo>
                      <a:pt x="564" y="403"/>
                    </a:lnTo>
                    <a:lnTo>
                      <a:pt x="564" y="403"/>
                    </a:lnTo>
                    <a:lnTo>
                      <a:pt x="560" y="405"/>
                    </a:lnTo>
                    <a:lnTo>
                      <a:pt x="559" y="407"/>
                    </a:lnTo>
                    <a:lnTo>
                      <a:pt x="557" y="407"/>
                    </a:lnTo>
                    <a:lnTo>
                      <a:pt x="557" y="403"/>
                    </a:lnTo>
                    <a:lnTo>
                      <a:pt x="555" y="403"/>
                    </a:lnTo>
                    <a:lnTo>
                      <a:pt x="555" y="403"/>
                    </a:lnTo>
                    <a:lnTo>
                      <a:pt x="553" y="405"/>
                    </a:lnTo>
                    <a:lnTo>
                      <a:pt x="550" y="405"/>
                    </a:lnTo>
                    <a:lnTo>
                      <a:pt x="548" y="403"/>
                    </a:lnTo>
                    <a:lnTo>
                      <a:pt x="548" y="400"/>
                    </a:lnTo>
                    <a:lnTo>
                      <a:pt x="551" y="398"/>
                    </a:lnTo>
                    <a:lnTo>
                      <a:pt x="560" y="401"/>
                    </a:lnTo>
                    <a:lnTo>
                      <a:pt x="564" y="400"/>
                    </a:lnTo>
                    <a:lnTo>
                      <a:pt x="566" y="400"/>
                    </a:lnTo>
                    <a:lnTo>
                      <a:pt x="569" y="398"/>
                    </a:lnTo>
                    <a:lnTo>
                      <a:pt x="582" y="400"/>
                    </a:lnTo>
                    <a:lnTo>
                      <a:pt x="584" y="398"/>
                    </a:lnTo>
                    <a:lnTo>
                      <a:pt x="585" y="389"/>
                    </a:lnTo>
                    <a:lnTo>
                      <a:pt x="587" y="398"/>
                    </a:lnTo>
                    <a:lnTo>
                      <a:pt x="585" y="401"/>
                    </a:lnTo>
                    <a:lnTo>
                      <a:pt x="587" y="401"/>
                    </a:lnTo>
                    <a:lnTo>
                      <a:pt x="596" y="400"/>
                    </a:lnTo>
                    <a:lnTo>
                      <a:pt x="598" y="396"/>
                    </a:lnTo>
                    <a:lnTo>
                      <a:pt x="600" y="396"/>
                    </a:lnTo>
                    <a:lnTo>
                      <a:pt x="601" y="396"/>
                    </a:lnTo>
                    <a:lnTo>
                      <a:pt x="601" y="396"/>
                    </a:lnTo>
                    <a:lnTo>
                      <a:pt x="601" y="396"/>
                    </a:lnTo>
                    <a:lnTo>
                      <a:pt x="600" y="398"/>
                    </a:lnTo>
                    <a:lnTo>
                      <a:pt x="612" y="396"/>
                    </a:lnTo>
                    <a:lnTo>
                      <a:pt x="614" y="398"/>
                    </a:lnTo>
                    <a:lnTo>
                      <a:pt x="614" y="398"/>
                    </a:lnTo>
                    <a:lnTo>
                      <a:pt x="612" y="398"/>
                    </a:lnTo>
                    <a:lnTo>
                      <a:pt x="612" y="400"/>
                    </a:lnTo>
                    <a:lnTo>
                      <a:pt x="625" y="405"/>
                    </a:lnTo>
                    <a:lnTo>
                      <a:pt x="628" y="410"/>
                    </a:lnTo>
                    <a:lnTo>
                      <a:pt x="630" y="410"/>
                    </a:lnTo>
                    <a:lnTo>
                      <a:pt x="637" y="409"/>
                    </a:lnTo>
                    <a:lnTo>
                      <a:pt x="642" y="407"/>
                    </a:lnTo>
                    <a:lnTo>
                      <a:pt x="644" y="407"/>
                    </a:lnTo>
                    <a:lnTo>
                      <a:pt x="644" y="407"/>
                    </a:lnTo>
                    <a:lnTo>
                      <a:pt x="644" y="405"/>
                    </a:lnTo>
                    <a:lnTo>
                      <a:pt x="646" y="405"/>
                    </a:lnTo>
                    <a:lnTo>
                      <a:pt x="648" y="405"/>
                    </a:lnTo>
                    <a:lnTo>
                      <a:pt x="653" y="405"/>
                    </a:lnTo>
                    <a:lnTo>
                      <a:pt x="657" y="410"/>
                    </a:lnTo>
                    <a:lnTo>
                      <a:pt x="659" y="412"/>
                    </a:lnTo>
                    <a:lnTo>
                      <a:pt x="659" y="414"/>
                    </a:lnTo>
                    <a:lnTo>
                      <a:pt x="660" y="416"/>
                    </a:lnTo>
                    <a:lnTo>
                      <a:pt x="666" y="421"/>
                    </a:lnTo>
                    <a:lnTo>
                      <a:pt x="669" y="421"/>
                    </a:lnTo>
                    <a:lnTo>
                      <a:pt x="669" y="423"/>
                    </a:lnTo>
                    <a:lnTo>
                      <a:pt x="669" y="446"/>
                    </a:lnTo>
                    <a:lnTo>
                      <a:pt x="669" y="446"/>
                    </a:lnTo>
                    <a:lnTo>
                      <a:pt x="671" y="446"/>
                    </a:lnTo>
                    <a:lnTo>
                      <a:pt x="671" y="443"/>
                    </a:lnTo>
                    <a:lnTo>
                      <a:pt x="673" y="443"/>
                    </a:lnTo>
                    <a:lnTo>
                      <a:pt x="673" y="444"/>
                    </a:lnTo>
                    <a:lnTo>
                      <a:pt x="671" y="451"/>
                    </a:lnTo>
                    <a:lnTo>
                      <a:pt x="673" y="453"/>
                    </a:lnTo>
                    <a:lnTo>
                      <a:pt x="678" y="462"/>
                    </a:lnTo>
                    <a:lnTo>
                      <a:pt x="678" y="462"/>
                    </a:lnTo>
                    <a:lnTo>
                      <a:pt x="680" y="462"/>
                    </a:lnTo>
                    <a:lnTo>
                      <a:pt x="682" y="468"/>
                    </a:lnTo>
                    <a:lnTo>
                      <a:pt x="682" y="466"/>
                    </a:lnTo>
                    <a:lnTo>
                      <a:pt x="684" y="468"/>
                    </a:lnTo>
                    <a:lnTo>
                      <a:pt x="682" y="469"/>
                    </a:lnTo>
                    <a:lnTo>
                      <a:pt x="685" y="478"/>
                    </a:lnTo>
                    <a:lnTo>
                      <a:pt x="687" y="480"/>
                    </a:lnTo>
                    <a:lnTo>
                      <a:pt x="691" y="480"/>
                    </a:lnTo>
                    <a:lnTo>
                      <a:pt x="692" y="482"/>
                    </a:lnTo>
                    <a:lnTo>
                      <a:pt x="694" y="489"/>
                    </a:lnTo>
                    <a:lnTo>
                      <a:pt x="694" y="493"/>
                    </a:lnTo>
                    <a:lnTo>
                      <a:pt x="694" y="493"/>
                    </a:lnTo>
                    <a:lnTo>
                      <a:pt x="696" y="494"/>
                    </a:lnTo>
                    <a:lnTo>
                      <a:pt x="703" y="493"/>
                    </a:lnTo>
                    <a:lnTo>
                      <a:pt x="707" y="491"/>
                    </a:lnTo>
                    <a:lnTo>
                      <a:pt x="709" y="493"/>
                    </a:lnTo>
                    <a:lnTo>
                      <a:pt x="710" y="491"/>
                    </a:lnTo>
                    <a:lnTo>
                      <a:pt x="709" y="489"/>
                    </a:lnTo>
                    <a:lnTo>
                      <a:pt x="712" y="476"/>
                    </a:lnTo>
                    <a:lnTo>
                      <a:pt x="712" y="462"/>
                    </a:lnTo>
                    <a:lnTo>
                      <a:pt x="703" y="441"/>
                    </a:lnTo>
                    <a:lnTo>
                      <a:pt x="703" y="432"/>
                    </a:lnTo>
                    <a:lnTo>
                      <a:pt x="689" y="394"/>
                    </a:lnTo>
                    <a:lnTo>
                      <a:pt x="691" y="393"/>
                    </a:lnTo>
                    <a:lnTo>
                      <a:pt x="691" y="389"/>
                    </a:lnTo>
                    <a:lnTo>
                      <a:pt x="700" y="369"/>
                    </a:lnTo>
                    <a:lnTo>
                      <a:pt x="700" y="368"/>
                    </a:lnTo>
                    <a:lnTo>
                      <a:pt x="700" y="368"/>
                    </a:lnTo>
                    <a:lnTo>
                      <a:pt x="700" y="366"/>
                    </a:lnTo>
                    <a:lnTo>
                      <a:pt x="703" y="366"/>
                    </a:lnTo>
                    <a:lnTo>
                      <a:pt x="703" y="366"/>
                    </a:lnTo>
                    <a:lnTo>
                      <a:pt x="705" y="364"/>
                    </a:lnTo>
                    <a:lnTo>
                      <a:pt x="703" y="360"/>
                    </a:lnTo>
                    <a:lnTo>
                      <a:pt x="703" y="359"/>
                    </a:lnTo>
                    <a:lnTo>
                      <a:pt x="703" y="359"/>
                    </a:lnTo>
                    <a:lnTo>
                      <a:pt x="712" y="359"/>
                    </a:lnTo>
                    <a:lnTo>
                      <a:pt x="714" y="359"/>
                    </a:lnTo>
                    <a:lnTo>
                      <a:pt x="719" y="353"/>
                    </a:lnTo>
                    <a:lnTo>
                      <a:pt x="721" y="353"/>
                    </a:lnTo>
                    <a:lnTo>
                      <a:pt x="723" y="351"/>
                    </a:lnTo>
                    <a:lnTo>
                      <a:pt x="723" y="350"/>
                    </a:lnTo>
                    <a:lnTo>
                      <a:pt x="725" y="350"/>
                    </a:lnTo>
                    <a:lnTo>
                      <a:pt x="726" y="348"/>
                    </a:lnTo>
                    <a:lnTo>
                      <a:pt x="728" y="346"/>
                    </a:lnTo>
                    <a:lnTo>
                      <a:pt x="726" y="344"/>
                    </a:lnTo>
                    <a:lnTo>
                      <a:pt x="728" y="343"/>
                    </a:lnTo>
                    <a:lnTo>
                      <a:pt x="730" y="339"/>
                    </a:lnTo>
                    <a:lnTo>
                      <a:pt x="734" y="337"/>
                    </a:lnTo>
                    <a:lnTo>
                      <a:pt x="737" y="335"/>
                    </a:lnTo>
                    <a:lnTo>
                      <a:pt x="737" y="334"/>
                    </a:lnTo>
                    <a:lnTo>
                      <a:pt x="744" y="332"/>
                    </a:lnTo>
                    <a:lnTo>
                      <a:pt x="750" y="330"/>
                    </a:lnTo>
                    <a:lnTo>
                      <a:pt x="750" y="328"/>
                    </a:lnTo>
                    <a:lnTo>
                      <a:pt x="753" y="323"/>
                    </a:lnTo>
                    <a:lnTo>
                      <a:pt x="762" y="319"/>
                    </a:lnTo>
                    <a:lnTo>
                      <a:pt x="767" y="319"/>
                    </a:lnTo>
                    <a:lnTo>
                      <a:pt x="773" y="316"/>
                    </a:lnTo>
                    <a:lnTo>
                      <a:pt x="773" y="314"/>
                    </a:lnTo>
                    <a:lnTo>
                      <a:pt x="773" y="312"/>
                    </a:lnTo>
                    <a:lnTo>
                      <a:pt x="769" y="312"/>
                    </a:lnTo>
                    <a:lnTo>
                      <a:pt x="769" y="312"/>
                    </a:lnTo>
                    <a:lnTo>
                      <a:pt x="767" y="312"/>
                    </a:lnTo>
                    <a:lnTo>
                      <a:pt x="767" y="312"/>
                    </a:lnTo>
                    <a:lnTo>
                      <a:pt x="767" y="310"/>
                    </a:lnTo>
                    <a:lnTo>
                      <a:pt x="769" y="309"/>
                    </a:lnTo>
                    <a:lnTo>
                      <a:pt x="771" y="309"/>
                    </a:lnTo>
                    <a:lnTo>
                      <a:pt x="771" y="307"/>
                    </a:lnTo>
                    <a:lnTo>
                      <a:pt x="771" y="305"/>
                    </a:lnTo>
                    <a:lnTo>
                      <a:pt x="766" y="303"/>
                    </a:lnTo>
                    <a:lnTo>
                      <a:pt x="769" y="303"/>
                    </a:lnTo>
                    <a:lnTo>
                      <a:pt x="771" y="301"/>
                    </a:lnTo>
                    <a:lnTo>
                      <a:pt x="773" y="303"/>
                    </a:lnTo>
                    <a:lnTo>
                      <a:pt x="773" y="303"/>
                    </a:lnTo>
                    <a:lnTo>
                      <a:pt x="775" y="305"/>
                    </a:lnTo>
                    <a:lnTo>
                      <a:pt x="776" y="305"/>
                    </a:lnTo>
                    <a:lnTo>
                      <a:pt x="778" y="305"/>
                    </a:lnTo>
                    <a:lnTo>
                      <a:pt x="782" y="301"/>
                    </a:lnTo>
                    <a:lnTo>
                      <a:pt x="784" y="300"/>
                    </a:lnTo>
                    <a:lnTo>
                      <a:pt x="784" y="296"/>
                    </a:lnTo>
                    <a:lnTo>
                      <a:pt x="782" y="294"/>
                    </a:lnTo>
                    <a:lnTo>
                      <a:pt x="778" y="298"/>
                    </a:lnTo>
                    <a:lnTo>
                      <a:pt x="778" y="298"/>
                    </a:lnTo>
                    <a:lnTo>
                      <a:pt x="778" y="296"/>
                    </a:lnTo>
                    <a:lnTo>
                      <a:pt x="778" y="293"/>
                    </a:lnTo>
                    <a:lnTo>
                      <a:pt x="771" y="294"/>
                    </a:lnTo>
                    <a:lnTo>
                      <a:pt x="769" y="294"/>
                    </a:lnTo>
                    <a:lnTo>
                      <a:pt x="767" y="287"/>
                    </a:lnTo>
                    <a:lnTo>
                      <a:pt x="769" y="287"/>
                    </a:lnTo>
                    <a:lnTo>
                      <a:pt x="769" y="291"/>
                    </a:lnTo>
                    <a:lnTo>
                      <a:pt x="771" y="291"/>
                    </a:lnTo>
                    <a:lnTo>
                      <a:pt x="773" y="291"/>
                    </a:lnTo>
                    <a:lnTo>
                      <a:pt x="776" y="289"/>
                    </a:lnTo>
                    <a:lnTo>
                      <a:pt x="778" y="289"/>
                    </a:lnTo>
                    <a:lnTo>
                      <a:pt x="778" y="289"/>
                    </a:lnTo>
                    <a:lnTo>
                      <a:pt x="780" y="289"/>
                    </a:lnTo>
                    <a:lnTo>
                      <a:pt x="782" y="289"/>
                    </a:lnTo>
                    <a:lnTo>
                      <a:pt x="782" y="291"/>
                    </a:lnTo>
                    <a:lnTo>
                      <a:pt x="782" y="291"/>
                    </a:lnTo>
                    <a:lnTo>
                      <a:pt x="780" y="284"/>
                    </a:lnTo>
                    <a:lnTo>
                      <a:pt x="780" y="284"/>
                    </a:lnTo>
                    <a:lnTo>
                      <a:pt x="780" y="278"/>
                    </a:lnTo>
                    <a:lnTo>
                      <a:pt x="780" y="275"/>
                    </a:lnTo>
                    <a:lnTo>
                      <a:pt x="775" y="273"/>
                    </a:lnTo>
                    <a:lnTo>
                      <a:pt x="775" y="273"/>
                    </a:lnTo>
                    <a:lnTo>
                      <a:pt x="775" y="275"/>
                    </a:lnTo>
                    <a:lnTo>
                      <a:pt x="771" y="273"/>
                    </a:lnTo>
                    <a:lnTo>
                      <a:pt x="771" y="271"/>
                    </a:lnTo>
                    <a:lnTo>
                      <a:pt x="775" y="271"/>
                    </a:lnTo>
                    <a:lnTo>
                      <a:pt x="775" y="271"/>
                    </a:lnTo>
                    <a:lnTo>
                      <a:pt x="775" y="269"/>
                    </a:lnTo>
                    <a:lnTo>
                      <a:pt x="773" y="269"/>
                    </a:lnTo>
                    <a:lnTo>
                      <a:pt x="773" y="268"/>
                    </a:lnTo>
                    <a:lnTo>
                      <a:pt x="773" y="266"/>
                    </a:lnTo>
                    <a:lnTo>
                      <a:pt x="775" y="266"/>
                    </a:lnTo>
                    <a:lnTo>
                      <a:pt x="775" y="266"/>
                    </a:lnTo>
                    <a:lnTo>
                      <a:pt x="775" y="262"/>
                    </a:lnTo>
                    <a:lnTo>
                      <a:pt x="773" y="262"/>
                    </a:lnTo>
                    <a:lnTo>
                      <a:pt x="773" y="259"/>
                    </a:lnTo>
                    <a:lnTo>
                      <a:pt x="773" y="259"/>
                    </a:lnTo>
                    <a:lnTo>
                      <a:pt x="775" y="255"/>
                    </a:lnTo>
                    <a:lnTo>
                      <a:pt x="775" y="253"/>
                    </a:lnTo>
                    <a:lnTo>
                      <a:pt x="773" y="251"/>
                    </a:lnTo>
                    <a:lnTo>
                      <a:pt x="766" y="250"/>
                    </a:lnTo>
                    <a:lnTo>
                      <a:pt x="762" y="246"/>
                    </a:lnTo>
                    <a:lnTo>
                      <a:pt x="759" y="244"/>
                    </a:lnTo>
                    <a:lnTo>
                      <a:pt x="757" y="243"/>
                    </a:lnTo>
                    <a:lnTo>
                      <a:pt x="757" y="243"/>
                    </a:lnTo>
                    <a:lnTo>
                      <a:pt x="759" y="241"/>
                    </a:lnTo>
                    <a:lnTo>
                      <a:pt x="760" y="241"/>
                    </a:lnTo>
                    <a:lnTo>
                      <a:pt x="760" y="241"/>
                    </a:lnTo>
                    <a:lnTo>
                      <a:pt x="759" y="243"/>
                    </a:lnTo>
                    <a:lnTo>
                      <a:pt x="760" y="243"/>
                    </a:lnTo>
                    <a:lnTo>
                      <a:pt x="766" y="246"/>
                    </a:lnTo>
                    <a:lnTo>
                      <a:pt x="766" y="246"/>
                    </a:lnTo>
                    <a:lnTo>
                      <a:pt x="767" y="246"/>
                    </a:lnTo>
                    <a:lnTo>
                      <a:pt x="769" y="248"/>
                    </a:lnTo>
                    <a:lnTo>
                      <a:pt x="771" y="250"/>
                    </a:lnTo>
                    <a:lnTo>
                      <a:pt x="773" y="250"/>
                    </a:lnTo>
                    <a:lnTo>
                      <a:pt x="773" y="246"/>
                    </a:lnTo>
                    <a:lnTo>
                      <a:pt x="769" y="243"/>
                    </a:lnTo>
                    <a:lnTo>
                      <a:pt x="771" y="243"/>
                    </a:lnTo>
                    <a:lnTo>
                      <a:pt x="771" y="243"/>
                    </a:lnTo>
                    <a:lnTo>
                      <a:pt x="771" y="237"/>
                    </a:lnTo>
                    <a:lnTo>
                      <a:pt x="771" y="230"/>
                    </a:lnTo>
                    <a:lnTo>
                      <a:pt x="771" y="228"/>
                    </a:lnTo>
                    <a:lnTo>
                      <a:pt x="773" y="226"/>
                    </a:lnTo>
                    <a:lnTo>
                      <a:pt x="776" y="223"/>
                    </a:lnTo>
                    <a:lnTo>
                      <a:pt x="778" y="219"/>
                    </a:lnTo>
                    <a:lnTo>
                      <a:pt x="780" y="221"/>
                    </a:lnTo>
                    <a:lnTo>
                      <a:pt x="780" y="221"/>
                    </a:lnTo>
                    <a:lnTo>
                      <a:pt x="780" y="221"/>
                    </a:lnTo>
                    <a:lnTo>
                      <a:pt x="778" y="225"/>
                    </a:lnTo>
                    <a:lnTo>
                      <a:pt x="778" y="225"/>
                    </a:lnTo>
                    <a:lnTo>
                      <a:pt x="776" y="226"/>
                    </a:lnTo>
                    <a:lnTo>
                      <a:pt x="776" y="228"/>
                    </a:lnTo>
                    <a:lnTo>
                      <a:pt x="776" y="230"/>
                    </a:lnTo>
                    <a:lnTo>
                      <a:pt x="776" y="232"/>
                    </a:lnTo>
                    <a:lnTo>
                      <a:pt x="775" y="234"/>
                    </a:lnTo>
                    <a:lnTo>
                      <a:pt x="775" y="234"/>
                    </a:lnTo>
                    <a:lnTo>
                      <a:pt x="776" y="234"/>
                    </a:lnTo>
                    <a:lnTo>
                      <a:pt x="776" y="235"/>
                    </a:lnTo>
                    <a:lnTo>
                      <a:pt x="776" y="239"/>
                    </a:lnTo>
                    <a:lnTo>
                      <a:pt x="776" y="241"/>
                    </a:lnTo>
                    <a:lnTo>
                      <a:pt x="775" y="241"/>
                    </a:lnTo>
                    <a:lnTo>
                      <a:pt x="775" y="243"/>
                    </a:lnTo>
                    <a:lnTo>
                      <a:pt x="775" y="244"/>
                    </a:lnTo>
                    <a:lnTo>
                      <a:pt x="776" y="246"/>
                    </a:lnTo>
                    <a:lnTo>
                      <a:pt x="780" y="246"/>
                    </a:lnTo>
                    <a:lnTo>
                      <a:pt x="780" y="248"/>
                    </a:lnTo>
                    <a:lnTo>
                      <a:pt x="782" y="250"/>
                    </a:lnTo>
                    <a:lnTo>
                      <a:pt x="782" y="251"/>
                    </a:lnTo>
                    <a:lnTo>
                      <a:pt x="784" y="253"/>
                    </a:lnTo>
                    <a:lnTo>
                      <a:pt x="784" y="253"/>
                    </a:lnTo>
                    <a:lnTo>
                      <a:pt x="784" y="255"/>
                    </a:lnTo>
                    <a:lnTo>
                      <a:pt x="782" y="255"/>
                    </a:lnTo>
                    <a:lnTo>
                      <a:pt x="778" y="264"/>
                    </a:lnTo>
                    <a:lnTo>
                      <a:pt x="780" y="269"/>
                    </a:lnTo>
                    <a:lnTo>
                      <a:pt x="780" y="269"/>
                    </a:lnTo>
                    <a:lnTo>
                      <a:pt x="782" y="269"/>
                    </a:lnTo>
                    <a:lnTo>
                      <a:pt x="784" y="269"/>
                    </a:lnTo>
                    <a:lnTo>
                      <a:pt x="791" y="251"/>
                    </a:lnTo>
                    <a:lnTo>
                      <a:pt x="791" y="250"/>
                    </a:lnTo>
                    <a:lnTo>
                      <a:pt x="792" y="246"/>
                    </a:lnTo>
                    <a:lnTo>
                      <a:pt x="794" y="241"/>
                    </a:lnTo>
                    <a:lnTo>
                      <a:pt x="785" y="223"/>
                    </a:lnTo>
                    <a:lnTo>
                      <a:pt x="785" y="221"/>
                    </a:lnTo>
                    <a:lnTo>
                      <a:pt x="789" y="225"/>
                    </a:lnTo>
                    <a:lnTo>
                      <a:pt x="792" y="226"/>
                    </a:lnTo>
                    <a:lnTo>
                      <a:pt x="794" y="228"/>
                    </a:lnTo>
                    <a:lnTo>
                      <a:pt x="796" y="228"/>
                    </a:lnTo>
                    <a:lnTo>
                      <a:pt x="796" y="232"/>
                    </a:lnTo>
                    <a:lnTo>
                      <a:pt x="798" y="232"/>
                    </a:lnTo>
                    <a:lnTo>
                      <a:pt x="805" y="221"/>
                    </a:lnTo>
                    <a:lnTo>
                      <a:pt x="805" y="219"/>
                    </a:lnTo>
                    <a:lnTo>
                      <a:pt x="807" y="219"/>
                    </a:lnTo>
                    <a:lnTo>
                      <a:pt x="809" y="218"/>
                    </a:lnTo>
                    <a:lnTo>
                      <a:pt x="809" y="212"/>
                    </a:lnTo>
                    <a:lnTo>
                      <a:pt x="809" y="212"/>
                    </a:lnTo>
                    <a:lnTo>
                      <a:pt x="810" y="212"/>
                    </a:lnTo>
                    <a:lnTo>
                      <a:pt x="810" y="212"/>
                    </a:lnTo>
                    <a:lnTo>
                      <a:pt x="812" y="207"/>
                    </a:lnTo>
                    <a:lnTo>
                      <a:pt x="812" y="205"/>
                    </a:lnTo>
                    <a:lnTo>
                      <a:pt x="810" y="203"/>
                    </a:lnTo>
                    <a:lnTo>
                      <a:pt x="809" y="201"/>
                    </a:lnTo>
                    <a:lnTo>
                      <a:pt x="807" y="201"/>
                    </a:lnTo>
                    <a:lnTo>
                      <a:pt x="807" y="200"/>
                    </a:lnTo>
                    <a:lnTo>
                      <a:pt x="812" y="193"/>
                    </a:lnTo>
                    <a:lnTo>
                      <a:pt x="814" y="193"/>
                    </a:lnTo>
                    <a:lnTo>
                      <a:pt x="816" y="191"/>
                    </a:lnTo>
                    <a:lnTo>
                      <a:pt x="826" y="187"/>
                    </a:lnTo>
                    <a:lnTo>
                      <a:pt x="826" y="185"/>
                    </a:lnTo>
                    <a:lnTo>
                      <a:pt x="830" y="184"/>
                    </a:lnTo>
                    <a:lnTo>
                      <a:pt x="834" y="185"/>
                    </a:lnTo>
                    <a:lnTo>
                      <a:pt x="851" y="182"/>
                    </a:lnTo>
                    <a:lnTo>
                      <a:pt x="853" y="180"/>
                    </a:lnTo>
                    <a:lnTo>
                      <a:pt x="855" y="176"/>
                    </a:lnTo>
                    <a:lnTo>
                      <a:pt x="855" y="175"/>
                    </a:lnTo>
                    <a:lnTo>
                      <a:pt x="857" y="176"/>
                    </a:lnTo>
                    <a:lnTo>
                      <a:pt x="857" y="178"/>
                    </a:lnTo>
                    <a:lnTo>
                      <a:pt x="859" y="178"/>
                    </a:lnTo>
                    <a:lnTo>
                      <a:pt x="860" y="178"/>
                    </a:lnTo>
                    <a:lnTo>
                      <a:pt x="864" y="176"/>
                    </a:lnTo>
                    <a:lnTo>
                      <a:pt x="866" y="176"/>
                    </a:lnTo>
                    <a:lnTo>
                      <a:pt x="866" y="178"/>
                    </a:lnTo>
                    <a:lnTo>
                      <a:pt x="867" y="178"/>
                    </a:lnTo>
                    <a:lnTo>
                      <a:pt x="871" y="176"/>
                    </a:lnTo>
                    <a:lnTo>
                      <a:pt x="873" y="178"/>
                    </a:lnTo>
                    <a:lnTo>
                      <a:pt x="876" y="175"/>
                    </a:lnTo>
                    <a:lnTo>
                      <a:pt x="876" y="175"/>
                    </a:lnTo>
                    <a:lnTo>
                      <a:pt x="876" y="171"/>
                    </a:lnTo>
                    <a:lnTo>
                      <a:pt x="876" y="169"/>
                    </a:lnTo>
                    <a:lnTo>
                      <a:pt x="875" y="169"/>
                    </a:lnTo>
                    <a:lnTo>
                      <a:pt x="875" y="173"/>
                    </a:lnTo>
                    <a:lnTo>
                      <a:pt x="875" y="175"/>
                    </a:lnTo>
                    <a:lnTo>
                      <a:pt x="873" y="175"/>
                    </a:lnTo>
                    <a:lnTo>
                      <a:pt x="867" y="173"/>
                    </a:lnTo>
                    <a:lnTo>
                      <a:pt x="866" y="169"/>
                    </a:lnTo>
                    <a:lnTo>
                      <a:pt x="864" y="169"/>
                    </a:lnTo>
                    <a:lnTo>
                      <a:pt x="864" y="166"/>
                    </a:lnTo>
                    <a:lnTo>
                      <a:pt x="862" y="164"/>
                    </a:lnTo>
                    <a:lnTo>
                      <a:pt x="860" y="162"/>
                    </a:lnTo>
                    <a:lnTo>
                      <a:pt x="860" y="162"/>
                    </a:lnTo>
                    <a:lnTo>
                      <a:pt x="860" y="160"/>
                    </a:lnTo>
                    <a:lnTo>
                      <a:pt x="860" y="160"/>
                    </a:lnTo>
                    <a:lnTo>
                      <a:pt x="862" y="159"/>
                    </a:lnTo>
                    <a:lnTo>
                      <a:pt x="862" y="157"/>
                    </a:lnTo>
                    <a:lnTo>
                      <a:pt x="864" y="157"/>
                    </a:lnTo>
                    <a:lnTo>
                      <a:pt x="860" y="150"/>
                    </a:lnTo>
                    <a:lnTo>
                      <a:pt x="862" y="146"/>
                    </a:lnTo>
                    <a:lnTo>
                      <a:pt x="867" y="143"/>
                    </a:lnTo>
                    <a:lnTo>
                      <a:pt x="871" y="135"/>
                    </a:lnTo>
                    <a:lnTo>
                      <a:pt x="873" y="132"/>
                    </a:lnTo>
                    <a:lnTo>
                      <a:pt x="875" y="130"/>
                    </a:lnTo>
                    <a:lnTo>
                      <a:pt x="876" y="128"/>
                    </a:lnTo>
                    <a:lnTo>
                      <a:pt x="878" y="128"/>
                    </a:lnTo>
                    <a:lnTo>
                      <a:pt x="878" y="132"/>
                    </a:lnTo>
                    <a:lnTo>
                      <a:pt x="878" y="132"/>
                    </a:lnTo>
                    <a:lnTo>
                      <a:pt x="880" y="130"/>
                    </a:lnTo>
                    <a:lnTo>
                      <a:pt x="880" y="126"/>
                    </a:lnTo>
                    <a:lnTo>
                      <a:pt x="882" y="126"/>
                    </a:lnTo>
                    <a:lnTo>
                      <a:pt x="882" y="128"/>
                    </a:lnTo>
                    <a:lnTo>
                      <a:pt x="884" y="128"/>
                    </a:lnTo>
                    <a:lnTo>
                      <a:pt x="885" y="128"/>
                    </a:lnTo>
                    <a:lnTo>
                      <a:pt x="885" y="126"/>
                    </a:lnTo>
                    <a:lnTo>
                      <a:pt x="887" y="125"/>
                    </a:lnTo>
                    <a:lnTo>
                      <a:pt x="889" y="125"/>
                    </a:lnTo>
                    <a:lnTo>
                      <a:pt x="889" y="125"/>
                    </a:lnTo>
                    <a:lnTo>
                      <a:pt x="891" y="123"/>
                    </a:lnTo>
                    <a:lnTo>
                      <a:pt x="891" y="121"/>
                    </a:lnTo>
                    <a:lnTo>
                      <a:pt x="892" y="119"/>
                    </a:lnTo>
                    <a:lnTo>
                      <a:pt x="892" y="116"/>
                    </a:lnTo>
                    <a:lnTo>
                      <a:pt x="894" y="114"/>
                    </a:lnTo>
                    <a:lnTo>
                      <a:pt x="894" y="114"/>
                    </a:lnTo>
                    <a:lnTo>
                      <a:pt x="896" y="114"/>
                    </a:lnTo>
                    <a:lnTo>
                      <a:pt x="896" y="116"/>
                    </a:lnTo>
                    <a:lnTo>
                      <a:pt x="896" y="118"/>
                    </a:lnTo>
                    <a:lnTo>
                      <a:pt x="898" y="118"/>
                    </a:lnTo>
                    <a:lnTo>
                      <a:pt x="900" y="118"/>
                    </a:lnTo>
                    <a:lnTo>
                      <a:pt x="901" y="119"/>
                    </a:lnTo>
                    <a:lnTo>
                      <a:pt x="903" y="119"/>
                    </a:lnTo>
                    <a:lnTo>
                      <a:pt x="905" y="118"/>
                    </a:lnTo>
                    <a:lnTo>
                      <a:pt x="907" y="116"/>
                    </a:lnTo>
                    <a:lnTo>
                      <a:pt x="909" y="116"/>
                    </a:lnTo>
                    <a:lnTo>
                      <a:pt x="910" y="116"/>
                    </a:lnTo>
                    <a:lnTo>
                      <a:pt x="910" y="114"/>
                    </a:lnTo>
                    <a:lnTo>
                      <a:pt x="916" y="112"/>
                    </a:lnTo>
                    <a:lnTo>
                      <a:pt x="916" y="112"/>
                    </a:lnTo>
                    <a:lnTo>
                      <a:pt x="917" y="112"/>
                    </a:lnTo>
                    <a:lnTo>
                      <a:pt x="919" y="110"/>
                    </a:lnTo>
                    <a:lnTo>
                      <a:pt x="921" y="110"/>
                    </a:lnTo>
                    <a:lnTo>
                      <a:pt x="923" y="109"/>
                    </a:lnTo>
                    <a:lnTo>
                      <a:pt x="925" y="107"/>
                    </a:lnTo>
                    <a:lnTo>
                      <a:pt x="923" y="10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04" name="Freeform 1852"/>
              <p:cNvSpPr>
                <a:spLocks/>
              </p:cNvSpPr>
              <p:nvPr/>
            </p:nvSpPr>
            <p:spPr bwMode="auto">
              <a:xfrm>
                <a:off x="96" y="1261"/>
                <a:ext cx="9" cy="9"/>
              </a:xfrm>
              <a:custGeom>
                <a:avLst/>
                <a:gdLst>
                  <a:gd name="T0" fmla="*/ 2 w 9"/>
                  <a:gd name="T1" fmla="*/ 0 h 9"/>
                  <a:gd name="T2" fmla="*/ 2 w 9"/>
                  <a:gd name="T3" fmla="*/ 2 h 9"/>
                  <a:gd name="T4" fmla="*/ 4 w 9"/>
                  <a:gd name="T5" fmla="*/ 0 h 9"/>
                  <a:gd name="T6" fmla="*/ 4 w 9"/>
                  <a:gd name="T7" fmla="*/ 0 h 9"/>
                  <a:gd name="T8" fmla="*/ 6 w 9"/>
                  <a:gd name="T9" fmla="*/ 2 h 9"/>
                  <a:gd name="T10" fmla="*/ 9 w 9"/>
                  <a:gd name="T11" fmla="*/ 7 h 9"/>
                  <a:gd name="T12" fmla="*/ 8 w 9"/>
                  <a:gd name="T13" fmla="*/ 9 h 9"/>
                  <a:gd name="T14" fmla="*/ 4 w 9"/>
                  <a:gd name="T15" fmla="*/ 9 h 9"/>
                  <a:gd name="T16" fmla="*/ 2 w 9"/>
                  <a:gd name="T17" fmla="*/ 7 h 9"/>
                  <a:gd name="T18" fmla="*/ 0 w 9"/>
                  <a:gd name="T19" fmla="*/ 4 h 9"/>
                  <a:gd name="T20" fmla="*/ 0 w 9"/>
                  <a:gd name="T21" fmla="*/ 0 h 9"/>
                  <a:gd name="T22" fmla="*/ 2 w 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9">
                    <a:moveTo>
                      <a:pt x="2" y="0"/>
                    </a:moveTo>
                    <a:lnTo>
                      <a:pt x="2" y="2"/>
                    </a:lnTo>
                    <a:lnTo>
                      <a:pt x="4" y="0"/>
                    </a:lnTo>
                    <a:lnTo>
                      <a:pt x="4" y="0"/>
                    </a:lnTo>
                    <a:lnTo>
                      <a:pt x="6" y="2"/>
                    </a:lnTo>
                    <a:lnTo>
                      <a:pt x="9" y="7"/>
                    </a:lnTo>
                    <a:lnTo>
                      <a:pt x="8" y="9"/>
                    </a:lnTo>
                    <a:lnTo>
                      <a:pt x="4" y="9"/>
                    </a:lnTo>
                    <a:lnTo>
                      <a:pt x="2" y="7"/>
                    </a:lnTo>
                    <a:lnTo>
                      <a:pt x="0" y="4"/>
                    </a:lnTo>
                    <a:lnTo>
                      <a:pt x="0"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05" name="Freeform 1853"/>
              <p:cNvSpPr>
                <a:spLocks/>
              </p:cNvSpPr>
              <p:nvPr/>
            </p:nvSpPr>
            <p:spPr bwMode="auto">
              <a:xfrm>
                <a:off x="96" y="1261"/>
                <a:ext cx="9" cy="9"/>
              </a:xfrm>
              <a:custGeom>
                <a:avLst/>
                <a:gdLst>
                  <a:gd name="T0" fmla="*/ 2 w 9"/>
                  <a:gd name="T1" fmla="*/ 0 h 9"/>
                  <a:gd name="T2" fmla="*/ 2 w 9"/>
                  <a:gd name="T3" fmla="*/ 2 h 9"/>
                  <a:gd name="T4" fmla="*/ 4 w 9"/>
                  <a:gd name="T5" fmla="*/ 0 h 9"/>
                  <a:gd name="T6" fmla="*/ 4 w 9"/>
                  <a:gd name="T7" fmla="*/ 0 h 9"/>
                  <a:gd name="T8" fmla="*/ 6 w 9"/>
                  <a:gd name="T9" fmla="*/ 2 h 9"/>
                  <a:gd name="T10" fmla="*/ 9 w 9"/>
                  <a:gd name="T11" fmla="*/ 7 h 9"/>
                  <a:gd name="T12" fmla="*/ 8 w 9"/>
                  <a:gd name="T13" fmla="*/ 9 h 9"/>
                  <a:gd name="T14" fmla="*/ 4 w 9"/>
                  <a:gd name="T15" fmla="*/ 9 h 9"/>
                  <a:gd name="T16" fmla="*/ 2 w 9"/>
                  <a:gd name="T17" fmla="*/ 7 h 9"/>
                  <a:gd name="T18" fmla="*/ 0 w 9"/>
                  <a:gd name="T19" fmla="*/ 4 h 9"/>
                  <a:gd name="T20" fmla="*/ 0 w 9"/>
                  <a:gd name="T21" fmla="*/ 0 h 9"/>
                  <a:gd name="T22" fmla="*/ 2 w 9"/>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9">
                    <a:moveTo>
                      <a:pt x="2" y="0"/>
                    </a:moveTo>
                    <a:lnTo>
                      <a:pt x="2" y="2"/>
                    </a:lnTo>
                    <a:lnTo>
                      <a:pt x="4" y="0"/>
                    </a:lnTo>
                    <a:lnTo>
                      <a:pt x="4" y="0"/>
                    </a:lnTo>
                    <a:lnTo>
                      <a:pt x="6" y="2"/>
                    </a:lnTo>
                    <a:lnTo>
                      <a:pt x="9" y="7"/>
                    </a:lnTo>
                    <a:lnTo>
                      <a:pt x="8" y="9"/>
                    </a:lnTo>
                    <a:lnTo>
                      <a:pt x="4" y="9"/>
                    </a:lnTo>
                    <a:lnTo>
                      <a:pt x="2" y="7"/>
                    </a:lnTo>
                    <a:lnTo>
                      <a:pt x="0" y="4"/>
                    </a:lnTo>
                    <a:lnTo>
                      <a:pt x="0"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06" name="Freeform 1854"/>
              <p:cNvSpPr>
                <a:spLocks/>
              </p:cNvSpPr>
              <p:nvPr/>
            </p:nvSpPr>
            <p:spPr bwMode="auto">
              <a:xfrm>
                <a:off x="0" y="1699"/>
                <a:ext cx="7" cy="8"/>
              </a:xfrm>
              <a:custGeom>
                <a:avLst/>
                <a:gdLst>
                  <a:gd name="T0" fmla="*/ 0 w 7"/>
                  <a:gd name="T1" fmla="*/ 1 h 8"/>
                  <a:gd name="T2" fmla="*/ 5 w 7"/>
                  <a:gd name="T3" fmla="*/ 0 h 8"/>
                  <a:gd name="T4" fmla="*/ 7 w 7"/>
                  <a:gd name="T5" fmla="*/ 1 h 8"/>
                  <a:gd name="T6" fmla="*/ 7 w 7"/>
                  <a:gd name="T7" fmla="*/ 3 h 8"/>
                  <a:gd name="T8" fmla="*/ 7 w 7"/>
                  <a:gd name="T9" fmla="*/ 5 h 8"/>
                  <a:gd name="T10" fmla="*/ 0 w 7"/>
                  <a:gd name="T11" fmla="*/ 8 h 8"/>
                  <a:gd name="T12" fmla="*/ 0 w 7"/>
                  <a:gd name="T13" fmla="*/ 1 h 8"/>
                  <a:gd name="T14" fmla="*/ 0 w 7"/>
                  <a:gd name="T15" fmla="*/ 1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0" y="1"/>
                    </a:moveTo>
                    <a:lnTo>
                      <a:pt x="5" y="0"/>
                    </a:lnTo>
                    <a:lnTo>
                      <a:pt x="7" y="1"/>
                    </a:lnTo>
                    <a:lnTo>
                      <a:pt x="7" y="3"/>
                    </a:lnTo>
                    <a:lnTo>
                      <a:pt x="7" y="5"/>
                    </a:lnTo>
                    <a:lnTo>
                      <a:pt x="0" y="8"/>
                    </a:lnTo>
                    <a:lnTo>
                      <a:pt x="0" y="1"/>
                    </a:lnTo>
                    <a:lnTo>
                      <a:pt x="0"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07" name="Freeform 1855"/>
              <p:cNvSpPr>
                <a:spLocks/>
              </p:cNvSpPr>
              <p:nvPr/>
            </p:nvSpPr>
            <p:spPr bwMode="auto">
              <a:xfrm>
                <a:off x="11" y="1686"/>
                <a:ext cx="23" cy="20"/>
              </a:xfrm>
              <a:custGeom>
                <a:avLst/>
                <a:gdLst>
                  <a:gd name="T0" fmla="*/ 0 w 23"/>
                  <a:gd name="T1" fmla="*/ 20 h 20"/>
                  <a:gd name="T2" fmla="*/ 0 w 23"/>
                  <a:gd name="T3" fmla="*/ 18 h 20"/>
                  <a:gd name="T4" fmla="*/ 0 w 23"/>
                  <a:gd name="T5" fmla="*/ 18 h 20"/>
                  <a:gd name="T6" fmla="*/ 7 w 23"/>
                  <a:gd name="T7" fmla="*/ 16 h 20"/>
                  <a:gd name="T8" fmla="*/ 9 w 23"/>
                  <a:gd name="T9" fmla="*/ 14 h 20"/>
                  <a:gd name="T10" fmla="*/ 9 w 23"/>
                  <a:gd name="T11" fmla="*/ 11 h 20"/>
                  <a:gd name="T12" fmla="*/ 10 w 23"/>
                  <a:gd name="T13" fmla="*/ 9 h 20"/>
                  <a:gd name="T14" fmla="*/ 12 w 23"/>
                  <a:gd name="T15" fmla="*/ 9 h 20"/>
                  <a:gd name="T16" fmla="*/ 14 w 23"/>
                  <a:gd name="T17" fmla="*/ 9 h 20"/>
                  <a:gd name="T18" fmla="*/ 12 w 23"/>
                  <a:gd name="T19" fmla="*/ 7 h 20"/>
                  <a:gd name="T20" fmla="*/ 10 w 23"/>
                  <a:gd name="T21" fmla="*/ 7 h 20"/>
                  <a:gd name="T22" fmla="*/ 9 w 23"/>
                  <a:gd name="T23" fmla="*/ 4 h 20"/>
                  <a:gd name="T24" fmla="*/ 10 w 23"/>
                  <a:gd name="T25" fmla="*/ 2 h 20"/>
                  <a:gd name="T26" fmla="*/ 12 w 23"/>
                  <a:gd name="T27" fmla="*/ 2 h 20"/>
                  <a:gd name="T28" fmla="*/ 14 w 23"/>
                  <a:gd name="T29" fmla="*/ 0 h 20"/>
                  <a:gd name="T30" fmla="*/ 16 w 23"/>
                  <a:gd name="T31" fmla="*/ 2 h 20"/>
                  <a:gd name="T32" fmla="*/ 18 w 23"/>
                  <a:gd name="T33" fmla="*/ 4 h 20"/>
                  <a:gd name="T34" fmla="*/ 19 w 23"/>
                  <a:gd name="T35" fmla="*/ 0 h 20"/>
                  <a:gd name="T36" fmla="*/ 21 w 23"/>
                  <a:gd name="T37" fmla="*/ 0 h 20"/>
                  <a:gd name="T38" fmla="*/ 23 w 23"/>
                  <a:gd name="T39" fmla="*/ 2 h 20"/>
                  <a:gd name="T40" fmla="*/ 21 w 23"/>
                  <a:gd name="T41" fmla="*/ 4 h 20"/>
                  <a:gd name="T42" fmla="*/ 19 w 23"/>
                  <a:gd name="T43" fmla="*/ 7 h 20"/>
                  <a:gd name="T44" fmla="*/ 18 w 23"/>
                  <a:gd name="T45" fmla="*/ 9 h 20"/>
                  <a:gd name="T46" fmla="*/ 19 w 23"/>
                  <a:gd name="T47" fmla="*/ 7 h 20"/>
                  <a:gd name="T48" fmla="*/ 19 w 23"/>
                  <a:gd name="T49" fmla="*/ 9 h 20"/>
                  <a:gd name="T50" fmla="*/ 19 w 23"/>
                  <a:gd name="T51" fmla="*/ 11 h 20"/>
                  <a:gd name="T52" fmla="*/ 16 w 23"/>
                  <a:gd name="T53" fmla="*/ 13 h 20"/>
                  <a:gd name="T54" fmla="*/ 14 w 23"/>
                  <a:gd name="T55" fmla="*/ 14 h 20"/>
                  <a:gd name="T56" fmla="*/ 12 w 23"/>
                  <a:gd name="T57" fmla="*/ 14 h 20"/>
                  <a:gd name="T58" fmla="*/ 7 w 23"/>
                  <a:gd name="T59" fmla="*/ 18 h 20"/>
                  <a:gd name="T60" fmla="*/ 0 w 23"/>
                  <a:gd name="T6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 h="20">
                    <a:moveTo>
                      <a:pt x="0" y="20"/>
                    </a:moveTo>
                    <a:lnTo>
                      <a:pt x="0" y="18"/>
                    </a:lnTo>
                    <a:lnTo>
                      <a:pt x="0" y="18"/>
                    </a:lnTo>
                    <a:lnTo>
                      <a:pt x="7" y="16"/>
                    </a:lnTo>
                    <a:lnTo>
                      <a:pt x="9" y="14"/>
                    </a:lnTo>
                    <a:lnTo>
                      <a:pt x="9" y="11"/>
                    </a:lnTo>
                    <a:lnTo>
                      <a:pt x="10" y="9"/>
                    </a:lnTo>
                    <a:lnTo>
                      <a:pt x="12" y="9"/>
                    </a:lnTo>
                    <a:lnTo>
                      <a:pt x="14" y="9"/>
                    </a:lnTo>
                    <a:lnTo>
                      <a:pt x="12" y="7"/>
                    </a:lnTo>
                    <a:lnTo>
                      <a:pt x="10" y="7"/>
                    </a:lnTo>
                    <a:lnTo>
                      <a:pt x="9" y="4"/>
                    </a:lnTo>
                    <a:lnTo>
                      <a:pt x="10" y="2"/>
                    </a:lnTo>
                    <a:lnTo>
                      <a:pt x="12" y="2"/>
                    </a:lnTo>
                    <a:lnTo>
                      <a:pt x="14" y="0"/>
                    </a:lnTo>
                    <a:lnTo>
                      <a:pt x="16" y="2"/>
                    </a:lnTo>
                    <a:lnTo>
                      <a:pt x="18" y="4"/>
                    </a:lnTo>
                    <a:lnTo>
                      <a:pt x="19" y="0"/>
                    </a:lnTo>
                    <a:lnTo>
                      <a:pt x="21" y="0"/>
                    </a:lnTo>
                    <a:lnTo>
                      <a:pt x="23" y="2"/>
                    </a:lnTo>
                    <a:lnTo>
                      <a:pt x="21" y="4"/>
                    </a:lnTo>
                    <a:lnTo>
                      <a:pt x="19" y="7"/>
                    </a:lnTo>
                    <a:lnTo>
                      <a:pt x="18" y="9"/>
                    </a:lnTo>
                    <a:lnTo>
                      <a:pt x="19" y="7"/>
                    </a:lnTo>
                    <a:lnTo>
                      <a:pt x="19" y="9"/>
                    </a:lnTo>
                    <a:lnTo>
                      <a:pt x="19" y="11"/>
                    </a:lnTo>
                    <a:lnTo>
                      <a:pt x="16" y="13"/>
                    </a:lnTo>
                    <a:lnTo>
                      <a:pt x="14" y="14"/>
                    </a:lnTo>
                    <a:lnTo>
                      <a:pt x="12" y="14"/>
                    </a:lnTo>
                    <a:lnTo>
                      <a:pt x="7" y="18"/>
                    </a:lnTo>
                    <a:lnTo>
                      <a:pt x="0" y="2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08" name="Freeform 1856"/>
              <p:cNvSpPr>
                <a:spLocks/>
              </p:cNvSpPr>
              <p:nvPr/>
            </p:nvSpPr>
            <p:spPr bwMode="auto">
              <a:xfrm>
                <a:off x="11" y="1686"/>
                <a:ext cx="23" cy="20"/>
              </a:xfrm>
              <a:custGeom>
                <a:avLst/>
                <a:gdLst>
                  <a:gd name="T0" fmla="*/ 0 w 23"/>
                  <a:gd name="T1" fmla="*/ 20 h 20"/>
                  <a:gd name="T2" fmla="*/ 0 w 23"/>
                  <a:gd name="T3" fmla="*/ 18 h 20"/>
                  <a:gd name="T4" fmla="*/ 0 w 23"/>
                  <a:gd name="T5" fmla="*/ 18 h 20"/>
                  <a:gd name="T6" fmla="*/ 7 w 23"/>
                  <a:gd name="T7" fmla="*/ 16 h 20"/>
                  <a:gd name="T8" fmla="*/ 9 w 23"/>
                  <a:gd name="T9" fmla="*/ 14 h 20"/>
                  <a:gd name="T10" fmla="*/ 9 w 23"/>
                  <a:gd name="T11" fmla="*/ 11 h 20"/>
                  <a:gd name="T12" fmla="*/ 10 w 23"/>
                  <a:gd name="T13" fmla="*/ 9 h 20"/>
                  <a:gd name="T14" fmla="*/ 12 w 23"/>
                  <a:gd name="T15" fmla="*/ 9 h 20"/>
                  <a:gd name="T16" fmla="*/ 14 w 23"/>
                  <a:gd name="T17" fmla="*/ 9 h 20"/>
                  <a:gd name="T18" fmla="*/ 12 w 23"/>
                  <a:gd name="T19" fmla="*/ 7 h 20"/>
                  <a:gd name="T20" fmla="*/ 10 w 23"/>
                  <a:gd name="T21" fmla="*/ 7 h 20"/>
                  <a:gd name="T22" fmla="*/ 9 w 23"/>
                  <a:gd name="T23" fmla="*/ 4 h 20"/>
                  <a:gd name="T24" fmla="*/ 10 w 23"/>
                  <a:gd name="T25" fmla="*/ 2 h 20"/>
                  <a:gd name="T26" fmla="*/ 12 w 23"/>
                  <a:gd name="T27" fmla="*/ 2 h 20"/>
                  <a:gd name="T28" fmla="*/ 14 w 23"/>
                  <a:gd name="T29" fmla="*/ 0 h 20"/>
                  <a:gd name="T30" fmla="*/ 16 w 23"/>
                  <a:gd name="T31" fmla="*/ 2 h 20"/>
                  <a:gd name="T32" fmla="*/ 18 w 23"/>
                  <a:gd name="T33" fmla="*/ 4 h 20"/>
                  <a:gd name="T34" fmla="*/ 19 w 23"/>
                  <a:gd name="T35" fmla="*/ 0 h 20"/>
                  <a:gd name="T36" fmla="*/ 21 w 23"/>
                  <a:gd name="T37" fmla="*/ 0 h 20"/>
                  <a:gd name="T38" fmla="*/ 23 w 23"/>
                  <a:gd name="T39" fmla="*/ 2 h 20"/>
                  <a:gd name="T40" fmla="*/ 21 w 23"/>
                  <a:gd name="T41" fmla="*/ 4 h 20"/>
                  <a:gd name="T42" fmla="*/ 19 w 23"/>
                  <a:gd name="T43" fmla="*/ 7 h 20"/>
                  <a:gd name="T44" fmla="*/ 18 w 23"/>
                  <a:gd name="T45" fmla="*/ 9 h 20"/>
                  <a:gd name="T46" fmla="*/ 19 w 23"/>
                  <a:gd name="T47" fmla="*/ 7 h 20"/>
                  <a:gd name="T48" fmla="*/ 19 w 23"/>
                  <a:gd name="T49" fmla="*/ 9 h 20"/>
                  <a:gd name="T50" fmla="*/ 19 w 23"/>
                  <a:gd name="T51" fmla="*/ 11 h 20"/>
                  <a:gd name="T52" fmla="*/ 16 w 23"/>
                  <a:gd name="T53" fmla="*/ 13 h 20"/>
                  <a:gd name="T54" fmla="*/ 14 w 23"/>
                  <a:gd name="T55" fmla="*/ 14 h 20"/>
                  <a:gd name="T56" fmla="*/ 12 w 23"/>
                  <a:gd name="T57" fmla="*/ 14 h 20"/>
                  <a:gd name="T58" fmla="*/ 7 w 23"/>
                  <a:gd name="T59" fmla="*/ 18 h 20"/>
                  <a:gd name="T60" fmla="*/ 0 w 23"/>
                  <a:gd name="T6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 h="20">
                    <a:moveTo>
                      <a:pt x="0" y="20"/>
                    </a:moveTo>
                    <a:lnTo>
                      <a:pt x="0" y="18"/>
                    </a:lnTo>
                    <a:lnTo>
                      <a:pt x="0" y="18"/>
                    </a:lnTo>
                    <a:lnTo>
                      <a:pt x="7" y="16"/>
                    </a:lnTo>
                    <a:lnTo>
                      <a:pt x="9" y="14"/>
                    </a:lnTo>
                    <a:lnTo>
                      <a:pt x="9" y="11"/>
                    </a:lnTo>
                    <a:lnTo>
                      <a:pt x="10" y="9"/>
                    </a:lnTo>
                    <a:lnTo>
                      <a:pt x="12" y="9"/>
                    </a:lnTo>
                    <a:lnTo>
                      <a:pt x="14" y="9"/>
                    </a:lnTo>
                    <a:lnTo>
                      <a:pt x="12" y="7"/>
                    </a:lnTo>
                    <a:lnTo>
                      <a:pt x="10" y="7"/>
                    </a:lnTo>
                    <a:lnTo>
                      <a:pt x="9" y="4"/>
                    </a:lnTo>
                    <a:lnTo>
                      <a:pt x="10" y="2"/>
                    </a:lnTo>
                    <a:lnTo>
                      <a:pt x="12" y="2"/>
                    </a:lnTo>
                    <a:lnTo>
                      <a:pt x="14" y="0"/>
                    </a:lnTo>
                    <a:lnTo>
                      <a:pt x="16" y="2"/>
                    </a:lnTo>
                    <a:lnTo>
                      <a:pt x="18" y="4"/>
                    </a:lnTo>
                    <a:lnTo>
                      <a:pt x="19" y="0"/>
                    </a:lnTo>
                    <a:lnTo>
                      <a:pt x="21" y="0"/>
                    </a:lnTo>
                    <a:lnTo>
                      <a:pt x="23" y="2"/>
                    </a:lnTo>
                    <a:lnTo>
                      <a:pt x="21" y="4"/>
                    </a:lnTo>
                    <a:lnTo>
                      <a:pt x="19" y="7"/>
                    </a:lnTo>
                    <a:lnTo>
                      <a:pt x="18" y="9"/>
                    </a:lnTo>
                    <a:lnTo>
                      <a:pt x="19" y="7"/>
                    </a:lnTo>
                    <a:lnTo>
                      <a:pt x="19" y="9"/>
                    </a:lnTo>
                    <a:lnTo>
                      <a:pt x="19" y="11"/>
                    </a:lnTo>
                    <a:lnTo>
                      <a:pt x="16" y="13"/>
                    </a:lnTo>
                    <a:lnTo>
                      <a:pt x="14" y="14"/>
                    </a:lnTo>
                    <a:lnTo>
                      <a:pt x="12" y="14"/>
                    </a:lnTo>
                    <a:lnTo>
                      <a:pt x="7" y="18"/>
                    </a:lnTo>
                    <a:lnTo>
                      <a:pt x="0" y="2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09" name="Freeform 1857"/>
              <p:cNvSpPr>
                <a:spLocks/>
              </p:cNvSpPr>
              <p:nvPr/>
            </p:nvSpPr>
            <p:spPr bwMode="auto">
              <a:xfrm>
                <a:off x="37" y="1679"/>
                <a:ext cx="6" cy="7"/>
              </a:xfrm>
              <a:custGeom>
                <a:avLst/>
                <a:gdLst>
                  <a:gd name="T0" fmla="*/ 2 w 6"/>
                  <a:gd name="T1" fmla="*/ 0 h 7"/>
                  <a:gd name="T2" fmla="*/ 2 w 6"/>
                  <a:gd name="T3" fmla="*/ 2 h 7"/>
                  <a:gd name="T4" fmla="*/ 4 w 6"/>
                  <a:gd name="T5" fmla="*/ 2 h 7"/>
                  <a:gd name="T6" fmla="*/ 6 w 6"/>
                  <a:gd name="T7" fmla="*/ 5 h 7"/>
                  <a:gd name="T8" fmla="*/ 4 w 6"/>
                  <a:gd name="T9" fmla="*/ 7 h 7"/>
                  <a:gd name="T10" fmla="*/ 0 w 6"/>
                  <a:gd name="T11" fmla="*/ 5 h 7"/>
                  <a:gd name="T12" fmla="*/ 0 w 6"/>
                  <a:gd name="T13" fmla="*/ 3 h 7"/>
                  <a:gd name="T14" fmla="*/ 0 w 6"/>
                  <a:gd name="T15" fmla="*/ 2 h 7"/>
                  <a:gd name="T16" fmla="*/ 2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2" y="0"/>
                    </a:moveTo>
                    <a:lnTo>
                      <a:pt x="2" y="2"/>
                    </a:lnTo>
                    <a:lnTo>
                      <a:pt x="4" y="2"/>
                    </a:lnTo>
                    <a:lnTo>
                      <a:pt x="6" y="5"/>
                    </a:lnTo>
                    <a:lnTo>
                      <a:pt x="4" y="7"/>
                    </a:lnTo>
                    <a:lnTo>
                      <a:pt x="0" y="5"/>
                    </a:lnTo>
                    <a:lnTo>
                      <a:pt x="0" y="3"/>
                    </a:lnTo>
                    <a:lnTo>
                      <a:pt x="0"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10" name="Freeform 1858"/>
              <p:cNvSpPr>
                <a:spLocks/>
              </p:cNvSpPr>
              <p:nvPr/>
            </p:nvSpPr>
            <p:spPr bwMode="auto">
              <a:xfrm>
                <a:off x="37" y="1679"/>
                <a:ext cx="6" cy="7"/>
              </a:xfrm>
              <a:custGeom>
                <a:avLst/>
                <a:gdLst>
                  <a:gd name="T0" fmla="*/ 2 w 6"/>
                  <a:gd name="T1" fmla="*/ 0 h 7"/>
                  <a:gd name="T2" fmla="*/ 2 w 6"/>
                  <a:gd name="T3" fmla="*/ 2 h 7"/>
                  <a:gd name="T4" fmla="*/ 4 w 6"/>
                  <a:gd name="T5" fmla="*/ 2 h 7"/>
                  <a:gd name="T6" fmla="*/ 6 w 6"/>
                  <a:gd name="T7" fmla="*/ 5 h 7"/>
                  <a:gd name="T8" fmla="*/ 4 w 6"/>
                  <a:gd name="T9" fmla="*/ 7 h 7"/>
                  <a:gd name="T10" fmla="*/ 0 w 6"/>
                  <a:gd name="T11" fmla="*/ 5 h 7"/>
                  <a:gd name="T12" fmla="*/ 0 w 6"/>
                  <a:gd name="T13" fmla="*/ 3 h 7"/>
                  <a:gd name="T14" fmla="*/ 0 w 6"/>
                  <a:gd name="T15" fmla="*/ 2 h 7"/>
                  <a:gd name="T16" fmla="*/ 2 w 6"/>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7">
                    <a:moveTo>
                      <a:pt x="2" y="0"/>
                    </a:moveTo>
                    <a:lnTo>
                      <a:pt x="2" y="2"/>
                    </a:lnTo>
                    <a:lnTo>
                      <a:pt x="4" y="2"/>
                    </a:lnTo>
                    <a:lnTo>
                      <a:pt x="6" y="5"/>
                    </a:lnTo>
                    <a:lnTo>
                      <a:pt x="4" y="7"/>
                    </a:lnTo>
                    <a:lnTo>
                      <a:pt x="0" y="5"/>
                    </a:lnTo>
                    <a:lnTo>
                      <a:pt x="0" y="3"/>
                    </a:lnTo>
                    <a:lnTo>
                      <a:pt x="0"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11" name="Freeform 1859"/>
              <p:cNvSpPr>
                <a:spLocks/>
              </p:cNvSpPr>
              <p:nvPr/>
            </p:nvSpPr>
            <p:spPr bwMode="auto">
              <a:xfrm>
                <a:off x="55" y="1656"/>
                <a:ext cx="29" cy="21"/>
              </a:xfrm>
              <a:custGeom>
                <a:avLst/>
                <a:gdLst>
                  <a:gd name="T0" fmla="*/ 0 w 29"/>
                  <a:gd name="T1" fmla="*/ 14 h 21"/>
                  <a:gd name="T2" fmla="*/ 7 w 29"/>
                  <a:gd name="T3" fmla="*/ 9 h 21"/>
                  <a:gd name="T4" fmla="*/ 7 w 29"/>
                  <a:gd name="T5" fmla="*/ 3 h 21"/>
                  <a:gd name="T6" fmla="*/ 13 w 29"/>
                  <a:gd name="T7" fmla="*/ 5 h 21"/>
                  <a:gd name="T8" fmla="*/ 16 w 29"/>
                  <a:gd name="T9" fmla="*/ 3 h 21"/>
                  <a:gd name="T10" fmla="*/ 20 w 29"/>
                  <a:gd name="T11" fmla="*/ 0 h 21"/>
                  <a:gd name="T12" fmla="*/ 24 w 29"/>
                  <a:gd name="T13" fmla="*/ 1 h 21"/>
                  <a:gd name="T14" fmla="*/ 25 w 29"/>
                  <a:gd name="T15" fmla="*/ 7 h 21"/>
                  <a:gd name="T16" fmla="*/ 27 w 29"/>
                  <a:gd name="T17" fmla="*/ 9 h 21"/>
                  <a:gd name="T18" fmla="*/ 29 w 29"/>
                  <a:gd name="T19" fmla="*/ 9 h 21"/>
                  <a:gd name="T20" fmla="*/ 29 w 29"/>
                  <a:gd name="T21" fmla="*/ 10 h 21"/>
                  <a:gd name="T22" fmla="*/ 29 w 29"/>
                  <a:gd name="T23" fmla="*/ 10 h 21"/>
                  <a:gd name="T24" fmla="*/ 29 w 29"/>
                  <a:gd name="T25" fmla="*/ 12 h 21"/>
                  <a:gd name="T26" fmla="*/ 27 w 29"/>
                  <a:gd name="T27" fmla="*/ 10 h 21"/>
                  <a:gd name="T28" fmla="*/ 25 w 29"/>
                  <a:gd name="T29" fmla="*/ 12 h 21"/>
                  <a:gd name="T30" fmla="*/ 22 w 29"/>
                  <a:gd name="T31" fmla="*/ 14 h 21"/>
                  <a:gd name="T32" fmla="*/ 15 w 29"/>
                  <a:gd name="T33" fmla="*/ 12 h 21"/>
                  <a:gd name="T34" fmla="*/ 6 w 29"/>
                  <a:gd name="T35" fmla="*/ 21 h 21"/>
                  <a:gd name="T36" fmla="*/ 2 w 29"/>
                  <a:gd name="T37" fmla="*/ 18 h 21"/>
                  <a:gd name="T38" fmla="*/ 0 w 29"/>
                  <a:gd name="T39"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21">
                    <a:moveTo>
                      <a:pt x="0" y="14"/>
                    </a:moveTo>
                    <a:lnTo>
                      <a:pt x="7" y="9"/>
                    </a:lnTo>
                    <a:lnTo>
                      <a:pt x="7" y="3"/>
                    </a:lnTo>
                    <a:lnTo>
                      <a:pt x="13" y="5"/>
                    </a:lnTo>
                    <a:lnTo>
                      <a:pt x="16" y="3"/>
                    </a:lnTo>
                    <a:lnTo>
                      <a:pt x="20" y="0"/>
                    </a:lnTo>
                    <a:lnTo>
                      <a:pt x="24" y="1"/>
                    </a:lnTo>
                    <a:lnTo>
                      <a:pt x="25" y="7"/>
                    </a:lnTo>
                    <a:lnTo>
                      <a:pt x="27" y="9"/>
                    </a:lnTo>
                    <a:lnTo>
                      <a:pt x="29" y="9"/>
                    </a:lnTo>
                    <a:lnTo>
                      <a:pt x="29" y="10"/>
                    </a:lnTo>
                    <a:lnTo>
                      <a:pt x="29" y="10"/>
                    </a:lnTo>
                    <a:lnTo>
                      <a:pt x="29" y="12"/>
                    </a:lnTo>
                    <a:lnTo>
                      <a:pt x="27" y="10"/>
                    </a:lnTo>
                    <a:lnTo>
                      <a:pt x="25" y="12"/>
                    </a:lnTo>
                    <a:lnTo>
                      <a:pt x="22" y="14"/>
                    </a:lnTo>
                    <a:lnTo>
                      <a:pt x="15" y="12"/>
                    </a:lnTo>
                    <a:lnTo>
                      <a:pt x="6" y="21"/>
                    </a:lnTo>
                    <a:lnTo>
                      <a:pt x="2" y="18"/>
                    </a:lnTo>
                    <a:lnTo>
                      <a:pt x="0" y="1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12" name="Freeform 1860"/>
              <p:cNvSpPr>
                <a:spLocks/>
              </p:cNvSpPr>
              <p:nvPr/>
            </p:nvSpPr>
            <p:spPr bwMode="auto">
              <a:xfrm>
                <a:off x="55" y="1656"/>
                <a:ext cx="29" cy="21"/>
              </a:xfrm>
              <a:custGeom>
                <a:avLst/>
                <a:gdLst>
                  <a:gd name="T0" fmla="*/ 0 w 29"/>
                  <a:gd name="T1" fmla="*/ 14 h 21"/>
                  <a:gd name="T2" fmla="*/ 7 w 29"/>
                  <a:gd name="T3" fmla="*/ 9 h 21"/>
                  <a:gd name="T4" fmla="*/ 7 w 29"/>
                  <a:gd name="T5" fmla="*/ 3 h 21"/>
                  <a:gd name="T6" fmla="*/ 13 w 29"/>
                  <a:gd name="T7" fmla="*/ 5 h 21"/>
                  <a:gd name="T8" fmla="*/ 16 w 29"/>
                  <a:gd name="T9" fmla="*/ 3 h 21"/>
                  <a:gd name="T10" fmla="*/ 20 w 29"/>
                  <a:gd name="T11" fmla="*/ 0 h 21"/>
                  <a:gd name="T12" fmla="*/ 24 w 29"/>
                  <a:gd name="T13" fmla="*/ 1 h 21"/>
                  <a:gd name="T14" fmla="*/ 25 w 29"/>
                  <a:gd name="T15" fmla="*/ 7 h 21"/>
                  <a:gd name="T16" fmla="*/ 27 w 29"/>
                  <a:gd name="T17" fmla="*/ 9 h 21"/>
                  <a:gd name="T18" fmla="*/ 29 w 29"/>
                  <a:gd name="T19" fmla="*/ 9 h 21"/>
                  <a:gd name="T20" fmla="*/ 29 w 29"/>
                  <a:gd name="T21" fmla="*/ 10 h 21"/>
                  <a:gd name="T22" fmla="*/ 29 w 29"/>
                  <a:gd name="T23" fmla="*/ 10 h 21"/>
                  <a:gd name="T24" fmla="*/ 29 w 29"/>
                  <a:gd name="T25" fmla="*/ 12 h 21"/>
                  <a:gd name="T26" fmla="*/ 27 w 29"/>
                  <a:gd name="T27" fmla="*/ 10 h 21"/>
                  <a:gd name="T28" fmla="*/ 25 w 29"/>
                  <a:gd name="T29" fmla="*/ 12 h 21"/>
                  <a:gd name="T30" fmla="*/ 22 w 29"/>
                  <a:gd name="T31" fmla="*/ 14 h 21"/>
                  <a:gd name="T32" fmla="*/ 15 w 29"/>
                  <a:gd name="T33" fmla="*/ 12 h 21"/>
                  <a:gd name="T34" fmla="*/ 6 w 29"/>
                  <a:gd name="T35" fmla="*/ 21 h 21"/>
                  <a:gd name="T36" fmla="*/ 2 w 29"/>
                  <a:gd name="T37" fmla="*/ 18 h 21"/>
                  <a:gd name="T38" fmla="*/ 0 w 29"/>
                  <a:gd name="T39"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 h="21">
                    <a:moveTo>
                      <a:pt x="0" y="14"/>
                    </a:moveTo>
                    <a:lnTo>
                      <a:pt x="7" y="9"/>
                    </a:lnTo>
                    <a:lnTo>
                      <a:pt x="7" y="3"/>
                    </a:lnTo>
                    <a:lnTo>
                      <a:pt x="13" y="5"/>
                    </a:lnTo>
                    <a:lnTo>
                      <a:pt x="16" y="3"/>
                    </a:lnTo>
                    <a:lnTo>
                      <a:pt x="20" y="0"/>
                    </a:lnTo>
                    <a:lnTo>
                      <a:pt x="24" y="1"/>
                    </a:lnTo>
                    <a:lnTo>
                      <a:pt x="25" y="7"/>
                    </a:lnTo>
                    <a:lnTo>
                      <a:pt x="27" y="9"/>
                    </a:lnTo>
                    <a:lnTo>
                      <a:pt x="29" y="9"/>
                    </a:lnTo>
                    <a:lnTo>
                      <a:pt x="29" y="10"/>
                    </a:lnTo>
                    <a:lnTo>
                      <a:pt x="29" y="10"/>
                    </a:lnTo>
                    <a:lnTo>
                      <a:pt x="29" y="12"/>
                    </a:lnTo>
                    <a:lnTo>
                      <a:pt x="27" y="10"/>
                    </a:lnTo>
                    <a:lnTo>
                      <a:pt x="25" y="12"/>
                    </a:lnTo>
                    <a:lnTo>
                      <a:pt x="22" y="14"/>
                    </a:lnTo>
                    <a:lnTo>
                      <a:pt x="15" y="12"/>
                    </a:lnTo>
                    <a:lnTo>
                      <a:pt x="6" y="21"/>
                    </a:lnTo>
                    <a:lnTo>
                      <a:pt x="2" y="18"/>
                    </a:lnTo>
                    <a:lnTo>
                      <a:pt x="0" y="1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13" name="Freeform 1861"/>
              <p:cNvSpPr>
                <a:spLocks/>
              </p:cNvSpPr>
              <p:nvPr/>
            </p:nvSpPr>
            <p:spPr bwMode="auto">
              <a:xfrm>
                <a:off x="91" y="1674"/>
                <a:ext cx="2" cy="1"/>
              </a:xfrm>
              <a:custGeom>
                <a:avLst/>
                <a:gdLst>
                  <a:gd name="T0" fmla="*/ 0 w 2"/>
                  <a:gd name="T1" fmla="*/ 0 h 1"/>
                  <a:gd name="T2" fmla="*/ 2 w 2"/>
                  <a:gd name="T3" fmla="*/ 0 h 1"/>
                  <a:gd name="T4" fmla="*/ 2 w 2"/>
                  <a:gd name="T5" fmla="*/ 0 h 1"/>
                  <a:gd name="T6" fmla="*/ 2 w 2"/>
                  <a:gd name="T7" fmla="*/ 1 h 1"/>
                  <a:gd name="T8" fmla="*/ 2 w 2"/>
                  <a:gd name="T9" fmla="*/ 1 h 1"/>
                  <a:gd name="T10" fmla="*/ 0 w 2"/>
                  <a:gd name="T11" fmla="*/ 1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lnTo>
                      <a:pt x="2" y="0"/>
                    </a:lnTo>
                    <a:lnTo>
                      <a:pt x="2" y="0"/>
                    </a:lnTo>
                    <a:lnTo>
                      <a:pt x="2" y="1"/>
                    </a:lnTo>
                    <a:lnTo>
                      <a:pt x="2" y="1"/>
                    </a:lnTo>
                    <a:lnTo>
                      <a:pt x="0" y="1"/>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14" name="Freeform 1862"/>
              <p:cNvSpPr>
                <a:spLocks/>
              </p:cNvSpPr>
              <p:nvPr/>
            </p:nvSpPr>
            <p:spPr bwMode="auto">
              <a:xfrm>
                <a:off x="91" y="1674"/>
                <a:ext cx="2" cy="1"/>
              </a:xfrm>
              <a:custGeom>
                <a:avLst/>
                <a:gdLst>
                  <a:gd name="T0" fmla="*/ 0 w 2"/>
                  <a:gd name="T1" fmla="*/ 0 h 1"/>
                  <a:gd name="T2" fmla="*/ 2 w 2"/>
                  <a:gd name="T3" fmla="*/ 0 h 1"/>
                  <a:gd name="T4" fmla="*/ 2 w 2"/>
                  <a:gd name="T5" fmla="*/ 0 h 1"/>
                  <a:gd name="T6" fmla="*/ 2 w 2"/>
                  <a:gd name="T7" fmla="*/ 1 h 1"/>
                  <a:gd name="T8" fmla="*/ 2 w 2"/>
                  <a:gd name="T9" fmla="*/ 1 h 1"/>
                  <a:gd name="T10" fmla="*/ 0 w 2"/>
                  <a:gd name="T11" fmla="*/ 1 h 1"/>
                  <a:gd name="T12" fmla="*/ 0 w 2"/>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0" y="0"/>
                    </a:moveTo>
                    <a:lnTo>
                      <a:pt x="2" y="0"/>
                    </a:lnTo>
                    <a:lnTo>
                      <a:pt x="2" y="0"/>
                    </a:lnTo>
                    <a:lnTo>
                      <a:pt x="2" y="1"/>
                    </a:lnTo>
                    <a:lnTo>
                      <a:pt x="2" y="1"/>
                    </a:lnTo>
                    <a:lnTo>
                      <a:pt x="0" y="1"/>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15" name="Freeform 1863"/>
              <p:cNvSpPr>
                <a:spLocks/>
              </p:cNvSpPr>
              <p:nvPr/>
            </p:nvSpPr>
            <p:spPr bwMode="auto">
              <a:xfrm>
                <a:off x="121" y="1647"/>
                <a:ext cx="6" cy="7"/>
              </a:xfrm>
              <a:custGeom>
                <a:avLst/>
                <a:gdLst>
                  <a:gd name="T0" fmla="*/ 4 w 6"/>
                  <a:gd name="T1" fmla="*/ 2 h 7"/>
                  <a:gd name="T2" fmla="*/ 2 w 6"/>
                  <a:gd name="T3" fmla="*/ 0 h 7"/>
                  <a:gd name="T4" fmla="*/ 4 w 6"/>
                  <a:gd name="T5" fmla="*/ 2 h 7"/>
                  <a:gd name="T6" fmla="*/ 4 w 6"/>
                  <a:gd name="T7" fmla="*/ 2 h 7"/>
                  <a:gd name="T8" fmla="*/ 4 w 6"/>
                  <a:gd name="T9" fmla="*/ 2 h 7"/>
                  <a:gd name="T10" fmla="*/ 6 w 6"/>
                  <a:gd name="T11" fmla="*/ 0 h 7"/>
                  <a:gd name="T12" fmla="*/ 6 w 6"/>
                  <a:gd name="T13" fmla="*/ 2 h 7"/>
                  <a:gd name="T14" fmla="*/ 6 w 6"/>
                  <a:gd name="T15" fmla="*/ 3 h 7"/>
                  <a:gd name="T16" fmla="*/ 6 w 6"/>
                  <a:gd name="T17" fmla="*/ 5 h 7"/>
                  <a:gd name="T18" fmla="*/ 6 w 6"/>
                  <a:gd name="T19" fmla="*/ 7 h 7"/>
                  <a:gd name="T20" fmla="*/ 4 w 6"/>
                  <a:gd name="T21" fmla="*/ 5 h 7"/>
                  <a:gd name="T22" fmla="*/ 2 w 6"/>
                  <a:gd name="T23" fmla="*/ 7 h 7"/>
                  <a:gd name="T24" fmla="*/ 0 w 6"/>
                  <a:gd name="T25" fmla="*/ 2 h 7"/>
                  <a:gd name="T26" fmla="*/ 2 w 6"/>
                  <a:gd name="T27" fmla="*/ 0 h 7"/>
                  <a:gd name="T28" fmla="*/ 2 w 6"/>
                  <a:gd name="T29" fmla="*/ 2 h 7"/>
                  <a:gd name="T30" fmla="*/ 4 w 6"/>
                  <a:gd name="T31" fmla="*/ 3 h 7"/>
                  <a:gd name="T32" fmla="*/ 4 w 6"/>
                  <a:gd name="T3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7">
                    <a:moveTo>
                      <a:pt x="4" y="2"/>
                    </a:moveTo>
                    <a:lnTo>
                      <a:pt x="2" y="0"/>
                    </a:lnTo>
                    <a:lnTo>
                      <a:pt x="4" y="2"/>
                    </a:lnTo>
                    <a:lnTo>
                      <a:pt x="4" y="2"/>
                    </a:lnTo>
                    <a:lnTo>
                      <a:pt x="4" y="2"/>
                    </a:lnTo>
                    <a:lnTo>
                      <a:pt x="6" y="0"/>
                    </a:lnTo>
                    <a:lnTo>
                      <a:pt x="6" y="2"/>
                    </a:lnTo>
                    <a:lnTo>
                      <a:pt x="6" y="3"/>
                    </a:lnTo>
                    <a:lnTo>
                      <a:pt x="6" y="5"/>
                    </a:lnTo>
                    <a:lnTo>
                      <a:pt x="6" y="7"/>
                    </a:lnTo>
                    <a:lnTo>
                      <a:pt x="4" y="5"/>
                    </a:lnTo>
                    <a:lnTo>
                      <a:pt x="2" y="7"/>
                    </a:lnTo>
                    <a:lnTo>
                      <a:pt x="0" y="2"/>
                    </a:lnTo>
                    <a:lnTo>
                      <a:pt x="2" y="0"/>
                    </a:lnTo>
                    <a:lnTo>
                      <a:pt x="2" y="2"/>
                    </a:lnTo>
                    <a:lnTo>
                      <a:pt x="4" y="3"/>
                    </a:lnTo>
                    <a:lnTo>
                      <a:pt x="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16" name="Freeform 1864"/>
              <p:cNvSpPr>
                <a:spLocks/>
              </p:cNvSpPr>
              <p:nvPr/>
            </p:nvSpPr>
            <p:spPr bwMode="auto">
              <a:xfrm>
                <a:off x="121" y="1647"/>
                <a:ext cx="6" cy="7"/>
              </a:xfrm>
              <a:custGeom>
                <a:avLst/>
                <a:gdLst>
                  <a:gd name="T0" fmla="*/ 4 w 6"/>
                  <a:gd name="T1" fmla="*/ 2 h 7"/>
                  <a:gd name="T2" fmla="*/ 2 w 6"/>
                  <a:gd name="T3" fmla="*/ 0 h 7"/>
                  <a:gd name="T4" fmla="*/ 4 w 6"/>
                  <a:gd name="T5" fmla="*/ 2 h 7"/>
                  <a:gd name="T6" fmla="*/ 4 w 6"/>
                  <a:gd name="T7" fmla="*/ 2 h 7"/>
                  <a:gd name="T8" fmla="*/ 4 w 6"/>
                  <a:gd name="T9" fmla="*/ 2 h 7"/>
                  <a:gd name="T10" fmla="*/ 6 w 6"/>
                  <a:gd name="T11" fmla="*/ 0 h 7"/>
                  <a:gd name="T12" fmla="*/ 6 w 6"/>
                  <a:gd name="T13" fmla="*/ 2 h 7"/>
                  <a:gd name="T14" fmla="*/ 6 w 6"/>
                  <a:gd name="T15" fmla="*/ 3 h 7"/>
                  <a:gd name="T16" fmla="*/ 6 w 6"/>
                  <a:gd name="T17" fmla="*/ 5 h 7"/>
                  <a:gd name="T18" fmla="*/ 6 w 6"/>
                  <a:gd name="T19" fmla="*/ 7 h 7"/>
                  <a:gd name="T20" fmla="*/ 4 w 6"/>
                  <a:gd name="T21" fmla="*/ 5 h 7"/>
                  <a:gd name="T22" fmla="*/ 2 w 6"/>
                  <a:gd name="T23" fmla="*/ 7 h 7"/>
                  <a:gd name="T24" fmla="*/ 0 w 6"/>
                  <a:gd name="T25" fmla="*/ 2 h 7"/>
                  <a:gd name="T26" fmla="*/ 2 w 6"/>
                  <a:gd name="T27" fmla="*/ 0 h 7"/>
                  <a:gd name="T28" fmla="*/ 2 w 6"/>
                  <a:gd name="T29" fmla="*/ 2 h 7"/>
                  <a:gd name="T30" fmla="*/ 4 w 6"/>
                  <a:gd name="T31" fmla="*/ 3 h 7"/>
                  <a:gd name="T32" fmla="*/ 4 w 6"/>
                  <a:gd name="T3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 h="7">
                    <a:moveTo>
                      <a:pt x="4" y="2"/>
                    </a:moveTo>
                    <a:lnTo>
                      <a:pt x="2" y="0"/>
                    </a:lnTo>
                    <a:lnTo>
                      <a:pt x="4" y="2"/>
                    </a:lnTo>
                    <a:lnTo>
                      <a:pt x="4" y="2"/>
                    </a:lnTo>
                    <a:lnTo>
                      <a:pt x="4" y="2"/>
                    </a:lnTo>
                    <a:lnTo>
                      <a:pt x="6" y="0"/>
                    </a:lnTo>
                    <a:lnTo>
                      <a:pt x="6" y="2"/>
                    </a:lnTo>
                    <a:lnTo>
                      <a:pt x="6" y="3"/>
                    </a:lnTo>
                    <a:lnTo>
                      <a:pt x="6" y="5"/>
                    </a:lnTo>
                    <a:lnTo>
                      <a:pt x="6" y="7"/>
                    </a:lnTo>
                    <a:lnTo>
                      <a:pt x="4" y="5"/>
                    </a:lnTo>
                    <a:lnTo>
                      <a:pt x="2" y="7"/>
                    </a:lnTo>
                    <a:lnTo>
                      <a:pt x="0" y="2"/>
                    </a:lnTo>
                    <a:lnTo>
                      <a:pt x="2" y="0"/>
                    </a:lnTo>
                    <a:lnTo>
                      <a:pt x="2" y="2"/>
                    </a:lnTo>
                    <a:lnTo>
                      <a:pt x="4" y="3"/>
                    </a:lnTo>
                    <a:lnTo>
                      <a:pt x="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17" name="Freeform 1865"/>
              <p:cNvSpPr>
                <a:spLocks/>
              </p:cNvSpPr>
              <p:nvPr/>
            </p:nvSpPr>
            <p:spPr bwMode="auto">
              <a:xfrm>
                <a:off x="159" y="1622"/>
                <a:ext cx="3" cy="9"/>
              </a:xfrm>
              <a:custGeom>
                <a:avLst/>
                <a:gdLst>
                  <a:gd name="T0" fmla="*/ 0 w 3"/>
                  <a:gd name="T1" fmla="*/ 0 h 9"/>
                  <a:gd name="T2" fmla="*/ 0 w 3"/>
                  <a:gd name="T3" fmla="*/ 0 h 9"/>
                  <a:gd name="T4" fmla="*/ 0 w 3"/>
                  <a:gd name="T5" fmla="*/ 0 h 9"/>
                  <a:gd name="T6" fmla="*/ 2 w 3"/>
                  <a:gd name="T7" fmla="*/ 0 h 9"/>
                  <a:gd name="T8" fmla="*/ 3 w 3"/>
                  <a:gd name="T9" fmla="*/ 0 h 9"/>
                  <a:gd name="T10" fmla="*/ 3 w 3"/>
                  <a:gd name="T11" fmla="*/ 2 h 9"/>
                  <a:gd name="T12" fmla="*/ 3 w 3"/>
                  <a:gd name="T13" fmla="*/ 3 h 9"/>
                  <a:gd name="T14" fmla="*/ 2 w 3"/>
                  <a:gd name="T15" fmla="*/ 9 h 9"/>
                  <a:gd name="T16" fmla="*/ 2 w 3"/>
                  <a:gd name="T17" fmla="*/ 7 h 9"/>
                  <a:gd name="T18" fmla="*/ 2 w 3"/>
                  <a:gd name="T19" fmla="*/ 2 h 9"/>
                  <a:gd name="T20" fmla="*/ 0 w 3"/>
                  <a:gd name="T21" fmla="*/ 0 h 9"/>
                  <a:gd name="T22" fmla="*/ 0 w 3"/>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0"/>
                    </a:moveTo>
                    <a:lnTo>
                      <a:pt x="0" y="0"/>
                    </a:lnTo>
                    <a:lnTo>
                      <a:pt x="0" y="0"/>
                    </a:lnTo>
                    <a:lnTo>
                      <a:pt x="2" y="0"/>
                    </a:lnTo>
                    <a:lnTo>
                      <a:pt x="3" y="0"/>
                    </a:lnTo>
                    <a:lnTo>
                      <a:pt x="3" y="2"/>
                    </a:lnTo>
                    <a:lnTo>
                      <a:pt x="3" y="3"/>
                    </a:lnTo>
                    <a:lnTo>
                      <a:pt x="2" y="9"/>
                    </a:lnTo>
                    <a:lnTo>
                      <a:pt x="2" y="7"/>
                    </a:lnTo>
                    <a:lnTo>
                      <a:pt x="2" y="2"/>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18" name="Freeform 1866"/>
              <p:cNvSpPr>
                <a:spLocks/>
              </p:cNvSpPr>
              <p:nvPr/>
            </p:nvSpPr>
            <p:spPr bwMode="auto">
              <a:xfrm>
                <a:off x="159" y="1622"/>
                <a:ext cx="3" cy="9"/>
              </a:xfrm>
              <a:custGeom>
                <a:avLst/>
                <a:gdLst>
                  <a:gd name="T0" fmla="*/ 0 w 3"/>
                  <a:gd name="T1" fmla="*/ 0 h 9"/>
                  <a:gd name="T2" fmla="*/ 0 w 3"/>
                  <a:gd name="T3" fmla="*/ 0 h 9"/>
                  <a:gd name="T4" fmla="*/ 0 w 3"/>
                  <a:gd name="T5" fmla="*/ 0 h 9"/>
                  <a:gd name="T6" fmla="*/ 2 w 3"/>
                  <a:gd name="T7" fmla="*/ 0 h 9"/>
                  <a:gd name="T8" fmla="*/ 3 w 3"/>
                  <a:gd name="T9" fmla="*/ 0 h 9"/>
                  <a:gd name="T10" fmla="*/ 3 w 3"/>
                  <a:gd name="T11" fmla="*/ 2 h 9"/>
                  <a:gd name="T12" fmla="*/ 3 w 3"/>
                  <a:gd name="T13" fmla="*/ 3 h 9"/>
                  <a:gd name="T14" fmla="*/ 2 w 3"/>
                  <a:gd name="T15" fmla="*/ 9 h 9"/>
                  <a:gd name="T16" fmla="*/ 2 w 3"/>
                  <a:gd name="T17" fmla="*/ 7 h 9"/>
                  <a:gd name="T18" fmla="*/ 2 w 3"/>
                  <a:gd name="T19" fmla="*/ 2 h 9"/>
                  <a:gd name="T20" fmla="*/ 0 w 3"/>
                  <a:gd name="T21" fmla="*/ 0 h 9"/>
                  <a:gd name="T22" fmla="*/ 0 w 3"/>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9">
                    <a:moveTo>
                      <a:pt x="0" y="0"/>
                    </a:moveTo>
                    <a:lnTo>
                      <a:pt x="0" y="0"/>
                    </a:lnTo>
                    <a:lnTo>
                      <a:pt x="0" y="0"/>
                    </a:lnTo>
                    <a:lnTo>
                      <a:pt x="2" y="0"/>
                    </a:lnTo>
                    <a:lnTo>
                      <a:pt x="3" y="0"/>
                    </a:lnTo>
                    <a:lnTo>
                      <a:pt x="3" y="2"/>
                    </a:lnTo>
                    <a:lnTo>
                      <a:pt x="3" y="3"/>
                    </a:lnTo>
                    <a:lnTo>
                      <a:pt x="2" y="9"/>
                    </a:lnTo>
                    <a:lnTo>
                      <a:pt x="2" y="7"/>
                    </a:lnTo>
                    <a:lnTo>
                      <a:pt x="2" y="2"/>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19" name="Freeform 1867"/>
              <p:cNvSpPr>
                <a:spLocks/>
              </p:cNvSpPr>
              <p:nvPr/>
            </p:nvSpPr>
            <p:spPr bwMode="auto">
              <a:xfrm>
                <a:off x="220" y="1615"/>
                <a:ext cx="3" cy="5"/>
              </a:xfrm>
              <a:custGeom>
                <a:avLst/>
                <a:gdLst>
                  <a:gd name="T0" fmla="*/ 0 w 3"/>
                  <a:gd name="T1" fmla="*/ 0 h 5"/>
                  <a:gd name="T2" fmla="*/ 3 w 3"/>
                  <a:gd name="T3" fmla="*/ 0 h 5"/>
                  <a:gd name="T4" fmla="*/ 3 w 3"/>
                  <a:gd name="T5" fmla="*/ 0 h 5"/>
                  <a:gd name="T6" fmla="*/ 3 w 3"/>
                  <a:gd name="T7" fmla="*/ 1 h 5"/>
                  <a:gd name="T8" fmla="*/ 1 w 3"/>
                  <a:gd name="T9" fmla="*/ 5 h 5"/>
                  <a:gd name="T10" fmla="*/ 0 w 3"/>
                  <a:gd name="T11" fmla="*/ 5 h 5"/>
                  <a:gd name="T12" fmla="*/ 0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0"/>
                    </a:moveTo>
                    <a:lnTo>
                      <a:pt x="3" y="0"/>
                    </a:lnTo>
                    <a:lnTo>
                      <a:pt x="3" y="0"/>
                    </a:lnTo>
                    <a:lnTo>
                      <a:pt x="3" y="1"/>
                    </a:lnTo>
                    <a:lnTo>
                      <a:pt x="1" y="5"/>
                    </a:lnTo>
                    <a:lnTo>
                      <a:pt x="0" y="5"/>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20" name="Freeform 1868"/>
              <p:cNvSpPr>
                <a:spLocks/>
              </p:cNvSpPr>
              <p:nvPr/>
            </p:nvSpPr>
            <p:spPr bwMode="auto">
              <a:xfrm>
                <a:off x="220" y="1615"/>
                <a:ext cx="3" cy="5"/>
              </a:xfrm>
              <a:custGeom>
                <a:avLst/>
                <a:gdLst>
                  <a:gd name="T0" fmla="*/ 0 w 3"/>
                  <a:gd name="T1" fmla="*/ 0 h 5"/>
                  <a:gd name="T2" fmla="*/ 3 w 3"/>
                  <a:gd name="T3" fmla="*/ 0 h 5"/>
                  <a:gd name="T4" fmla="*/ 3 w 3"/>
                  <a:gd name="T5" fmla="*/ 0 h 5"/>
                  <a:gd name="T6" fmla="*/ 3 w 3"/>
                  <a:gd name="T7" fmla="*/ 1 h 5"/>
                  <a:gd name="T8" fmla="*/ 1 w 3"/>
                  <a:gd name="T9" fmla="*/ 5 h 5"/>
                  <a:gd name="T10" fmla="*/ 0 w 3"/>
                  <a:gd name="T11" fmla="*/ 5 h 5"/>
                  <a:gd name="T12" fmla="*/ 0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0"/>
                    </a:moveTo>
                    <a:lnTo>
                      <a:pt x="3" y="0"/>
                    </a:lnTo>
                    <a:lnTo>
                      <a:pt x="3" y="0"/>
                    </a:lnTo>
                    <a:lnTo>
                      <a:pt x="3" y="1"/>
                    </a:lnTo>
                    <a:lnTo>
                      <a:pt x="1" y="5"/>
                    </a:lnTo>
                    <a:lnTo>
                      <a:pt x="0" y="5"/>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21" name="Freeform 1869"/>
              <p:cNvSpPr>
                <a:spLocks/>
              </p:cNvSpPr>
              <p:nvPr/>
            </p:nvSpPr>
            <p:spPr bwMode="auto">
              <a:xfrm>
                <a:off x="227" y="1613"/>
                <a:ext cx="3" cy="3"/>
              </a:xfrm>
              <a:custGeom>
                <a:avLst/>
                <a:gdLst>
                  <a:gd name="T0" fmla="*/ 2 w 3"/>
                  <a:gd name="T1" fmla="*/ 3 h 3"/>
                  <a:gd name="T2" fmla="*/ 0 w 3"/>
                  <a:gd name="T3" fmla="*/ 2 h 3"/>
                  <a:gd name="T4" fmla="*/ 0 w 3"/>
                  <a:gd name="T5" fmla="*/ 2 h 3"/>
                  <a:gd name="T6" fmla="*/ 2 w 3"/>
                  <a:gd name="T7" fmla="*/ 0 h 3"/>
                  <a:gd name="T8" fmla="*/ 3 w 3"/>
                  <a:gd name="T9" fmla="*/ 0 h 3"/>
                  <a:gd name="T10" fmla="*/ 3 w 3"/>
                  <a:gd name="T11" fmla="*/ 2 h 3"/>
                  <a:gd name="T12" fmla="*/ 2 w 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2" y="3"/>
                    </a:moveTo>
                    <a:lnTo>
                      <a:pt x="0" y="2"/>
                    </a:lnTo>
                    <a:lnTo>
                      <a:pt x="0" y="2"/>
                    </a:lnTo>
                    <a:lnTo>
                      <a:pt x="2" y="0"/>
                    </a:lnTo>
                    <a:lnTo>
                      <a:pt x="3" y="0"/>
                    </a:lnTo>
                    <a:lnTo>
                      <a:pt x="3" y="2"/>
                    </a:lnTo>
                    <a:lnTo>
                      <a:pt x="2"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22" name="Freeform 1870"/>
              <p:cNvSpPr>
                <a:spLocks/>
              </p:cNvSpPr>
              <p:nvPr/>
            </p:nvSpPr>
            <p:spPr bwMode="auto">
              <a:xfrm>
                <a:off x="227" y="1613"/>
                <a:ext cx="3" cy="3"/>
              </a:xfrm>
              <a:custGeom>
                <a:avLst/>
                <a:gdLst>
                  <a:gd name="T0" fmla="*/ 2 w 3"/>
                  <a:gd name="T1" fmla="*/ 3 h 3"/>
                  <a:gd name="T2" fmla="*/ 0 w 3"/>
                  <a:gd name="T3" fmla="*/ 2 h 3"/>
                  <a:gd name="T4" fmla="*/ 0 w 3"/>
                  <a:gd name="T5" fmla="*/ 2 h 3"/>
                  <a:gd name="T6" fmla="*/ 2 w 3"/>
                  <a:gd name="T7" fmla="*/ 0 h 3"/>
                  <a:gd name="T8" fmla="*/ 3 w 3"/>
                  <a:gd name="T9" fmla="*/ 0 h 3"/>
                  <a:gd name="T10" fmla="*/ 3 w 3"/>
                  <a:gd name="T11" fmla="*/ 2 h 3"/>
                  <a:gd name="T12" fmla="*/ 2 w 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2" y="3"/>
                    </a:moveTo>
                    <a:lnTo>
                      <a:pt x="0" y="2"/>
                    </a:lnTo>
                    <a:lnTo>
                      <a:pt x="0" y="2"/>
                    </a:lnTo>
                    <a:lnTo>
                      <a:pt x="2" y="0"/>
                    </a:lnTo>
                    <a:lnTo>
                      <a:pt x="3" y="0"/>
                    </a:lnTo>
                    <a:lnTo>
                      <a:pt x="3" y="2"/>
                    </a:lnTo>
                    <a:lnTo>
                      <a:pt x="2"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23" name="Freeform 1871"/>
              <p:cNvSpPr>
                <a:spLocks/>
              </p:cNvSpPr>
              <p:nvPr/>
            </p:nvSpPr>
            <p:spPr bwMode="auto">
              <a:xfrm>
                <a:off x="241" y="1597"/>
                <a:ext cx="9" cy="5"/>
              </a:xfrm>
              <a:custGeom>
                <a:avLst/>
                <a:gdLst>
                  <a:gd name="T0" fmla="*/ 5 w 9"/>
                  <a:gd name="T1" fmla="*/ 2 h 5"/>
                  <a:gd name="T2" fmla="*/ 2 w 9"/>
                  <a:gd name="T3" fmla="*/ 5 h 5"/>
                  <a:gd name="T4" fmla="*/ 0 w 9"/>
                  <a:gd name="T5" fmla="*/ 2 h 5"/>
                  <a:gd name="T6" fmla="*/ 2 w 9"/>
                  <a:gd name="T7" fmla="*/ 0 h 5"/>
                  <a:gd name="T8" fmla="*/ 4 w 9"/>
                  <a:gd name="T9" fmla="*/ 0 h 5"/>
                  <a:gd name="T10" fmla="*/ 5 w 9"/>
                  <a:gd name="T11" fmla="*/ 0 h 5"/>
                  <a:gd name="T12" fmla="*/ 9 w 9"/>
                  <a:gd name="T13" fmla="*/ 0 h 5"/>
                  <a:gd name="T14" fmla="*/ 9 w 9"/>
                  <a:gd name="T15" fmla="*/ 0 h 5"/>
                  <a:gd name="T16" fmla="*/ 5 w 9"/>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5" y="2"/>
                    </a:moveTo>
                    <a:lnTo>
                      <a:pt x="2" y="5"/>
                    </a:lnTo>
                    <a:lnTo>
                      <a:pt x="0" y="2"/>
                    </a:lnTo>
                    <a:lnTo>
                      <a:pt x="2" y="0"/>
                    </a:lnTo>
                    <a:lnTo>
                      <a:pt x="4" y="0"/>
                    </a:lnTo>
                    <a:lnTo>
                      <a:pt x="5" y="0"/>
                    </a:lnTo>
                    <a:lnTo>
                      <a:pt x="9" y="0"/>
                    </a:lnTo>
                    <a:lnTo>
                      <a:pt x="9" y="0"/>
                    </a:lnTo>
                    <a:lnTo>
                      <a:pt x="5"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24" name="Freeform 1872"/>
              <p:cNvSpPr>
                <a:spLocks/>
              </p:cNvSpPr>
              <p:nvPr/>
            </p:nvSpPr>
            <p:spPr bwMode="auto">
              <a:xfrm>
                <a:off x="241" y="1597"/>
                <a:ext cx="9" cy="5"/>
              </a:xfrm>
              <a:custGeom>
                <a:avLst/>
                <a:gdLst>
                  <a:gd name="T0" fmla="*/ 5 w 9"/>
                  <a:gd name="T1" fmla="*/ 2 h 5"/>
                  <a:gd name="T2" fmla="*/ 2 w 9"/>
                  <a:gd name="T3" fmla="*/ 5 h 5"/>
                  <a:gd name="T4" fmla="*/ 0 w 9"/>
                  <a:gd name="T5" fmla="*/ 2 h 5"/>
                  <a:gd name="T6" fmla="*/ 2 w 9"/>
                  <a:gd name="T7" fmla="*/ 0 h 5"/>
                  <a:gd name="T8" fmla="*/ 4 w 9"/>
                  <a:gd name="T9" fmla="*/ 0 h 5"/>
                  <a:gd name="T10" fmla="*/ 5 w 9"/>
                  <a:gd name="T11" fmla="*/ 0 h 5"/>
                  <a:gd name="T12" fmla="*/ 9 w 9"/>
                  <a:gd name="T13" fmla="*/ 0 h 5"/>
                  <a:gd name="T14" fmla="*/ 9 w 9"/>
                  <a:gd name="T15" fmla="*/ 0 h 5"/>
                  <a:gd name="T16" fmla="*/ 5 w 9"/>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5">
                    <a:moveTo>
                      <a:pt x="5" y="2"/>
                    </a:moveTo>
                    <a:lnTo>
                      <a:pt x="2" y="5"/>
                    </a:lnTo>
                    <a:lnTo>
                      <a:pt x="0" y="2"/>
                    </a:lnTo>
                    <a:lnTo>
                      <a:pt x="2" y="0"/>
                    </a:lnTo>
                    <a:lnTo>
                      <a:pt x="4" y="0"/>
                    </a:lnTo>
                    <a:lnTo>
                      <a:pt x="5" y="0"/>
                    </a:lnTo>
                    <a:lnTo>
                      <a:pt x="9" y="0"/>
                    </a:lnTo>
                    <a:lnTo>
                      <a:pt x="9" y="0"/>
                    </a:lnTo>
                    <a:lnTo>
                      <a:pt x="5"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25" name="Freeform 1873"/>
              <p:cNvSpPr>
                <a:spLocks/>
              </p:cNvSpPr>
              <p:nvPr/>
            </p:nvSpPr>
            <p:spPr bwMode="auto">
              <a:xfrm>
                <a:off x="218" y="1574"/>
                <a:ext cx="43" cy="35"/>
              </a:xfrm>
              <a:custGeom>
                <a:avLst/>
                <a:gdLst>
                  <a:gd name="T0" fmla="*/ 0 w 43"/>
                  <a:gd name="T1" fmla="*/ 17 h 35"/>
                  <a:gd name="T2" fmla="*/ 3 w 43"/>
                  <a:gd name="T3" fmla="*/ 17 h 35"/>
                  <a:gd name="T4" fmla="*/ 7 w 43"/>
                  <a:gd name="T5" fmla="*/ 10 h 35"/>
                  <a:gd name="T6" fmla="*/ 9 w 43"/>
                  <a:gd name="T7" fmla="*/ 8 h 35"/>
                  <a:gd name="T8" fmla="*/ 12 w 43"/>
                  <a:gd name="T9" fmla="*/ 12 h 35"/>
                  <a:gd name="T10" fmla="*/ 14 w 43"/>
                  <a:gd name="T11" fmla="*/ 16 h 35"/>
                  <a:gd name="T12" fmla="*/ 18 w 43"/>
                  <a:gd name="T13" fmla="*/ 12 h 35"/>
                  <a:gd name="T14" fmla="*/ 18 w 43"/>
                  <a:gd name="T15" fmla="*/ 10 h 35"/>
                  <a:gd name="T16" fmla="*/ 16 w 43"/>
                  <a:gd name="T17" fmla="*/ 5 h 35"/>
                  <a:gd name="T18" fmla="*/ 16 w 43"/>
                  <a:gd name="T19" fmla="*/ 1 h 35"/>
                  <a:gd name="T20" fmla="*/ 19 w 43"/>
                  <a:gd name="T21" fmla="*/ 5 h 35"/>
                  <a:gd name="T22" fmla="*/ 21 w 43"/>
                  <a:gd name="T23" fmla="*/ 8 h 35"/>
                  <a:gd name="T24" fmla="*/ 23 w 43"/>
                  <a:gd name="T25" fmla="*/ 3 h 35"/>
                  <a:gd name="T26" fmla="*/ 28 w 43"/>
                  <a:gd name="T27" fmla="*/ 3 h 35"/>
                  <a:gd name="T28" fmla="*/ 27 w 43"/>
                  <a:gd name="T29" fmla="*/ 0 h 35"/>
                  <a:gd name="T30" fmla="*/ 28 w 43"/>
                  <a:gd name="T31" fmla="*/ 0 h 35"/>
                  <a:gd name="T32" fmla="*/ 30 w 43"/>
                  <a:gd name="T33" fmla="*/ 5 h 35"/>
                  <a:gd name="T34" fmla="*/ 34 w 43"/>
                  <a:gd name="T35" fmla="*/ 1 h 35"/>
                  <a:gd name="T36" fmla="*/ 37 w 43"/>
                  <a:gd name="T37" fmla="*/ 3 h 35"/>
                  <a:gd name="T38" fmla="*/ 37 w 43"/>
                  <a:gd name="T39" fmla="*/ 7 h 35"/>
                  <a:gd name="T40" fmla="*/ 37 w 43"/>
                  <a:gd name="T41" fmla="*/ 8 h 35"/>
                  <a:gd name="T42" fmla="*/ 43 w 43"/>
                  <a:gd name="T43" fmla="*/ 10 h 35"/>
                  <a:gd name="T44" fmla="*/ 37 w 43"/>
                  <a:gd name="T45" fmla="*/ 14 h 35"/>
                  <a:gd name="T46" fmla="*/ 30 w 43"/>
                  <a:gd name="T47" fmla="*/ 12 h 35"/>
                  <a:gd name="T48" fmla="*/ 36 w 43"/>
                  <a:gd name="T49" fmla="*/ 16 h 35"/>
                  <a:gd name="T50" fmla="*/ 36 w 43"/>
                  <a:gd name="T51" fmla="*/ 19 h 35"/>
                  <a:gd name="T52" fmla="*/ 34 w 43"/>
                  <a:gd name="T53" fmla="*/ 17 h 35"/>
                  <a:gd name="T54" fmla="*/ 30 w 43"/>
                  <a:gd name="T55" fmla="*/ 17 h 35"/>
                  <a:gd name="T56" fmla="*/ 28 w 43"/>
                  <a:gd name="T57" fmla="*/ 19 h 35"/>
                  <a:gd name="T58" fmla="*/ 28 w 43"/>
                  <a:gd name="T59" fmla="*/ 21 h 35"/>
                  <a:gd name="T60" fmla="*/ 21 w 43"/>
                  <a:gd name="T61" fmla="*/ 25 h 35"/>
                  <a:gd name="T62" fmla="*/ 19 w 43"/>
                  <a:gd name="T63" fmla="*/ 26 h 35"/>
                  <a:gd name="T64" fmla="*/ 19 w 43"/>
                  <a:gd name="T65" fmla="*/ 30 h 35"/>
                  <a:gd name="T66" fmla="*/ 12 w 43"/>
                  <a:gd name="T67" fmla="*/ 35 h 35"/>
                  <a:gd name="T68" fmla="*/ 16 w 43"/>
                  <a:gd name="T69" fmla="*/ 28 h 35"/>
                  <a:gd name="T70" fmla="*/ 12 w 43"/>
                  <a:gd name="T71" fmla="*/ 26 h 35"/>
                  <a:gd name="T72" fmla="*/ 12 w 43"/>
                  <a:gd name="T73" fmla="*/ 23 h 35"/>
                  <a:gd name="T74" fmla="*/ 9 w 43"/>
                  <a:gd name="T75" fmla="*/ 23 h 35"/>
                  <a:gd name="T76" fmla="*/ 11 w 43"/>
                  <a:gd name="T77" fmla="*/ 25 h 35"/>
                  <a:gd name="T78" fmla="*/ 9 w 43"/>
                  <a:gd name="T79" fmla="*/ 32 h 35"/>
                  <a:gd name="T80" fmla="*/ 5 w 43"/>
                  <a:gd name="T81" fmla="*/ 21 h 35"/>
                  <a:gd name="T82" fmla="*/ 2 w 43"/>
                  <a:gd name="T8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5">
                    <a:moveTo>
                      <a:pt x="2" y="17"/>
                    </a:moveTo>
                    <a:lnTo>
                      <a:pt x="0" y="17"/>
                    </a:lnTo>
                    <a:lnTo>
                      <a:pt x="0" y="17"/>
                    </a:lnTo>
                    <a:lnTo>
                      <a:pt x="3" y="17"/>
                    </a:lnTo>
                    <a:lnTo>
                      <a:pt x="3" y="14"/>
                    </a:lnTo>
                    <a:lnTo>
                      <a:pt x="7" y="10"/>
                    </a:lnTo>
                    <a:lnTo>
                      <a:pt x="7" y="10"/>
                    </a:lnTo>
                    <a:lnTo>
                      <a:pt x="9" y="8"/>
                    </a:lnTo>
                    <a:lnTo>
                      <a:pt x="14" y="8"/>
                    </a:lnTo>
                    <a:lnTo>
                      <a:pt x="12" y="12"/>
                    </a:lnTo>
                    <a:lnTo>
                      <a:pt x="14" y="12"/>
                    </a:lnTo>
                    <a:lnTo>
                      <a:pt x="14" y="16"/>
                    </a:lnTo>
                    <a:lnTo>
                      <a:pt x="18" y="16"/>
                    </a:lnTo>
                    <a:lnTo>
                      <a:pt x="18" y="12"/>
                    </a:lnTo>
                    <a:lnTo>
                      <a:pt x="18" y="12"/>
                    </a:lnTo>
                    <a:lnTo>
                      <a:pt x="18" y="10"/>
                    </a:lnTo>
                    <a:lnTo>
                      <a:pt x="18" y="10"/>
                    </a:lnTo>
                    <a:lnTo>
                      <a:pt x="16" y="5"/>
                    </a:lnTo>
                    <a:lnTo>
                      <a:pt x="14" y="3"/>
                    </a:lnTo>
                    <a:lnTo>
                      <a:pt x="16" y="1"/>
                    </a:lnTo>
                    <a:lnTo>
                      <a:pt x="18" y="1"/>
                    </a:lnTo>
                    <a:lnTo>
                      <a:pt x="19" y="5"/>
                    </a:lnTo>
                    <a:lnTo>
                      <a:pt x="19" y="7"/>
                    </a:lnTo>
                    <a:lnTo>
                      <a:pt x="21" y="8"/>
                    </a:lnTo>
                    <a:lnTo>
                      <a:pt x="23" y="5"/>
                    </a:lnTo>
                    <a:lnTo>
                      <a:pt x="23" y="3"/>
                    </a:lnTo>
                    <a:lnTo>
                      <a:pt x="27" y="5"/>
                    </a:lnTo>
                    <a:lnTo>
                      <a:pt x="28" y="3"/>
                    </a:lnTo>
                    <a:lnTo>
                      <a:pt x="28" y="1"/>
                    </a:lnTo>
                    <a:lnTo>
                      <a:pt x="27" y="0"/>
                    </a:lnTo>
                    <a:lnTo>
                      <a:pt x="28" y="1"/>
                    </a:lnTo>
                    <a:lnTo>
                      <a:pt x="28" y="0"/>
                    </a:lnTo>
                    <a:lnTo>
                      <a:pt x="30" y="1"/>
                    </a:lnTo>
                    <a:lnTo>
                      <a:pt x="30" y="5"/>
                    </a:lnTo>
                    <a:lnTo>
                      <a:pt x="32" y="5"/>
                    </a:lnTo>
                    <a:lnTo>
                      <a:pt x="34" y="1"/>
                    </a:lnTo>
                    <a:lnTo>
                      <a:pt x="37" y="1"/>
                    </a:lnTo>
                    <a:lnTo>
                      <a:pt x="37" y="3"/>
                    </a:lnTo>
                    <a:lnTo>
                      <a:pt x="37" y="7"/>
                    </a:lnTo>
                    <a:lnTo>
                      <a:pt x="37" y="7"/>
                    </a:lnTo>
                    <a:lnTo>
                      <a:pt x="37" y="8"/>
                    </a:lnTo>
                    <a:lnTo>
                      <a:pt x="37" y="8"/>
                    </a:lnTo>
                    <a:lnTo>
                      <a:pt x="37" y="10"/>
                    </a:lnTo>
                    <a:lnTo>
                      <a:pt x="43" y="10"/>
                    </a:lnTo>
                    <a:lnTo>
                      <a:pt x="41" y="14"/>
                    </a:lnTo>
                    <a:lnTo>
                      <a:pt x="37" y="14"/>
                    </a:lnTo>
                    <a:lnTo>
                      <a:pt x="32" y="12"/>
                    </a:lnTo>
                    <a:lnTo>
                      <a:pt x="30" y="12"/>
                    </a:lnTo>
                    <a:lnTo>
                      <a:pt x="30" y="14"/>
                    </a:lnTo>
                    <a:lnTo>
                      <a:pt x="36" y="16"/>
                    </a:lnTo>
                    <a:lnTo>
                      <a:pt x="36" y="17"/>
                    </a:lnTo>
                    <a:lnTo>
                      <a:pt x="36" y="19"/>
                    </a:lnTo>
                    <a:lnTo>
                      <a:pt x="34" y="19"/>
                    </a:lnTo>
                    <a:lnTo>
                      <a:pt x="34" y="17"/>
                    </a:lnTo>
                    <a:lnTo>
                      <a:pt x="32" y="17"/>
                    </a:lnTo>
                    <a:lnTo>
                      <a:pt x="30" y="17"/>
                    </a:lnTo>
                    <a:lnTo>
                      <a:pt x="28" y="19"/>
                    </a:lnTo>
                    <a:lnTo>
                      <a:pt x="28" y="19"/>
                    </a:lnTo>
                    <a:lnTo>
                      <a:pt x="30" y="21"/>
                    </a:lnTo>
                    <a:lnTo>
                      <a:pt x="28" y="21"/>
                    </a:lnTo>
                    <a:lnTo>
                      <a:pt x="25" y="21"/>
                    </a:lnTo>
                    <a:lnTo>
                      <a:pt x="21" y="25"/>
                    </a:lnTo>
                    <a:lnTo>
                      <a:pt x="19" y="26"/>
                    </a:lnTo>
                    <a:lnTo>
                      <a:pt x="19" y="26"/>
                    </a:lnTo>
                    <a:lnTo>
                      <a:pt x="19" y="28"/>
                    </a:lnTo>
                    <a:lnTo>
                      <a:pt x="19" y="30"/>
                    </a:lnTo>
                    <a:lnTo>
                      <a:pt x="18" y="32"/>
                    </a:lnTo>
                    <a:lnTo>
                      <a:pt x="12" y="35"/>
                    </a:lnTo>
                    <a:lnTo>
                      <a:pt x="16" y="30"/>
                    </a:lnTo>
                    <a:lnTo>
                      <a:pt x="16" y="28"/>
                    </a:lnTo>
                    <a:lnTo>
                      <a:pt x="14" y="28"/>
                    </a:lnTo>
                    <a:lnTo>
                      <a:pt x="12" y="26"/>
                    </a:lnTo>
                    <a:lnTo>
                      <a:pt x="14" y="25"/>
                    </a:lnTo>
                    <a:lnTo>
                      <a:pt x="12" y="23"/>
                    </a:lnTo>
                    <a:lnTo>
                      <a:pt x="9" y="23"/>
                    </a:lnTo>
                    <a:lnTo>
                      <a:pt x="9" y="23"/>
                    </a:lnTo>
                    <a:lnTo>
                      <a:pt x="9" y="25"/>
                    </a:lnTo>
                    <a:lnTo>
                      <a:pt x="11" y="25"/>
                    </a:lnTo>
                    <a:lnTo>
                      <a:pt x="11" y="30"/>
                    </a:lnTo>
                    <a:lnTo>
                      <a:pt x="9" y="32"/>
                    </a:lnTo>
                    <a:lnTo>
                      <a:pt x="7" y="28"/>
                    </a:lnTo>
                    <a:lnTo>
                      <a:pt x="5" y="21"/>
                    </a:lnTo>
                    <a:lnTo>
                      <a:pt x="2" y="19"/>
                    </a:lnTo>
                    <a:lnTo>
                      <a:pt x="2" y="1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26" name="Freeform 1874"/>
              <p:cNvSpPr>
                <a:spLocks/>
              </p:cNvSpPr>
              <p:nvPr/>
            </p:nvSpPr>
            <p:spPr bwMode="auto">
              <a:xfrm>
                <a:off x="218" y="1574"/>
                <a:ext cx="43" cy="35"/>
              </a:xfrm>
              <a:custGeom>
                <a:avLst/>
                <a:gdLst>
                  <a:gd name="T0" fmla="*/ 0 w 43"/>
                  <a:gd name="T1" fmla="*/ 17 h 35"/>
                  <a:gd name="T2" fmla="*/ 3 w 43"/>
                  <a:gd name="T3" fmla="*/ 17 h 35"/>
                  <a:gd name="T4" fmla="*/ 7 w 43"/>
                  <a:gd name="T5" fmla="*/ 10 h 35"/>
                  <a:gd name="T6" fmla="*/ 9 w 43"/>
                  <a:gd name="T7" fmla="*/ 8 h 35"/>
                  <a:gd name="T8" fmla="*/ 12 w 43"/>
                  <a:gd name="T9" fmla="*/ 12 h 35"/>
                  <a:gd name="T10" fmla="*/ 14 w 43"/>
                  <a:gd name="T11" fmla="*/ 16 h 35"/>
                  <a:gd name="T12" fmla="*/ 18 w 43"/>
                  <a:gd name="T13" fmla="*/ 12 h 35"/>
                  <a:gd name="T14" fmla="*/ 18 w 43"/>
                  <a:gd name="T15" fmla="*/ 10 h 35"/>
                  <a:gd name="T16" fmla="*/ 16 w 43"/>
                  <a:gd name="T17" fmla="*/ 5 h 35"/>
                  <a:gd name="T18" fmla="*/ 16 w 43"/>
                  <a:gd name="T19" fmla="*/ 1 h 35"/>
                  <a:gd name="T20" fmla="*/ 19 w 43"/>
                  <a:gd name="T21" fmla="*/ 5 h 35"/>
                  <a:gd name="T22" fmla="*/ 21 w 43"/>
                  <a:gd name="T23" fmla="*/ 8 h 35"/>
                  <a:gd name="T24" fmla="*/ 23 w 43"/>
                  <a:gd name="T25" fmla="*/ 3 h 35"/>
                  <a:gd name="T26" fmla="*/ 28 w 43"/>
                  <a:gd name="T27" fmla="*/ 3 h 35"/>
                  <a:gd name="T28" fmla="*/ 27 w 43"/>
                  <a:gd name="T29" fmla="*/ 0 h 35"/>
                  <a:gd name="T30" fmla="*/ 28 w 43"/>
                  <a:gd name="T31" fmla="*/ 0 h 35"/>
                  <a:gd name="T32" fmla="*/ 30 w 43"/>
                  <a:gd name="T33" fmla="*/ 5 h 35"/>
                  <a:gd name="T34" fmla="*/ 34 w 43"/>
                  <a:gd name="T35" fmla="*/ 1 h 35"/>
                  <a:gd name="T36" fmla="*/ 37 w 43"/>
                  <a:gd name="T37" fmla="*/ 3 h 35"/>
                  <a:gd name="T38" fmla="*/ 37 w 43"/>
                  <a:gd name="T39" fmla="*/ 7 h 35"/>
                  <a:gd name="T40" fmla="*/ 37 w 43"/>
                  <a:gd name="T41" fmla="*/ 8 h 35"/>
                  <a:gd name="T42" fmla="*/ 43 w 43"/>
                  <a:gd name="T43" fmla="*/ 10 h 35"/>
                  <a:gd name="T44" fmla="*/ 37 w 43"/>
                  <a:gd name="T45" fmla="*/ 14 h 35"/>
                  <a:gd name="T46" fmla="*/ 30 w 43"/>
                  <a:gd name="T47" fmla="*/ 12 h 35"/>
                  <a:gd name="T48" fmla="*/ 36 w 43"/>
                  <a:gd name="T49" fmla="*/ 16 h 35"/>
                  <a:gd name="T50" fmla="*/ 36 w 43"/>
                  <a:gd name="T51" fmla="*/ 19 h 35"/>
                  <a:gd name="T52" fmla="*/ 34 w 43"/>
                  <a:gd name="T53" fmla="*/ 17 h 35"/>
                  <a:gd name="T54" fmla="*/ 30 w 43"/>
                  <a:gd name="T55" fmla="*/ 17 h 35"/>
                  <a:gd name="T56" fmla="*/ 28 w 43"/>
                  <a:gd name="T57" fmla="*/ 19 h 35"/>
                  <a:gd name="T58" fmla="*/ 28 w 43"/>
                  <a:gd name="T59" fmla="*/ 21 h 35"/>
                  <a:gd name="T60" fmla="*/ 21 w 43"/>
                  <a:gd name="T61" fmla="*/ 25 h 35"/>
                  <a:gd name="T62" fmla="*/ 19 w 43"/>
                  <a:gd name="T63" fmla="*/ 26 h 35"/>
                  <a:gd name="T64" fmla="*/ 19 w 43"/>
                  <a:gd name="T65" fmla="*/ 30 h 35"/>
                  <a:gd name="T66" fmla="*/ 12 w 43"/>
                  <a:gd name="T67" fmla="*/ 35 h 35"/>
                  <a:gd name="T68" fmla="*/ 16 w 43"/>
                  <a:gd name="T69" fmla="*/ 28 h 35"/>
                  <a:gd name="T70" fmla="*/ 12 w 43"/>
                  <a:gd name="T71" fmla="*/ 26 h 35"/>
                  <a:gd name="T72" fmla="*/ 12 w 43"/>
                  <a:gd name="T73" fmla="*/ 23 h 35"/>
                  <a:gd name="T74" fmla="*/ 9 w 43"/>
                  <a:gd name="T75" fmla="*/ 23 h 35"/>
                  <a:gd name="T76" fmla="*/ 11 w 43"/>
                  <a:gd name="T77" fmla="*/ 25 h 35"/>
                  <a:gd name="T78" fmla="*/ 9 w 43"/>
                  <a:gd name="T79" fmla="*/ 32 h 35"/>
                  <a:gd name="T80" fmla="*/ 5 w 43"/>
                  <a:gd name="T81" fmla="*/ 21 h 35"/>
                  <a:gd name="T82" fmla="*/ 2 w 43"/>
                  <a:gd name="T83"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 h="35">
                    <a:moveTo>
                      <a:pt x="2" y="17"/>
                    </a:moveTo>
                    <a:lnTo>
                      <a:pt x="0" y="17"/>
                    </a:lnTo>
                    <a:lnTo>
                      <a:pt x="0" y="17"/>
                    </a:lnTo>
                    <a:lnTo>
                      <a:pt x="3" y="17"/>
                    </a:lnTo>
                    <a:lnTo>
                      <a:pt x="3" y="14"/>
                    </a:lnTo>
                    <a:lnTo>
                      <a:pt x="7" y="10"/>
                    </a:lnTo>
                    <a:lnTo>
                      <a:pt x="7" y="10"/>
                    </a:lnTo>
                    <a:lnTo>
                      <a:pt x="9" y="8"/>
                    </a:lnTo>
                    <a:lnTo>
                      <a:pt x="14" y="8"/>
                    </a:lnTo>
                    <a:lnTo>
                      <a:pt x="12" y="12"/>
                    </a:lnTo>
                    <a:lnTo>
                      <a:pt x="14" y="12"/>
                    </a:lnTo>
                    <a:lnTo>
                      <a:pt x="14" y="16"/>
                    </a:lnTo>
                    <a:lnTo>
                      <a:pt x="18" y="16"/>
                    </a:lnTo>
                    <a:lnTo>
                      <a:pt x="18" y="12"/>
                    </a:lnTo>
                    <a:lnTo>
                      <a:pt x="18" y="12"/>
                    </a:lnTo>
                    <a:lnTo>
                      <a:pt x="18" y="10"/>
                    </a:lnTo>
                    <a:lnTo>
                      <a:pt x="18" y="10"/>
                    </a:lnTo>
                    <a:lnTo>
                      <a:pt x="16" y="5"/>
                    </a:lnTo>
                    <a:lnTo>
                      <a:pt x="14" y="3"/>
                    </a:lnTo>
                    <a:lnTo>
                      <a:pt x="16" y="1"/>
                    </a:lnTo>
                    <a:lnTo>
                      <a:pt x="18" y="1"/>
                    </a:lnTo>
                    <a:lnTo>
                      <a:pt x="19" y="5"/>
                    </a:lnTo>
                    <a:lnTo>
                      <a:pt x="19" y="7"/>
                    </a:lnTo>
                    <a:lnTo>
                      <a:pt x="21" y="8"/>
                    </a:lnTo>
                    <a:lnTo>
                      <a:pt x="23" y="5"/>
                    </a:lnTo>
                    <a:lnTo>
                      <a:pt x="23" y="3"/>
                    </a:lnTo>
                    <a:lnTo>
                      <a:pt x="27" y="5"/>
                    </a:lnTo>
                    <a:lnTo>
                      <a:pt x="28" y="3"/>
                    </a:lnTo>
                    <a:lnTo>
                      <a:pt x="28" y="1"/>
                    </a:lnTo>
                    <a:lnTo>
                      <a:pt x="27" y="0"/>
                    </a:lnTo>
                    <a:lnTo>
                      <a:pt x="28" y="1"/>
                    </a:lnTo>
                    <a:lnTo>
                      <a:pt x="28" y="0"/>
                    </a:lnTo>
                    <a:lnTo>
                      <a:pt x="30" y="1"/>
                    </a:lnTo>
                    <a:lnTo>
                      <a:pt x="30" y="5"/>
                    </a:lnTo>
                    <a:lnTo>
                      <a:pt x="32" y="5"/>
                    </a:lnTo>
                    <a:lnTo>
                      <a:pt x="34" y="1"/>
                    </a:lnTo>
                    <a:lnTo>
                      <a:pt x="37" y="1"/>
                    </a:lnTo>
                    <a:lnTo>
                      <a:pt x="37" y="3"/>
                    </a:lnTo>
                    <a:lnTo>
                      <a:pt x="37" y="7"/>
                    </a:lnTo>
                    <a:lnTo>
                      <a:pt x="37" y="7"/>
                    </a:lnTo>
                    <a:lnTo>
                      <a:pt x="37" y="8"/>
                    </a:lnTo>
                    <a:lnTo>
                      <a:pt x="37" y="8"/>
                    </a:lnTo>
                    <a:lnTo>
                      <a:pt x="37" y="10"/>
                    </a:lnTo>
                    <a:lnTo>
                      <a:pt x="43" y="10"/>
                    </a:lnTo>
                    <a:lnTo>
                      <a:pt x="41" y="14"/>
                    </a:lnTo>
                    <a:lnTo>
                      <a:pt x="37" y="14"/>
                    </a:lnTo>
                    <a:lnTo>
                      <a:pt x="32" y="12"/>
                    </a:lnTo>
                    <a:lnTo>
                      <a:pt x="30" y="12"/>
                    </a:lnTo>
                    <a:lnTo>
                      <a:pt x="30" y="14"/>
                    </a:lnTo>
                    <a:lnTo>
                      <a:pt x="36" y="16"/>
                    </a:lnTo>
                    <a:lnTo>
                      <a:pt x="36" y="17"/>
                    </a:lnTo>
                    <a:lnTo>
                      <a:pt x="36" y="19"/>
                    </a:lnTo>
                    <a:lnTo>
                      <a:pt x="34" y="19"/>
                    </a:lnTo>
                    <a:lnTo>
                      <a:pt x="34" y="17"/>
                    </a:lnTo>
                    <a:lnTo>
                      <a:pt x="32" y="17"/>
                    </a:lnTo>
                    <a:lnTo>
                      <a:pt x="30" y="17"/>
                    </a:lnTo>
                    <a:lnTo>
                      <a:pt x="28" y="19"/>
                    </a:lnTo>
                    <a:lnTo>
                      <a:pt x="28" y="19"/>
                    </a:lnTo>
                    <a:lnTo>
                      <a:pt x="30" y="21"/>
                    </a:lnTo>
                    <a:lnTo>
                      <a:pt x="28" y="21"/>
                    </a:lnTo>
                    <a:lnTo>
                      <a:pt x="25" y="21"/>
                    </a:lnTo>
                    <a:lnTo>
                      <a:pt x="21" y="25"/>
                    </a:lnTo>
                    <a:lnTo>
                      <a:pt x="19" y="26"/>
                    </a:lnTo>
                    <a:lnTo>
                      <a:pt x="19" y="26"/>
                    </a:lnTo>
                    <a:lnTo>
                      <a:pt x="19" y="28"/>
                    </a:lnTo>
                    <a:lnTo>
                      <a:pt x="19" y="30"/>
                    </a:lnTo>
                    <a:lnTo>
                      <a:pt x="18" y="32"/>
                    </a:lnTo>
                    <a:lnTo>
                      <a:pt x="12" y="35"/>
                    </a:lnTo>
                    <a:lnTo>
                      <a:pt x="16" y="30"/>
                    </a:lnTo>
                    <a:lnTo>
                      <a:pt x="16" y="28"/>
                    </a:lnTo>
                    <a:lnTo>
                      <a:pt x="14" y="28"/>
                    </a:lnTo>
                    <a:lnTo>
                      <a:pt x="12" y="26"/>
                    </a:lnTo>
                    <a:lnTo>
                      <a:pt x="14" y="25"/>
                    </a:lnTo>
                    <a:lnTo>
                      <a:pt x="12" y="23"/>
                    </a:lnTo>
                    <a:lnTo>
                      <a:pt x="9" y="23"/>
                    </a:lnTo>
                    <a:lnTo>
                      <a:pt x="9" y="23"/>
                    </a:lnTo>
                    <a:lnTo>
                      <a:pt x="9" y="25"/>
                    </a:lnTo>
                    <a:lnTo>
                      <a:pt x="11" y="25"/>
                    </a:lnTo>
                    <a:lnTo>
                      <a:pt x="11" y="30"/>
                    </a:lnTo>
                    <a:lnTo>
                      <a:pt x="9" y="32"/>
                    </a:lnTo>
                    <a:lnTo>
                      <a:pt x="7" y="28"/>
                    </a:lnTo>
                    <a:lnTo>
                      <a:pt x="5" y="21"/>
                    </a:lnTo>
                    <a:lnTo>
                      <a:pt x="2" y="19"/>
                    </a:lnTo>
                    <a:lnTo>
                      <a:pt x="2" y="1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27" name="Freeform 1875"/>
              <p:cNvSpPr>
                <a:spLocks/>
              </p:cNvSpPr>
              <p:nvPr/>
            </p:nvSpPr>
            <p:spPr bwMode="auto">
              <a:xfrm>
                <a:off x="241" y="1568"/>
                <a:ext cx="5" cy="4"/>
              </a:xfrm>
              <a:custGeom>
                <a:avLst/>
                <a:gdLst>
                  <a:gd name="T0" fmla="*/ 0 w 5"/>
                  <a:gd name="T1" fmla="*/ 2 h 4"/>
                  <a:gd name="T2" fmla="*/ 0 w 5"/>
                  <a:gd name="T3" fmla="*/ 2 h 4"/>
                  <a:gd name="T4" fmla="*/ 0 w 5"/>
                  <a:gd name="T5" fmla="*/ 0 h 4"/>
                  <a:gd name="T6" fmla="*/ 2 w 5"/>
                  <a:gd name="T7" fmla="*/ 0 h 4"/>
                  <a:gd name="T8" fmla="*/ 5 w 5"/>
                  <a:gd name="T9" fmla="*/ 0 h 4"/>
                  <a:gd name="T10" fmla="*/ 5 w 5"/>
                  <a:gd name="T11" fmla="*/ 4 h 4"/>
                  <a:gd name="T12" fmla="*/ 4 w 5"/>
                  <a:gd name="T13" fmla="*/ 2 h 4"/>
                  <a:gd name="T14" fmla="*/ 0 w 5"/>
                  <a:gd name="T15" fmla="*/ 2 h 4"/>
                  <a:gd name="T16" fmla="*/ 0 w 5"/>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0" y="2"/>
                    </a:moveTo>
                    <a:lnTo>
                      <a:pt x="0" y="2"/>
                    </a:lnTo>
                    <a:lnTo>
                      <a:pt x="0" y="0"/>
                    </a:lnTo>
                    <a:lnTo>
                      <a:pt x="2" y="0"/>
                    </a:lnTo>
                    <a:lnTo>
                      <a:pt x="5" y="0"/>
                    </a:lnTo>
                    <a:lnTo>
                      <a:pt x="5" y="4"/>
                    </a:lnTo>
                    <a:lnTo>
                      <a:pt x="4" y="2"/>
                    </a:lnTo>
                    <a:lnTo>
                      <a:pt x="0" y="2"/>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28" name="Freeform 1876"/>
              <p:cNvSpPr>
                <a:spLocks/>
              </p:cNvSpPr>
              <p:nvPr/>
            </p:nvSpPr>
            <p:spPr bwMode="auto">
              <a:xfrm>
                <a:off x="241" y="1568"/>
                <a:ext cx="5" cy="4"/>
              </a:xfrm>
              <a:custGeom>
                <a:avLst/>
                <a:gdLst>
                  <a:gd name="T0" fmla="*/ 0 w 5"/>
                  <a:gd name="T1" fmla="*/ 2 h 4"/>
                  <a:gd name="T2" fmla="*/ 0 w 5"/>
                  <a:gd name="T3" fmla="*/ 2 h 4"/>
                  <a:gd name="T4" fmla="*/ 0 w 5"/>
                  <a:gd name="T5" fmla="*/ 0 h 4"/>
                  <a:gd name="T6" fmla="*/ 2 w 5"/>
                  <a:gd name="T7" fmla="*/ 0 h 4"/>
                  <a:gd name="T8" fmla="*/ 5 w 5"/>
                  <a:gd name="T9" fmla="*/ 0 h 4"/>
                  <a:gd name="T10" fmla="*/ 5 w 5"/>
                  <a:gd name="T11" fmla="*/ 4 h 4"/>
                  <a:gd name="T12" fmla="*/ 4 w 5"/>
                  <a:gd name="T13" fmla="*/ 2 h 4"/>
                  <a:gd name="T14" fmla="*/ 0 w 5"/>
                  <a:gd name="T15" fmla="*/ 2 h 4"/>
                  <a:gd name="T16" fmla="*/ 0 w 5"/>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0" y="2"/>
                    </a:moveTo>
                    <a:lnTo>
                      <a:pt x="0" y="2"/>
                    </a:lnTo>
                    <a:lnTo>
                      <a:pt x="0" y="0"/>
                    </a:lnTo>
                    <a:lnTo>
                      <a:pt x="2" y="0"/>
                    </a:lnTo>
                    <a:lnTo>
                      <a:pt x="5" y="0"/>
                    </a:lnTo>
                    <a:lnTo>
                      <a:pt x="5" y="4"/>
                    </a:lnTo>
                    <a:lnTo>
                      <a:pt x="4" y="2"/>
                    </a:lnTo>
                    <a:lnTo>
                      <a:pt x="0" y="2"/>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29" name="Freeform 1877"/>
              <p:cNvSpPr>
                <a:spLocks/>
              </p:cNvSpPr>
              <p:nvPr/>
            </p:nvSpPr>
            <p:spPr bwMode="auto">
              <a:xfrm>
                <a:off x="245" y="1557"/>
                <a:ext cx="17" cy="13"/>
              </a:xfrm>
              <a:custGeom>
                <a:avLst/>
                <a:gdLst>
                  <a:gd name="T0" fmla="*/ 7 w 17"/>
                  <a:gd name="T1" fmla="*/ 8 h 13"/>
                  <a:gd name="T2" fmla="*/ 7 w 17"/>
                  <a:gd name="T3" fmla="*/ 8 h 13"/>
                  <a:gd name="T4" fmla="*/ 7 w 17"/>
                  <a:gd name="T5" fmla="*/ 6 h 13"/>
                  <a:gd name="T6" fmla="*/ 5 w 17"/>
                  <a:gd name="T7" fmla="*/ 6 h 13"/>
                  <a:gd name="T8" fmla="*/ 3 w 17"/>
                  <a:gd name="T9" fmla="*/ 6 h 13"/>
                  <a:gd name="T10" fmla="*/ 5 w 17"/>
                  <a:gd name="T11" fmla="*/ 4 h 13"/>
                  <a:gd name="T12" fmla="*/ 5 w 17"/>
                  <a:gd name="T13" fmla="*/ 4 h 13"/>
                  <a:gd name="T14" fmla="*/ 7 w 17"/>
                  <a:gd name="T15" fmla="*/ 2 h 13"/>
                  <a:gd name="T16" fmla="*/ 9 w 17"/>
                  <a:gd name="T17" fmla="*/ 0 h 13"/>
                  <a:gd name="T18" fmla="*/ 14 w 17"/>
                  <a:gd name="T19" fmla="*/ 2 h 13"/>
                  <a:gd name="T20" fmla="*/ 14 w 17"/>
                  <a:gd name="T21" fmla="*/ 2 h 13"/>
                  <a:gd name="T22" fmla="*/ 12 w 17"/>
                  <a:gd name="T23" fmla="*/ 4 h 13"/>
                  <a:gd name="T24" fmla="*/ 12 w 17"/>
                  <a:gd name="T25" fmla="*/ 6 h 13"/>
                  <a:gd name="T26" fmla="*/ 14 w 17"/>
                  <a:gd name="T27" fmla="*/ 4 h 13"/>
                  <a:gd name="T28" fmla="*/ 16 w 17"/>
                  <a:gd name="T29" fmla="*/ 4 h 13"/>
                  <a:gd name="T30" fmla="*/ 16 w 17"/>
                  <a:gd name="T31" fmla="*/ 8 h 13"/>
                  <a:gd name="T32" fmla="*/ 17 w 17"/>
                  <a:gd name="T33" fmla="*/ 6 h 13"/>
                  <a:gd name="T34" fmla="*/ 17 w 17"/>
                  <a:gd name="T35" fmla="*/ 9 h 13"/>
                  <a:gd name="T36" fmla="*/ 16 w 17"/>
                  <a:gd name="T37" fmla="*/ 9 h 13"/>
                  <a:gd name="T38" fmla="*/ 14 w 17"/>
                  <a:gd name="T39" fmla="*/ 11 h 13"/>
                  <a:gd name="T40" fmla="*/ 10 w 17"/>
                  <a:gd name="T41" fmla="*/ 11 h 13"/>
                  <a:gd name="T42" fmla="*/ 9 w 17"/>
                  <a:gd name="T43" fmla="*/ 11 h 13"/>
                  <a:gd name="T44" fmla="*/ 9 w 17"/>
                  <a:gd name="T45" fmla="*/ 13 h 13"/>
                  <a:gd name="T46" fmla="*/ 7 w 17"/>
                  <a:gd name="T47" fmla="*/ 13 h 13"/>
                  <a:gd name="T48" fmla="*/ 7 w 17"/>
                  <a:gd name="T49" fmla="*/ 13 h 13"/>
                  <a:gd name="T50" fmla="*/ 5 w 17"/>
                  <a:gd name="T51" fmla="*/ 13 h 13"/>
                  <a:gd name="T52" fmla="*/ 5 w 17"/>
                  <a:gd name="T53" fmla="*/ 13 h 13"/>
                  <a:gd name="T54" fmla="*/ 3 w 17"/>
                  <a:gd name="T55" fmla="*/ 11 h 13"/>
                  <a:gd name="T56" fmla="*/ 0 w 17"/>
                  <a:gd name="T57" fmla="*/ 9 h 13"/>
                  <a:gd name="T58" fmla="*/ 1 w 17"/>
                  <a:gd name="T59" fmla="*/ 9 h 13"/>
                  <a:gd name="T60" fmla="*/ 1 w 17"/>
                  <a:gd name="T61" fmla="*/ 8 h 13"/>
                  <a:gd name="T62" fmla="*/ 3 w 17"/>
                  <a:gd name="T63" fmla="*/ 6 h 13"/>
                  <a:gd name="T64" fmla="*/ 5 w 17"/>
                  <a:gd name="T65" fmla="*/ 8 h 13"/>
                  <a:gd name="T66" fmla="*/ 7 w 17"/>
                  <a:gd name="T6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13">
                    <a:moveTo>
                      <a:pt x="7" y="8"/>
                    </a:moveTo>
                    <a:lnTo>
                      <a:pt x="7" y="8"/>
                    </a:lnTo>
                    <a:lnTo>
                      <a:pt x="7" y="6"/>
                    </a:lnTo>
                    <a:lnTo>
                      <a:pt x="5" y="6"/>
                    </a:lnTo>
                    <a:lnTo>
                      <a:pt x="3" y="6"/>
                    </a:lnTo>
                    <a:lnTo>
                      <a:pt x="5" y="4"/>
                    </a:lnTo>
                    <a:lnTo>
                      <a:pt x="5" y="4"/>
                    </a:lnTo>
                    <a:lnTo>
                      <a:pt x="7" y="2"/>
                    </a:lnTo>
                    <a:lnTo>
                      <a:pt x="9" y="0"/>
                    </a:lnTo>
                    <a:lnTo>
                      <a:pt x="14" y="2"/>
                    </a:lnTo>
                    <a:lnTo>
                      <a:pt x="14" y="2"/>
                    </a:lnTo>
                    <a:lnTo>
                      <a:pt x="12" y="4"/>
                    </a:lnTo>
                    <a:lnTo>
                      <a:pt x="12" y="6"/>
                    </a:lnTo>
                    <a:lnTo>
                      <a:pt x="14" y="4"/>
                    </a:lnTo>
                    <a:lnTo>
                      <a:pt x="16" y="4"/>
                    </a:lnTo>
                    <a:lnTo>
                      <a:pt x="16" y="8"/>
                    </a:lnTo>
                    <a:lnTo>
                      <a:pt x="17" y="6"/>
                    </a:lnTo>
                    <a:lnTo>
                      <a:pt x="17" y="9"/>
                    </a:lnTo>
                    <a:lnTo>
                      <a:pt x="16" y="9"/>
                    </a:lnTo>
                    <a:lnTo>
                      <a:pt x="14" y="11"/>
                    </a:lnTo>
                    <a:lnTo>
                      <a:pt x="10" y="11"/>
                    </a:lnTo>
                    <a:lnTo>
                      <a:pt x="9" y="11"/>
                    </a:lnTo>
                    <a:lnTo>
                      <a:pt x="9" y="13"/>
                    </a:lnTo>
                    <a:lnTo>
                      <a:pt x="7" y="13"/>
                    </a:lnTo>
                    <a:lnTo>
                      <a:pt x="7" y="13"/>
                    </a:lnTo>
                    <a:lnTo>
                      <a:pt x="5" y="13"/>
                    </a:lnTo>
                    <a:lnTo>
                      <a:pt x="5" y="13"/>
                    </a:lnTo>
                    <a:lnTo>
                      <a:pt x="3" y="11"/>
                    </a:lnTo>
                    <a:lnTo>
                      <a:pt x="0" y="9"/>
                    </a:lnTo>
                    <a:lnTo>
                      <a:pt x="1" y="9"/>
                    </a:lnTo>
                    <a:lnTo>
                      <a:pt x="1" y="8"/>
                    </a:lnTo>
                    <a:lnTo>
                      <a:pt x="3" y="6"/>
                    </a:lnTo>
                    <a:lnTo>
                      <a:pt x="5" y="8"/>
                    </a:lnTo>
                    <a:lnTo>
                      <a:pt x="7" y="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30" name="Freeform 1878"/>
              <p:cNvSpPr>
                <a:spLocks/>
              </p:cNvSpPr>
              <p:nvPr/>
            </p:nvSpPr>
            <p:spPr bwMode="auto">
              <a:xfrm>
                <a:off x="245" y="1557"/>
                <a:ext cx="17" cy="13"/>
              </a:xfrm>
              <a:custGeom>
                <a:avLst/>
                <a:gdLst>
                  <a:gd name="T0" fmla="*/ 7 w 17"/>
                  <a:gd name="T1" fmla="*/ 8 h 13"/>
                  <a:gd name="T2" fmla="*/ 7 w 17"/>
                  <a:gd name="T3" fmla="*/ 8 h 13"/>
                  <a:gd name="T4" fmla="*/ 7 w 17"/>
                  <a:gd name="T5" fmla="*/ 6 h 13"/>
                  <a:gd name="T6" fmla="*/ 5 w 17"/>
                  <a:gd name="T7" fmla="*/ 6 h 13"/>
                  <a:gd name="T8" fmla="*/ 3 w 17"/>
                  <a:gd name="T9" fmla="*/ 6 h 13"/>
                  <a:gd name="T10" fmla="*/ 5 w 17"/>
                  <a:gd name="T11" fmla="*/ 4 h 13"/>
                  <a:gd name="T12" fmla="*/ 5 w 17"/>
                  <a:gd name="T13" fmla="*/ 4 h 13"/>
                  <a:gd name="T14" fmla="*/ 7 w 17"/>
                  <a:gd name="T15" fmla="*/ 2 h 13"/>
                  <a:gd name="T16" fmla="*/ 9 w 17"/>
                  <a:gd name="T17" fmla="*/ 0 h 13"/>
                  <a:gd name="T18" fmla="*/ 14 w 17"/>
                  <a:gd name="T19" fmla="*/ 2 h 13"/>
                  <a:gd name="T20" fmla="*/ 14 w 17"/>
                  <a:gd name="T21" fmla="*/ 2 h 13"/>
                  <a:gd name="T22" fmla="*/ 12 w 17"/>
                  <a:gd name="T23" fmla="*/ 4 h 13"/>
                  <a:gd name="T24" fmla="*/ 12 w 17"/>
                  <a:gd name="T25" fmla="*/ 6 h 13"/>
                  <a:gd name="T26" fmla="*/ 14 w 17"/>
                  <a:gd name="T27" fmla="*/ 4 h 13"/>
                  <a:gd name="T28" fmla="*/ 16 w 17"/>
                  <a:gd name="T29" fmla="*/ 4 h 13"/>
                  <a:gd name="T30" fmla="*/ 16 w 17"/>
                  <a:gd name="T31" fmla="*/ 8 h 13"/>
                  <a:gd name="T32" fmla="*/ 17 w 17"/>
                  <a:gd name="T33" fmla="*/ 6 h 13"/>
                  <a:gd name="T34" fmla="*/ 17 w 17"/>
                  <a:gd name="T35" fmla="*/ 9 h 13"/>
                  <a:gd name="T36" fmla="*/ 16 w 17"/>
                  <a:gd name="T37" fmla="*/ 9 h 13"/>
                  <a:gd name="T38" fmla="*/ 14 w 17"/>
                  <a:gd name="T39" fmla="*/ 11 h 13"/>
                  <a:gd name="T40" fmla="*/ 10 w 17"/>
                  <a:gd name="T41" fmla="*/ 11 h 13"/>
                  <a:gd name="T42" fmla="*/ 9 w 17"/>
                  <a:gd name="T43" fmla="*/ 11 h 13"/>
                  <a:gd name="T44" fmla="*/ 9 w 17"/>
                  <a:gd name="T45" fmla="*/ 13 h 13"/>
                  <a:gd name="T46" fmla="*/ 7 w 17"/>
                  <a:gd name="T47" fmla="*/ 13 h 13"/>
                  <a:gd name="T48" fmla="*/ 7 w 17"/>
                  <a:gd name="T49" fmla="*/ 13 h 13"/>
                  <a:gd name="T50" fmla="*/ 5 w 17"/>
                  <a:gd name="T51" fmla="*/ 13 h 13"/>
                  <a:gd name="T52" fmla="*/ 5 w 17"/>
                  <a:gd name="T53" fmla="*/ 13 h 13"/>
                  <a:gd name="T54" fmla="*/ 3 w 17"/>
                  <a:gd name="T55" fmla="*/ 11 h 13"/>
                  <a:gd name="T56" fmla="*/ 0 w 17"/>
                  <a:gd name="T57" fmla="*/ 9 h 13"/>
                  <a:gd name="T58" fmla="*/ 1 w 17"/>
                  <a:gd name="T59" fmla="*/ 9 h 13"/>
                  <a:gd name="T60" fmla="*/ 1 w 17"/>
                  <a:gd name="T61" fmla="*/ 8 h 13"/>
                  <a:gd name="T62" fmla="*/ 3 w 17"/>
                  <a:gd name="T63" fmla="*/ 6 h 13"/>
                  <a:gd name="T64" fmla="*/ 5 w 17"/>
                  <a:gd name="T65" fmla="*/ 8 h 13"/>
                  <a:gd name="T66" fmla="*/ 7 w 17"/>
                  <a:gd name="T6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13">
                    <a:moveTo>
                      <a:pt x="7" y="8"/>
                    </a:moveTo>
                    <a:lnTo>
                      <a:pt x="7" y="8"/>
                    </a:lnTo>
                    <a:lnTo>
                      <a:pt x="7" y="6"/>
                    </a:lnTo>
                    <a:lnTo>
                      <a:pt x="5" y="6"/>
                    </a:lnTo>
                    <a:lnTo>
                      <a:pt x="3" y="6"/>
                    </a:lnTo>
                    <a:lnTo>
                      <a:pt x="5" y="4"/>
                    </a:lnTo>
                    <a:lnTo>
                      <a:pt x="5" y="4"/>
                    </a:lnTo>
                    <a:lnTo>
                      <a:pt x="7" y="2"/>
                    </a:lnTo>
                    <a:lnTo>
                      <a:pt x="9" y="0"/>
                    </a:lnTo>
                    <a:lnTo>
                      <a:pt x="14" y="2"/>
                    </a:lnTo>
                    <a:lnTo>
                      <a:pt x="14" y="2"/>
                    </a:lnTo>
                    <a:lnTo>
                      <a:pt x="12" y="4"/>
                    </a:lnTo>
                    <a:lnTo>
                      <a:pt x="12" y="6"/>
                    </a:lnTo>
                    <a:lnTo>
                      <a:pt x="14" y="4"/>
                    </a:lnTo>
                    <a:lnTo>
                      <a:pt x="16" y="4"/>
                    </a:lnTo>
                    <a:lnTo>
                      <a:pt x="16" y="8"/>
                    </a:lnTo>
                    <a:lnTo>
                      <a:pt x="17" y="6"/>
                    </a:lnTo>
                    <a:lnTo>
                      <a:pt x="17" y="9"/>
                    </a:lnTo>
                    <a:lnTo>
                      <a:pt x="16" y="9"/>
                    </a:lnTo>
                    <a:lnTo>
                      <a:pt x="14" y="11"/>
                    </a:lnTo>
                    <a:lnTo>
                      <a:pt x="10" y="11"/>
                    </a:lnTo>
                    <a:lnTo>
                      <a:pt x="9" y="11"/>
                    </a:lnTo>
                    <a:lnTo>
                      <a:pt x="9" y="13"/>
                    </a:lnTo>
                    <a:lnTo>
                      <a:pt x="7" y="13"/>
                    </a:lnTo>
                    <a:lnTo>
                      <a:pt x="7" y="13"/>
                    </a:lnTo>
                    <a:lnTo>
                      <a:pt x="5" y="13"/>
                    </a:lnTo>
                    <a:lnTo>
                      <a:pt x="5" y="13"/>
                    </a:lnTo>
                    <a:lnTo>
                      <a:pt x="3" y="11"/>
                    </a:lnTo>
                    <a:lnTo>
                      <a:pt x="0" y="9"/>
                    </a:lnTo>
                    <a:lnTo>
                      <a:pt x="1" y="9"/>
                    </a:lnTo>
                    <a:lnTo>
                      <a:pt x="1" y="8"/>
                    </a:lnTo>
                    <a:lnTo>
                      <a:pt x="3" y="6"/>
                    </a:lnTo>
                    <a:lnTo>
                      <a:pt x="5" y="8"/>
                    </a:lnTo>
                    <a:lnTo>
                      <a:pt x="7" y="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31" name="Freeform 1879"/>
              <p:cNvSpPr>
                <a:spLocks/>
              </p:cNvSpPr>
              <p:nvPr/>
            </p:nvSpPr>
            <p:spPr bwMode="auto">
              <a:xfrm>
                <a:off x="254" y="1554"/>
                <a:ext cx="3" cy="2"/>
              </a:xfrm>
              <a:custGeom>
                <a:avLst/>
                <a:gdLst>
                  <a:gd name="T0" fmla="*/ 0 w 3"/>
                  <a:gd name="T1" fmla="*/ 0 h 2"/>
                  <a:gd name="T2" fmla="*/ 1 w 3"/>
                  <a:gd name="T3" fmla="*/ 0 h 2"/>
                  <a:gd name="T4" fmla="*/ 1 w 3"/>
                  <a:gd name="T5" fmla="*/ 0 h 2"/>
                  <a:gd name="T6" fmla="*/ 3 w 3"/>
                  <a:gd name="T7" fmla="*/ 0 h 2"/>
                  <a:gd name="T8" fmla="*/ 3 w 3"/>
                  <a:gd name="T9" fmla="*/ 2 h 2"/>
                  <a:gd name="T10" fmla="*/ 3 w 3"/>
                  <a:gd name="T11" fmla="*/ 2 h 2"/>
                  <a:gd name="T12" fmla="*/ 1 w 3"/>
                  <a:gd name="T13" fmla="*/ 2 h 2"/>
                  <a:gd name="T14" fmla="*/ 0 w 3"/>
                  <a:gd name="T15" fmla="*/ 2 h 2"/>
                  <a:gd name="T16" fmla="*/ 0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0" y="0"/>
                    </a:moveTo>
                    <a:lnTo>
                      <a:pt x="1" y="0"/>
                    </a:lnTo>
                    <a:lnTo>
                      <a:pt x="1" y="0"/>
                    </a:lnTo>
                    <a:lnTo>
                      <a:pt x="3" y="0"/>
                    </a:lnTo>
                    <a:lnTo>
                      <a:pt x="3" y="2"/>
                    </a:lnTo>
                    <a:lnTo>
                      <a:pt x="3" y="2"/>
                    </a:lnTo>
                    <a:lnTo>
                      <a:pt x="1" y="2"/>
                    </a:lnTo>
                    <a:lnTo>
                      <a:pt x="0"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32" name="Freeform 1880"/>
              <p:cNvSpPr>
                <a:spLocks/>
              </p:cNvSpPr>
              <p:nvPr/>
            </p:nvSpPr>
            <p:spPr bwMode="auto">
              <a:xfrm>
                <a:off x="254" y="1554"/>
                <a:ext cx="3" cy="2"/>
              </a:xfrm>
              <a:custGeom>
                <a:avLst/>
                <a:gdLst>
                  <a:gd name="T0" fmla="*/ 0 w 3"/>
                  <a:gd name="T1" fmla="*/ 0 h 2"/>
                  <a:gd name="T2" fmla="*/ 1 w 3"/>
                  <a:gd name="T3" fmla="*/ 0 h 2"/>
                  <a:gd name="T4" fmla="*/ 1 w 3"/>
                  <a:gd name="T5" fmla="*/ 0 h 2"/>
                  <a:gd name="T6" fmla="*/ 3 w 3"/>
                  <a:gd name="T7" fmla="*/ 0 h 2"/>
                  <a:gd name="T8" fmla="*/ 3 w 3"/>
                  <a:gd name="T9" fmla="*/ 2 h 2"/>
                  <a:gd name="T10" fmla="*/ 3 w 3"/>
                  <a:gd name="T11" fmla="*/ 2 h 2"/>
                  <a:gd name="T12" fmla="*/ 1 w 3"/>
                  <a:gd name="T13" fmla="*/ 2 h 2"/>
                  <a:gd name="T14" fmla="*/ 0 w 3"/>
                  <a:gd name="T15" fmla="*/ 2 h 2"/>
                  <a:gd name="T16" fmla="*/ 0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0" y="0"/>
                    </a:moveTo>
                    <a:lnTo>
                      <a:pt x="1" y="0"/>
                    </a:lnTo>
                    <a:lnTo>
                      <a:pt x="1" y="0"/>
                    </a:lnTo>
                    <a:lnTo>
                      <a:pt x="3" y="0"/>
                    </a:lnTo>
                    <a:lnTo>
                      <a:pt x="3" y="2"/>
                    </a:lnTo>
                    <a:lnTo>
                      <a:pt x="3" y="2"/>
                    </a:lnTo>
                    <a:lnTo>
                      <a:pt x="1" y="2"/>
                    </a:lnTo>
                    <a:lnTo>
                      <a:pt x="0"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33" name="Freeform 1881"/>
              <p:cNvSpPr>
                <a:spLocks/>
              </p:cNvSpPr>
              <p:nvPr/>
            </p:nvSpPr>
            <p:spPr bwMode="auto">
              <a:xfrm>
                <a:off x="329" y="1499"/>
                <a:ext cx="16" cy="19"/>
              </a:xfrm>
              <a:custGeom>
                <a:avLst/>
                <a:gdLst>
                  <a:gd name="T0" fmla="*/ 3 w 16"/>
                  <a:gd name="T1" fmla="*/ 12 h 19"/>
                  <a:gd name="T2" fmla="*/ 3 w 16"/>
                  <a:gd name="T3" fmla="*/ 10 h 19"/>
                  <a:gd name="T4" fmla="*/ 7 w 16"/>
                  <a:gd name="T5" fmla="*/ 7 h 19"/>
                  <a:gd name="T6" fmla="*/ 10 w 16"/>
                  <a:gd name="T7" fmla="*/ 3 h 19"/>
                  <a:gd name="T8" fmla="*/ 12 w 16"/>
                  <a:gd name="T9" fmla="*/ 0 h 19"/>
                  <a:gd name="T10" fmla="*/ 12 w 16"/>
                  <a:gd name="T11" fmla="*/ 1 h 19"/>
                  <a:gd name="T12" fmla="*/ 12 w 16"/>
                  <a:gd name="T13" fmla="*/ 1 h 19"/>
                  <a:gd name="T14" fmla="*/ 14 w 16"/>
                  <a:gd name="T15" fmla="*/ 1 h 19"/>
                  <a:gd name="T16" fmla="*/ 16 w 16"/>
                  <a:gd name="T17" fmla="*/ 3 h 19"/>
                  <a:gd name="T18" fmla="*/ 8 w 16"/>
                  <a:gd name="T19" fmla="*/ 10 h 19"/>
                  <a:gd name="T20" fmla="*/ 8 w 16"/>
                  <a:gd name="T21" fmla="*/ 14 h 19"/>
                  <a:gd name="T22" fmla="*/ 7 w 16"/>
                  <a:gd name="T23" fmla="*/ 14 h 19"/>
                  <a:gd name="T24" fmla="*/ 7 w 16"/>
                  <a:gd name="T25" fmla="*/ 16 h 19"/>
                  <a:gd name="T26" fmla="*/ 1 w 16"/>
                  <a:gd name="T27" fmla="*/ 19 h 19"/>
                  <a:gd name="T28" fmla="*/ 0 w 16"/>
                  <a:gd name="T29" fmla="*/ 17 h 19"/>
                  <a:gd name="T30" fmla="*/ 0 w 16"/>
                  <a:gd name="T31" fmla="*/ 16 h 19"/>
                  <a:gd name="T32" fmla="*/ 1 w 16"/>
                  <a:gd name="T33" fmla="*/ 14 h 19"/>
                  <a:gd name="T34" fmla="*/ 3 w 16"/>
                  <a:gd name="T35" fmla="*/ 12 h 19"/>
                  <a:gd name="T36" fmla="*/ 3 w 16"/>
                  <a:gd name="T3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9">
                    <a:moveTo>
                      <a:pt x="3" y="12"/>
                    </a:moveTo>
                    <a:lnTo>
                      <a:pt x="3" y="10"/>
                    </a:lnTo>
                    <a:lnTo>
                      <a:pt x="7" y="7"/>
                    </a:lnTo>
                    <a:lnTo>
                      <a:pt x="10" y="3"/>
                    </a:lnTo>
                    <a:lnTo>
                      <a:pt x="12" y="0"/>
                    </a:lnTo>
                    <a:lnTo>
                      <a:pt x="12" y="1"/>
                    </a:lnTo>
                    <a:lnTo>
                      <a:pt x="12" y="1"/>
                    </a:lnTo>
                    <a:lnTo>
                      <a:pt x="14" y="1"/>
                    </a:lnTo>
                    <a:lnTo>
                      <a:pt x="16" y="3"/>
                    </a:lnTo>
                    <a:lnTo>
                      <a:pt x="8" y="10"/>
                    </a:lnTo>
                    <a:lnTo>
                      <a:pt x="8" y="14"/>
                    </a:lnTo>
                    <a:lnTo>
                      <a:pt x="7" y="14"/>
                    </a:lnTo>
                    <a:lnTo>
                      <a:pt x="7" y="16"/>
                    </a:lnTo>
                    <a:lnTo>
                      <a:pt x="1" y="19"/>
                    </a:lnTo>
                    <a:lnTo>
                      <a:pt x="0" y="17"/>
                    </a:lnTo>
                    <a:lnTo>
                      <a:pt x="0" y="16"/>
                    </a:lnTo>
                    <a:lnTo>
                      <a:pt x="1" y="14"/>
                    </a:lnTo>
                    <a:lnTo>
                      <a:pt x="3" y="12"/>
                    </a:lnTo>
                    <a:lnTo>
                      <a:pt x="3" y="1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34" name="Freeform 1882"/>
              <p:cNvSpPr>
                <a:spLocks/>
              </p:cNvSpPr>
              <p:nvPr/>
            </p:nvSpPr>
            <p:spPr bwMode="auto">
              <a:xfrm>
                <a:off x="329" y="1499"/>
                <a:ext cx="16" cy="19"/>
              </a:xfrm>
              <a:custGeom>
                <a:avLst/>
                <a:gdLst>
                  <a:gd name="T0" fmla="*/ 3 w 16"/>
                  <a:gd name="T1" fmla="*/ 12 h 19"/>
                  <a:gd name="T2" fmla="*/ 3 w 16"/>
                  <a:gd name="T3" fmla="*/ 10 h 19"/>
                  <a:gd name="T4" fmla="*/ 7 w 16"/>
                  <a:gd name="T5" fmla="*/ 7 h 19"/>
                  <a:gd name="T6" fmla="*/ 10 w 16"/>
                  <a:gd name="T7" fmla="*/ 3 h 19"/>
                  <a:gd name="T8" fmla="*/ 12 w 16"/>
                  <a:gd name="T9" fmla="*/ 0 h 19"/>
                  <a:gd name="T10" fmla="*/ 12 w 16"/>
                  <a:gd name="T11" fmla="*/ 1 h 19"/>
                  <a:gd name="T12" fmla="*/ 12 w 16"/>
                  <a:gd name="T13" fmla="*/ 1 h 19"/>
                  <a:gd name="T14" fmla="*/ 14 w 16"/>
                  <a:gd name="T15" fmla="*/ 1 h 19"/>
                  <a:gd name="T16" fmla="*/ 16 w 16"/>
                  <a:gd name="T17" fmla="*/ 3 h 19"/>
                  <a:gd name="T18" fmla="*/ 8 w 16"/>
                  <a:gd name="T19" fmla="*/ 10 h 19"/>
                  <a:gd name="T20" fmla="*/ 8 w 16"/>
                  <a:gd name="T21" fmla="*/ 14 h 19"/>
                  <a:gd name="T22" fmla="*/ 7 w 16"/>
                  <a:gd name="T23" fmla="*/ 14 h 19"/>
                  <a:gd name="T24" fmla="*/ 7 w 16"/>
                  <a:gd name="T25" fmla="*/ 16 h 19"/>
                  <a:gd name="T26" fmla="*/ 1 w 16"/>
                  <a:gd name="T27" fmla="*/ 19 h 19"/>
                  <a:gd name="T28" fmla="*/ 0 w 16"/>
                  <a:gd name="T29" fmla="*/ 17 h 19"/>
                  <a:gd name="T30" fmla="*/ 0 w 16"/>
                  <a:gd name="T31" fmla="*/ 16 h 19"/>
                  <a:gd name="T32" fmla="*/ 1 w 16"/>
                  <a:gd name="T33" fmla="*/ 14 h 19"/>
                  <a:gd name="T34" fmla="*/ 3 w 16"/>
                  <a:gd name="T35" fmla="*/ 12 h 19"/>
                  <a:gd name="T36" fmla="*/ 3 w 16"/>
                  <a:gd name="T37" fmla="*/ 1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 h="19">
                    <a:moveTo>
                      <a:pt x="3" y="12"/>
                    </a:moveTo>
                    <a:lnTo>
                      <a:pt x="3" y="10"/>
                    </a:lnTo>
                    <a:lnTo>
                      <a:pt x="7" y="7"/>
                    </a:lnTo>
                    <a:lnTo>
                      <a:pt x="10" y="3"/>
                    </a:lnTo>
                    <a:lnTo>
                      <a:pt x="12" y="0"/>
                    </a:lnTo>
                    <a:lnTo>
                      <a:pt x="12" y="1"/>
                    </a:lnTo>
                    <a:lnTo>
                      <a:pt x="12" y="1"/>
                    </a:lnTo>
                    <a:lnTo>
                      <a:pt x="14" y="1"/>
                    </a:lnTo>
                    <a:lnTo>
                      <a:pt x="16" y="3"/>
                    </a:lnTo>
                    <a:lnTo>
                      <a:pt x="8" y="10"/>
                    </a:lnTo>
                    <a:lnTo>
                      <a:pt x="8" y="14"/>
                    </a:lnTo>
                    <a:lnTo>
                      <a:pt x="7" y="14"/>
                    </a:lnTo>
                    <a:lnTo>
                      <a:pt x="7" y="16"/>
                    </a:lnTo>
                    <a:lnTo>
                      <a:pt x="1" y="19"/>
                    </a:lnTo>
                    <a:lnTo>
                      <a:pt x="0" y="17"/>
                    </a:lnTo>
                    <a:lnTo>
                      <a:pt x="0" y="16"/>
                    </a:lnTo>
                    <a:lnTo>
                      <a:pt x="1" y="14"/>
                    </a:lnTo>
                    <a:lnTo>
                      <a:pt x="3" y="12"/>
                    </a:lnTo>
                    <a:lnTo>
                      <a:pt x="3" y="1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35" name="Freeform 1883"/>
              <p:cNvSpPr>
                <a:spLocks/>
              </p:cNvSpPr>
              <p:nvPr/>
            </p:nvSpPr>
            <p:spPr bwMode="auto">
              <a:xfrm>
                <a:off x="346" y="1495"/>
                <a:ext cx="11" cy="5"/>
              </a:xfrm>
              <a:custGeom>
                <a:avLst/>
                <a:gdLst>
                  <a:gd name="T0" fmla="*/ 2 w 11"/>
                  <a:gd name="T1" fmla="*/ 4 h 5"/>
                  <a:gd name="T2" fmla="*/ 0 w 11"/>
                  <a:gd name="T3" fmla="*/ 4 h 5"/>
                  <a:gd name="T4" fmla="*/ 2 w 11"/>
                  <a:gd name="T5" fmla="*/ 4 h 5"/>
                  <a:gd name="T6" fmla="*/ 2 w 11"/>
                  <a:gd name="T7" fmla="*/ 2 h 5"/>
                  <a:gd name="T8" fmla="*/ 2 w 11"/>
                  <a:gd name="T9" fmla="*/ 0 h 5"/>
                  <a:gd name="T10" fmla="*/ 4 w 11"/>
                  <a:gd name="T11" fmla="*/ 0 h 5"/>
                  <a:gd name="T12" fmla="*/ 6 w 11"/>
                  <a:gd name="T13" fmla="*/ 0 h 5"/>
                  <a:gd name="T14" fmla="*/ 6 w 11"/>
                  <a:gd name="T15" fmla="*/ 0 h 5"/>
                  <a:gd name="T16" fmla="*/ 8 w 11"/>
                  <a:gd name="T17" fmla="*/ 2 h 5"/>
                  <a:gd name="T18" fmla="*/ 9 w 11"/>
                  <a:gd name="T19" fmla="*/ 2 h 5"/>
                  <a:gd name="T20" fmla="*/ 11 w 11"/>
                  <a:gd name="T21" fmla="*/ 2 h 5"/>
                  <a:gd name="T22" fmla="*/ 11 w 11"/>
                  <a:gd name="T23" fmla="*/ 4 h 5"/>
                  <a:gd name="T24" fmla="*/ 4 w 11"/>
                  <a:gd name="T25" fmla="*/ 5 h 5"/>
                  <a:gd name="T26" fmla="*/ 4 w 11"/>
                  <a:gd name="T27" fmla="*/ 4 h 5"/>
                  <a:gd name="T28" fmla="*/ 4 w 11"/>
                  <a:gd name="T29" fmla="*/ 4 h 5"/>
                  <a:gd name="T30" fmla="*/ 2 w 11"/>
                  <a:gd name="T31" fmla="*/ 4 h 5"/>
                  <a:gd name="T32" fmla="*/ 2 w 11"/>
                  <a:gd name="T3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5">
                    <a:moveTo>
                      <a:pt x="2" y="4"/>
                    </a:moveTo>
                    <a:lnTo>
                      <a:pt x="0" y="4"/>
                    </a:lnTo>
                    <a:lnTo>
                      <a:pt x="2" y="4"/>
                    </a:lnTo>
                    <a:lnTo>
                      <a:pt x="2" y="2"/>
                    </a:lnTo>
                    <a:lnTo>
                      <a:pt x="2" y="0"/>
                    </a:lnTo>
                    <a:lnTo>
                      <a:pt x="4" y="0"/>
                    </a:lnTo>
                    <a:lnTo>
                      <a:pt x="6" y="0"/>
                    </a:lnTo>
                    <a:lnTo>
                      <a:pt x="6" y="0"/>
                    </a:lnTo>
                    <a:lnTo>
                      <a:pt x="8" y="2"/>
                    </a:lnTo>
                    <a:lnTo>
                      <a:pt x="9" y="2"/>
                    </a:lnTo>
                    <a:lnTo>
                      <a:pt x="11" y="2"/>
                    </a:lnTo>
                    <a:lnTo>
                      <a:pt x="11" y="4"/>
                    </a:lnTo>
                    <a:lnTo>
                      <a:pt x="4" y="5"/>
                    </a:lnTo>
                    <a:lnTo>
                      <a:pt x="4" y="4"/>
                    </a:lnTo>
                    <a:lnTo>
                      <a:pt x="4" y="4"/>
                    </a:lnTo>
                    <a:lnTo>
                      <a:pt x="2" y="4"/>
                    </a:lnTo>
                    <a:lnTo>
                      <a:pt x="2"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36" name="Freeform 1884"/>
              <p:cNvSpPr>
                <a:spLocks/>
              </p:cNvSpPr>
              <p:nvPr/>
            </p:nvSpPr>
            <p:spPr bwMode="auto">
              <a:xfrm>
                <a:off x="346" y="1495"/>
                <a:ext cx="11" cy="5"/>
              </a:xfrm>
              <a:custGeom>
                <a:avLst/>
                <a:gdLst>
                  <a:gd name="T0" fmla="*/ 2 w 11"/>
                  <a:gd name="T1" fmla="*/ 4 h 5"/>
                  <a:gd name="T2" fmla="*/ 0 w 11"/>
                  <a:gd name="T3" fmla="*/ 4 h 5"/>
                  <a:gd name="T4" fmla="*/ 2 w 11"/>
                  <a:gd name="T5" fmla="*/ 4 h 5"/>
                  <a:gd name="T6" fmla="*/ 2 w 11"/>
                  <a:gd name="T7" fmla="*/ 2 h 5"/>
                  <a:gd name="T8" fmla="*/ 2 w 11"/>
                  <a:gd name="T9" fmla="*/ 0 h 5"/>
                  <a:gd name="T10" fmla="*/ 4 w 11"/>
                  <a:gd name="T11" fmla="*/ 0 h 5"/>
                  <a:gd name="T12" fmla="*/ 6 w 11"/>
                  <a:gd name="T13" fmla="*/ 0 h 5"/>
                  <a:gd name="T14" fmla="*/ 6 w 11"/>
                  <a:gd name="T15" fmla="*/ 0 h 5"/>
                  <a:gd name="T16" fmla="*/ 8 w 11"/>
                  <a:gd name="T17" fmla="*/ 2 h 5"/>
                  <a:gd name="T18" fmla="*/ 9 w 11"/>
                  <a:gd name="T19" fmla="*/ 2 h 5"/>
                  <a:gd name="T20" fmla="*/ 11 w 11"/>
                  <a:gd name="T21" fmla="*/ 2 h 5"/>
                  <a:gd name="T22" fmla="*/ 11 w 11"/>
                  <a:gd name="T23" fmla="*/ 4 h 5"/>
                  <a:gd name="T24" fmla="*/ 4 w 11"/>
                  <a:gd name="T25" fmla="*/ 5 h 5"/>
                  <a:gd name="T26" fmla="*/ 4 w 11"/>
                  <a:gd name="T27" fmla="*/ 4 h 5"/>
                  <a:gd name="T28" fmla="*/ 4 w 11"/>
                  <a:gd name="T29" fmla="*/ 4 h 5"/>
                  <a:gd name="T30" fmla="*/ 2 w 11"/>
                  <a:gd name="T31" fmla="*/ 4 h 5"/>
                  <a:gd name="T32" fmla="*/ 2 w 11"/>
                  <a:gd name="T3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5">
                    <a:moveTo>
                      <a:pt x="2" y="4"/>
                    </a:moveTo>
                    <a:lnTo>
                      <a:pt x="0" y="4"/>
                    </a:lnTo>
                    <a:lnTo>
                      <a:pt x="2" y="4"/>
                    </a:lnTo>
                    <a:lnTo>
                      <a:pt x="2" y="2"/>
                    </a:lnTo>
                    <a:lnTo>
                      <a:pt x="2" y="0"/>
                    </a:lnTo>
                    <a:lnTo>
                      <a:pt x="4" y="0"/>
                    </a:lnTo>
                    <a:lnTo>
                      <a:pt x="6" y="0"/>
                    </a:lnTo>
                    <a:lnTo>
                      <a:pt x="6" y="0"/>
                    </a:lnTo>
                    <a:lnTo>
                      <a:pt x="8" y="2"/>
                    </a:lnTo>
                    <a:lnTo>
                      <a:pt x="9" y="2"/>
                    </a:lnTo>
                    <a:lnTo>
                      <a:pt x="11" y="2"/>
                    </a:lnTo>
                    <a:lnTo>
                      <a:pt x="11" y="4"/>
                    </a:lnTo>
                    <a:lnTo>
                      <a:pt x="4" y="5"/>
                    </a:lnTo>
                    <a:lnTo>
                      <a:pt x="4" y="4"/>
                    </a:lnTo>
                    <a:lnTo>
                      <a:pt x="4" y="4"/>
                    </a:lnTo>
                    <a:lnTo>
                      <a:pt x="2" y="4"/>
                    </a:lnTo>
                    <a:lnTo>
                      <a:pt x="2"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37" name="Freeform 1885"/>
              <p:cNvSpPr>
                <a:spLocks/>
              </p:cNvSpPr>
              <p:nvPr/>
            </p:nvSpPr>
            <p:spPr bwMode="auto">
              <a:xfrm>
                <a:off x="118" y="1547"/>
                <a:ext cx="5" cy="7"/>
              </a:xfrm>
              <a:custGeom>
                <a:avLst/>
                <a:gdLst>
                  <a:gd name="T0" fmla="*/ 5 w 5"/>
                  <a:gd name="T1" fmla="*/ 0 h 7"/>
                  <a:gd name="T2" fmla="*/ 5 w 5"/>
                  <a:gd name="T3" fmla="*/ 0 h 7"/>
                  <a:gd name="T4" fmla="*/ 3 w 5"/>
                  <a:gd name="T5" fmla="*/ 7 h 7"/>
                  <a:gd name="T6" fmla="*/ 2 w 5"/>
                  <a:gd name="T7" fmla="*/ 7 h 7"/>
                  <a:gd name="T8" fmla="*/ 0 w 5"/>
                  <a:gd name="T9" fmla="*/ 7 h 7"/>
                  <a:gd name="T10" fmla="*/ 0 w 5"/>
                  <a:gd name="T11" fmla="*/ 5 h 7"/>
                  <a:gd name="T12" fmla="*/ 0 w 5"/>
                  <a:gd name="T13" fmla="*/ 3 h 7"/>
                  <a:gd name="T14" fmla="*/ 2 w 5"/>
                  <a:gd name="T15" fmla="*/ 3 h 7"/>
                  <a:gd name="T16" fmla="*/ 5 w 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5" y="0"/>
                    </a:moveTo>
                    <a:lnTo>
                      <a:pt x="5" y="0"/>
                    </a:lnTo>
                    <a:lnTo>
                      <a:pt x="3" y="7"/>
                    </a:lnTo>
                    <a:lnTo>
                      <a:pt x="2" y="7"/>
                    </a:lnTo>
                    <a:lnTo>
                      <a:pt x="0" y="7"/>
                    </a:lnTo>
                    <a:lnTo>
                      <a:pt x="0" y="5"/>
                    </a:lnTo>
                    <a:lnTo>
                      <a:pt x="0" y="3"/>
                    </a:lnTo>
                    <a:lnTo>
                      <a:pt x="2" y="3"/>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38" name="Freeform 1886"/>
              <p:cNvSpPr>
                <a:spLocks/>
              </p:cNvSpPr>
              <p:nvPr/>
            </p:nvSpPr>
            <p:spPr bwMode="auto">
              <a:xfrm>
                <a:off x="118" y="1547"/>
                <a:ext cx="5" cy="7"/>
              </a:xfrm>
              <a:custGeom>
                <a:avLst/>
                <a:gdLst>
                  <a:gd name="T0" fmla="*/ 5 w 5"/>
                  <a:gd name="T1" fmla="*/ 0 h 7"/>
                  <a:gd name="T2" fmla="*/ 5 w 5"/>
                  <a:gd name="T3" fmla="*/ 0 h 7"/>
                  <a:gd name="T4" fmla="*/ 3 w 5"/>
                  <a:gd name="T5" fmla="*/ 7 h 7"/>
                  <a:gd name="T6" fmla="*/ 2 w 5"/>
                  <a:gd name="T7" fmla="*/ 7 h 7"/>
                  <a:gd name="T8" fmla="*/ 0 w 5"/>
                  <a:gd name="T9" fmla="*/ 7 h 7"/>
                  <a:gd name="T10" fmla="*/ 0 w 5"/>
                  <a:gd name="T11" fmla="*/ 5 h 7"/>
                  <a:gd name="T12" fmla="*/ 0 w 5"/>
                  <a:gd name="T13" fmla="*/ 3 h 7"/>
                  <a:gd name="T14" fmla="*/ 2 w 5"/>
                  <a:gd name="T15" fmla="*/ 3 h 7"/>
                  <a:gd name="T16" fmla="*/ 5 w 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5" y="0"/>
                    </a:moveTo>
                    <a:lnTo>
                      <a:pt x="5" y="0"/>
                    </a:lnTo>
                    <a:lnTo>
                      <a:pt x="3" y="7"/>
                    </a:lnTo>
                    <a:lnTo>
                      <a:pt x="2" y="7"/>
                    </a:lnTo>
                    <a:lnTo>
                      <a:pt x="0" y="7"/>
                    </a:lnTo>
                    <a:lnTo>
                      <a:pt x="0" y="5"/>
                    </a:lnTo>
                    <a:lnTo>
                      <a:pt x="0" y="3"/>
                    </a:lnTo>
                    <a:lnTo>
                      <a:pt x="2" y="3"/>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39" name="Freeform 1887"/>
              <p:cNvSpPr>
                <a:spLocks/>
              </p:cNvSpPr>
              <p:nvPr/>
            </p:nvSpPr>
            <p:spPr bwMode="auto">
              <a:xfrm>
                <a:off x="16" y="1499"/>
                <a:ext cx="30" cy="17"/>
              </a:xfrm>
              <a:custGeom>
                <a:avLst/>
                <a:gdLst>
                  <a:gd name="T0" fmla="*/ 0 w 30"/>
                  <a:gd name="T1" fmla="*/ 3 h 17"/>
                  <a:gd name="T2" fmla="*/ 11 w 30"/>
                  <a:gd name="T3" fmla="*/ 3 h 17"/>
                  <a:gd name="T4" fmla="*/ 16 w 30"/>
                  <a:gd name="T5" fmla="*/ 0 h 17"/>
                  <a:gd name="T6" fmla="*/ 20 w 30"/>
                  <a:gd name="T7" fmla="*/ 0 h 17"/>
                  <a:gd name="T8" fmla="*/ 21 w 30"/>
                  <a:gd name="T9" fmla="*/ 1 h 17"/>
                  <a:gd name="T10" fmla="*/ 27 w 30"/>
                  <a:gd name="T11" fmla="*/ 1 h 17"/>
                  <a:gd name="T12" fmla="*/ 29 w 30"/>
                  <a:gd name="T13" fmla="*/ 1 h 17"/>
                  <a:gd name="T14" fmla="*/ 29 w 30"/>
                  <a:gd name="T15" fmla="*/ 8 h 17"/>
                  <a:gd name="T16" fmla="*/ 30 w 30"/>
                  <a:gd name="T17" fmla="*/ 8 h 17"/>
                  <a:gd name="T18" fmla="*/ 30 w 30"/>
                  <a:gd name="T19" fmla="*/ 10 h 17"/>
                  <a:gd name="T20" fmla="*/ 29 w 30"/>
                  <a:gd name="T21" fmla="*/ 12 h 17"/>
                  <a:gd name="T22" fmla="*/ 27 w 30"/>
                  <a:gd name="T23" fmla="*/ 12 h 17"/>
                  <a:gd name="T24" fmla="*/ 25 w 30"/>
                  <a:gd name="T25" fmla="*/ 14 h 17"/>
                  <a:gd name="T26" fmla="*/ 23 w 30"/>
                  <a:gd name="T27" fmla="*/ 14 h 17"/>
                  <a:gd name="T28" fmla="*/ 21 w 30"/>
                  <a:gd name="T29" fmla="*/ 16 h 17"/>
                  <a:gd name="T30" fmla="*/ 21 w 30"/>
                  <a:gd name="T31" fmla="*/ 17 h 17"/>
                  <a:gd name="T32" fmla="*/ 9 w 30"/>
                  <a:gd name="T33" fmla="*/ 12 h 17"/>
                  <a:gd name="T34" fmla="*/ 7 w 30"/>
                  <a:gd name="T35" fmla="*/ 12 h 17"/>
                  <a:gd name="T36" fmla="*/ 5 w 30"/>
                  <a:gd name="T37" fmla="*/ 12 h 17"/>
                  <a:gd name="T38" fmla="*/ 2 w 30"/>
                  <a:gd name="T39" fmla="*/ 8 h 17"/>
                  <a:gd name="T40" fmla="*/ 2 w 30"/>
                  <a:gd name="T41" fmla="*/ 5 h 17"/>
                  <a:gd name="T42" fmla="*/ 0 w 30"/>
                  <a:gd name="T43" fmla="*/ 5 h 17"/>
                  <a:gd name="T44" fmla="*/ 0 w 30"/>
                  <a:gd name="T45"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17">
                    <a:moveTo>
                      <a:pt x="0" y="3"/>
                    </a:moveTo>
                    <a:lnTo>
                      <a:pt x="11" y="3"/>
                    </a:lnTo>
                    <a:lnTo>
                      <a:pt x="16" y="0"/>
                    </a:lnTo>
                    <a:lnTo>
                      <a:pt x="20" y="0"/>
                    </a:lnTo>
                    <a:lnTo>
                      <a:pt x="21" y="1"/>
                    </a:lnTo>
                    <a:lnTo>
                      <a:pt x="27" y="1"/>
                    </a:lnTo>
                    <a:lnTo>
                      <a:pt x="29" y="1"/>
                    </a:lnTo>
                    <a:lnTo>
                      <a:pt x="29" y="8"/>
                    </a:lnTo>
                    <a:lnTo>
                      <a:pt x="30" y="8"/>
                    </a:lnTo>
                    <a:lnTo>
                      <a:pt x="30" y="10"/>
                    </a:lnTo>
                    <a:lnTo>
                      <a:pt x="29" y="12"/>
                    </a:lnTo>
                    <a:lnTo>
                      <a:pt x="27" y="12"/>
                    </a:lnTo>
                    <a:lnTo>
                      <a:pt x="25" y="14"/>
                    </a:lnTo>
                    <a:lnTo>
                      <a:pt x="23" y="14"/>
                    </a:lnTo>
                    <a:lnTo>
                      <a:pt x="21" y="16"/>
                    </a:lnTo>
                    <a:lnTo>
                      <a:pt x="21" y="17"/>
                    </a:lnTo>
                    <a:lnTo>
                      <a:pt x="9" y="12"/>
                    </a:lnTo>
                    <a:lnTo>
                      <a:pt x="7" y="12"/>
                    </a:lnTo>
                    <a:lnTo>
                      <a:pt x="5" y="12"/>
                    </a:lnTo>
                    <a:lnTo>
                      <a:pt x="2" y="8"/>
                    </a:lnTo>
                    <a:lnTo>
                      <a:pt x="2" y="5"/>
                    </a:lnTo>
                    <a:lnTo>
                      <a:pt x="0" y="5"/>
                    </a:lnTo>
                    <a:lnTo>
                      <a:pt x="0"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40" name="Freeform 1888"/>
              <p:cNvSpPr>
                <a:spLocks/>
              </p:cNvSpPr>
              <p:nvPr/>
            </p:nvSpPr>
            <p:spPr bwMode="auto">
              <a:xfrm>
                <a:off x="16" y="1499"/>
                <a:ext cx="30" cy="17"/>
              </a:xfrm>
              <a:custGeom>
                <a:avLst/>
                <a:gdLst>
                  <a:gd name="T0" fmla="*/ 0 w 30"/>
                  <a:gd name="T1" fmla="*/ 3 h 17"/>
                  <a:gd name="T2" fmla="*/ 11 w 30"/>
                  <a:gd name="T3" fmla="*/ 3 h 17"/>
                  <a:gd name="T4" fmla="*/ 16 w 30"/>
                  <a:gd name="T5" fmla="*/ 0 h 17"/>
                  <a:gd name="T6" fmla="*/ 20 w 30"/>
                  <a:gd name="T7" fmla="*/ 0 h 17"/>
                  <a:gd name="T8" fmla="*/ 21 w 30"/>
                  <a:gd name="T9" fmla="*/ 1 h 17"/>
                  <a:gd name="T10" fmla="*/ 27 w 30"/>
                  <a:gd name="T11" fmla="*/ 1 h 17"/>
                  <a:gd name="T12" fmla="*/ 29 w 30"/>
                  <a:gd name="T13" fmla="*/ 1 h 17"/>
                  <a:gd name="T14" fmla="*/ 29 w 30"/>
                  <a:gd name="T15" fmla="*/ 8 h 17"/>
                  <a:gd name="T16" fmla="*/ 30 w 30"/>
                  <a:gd name="T17" fmla="*/ 8 h 17"/>
                  <a:gd name="T18" fmla="*/ 30 w 30"/>
                  <a:gd name="T19" fmla="*/ 10 h 17"/>
                  <a:gd name="T20" fmla="*/ 29 w 30"/>
                  <a:gd name="T21" fmla="*/ 12 h 17"/>
                  <a:gd name="T22" fmla="*/ 27 w 30"/>
                  <a:gd name="T23" fmla="*/ 12 h 17"/>
                  <a:gd name="T24" fmla="*/ 25 w 30"/>
                  <a:gd name="T25" fmla="*/ 14 h 17"/>
                  <a:gd name="T26" fmla="*/ 23 w 30"/>
                  <a:gd name="T27" fmla="*/ 14 h 17"/>
                  <a:gd name="T28" fmla="*/ 21 w 30"/>
                  <a:gd name="T29" fmla="*/ 16 h 17"/>
                  <a:gd name="T30" fmla="*/ 21 w 30"/>
                  <a:gd name="T31" fmla="*/ 17 h 17"/>
                  <a:gd name="T32" fmla="*/ 9 w 30"/>
                  <a:gd name="T33" fmla="*/ 12 h 17"/>
                  <a:gd name="T34" fmla="*/ 7 w 30"/>
                  <a:gd name="T35" fmla="*/ 12 h 17"/>
                  <a:gd name="T36" fmla="*/ 5 w 30"/>
                  <a:gd name="T37" fmla="*/ 12 h 17"/>
                  <a:gd name="T38" fmla="*/ 2 w 30"/>
                  <a:gd name="T39" fmla="*/ 8 h 17"/>
                  <a:gd name="T40" fmla="*/ 2 w 30"/>
                  <a:gd name="T41" fmla="*/ 5 h 17"/>
                  <a:gd name="T42" fmla="*/ 0 w 30"/>
                  <a:gd name="T43" fmla="*/ 5 h 17"/>
                  <a:gd name="T44" fmla="*/ 0 w 30"/>
                  <a:gd name="T45"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17">
                    <a:moveTo>
                      <a:pt x="0" y="3"/>
                    </a:moveTo>
                    <a:lnTo>
                      <a:pt x="11" y="3"/>
                    </a:lnTo>
                    <a:lnTo>
                      <a:pt x="16" y="0"/>
                    </a:lnTo>
                    <a:lnTo>
                      <a:pt x="20" y="0"/>
                    </a:lnTo>
                    <a:lnTo>
                      <a:pt x="21" y="1"/>
                    </a:lnTo>
                    <a:lnTo>
                      <a:pt x="27" y="1"/>
                    </a:lnTo>
                    <a:lnTo>
                      <a:pt x="29" y="1"/>
                    </a:lnTo>
                    <a:lnTo>
                      <a:pt x="29" y="8"/>
                    </a:lnTo>
                    <a:lnTo>
                      <a:pt x="30" y="8"/>
                    </a:lnTo>
                    <a:lnTo>
                      <a:pt x="30" y="10"/>
                    </a:lnTo>
                    <a:lnTo>
                      <a:pt x="29" y="12"/>
                    </a:lnTo>
                    <a:lnTo>
                      <a:pt x="27" y="12"/>
                    </a:lnTo>
                    <a:lnTo>
                      <a:pt x="25" y="14"/>
                    </a:lnTo>
                    <a:lnTo>
                      <a:pt x="23" y="14"/>
                    </a:lnTo>
                    <a:lnTo>
                      <a:pt x="21" y="16"/>
                    </a:lnTo>
                    <a:lnTo>
                      <a:pt x="21" y="17"/>
                    </a:lnTo>
                    <a:lnTo>
                      <a:pt x="9" y="12"/>
                    </a:lnTo>
                    <a:lnTo>
                      <a:pt x="7" y="12"/>
                    </a:lnTo>
                    <a:lnTo>
                      <a:pt x="5" y="12"/>
                    </a:lnTo>
                    <a:lnTo>
                      <a:pt x="2" y="8"/>
                    </a:lnTo>
                    <a:lnTo>
                      <a:pt x="2" y="5"/>
                    </a:lnTo>
                    <a:lnTo>
                      <a:pt x="0" y="5"/>
                    </a:lnTo>
                    <a:lnTo>
                      <a:pt x="0"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41" name="Freeform 1889"/>
              <p:cNvSpPr>
                <a:spLocks/>
              </p:cNvSpPr>
              <p:nvPr/>
            </p:nvSpPr>
            <p:spPr bwMode="auto">
              <a:xfrm>
                <a:off x="50" y="1482"/>
                <a:ext cx="18" cy="17"/>
              </a:xfrm>
              <a:custGeom>
                <a:avLst/>
                <a:gdLst>
                  <a:gd name="T0" fmla="*/ 0 w 18"/>
                  <a:gd name="T1" fmla="*/ 8 h 17"/>
                  <a:gd name="T2" fmla="*/ 2 w 18"/>
                  <a:gd name="T3" fmla="*/ 6 h 17"/>
                  <a:gd name="T4" fmla="*/ 5 w 18"/>
                  <a:gd name="T5" fmla="*/ 2 h 17"/>
                  <a:gd name="T6" fmla="*/ 7 w 18"/>
                  <a:gd name="T7" fmla="*/ 0 h 17"/>
                  <a:gd name="T8" fmla="*/ 16 w 18"/>
                  <a:gd name="T9" fmla="*/ 4 h 17"/>
                  <a:gd name="T10" fmla="*/ 18 w 18"/>
                  <a:gd name="T11" fmla="*/ 6 h 17"/>
                  <a:gd name="T12" fmla="*/ 18 w 18"/>
                  <a:gd name="T13" fmla="*/ 9 h 17"/>
                  <a:gd name="T14" fmla="*/ 11 w 18"/>
                  <a:gd name="T15" fmla="*/ 17 h 17"/>
                  <a:gd name="T16" fmla="*/ 7 w 18"/>
                  <a:gd name="T17" fmla="*/ 9 h 17"/>
                  <a:gd name="T18" fmla="*/ 4 w 18"/>
                  <a:gd name="T19" fmla="*/ 8 h 17"/>
                  <a:gd name="T20" fmla="*/ 0 w 18"/>
                  <a:gd name="T2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7">
                    <a:moveTo>
                      <a:pt x="0" y="8"/>
                    </a:moveTo>
                    <a:lnTo>
                      <a:pt x="2" y="6"/>
                    </a:lnTo>
                    <a:lnTo>
                      <a:pt x="5" y="2"/>
                    </a:lnTo>
                    <a:lnTo>
                      <a:pt x="7" y="0"/>
                    </a:lnTo>
                    <a:lnTo>
                      <a:pt x="16" y="4"/>
                    </a:lnTo>
                    <a:lnTo>
                      <a:pt x="18" y="6"/>
                    </a:lnTo>
                    <a:lnTo>
                      <a:pt x="18" y="9"/>
                    </a:lnTo>
                    <a:lnTo>
                      <a:pt x="11" y="17"/>
                    </a:lnTo>
                    <a:lnTo>
                      <a:pt x="7" y="9"/>
                    </a:lnTo>
                    <a:lnTo>
                      <a:pt x="4" y="8"/>
                    </a:lnTo>
                    <a:lnTo>
                      <a:pt x="0" y="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42" name="Freeform 1890"/>
              <p:cNvSpPr>
                <a:spLocks/>
              </p:cNvSpPr>
              <p:nvPr/>
            </p:nvSpPr>
            <p:spPr bwMode="auto">
              <a:xfrm>
                <a:off x="50" y="1482"/>
                <a:ext cx="18" cy="17"/>
              </a:xfrm>
              <a:custGeom>
                <a:avLst/>
                <a:gdLst>
                  <a:gd name="T0" fmla="*/ 0 w 18"/>
                  <a:gd name="T1" fmla="*/ 8 h 17"/>
                  <a:gd name="T2" fmla="*/ 2 w 18"/>
                  <a:gd name="T3" fmla="*/ 6 h 17"/>
                  <a:gd name="T4" fmla="*/ 5 w 18"/>
                  <a:gd name="T5" fmla="*/ 2 h 17"/>
                  <a:gd name="T6" fmla="*/ 7 w 18"/>
                  <a:gd name="T7" fmla="*/ 0 h 17"/>
                  <a:gd name="T8" fmla="*/ 16 w 18"/>
                  <a:gd name="T9" fmla="*/ 4 h 17"/>
                  <a:gd name="T10" fmla="*/ 18 w 18"/>
                  <a:gd name="T11" fmla="*/ 6 h 17"/>
                  <a:gd name="T12" fmla="*/ 18 w 18"/>
                  <a:gd name="T13" fmla="*/ 9 h 17"/>
                  <a:gd name="T14" fmla="*/ 11 w 18"/>
                  <a:gd name="T15" fmla="*/ 17 h 17"/>
                  <a:gd name="T16" fmla="*/ 7 w 18"/>
                  <a:gd name="T17" fmla="*/ 9 h 17"/>
                  <a:gd name="T18" fmla="*/ 4 w 18"/>
                  <a:gd name="T19" fmla="*/ 8 h 17"/>
                  <a:gd name="T20" fmla="*/ 0 w 18"/>
                  <a:gd name="T21"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17">
                    <a:moveTo>
                      <a:pt x="0" y="8"/>
                    </a:moveTo>
                    <a:lnTo>
                      <a:pt x="2" y="6"/>
                    </a:lnTo>
                    <a:lnTo>
                      <a:pt x="5" y="2"/>
                    </a:lnTo>
                    <a:lnTo>
                      <a:pt x="7" y="0"/>
                    </a:lnTo>
                    <a:lnTo>
                      <a:pt x="16" y="4"/>
                    </a:lnTo>
                    <a:lnTo>
                      <a:pt x="18" y="6"/>
                    </a:lnTo>
                    <a:lnTo>
                      <a:pt x="18" y="9"/>
                    </a:lnTo>
                    <a:lnTo>
                      <a:pt x="11" y="17"/>
                    </a:lnTo>
                    <a:lnTo>
                      <a:pt x="7" y="9"/>
                    </a:lnTo>
                    <a:lnTo>
                      <a:pt x="4" y="8"/>
                    </a:lnTo>
                    <a:lnTo>
                      <a:pt x="0" y="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43" name="Freeform 1891"/>
              <p:cNvSpPr>
                <a:spLocks/>
              </p:cNvSpPr>
              <p:nvPr/>
            </p:nvSpPr>
            <p:spPr bwMode="auto">
              <a:xfrm>
                <a:off x="57" y="1409"/>
                <a:ext cx="13" cy="11"/>
              </a:xfrm>
              <a:custGeom>
                <a:avLst/>
                <a:gdLst>
                  <a:gd name="T0" fmla="*/ 11 w 13"/>
                  <a:gd name="T1" fmla="*/ 0 h 11"/>
                  <a:gd name="T2" fmla="*/ 13 w 13"/>
                  <a:gd name="T3" fmla="*/ 2 h 11"/>
                  <a:gd name="T4" fmla="*/ 11 w 13"/>
                  <a:gd name="T5" fmla="*/ 6 h 11"/>
                  <a:gd name="T6" fmla="*/ 11 w 13"/>
                  <a:gd name="T7" fmla="*/ 7 h 11"/>
                  <a:gd name="T8" fmla="*/ 9 w 13"/>
                  <a:gd name="T9" fmla="*/ 9 h 11"/>
                  <a:gd name="T10" fmla="*/ 4 w 13"/>
                  <a:gd name="T11" fmla="*/ 9 h 11"/>
                  <a:gd name="T12" fmla="*/ 2 w 13"/>
                  <a:gd name="T13" fmla="*/ 11 h 11"/>
                  <a:gd name="T14" fmla="*/ 0 w 13"/>
                  <a:gd name="T15" fmla="*/ 11 h 11"/>
                  <a:gd name="T16" fmla="*/ 0 w 13"/>
                  <a:gd name="T17" fmla="*/ 6 h 11"/>
                  <a:gd name="T18" fmla="*/ 7 w 13"/>
                  <a:gd name="T19" fmla="*/ 0 h 11"/>
                  <a:gd name="T20" fmla="*/ 11 w 13"/>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1" y="0"/>
                    </a:moveTo>
                    <a:lnTo>
                      <a:pt x="13" y="2"/>
                    </a:lnTo>
                    <a:lnTo>
                      <a:pt x="11" y="6"/>
                    </a:lnTo>
                    <a:lnTo>
                      <a:pt x="11" y="7"/>
                    </a:lnTo>
                    <a:lnTo>
                      <a:pt x="9" y="9"/>
                    </a:lnTo>
                    <a:lnTo>
                      <a:pt x="4" y="9"/>
                    </a:lnTo>
                    <a:lnTo>
                      <a:pt x="2" y="11"/>
                    </a:lnTo>
                    <a:lnTo>
                      <a:pt x="0" y="11"/>
                    </a:lnTo>
                    <a:lnTo>
                      <a:pt x="0" y="6"/>
                    </a:lnTo>
                    <a:lnTo>
                      <a:pt x="7" y="0"/>
                    </a:lnTo>
                    <a:lnTo>
                      <a:pt x="1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44" name="Freeform 1892"/>
              <p:cNvSpPr>
                <a:spLocks/>
              </p:cNvSpPr>
              <p:nvPr/>
            </p:nvSpPr>
            <p:spPr bwMode="auto">
              <a:xfrm>
                <a:off x="57" y="1409"/>
                <a:ext cx="13" cy="11"/>
              </a:xfrm>
              <a:custGeom>
                <a:avLst/>
                <a:gdLst>
                  <a:gd name="T0" fmla="*/ 11 w 13"/>
                  <a:gd name="T1" fmla="*/ 0 h 11"/>
                  <a:gd name="T2" fmla="*/ 13 w 13"/>
                  <a:gd name="T3" fmla="*/ 2 h 11"/>
                  <a:gd name="T4" fmla="*/ 11 w 13"/>
                  <a:gd name="T5" fmla="*/ 6 h 11"/>
                  <a:gd name="T6" fmla="*/ 11 w 13"/>
                  <a:gd name="T7" fmla="*/ 7 h 11"/>
                  <a:gd name="T8" fmla="*/ 9 w 13"/>
                  <a:gd name="T9" fmla="*/ 9 h 11"/>
                  <a:gd name="T10" fmla="*/ 4 w 13"/>
                  <a:gd name="T11" fmla="*/ 9 h 11"/>
                  <a:gd name="T12" fmla="*/ 2 w 13"/>
                  <a:gd name="T13" fmla="*/ 11 h 11"/>
                  <a:gd name="T14" fmla="*/ 0 w 13"/>
                  <a:gd name="T15" fmla="*/ 11 h 11"/>
                  <a:gd name="T16" fmla="*/ 0 w 13"/>
                  <a:gd name="T17" fmla="*/ 6 h 11"/>
                  <a:gd name="T18" fmla="*/ 7 w 13"/>
                  <a:gd name="T19" fmla="*/ 0 h 11"/>
                  <a:gd name="T20" fmla="*/ 11 w 13"/>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1">
                    <a:moveTo>
                      <a:pt x="11" y="0"/>
                    </a:moveTo>
                    <a:lnTo>
                      <a:pt x="13" y="2"/>
                    </a:lnTo>
                    <a:lnTo>
                      <a:pt x="11" y="6"/>
                    </a:lnTo>
                    <a:lnTo>
                      <a:pt x="11" y="7"/>
                    </a:lnTo>
                    <a:lnTo>
                      <a:pt x="9" y="9"/>
                    </a:lnTo>
                    <a:lnTo>
                      <a:pt x="4" y="9"/>
                    </a:lnTo>
                    <a:lnTo>
                      <a:pt x="2" y="11"/>
                    </a:lnTo>
                    <a:lnTo>
                      <a:pt x="0" y="11"/>
                    </a:lnTo>
                    <a:lnTo>
                      <a:pt x="0" y="6"/>
                    </a:lnTo>
                    <a:lnTo>
                      <a:pt x="7" y="0"/>
                    </a:lnTo>
                    <a:lnTo>
                      <a:pt x="1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45" name="Freeform 1893"/>
              <p:cNvSpPr>
                <a:spLocks/>
              </p:cNvSpPr>
              <p:nvPr/>
            </p:nvSpPr>
            <p:spPr bwMode="auto">
              <a:xfrm>
                <a:off x="3010" y="1497"/>
                <a:ext cx="7" cy="12"/>
              </a:xfrm>
              <a:custGeom>
                <a:avLst/>
                <a:gdLst>
                  <a:gd name="T0" fmla="*/ 6 w 7"/>
                  <a:gd name="T1" fmla="*/ 2 h 12"/>
                  <a:gd name="T2" fmla="*/ 4 w 7"/>
                  <a:gd name="T3" fmla="*/ 2 h 12"/>
                  <a:gd name="T4" fmla="*/ 2 w 7"/>
                  <a:gd name="T5" fmla="*/ 0 h 12"/>
                  <a:gd name="T6" fmla="*/ 0 w 7"/>
                  <a:gd name="T7" fmla="*/ 2 h 12"/>
                  <a:gd name="T8" fmla="*/ 2 w 7"/>
                  <a:gd name="T9" fmla="*/ 3 h 12"/>
                  <a:gd name="T10" fmla="*/ 2 w 7"/>
                  <a:gd name="T11" fmla="*/ 5 h 12"/>
                  <a:gd name="T12" fmla="*/ 0 w 7"/>
                  <a:gd name="T13" fmla="*/ 3 h 12"/>
                  <a:gd name="T14" fmla="*/ 0 w 7"/>
                  <a:gd name="T15" fmla="*/ 9 h 12"/>
                  <a:gd name="T16" fmla="*/ 4 w 7"/>
                  <a:gd name="T17" fmla="*/ 10 h 12"/>
                  <a:gd name="T18" fmla="*/ 6 w 7"/>
                  <a:gd name="T19" fmla="*/ 12 h 12"/>
                  <a:gd name="T20" fmla="*/ 7 w 7"/>
                  <a:gd name="T21" fmla="*/ 10 h 12"/>
                  <a:gd name="T22" fmla="*/ 6 w 7"/>
                  <a:gd name="T23" fmla="*/ 10 h 12"/>
                  <a:gd name="T24" fmla="*/ 4 w 7"/>
                  <a:gd name="T25" fmla="*/ 7 h 12"/>
                  <a:gd name="T26" fmla="*/ 6 w 7"/>
                  <a:gd name="T27" fmla="*/ 7 h 12"/>
                  <a:gd name="T28" fmla="*/ 7 w 7"/>
                  <a:gd name="T29" fmla="*/ 5 h 12"/>
                  <a:gd name="T30" fmla="*/ 7 w 7"/>
                  <a:gd name="T31" fmla="*/ 3 h 12"/>
                  <a:gd name="T32" fmla="*/ 6 w 7"/>
                  <a:gd name="T3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2">
                    <a:moveTo>
                      <a:pt x="6" y="2"/>
                    </a:moveTo>
                    <a:lnTo>
                      <a:pt x="4" y="2"/>
                    </a:lnTo>
                    <a:lnTo>
                      <a:pt x="2" y="0"/>
                    </a:lnTo>
                    <a:lnTo>
                      <a:pt x="0" y="2"/>
                    </a:lnTo>
                    <a:lnTo>
                      <a:pt x="2" y="3"/>
                    </a:lnTo>
                    <a:lnTo>
                      <a:pt x="2" y="5"/>
                    </a:lnTo>
                    <a:lnTo>
                      <a:pt x="0" y="3"/>
                    </a:lnTo>
                    <a:lnTo>
                      <a:pt x="0" y="9"/>
                    </a:lnTo>
                    <a:lnTo>
                      <a:pt x="4" y="10"/>
                    </a:lnTo>
                    <a:lnTo>
                      <a:pt x="6" y="12"/>
                    </a:lnTo>
                    <a:lnTo>
                      <a:pt x="7" y="10"/>
                    </a:lnTo>
                    <a:lnTo>
                      <a:pt x="6" y="10"/>
                    </a:lnTo>
                    <a:lnTo>
                      <a:pt x="4" y="7"/>
                    </a:lnTo>
                    <a:lnTo>
                      <a:pt x="6" y="7"/>
                    </a:lnTo>
                    <a:lnTo>
                      <a:pt x="7" y="5"/>
                    </a:lnTo>
                    <a:lnTo>
                      <a:pt x="7" y="3"/>
                    </a:lnTo>
                    <a:lnTo>
                      <a:pt x="6"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46" name="Freeform 1894"/>
              <p:cNvSpPr>
                <a:spLocks/>
              </p:cNvSpPr>
              <p:nvPr/>
            </p:nvSpPr>
            <p:spPr bwMode="auto">
              <a:xfrm>
                <a:off x="3010" y="1497"/>
                <a:ext cx="7" cy="12"/>
              </a:xfrm>
              <a:custGeom>
                <a:avLst/>
                <a:gdLst>
                  <a:gd name="T0" fmla="*/ 6 w 7"/>
                  <a:gd name="T1" fmla="*/ 2 h 12"/>
                  <a:gd name="T2" fmla="*/ 4 w 7"/>
                  <a:gd name="T3" fmla="*/ 2 h 12"/>
                  <a:gd name="T4" fmla="*/ 2 w 7"/>
                  <a:gd name="T5" fmla="*/ 0 h 12"/>
                  <a:gd name="T6" fmla="*/ 0 w 7"/>
                  <a:gd name="T7" fmla="*/ 2 h 12"/>
                  <a:gd name="T8" fmla="*/ 2 w 7"/>
                  <a:gd name="T9" fmla="*/ 3 h 12"/>
                  <a:gd name="T10" fmla="*/ 2 w 7"/>
                  <a:gd name="T11" fmla="*/ 5 h 12"/>
                  <a:gd name="T12" fmla="*/ 0 w 7"/>
                  <a:gd name="T13" fmla="*/ 3 h 12"/>
                  <a:gd name="T14" fmla="*/ 0 w 7"/>
                  <a:gd name="T15" fmla="*/ 9 h 12"/>
                  <a:gd name="T16" fmla="*/ 4 w 7"/>
                  <a:gd name="T17" fmla="*/ 10 h 12"/>
                  <a:gd name="T18" fmla="*/ 6 w 7"/>
                  <a:gd name="T19" fmla="*/ 12 h 12"/>
                  <a:gd name="T20" fmla="*/ 7 w 7"/>
                  <a:gd name="T21" fmla="*/ 10 h 12"/>
                  <a:gd name="T22" fmla="*/ 6 w 7"/>
                  <a:gd name="T23" fmla="*/ 10 h 12"/>
                  <a:gd name="T24" fmla="*/ 4 w 7"/>
                  <a:gd name="T25" fmla="*/ 7 h 12"/>
                  <a:gd name="T26" fmla="*/ 6 w 7"/>
                  <a:gd name="T27" fmla="*/ 7 h 12"/>
                  <a:gd name="T28" fmla="*/ 7 w 7"/>
                  <a:gd name="T29" fmla="*/ 5 h 12"/>
                  <a:gd name="T30" fmla="*/ 7 w 7"/>
                  <a:gd name="T31" fmla="*/ 3 h 12"/>
                  <a:gd name="T32" fmla="*/ 6 w 7"/>
                  <a:gd name="T3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2">
                    <a:moveTo>
                      <a:pt x="6" y="2"/>
                    </a:moveTo>
                    <a:lnTo>
                      <a:pt x="4" y="2"/>
                    </a:lnTo>
                    <a:lnTo>
                      <a:pt x="2" y="0"/>
                    </a:lnTo>
                    <a:lnTo>
                      <a:pt x="0" y="2"/>
                    </a:lnTo>
                    <a:lnTo>
                      <a:pt x="2" y="3"/>
                    </a:lnTo>
                    <a:lnTo>
                      <a:pt x="2" y="5"/>
                    </a:lnTo>
                    <a:lnTo>
                      <a:pt x="0" y="3"/>
                    </a:lnTo>
                    <a:lnTo>
                      <a:pt x="0" y="9"/>
                    </a:lnTo>
                    <a:lnTo>
                      <a:pt x="4" y="10"/>
                    </a:lnTo>
                    <a:lnTo>
                      <a:pt x="6" y="12"/>
                    </a:lnTo>
                    <a:lnTo>
                      <a:pt x="7" y="10"/>
                    </a:lnTo>
                    <a:lnTo>
                      <a:pt x="6" y="10"/>
                    </a:lnTo>
                    <a:lnTo>
                      <a:pt x="4" y="7"/>
                    </a:lnTo>
                    <a:lnTo>
                      <a:pt x="6" y="7"/>
                    </a:lnTo>
                    <a:lnTo>
                      <a:pt x="7" y="5"/>
                    </a:lnTo>
                    <a:lnTo>
                      <a:pt x="7" y="3"/>
                    </a:lnTo>
                    <a:lnTo>
                      <a:pt x="6"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47" name="Freeform 1895"/>
              <p:cNvSpPr>
                <a:spLocks/>
              </p:cNvSpPr>
              <p:nvPr/>
            </p:nvSpPr>
            <p:spPr bwMode="auto">
              <a:xfrm>
                <a:off x="3041" y="1502"/>
                <a:ext cx="3" cy="4"/>
              </a:xfrm>
              <a:custGeom>
                <a:avLst/>
                <a:gdLst>
                  <a:gd name="T0" fmla="*/ 3 w 3"/>
                  <a:gd name="T1" fmla="*/ 2 h 4"/>
                  <a:gd name="T2" fmla="*/ 3 w 3"/>
                  <a:gd name="T3" fmla="*/ 0 h 4"/>
                  <a:gd name="T4" fmla="*/ 1 w 3"/>
                  <a:gd name="T5" fmla="*/ 0 h 4"/>
                  <a:gd name="T6" fmla="*/ 0 w 3"/>
                  <a:gd name="T7" fmla="*/ 4 h 4"/>
                  <a:gd name="T8" fmla="*/ 1 w 3"/>
                  <a:gd name="T9" fmla="*/ 4 h 4"/>
                  <a:gd name="T10" fmla="*/ 3 w 3"/>
                  <a:gd name="T11" fmla="*/ 4 h 4"/>
                  <a:gd name="T12" fmla="*/ 3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2"/>
                    </a:moveTo>
                    <a:lnTo>
                      <a:pt x="3" y="0"/>
                    </a:lnTo>
                    <a:lnTo>
                      <a:pt x="1" y="0"/>
                    </a:lnTo>
                    <a:lnTo>
                      <a:pt x="0" y="4"/>
                    </a:lnTo>
                    <a:lnTo>
                      <a:pt x="1" y="4"/>
                    </a:lnTo>
                    <a:lnTo>
                      <a:pt x="3" y="4"/>
                    </a:lnTo>
                    <a:lnTo>
                      <a:pt x="3"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48" name="Freeform 1896"/>
              <p:cNvSpPr>
                <a:spLocks/>
              </p:cNvSpPr>
              <p:nvPr/>
            </p:nvSpPr>
            <p:spPr bwMode="auto">
              <a:xfrm>
                <a:off x="3041" y="1502"/>
                <a:ext cx="3" cy="4"/>
              </a:xfrm>
              <a:custGeom>
                <a:avLst/>
                <a:gdLst>
                  <a:gd name="T0" fmla="*/ 3 w 3"/>
                  <a:gd name="T1" fmla="*/ 2 h 4"/>
                  <a:gd name="T2" fmla="*/ 3 w 3"/>
                  <a:gd name="T3" fmla="*/ 0 h 4"/>
                  <a:gd name="T4" fmla="*/ 1 w 3"/>
                  <a:gd name="T5" fmla="*/ 0 h 4"/>
                  <a:gd name="T6" fmla="*/ 0 w 3"/>
                  <a:gd name="T7" fmla="*/ 4 h 4"/>
                  <a:gd name="T8" fmla="*/ 1 w 3"/>
                  <a:gd name="T9" fmla="*/ 4 h 4"/>
                  <a:gd name="T10" fmla="*/ 3 w 3"/>
                  <a:gd name="T11" fmla="*/ 4 h 4"/>
                  <a:gd name="T12" fmla="*/ 3 w 3"/>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2"/>
                    </a:moveTo>
                    <a:lnTo>
                      <a:pt x="3" y="0"/>
                    </a:lnTo>
                    <a:lnTo>
                      <a:pt x="1" y="0"/>
                    </a:lnTo>
                    <a:lnTo>
                      <a:pt x="0" y="4"/>
                    </a:lnTo>
                    <a:lnTo>
                      <a:pt x="1" y="4"/>
                    </a:lnTo>
                    <a:lnTo>
                      <a:pt x="3" y="4"/>
                    </a:lnTo>
                    <a:lnTo>
                      <a:pt x="3"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49" name="Freeform 1897"/>
              <p:cNvSpPr>
                <a:spLocks/>
              </p:cNvSpPr>
              <p:nvPr/>
            </p:nvSpPr>
            <p:spPr bwMode="auto">
              <a:xfrm>
                <a:off x="3053" y="1500"/>
                <a:ext cx="7" cy="9"/>
              </a:xfrm>
              <a:custGeom>
                <a:avLst/>
                <a:gdLst>
                  <a:gd name="T0" fmla="*/ 4 w 7"/>
                  <a:gd name="T1" fmla="*/ 9 h 9"/>
                  <a:gd name="T2" fmla="*/ 6 w 7"/>
                  <a:gd name="T3" fmla="*/ 7 h 9"/>
                  <a:gd name="T4" fmla="*/ 7 w 7"/>
                  <a:gd name="T5" fmla="*/ 0 h 9"/>
                  <a:gd name="T6" fmla="*/ 6 w 7"/>
                  <a:gd name="T7" fmla="*/ 2 h 9"/>
                  <a:gd name="T8" fmla="*/ 2 w 7"/>
                  <a:gd name="T9" fmla="*/ 4 h 9"/>
                  <a:gd name="T10" fmla="*/ 2 w 7"/>
                  <a:gd name="T11" fmla="*/ 6 h 9"/>
                  <a:gd name="T12" fmla="*/ 0 w 7"/>
                  <a:gd name="T13" fmla="*/ 7 h 9"/>
                  <a:gd name="T14" fmla="*/ 0 w 7"/>
                  <a:gd name="T15" fmla="*/ 9 h 9"/>
                  <a:gd name="T16" fmla="*/ 2 w 7"/>
                  <a:gd name="T17" fmla="*/ 7 h 9"/>
                  <a:gd name="T18" fmla="*/ 4 w 7"/>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4" y="9"/>
                    </a:moveTo>
                    <a:lnTo>
                      <a:pt x="6" y="7"/>
                    </a:lnTo>
                    <a:lnTo>
                      <a:pt x="7" y="0"/>
                    </a:lnTo>
                    <a:lnTo>
                      <a:pt x="6" y="2"/>
                    </a:lnTo>
                    <a:lnTo>
                      <a:pt x="2" y="4"/>
                    </a:lnTo>
                    <a:lnTo>
                      <a:pt x="2" y="6"/>
                    </a:lnTo>
                    <a:lnTo>
                      <a:pt x="0" y="7"/>
                    </a:lnTo>
                    <a:lnTo>
                      <a:pt x="0" y="9"/>
                    </a:lnTo>
                    <a:lnTo>
                      <a:pt x="2" y="7"/>
                    </a:lnTo>
                    <a:lnTo>
                      <a:pt x="4"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50" name="Freeform 1898"/>
              <p:cNvSpPr>
                <a:spLocks/>
              </p:cNvSpPr>
              <p:nvPr/>
            </p:nvSpPr>
            <p:spPr bwMode="auto">
              <a:xfrm>
                <a:off x="3053" y="1500"/>
                <a:ext cx="7" cy="9"/>
              </a:xfrm>
              <a:custGeom>
                <a:avLst/>
                <a:gdLst>
                  <a:gd name="T0" fmla="*/ 4 w 7"/>
                  <a:gd name="T1" fmla="*/ 9 h 9"/>
                  <a:gd name="T2" fmla="*/ 6 w 7"/>
                  <a:gd name="T3" fmla="*/ 7 h 9"/>
                  <a:gd name="T4" fmla="*/ 7 w 7"/>
                  <a:gd name="T5" fmla="*/ 0 h 9"/>
                  <a:gd name="T6" fmla="*/ 6 w 7"/>
                  <a:gd name="T7" fmla="*/ 2 h 9"/>
                  <a:gd name="T8" fmla="*/ 2 w 7"/>
                  <a:gd name="T9" fmla="*/ 4 h 9"/>
                  <a:gd name="T10" fmla="*/ 2 w 7"/>
                  <a:gd name="T11" fmla="*/ 6 h 9"/>
                  <a:gd name="T12" fmla="*/ 0 w 7"/>
                  <a:gd name="T13" fmla="*/ 7 h 9"/>
                  <a:gd name="T14" fmla="*/ 0 w 7"/>
                  <a:gd name="T15" fmla="*/ 9 h 9"/>
                  <a:gd name="T16" fmla="*/ 2 w 7"/>
                  <a:gd name="T17" fmla="*/ 7 h 9"/>
                  <a:gd name="T18" fmla="*/ 4 w 7"/>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4" y="9"/>
                    </a:moveTo>
                    <a:lnTo>
                      <a:pt x="6" y="7"/>
                    </a:lnTo>
                    <a:lnTo>
                      <a:pt x="7" y="0"/>
                    </a:lnTo>
                    <a:lnTo>
                      <a:pt x="6" y="2"/>
                    </a:lnTo>
                    <a:lnTo>
                      <a:pt x="2" y="4"/>
                    </a:lnTo>
                    <a:lnTo>
                      <a:pt x="2" y="6"/>
                    </a:lnTo>
                    <a:lnTo>
                      <a:pt x="0" y="7"/>
                    </a:lnTo>
                    <a:lnTo>
                      <a:pt x="0" y="9"/>
                    </a:lnTo>
                    <a:lnTo>
                      <a:pt x="2" y="7"/>
                    </a:lnTo>
                    <a:lnTo>
                      <a:pt x="4"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51" name="Freeform 1899"/>
              <p:cNvSpPr>
                <a:spLocks/>
              </p:cNvSpPr>
              <p:nvPr/>
            </p:nvSpPr>
            <p:spPr bwMode="auto">
              <a:xfrm>
                <a:off x="2896" y="2052"/>
                <a:ext cx="50" cy="32"/>
              </a:xfrm>
              <a:custGeom>
                <a:avLst/>
                <a:gdLst>
                  <a:gd name="T0" fmla="*/ 50 w 50"/>
                  <a:gd name="T1" fmla="*/ 0 h 32"/>
                  <a:gd name="T2" fmla="*/ 48 w 50"/>
                  <a:gd name="T3" fmla="*/ 0 h 32"/>
                  <a:gd name="T4" fmla="*/ 50 w 50"/>
                  <a:gd name="T5" fmla="*/ 0 h 32"/>
                  <a:gd name="T6" fmla="*/ 48 w 50"/>
                  <a:gd name="T7" fmla="*/ 4 h 32"/>
                  <a:gd name="T8" fmla="*/ 41 w 50"/>
                  <a:gd name="T9" fmla="*/ 18 h 32"/>
                  <a:gd name="T10" fmla="*/ 41 w 50"/>
                  <a:gd name="T11" fmla="*/ 20 h 32"/>
                  <a:gd name="T12" fmla="*/ 43 w 50"/>
                  <a:gd name="T13" fmla="*/ 20 h 32"/>
                  <a:gd name="T14" fmla="*/ 45 w 50"/>
                  <a:gd name="T15" fmla="*/ 25 h 32"/>
                  <a:gd name="T16" fmla="*/ 43 w 50"/>
                  <a:gd name="T17" fmla="*/ 32 h 32"/>
                  <a:gd name="T18" fmla="*/ 34 w 50"/>
                  <a:gd name="T19" fmla="*/ 30 h 32"/>
                  <a:gd name="T20" fmla="*/ 29 w 50"/>
                  <a:gd name="T21" fmla="*/ 25 h 32"/>
                  <a:gd name="T22" fmla="*/ 20 w 50"/>
                  <a:gd name="T23" fmla="*/ 23 h 32"/>
                  <a:gd name="T24" fmla="*/ 11 w 50"/>
                  <a:gd name="T25" fmla="*/ 16 h 32"/>
                  <a:gd name="T26" fmla="*/ 2 w 50"/>
                  <a:gd name="T27" fmla="*/ 14 h 32"/>
                  <a:gd name="T28" fmla="*/ 0 w 50"/>
                  <a:gd name="T29" fmla="*/ 13 h 32"/>
                  <a:gd name="T30" fmla="*/ 0 w 50"/>
                  <a:gd name="T31" fmla="*/ 7 h 32"/>
                  <a:gd name="T32" fmla="*/ 0 w 50"/>
                  <a:gd name="T33" fmla="*/ 5 h 32"/>
                  <a:gd name="T34" fmla="*/ 2 w 50"/>
                  <a:gd name="T35" fmla="*/ 4 h 32"/>
                  <a:gd name="T36" fmla="*/ 4 w 50"/>
                  <a:gd name="T37" fmla="*/ 2 h 32"/>
                  <a:gd name="T38" fmla="*/ 5 w 50"/>
                  <a:gd name="T39" fmla="*/ 4 h 32"/>
                  <a:gd name="T40" fmla="*/ 7 w 50"/>
                  <a:gd name="T41" fmla="*/ 4 h 32"/>
                  <a:gd name="T42" fmla="*/ 13 w 50"/>
                  <a:gd name="T43" fmla="*/ 2 h 32"/>
                  <a:gd name="T44" fmla="*/ 18 w 50"/>
                  <a:gd name="T45" fmla="*/ 4 h 32"/>
                  <a:gd name="T46" fmla="*/ 20 w 50"/>
                  <a:gd name="T47" fmla="*/ 7 h 32"/>
                  <a:gd name="T48" fmla="*/ 34 w 50"/>
                  <a:gd name="T49" fmla="*/ 4 h 32"/>
                  <a:gd name="T50" fmla="*/ 38 w 50"/>
                  <a:gd name="T51" fmla="*/ 2 h 32"/>
                  <a:gd name="T52" fmla="*/ 43 w 50"/>
                  <a:gd name="T53" fmla="*/ 2 h 32"/>
                  <a:gd name="T54" fmla="*/ 45 w 50"/>
                  <a:gd name="T55" fmla="*/ 2 h 32"/>
                  <a:gd name="T56" fmla="*/ 48 w 50"/>
                  <a:gd name="T57" fmla="*/ 0 h 32"/>
                  <a:gd name="T58" fmla="*/ 50 w 50"/>
                  <a:gd name="T5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32">
                    <a:moveTo>
                      <a:pt x="50" y="0"/>
                    </a:moveTo>
                    <a:lnTo>
                      <a:pt x="48" y="0"/>
                    </a:lnTo>
                    <a:lnTo>
                      <a:pt x="50" y="0"/>
                    </a:lnTo>
                    <a:lnTo>
                      <a:pt x="48" y="4"/>
                    </a:lnTo>
                    <a:lnTo>
                      <a:pt x="41" y="18"/>
                    </a:lnTo>
                    <a:lnTo>
                      <a:pt x="41" y="20"/>
                    </a:lnTo>
                    <a:lnTo>
                      <a:pt x="43" y="20"/>
                    </a:lnTo>
                    <a:lnTo>
                      <a:pt x="45" y="25"/>
                    </a:lnTo>
                    <a:lnTo>
                      <a:pt x="43" y="32"/>
                    </a:lnTo>
                    <a:lnTo>
                      <a:pt x="34" y="30"/>
                    </a:lnTo>
                    <a:lnTo>
                      <a:pt x="29" y="25"/>
                    </a:lnTo>
                    <a:lnTo>
                      <a:pt x="20" y="23"/>
                    </a:lnTo>
                    <a:lnTo>
                      <a:pt x="11" y="16"/>
                    </a:lnTo>
                    <a:lnTo>
                      <a:pt x="2" y="14"/>
                    </a:lnTo>
                    <a:lnTo>
                      <a:pt x="0" y="13"/>
                    </a:lnTo>
                    <a:lnTo>
                      <a:pt x="0" y="7"/>
                    </a:lnTo>
                    <a:lnTo>
                      <a:pt x="0" y="5"/>
                    </a:lnTo>
                    <a:lnTo>
                      <a:pt x="2" y="4"/>
                    </a:lnTo>
                    <a:lnTo>
                      <a:pt x="4" y="2"/>
                    </a:lnTo>
                    <a:lnTo>
                      <a:pt x="5" y="4"/>
                    </a:lnTo>
                    <a:lnTo>
                      <a:pt x="7" y="4"/>
                    </a:lnTo>
                    <a:lnTo>
                      <a:pt x="13" y="2"/>
                    </a:lnTo>
                    <a:lnTo>
                      <a:pt x="18" y="4"/>
                    </a:lnTo>
                    <a:lnTo>
                      <a:pt x="20" y="7"/>
                    </a:lnTo>
                    <a:lnTo>
                      <a:pt x="34" y="4"/>
                    </a:lnTo>
                    <a:lnTo>
                      <a:pt x="38" y="2"/>
                    </a:lnTo>
                    <a:lnTo>
                      <a:pt x="43" y="2"/>
                    </a:lnTo>
                    <a:lnTo>
                      <a:pt x="45" y="2"/>
                    </a:lnTo>
                    <a:lnTo>
                      <a:pt x="48" y="0"/>
                    </a:lnTo>
                    <a:lnTo>
                      <a:pt x="5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52" name="Freeform 1900"/>
              <p:cNvSpPr>
                <a:spLocks/>
              </p:cNvSpPr>
              <p:nvPr/>
            </p:nvSpPr>
            <p:spPr bwMode="auto">
              <a:xfrm>
                <a:off x="2896" y="2052"/>
                <a:ext cx="50" cy="32"/>
              </a:xfrm>
              <a:custGeom>
                <a:avLst/>
                <a:gdLst>
                  <a:gd name="T0" fmla="*/ 50 w 50"/>
                  <a:gd name="T1" fmla="*/ 0 h 32"/>
                  <a:gd name="T2" fmla="*/ 48 w 50"/>
                  <a:gd name="T3" fmla="*/ 0 h 32"/>
                  <a:gd name="T4" fmla="*/ 50 w 50"/>
                  <a:gd name="T5" fmla="*/ 0 h 32"/>
                  <a:gd name="T6" fmla="*/ 48 w 50"/>
                  <a:gd name="T7" fmla="*/ 4 h 32"/>
                  <a:gd name="T8" fmla="*/ 41 w 50"/>
                  <a:gd name="T9" fmla="*/ 18 h 32"/>
                  <a:gd name="T10" fmla="*/ 41 w 50"/>
                  <a:gd name="T11" fmla="*/ 20 h 32"/>
                  <a:gd name="T12" fmla="*/ 43 w 50"/>
                  <a:gd name="T13" fmla="*/ 20 h 32"/>
                  <a:gd name="T14" fmla="*/ 45 w 50"/>
                  <a:gd name="T15" fmla="*/ 25 h 32"/>
                  <a:gd name="T16" fmla="*/ 43 w 50"/>
                  <a:gd name="T17" fmla="*/ 32 h 32"/>
                  <a:gd name="T18" fmla="*/ 34 w 50"/>
                  <a:gd name="T19" fmla="*/ 30 h 32"/>
                  <a:gd name="T20" fmla="*/ 29 w 50"/>
                  <a:gd name="T21" fmla="*/ 25 h 32"/>
                  <a:gd name="T22" fmla="*/ 20 w 50"/>
                  <a:gd name="T23" fmla="*/ 23 h 32"/>
                  <a:gd name="T24" fmla="*/ 11 w 50"/>
                  <a:gd name="T25" fmla="*/ 16 h 32"/>
                  <a:gd name="T26" fmla="*/ 2 w 50"/>
                  <a:gd name="T27" fmla="*/ 14 h 32"/>
                  <a:gd name="T28" fmla="*/ 0 w 50"/>
                  <a:gd name="T29" fmla="*/ 13 h 32"/>
                  <a:gd name="T30" fmla="*/ 0 w 50"/>
                  <a:gd name="T31" fmla="*/ 7 h 32"/>
                  <a:gd name="T32" fmla="*/ 0 w 50"/>
                  <a:gd name="T33" fmla="*/ 5 h 32"/>
                  <a:gd name="T34" fmla="*/ 2 w 50"/>
                  <a:gd name="T35" fmla="*/ 4 h 32"/>
                  <a:gd name="T36" fmla="*/ 4 w 50"/>
                  <a:gd name="T37" fmla="*/ 2 h 32"/>
                  <a:gd name="T38" fmla="*/ 5 w 50"/>
                  <a:gd name="T39" fmla="*/ 4 h 32"/>
                  <a:gd name="T40" fmla="*/ 7 w 50"/>
                  <a:gd name="T41" fmla="*/ 4 h 32"/>
                  <a:gd name="T42" fmla="*/ 13 w 50"/>
                  <a:gd name="T43" fmla="*/ 2 h 32"/>
                  <a:gd name="T44" fmla="*/ 18 w 50"/>
                  <a:gd name="T45" fmla="*/ 4 h 32"/>
                  <a:gd name="T46" fmla="*/ 20 w 50"/>
                  <a:gd name="T47" fmla="*/ 7 h 32"/>
                  <a:gd name="T48" fmla="*/ 34 w 50"/>
                  <a:gd name="T49" fmla="*/ 4 h 32"/>
                  <a:gd name="T50" fmla="*/ 38 w 50"/>
                  <a:gd name="T51" fmla="*/ 2 h 32"/>
                  <a:gd name="T52" fmla="*/ 43 w 50"/>
                  <a:gd name="T53" fmla="*/ 2 h 32"/>
                  <a:gd name="T54" fmla="*/ 45 w 50"/>
                  <a:gd name="T55" fmla="*/ 2 h 32"/>
                  <a:gd name="T56" fmla="*/ 48 w 50"/>
                  <a:gd name="T57" fmla="*/ 0 h 32"/>
                  <a:gd name="T58" fmla="*/ 50 w 50"/>
                  <a:gd name="T5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32">
                    <a:moveTo>
                      <a:pt x="50" y="0"/>
                    </a:moveTo>
                    <a:lnTo>
                      <a:pt x="48" y="0"/>
                    </a:lnTo>
                    <a:lnTo>
                      <a:pt x="50" y="0"/>
                    </a:lnTo>
                    <a:lnTo>
                      <a:pt x="48" y="4"/>
                    </a:lnTo>
                    <a:lnTo>
                      <a:pt x="41" y="18"/>
                    </a:lnTo>
                    <a:lnTo>
                      <a:pt x="41" y="20"/>
                    </a:lnTo>
                    <a:lnTo>
                      <a:pt x="43" y="20"/>
                    </a:lnTo>
                    <a:lnTo>
                      <a:pt x="45" y="25"/>
                    </a:lnTo>
                    <a:lnTo>
                      <a:pt x="43" y="32"/>
                    </a:lnTo>
                    <a:lnTo>
                      <a:pt x="34" y="30"/>
                    </a:lnTo>
                    <a:lnTo>
                      <a:pt x="29" y="25"/>
                    </a:lnTo>
                    <a:lnTo>
                      <a:pt x="20" y="23"/>
                    </a:lnTo>
                    <a:lnTo>
                      <a:pt x="11" y="16"/>
                    </a:lnTo>
                    <a:lnTo>
                      <a:pt x="2" y="14"/>
                    </a:lnTo>
                    <a:lnTo>
                      <a:pt x="0" y="13"/>
                    </a:lnTo>
                    <a:lnTo>
                      <a:pt x="0" y="7"/>
                    </a:lnTo>
                    <a:lnTo>
                      <a:pt x="0" y="5"/>
                    </a:lnTo>
                    <a:lnTo>
                      <a:pt x="2" y="4"/>
                    </a:lnTo>
                    <a:lnTo>
                      <a:pt x="4" y="2"/>
                    </a:lnTo>
                    <a:lnTo>
                      <a:pt x="5" y="4"/>
                    </a:lnTo>
                    <a:lnTo>
                      <a:pt x="7" y="4"/>
                    </a:lnTo>
                    <a:lnTo>
                      <a:pt x="13" y="2"/>
                    </a:lnTo>
                    <a:lnTo>
                      <a:pt x="18" y="4"/>
                    </a:lnTo>
                    <a:lnTo>
                      <a:pt x="20" y="7"/>
                    </a:lnTo>
                    <a:lnTo>
                      <a:pt x="34" y="4"/>
                    </a:lnTo>
                    <a:lnTo>
                      <a:pt x="38" y="2"/>
                    </a:lnTo>
                    <a:lnTo>
                      <a:pt x="43" y="2"/>
                    </a:lnTo>
                    <a:lnTo>
                      <a:pt x="45" y="2"/>
                    </a:lnTo>
                    <a:lnTo>
                      <a:pt x="48" y="0"/>
                    </a:lnTo>
                    <a:lnTo>
                      <a:pt x="5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53" name="Freeform 1901"/>
              <p:cNvSpPr>
                <a:spLocks/>
              </p:cNvSpPr>
              <p:nvPr/>
            </p:nvSpPr>
            <p:spPr bwMode="auto">
              <a:xfrm>
                <a:off x="2828" y="1990"/>
                <a:ext cx="23" cy="50"/>
              </a:xfrm>
              <a:custGeom>
                <a:avLst/>
                <a:gdLst>
                  <a:gd name="T0" fmla="*/ 15 w 23"/>
                  <a:gd name="T1" fmla="*/ 0 h 50"/>
                  <a:gd name="T2" fmla="*/ 18 w 23"/>
                  <a:gd name="T3" fmla="*/ 1 h 50"/>
                  <a:gd name="T4" fmla="*/ 18 w 23"/>
                  <a:gd name="T5" fmla="*/ 1 h 50"/>
                  <a:gd name="T6" fmla="*/ 20 w 23"/>
                  <a:gd name="T7" fmla="*/ 3 h 50"/>
                  <a:gd name="T8" fmla="*/ 23 w 23"/>
                  <a:gd name="T9" fmla="*/ 12 h 50"/>
                  <a:gd name="T10" fmla="*/ 23 w 23"/>
                  <a:gd name="T11" fmla="*/ 41 h 50"/>
                  <a:gd name="T12" fmla="*/ 22 w 23"/>
                  <a:gd name="T13" fmla="*/ 42 h 50"/>
                  <a:gd name="T14" fmla="*/ 22 w 23"/>
                  <a:gd name="T15" fmla="*/ 42 h 50"/>
                  <a:gd name="T16" fmla="*/ 20 w 23"/>
                  <a:gd name="T17" fmla="*/ 44 h 50"/>
                  <a:gd name="T18" fmla="*/ 16 w 23"/>
                  <a:gd name="T19" fmla="*/ 44 h 50"/>
                  <a:gd name="T20" fmla="*/ 15 w 23"/>
                  <a:gd name="T21" fmla="*/ 44 h 50"/>
                  <a:gd name="T22" fmla="*/ 13 w 23"/>
                  <a:gd name="T23" fmla="*/ 48 h 50"/>
                  <a:gd name="T24" fmla="*/ 11 w 23"/>
                  <a:gd name="T25" fmla="*/ 50 h 50"/>
                  <a:gd name="T26" fmla="*/ 9 w 23"/>
                  <a:gd name="T27" fmla="*/ 50 h 50"/>
                  <a:gd name="T28" fmla="*/ 4 w 23"/>
                  <a:gd name="T29" fmla="*/ 44 h 50"/>
                  <a:gd name="T30" fmla="*/ 4 w 23"/>
                  <a:gd name="T31" fmla="*/ 42 h 50"/>
                  <a:gd name="T32" fmla="*/ 4 w 23"/>
                  <a:gd name="T33" fmla="*/ 41 h 50"/>
                  <a:gd name="T34" fmla="*/ 2 w 23"/>
                  <a:gd name="T35" fmla="*/ 37 h 50"/>
                  <a:gd name="T36" fmla="*/ 4 w 23"/>
                  <a:gd name="T37" fmla="*/ 32 h 50"/>
                  <a:gd name="T38" fmla="*/ 6 w 23"/>
                  <a:gd name="T39" fmla="*/ 30 h 50"/>
                  <a:gd name="T40" fmla="*/ 6 w 23"/>
                  <a:gd name="T41" fmla="*/ 28 h 50"/>
                  <a:gd name="T42" fmla="*/ 4 w 23"/>
                  <a:gd name="T43" fmla="*/ 28 h 50"/>
                  <a:gd name="T44" fmla="*/ 4 w 23"/>
                  <a:gd name="T45" fmla="*/ 19 h 50"/>
                  <a:gd name="T46" fmla="*/ 2 w 23"/>
                  <a:gd name="T47" fmla="*/ 16 h 50"/>
                  <a:gd name="T48" fmla="*/ 2 w 23"/>
                  <a:gd name="T49" fmla="*/ 16 h 50"/>
                  <a:gd name="T50" fmla="*/ 0 w 23"/>
                  <a:gd name="T51" fmla="*/ 16 h 50"/>
                  <a:gd name="T52" fmla="*/ 0 w 23"/>
                  <a:gd name="T53" fmla="*/ 14 h 50"/>
                  <a:gd name="T54" fmla="*/ 0 w 23"/>
                  <a:gd name="T55" fmla="*/ 7 h 50"/>
                  <a:gd name="T56" fmla="*/ 0 w 23"/>
                  <a:gd name="T57" fmla="*/ 7 h 50"/>
                  <a:gd name="T58" fmla="*/ 2 w 23"/>
                  <a:gd name="T59" fmla="*/ 9 h 50"/>
                  <a:gd name="T60" fmla="*/ 6 w 23"/>
                  <a:gd name="T61" fmla="*/ 9 h 50"/>
                  <a:gd name="T62" fmla="*/ 11 w 23"/>
                  <a:gd name="T63" fmla="*/ 3 h 50"/>
                  <a:gd name="T64" fmla="*/ 13 w 23"/>
                  <a:gd name="T65" fmla="*/ 3 h 50"/>
                  <a:gd name="T66" fmla="*/ 15 w 23"/>
                  <a:gd name="T6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50">
                    <a:moveTo>
                      <a:pt x="15" y="0"/>
                    </a:moveTo>
                    <a:lnTo>
                      <a:pt x="18" y="1"/>
                    </a:lnTo>
                    <a:lnTo>
                      <a:pt x="18" y="1"/>
                    </a:lnTo>
                    <a:lnTo>
                      <a:pt x="20" y="3"/>
                    </a:lnTo>
                    <a:lnTo>
                      <a:pt x="23" y="12"/>
                    </a:lnTo>
                    <a:lnTo>
                      <a:pt x="23" y="41"/>
                    </a:lnTo>
                    <a:lnTo>
                      <a:pt x="22" y="42"/>
                    </a:lnTo>
                    <a:lnTo>
                      <a:pt x="22" y="42"/>
                    </a:lnTo>
                    <a:lnTo>
                      <a:pt x="20" y="44"/>
                    </a:lnTo>
                    <a:lnTo>
                      <a:pt x="16" y="44"/>
                    </a:lnTo>
                    <a:lnTo>
                      <a:pt x="15" y="44"/>
                    </a:lnTo>
                    <a:lnTo>
                      <a:pt x="13" y="48"/>
                    </a:lnTo>
                    <a:lnTo>
                      <a:pt x="11" y="50"/>
                    </a:lnTo>
                    <a:lnTo>
                      <a:pt x="9" y="50"/>
                    </a:lnTo>
                    <a:lnTo>
                      <a:pt x="4" y="44"/>
                    </a:lnTo>
                    <a:lnTo>
                      <a:pt x="4" y="42"/>
                    </a:lnTo>
                    <a:lnTo>
                      <a:pt x="4" y="41"/>
                    </a:lnTo>
                    <a:lnTo>
                      <a:pt x="2" y="37"/>
                    </a:lnTo>
                    <a:lnTo>
                      <a:pt x="4" y="32"/>
                    </a:lnTo>
                    <a:lnTo>
                      <a:pt x="6" y="30"/>
                    </a:lnTo>
                    <a:lnTo>
                      <a:pt x="6" y="28"/>
                    </a:lnTo>
                    <a:lnTo>
                      <a:pt x="4" y="28"/>
                    </a:lnTo>
                    <a:lnTo>
                      <a:pt x="4" y="19"/>
                    </a:lnTo>
                    <a:lnTo>
                      <a:pt x="2" y="16"/>
                    </a:lnTo>
                    <a:lnTo>
                      <a:pt x="2" y="16"/>
                    </a:lnTo>
                    <a:lnTo>
                      <a:pt x="0" y="16"/>
                    </a:lnTo>
                    <a:lnTo>
                      <a:pt x="0" y="14"/>
                    </a:lnTo>
                    <a:lnTo>
                      <a:pt x="0" y="7"/>
                    </a:lnTo>
                    <a:lnTo>
                      <a:pt x="0" y="7"/>
                    </a:lnTo>
                    <a:lnTo>
                      <a:pt x="2" y="9"/>
                    </a:lnTo>
                    <a:lnTo>
                      <a:pt x="6" y="9"/>
                    </a:lnTo>
                    <a:lnTo>
                      <a:pt x="11" y="3"/>
                    </a:lnTo>
                    <a:lnTo>
                      <a:pt x="13" y="3"/>
                    </a:lnTo>
                    <a:lnTo>
                      <a:pt x="1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54" name="Freeform 1902"/>
              <p:cNvSpPr>
                <a:spLocks/>
              </p:cNvSpPr>
              <p:nvPr/>
            </p:nvSpPr>
            <p:spPr bwMode="auto">
              <a:xfrm>
                <a:off x="2828" y="1990"/>
                <a:ext cx="23" cy="50"/>
              </a:xfrm>
              <a:custGeom>
                <a:avLst/>
                <a:gdLst>
                  <a:gd name="T0" fmla="*/ 15 w 23"/>
                  <a:gd name="T1" fmla="*/ 0 h 50"/>
                  <a:gd name="T2" fmla="*/ 18 w 23"/>
                  <a:gd name="T3" fmla="*/ 1 h 50"/>
                  <a:gd name="T4" fmla="*/ 18 w 23"/>
                  <a:gd name="T5" fmla="*/ 1 h 50"/>
                  <a:gd name="T6" fmla="*/ 20 w 23"/>
                  <a:gd name="T7" fmla="*/ 3 h 50"/>
                  <a:gd name="T8" fmla="*/ 23 w 23"/>
                  <a:gd name="T9" fmla="*/ 12 h 50"/>
                  <a:gd name="T10" fmla="*/ 23 w 23"/>
                  <a:gd name="T11" fmla="*/ 41 h 50"/>
                  <a:gd name="T12" fmla="*/ 22 w 23"/>
                  <a:gd name="T13" fmla="*/ 42 h 50"/>
                  <a:gd name="T14" fmla="*/ 22 w 23"/>
                  <a:gd name="T15" fmla="*/ 42 h 50"/>
                  <a:gd name="T16" fmla="*/ 20 w 23"/>
                  <a:gd name="T17" fmla="*/ 44 h 50"/>
                  <a:gd name="T18" fmla="*/ 16 w 23"/>
                  <a:gd name="T19" fmla="*/ 44 h 50"/>
                  <a:gd name="T20" fmla="*/ 15 w 23"/>
                  <a:gd name="T21" fmla="*/ 44 h 50"/>
                  <a:gd name="T22" fmla="*/ 13 w 23"/>
                  <a:gd name="T23" fmla="*/ 48 h 50"/>
                  <a:gd name="T24" fmla="*/ 11 w 23"/>
                  <a:gd name="T25" fmla="*/ 50 h 50"/>
                  <a:gd name="T26" fmla="*/ 9 w 23"/>
                  <a:gd name="T27" fmla="*/ 50 h 50"/>
                  <a:gd name="T28" fmla="*/ 4 w 23"/>
                  <a:gd name="T29" fmla="*/ 44 h 50"/>
                  <a:gd name="T30" fmla="*/ 4 w 23"/>
                  <a:gd name="T31" fmla="*/ 42 h 50"/>
                  <a:gd name="T32" fmla="*/ 4 w 23"/>
                  <a:gd name="T33" fmla="*/ 41 h 50"/>
                  <a:gd name="T34" fmla="*/ 2 w 23"/>
                  <a:gd name="T35" fmla="*/ 37 h 50"/>
                  <a:gd name="T36" fmla="*/ 4 w 23"/>
                  <a:gd name="T37" fmla="*/ 32 h 50"/>
                  <a:gd name="T38" fmla="*/ 6 w 23"/>
                  <a:gd name="T39" fmla="*/ 30 h 50"/>
                  <a:gd name="T40" fmla="*/ 6 w 23"/>
                  <a:gd name="T41" fmla="*/ 28 h 50"/>
                  <a:gd name="T42" fmla="*/ 4 w 23"/>
                  <a:gd name="T43" fmla="*/ 28 h 50"/>
                  <a:gd name="T44" fmla="*/ 4 w 23"/>
                  <a:gd name="T45" fmla="*/ 19 h 50"/>
                  <a:gd name="T46" fmla="*/ 2 w 23"/>
                  <a:gd name="T47" fmla="*/ 16 h 50"/>
                  <a:gd name="T48" fmla="*/ 2 w 23"/>
                  <a:gd name="T49" fmla="*/ 16 h 50"/>
                  <a:gd name="T50" fmla="*/ 0 w 23"/>
                  <a:gd name="T51" fmla="*/ 16 h 50"/>
                  <a:gd name="T52" fmla="*/ 0 w 23"/>
                  <a:gd name="T53" fmla="*/ 14 h 50"/>
                  <a:gd name="T54" fmla="*/ 0 w 23"/>
                  <a:gd name="T55" fmla="*/ 7 h 50"/>
                  <a:gd name="T56" fmla="*/ 0 w 23"/>
                  <a:gd name="T57" fmla="*/ 7 h 50"/>
                  <a:gd name="T58" fmla="*/ 2 w 23"/>
                  <a:gd name="T59" fmla="*/ 9 h 50"/>
                  <a:gd name="T60" fmla="*/ 6 w 23"/>
                  <a:gd name="T61" fmla="*/ 9 h 50"/>
                  <a:gd name="T62" fmla="*/ 11 w 23"/>
                  <a:gd name="T63" fmla="*/ 3 h 50"/>
                  <a:gd name="T64" fmla="*/ 13 w 23"/>
                  <a:gd name="T65" fmla="*/ 3 h 50"/>
                  <a:gd name="T66" fmla="*/ 15 w 23"/>
                  <a:gd name="T6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50">
                    <a:moveTo>
                      <a:pt x="15" y="0"/>
                    </a:moveTo>
                    <a:lnTo>
                      <a:pt x="18" y="1"/>
                    </a:lnTo>
                    <a:lnTo>
                      <a:pt x="18" y="1"/>
                    </a:lnTo>
                    <a:lnTo>
                      <a:pt x="20" y="3"/>
                    </a:lnTo>
                    <a:lnTo>
                      <a:pt x="23" y="12"/>
                    </a:lnTo>
                    <a:lnTo>
                      <a:pt x="23" y="41"/>
                    </a:lnTo>
                    <a:lnTo>
                      <a:pt x="22" y="42"/>
                    </a:lnTo>
                    <a:lnTo>
                      <a:pt x="22" y="42"/>
                    </a:lnTo>
                    <a:lnTo>
                      <a:pt x="20" y="44"/>
                    </a:lnTo>
                    <a:lnTo>
                      <a:pt x="16" y="44"/>
                    </a:lnTo>
                    <a:lnTo>
                      <a:pt x="15" y="44"/>
                    </a:lnTo>
                    <a:lnTo>
                      <a:pt x="13" y="48"/>
                    </a:lnTo>
                    <a:lnTo>
                      <a:pt x="11" y="50"/>
                    </a:lnTo>
                    <a:lnTo>
                      <a:pt x="9" y="50"/>
                    </a:lnTo>
                    <a:lnTo>
                      <a:pt x="4" y="44"/>
                    </a:lnTo>
                    <a:lnTo>
                      <a:pt x="4" y="42"/>
                    </a:lnTo>
                    <a:lnTo>
                      <a:pt x="4" y="41"/>
                    </a:lnTo>
                    <a:lnTo>
                      <a:pt x="2" y="37"/>
                    </a:lnTo>
                    <a:lnTo>
                      <a:pt x="4" y="32"/>
                    </a:lnTo>
                    <a:lnTo>
                      <a:pt x="6" y="30"/>
                    </a:lnTo>
                    <a:lnTo>
                      <a:pt x="6" y="28"/>
                    </a:lnTo>
                    <a:lnTo>
                      <a:pt x="4" y="28"/>
                    </a:lnTo>
                    <a:lnTo>
                      <a:pt x="4" y="19"/>
                    </a:lnTo>
                    <a:lnTo>
                      <a:pt x="2" y="16"/>
                    </a:lnTo>
                    <a:lnTo>
                      <a:pt x="2" y="16"/>
                    </a:lnTo>
                    <a:lnTo>
                      <a:pt x="0" y="16"/>
                    </a:lnTo>
                    <a:lnTo>
                      <a:pt x="0" y="14"/>
                    </a:lnTo>
                    <a:lnTo>
                      <a:pt x="0" y="7"/>
                    </a:lnTo>
                    <a:lnTo>
                      <a:pt x="0" y="7"/>
                    </a:lnTo>
                    <a:lnTo>
                      <a:pt x="2" y="9"/>
                    </a:lnTo>
                    <a:lnTo>
                      <a:pt x="6" y="9"/>
                    </a:lnTo>
                    <a:lnTo>
                      <a:pt x="11" y="3"/>
                    </a:lnTo>
                    <a:lnTo>
                      <a:pt x="13" y="3"/>
                    </a:lnTo>
                    <a:lnTo>
                      <a:pt x="1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55" name="Freeform 1903"/>
              <p:cNvSpPr>
                <a:spLocks/>
              </p:cNvSpPr>
              <p:nvPr/>
            </p:nvSpPr>
            <p:spPr bwMode="auto">
              <a:xfrm>
                <a:off x="3089" y="2000"/>
                <a:ext cx="3" cy="6"/>
              </a:xfrm>
              <a:custGeom>
                <a:avLst/>
                <a:gdLst>
                  <a:gd name="T0" fmla="*/ 3 w 3"/>
                  <a:gd name="T1" fmla="*/ 4 h 6"/>
                  <a:gd name="T2" fmla="*/ 3 w 3"/>
                  <a:gd name="T3" fmla="*/ 4 h 6"/>
                  <a:gd name="T4" fmla="*/ 3 w 3"/>
                  <a:gd name="T5" fmla="*/ 4 h 6"/>
                  <a:gd name="T6" fmla="*/ 3 w 3"/>
                  <a:gd name="T7" fmla="*/ 0 h 6"/>
                  <a:gd name="T8" fmla="*/ 2 w 3"/>
                  <a:gd name="T9" fmla="*/ 0 h 6"/>
                  <a:gd name="T10" fmla="*/ 0 w 3"/>
                  <a:gd name="T11" fmla="*/ 2 h 6"/>
                  <a:gd name="T12" fmla="*/ 0 w 3"/>
                  <a:gd name="T13" fmla="*/ 4 h 6"/>
                  <a:gd name="T14" fmla="*/ 2 w 3"/>
                  <a:gd name="T15" fmla="*/ 6 h 6"/>
                  <a:gd name="T16" fmla="*/ 3 w 3"/>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3" y="4"/>
                    </a:moveTo>
                    <a:lnTo>
                      <a:pt x="3" y="4"/>
                    </a:lnTo>
                    <a:lnTo>
                      <a:pt x="3" y="4"/>
                    </a:lnTo>
                    <a:lnTo>
                      <a:pt x="3" y="0"/>
                    </a:lnTo>
                    <a:lnTo>
                      <a:pt x="2" y="0"/>
                    </a:lnTo>
                    <a:lnTo>
                      <a:pt x="0" y="2"/>
                    </a:lnTo>
                    <a:lnTo>
                      <a:pt x="0" y="4"/>
                    </a:lnTo>
                    <a:lnTo>
                      <a:pt x="2" y="6"/>
                    </a:lnTo>
                    <a:lnTo>
                      <a:pt x="3"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56" name="Freeform 1904"/>
              <p:cNvSpPr>
                <a:spLocks/>
              </p:cNvSpPr>
              <p:nvPr/>
            </p:nvSpPr>
            <p:spPr bwMode="auto">
              <a:xfrm>
                <a:off x="3089" y="2000"/>
                <a:ext cx="3" cy="6"/>
              </a:xfrm>
              <a:custGeom>
                <a:avLst/>
                <a:gdLst>
                  <a:gd name="T0" fmla="*/ 3 w 3"/>
                  <a:gd name="T1" fmla="*/ 4 h 6"/>
                  <a:gd name="T2" fmla="*/ 3 w 3"/>
                  <a:gd name="T3" fmla="*/ 4 h 6"/>
                  <a:gd name="T4" fmla="*/ 3 w 3"/>
                  <a:gd name="T5" fmla="*/ 4 h 6"/>
                  <a:gd name="T6" fmla="*/ 3 w 3"/>
                  <a:gd name="T7" fmla="*/ 0 h 6"/>
                  <a:gd name="T8" fmla="*/ 2 w 3"/>
                  <a:gd name="T9" fmla="*/ 0 h 6"/>
                  <a:gd name="T10" fmla="*/ 0 w 3"/>
                  <a:gd name="T11" fmla="*/ 2 h 6"/>
                  <a:gd name="T12" fmla="*/ 0 w 3"/>
                  <a:gd name="T13" fmla="*/ 4 h 6"/>
                  <a:gd name="T14" fmla="*/ 2 w 3"/>
                  <a:gd name="T15" fmla="*/ 6 h 6"/>
                  <a:gd name="T16" fmla="*/ 3 w 3"/>
                  <a:gd name="T1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3" y="4"/>
                    </a:moveTo>
                    <a:lnTo>
                      <a:pt x="3" y="4"/>
                    </a:lnTo>
                    <a:lnTo>
                      <a:pt x="3" y="4"/>
                    </a:lnTo>
                    <a:lnTo>
                      <a:pt x="3" y="0"/>
                    </a:lnTo>
                    <a:lnTo>
                      <a:pt x="2" y="0"/>
                    </a:lnTo>
                    <a:lnTo>
                      <a:pt x="0" y="2"/>
                    </a:lnTo>
                    <a:lnTo>
                      <a:pt x="0" y="4"/>
                    </a:lnTo>
                    <a:lnTo>
                      <a:pt x="2" y="6"/>
                    </a:lnTo>
                    <a:lnTo>
                      <a:pt x="3"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57" name="Freeform 1905"/>
              <p:cNvSpPr>
                <a:spLocks/>
              </p:cNvSpPr>
              <p:nvPr/>
            </p:nvSpPr>
            <p:spPr bwMode="auto">
              <a:xfrm>
                <a:off x="3096" y="2018"/>
                <a:ext cx="5" cy="4"/>
              </a:xfrm>
              <a:custGeom>
                <a:avLst/>
                <a:gdLst>
                  <a:gd name="T0" fmla="*/ 5 w 5"/>
                  <a:gd name="T1" fmla="*/ 0 h 4"/>
                  <a:gd name="T2" fmla="*/ 5 w 5"/>
                  <a:gd name="T3" fmla="*/ 0 h 4"/>
                  <a:gd name="T4" fmla="*/ 5 w 5"/>
                  <a:gd name="T5" fmla="*/ 0 h 4"/>
                  <a:gd name="T6" fmla="*/ 4 w 5"/>
                  <a:gd name="T7" fmla="*/ 0 h 4"/>
                  <a:gd name="T8" fmla="*/ 2 w 5"/>
                  <a:gd name="T9" fmla="*/ 0 h 4"/>
                  <a:gd name="T10" fmla="*/ 0 w 5"/>
                  <a:gd name="T11" fmla="*/ 4 h 4"/>
                  <a:gd name="T12" fmla="*/ 2 w 5"/>
                  <a:gd name="T13" fmla="*/ 4 h 4"/>
                  <a:gd name="T14" fmla="*/ 2 w 5"/>
                  <a:gd name="T15" fmla="*/ 2 h 4"/>
                  <a:gd name="T16" fmla="*/ 5 w 5"/>
                  <a:gd name="T17" fmla="*/ 4 h 4"/>
                  <a:gd name="T18" fmla="*/ 5 w 5"/>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0"/>
                    </a:moveTo>
                    <a:lnTo>
                      <a:pt x="5" y="0"/>
                    </a:lnTo>
                    <a:lnTo>
                      <a:pt x="5" y="0"/>
                    </a:lnTo>
                    <a:lnTo>
                      <a:pt x="4" y="0"/>
                    </a:lnTo>
                    <a:lnTo>
                      <a:pt x="2" y="0"/>
                    </a:lnTo>
                    <a:lnTo>
                      <a:pt x="0" y="4"/>
                    </a:lnTo>
                    <a:lnTo>
                      <a:pt x="2" y="4"/>
                    </a:lnTo>
                    <a:lnTo>
                      <a:pt x="2" y="2"/>
                    </a:lnTo>
                    <a:lnTo>
                      <a:pt x="5" y="4"/>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58" name="Freeform 1906"/>
              <p:cNvSpPr>
                <a:spLocks/>
              </p:cNvSpPr>
              <p:nvPr/>
            </p:nvSpPr>
            <p:spPr bwMode="auto">
              <a:xfrm>
                <a:off x="3096" y="2018"/>
                <a:ext cx="5" cy="4"/>
              </a:xfrm>
              <a:custGeom>
                <a:avLst/>
                <a:gdLst>
                  <a:gd name="T0" fmla="*/ 5 w 5"/>
                  <a:gd name="T1" fmla="*/ 0 h 4"/>
                  <a:gd name="T2" fmla="*/ 5 w 5"/>
                  <a:gd name="T3" fmla="*/ 0 h 4"/>
                  <a:gd name="T4" fmla="*/ 5 w 5"/>
                  <a:gd name="T5" fmla="*/ 0 h 4"/>
                  <a:gd name="T6" fmla="*/ 4 w 5"/>
                  <a:gd name="T7" fmla="*/ 0 h 4"/>
                  <a:gd name="T8" fmla="*/ 2 w 5"/>
                  <a:gd name="T9" fmla="*/ 0 h 4"/>
                  <a:gd name="T10" fmla="*/ 0 w 5"/>
                  <a:gd name="T11" fmla="*/ 4 h 4"/>
                  <a:gd name="T12" fmla="*/ 2 w 5"/>
                  <a:gd name="T13" fmla="*/ 4 h 4"/>
                  <a:gd name="T14" fmla="*/ 2 w 5"/>
                  <a:gd name="T15" fmla="*/ 2 h 4"/>
                  <a:gd name="T16" fmla="*/ 5 w 5"/>
                  <a:gd name="T17" fmla="*/ 4 h 4"/>
                  <a:gd name="T18" fmla="*/ 5 w 5"/>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0"/>
                    </a:moveTo>
                    <a:lnTo>
                      <a:pt x="5" y="0"/>
                    </a:lnTo>
                    <a:lnTo>
                      <a:pt x="5" y="0"/>
                    </a:lnTo>
                    <a:lnTo>
                      <a:pt x="4" y="0"/>
                    </a:lnTo>
                    <a:lnTo>
                      <a:pt x="2" y="0"/>
                    </a:lnTo>
                    <a:lnTo>
                      <a:pt x="0" y="4"/>
                    </a:lnTo>
                    <a:lnTo>
                      <a:pt x="2" y="4"/>
                    </a:lnTo>
                    <a:lnTo>
                      <a:pt x="2" y="2"/>
                    </a:lnTo>
                    <a:lnTo>
                      <a:pt x="5" y="4"/>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59" name="Freeform 1907"/>
              <p:cNvSpPr>
                <a:spLocks/>
              </p:cNvSpPr>
              <p:nvPr/>
            </p:nvSpPr>
            <p:spPr bwMode="auto">
              <a:xfrm>
                <a:off x="3110" y="2029"/>
                <a:ext cx="13" cy="9"/>
              </a:xfrm>
              <a:custGeom>
                <a:avLst/>
                <a:gdLst>
                  <a:gd name="T0" fmla="*/ 11 w 13"/>
                  <a:gd name="T1" fmla="*/ 7 h 9"/>
                  <a:gd name="T2" fmla="*/ 13 w 13"/>
                  <a:gd name="T3" fmla="*/ 7 h 9"/>
                  <a:gd name="T4" fmla="*/ 7 w 13"/>
                  <a:gd name="T5" fmla="*/ 0 h 9"/>
                  <a:gd name="T6" fmla="*/ 0 w 13"/>
                  <a:gd name="T7" fmla="*/ 3 h 9"/>
                  <a:gd name="T8" fmla="*/ 0 w 13"/>
                  <a:gd name="T9" fmla="*/ 5 h 9"/>
                  <a:gd name="T10" fmla="*/ 2 w 13"/>
                  <a:gd name="T11" fmla="*/ 5 h 9"/>
                  <a:gd name="T12" fmla="*/ 4 w 13"/>
                  <a:gd name="T13" fmla="*/ 5 h 9"/>
                  <a:gd name="T14" fmla="*/ 6 w 13"/>
                  <a:gd name="T15" fmla="*/ 5 h 9"/>
                  <a:gd name="T16" fmla="*/ 4 w 13"/>
                  <a:gd name="T17" fmla="*/ 7 h 9"/>
                  <a:gd name="T18" fmla="*/ 7 w 13"/>
                  <a:gd name="T19" fmla="*/ 9 h 9"/>
                  <a:gd name="T20" fmla="*/ 9 w 13"/>
                  <a:gd name="T21" fmla="*/ 7 h 9"/>
                  <a:gd name="T22" fmla="*/ 9 w 13"/>
                  <a:gd name="T23" fmla="*/ 7 h 9"/>
                  <a:gd name="T24" fmla="*/ 11 w 13"/>
                  <a:gd name="T25"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9">
                    <a:moveTo>
                      <a:pt x="11" y="7"/>
                    </a:moveTo>
                    <a:lnTo>
                      <a:pt x="13" y="7"/>
                    </a:lnTo>
                    <a:lnTo>
                      <a:pt x="7" y="0"/>
                    </a:lnTo>
                    <a:lnTo>
                      <a:pt x="0" y="3"/>
                    </a:lnTo>
                    <a:lnTo>
                      <a:pt x="0" y="5"/>
                    </a:lnTo>
                    <a:lnTo>
                      <a:pt x="2" y="5"/>
                    </a:lnTo>
                    <a:lnTo>
                      <a:pt x="4" y="5"/>
                    </a:lnTo>
                    <a:lnTo>
                      <a:pt x="6" y="5"/>
                    </a:lnTo>
                    <a:lnTo>
                      <a:pt x="4" y="7"/>
                    </a:lnTo>
                    <a:lnTo>
                      <a:pt x="7" y="9"/>
                    </a:lnTo>
                    <a:lnTo>
                      <a:pt x="9" y="7"/>
                    </a:lnTo>
                    <a:lnTo>
                      <a:pt x="9" y="7"/>
                    </a:lnTo>
                    <a:lnTo>
                      <a:pt x="11"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60" name="Freeform 1908"/>
              <p:cNvSpPr>
                <a:spLocks/>
              </p:cNvSpPr>
              <p:nvPr/>
            </p:nvSpPr>
            <p:spPr bwMode="auto">
              <a:xfrm>
                <a:off x="3110" y="2029"/>
                <a:ext cx="13" cy="9"/>
              </a:xfrm>
              <a:custGeom>
                <a:avLst/>
                <a:gdLst>
                  <a:gd name="T0" fmla="*/ 11 w 13"/>
                  <a:gd name="T1" fmla="*/ 7 h 9"/>
                  <a:gd name="T2" fmla="*/ 13 w 13"/>
                  <a:gd name="T3" fmla="*/ 7 h 9"/>
                  <a:gd name="T4" fmla="*/ 7 w 13"/>
                  <a:gd name="T5" fmla="*/ 0 h 9"/>
                  <a:gd name="T6" fmla="*/ 0 w 13"/>
                  <a:gd name="T7" fmla="*/ 3 h 9"/>
                  <a:gd name="T8" fmla="*/ 0 w 13"/>
                  <a:gd name="T9" fmla="*/ 5 h 9"/>
                  <a:gd name="T10" fmla="*/ 2 w 13"/>
                  <a:gd name="T11" fmla="*/ 5 h 9"/>
                  <a:gd name="T12" fmla="*/ 4 w 13"/>
                  <a:gd name="T13" fmla="*/ 5 h 9"/>
                  <a:gd name="T14" fmla="*/ 6 w 13"/>
                  <a:gd name="T15" fmla="*/ 5 h 9"/>
                  <a:gd name="T16" fmla="*/ 4 w 13"/>
                  <a:gd name="T17" fmla="*/ 7 h 9"/>
                  <a:gd name="T18" fmla="*/ 7 w 13"/>
                  <a:gd name="T19" fmla="*/ 9 h 9"/>
                  <a:gd name="T20" fmla="*/ 9 w 13"/>
                  <a:gd name="T21" fmla="*/ 7 h 9"/>
                  <a:gd name="T22" fmla="*/ 9 w 13"/>
                  <a:gd name="T23" fmla="*/ 7 h 9"/>
                  <a:gd name="T24" fmla="*/ 11 w 13"/>
                  <a:gd name="T25"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9">
                    <a:moveTo>
                      <a:pt x="11" y="7"/>
                    </a:moveTo>
                    <a:lnTo>
                      <a:pt x="13" y="7"/>
                    </a:lnTo>
                    <a:lnTo>
                      <a:pt x="7" y="0"/>
                    </a:lnTo>
                    <a:lnTo>
                      <a:pt x="0" y="3"/>
                    </a:lnTo>
                    <a:lnTo>
                      <a:pt x="0" y="5"/>
                    </a:lnTo>
                    <a:lnTo>
                      <a:pt x="2" y="5"/>
                    </a:lnTo>
                    <a:lnTo>
                      <a:pt x="4" y="5"/>
                    </a:lnTo>
                    <a:lnTo>
                      <a:pt x="6" y="5"/>
                    </a:lnTo>
                    <a:lnTo>
                      <a:pt x="4" y="7"/>
                    </a:lnTo>
                    <a:lnTo>
                      <a:pt x="7" y="9"/>
                    </a:lnTo>
                    <a:lnTo>
                      <a:pt x="9" y="7"/>
                    </a:lnTo>
                    <a:lnTo>
                      <a:pt x="9" y="7"/>
                    </a:lnTo>
                    <a:lnTo>
                      <a:pt x="11"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61" name="Freeform 1909"/>
              <p:cNvSpPr>
                <a:spLocks/>
              </p:cNvSpPr>
              <p:nvPr/>
            </p:nvSpPr>
            <p:spPr bwMode="auto">
              <a:xfrm>
                <a:off x="3110" y="2045"/>
                <a:ext cx="4" cy="9"/>
              </a:xfrm>
              <a:custGeom>
                <a:avLst/>
                <a:gdLst>
                  <a:gd name="T0" fmla="*/ 2 w 4"/>
                  <a:gd name="T1" fmla="*/ 9 h 9"/>
                  <a:gd name="T2" fmla="*/ 4 w 4"/>
                  <a:gd name="T3" fmla="*/ 7 h 9"/>
                  <a:gd name="T4" fmla="*/ 4 w 4"/>
                  <a:gd name="T5" fmla="*/ 2 h 9"/>
                  <a:gd name="T6" fmla="*/ 4 w 4"/>
                  <a:gd name="T7" fmla="*/ 0 h 9"/>
                  <a:gd name="T8" fmla="*/ 0 w 4"/>
                  <a:gd name="T9" fmla="*/ 0 h 9"/>
                  <a:gd name="T10" fmla="*/ 0 w 4"/>
                  <a:gd name="T11" fmla="*/ 2 h 9"/>
                  <a:gd name="T12" fmla="*/ 2 w 4"/>
                  <a:gd name="T13" fmla="*/ 5 h 9"/>
                  <a:gd name="T14" fmla="*/ 0 w 4"/>
                  <a:gd name="T15" fmla="*/ 7 h 9"/>
                  <a:gd name="T16" fmla="*/ 0 w 4"/>
                  <a:gd name="T17" fmla="*/ 9 h 9"/>
                  <a:gd name="T18" fmla="*/ 2 w 4"/>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2" y="9"/>
                    </a:moveTo>
                    <a:lnTo>
                      <a:pt x="4" y="7"/>
                    </a:lnTo>
                    <a:lnTo>
                      <a:pt x="4" y="2"/>
                    </a:lnTo>
                    <a:lnTo>
                      <a:pt x="4" y="0"/>
                    </a:lnTo>
                    <a:lnTo>
                      <a:pt x="0" y="0"/>
                    </a:lnTo>
                    <a:lnTo>
                      <a:pt x="0" y="2"/>
                    </a:lnTo>
                    <a:lnTo>
                      <a:pt x="2" y="5"/>
                    </a:lnTo>
                    <a:lnTo>
                      <a:pt x="0" y="7"/>
                    </a:lnTo>
                    <a:lnTo>
                      <a:pt x="0" y="9"/>
                    </a:lnTo>
                    <a:lnTo>
                      <a:pt x="2"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62" name="Freeform 1910"/>
              <p:cNvSpPr>
                <a:spLocks/>
              </p:cNvSpPr>
              <p:nvPr/>
            </p:nvSpPr>
            <p:spPr bwMode="auto">
              <a:xfrm>
                <a:off x="3110" y="2045"/>
                <a:ext cx="4" cy="9"/>
              </a:xfrm>
              <a:custGeom>
                <a:avLst/>
                <a:gdLst>
                  <a:gd name="T0" fmla="*/ 2 w 4"/>
                  <a:gd name="T1" fmla="*/ 9 h 9"/>
                  <a:gd name="T2" fmla="*/ 4 w 4"/>
                  <a:gd name="T3" fmla="*/ 7 h 9"/>
                  <a:gd name="T4" fmla="*/ 4 w 4"/>
                  <a:gd name="T5" fmla="*/ 2 h 9"/>
                  <a:gd name="T6" fmla="*/ 4 w 4"/>
                  <a:gd name="T7" fmla="*/ 0 h 9"/>
                  <a:gd name="T8" fmla="*/ 0 w 4"/>
                  <a:gd name="T9" fmla="*/ 0 h 9"/>
                  <a:gd name="T10" fmla="*/ 0 w 4"/>
                  <a:gd name="T11" fmla="*/ 2 h 9"/>
                  <a:gd name="T12" fmla="*/ 2 w 4"/>
                  <a:gd name="T13" fmla="*/ 5 h 9"/>
                  <a:gd name="T14" fmla="*/ 0 w 4"/>
                  <a:gd name="T15" fmla="*/ 7 h 9"/>
                  <a:gd name="T16" fmla="*/ 0 w 4"/>
                  <a:gd name="T17" fmla="*/ 9 h 9"/>
                  <a:gd name="T18" fmla="*/ 2 w 4"/>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2" y="9"/>
                    </a:moveTo>
                    <a:lnTo>
                      <a:pt x="4" y="7"/>
                    </a:lnTo>
                    <a:lnTo>
                      <a:pt x="4" y="2"/>
                    </a:lnTo>
                    <a:lnTo>
                      <a:pt x="4" y="0"/>
                    </a:lnTo>
                    <a:lnTo>
                      <a:pt x="0" y="0"/>
                    </a:lnTo>
                    <a:lnTo>
                      <a:pt x="0" y="2"/>
                    </a:lnTo>
                    <a:lnTo>
                      <a:pt x="2" y="5"/>
                    </a:lnTo>
                    <a:lnTo>
                      <a:pt x="0" y="7"/>
                    </a:lnTo>
                    <a:lnTo>
                      <a:pt x="0" y="9"/>
                    </a:lnTo>
                    <a:lnTo>
                      <a:pt x="2"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63" name="Freeform 1911"/>
              <p:cNvSpPr>
                <a:spLocks/>
              </p:cNvSpPr>
              <p:nvPr/>
            </p:nvSpPr>
            <p:spPr bwMode="auto">
              <a:xfrm>
                <a:off x="3141" y="2090"/>
                <a:ext cx="9" cy="10"/>
              </a:xfrm>
              <a:custGeom>
                <a:avLst/>
                <a:gdLst>
                  <a:gd name="T0" fmla="*/ 5 w 9"/>
                  <a:gd name="T1" fmla="*/ 7 h 10"/>
                  <a:gd name="T2" fmla="*/ 7 w 9"/>
                  <a:gd name="T3" fmla="*/ 7 h 10"/>
                  <a:gd name="T4" fmla="*/ 7 w 9"/>
                  <a:gd name="T5" fmla="*/ 5 h 10"/>
                  <a:gd name="T6" fmla="*/ 7 w 9"/>
                  <a:gd name="T7" fmla="*/ 3 h 10"/>
                  <a:gd name="T8" fmla="*/ 9 w 9"/>
                  <a:gd name="T9" fmla="*/ 0 h 10"/>
                  <a:gd name="T10" fmla="*/ 3 w 9"/>
                  <a:gd name="T11" fmla="*/ 1 h 10"/>
                  <a:gd name="T12" fmla="*/ 0 w 9"/>
                  <a:gd name="T13" fmla="*/ 5 h 10"/>
                  <a:gd name="T14" fmla="*/ 0 w 9"/>
                  <a:gd name="T15" fmla="*/ 7 h 10"/>
                  <a:gd name="T16" fmla="*/ 0 w 9"/>
                  <a:gd name="T17" fmla="*/ 10 h 10"/>
                  <a:gd name="T18" fmla="*/ 5 w 9"/>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5" y="7"/>
                    </a:moveTo>
                    <a:lnTo>
                      <a:pt x="7" y="7"/>
                    </a:lnTo>
                    <a:lnTo>
                      <a:pt x="7" y="5"/>
                    </a:lnTo>
                    <a:lnTo>
                      <a:pt x="7" y="3"/>
                    </a:lnTo>
                    <a:lnTo>
                      <a:pt x="9" y="0"/>
                    </a:lnTo>
                    <a:lnTo>
                      <a:pt x="3" y="1"/>
                    </a:lnTo>
                    <a:lnTo>
                      <a:pt x="0" y="5"/>
                    </a:lnTo>
                    <a:lnTo>
                      <a:pt x="0" y="7"/>
                    </a:lnTo>
                    <a:lnTo>
                      <a:pt x="0" y="10"/>
                    </a:lnTo>
                    <a:lnTo>
                      <a:pt x="5"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64" name="Freeform 1912"/>
              <p:cNvSpPr>
                <a:spLocks/>
              </p:cNvSpPr>
              <p:nvPr/>
            </p:nvSpPr>
            <p:spPr bwMode="auto">
              <a:xfrm>
                <a:off x="3141" y="2090"/>
                <a:ext cx="9" cy="10"/>
              </a:xfrm>
              <a:custGeom>
                <a:avLst/>
                <a:gdLst>
                  <a:gd name="T0" fmla="*/ 5 w 9"/>
                  <a:gd name="T1" fmla="*/ 7 h 10"/>
                  <a:gd name="T2" fmla="*/ 7 w 9"/>
                  <a:gd name="T3" fmla="*/ 7 h 10"/>
                  <a:gd name="T4" fmla="*/ 7 w 9"/>
                  <a:gd name="T5" fmla="*/ 5 h 10"/>
                  <a:gd name="T6" fmla="*/ 7 w 9"/>
                  <a:gd name="T7" fmla="*/ 3 h 10"/>
                  <a:gd name="T8" fmla="*/ 9 w 9"/>
                  <a:gd name="T9" fmla="*/ 0 h 10"/>
                  <a:gd name="T10" fmla="*/ 3 w 9"/>
                  <a:gd name="T11" fmla="*/ 1 h 10"/>
                  <a:gd name="T12" fmla="*/ 0 w 9"/>
                  <a:gd name="T13" fmla="*/ 5 h 10"/>
                  <a:gd name="T14" fmla="*/ 0 w 9"/>
                  <a:gd name="T15" fmla="*/ 7 h 10"/>
                  <a:gd name="T16" fmla="*/ 0 w 9"/>
                  <a:gd name="T17" fmla="*/ 10 h 10"/>
                  <a:gd name="T18" fmla="*/ 5 w 9"/>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5" y="7"/>
                    </a:moveTo>
                    <a:lnTo>
                      <a:pt x="7" y="7"/>
                    </a:lnTo>
                    <a:lnTo>
                      <a:pt x="7" y="5"/>
                    </a:lnTo>
                    <a:lnTo>
                      <a:pt x="7" y="3"/>
                    </a:lnTo>
                    <a:lnTo>
                      <a:pt x="9" y="0"/>
                    </a:lnTo>
                    <a:lnTo>
                      <a:pt x="3" y="1"/>
                    </a:lnTo>
                    <a:lnTo>
                      <a:pt x="0" y="5"/>
                    </a:lnTo>
                    <a:lnTo>
                      <a:pt x="0" y="7"/>
                    </a:lnTo>
                    <a:lnTo>
                      <a:pt x="0" y="10"/>
                    </a:lnTo>
                    <a:lnTo>
                      <a:pt x="5"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65" name="Freeform 1913"/>
              <p:cNvSpPr>
                <a:spLocks/>
              </p:cNvSpPr>
              <p:nvPr/>
            </p:nvSpPr>
            <p:spPr bwMode="auto">
              <a:xfrm>
                <a:off x="3073" y="2106"/>
                <a:ext cx="44" cy="14"/>
              </a:xfrm>
              <a:custGeom>
                <a:avLst/>
                <a:gdLst>
                  <a:gd name="T0" fmla="*/ 25 w 44"/>
                  <a:gd name="T1" fmla="*/ 5 h 14"/>
                  <a:gd name="T2" fmla="*/ 21 w 44"/>
                  <a:gd name="T3" fmla="*/ 3 h 14"/>
                  <a:gd name="T4" fmla="*/ 12 w 44"/>
                  <a:gd name="T5" fmla="*/ 5 h 14"/>
                  <a:gd name="T6" fmla="*/ 11 w 44"/>
                  <a:gd name="T7" fmla="*/ 3 h 14"/>
                  <a:gd name="T8" fmla="*/ 11 w 44"/>
                  <a:gd name="T9" fmla="*/ 3 h 14"/>
                  <a:gd name="T10" fmla="*/ 11 w 44"/>
                  <a:gd name="T11" fmla="*/ 1 h 14"/>
                  <a:gd name="T12" fmla="*/ 9 w 44"/>
                  <a:gd name="T13" fmla="*/ 0 h 14"/>
                  <a:gd name="T14" fmla="*/ 7 w 44"/>
                  <a:gd name="T15" fmla="*/ 1 h 14"/>
                  <a:gd name="T16" fmla="*/ 3 w 44"/>
                  <a:gd name="T17" fmla="*/ 0 h 14"/>
                  <a:gd name="T18" fmla="*/ 3 w 44"/>
                  <a:gd name="T19" fmla="*/ 0 h 14"/>
                  <a:gd name="T20" fmla="*/ 2 w 44"/>
                  <a:gd name="T21" fmla="*/ 1 h 14"/>
                  <a:gd name="T22" fmla="*/ 2 w 44"/>
                  <a:gd name="T23" fmla="*/ 1 h 14"/>
                  <a:gd name="T24" fmla="*/ 0 w 44"/>
                  <a:gd name="T25" fmla="*/ 9 h 14"/>
                  <a:gd name="T26" fmla="*/ 11 w 44"/>
                  <a:gd name="T27" fmla="*/ 9 h 14"/>
                  <a:gd name="T28" fmla="*/ 14 w 44"/>
                  <a:gd name="T29" fmla="*/ 9 h 14"/>
                  <a:gd name="T30" fmla="*/ 16 w 44"/>
                  <a:gd name="T31" fmla="*/ 10 h 14"/>
                  <a:gd name="T32" fmla="*/ 19 w 44"/>
                  <a:gd name="T33" fmla="*/ 10 h 14"/>
                  <a:gd name="T34" fmla="*/ 19 w 44"/>
                  <a:gd name="T35" fmla="*/ 14 h 14"/>
                  <a:gd name="T36" fmla="*/ 39 w 44"/>
                  <a:gd name="T37" fmla="*/ 10 h 14"/>
                  <a:gd name="T38" fmla="*/ 41 w 44"/>
                  <a:gd name="T39" fmla="*/ 12 h 14"/>
                  <a:gd name="T40" fmla="*/ 44 w 44"/>
                  <a:gd name="T41" fmla="*/ 9 h 14"/>
                  <a:gd name="T42" fmla="*/ 44 w 44"/>
                  <a:gd name="T43" fmla="*/ 7 h 14"/>
                  <a:gd name="T44" fmla="*/ 39 w 44"/>
                  <a:gd name="T45" fmla="*/ 9 h 14"/>
                  <a:gd name="T46" fmla="*/ 36 w 44"/>
                  <a:gd name="T47" fmla="*/ 9 h 14"/>
                  <a:gd name="T48" fmla="*/ 34 w 44"/>
                  <a:gd name="T49" fmla="*/ 5 h 14"/>
                  <a:gd name="T50" fmla="*/ 27 w 44"/>
                  <a:gd name="T51" fmla="*/ 7 h 14"/>
                  <a:gd name="T52" fmla="*/ 25 w 44"/>
                  <a:gd name="T53" fmla="*/ 5 h 14"/>
                  <a:gd name="T54" fmla="*/ 25 w 44"/>
                  <a:gd name="T55"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 h="14">
                    <a:moveTo>
                      <a:pt x="25" y="5"/>
                    </a:moveTo>
                    <a:lnTo>
                      <a:pt x="21" y="3"/>
                    </a:lnTo>
                    <a:lnTo>
                      <a:pt x="12" y="5"/>
                    </a:lnTo>
                    <a:lnTo>
                      <a:pt x="11" y="3"/>
                    </a:lnTo>
                    <a:lnTo>
                      <a:pt x="11" y="3"/>
                    </a:lnTo>
                    <a:lnTo>
                      <a:pt x="11" y="1"/>
                    </a:lnTo>
                    <a:lnTo>
                      <a:pt x="9" y="0"/>
                    </a:lnTo>
                    <a:lnTo>
                      <a:pt x="7" y="1"/>
                    </a:lnTo>
                    <a:lnTo>
                      <a:pt x="3" y="0"/>
                    </a:lnTo>
                    <a:lnTo>
                      <a:pt x="3" y="0"/>
                    </a:lnTo>
                    <a:lnTo>
                      <a:pt x="2" y="1"/>
                    </a:lnTo>
                    <a:lnTo>
                      <a:pt x="2" y="1"/>
                    </a:lnTo>
                    <a:lnTo>
                      <a:pt x="0" y="9"/>
                    </a:lnTo>
                    <a:lnTo>
                      <a:pt x="11" y="9"/>
                    </a:lnTo>
                    <a:lnTo>
                      <a:pt x="14" y="9"/>
                    </a:lnTo>
                    <a:lnTo>
                      <a:pt x="16" y="10"/>
                    </a:lnTo>
                    <a:lnTo>
                      <a:pt x="19" y="10"/>
                    </a:lnTo>
                    <a:lnTo>
                      <a:pt x="19" y="14"/>
                    </a:lnTo>
                    <a:lnTo>
                      <a:pt x="39" y="10"/>
                    </a:lnTo>
                    <a:lnTo>
                      <a:pt x="41" y="12"/>
                    </a:lnTo>
                    <a:lnTo>
                      <a:pt x="44" y="9"/>
                    </a:lnTo>
                    <a:lnTo>
                      <a:pt x="44" y="7"/>
                    </a:lnTo>
                    <a:lnTo>
                      <a:pt x="39" y="9"/>
                    </a:lnTo>
                    <a:lnTo>
                      <a:pt x="36" y="9"/>
                    </a:lnTo>
                    <a:lnTo>
                      <a:pt x="34" y="5"/>
                    </a:lnTo>
                    <a:lnTo>
                      <a:pt x="27" y="7"/>
                    </a:lnTo>
                    <a:lnTo>
                      <a:pt x="25" y="5"/>
                    </a:lnTo>
                    <a:lnTo>
                      <a:pt x="25"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66" name="Freeform 1914"/>
              <p:cNvSpPr>
                <a:spLocks/>
              </p:cNvSpPr>
              <p:nvPr/>
            </p:nvSpPr>
            <p:spPr bwMode="auto">
              <a:xfrm>
                <a:off x="3073" y="2106"/>
                <a:ext cx="44" cy="14"/>
              </a:xfrm>
              <a:custGeom>
                <a:avLst/>
                <a:gdLst>
                  <a:gd name="T0" fmla="*/ 25 w 44"/>
                  <a:gd name="T1" fmla="*/ 5 h 14"/>
                  <a:gd name="T2" fmla="*/ 21 w 44"/>
                  <a:gd name="T3" fmla="*/ 3 h 14"/>
                  <a:gd name="T4" fmla="*/ 12 w 44"/>
                  <a:gd name="T5" fmla="*/ 5 h 14"/>
                  <a:gd name="T6" fmla="*/ 11 w 44"/>
                  <a:gd name="T7" fmla="*/ 3 h 14"/>
                  <a:gd name="T8" fmla="*/ 11 w 44"/>
                  <a:gd name="T9" fmla="*/ 3 h 14"/>
                  <a:gd name="T10" fmla="*/ 11 w 44"/>
                  <a:gd name="T11" fmla="*/ 1 h 14"/>
                  <a:gd name="T12" fmla="*/ 9 w 44"/>
                  <a:gd name="T13" fmla="*/ 0 h 14"/>
                  <a:gd name="T14" fmla="*/ 7 w 44"/>
                  <a:gd name="T15" fmla="*/ 1 h 14"/>
                  <a:gd name="T16" fmla="*/ 3 w 44"/>
                  <a:gd name="T17" fmla="*/ 0 h 14"/>
                  <a:gd name="T18" fmla="*/ 3 w 44"/>
                  <a:gd name="T19" fmla="*/ 0 h 14"/>
                  <a:gd name="T20" fmla="*/ 2 w 44"/>
                  <a:gd name="T21" fmla="*/ 1 h 14"/>
                  <a:gd name="T22" fmla="*/ 2 w 44"/>
                  <a:gd name="T23" fmla="*/ 1 h 14"/>
                  <a:gd name="T24" fmla="*/ 0 w 44"/>
                  <a:gd name="T25" fmla="*/ 9 h 14"/>
                  <a:gd name="T26" fmla="*/ 11 w 44"/>
                  <a:gd name="T27" fmla="*/ 9 h 14"/>
                  <a:gd name="T28" fmla="*/ 14 w 44"/>
                  <a:gd name="T29" fmla="*/ 9 h 14"/>
                  <a:gd name="T30" fmla="*/ 16 w 44"/>
                  <a:gd name="T31" fmla="*/ 10 h 14"/>
                  <a:gd name="T32" fmla="*/ 19 w 44"/>
                  <a:gd name="T33" fmla="*/ 10 h 14"/>
                  <a:gd name="T34" fmla="*/ 19 w 44"/>
                  <a:gd name="T35" fmla="*/ 14 h 14"/>
                  <a:gd name="T36" fmla="*/ 39 w 44"/>
                  <a:gd name="T37" fmla="*/ 10 h 14"/>
                  <a:gd name="T38" fmla="*/ 41 w 44"/>
                  <a:gd name="T39" fmla="*/ 12 h 14"/>
                  <a:gd name="T40" fmla="*/ 44 w 44"/>
                  <a:gd name="T41" fmla="*/ 9 h 14"/>
                  <a:gd name="T42" fmla="*/ 44 w 44"/>
                  <a:gd name="T43" fmla="*/ 7 h 14"/>
                  <a:gd name="T44" fmla="*/ 39 w 44"/>
                  <a:gd name="T45" fmla="*/ 9 h 14"/>
                  <a:gd name="T46" fmla="*/ 36 w 44"/>
                  <a:gd name="T47" fmla="*/ 9 h 14"/>
                  <a:gd name="T48" fmla="*/ 34 w 44"/>
                  <a:gd name="T49" fmla="*/ 5 h 14"/>
                  <a:gd name="T50" fmla="*/ 27 w 44"/>
                  <a:gd name="T51" fmla="*/ 7 h 14"/>
                  <a:gd name="T52" fmla="*/ 25 w 44"/>
                  <a:gd name="T53" fmla="*/ 5 h 14"/>
                  <a:gd name="T54" fmla="*/ 25 w 44"/>
                  <a:gd name="T55"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 h="14">
                    <a:moveTo>
                      <a:pt x="25" y="5"/>
                    </a:moveTo>
                    <a:lnTo>
                      <a:pt x="21" y="3"/>
                    </a:lnTo>
                    <a:lnTo>
                      <a:pt x="12" y="5"/>
                    </a:lnTo>
                    <a:lnTo>
                      <a:pt x="11" y="3"/>
                    </a:lnTo>
                    <a:lnTo>
                      <a:pt x="11" y="3"/>
                    </a:lnTo>
                    <a:lnTo>
                      <a:pt x="11" y="1"/>
                    </a:lnTo>
                    <a:lnTo>
                      <a:pt x="9" y="0"/>
                    </a:lnTo>
                    <a:lnTo>
                      <a:pt x="7" y="1"/>
                    </a:lnTo>
                    <a:lnTo>
                      <a:pt x="3" y="0"/>
                    </a:lnTo>
                    <a:lnTo>
                      <a:pt x="3" y="0"/>
                    </a:lnTo>
                    <a:lnTo>
                      <a:pt x="2" y="1"/>
                    </a:lnTo>
                    <a:lnTo>
                      <a:pt x="2" y="1"/>
                    </a:lnTo>
                    <a:lnTo>
                      <a:pt x="0" y="9"/>
                    </a:lnTo>
                    <a:lnTo>
                      <a:pt x="11" y="9"/>
                    </a:lnTo>
                    <a:lnTo>
                      <a:pt x="14" y="9"/>
                    </a:lnTo>
                    <a:lnTo>
                      <a:pt x="16" y="10"/>
                    </a:lnTo>
                    <a:lnTo>
                      <a:pt x="19" y="10"/>
                    </a:lnTo>
                    <a:lnTo>
                      <a:pt x="19" y="14"/>
                    </a:lnTo>
                    <a:lnTo>
                      <a:pt x="39" y="10"/>
                    </a:lnTo>
                    <a:lnTo>
                      <a:pt x="41" y="12"/>
                    </a:lnTo>
                    <a:lnTo>
                      <a:pt x="44" y="9"/>
                    </a:lnTo>
                    <a:lnTo>
                      <a:pt x="44" y="7"/>
                    </a:lnTo>
                    <a:lnTo>
                      <a:pt x="39" y="9"/>
                    </a:lnTo>
                    <a:lnTo>
                      <a:pt x="36" y="9"/>
                    </a:lnTo>
                    <a:lnTo>
                      <a:pt x="34" y="5"/>
                    </a:lnTo>
                    <a:lnTo>
                      <a:pt x="27" y="7"/>
                    </a:lnTo>
                    <a:lnTo>
                      <a:pt x="25" y="5"/>
                    </a:lnTo>
                    <a:lnTo>
                      <a:pt x="25"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67" name="Freeform 1915"/>
              <p:cNvSpPr>
                <a:spLocks/>
              </p:cNvSpPr>
              <p:nvPr/>
            </p:nvSpPr>
            <p:spPr bwMode="auto">
              <a:xfrm>
                <a:off x="3091" y="2059"/>
                <a:ext cx="5" cy="6"/>
              </a:xfrm>
              <a:custGeom>
                <a:avLst/>
                <a:gdLst>
                  <a:gd name="T0" fmla="*/ 5 w 5"/>
                  <a:gd name="T1" fmla="*/ 6 h 6"/>
                  <a:gd name="T2" fmla="*/ 5 w 5"/>
                  <a:gd name="T3" fmla="*/ 6 h 6"/>
                  <a:gd name="T4" fmla="*/ 5 w 5"/>
                  <a:gd name="T5" fmla="*/ 4 h 6"/>
                  <a:gd name="T6" fmla="*/ 5 w 5"/>
                  <a:gd name="T7" fmla="*/ 2 h 6"/>
                  <a:gd name="T8" fmla="*/ 3 w 5"/>
                  <a:gd name="T9" fmla="*/ 0 h 6"/>
                  <a:gd name="T10" fmla="*/ 1 w 5"/>
                  <a:gd name="T11" fmla="*/ 0 h 6"/>
                  <a:gd name="T12" fmla="*/ 0 w 5"/>
                  <a:gd name="T13" fmla="*/ 2 h 6"/>
                  <a:gd name="T14" fmla="*/ 1 w 5"/>
                  <a:gd name="T15" fmla="*/ 4 h 6"/>
                  <a:gd name="T16" fmla="*/ 3 w 5"/>
                  <a:gd name="T17" fmla="*/ 6 h 6"/>
                  <a:gd name="T18" fmla="*/ 5 w 5"/>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5" y="6"/>
                    </a:moveTo>
                    <a:lnTo>
                      <a:pt x="5" y="6"/>
                    </a:lnTo>
                    <a:lnTo>
                      <a:pt x="5" y="4"/>
                    </a:lnTo>
                    <a:lnTo>
                      <a:pt x="5" y="2"/>
                    </a:lnTo>
                    <a:lnTo>
                      <a:pt x="3" y="0"/>
                    </a:lnTo>
                    <a:lnTo>
                      <a:pt x="1" y="0"/>
                    </a:lnTo>
                    <a:lnTo>
                      <a:pt x="0" y="2"/>
                    </a:lnTo>
                    <a:lnTo>
                      <a:pt x="1" y="4"/>
                    </a:lnTo>
                    <a:lnTo>
                      <a:pt x="3" y="6"/>
                    </a:lnTo>
                    <a:lnTo>
                      <a:pt x="5"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68" name="Freeform 1916"/>
              <p:cNvSpPr>
                <a:spLocks/>
              </p:cNvSpPr>
              <p:nvPr/>
            </p:nvSpPr>
            <p:spPr bwMode="auto">
              <a:xfrm>
                <a:off x="3091" y="2059"/>
                <a:ext cx="5" cy="6"/>
              </a:xfrm>
              <a:custGeom>
                <a:avLst/>
                <a:gdLst>
                  <a:gd name="T0" fmla="*/ 5 w 5"/>
                  <a:gd name="T1" fmla="*/ 6 h 6"/>
                  <a:gd name="T2" fmla="*/ 5 w 5"/>
                  <a:gd name="T3" fmla="*/ 6 h 6"/>
                  <a:gd name="T4" fmla="*/ 5 w 5"/>
                  <a:gd name="T5" fmla="*/ 4 h 6"/>
                  <a:gd name="T6" fmla="*/ 5 w 5"/>
                  <a:gd name="T7" fmla="*/ 2 h 6"/>
                  <a:gd name="T8" fmla="*/ 3 w 5"/>
                  <a:gd name="T9" fmla="*/ 0 h 6"/>
                  <a:gd name="T10" fmla="*/ 1 w 5"/>
                  <a:gd name="T11" fmla="*/ 0 h 6"/>
                  <a:gd name="T12" fmla="*/ 0 w 5"/>
                  <a:gd name="T13" fmla="*/ 2 h 6"/>
                  <a:gd name="T14" fmla="*/ 1 w 5"/>
                  <a:gd name="T15" fmla="*/ 4 h 6"/>
                  <a:gd name="T16" fmla="*/ 3 w 5"/>
                  <a:gd name="T17" fmla="*/ 6 h 6"/>
                  <a:gd name="T18" fmla="*/ 5 w 5"/>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5" y="6"/>
                    </a:moveTo>
                    <a:lnTo>
                      <a:pt x="5" y="6"/>
                    </a:lnTo>
                    <a:lnTo>
                      <a:pt x="5" y="4"/>
                    </a:lnTo>
                    <a:lnTo>
                      <a:pt x="5" y="2"/>
                    </a:lnTo>
                    <a:lnTo>
                      <a:pt x="3" y="0"/>
                    </a:lnTo>
                    <a:lnTo>
                      <a:pt x="1" y="0"/>
                    </a:lnTo>
                    <a:lnTo>
                      <a:pt x="0" y="2"/>
                    </a:lnTo>
                    <a:lnTo>
                      <a:pt x="1" y="4"/>
                    </a:lnTo>
                    <a:lnTo>
                      <a:pt x="3" y="6"/>
                    </a:lnTo>
                    <a:lnTo>
                      <a:pt x="5"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69" name="Freeform 1917"/>
              <p:cNvSpPr>
                <a:spLocks/>
              </p:cNvSpPr>
              <p:nvPr/>
            </p:nvSpPr>
            <p:spPr bwMode="auto">
              <a:xfrm>
                <a:off x="3103" y="2075"/>
                <a:ext cx="2" cy="6"/>
              </a:xfrm>
              <a:custGeom>
                <a:avLst/>
                <a:gdLst>
                  <a:gd name="T0" fmla="*/ 0 w 2"/>
                  <a:gd name="T1" fmla="*/ 6 h 6"/>
                  <a:gd name="T2" fmla="*/ 2 w 2"/>
                  <a:gd name="T3" fmla="*/ 6 h 6"/>
                  <a:gd name="T4" fmla="*/ 2 w 2"/>
                  <a:gd name="T5" fmla="*/ 0 h 6"/>
                  <a:gd name="T6" fmla="*/ 0 w 2"/>
                  <a:gd name="T7" fmla="*/ 0 h 6"/>
                  <a:gd name="T8" fmla="*/ 0 w 2"/>
                  <a:gd name="T9" fmla="*/ 2 h 6"/>
                  <a:gd name="T10" fmla="*/ 0 w 2"/>
                  <a:gd name="T11" fmla="*/ 4 h 6"/>
                  <a:gd name="T12" fmla="*/ 0 w 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0" y="6"/>
                    </a:moveTo>
                    <a:lnTo>
                      <a:pt x="2" y="6"/>
                    </a:lnTo>
                    <a:lnTo>
                      <a:pt x="2" y="0"/>
                    </a:lnTo>
                    <a:lnTo>
                      <a:pt x="0" y="0"/>
                    </a:lnTo>
                    <a:lnTo>
                      <a:pt x="0" y="2"/>
                    </a:lnTo>
                    <a:lnTo>
                      <a:pt x="0" y="4"/>
                    </a:lnTo>
                    <a:lnTo>
                      <a:pt x="0"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70" name="Freeform 1918"/>
              <p:cNvSpPr>
                <a:spLocks/>
              </p:cNvSpPr>
              <p:nvPr/>
            </p:nvSpPr>
            <p:spPr bwMode="auto">
              <a:xfrm>
                <a:off x="3103" y="2075"/>
                <a:ext cx="2" cy="6"/>
              </a:xfrm>
              <a:custGeom>
                <a:avLst/>
                <a:gdLst>
                  <a:gd name="T0" fmla="*/ 0 w 2"/>
                  <a:gd name="T1" fmla="*/ 6 h 6"/>
                  <a:gd name="T2" fmla="*/ 2 w 2"/>
                  <a:gd name="T3" fmla="*/ 6 h 6"/>
                  <a:gd name="T4" fmla="*/ 2 w 2"/>
                  <a:gd name="T5" fmla="*/ 0 h 6"/>
                  <a:gd name="T6" fmla="*/ 0 w 2"/>
                  <a:gd name="T7" fmla="*/ 0 h 6"/>
                  <a:gd name="T8" fmla="*/ 0 w 2"/>
                  <a:gd name="T9" fmla="*/ 2 h 6"/>
                  <a:gd name="T10" fmla="*/ 0 w 2"/>
                  <a:gd name="T11" fmla="*/ 4 h 6"/>
                  <a:gd name="T12" fmla="*/ 0 w 2"/>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0" y="6"/>
                    </a:moveTo>
                    <a:lnTo>
                      <a:pt x="2" y="6"/>
                    </a:lnTo>
                    <a:lnTo>
                      <a:pt x="2" y="0"/>
                    </a:lnTo>
                    <a:lnTo>
                      <a:pt x="0" y="0"/>
                    </a:lnTo>
                    <a:lnTo>
                      <a:pt x="0" y="2"/>
                    </a:lnTo>
                    <a:lnTo>
                      <a:pt x="0" y="4"/>
                    </a:lnTo>
                    <a:lnTo>
                      <a:pt x="0"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71" name="Freeform 1919"/>
              <p:cNvSpPr>
                <a:spLocks/>
              </p:cNvSpPr>
              <p:nvPr/>
            </p:nvSpPr>
            <p:spPr bwMode="auto">
              <a:xfrm>
                <a:off x="3034" y="2052"/>
                <a:ext cx="37" cy="38"/>
              </a:xfrm>
              <a:custGeom>
                <a:avLst/>
                <a:gdLst>
                  <a:gd name="T0" fmla="*/ 16 w 37"/>
                  <a:gd name="T1" fmla="*/ 0 h 38"/>
                  <a:gd name="T2" fmla="*/ 10 w 37"/>
                  <a:gd name="T3" fmla="*/ 0 h 38"/>
                  <a:gd name="T4" fmla="*/ 7 w 37"/>
                  <a:gd name="T5" fmla="*/ 4 h 38"/>
                  <a:gd name="T6" fmla="*/ 5 w 37"/>
                  <a:gd name="T7" fmla="*/ 2 h 38"/>
                  <a:gd name="T8" fmla="*/ 1 w 37"/>
                  <a:gd name="T9" fmla="*/ 7 h 38"/>
                  <a:gd name="T10" fmla="*/ 0 w 37"/>
                  <a:gd name="T11" fmla="*/ 11 h 38"/>
                  <a:gd name="T12" fmla="*/ 3 w 37"/>
                  <a:gd name="T13" fmla="*/ 14 h 38"/>
                  <a:gd name="T14" fmla="*/ 7 w 37"/>
                  <a:gd name="T15" fmla="*/ 16 h 38"/>
                  <a:gd name="T16" fmla="*/ 8 w 37"/>
                  <a:gd name="T17" fmla="*/ 20 h 38"/>
                  <a:gd name="T18" fmla="*/ 7 w 37"/>
                  <a:gd name="T19" fmla="*/ 25 h 38"/>
                  <a:gd name="T20" fmla="*/ 8 w 37"/>
                  <a:gd name="T21" fmla="*/ 29 h 38"/>
                  <a:gd name="T22" fmla="*/ 10 w 37"/>
                  <a:gd name="T23" fmla="*/ 30 h 38"/>
                  <a:gd name="T24" fmla="*/ 12 w 37"/>
                  <a:gd name="T25" fmla="*/ 32 h 38"/>
                  <a:gd name="T26" fmla="*/ 12 w 37"/>
                  <a:gd name="T27" fmla="*/ 29 h 38"/>
                  <a:gd name="T28" fmla="*/ 14 w 37"/>
                  <a:gd name="T29" fmla="*/ 25 h 38"/>
                  <a:gd name="T30" fmla="*/ 16 w 37"/>
                  <a:gd name="T31" fmla="*/ 29 h 38"/>
                  <a:gd name="T32" fmla="*/ 17 w 37"/>
                  <a:gd name="T33" fmla="*/ 30 h 38"/>
                  <a:gd name="T34" fmla="*/ 19 w 37"/>
                  <a:gd name="T35" fmla="*/ 38 h 38"/>
                  <a:gd name="T36" fmla="*/ 21 w 37"/>
                  <a:gd name="T37" fmla="*/ 38 h 38"/>
                  <a:gd name="T38" fmla="*/ 23 w 37"/>
                  <a:gd name="T39" fmla="*/ 32 h 38"/>
                  <a:gd name="T40" fmla="*/ 25 w 37"/>
                  <a:gd name="T41" fmla="*/ 30 h 38"/>
                  <a:gd name="T42" fmla="*/ 26 w 37"/>
                  <a:gd name="T43" fmla="*/ 34 h 38"/>
                  <a:gd name="T44" fmla="*/ 30 w 37"/>
                  <a:gd name="T45" fmla="*/ 36 h 38"/>
                  <a:gd name="T46" fmla="*/ 32 w 37"/>
                  <a:gd name="T47" fmla="*/ 38 h 38"/>
                  <a:gd name="T48" fmla="*/ 30 w 37"/>
                  <a:gd name="T49" fmla="*/ 23 h 38"/>
                  <a:gd name="T50" fmla="*/ 26 w 37"/>
                  <a:gd name="T51" fmla="*/ 20 h 38"/>
                  <a:gd name="T52" fmla="*/ 26 w 37"/>
                  <a:gd name="T53" fmla="*/ 16 h 38"/>
                  <a:gd name="T54" fmla="*/ 32 w 37"/>
                  <a:gd name="T55" fmla="*/ 20 h 38"/>
                  <a:gd name="T56" fmla="*/ 32 w 37"/>
                  <a:gd name="T57" fmla="*/ 22 h 38"/>
                  <a:gd name="T58" fmla="*/ 33 w 37"/>
                  <a:gd name="T59" fmla="*/ 20 h 38"/>
                  <a:gd name="T60" fmla="*/ 35 w 37"/>
                  <a:gd name="T61" fmla="*/ 18 h 38"/>
                  <a:gd name="T62" fmla="*/ 37 w 37"/>
                  <a:gd name="T63" fmla="*/ 18 h 38"/>
                  <a:gd name="T64" fmla="*/ 37 w 37"/>
                  <a:gd name="T65" fmla="*/ 16 h 38"/>
                  <a:gd name="T66" fmla="*/ 33 w 37"/>
                  <a:gd name="T67" fmla="*/ 14 h 38"/>
                  <a:gd name="T68" fmla="*/ 32 w 37"/>
                  <a:gd name="T69" fmla="*/ 9 h 38"/>
                  <a:gd name="T70" fmla="*/ 32 w 37"/>
                  <a:gd name="T71" fmla="*/ 7 h 38"/>
                  <a:gd name="T72" fmla="*/ 19 w 37"/>
                  <a:gd name="T73" fmla="*/ 2 h 38"/>
                  <a:gd name="T74" fmla="*/ 17 w 37"/>
                  <a:gd name="T75" fmla="*/ 2 h 38"/>
                  <a:gd name="T76" fmla="*/ 16 w 37"/>
                  <a:gd name="T7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 h="38">
                    <a:moveTo>
                      <a:pt x="16" y="0"/>
                    </a:moveTo>
                    <a:lnTo>
                      <a:pt x="10" y="0"/>
                    </a:lnTo>
                    <a:lnTo>
                      <a:pt x="7" y="4"/>
                    </a:lnTo>
                    <a:lnTo>
                      <a:pt x="5" y="2"/>
                    </a:lnTo>
                    <a:lnTo>
                      <a:pt x="1" y="7"/>
                    </a:lnTo>
                    <a:lnTo>
                      <a:pt x="0" y="11"/>
                    </a:lnTo>
                    <a:lnTo>
                      <a:pt x="3" y="14"/>
                    </a:lnTo>
                    <a:lnTo>
                      <a:pt x="7" y="16"/>
                    </a:lnTo>
                    <a:lnTo>
                      <a:pt x="8" y="20"/>
                    </a:lnTo>
                    <a:lnTo>
                      <a:pt x="7" y="25"/>
                    </a:lnTo>
                    <a:lnTo>
                      <a:pt x="8" y="29"/>
                    </a:lnTo>
                    <a:lnTo>
                      <a:pt x="10" y="30"/>
                    </a:lnTo>
                    <a:lnTo>
                      <a:pt x="12" y="32"/>
                    </a:lnTo>
                    <a:lnTo>
                      <a:pt x="12" y="29"/>
                    </a:lnTo>
                    <a:lnTo>
                      <a:pt x="14" y="25"/>
                    </a:lnTo>
                    <a:lnTo>
                      <a:pt x="16" y="29"/>
                    </a:lnTo>
                    <a:lnTo>
                      <a:pt x="17" y="30"/>
                    </a:lnTo>
                    <a:lnTo>
                      <a:pt x="19" y="38"/>
                    </a:lnTo>
                    <a:lnTo>
                      <a:pt x="21" y="38"/>
                    </a:lnTo>
                    <a:lnTo>
                      <a:pt x="23" y="32"/>
                    </a:lnTo>
                    <a:lnTo>
                      <a:pt x="25" y="30"/>
                    </a:lnTo>
                    <a:lnTo>
                      <a:pt x="26" y="34"/>
                    </a:lnTo>
                    <a:lnTo>
                      <a:pt x="30" y="36"/>
                    </a:lnTo>
                    <a:lnTo>
                      <a:pt x="32" y="38"/>
                    </a:lnTo>
                    <a:lnTo>
                      <a:pt x="30" y="23"/>
                    </a:lnTo>
                    <a:lnTo>
                      <a:pt x="26" y="20"/>
                    </a:lnTo>
                    <a:lnTo>
                      <a:pt x="26" y="16"/>
                    </a:lnTo>
                    <a:lnTo>
                      <a:pt x="32" y="20"/>
                    </a:lnTo>
                    <a:lnTo>
                      <a:pt x="32" y="22"/>
                    </a:lnTo>
                    <a:lnTo>
                      <a:pt x="33" y="20"/>
                    </a:lnTo>
                    <a:lnTo>
                      <a:pt x="35" y="18"/>
                    </a:lnTo>
                    <a:lnTo>
                      <a:pt x="37" y="18"/>
                    </a:lnTo>
                    <a:lnTo>
                      <a:pt x="37" y="16"/>
                    </a:lnTo>
                    <a:lnTo>
                      <a:pt x="33" y="14"/>
                    </a:lnTo>
                    <a:lnTo>
                      <a:pt x="32" y="9"/>
                    </a:lnTo>
                    <a:lnTo>
                      <a:pt x="32" y="7"/>
                    </a:lnTo>
                    <a:lnTo>
                      <a:pt x="19" y="2"/>
                    </a:lnTo>
                    <a:lnTo>
                      <a:pt x="17" y="2"/>
                    </a:lnTo>
                    <a:lnTo>
                      <a:pt x="16"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72" name="Freeform 1920"/>
              <p:cNvSpPr>
                <a:spLocks/>
              </p:cNvSpPr>
              <p:nvPr/>
            </p:nvSpPr>
            <p:spPr bwMode="auto">
              <a:xfrm>
                <a:off x="3034" y="2052"/>
                <a:ext cx="37" cy="38"/>
              </a:xfrm>
              <a:custGeom>
                <a:avLst/>
                <a:gdLst>
                  <a:gd name="T0" fmla="*/ 16 w 37"/>
                  <a:gd name="T1" fmla="*/ 0 h 38"/>
                  <a:gd name="T2" fmla="*/ 10 w 37"/>
                  <a:gd name="T3" fmla="*/ 0 h 38"/>
                  <a:gd name="T4" fmla="*/ 7 w 37"/>
                  <a:gd name="T5" fmla="*/ 4 h 38"/>
                  <a:gd name="T6" fmla="*/ 5 w 37"/>
                  <a:gd name="T7" fmla="*/ 2 h 38"/>
                  <a:gd name="T8" fmla="*/ 1 w 37"/>
                  <a:gd name="T9" fmla="*/ 7 h 38"/>
                  <a:gd name="T10" fmla="*/ 0 w 37"/>
                  <a:gd name="T11" fmla="*/ 11 h 38"/>
                  <a:gd name="T12" fmla="*/ 3 w 37"/>
                  <a:gd name="T13" fmla="*/ 14 h 38"/>
                  <a:gd name="T14" fmla="*/ 7 w 37"/>
                  <a:gd name="T15" fmla="*/ 16 h 38"/>
                  <a:gd name="T16" fmla="*/ 8 w 37"/>
                  <a:gd name="T17" fmla="*/ 20 h 38"/>
                  <a:gd name="T18" fmla="*/ 7 w 37"/>
                  <a:gd name="T19" fmla="*/ 25 h 38"/>
                  <a:gd name="T20" fmla="*/ 8 w 37"/>
                  <a:gd name="T21" fmla="*/ 29 h 38"/>
                  <a:gd name="T22" fmla="*/ 10 w 37"/>
                  <a:gd name="T23" fmla="*/ 30 h 38"/>
                  <a:gd name="T24" fmla="*/ 12 w 37"/>
                  <a:gd name="T25" fmla="*/ 32 h 38"/>
                  <a:gd name="T26" fmla="*/ 12 w 37"/>
                  <a:gd name="T27" fmla="*/ 29 h 38"/>
                  <a:gd name="T28" fmla="*/ 14 w 37"/>
                  <a:gd name="T29" fmla="*/ 25 h 38"/>
                  <a:gd name="T30" fmla="*/ 16 w 37"/>
                  <a:gd name="T31" fmla="*/ 29 h 38"/>
                  <a:gd name="T32" fmla="*/ 17 w 37"/>
                  <a:gd name="T33" fmla="*/ 30 h 38"/>
                  <a:gd name="T34" fmla="*/ 19 w 37"/>
                  <a:gd name="T35" fmla="*/ 38 h 38"/>
                  <a:gd name="T36" fmla="*/ 21 w 37"/>
                  <a:gd name="T37" fmla="*/ 38 h 38"/>
                  <a:gd name="T38" fmla="*/ 23 w 37"/>
                  <a:gd name="T39" fmla="*/ 32 h 38"/>
                  <a:gd name="T40" fmla="*/ 25 w 37"/>
                  <a:gd name="T41" fmla="*/ 30 h 38"/>
                  <a:gd name="T42" fmla="*/ 26 w 37"/>
                  <a:gd name="T43" fmla="*/ 34 h 38"/>
                  <a:gd name="T44" fmla="*/ 30 w 37"/>
                  <a:gd name="T45" fmla="*/ 36 h 38"/>
                  <a:gd name="T46" fmla="*/ 32 w 37"/>
                  <a:gd name="T47" fmla="*/ 38 h 38"/>
                  <a:gd name="T48" fmla="*/ 30 w 37"/>
                  <a:gd name="T49" fmla="*/ 23 h 38"/>
                  <a:gd name="T50" fmla="*/ 26 w 37"/>
                  <a:gd name="T51" fmla="*/ 20 h 38"/>
                  <a:gd name="T52" fmla="*/ 26 w 37"/>
                  <a:gd name="T53" fmla="*/ 16 h 38"/>
                  <a:gd name="T54" fmla="*/ 32 w 37"/>
                  <a:gd name="T55" fmla="*/ 20 h 38"/>
                  <a:gd name="T56" fmla="*/ 32 w 37"/>
                  <a:gd name="T57" fmla="*/ 22 h 38"/>
                  <a:gd name="T58" fmla="*/ 33 w 37"/>
                  <a:gd name="T59" fmla="*/ 20 h 38"/>
                  <a:gd name="T60" fmla="*/ 35 w 37"/>
                  <a:gd name="T61" fmla="*/ 18 h 38"/>
                  <a:gd name="T62" fmla="*/ 37 w 37"/>
                  <a:gd name="T63" fmla="*/ 18 h 38"/>
                  <a:gd name="T64" fmla="*/ 37 w 37"/>
                  <a:gd name="T65" fmla="*/ 16 h 38"/>
                  <a:gd name="T66" fmla="*/ 33 w 37"/>
                  <a:gd name="T67" fmla="*/ 14 h 38"/>
                  <a:gd name="T68" fmla="*/ 32 w 37"/>
                  <a:gd name="T69" fmla="*/ 9 h 38"/>
                  <a:gd name="T70" fmla="*/ 32 w 37"/>
                  <a:gd name="T71" fmla="*/ 7 h 38"/>
                  <a:gd name="T72" fmla="*/ 19 w 37"/>
                  <a:gd name="T73" fmla="*/ 2 h 38"/>
                  <a:gd name="T74" fmla="*/ 17 w 37"/>
                  <a:gd name="T75" fmla="*/ 2 h 38"/>
                  <a:gd name="T76" fmla="*/ 16 w 37"/>
                  <a:gd name="T7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7" h="38">
                    <a:moveTo>
                      <a:pt x="16" y="0"/>
                    </a:moveTo>
                    <a:lnTo>
                      <a:pt x="10" y="0"/>
                    </a:lnTo>
                    <a:lnTo>
                      <a:pt x="7" y="4"/>
                    </a:lnTo>
                    <a:lnTo>
                      <a:pt x="5" y="2"/>
                    </a:lnTo>
                    <a:lnTo>
                      <a:pt x="1" y="7"/>
                    </a:lnTo>
                    <a:lnTo>
                      <a:pt x="0" y="11"/>
                    </a:lnTo>
                    <a:lnTo>
                      <a:pt x="3" y="14"/>
                    </a:lnTo>
                    <a:lnTo>
                      <a:pt x="7" y="16"/>
                    </a:lnTo>
                    <a:lnTo>
                      <a:pt x="8" y="20"/>
                    </a:lnTo>
                    <a:lnTo>
                      <a:pt x="7" y="25"/>
                    </a:lnTo>
                    <a:lnTo>
                      <a:pt x="8" y="29"/>
                    </a:lnTo>
                    <a:lnTo>
                      <a:pt x="10" y="30"/>
                    </a:lnTo>
                    <a:lnTo>
                      <a:pt x="12" y="32"/>
                    </a:lnTo>
                    <a:lnTo>
                      <a:pt x="12" y="29"/>
                    </a:lnTo>
                    <a:lnTo>
                      <a:pt x="14" y="25"/>
                    </a:lnTo>
                    <a:lnTo>
                      <a:pt x="16" y="29"/>
                    </a:lnTo>
                    <a:lnTo>
                      <a:pt x="17" y="30"/>
                    </a:lnTo>
                    <a:lnTo>
                      <a:pt x="19" y="38"/>
                    </a:lnTo>
                    <a:lnTo>
                      <a:pt x="21" y="38"/>
                    </a:lnTo>
                    <a:lnTo>
                      <a:pt x="23" y="32"/>
                    </a:lnTo>
                    <a:lnTo>
                      <a:pt x="25" y="30"/>
                    </a:lnTo>
                    <a:lnTo>
                      <a:pt x="26" y="34"/>
                    </a:lnTo>
                    <a:lnTo>
                      <a:pt x="30" y="36"/>
                    </a:lnTo>
                    <a:lnTo>
                      <a:pt x="32" y="38"/>
                    </a:lnTo>
                    <a:lnTo>
                      <a:pt x="30" y="23"/>
                    </a:lnTo>
                    <a:lnTo>
                      <a:pt x="26" y="20"/>
                    </a:lnTo>
                    <a:lnTo>
                      <a:pt x="26" y="16"/>
                    </a:lnTo>
                    <a:lnTo>
                      <a:pt x="32" y="20"/>
                    </a:lnTo>
                    <a:lnTo>
                      <a:pt x="32" y="22"/>
                    </a:lnTo>
                    <a:lnTo>
                      <a:pt x="33" y="20"/>
                    </a:lnTo>
                    <a:lnTo>
                      <a:pt x="35" y="18"/>
                    </a:lnTo>
                    <a:lnTo>
                      <a:pt x="37" y="18"/>
                    </a:lnTo>
                    <a:lnTo>
                      <a:pt x="37" y="16"/>
                    </a:lnTo>
                    <a:lnTo>
                      <a:pt x="33" y="14"/>
                    </a:lnTo>
                    <a:lnTo>
                      <a:pt x="32" y="9"/>
                    </a:lnTo>
                    <a:lnTo>
                      <a:pt x="32" y="7"/>
                    </a:lnTo>
                    <a:lnTo>
                      <a:pt x="19" y="2"/>
                    </a:lnTo>
                    <a:lnTo>
                      <a:pt x="17" y="2"/>
                    </a:lnTo>
                    <a:lnTo>
                      <a:pt x="16"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73" name="Freeform 1921"/>
              <p:cNvSpPr>
                <a:spLocks/>
              </p:cNvSpPr>
              <p:nvPr/>
            </p:nvSpPr>
            <p:spPr bwMode="auto">
              <a:xfrm>
                <a:off x="3023" y="2050"/>
                <a:ext cx="5" cy="7"/>
              </a:xfrm>
              <a:custGeom>
                <a:avLst/>
                <a:gdLst>
                  <a:gd name="T0" fmla="*/ 5 w 5"/>
                  <a:gd name="T1" fmla="*/ 7 h 7"/>
                  <a:gd name="T2" fmla="*/ 5 w 5"/>
                  <a:gd name="T3" fmla="*/ 4 h 7"/>
                  <a:gd name="T4" fmla="*/ 3 w 5"/>
                  <a:gd name="T5" fmla="*/ 4 h 7"/>
                  <a:gd name="T6" fmla="*/ 3 w 5"/>
                  <a:gd name="T7" fmla="*/ 0 h 7"/>
                  <a:gd name="T8" fmla="*/ 0 w 5"/>
                  <a:gd name="T9" fmla="*/ 4 h 7"/>
                  <a:gd name="T10" fmla="*/ 2 w 5"/>
                  <a:gd name="T11" fmla="*/ 6 h 7"/>
                  <a:gd name="T12" fmla="*/ 3 w 5"/>
                  <a:gd name="T13" fmla="*/ 6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5" y="4"/>
                    </a:lnTo>
                    <a:lnTo>
                      <a:pt x="3" y="4"/>
                    </a:lnTo>
                    <a:lnTo>
                      <a:pt x="3" y="0"/>
                    </a:lnTo>
                    <a:lnTo>
                      <a:pt x="0" y="4"/>
                    </a:lnTo>
                    <a:lnTo>
                      <a:pt x="2" y="6"/>
                    </a:lnTo>
                    <a:lnTo>
                      <a:pt x="3" y="6"/>
                    </a:lnTo>
                    <a:lnTo>
                      <a:pt x="5"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74" name="Freeform 1922"/>
              <p:cNvSpPr>
                <a:spLocks/>
              </p:cNvSpPr>
              <p:nvPr/>
            </p:nvSpPr>
            <p:spPr bwMode="auto">
              <a:xfrm>
                <a:off x="3023" y="2050"/>
                <a:ext cx="5" cy="7"/>
              </a:xfrm>
              <a:custGeom>
                <a:avLst/>
                <a:gdLst>
                  <a:gd name="T0" fmla="*/ 5 w 5"/>
                  <a:gd name="T1" fmla="*/ 7 h 7"/>
                  <a:gd name="T2" fmla="*/ 5 w 5"/>
                  <a:gd name="T3" fmla="*/ 4 h 7"/>
                  <a:gd name="T4" fmla="*/ 3 w 5"/>
                  <a:gd name="T5" fmla="*/ 4 h 7"/>
                  <a:gd name="T6" fmla="*/ 3 w 5"/>
                  <a:gd name="T7" fmla="*/ 0 h 7"/>
                  <a:gd name="T8" fmla="*/ 0 w 5"/>
                  <a:gd name="T9" fmla="*/ 4 h 7"/>
                  <a:gd name="T10" fmla="*/ 2 w 5"/>
                  <a:gd name="T11" fmla="*/ 6 h 7"/>
                  <a:gd name="T12" fmla="*/ 3 w 5"/>
                  <a:gd name="T13" fmla="*/ 6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5" y="4"/>
                    </a:lnTo>
                    <a:lnTo>
                      <a:pt x="3" y="4"/>
                    </a:lnTo>
                    <a:lnTo>
                      <a:pt x="3" y="0"/>
                    </a:lnTo>
                    <a:lnTo>
                      <a:pt x="0" y="4"/>
                    </a:lnTo>
                    <a:lnTo>
                      <a:pt x="2" y="6"/>
                    </a:lnTo>
                    <a:lnTo>
                      <a:pt x="3" y="6"/>
                    </a:lnTo>
                    <a:lnTo>
                      <a:pt x="5"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75" name="Freeform 1923"/>
              <p:cNvSpPr>
                <a:spLocks/>
              </p:cNvSpPr>
              <p:nvPr/>
            </p:nvSpPr>
            <p:spPr bwMode="auto">
              <a:xfrm>
                <a:off x="3064" y="2038"/>
                <a:ext cx="27" cy="21"/>
              </a:xfrm>
              <a:custGeom>
                <a:avLst/>
                <a:gdLst>
                  <a:gd name="T0" fmla="*/ 25 w 27"/>
                  <a:gd name="T1" fmla="*/ 19 h 21"/>
                  <a:gd name="T2" fmla="*/ 27 w 27"/>
                  <a:gd name="T3" fmla="*/ 19 h 21"/>
                  <a:gd name="T4" fmla="*/ 27 w 27"/>
                  <a:gd name="T5" fmla="*/ 18 h 21"/>
                  <a:gd name="T6" fmla="*/ 21 w 27"/>
                  <a:gd name="T7" fmla="*/ 16 h 21"/>
                  <a:gd name="T8" fmla="*/ 20 w 27"/>
                  <a:gd name="T9" fmla="*/ 12 h 21"/>
                  <a:gd name="T10" fmla="*/ 20 w 27"/>
                  <a:gd name="T11" fmla="*/ 9 h 21"/>
                  <a:gd name="T12" fmla="*/ 18 w 27"/>
                  <a:gd name="T13" fmla="*/ 7 h 21"/>
                  <a:gd name="T14" fmla="*/ 14 w 27"/>
                  <a:gd name="T15" fmla="*/ 7 h 21"/>
                  <a:gd name="T16" fmla="*/ 11 w 27"/>
                  <a:gd name="T17" fmla="*/ 5 h 21"/>
                  <a:gd name="T18" fmla="*/ 5 w 27"/>
                  <a:gd name="T19" fmla="*/ 2 h 21"/>
                  <a:gd name="T20" fmla="*/ 5 w 27"/>
                  <a:gd name="T21" fmla="*/ 0 h 21"/>
                  <a:gd name="T22" fmla="*/ 3 w 27"/>
                  <a:gd name="T23" fmla="*/ 0 h 21"/>
                  <a:gd name="T24" fmla="*/ 0 w 27"/>
                  <a:gd name="T25" fmla="*/ 3 h 21"/>
                  <a:gd name="T26" fmla="*/ 3 w 27"/>
                  <a:gd name="T27" fmla="*/ 3 h 21"/>
                  <a:gd name="T28" fmla="*/ 9 w 27"/>
                  <a:gd name="T29" fmla="*/ 9 h 21"/>
                  <a:gd name="T30" fmla="*/ 9 w 27"/>
                  <a:gd name="T31" fmla="*/ 11 h 21"/>
                  <a:gd name="T32" fmla="*/ 12 w 27"/>
                  <a:gd name="T33" fmla="*/ 12 h 21"/>
                  <a:gd name="T34" fmla="*/ 16 w 27"/>
                  <a:gd name="T35" fmla="*/ 12 h 21"/>
                  <a:gd name="T36" fmla="*/ 18 w 27"/>
                  <a:gd name="T37" fmla="*/ 16 h 21"/>
                  <a:gd name="T38" fmla="*/ 20 w 27"/>
                  <a:gd name="T39" fmla="*/ 18 h 21"/>
                  <a:gd name="T40" fmla="*/ 20 w 27"/>
                  <a:gd name="T41" fmla="*/ 19 h 21"/>
                  <a:gd name="T42" fmla="*/ 21 w 27"/>
                  <a:gd name="T43" fmla="*/ 21 h 21"/>
                  <a:gd name="T44" fmla="*/ 25 w 27"/>
                  <a:gd name="T45" fmla="*/ 21 h 21"/>
                  <a:gd name="T46" fmla="*/ 25 w 27"/>
                  <a:gd name="T4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21">
                    <a:moveTo>
                      <a:pt x="25" y="19"/>
                    </a:moveTo>
                    <a:lnTo>
                      <a:pt x="27" y="19"/>
                    </a:lnTo>
                    <a:lnTo>
                      <a:pt x="27" y="18"/>
                    </a:lnTo>
                    <a:lnTo>
                      <a:pt x="21" y="16"/>
                    </a:lnTo>
                    <a:lnTo>
                      <a:pt x="20" y="12"/>
                    </a:lnTo>
                    <a:lnTo>
                      <a:pt x="20" y="9"/>
                    </a:lnTo>
                    <a:lnTo>
                      <a:pt x="18" y="7"/>
                    </a:lnTo>
                    <a:lnTo>
                      <a:pt x="14" y="7"/>
                    </a:lnTo>
                    <a:lnTo>
                      <a:pt x="11" y="5"/>
                    </a:lnTo>
                    <a:lnTo>
                      <a:pt x="5" y="2"/>
                    </a:lnTo>
                    <a:lnTo>
                      <a:pt x="5" y="0"/>
                    </a:lnTo>
                    <a:lnTo>
                      <a:pt x="3" y="0"/>
                    </a:lnTo>
                    <a:lnTo>
                      <a:pt x="0" y="3"/>
                    </a:lnTo>
                    <a:lnTo>
                      <a:pt x="3" y="3"/>
                    </a:lnTo>
                    <a:lnTo>
                      <a:pt x="9" y="9"/>
                    </a:lnTo>
                    <a:lnTo>
                      <a:pt x="9" y="11"/>
                    </a:lnTo>
                    <a:lnTo>
                      <a:pt x="12" y="12"/>
                    </a:lnTo>
                    <a:lnTo>
                      <a:pt x="16" y="12"/>
                    </a:lnTo>
                    <a:lnTo>
                      <a:pt x="18" y="16"/>
                    </a:lnTo>
                    <a:lnTo>
                      <a:pt x="20" y="18"/>
                    </a:lnTo>
                    <a:lnTo>
                      <a:pt x="20" y="19"/>
                    </a:lnTo>
                    <a:lnTo>
                      <a:pt x="21" y="21"/>
                    </a:lnTo>
                    <a:lnTo>
                      <a:pt x="25" y="21"/>
                    </a:lnTo>
                    <a:lnTo>
                      <a:pt x="25" y="1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76" name="Freeform 1924"/>
              <p:cNvSpPr>
                <a:spLocks/>
              </p:cNvSpPr>
              <p:nvPr/>
            </p:nvSpPr>
            <p:spPr bwMode="auto">
              <a:xfrm>
                <a:off x="3064" y="2038"/>
                <a:ext cx="27" cy="21"/>
              </a:xfrm>
              <a:custGeom>
                <a:avLst/>
                <a:gdLst>
                  <a:gd name="T0" fmla="*/ 25 w 27"/>
                  <a:gd name="T1" fmla="*/ 19 h 21"/>
                  <a:gd name="T2" fmla="*/ 27 w 27"/>
                  <a:gd name="T3" fmla="*/ 19 h 21"/>
                  <a:gd name="T4" fmla="*/ 27 w 27"/>
                  <a:gd name="T5" fmla="*/ 18 h 21"/>
                  <a:gd name="T6" fmla="*/ 21 w 27"/>
                  <a:gd name="T7" fmla="*/ 16 h 21"/>
                  <a:gd name="T8" fmla="*/ 20 w 27"/>
                  <a:gd name="T9" fmla="*/ 12 h 21"/>
                  <a:gd name="T10" fmla="*/ 20 w 27"/>
                  <a:gd name="T11" fmla="*/ 9 h 21"/>
                  <a:gd name="T12" fmla="*/ 18 w 27"/>
                  <a:gd name="T13" fmla="*/ 7 h 21"/>
                  <a:gd name="T14" fmla="*/ 14 w 27"/>
                  <a:gd name="T15" fmla="*/ 7 h 21"/>
                  <a:gd name="T16" fmla="*/ 11 w 27"/>
                  <a:gd name="T17" fmla="*/ 5 h 21"/>
                  <a:gd name="T18" fmla="*/ 5 w 27"/>
                  <a:gd name="T19" fmla="*/ 2 h 21"/>
                  <a:gd name="T20" fmla="*/ 5 w 27"/>
                  <a:gd name="T21" fmla="*/ 0 h 21"/>
                  <a:gd name="T22" fmla="*/ 3 w 27"/>
                  <a:gd name="T23" fmla="*/ 0 h 21"/>
                  <a:gd name="T24" fmla="*/ 0 w 27"/>
                  <a:gd name="T25" fmla="*/ 3 h 21"/>
                  <a:gd name="T26" fmla="*/ 3 w 27"/>
                  <a:gd name="T27" fmla="*/ 3 h 21"/>
                  <a:gd name="T28" fmla="*/ 9 w 27"/>
                  <a:gd name="T29" fmla="*/ 9 h 21"/>
                  <a:gd name="T30" fmla="*/ 9 w 27"/>
                  <a:gd name="T31" fmla="*/ 11 h 21"/>
                  <a:gd name="T32" fmla="*/ 12 w 27"/>
                  <a:gd name="T33" fmla="*/ 12 h 21"/>
                  <a:gd name="T34" fmla="*/ 16 w 27"/>
                  <a:gd name="T35" fmla="*/ 12 h 21"/>
                  <a:gd name="T36" fmla="*/ 18 w 27"/>
                  <a:gd name="T37" fmla="*/ 16 h 21"/>
                  <a:gd name="T38" fmla="*/ 20 w 27"/>
                  <a:gd name="T39" fmla="*/ 18 h 21"/>
                  <a:gd name="T40" fmla="*/ 20 w 27"/>
                  <a:gd name="T41" fmla="*/ 19 h 21"/>
                  <a:gd name="T42" fmla="*/ 21 w 27"/>
                  <a:gd name="T43" fmla="*/ 21 h 21"/>
                  <a:gd name="T44" fmla="*/ 25 w 27"/>
                  <a:gd name="T45" fmla="*/ 21 h 21"/>
                  <a:gd name="T46" fmla="*/ 25 w 27"/>
                  <a:gd name="T47" fmla="*/ 1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21">
                    <a:moveTo>
                      <a:pt x="25" y="19"/>
                    </a:moveTo>
                    <a:lnTo>
                      <a:pt x="27" y="19"/>
                    </a:lnTo>
                    <a:lnTo>
                      <a:pt x="27" y="18"/>
                    </a:lnTo>
                    <a:lnTo>
                      <a:pt x="21" y="16"/>
                    </a:lnTo>
                    <a:lnTo>
                      <a:pt x="20" y="12"/>
                    </a:lnTo>
                    <a:lnTo>
                      <a:pt x="20" y="9"/>
                    </a:lnTo>
                    <a:lnTo>
                      <a:pt x="18" y="7"/>
                    </a:lnTo>
                    <a:lnTo>
                      <a:pt x="14" y="7"/>
                    </a:lnTo>
                    <a:lnTo>
                      <a:pt x="11" y="5"/>
                    </a:lnTo>
                    <a:lnTo>
                      <a:pt x="5" y="2"/>
                    </a:lnTo>
                    <a:lnTo>
                      <a:pt x="5" y="0"/>
                    </a:lnTo>
                    <a:lnTo>
                      <a:pt x="3" y="0"/>
                    </a:lnTo>
                    <a:lnTo>
                      <a:pt x="0" y="3"/>
                    </a:lnTo>
                    <a:lnTo>
                      <a:pt x="3" y="3"/>
                    </a:lnTo>
                    <a:lnTo>
                      <a:pt x="9" y="9"/>
                    </a:lnTo>
                    <a:lnTo>
                      <a:pt x="9" y="11"/>
                    </a:lnTo>
                    <a:lnTo>
                      <a:pt x="12" y="12"/>
                    </a:lnTo>
                    <a:lnTo>
                      <a:pt x="16" y="12"/>
                    </a:lnTo>
                    <a:lnTo>
                      <a:pt x="18" y="16"/>
                    </a:lnTo>
                    <a:lnTo>
                      <a:pt x="20" y="18"/>
                    </a:lnTo>
                    <a:lnTo>
                      <a:pt x="20" y="19"/>
                    </a:lnTo>
                    <a:lnTo>
                      <a:pt x="21" y="21"/>
                    </a:lnTo>
                    <a:lnTo>
                      <a:pt x="25" y="21"/>
                    </a:lnTo>
                    <a:lnTo>
                      <a:pt x="25" y="1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77" name="Freeform 1925"/>
              <p:cNvSpPr>
                <a:spLocks/>
              </p:cNvSpPr>
              <p:nvPr/>
            </p:nvSpPr>
            <p:spPr bwMode="auto">
              <a:xfrm>
                <a:off x="3010" y="2022"/>
                <a:ext cx="7" cy="9"/>
              </a:xfrm>
              <a:custGeom>
                <a:avLst/>
                <a:gdLst>
                  <a:gd name="T0" fmla="*/ 7 w 7"/>
                  <a:gd name="T1" fmla="*/ 9 h 9"/>
                  <a:gd name="T2" fmla="*/ 7 w 7"/>
                  <a:gd name="T3" fmla="*/ 7 h 9"/>
                  <a:gd name="T4" fmla="*/ 4 w 7"/>
                  <a:gd name="T5" fmla="*/ 2 h 9"/>
                  <a:gd name="T6" fmla="*/ 2 w 7"/>
                  <a:gd name="T7" fmla="*/ 0 h 9"/>
                  <a:gd name="T8" fmla="*/ 0 w 7"/>
                  <a:gd name="T9" fmla="*/ 2 h 9"/>
                  <a:gd name="T10" fmla="*/ 4 w 7"/>
                  <a:gd name="T11" fmla="*/ 5 h 9"/>
                  <a:gd name="T12" fmla="*/ 6 w 7"/>
                  <a:gd name="T13" fmla="*/ 9 h 9"/>
                  <a:gd name="T14" fmla="*/ 7 w 7"/>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7" y="9"/>
                    </a:moveTo>
                    <a:lnTo>
                      <a:pt x="7" y="7"/>
                    </a:lnTo>
                    <a:lnTo>
                      <a:pt x="4" y="2"/>
                    </a:lnTo>
                    <a:lnTo>
                      <a:pt x="2" y="0"/>
                    </a:lnTo>
                    <a:lnTo>
                      <a:pt x="0" y="2"/>
                    </a:lnTo>
                    <a:lnTo>
                      <a:pt x="4" y="5"/>
                    </a:lnTo>
                    <a:lnTo>
                      <a:pt x="6" y="9"/>
                    </a:lnTo>
                    <a:lnTo>
                      <a:pt x="7"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78" name="Freeform 1926"/>
              <p:cNvSpPr>
                <a:spLocks/>
              </p:cNvSpPr>
              <p:nvPr/>
            </p:nvSpPr>
            <p:spPr bwMode="auto">
              <a:xfrm>
                <a:off x="3010" y="2022"/>
                <a:ext cx="7" cy="9"/>
              </a:xfrm>
              <a:custGeom>
                <a:avLst/>
                <a:gdLst>
                  <a:gd name="T0" fmla="*/ 7 w 7"/>
                  <a:gd name="T1" fmla="*/ 9 h 9"/>
                  <a:gd name="T2" fmla="*/ 7 w 7"/>
                  <a:gd name="T3" fmla="*/ 7 h 9"/>
                  <a:gd name="T4" fmla="*/ 4 w 7"/>
                  <a:gd name="T5" fmla="*/ 2 h 9"/>
                  <a:gd name="T6" fmla="*/ 2 w 7"/>
                  <a:gd name="T7" fmla="*/ 0 h 9"/>
                  <a:gd name="T8" fmla="*/ 0 w 7"/>
                  <a:gd name="T9" fmla="*/ 2 h 9"/>
                  <a:gd name="T10" fmla="*/ 4 w 7"/>
                  <a:gd name="T11" fmla="*/ 5 h 9"/>
                  <a:gd name="T12" fmla="*/ 6 w 7"/>
                  <a:gd name="T13" fmla="*/ 9 h 9"/>
                  <a:gd name="T14" fmla="*/ 7 w 7"/>
                  <a:gd name="T15" fmla="*/ 9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7" y="9"/>
                    </a:moveTo>
                    <a:lnTo>
                      <a:pt x="7" y="7"/>
                    </a:lnTo>
                    <a:lnTo>
                      <a:pt x="4" y="2"/>
                    </a:lnTo>
                    <a:lnTo>
                      <a:pt x="2" y="0"/>
                    </a:lnTo>
                    <a:lnTo>
                      <a:pt x="0" y="2"/>
                    </a:lnTo>
                    <a:lnTo>
                      <a:pt x="4" y="5"/>
                    </a:lnTo>
                    <a:lnTo>
                      <a:pt x="6" y="9"/>
                    </a:lnTo>
                    <a:lnTo>
                      <a:pt x="7"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79" name="Freeform 1927"/>
              <p:cNvSpPr>
                <a:spLocks/>
              </p:cNvSpPr>
              <p:nvPr/>
            </p:nvSpPr>
            <p:spPr bwMode="auto">
              <a:xfrm>
                <a:off x="3580" y="2268"/>
                <a:ext cx="14" cy="7"/>
              </a:xfrm>
              <a:custGeom>
                <a:avLst/>
                <a:gdLst>
                  <a:gd name="T0" fmla="*/ 14 w 14"/>
                  <a:gd name="T1" fmla="*/ 0 h 7"/>
                  <a:gd name="T2" fmla="*/ 14 w 14"/>
                  <a:gd name="T3" fmla="*/ 0 h 7"/>
                  <a:gd name="T4" fmla="*/ 9 w 14"/>
                  <a:gd name="T5" fmla="*/ 0 h 7"/>
                  <a:gd name="T6" fmla="*/ 7 w 14"/>
                  <a:gd name="T7" fmla="*/ 2 h 7"/>
                  <a:gd name="T8" fmla="*/ 0 w 14"/>
                  <a:gd name="T9" fmla="*/ 6 h 7"/>
                  <a:gd name="T10" fmla="*/ 0 w 14"/>
                  <a:gd name="T11" fmla="*/ 7 h 7"/>
                  <a:gd name="T12" fmla="*/ 9 w 14"/>
                  <a:gd name="T13" fmla="*/ 6 h 7"/>
                  <a:gd name="T14" fmla="*/ 14 w 1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14" y="0"/>
                    </a:moveTo>
                    <a:lnTo>
                      <a:pt x="14" y="0"/>
                    </a:lnTo>
                    <a:lnTo>
                      <a:pt x="9" y="0"/>
                    </a:lnTo>
                    <a:lnTo>
                      <a:pt x="7" y="2"/>
                    </a:lnTo>
                    <a:lnTo>
                      <a:pt x="0" y="6"/>
                    </a:lnTo>
                    <a:lnTo>
                      <a:pt x="0" y="7"/>
                    </a:lnTo>
                    <a:lnTo>
                      <a:pt x="9" y="6"/>
                    </a:lnTo>
                    <a:lnTo>
                      <a:pt x="1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80" name="Freeform 1928"/>
              <p:cNvSpPr>
                <a:spLocks/>
              </p:cNvSpPr>
              <p:nvPr/>
            </p:nvSpPr>
            <p:spPr bwMode="auto">
              <a:xfrm>
                <a:off x="3580" y="2268"/>
                <a:ext cx="14" cy="7"/>
              </a:xfrm>
              <a:custGeom>
                <a:avLst/>
                <a:gdLst>
                  <a:gd name="T0" fmla="*/ 14 w 14"/>
                  <a:gd name="T1" fmla="*/ 0 h 7"/>
                  <a:gd name="T2" fmla="*/ 14 w 14"/>
                  <a:gd name="T3" fmla="*/ 0 h 7"/>
                  <a:gd name="T4" fmla="*/ 9 w 14"/>
                  <a:gd name="T5" fmla="*/ 0 h 7"/>
                  <a:gd name="T6" fmla="*/ 7 w 14"/>
                  <a:gd name="T7" fmla="*/ 2 h 7"/>
                  <a:gd name="T8" fmla="*/ 0 w 14"/>
                  <a:gd name="T9" fmla="*/ 6 h 7"/>
                  <a:gd name="T10" fmla="*/ 0 w 14"/>
                  <a:gd name="T11" fmla="*/ 7 h 7"/>
                  <a:gd name="T12" fmla="*/ 9 w 14"/>
                  <a:gd name="T13" fmla="*/ 6 h 7"/>
                  <a:gd name="T14" fmla="*/ 14 w 1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14" y="0"/>
                    </a:moveTo>
                    <a:lnTo>
                      <a:pt x="14" y="0"/>
                    </a:lnTo>
                    <a:lnTo>
                      <a:pt x="9" y="0"/>
                    </a:lnTo>
                    <a:lnTo>
                      <a:pt x="7" y="2"/>
                    </a:lnTo>
                    <a:lnTo>
                      <a:pt x="0" y="6"/>
                    </a:lnTo>
                    <a:lnTo>
                      <a:pt x="0" y="7"/>
                    </a:lnTo>
                    <a:lnTo>
                      <a:pt x="9" y="6"/>
                    </a:lnTo>
                    <a:lnTo>
                      <a:pt x="1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81" name="Freeform 1929"/>
              <p:cNvSpPr>
                <a:spLocks/>
              </p:cNvSpPr>
              <p:nvPr/>
            </p:nvSpPr>
            <p:spPr bwMode="auto">
              <a:xfrm>
                <a:off x="3025" y="1125"/>
                <a:ext cx="173" cy="390"/>
              </a:xfrm>
              <a:custGeom>
                <a:avLst/>
                <a:gdLst>
                  <a:gd name="T0" fmla="*/ 23 w 173"/>
                  <a:gd name="T1" fmla="*/ 68 h 390"/>
                  <a:gd name="T2" fmla="*/ 46 w 173"/>
                  <a:gd name="T3" fmla="*/ 104 h 390"/>
                  <a:gd name="T4" fmla="*/ 48 w 173"/>
                  <a:gd name="T5" fmla="*/ 127 h 390"/>
                  <a:gd name="T6" fmla="*/ 51 w 173"/>
                  <a:gd name="T7" fmla="*/ 156 h 390"/>
                  <a:gd name="T8" fmla="*/ 59 w 173"/>
                  <a:gd name="T9" fmla="*/ 179 h 390"/>
                  <a:gd name="T10" fmla="*/ 66 w 173"/>
                  <a:gd name="T11" fmla="*/ 181 h 390"/>
                  <a:gd name="T12" fmla="*/ 76 w 173"/>
                  <a:gd name="T13" fmla="*/ 199 h 390"/>
                  <a:gd name="T14" fmla="*/ 76 w 173"/>
                  <a:gd name="T15" fmla="*/ 215 h 390"/>
                  <a:gd name="T16" fmla="*/ 66 w 173"/>
                  <a:gd name="T17" fmla="*/ 220 h 390"/>
                  <a:gd name="T18" fmla="*/ 30 w 173"/>
                  <a:gd name="T19" fmla="*/ 272 h 390"/>
                  <a:gd name="T20" fmla="*/ 17 w 173"/>
                  <a:gd name="T21" fmla="*/ 277 h 390"/>
                  <a:gd name="T22" fmla="*/ 12 w 173"/>
                  <a:gd name="T23" fmla="*/ 284 h 390"/>
                  <a:gd name="T24" fmla="*/ 9 w 173"/>
                  <a:gd name="T25" fmla="*/ 290 h 390"/>
                  <a:gd name="T26" fmla="*/ 10 w 173"/>
                  <a:gd name="T27" fmla="*/ 311 h 390"/>
                  <a:gd name="T28" fmla="*/ 14 w 173"/>
                  <a:gd name="T29" fmla="*/ 331 h 390"/>
                  <a:gd name="T30" fmla="*/ 16 w 173"/>
                  <a:gd name="T31" fmla="*/ 334 h 390"/>
                  <a:gd name="T32" fmla="*/ 12 w 173"/>
                  <a:gd name="T33" fmla="*/ 340 h 390"/>
                  <a:gd name="T34" fmla="*/ 10 w 173"/>
                  <a:gd name="T35" fmla="*/ 350 h 390"/>
                  <a:gd name="T36" fmla="*/ 10 w 173"/>
                  <a:gd name="T37" fmla="*/ 357 h 390"/>
                  <a:gd name="T38" fmla="*/ 12 w 173"/>
                  <a:gd name="T39" fmla="*/ 363 h 390"/>
                  <a:gd name="T40" fmla="*/ 28 w 173"/>
                  <a:gd name="T41" fmla="*/ 372 h 390"/>
                  <a:gd name="T42" fmla="*/ 35 w 173"/>
                  <a:gd name="T43" fmla="*/ 374 h 390"/>
                  <a:gd name="T44" fmla="*/ 39 w 173"/>
                  <a:gd name="T45" fmla="*/ 384 h 390"/>
                  <a:gd name="T46" fmla="*/ 39 w 173"/>
                  <a:gd name="T47" fmla="*/ 390 h 390"/>
                  <a:gd name="T48" fmla="*/ 44 w 173"/>
                  <a:gd name="T49" fmla="*/ 386 h 390"/>
                  <a:gd name="T50" fmla="*/ 59 w 173"/>
                  <a:gd name="T51" fmla="*/ 382 h 390"/>
                  <a:gd name="T52" fmla="*/ 67 w 173"/>
                  <a:gd name="T53" fmla="*/ 379 h 390"/>
                  <a:gd name="T54" fmla="*/ 78 w 173"/>
                  <a:gd name="T55" fmla="*/ 372 h 390"/>
                  <a:gd name="T56" fmla="*/ 85 w 173"/>
                  <a:gd name="T57" fmla="*/ 370 h 390"/>
                  <a:gd name="T58" fmla="*/ 96 w 173"/>
                  <a:gd name="T59" fmla="*/ 370 h 390"/>
                  <a:gd name="T60" fmla="*/ 112 w 173"/>
                  <a:gd name="T61" fmla="*/ 368 h 390"/>
                  <a:gd name="T62" fmla="*/ 173 w 173"/>
                  <a:gd name="T63" fmla="*/ 295 h 390"/>
                  <a:gd name="T64" fmla="*/ 167 w 173"/>
                  <a:gd name="T65" fmla="*/ 275 h 390"/>
                  <a:gd name="T66" fmla="*/ 160 w 173"/>
                  <a:gd name="T67" fmla="*/ 245 h 390"/>
                  <a:gd name="T68" fmla="*/ 155 w 173"/>
                  <a:gd name="T69" fmla="*/ 225 h 390"/>
                  <a:gd name="T70" fmla="*/ 150 w 173"/>
                  <a:gd name="T71" fmla="*/ 209 h 390"/>
                  <a:gd name="T72" fmla="*/ 153 w 173"/>
                  <a:gd name="T73" fmla="*/ 186 h 390"/>
                  <a:gd name="T74" fmla="*/ 150 w 173"/>
                  <a:gd name="T75" fmla="*/ 102 h 390"/>
                  <a:gd name="T76" fmla="*/ 130 w 173"/>
                  <a:gd name="T77" fmla="*/ 82 h 390"/>
                  <a:gd name="T78" fmla="*/ 130 w 173"/>
                  <a:gd name="T79" fmla="*/ 56 h 390"/>
                  <a:gd name="T80" fmla="*/ 134 w 173"/>
                  <a:gd name="T81" fmla="*/ 40 h 390"/>
                  <a:gd name="T82" fmla="*/ 132 w 173"/>
                  <a:gd name="T83" fmla="*/ 11 h 390"/>
                  <a:gd name="T84" fmla="*/ 119 w 173"/>
                  <a:gd name="T85" fmla="*/ 0 h 390"/>
                  <a:gd name="T86" fmla="*/ 84 w 173"/>
                  <a:gd name="T87" fmla="*/ 22 h 390"/>
                  <a:gd name="T88" fmla="*/ 66 w 173"/>
                  <a:gd name="T89" fmla="*/ 63 h 390"/>
                  <a:gd name="T90" fmla="*/ 50 w 173"/>
                  <a:gd name="T91" fmla="*/ 59 h 390"/>
                  <a:gd name="T92" fmla="*/ 30 w 173"/>
                  <a:gd name="T93" fmla="*/ 59 h 390"/>
                  <a:gd name="T94" fmla="*/ 12 w 173"/>
                  <a:gd name="T95" fmla="*/ 32 h 390"/>
                  <a:gd name="T96" fmla="*/ 3 w 173"/>
                  <a:gd name="T97" fmla="*/ 4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3" h="390">
                    <a:moveTo>
                      <a:pt x="0" y="45"/>
                    </a:moveTo>
                    <a:lnTo>
                      <a:pt x="1" y="45"/>
                    </a:lnTo>
                    <a:lnTo>
                      <a:pt x="1" y="47"/>
                    </a:lnTo>
                    <a:lnTo>
                      <a:pt x="23" y="68"/>
                    </a:lnTo>
                    <a:lnTo>
                      <a:pt x="34" y="72"/>
                    </a:lnTo>
                    <a:lnTo>
                      <a:pt x="39" y="77"/>
                    </a:lnTo>
                    <a:lnTo>
                      <a:pt x="48" y="95"/>
                    </a:lnTo>
                    <a:lnTo>
                      <a:pt x="46" y="104"/>
                    </a:lnTo>
                    <a:lnTo>
                      <a:pt x="48" y="115"/>
                    </a:lnTo>
                    <a:lnTo>
                      <a:pt x="48" y="116"/>
                    </a:lnTo>
                    <a:lnTo>
                      <a:pt x="50" y="120"/>
                    </a:lnTo>
                    <a:lnTo>
                      <a:pt x="48" y="127"/>
                    </a:lnTo>
                    <a:lnTo>
                      <a:pt x="48" y="131"/>
                    </a:lnTo>
                    <a:lnTo>
                      <a:pt x="55" y="145"/>
                    </a:lnTo>
                    <a:lnTo>
                      <a:pt x="53" y="150"/>
                    </a:lnTo>
                    <a:lnTo>
                      <a:pt x="51" y="156"/>
                    </a:lnTo>
                    <a:lnTo>
                      <a:pt x="50" y="161"/>
                    </a:lnTo>
                    <a:lnTo>
                      <a:pt x="55" y="175"/>
                    </a:lnTo>
                    <a:lnTo>
                      <a:pt x="59" y="179"/>
                    </a:lnTo>
                    <a:lnTo>
                      <a:pt x="59" y="179"/>
                    </a:lnTo>
                    <a:lnTo>
                      <a:pt x="60" y="181"/>
                    </a:lnTo>
                    <a:lnTo>
                      <a:pt x="62" y="182"/>
                    </a:lnTo>
                    <a:lnTo>
                      <a:pt x="64" y="181"/>
                    </a:lnTo>
                    <a:lnTo>
                      <a:pt x="66" y="181"/>
                    </a:lnTo>
                    <a:lnTo>
                      <a:pt x="66" y="186"/>
                    </a:lnTo>
                    <a:lnTo>
                      <a:pt x="71" y="188"/>
                    </a:lnTo>
                    <a:lnTo>
                      <a:pt x="75" y="195"/>
                    </a:lnTo>
                    <a:lnTo>
                      <a:pt x="76" y="199"/>
                    </a:lnTo>
                    <a:lnTo>
                      <a:pt x="76" y="207"/>
                    </a:lnTo>
                    <a:lnTo>
                      <a:pt x="80" y="213"/>
                    </a:lnTo>
                    <a:lnTo>
                      <a:pt x="76" y="213"/>
                    </a:lnTo>
                    <a:lnTo>
                      <a:pt x="76" y="215"/>
                    </a:lnTo>
                    <a:lnTo>
                      <a:pt x="76" y="218"/>
                    </a:lnTo>
                    <a:lnTo>
                      <a:pt x="73" y="216"/>
                    </a:lnTo>
                    <a:lnTo>
                      <a:pt x="71" y="216"/>
                    </a:lnTo>
                    <a:lnTo>
                      <a:pt x="66" y="220"/>
                    </a:lnTo>
                    <a:lnTo>
                      <a:pt x="62" y="229"/>
                    </a:lnTo>
                    <a:lnTo>
                      <a:pt x="35" y="268"/>
                    </a:lnTo>
                    <a:lnTo>
                      <a:pt x="32" y="270"/>
                    </a:lnTo>
                    <a:lnTo>
                      <a:pt x="30" y="272"/>
                    </a:lnTo>
                    <a:lnTo>
                      <a:pt x="28" y="274"/>
                    </a:lnTo>
                    <a:lnTo>
                      <a:pt x="26" y="277"/>
                    </a:lnTo>
                    <a:lnTo>
                      <a:pt x="21" y="277"/>
                    </a:lnTo>
                    <a:lnTo>
                      <a:pt x="17" y="277"/>
                    </a:lnTo>
                    <a:lnTo>
                      <a:pt x="16" y="281"/>
                    </a:lnTo>
                    <a:lnTo>
                      <a:pt x="19" y="282"/>
                    </a:lnTo>
                    <a:lnTo>
                      <a:pt x="17" y="284"/>
                    </a:lnTo>
                    <a:lnTo>
                      <a:pt x="12" y="284"/>
                    </a:lnTo>
                    <a:lnTo>
                      <a:pt x="12" y="286"/>
                    </a:lnTo>
                    <a:lnTo>
                      <a:pt x="12" y="288"/>
                    </a:lnTo>
                    <a:lnTo>
                      <a:pt x="10" y="288"/>
                    </a:lnTo>
                    <a:lnTo>
                      <a:pt x="9" y="290"/>
                    </a:lnTo>
                    <a:lnTo>
                      <a:pt x="7" y="297"/>
                    </a:lnTo>
                    <a:lnTo>
                      <a:pt x="9" y="306"/>
                    </a:lnTo>
                    <a:lnTo>
                      <a:pt x="9" y="307"/>
                    </a:lnTo>
                    <a:lnTo>
                      <a:pt x="10" y="311"/>
                    </a:lnTo>
                    <a:lnTo>
                      <a:pt x="9" y="318"/>
                    </a:lnTo>
                    <a:lnTo>
                      <a:pt x="10" y="320"/>
                    </a:lnTo>
                    <a:lnTo>
                      <a:pt x="12" y="324"/>
                    </a:lnTo>
                    <a:lnTo>
                      <a:pt x="14" y="331"/>
                    </a:lnTo>
                    <a:lnTo>
                      <a:pt x="16" y="334"/>
                    </a:lnTo>
                    <a:lnTo>
                      <a:pt x="17" y="334"/>
                    </a:lnTo>
                    <a:lnTo>
                      <a:pt x="17" y="336"/>
                    </a:lnTo>
                    <a:lnTo>
                      <a:pt x="16" y="334"/>
                    </a:lnTo>
                    <a:lnTo>
                      <a:pt x="14" y="334"/>
                    </a:lnTo>
                    <a:lnTo>
                      <a:pt x="14" y="336"/>
                    </a:lnTo>
                    <a:lnTo>
                      <a:pt x="14" y="338"/>
                    </a:lnTo>
                    <a:lnTo>
                      <a:pt x="12" y="340"/>
                    </a:lnTo>
                    <a:lnTo>
                      <a:pt x="14" y="341"/>
                    </a:lnTo>
                    <a:lnTo>
                      <a:pt x="14" y="347"/>
                    </a:lnTo>
                    <a:lnTo>
                      <a:pt x="12" y="350"/>
                    </a:lnTo>
                    <a:lnTo>
                      <a:pt x="10" y="350"/>
                    </a:lnTo>
                    <a:lnTo>
                      <a:pt x="10" y="354"/>
                    </a:lnTo>
                    <a:lnTo>
                      <a:pt x="10" y="356"/>
                    </a:lnTo>
                    <a:lnTo>
                      <a:pt x="12" y="356"/>
                    </a:lnTo>
                    <a:lnTo>
                      <a:pt x="10" y="357"/>
                    </a:lnTo>
                    <a:lnTo>
                      <a:pt x="12" y="359"/>
                    </a:lnTo>
                    <a:lnTo>
                      <a:pt x="14" y="361"/>
                    </a:lnTo>
                    <a:lnTo>
                      <a:pt x="14" y="361"/>
                    </a:lnTo>
                    <a:lnTo>
                      <a:pt x="12" y="363"/>
                    </a:lnTo>
                    <a:lnTo>
                      <a:pt x="12" y="365"/>
                    </a:lnTo>
                    <a:lnTo>
                      <a:pt x="16" y="365"/>
                    </a:lnTo>
                    <a:lnTo>
                      <a:pt x="21" y="368"/>
                    </a:lnTo>
                    <a:lnTo>
                      <a:pt x="28" y="372"/>
                    </a:lnTo>
                    <a:lnTo>
                      <a:pt x="30" y="372"/>
                    </a:lnTo>
                    <a:lnTo>
                      <a:pt x="28" y="375"/>
                    </a:lnTo>
                    <a:lnTo>
                      <a:pt x="32" y="377"/>
                    </a:lnTo>
                    <a:lnTo>
                      <a:pt x="35" y="374"/>
                    </a:lnTo>
                    <a:lnTo>
                      <a:pt x="35" y="375"/>
                    </a:lnTo>
                    <a:lnTo>
                      <a:pt x="35" y="379"/>
                    </a:lnTo>
                    <a:lnTo>
                      <a:pt x="39" y="382"/>
                    </a:lnTo>
                    <a:lnTo>
                      <a:pt x="39" y="384"/>
                    </a:lnTo>
                    <a:lnTo>
                      <a:pt x="41" y="386"/>
                    </a:lnTo>
                    <a:lnTo>
                      <a:pt x="39" y="388"/>
                    </a:lnTo>
                    <a:lnTo>
                      <a:pt x="37" y="390"/>
                    </a:lnTo>
                    <a:lnTo>
                      <a:pt x="39" y="390"/>
                    </a:lnTo>
                    <a:lnTo>
                      <a:pt x="41" y="388"/>
                    </a:lnTo>
                    <a:lnTo>
                      <a:pt x="44" y="382"/>
                    </a:lnTo>
                    <a:lnTo>
                      <a:pt x="44" y="384"/>
                    </a:lnTo>
                    <a:lnTo>
                      <a:pt x="44" y="386"/>
                    </a:lnTo>
                    <a:lnTo>
                      <a:pt x="46" y="386"/>
                    </a:lnTo>
                    <a:lnTo>
                      <a:pt x="53" y="382"/>
                    </a:lnTo>
                    <a:lnTo>
                      <a:pt x="55" y="382"/>
                    </a:lnTo>
                    <a:lnTo>
                      <a:pt x="59" y="382"/>
                    </a:lnTo>
                    <a:lnTo>
                      <a:pt x="59" y="384"/>
                    </a:lnTo>
                    <a:lnTo>
                      <a:pt x="60" y="384"/>
                    </a:lnTo>
                    <a:lnTo>
                      <a:pt x="66" y="379"/>
                    </a:lnTo>
                    <a:lnTo>
                      <a:pt x="67" y="379"/>
                    </a:lnTo>
                    <a:lnTo>
                      <a:pt x="69" y="379"/>
                    </a:lnTo>
                    <a:lnTo>
                      <a:pt x="73" y="377"/>
                    </a:lnTo>
                    <a:lnTo>
                      <a:pt x="76" y="377"/>
                    </a:lnTo>
                    <a:lnTo>
                      <a:pt x="78" y="372"/>
                    </a:lnTo>
                    <a:lnTo>
                      <a:pt x="80" y="375"/>
                    </a:lnTo>
                    <a:lnTo>
                      <a:pt x="85" y="374"/>
                    </a:lnTo>
                    <a:lnTo>
                      <a:pt x="85" y="370"/>
                    </a:lnTo>
                    <a:lnTo>
                      <a:pt x="85" y="370"/>
                    </a:lnTo>
                    <a:lnTo>
                      <a:pt x="87" y="372"/>
                    </a:lnTo>
                    <a:lnTo>
                      <a:pt x="89" y="372"/>
                    </a:lnTo>
                    <a:lnTo>
                      <a:pt x="91" y="370"/>
                    </a:lnTo>
                    <a:lnTo>
                      <a:pt x="96" y="370"/>
                    </a:lnTo>
                    <a:lnTo>
                      <a:pt x="103" y="366"/>
                    </a:lnTo>
                    <a:lnTo>
                      <a:pt x="105" y="368"/>
                    </a:lnTo>
                    <a:lnTo>
                      <a:pt x="110" y="368"/>
                    </a:lnTo>
                    <a:lnTo>
                      <a:pt x="112" y="368"/>
                    </a:lnTo>
                    <a:lnTo>
                      <a:pt x="114" y="366"/>
                    </a:lnTo>
                    <a:lnTo>
                      <a:pt x="114" y="366"/>
                    </a:lnTo>
                    <a:lnTo>
                      <a:pt x="164" y="311"/>
                    </a:lnTo>
                    <a:lnTo>
                      <a:pt x="173" y="295"/>
                    </a:lnTo>
                    <a:lnTo>
                      <a:pt x="173" y="284"/>
                    </a:lnTo>
                    <a:lnTo>
                      <a:pt x="173" y="286"/>
                    </a:lnTo>
                    <a:lnTo>
                      <a:pt x="169" y="281"/>
                    </a:lnTo>
                    <a:lnTo>
                      <a:pt x="167" y="275"/>
                    </a:lnTo>
                    <a:lnTo>
                      <a:pt x="159" y="268"/>
                    </a:lnTo>
                    <a:lnTo>
                      <a:pt x="157" y="265"/>
                    </a:lnTo>
                    <a:lnTo>
                      <a:pt x="155" y="259"/>
                    </a:lnTo>
                    <a:lnTo>
                      <a:pt x="160" y="245"/>
                    </a:lnTo>
                    <a:lnTo>
                      <a:pt x="160" y="240"/>
                    </a:lnTo>
                    <a:lnTo>
                      <a:pt x="157" y="236"/>
                    </a:lnTo>
                    <a:lnTo>
                      <a:pt x="153" y="231"/>
                    </a:lnTo>
                    <a:lnTo>
                      <a:pt x="155" y="225"/>
                    </a:lnTo>
                    <a:lnTo>
                      <a:pt x="151" y="220"/>
                    </a:lnTo>
                    <a:lnTo>
                      <a:pt x="148" y="218"/>
                    </a:lnTo>
                    <a:lnTo>
                      <a:pt x="148" y="213"/>
                    </a:lnTo>
                    <a:lnTo>
                      <a:pt x="150" y="209"/>
                    </a:lnTo>
                    <a:lnTo>
                      <a:pt x="148" y="204"/>
                    </a:lnTo>
                    <a:lnTo>
                      <a:pt x="148" y="200"/>
                    </a:lnTo>
                    <a:lnTo>
                      <a:pt x="150" y="190"/>
                    </a:lnTo>
                    <a:lnTo>
                      <a:pt x="153" y="186"/>
                    </a:lnTo>
                    <a:lnTo>
                      <a:pt x="139" y="143"/>
                    </a:lnTo>
                    <a:lnTo>
                      <a:pt x="139" y="136"/>
                    </a:lnTo>
                    <a:lnTo>
                      <a:pt x="151" y="109"/>
                    </a:lnTo>
                    <a:lnTo>
                      <a:pt x="150" y="102"/>
                    </a:lnTo>
                    <a:lnTo>
                      <a:pt x="142" y="88"/>
                    </a:lnTo>
                    <a:lnTo>
                      <a:pt x="137" y="86"/>
                    </a:lnTo>
                    <a:lnTo>
                      <a:pt x="134" y="84"/>
                    </a:lnTo>
                    <a:lnTo>
                      <a:pt x="130" y="82"/>
                    </a:lnTo>
                    <a:lnTo>
                      <a:pt x="128" y="81"/>
                    </a:lnTo>
                    <a:lnTo>
                      <a:pt x="126" y="68"/>
                    </a:lnTo>
                    <a:lnTo>
                      <a:pt x="130" y="56"/>
                    </a:lnTo>
                    <a:lnTo>
                      <a:pt x="130" y="56"/>
                    </a:lnTo>
                    <a:lnTo>
                      <a:pt x="128" y="54"/>
                    </a:lnTo>
                    <a:lnTo>
                      <a:pt x="137" y="45"/>
                    </a:lnTo>
                    <a:lnTo>
                      <a:pt x="134" y="43"/>
                    </a:lnTo>
                    <a:lnTo>
                      <a:pt x="134" y="40"/>
                    </a:lnTo>
                    <a:lnTo>
                      <a:pt x="135" y="36"/>
                    </a:lnTo>
                    <a:lnTo>
                      <a:pt x="141" y="29"/>
                    </a:lnTo>
                    <a:lnTo>
                      <a:pt x="137" y="16"/>
                    </a:lnTo>
                    <a:lnTo>
                      <a:pt x="132" y="11"/>
                    </a:lnTo>
                    <a:lnTo>
                      <a:pt x="128" y="9"/>
                    </a:lnTo>
                    <a:lnTo>
                      <a:pt x="125" y="7"/>
                    </a:lnTo>
                    <a:lnTo>
                      <a:pt x="121" y="0"/>
                    </a:lnTo>
                    <a:lnTo>
                      <a:pt x="119" y="0"/>
                    </a:lnTo>
                    <a:lnTo>
                      <a:pt x="94" y="7"/>
                    </a:lnTo>
                    <a:lnTo>
                      <a:pt x="91" y="9"/>
                    </a:lnTo>
                    <a:lnTo>
                      <a:pt x="87" y="13"/>
                    </a:lnTo>
                    <a:lnTo>
                      <a:pt x="84" y="22"/>
                    </a:lnTo>
                    <a:lnTo>
                      <a:pt x="84" y="49"/>
                    </a:lnTo>
                    <a:lnTo>
                      <a:pt x="75" y="54"/>
                    </a:lnTo>
                    <a:lnTo>
                      <a:pt x="73" y="57"/>
                    </a:lnTo>
                    <a:lnTo>
                      <a:pt x="66" y="63"/>
                    </a:lnTo>
                    <a:lnTo>
                      <a:pt x="62" y="63"/>
                    </a:lnTo>
                    <a:lnTo>
                      <a:pt x="59" y="56"/>
                    </a:lnTo>
                    <a:lnTo>
                      <a:pt x="55" y="54"/>
                    </a:lnTo>
                    <a:lnTo>
                      <a:pt x="50" y="59"/>
                    </a:lnTo>
                    <a:lnTo>
                      <a:pt x="46" y="63"/>
                    </a:lnTo>
                    <a:lnTo>
                      <a:pt x="42" y="63"/>
                    </a:lnTo>
                    <a:lnTo>
                      <a:pt x="37" y="61"/>
                    </a:lnTo>
                    <a:lnTo>
                      <a:pt x="30" y="59"/>
                    </a:lnTo>
                    <a:lnTo>
                      <a:pt x="28" y="57"/>
                    </a:lnTo>
                    <a:lnTo>
                      <a:pt x="28" y="50"/>
                    </a:lnTo>
                    <a:lnTo>
                      <a:pt x="16" y="34"/>
                    </a:lnTo>
                    <a:lnTo>
                      <a:pt x="12" y="32"/>
                    </a:lnTo>
                    <a:lnTo>
                      <a:pt x="9" y="36"/>
                    </a:lnTo>
                    <a:lnTo>
                      <a:pt x="9" y="41"/>
                    </a:lnTo>
                    <a:lnTo>
                      <a:pt x="7" y="43"/>
                    </a:lnTo>
                    <a:lnTo>
                      <a:pt x="3" y="41"/>
                    </a:lnTo>
                    <a:lnTo>
                      <a:pt x="1" y="43"/>
                    </a:lnTo>
                    <a:lnTo>
                      <a:pt x="0" y="4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82" name="Freeform 1930"/>
              <p:cNvSpPr>
                <a:spLocks/>
              </p:cNvSpPr>
              <p:nvPr/>
            </p:nvSpPr>
            <p:spPr bwMode="auto">
              <a:xfrm>
                <a:off x="3025" y="1125"/>
                <a:ext cx="173" cy="390"/>
              </a:xfrm>
              <a:custGeom>
                <a:avLst/>
                <a:gdLst>
                  <a:gd name="T0" fmla="*/ 23 w 173"/>
                  <a:gd name="T1" fmla="*/ 68 h 390"/>
                  <a:gd name="T2" fmla="*/ 46 w 173"/>
                  <a:gd name="T3" fmla="*/ 104 h 390"/>
                  <a:gd name="T4" fmla="*/ 48 w 173"/>
                  <a:gd name="T5" fmla="*/ 127 h 390"/>
                  <a:gd name="T6" fmla="*/ 51 w 173"/>
                  <a:gd name="T7" fmla="*/ 156 h 390"/>
                  <a:gd name="T8" fmla="*/ 59 w 173"/>
                  <a:gd name="T9" fmla="*/ 179 h 390"/>
                  <a:gd name="T10" fmla="*/ 66 w 173"/>
                  <a:gd name="T11" fmla="*/ 181 h 390"/>
                  <a:gd name="T12" fmla="*/ 76 w 173"/>
                  <a:gd name="T13" fmla="*/ 199 h 390"/>
                  <a:gd name="T14" fmla="*/ 76 w 173"/>
                  <a:gd name="T15" fmla="*/ 215 h 390"/>
                  <a:gd name="T16" fmla="*/ 66 w 173"/>
                  <a:gd name="T17" fmla="*/ 220 h 390"/>
                  <a:gd name="T18" fmla="*/ 30 w 173"/>
                  <a:gd name="T19" fmla="*/ 272 h 390"/>
                  <a:gd name="T20" fmla="*/ 17 w 173"/>
                  <a:gd name="T21" fmla="*/ 277 h 390"/>
                  <a:gd name="T22" fmla="*/ 12 w 173"/>
                  <a:gd name="T23" fmla="*/ 284 h 390"/>
                  <a:gd name="T24" fmla="*/ 9 w 173"/>
                  <a:gd name="T25" fmla="*/ 290 h 390"/>
                  <a:gd name="T26" fmla="*/ 10 w 173"/>
                  <a:gd name="T27" fmla="*/ 311 h 390"/>
                  <a:gd name="T28" fmla="*/ 14 w 173"/>
                  <a:gd name="T29" fmla="*/ 331 h 390"/>
                  <a:gd name="T30" fmla="*/ 16 w 173"/>
                  <a:gd name="T31" fmla="*/ 334 h 390"/>
                  <a:gd name="T32" fmla="*/ 12 w 173"/>
                  <a:gd name="T33" fmla="*/ 340 h 390"/>
                  <a:gd name="T34" fmla="*/ 10 w 173"/>
                  <a:gd name="T35" fmla="*/ 350 h 390"/>
                  <a:gd name="T36" fmla="*/ 10 w 173"/>
                  <a:gd name="T37" fmla="*/ 357 h 390"/>
                  <a:gd name="T38" fmla="*/ 12 w 173"/>
                  <a:gd name="T39" fmla="*/ 363 h 390"/>
                  <a:gd name="T40" fmla="*/ 28 w 173"/>
                  <a:gd name="T41" fmla="*/ 372 h 390"/>
                  <a:gd name="T42" fmla="*/ 35 w 173"/>
                  <a:gd name="T43" fmla="*/ 374 h 390"/>
                  <a:gd name="T44" fmla="*/ 39 w 173"/>
                  <a:gd name="T45" fmla="*/ 384 h 390"/>
                  <a:gd name="T46" fmla="*/ 39 w 173"/>
                  <a:gd name="T47" fmla="*/ 390 h 390"/>
                  <a:gd name="T48" fmla="*/ 44 w 173"/>
                  <a:gd name="T49" fmla="*/ 386 h 390"/>
                  <a:gd name="T50" fmla="*/ 59 w 173"/>
                  <a:gd name="T51" fmla="*/ 382 h 390"/>
                  <a:gd name="T52" fmla="*/ 67 w 173"/>
                  <a:gd name="T53" fmla="*/ 379 h 390"/>
                  <a:gd name="T54" fmla="*/ 78 w 173"/>
                  <a:gd name="T55" fmla="*/ 372 h 390"/>
                  <a:gd name="T56" fmla="*/ 85 w 173"/>
                  <a:gd name="T57" fmla="*/ 370 h 390"/>
                  <a:gd name="T58" fmla="*/ 96 w 173"/>
                  <a:gd name="T59" fmla="*/ 370 h 390"/>
                  <a:gd name="T60" fmla="*/ 112 w 173"/>
                  <a:gd name="T61" fmla="*/ 368 h 390"/>
                  <a:gd name="T62" fmla="*/ 173 w 173"/>
                  <a:gd name="T63" fmla="*/ 295 h 390"/>
                  <a:gd name="T64" fmla="*/ 167 w 173"/>
                  <a:gd name="T65" fmla="*/ 275 h 390"/>
                  <a:gd name="T66" fmla="*/ 160 w 173"/>
                  <a:gd name="T67" fmla="*/ 245 h 390"/>
                  <a:gd name="T68" fmla="*/ 155 w 173"/>
                  <a:gd name="T69" fmla="*/ 225 h 390"/>
                  <a:gd name="T70" fmla="*/ 150 w 173"/>
                  <a:gd name="T71" fmla="*/ 209 h 390"/>
                  <a:gd name="T72" fmla="*/ 153 w 173"/>
                  <a:gd name="T73" fmla="*/ 186 h 390"/>
                  <a:gd name="T74" fmla="*/ 150 w 173"/>
                  <a:gd name="T75" fmla="*/ 102 h 390"/>
                  <a:gd name="T76" fmla="*/ 130 w 173"/>
                  <a:gd name="T77" fmla="*/ 82 h 390"/>
                  <a:gd name="T78" fmla="*/ 130 w 173"/>
                  <a:gd name="T79" fmla="*/ 56 h 390"/>
                  <a:gd name="T80" fmla="*/ 134 w 173"/>
                  <a:gd name="T81" fmla="*/ 40 h 390"/>
                  <a:gd name="T82" fmla="*/ 132 w 173"/>
                  <a:gd name="T83" fmla="*/ 11 h 390"/>
                  <a:gd name="T84" fmla="*/ 119 w 173"/>
                  <a:gd name="T85" fmla="*/ 0 h 390"/>
                  <a:gd name="T86" fmla="*/ 84 w 173"/>
                  <a:gd name="T87" fmla="*/ 22 h 390"/>
                  <a:gd name="T88" fmla="*/ 66 w 173"/>
                  <a:gd name="T89" fmla="*/ 63 h 390"/>
                  <a:gd name="T90" fmla="*/ 50 w 173"/>
                  <a:gd name="T91" fmla="*/ 59 h 390"/>
                  <a:gd name="T92" fmla="*/ 30 w 173"/>
                  <a:gd name="T93" fmla="*/ 59 h 390"/>
                  <a:gd name="T94" fmla="*/ 12 w 173"/>
                  <a:gd name="T95" fmla="*/ 32 h 390"/>
                  <a:gd name="T96" fmla="*/ 3 w 173"/>
                  <a:gd name="T97" fmla="*/ 4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3" h="390">
                    <a:moveTo>
                      <a:pt x="0" y="45"/>
                    </a:moveTo>
                    <a:lnTo>
                      <a:pt x="1" y="45"/>
                    </a:lnTo>
                    <a:lnTo>
                      <a:pt x="1" y="47"/>
                    </a:lnTo>
                    <a:lnTo>
                      <a:pt x="23" y="68"/>
                    </a:lnTo>
                    <a:lnTo>
                      <a:pt x="34" y="72"/>
                    </a:lnTo>
                    <a:lnTo>
                      <a:pt x="39" y="77"/>
                    </a:lnTo>
                    <a:lnTo>
                      <a:pt x="48" y="95"/>
                    </a:lnTo>
                    <a:lnTo>
                      <a:pt x="46" y="104"/>
                    </a:lnTo>
                    <a:lnTo>
                      <a:pt x="48" y="115"/>
                    </a:lnTo>
                    <a:lnTo>
                      <a:pt x="48" y="116"/>
                    </a:lnTo>
                    <a:lnTo>
                      <a:pt x="50" y="120"/>
                    </a:lnTo>
                    <a:lnTo>
                      <a:pt x="48" y="127"/>
                    </a:lnTo>
                    <a:lnTo>
                      <a:pt x="48" y="131"/>
                    </a:lnTo>
                    <a:lnTo>
                      <a:pt x="55" y="145"/>
                    </a:lnTo>
                    <a:lnTo>
                      <a:pt x="53" y="150"/>
                    </a:lnTo>
                    <a:lnTo>
                      <a:pt x="51" y="156"/>
                    </a:lnTo>
                    <a:lnTo>
                      <a:pt x="50" y="161"/>
                    </a:lnTo>
                    <a:lnTo>
                      <a:pt x="55" y="175"/>
                    </a:lnTo>
                    <a:lnTo>
                      <a:pt x="59" y="179"/>
                    </a:lnTo>
                    <a:lnTo>
                      <a:pt x="59" y="179"/>
                    </a:lnTo>
                    <a:lnTo>
                      <a:pt x="60" y="181"/>
                    </a:lnTo>
                    <a:lnTo>
                      <a:pt x="62" y="182"/>
                    </a:lnTo>
                    <a:lnTo>
                      <a:pt x="64" y="181"/>
                    </a:lnTo>
                    <a:lnTo>
                      <a:pt x="66" y="181"/>
                    </a:lnTo>
                    <a:lnTo>
                      <a:pt x="66" y="186"/>
                    </a:lnTo>
                    <a:lnTo>
                      <a:pt x="71" y="188"/>
                    </a:lnTo>
                    <a:lnTo>
                      <a:pt x="75" y="195"/>
                    </a:lnTo>
                    <a:lnTo>
                      <a:pt x="76" y="199"/>
                    </a:lnTo>
                    <a:lnTo>
                      <a:pt x="76" y="207"/>
                    </a:lnTo>
                    <a:lnTo>
                      <a:pt x="80" y="213"/>
                    </a:lnTo>
                    <a:lnTo>
                      <a:pt x="76" y="213"/>
                    </a:lnTo>
                    <a:lnTo>
                      <a:pt x="76" y="215"/>
                    </a:lnTo>
                    <a:lnTo>
                      <a:pt x="76" y="218"/>
                    </a:lnTo>
                    <a:lnTo>
                      <a:pt x="73" y="216"/>
                    </a:lnTo>
                    <a:lnTo>
                      <a:pt x="71" y="216"/>
                    </a:lnTo>
                    <a:lnTo>
                      <a:pt x="66" y="220"/>
                    </a:lnTo>
                    <a:lnTo>
                      <a:pt x="62" y="229"/>
                    </a:lnTo>
                    <a:lnTo>
                      <a:pt x="35" y="268"/>
                    </a:lnTo>
                    <a:lnTo>
                      <a:pt x="32" y="270"/>
                    </a:lnTo>
                    <a:lnTo>
                      <a:pt x="30" y="272"/>
                    </a:lnTo>
                    <a:lnTo>
                      <a:pt x="28" y="274"/>
                    </a:lnTo>
                    <a:lnTo>
                      <a:pt x="26" y="277"/>
                    </a:lnTo>
                    <a:lnTo>
                      <a:pt x="21" y="277"/>
                    </a:lnTo>
                    <a:lnTo>
                      <a:pt x="17" y="277"/>
                    </a:lnTo>
                    <a:lnTo>
                      <a:pt x="16" y="281"/>
                    </a:lnTo>
                    <a:lnTo>
                      <a:pt x="19" y="282"/>
                    </a:lnTo>
                    <a:lnTo>
                      <a:pt x="17" y="284"/>
                    </a:lnTo>
                    <a:lnTo>
                      <a:pt x="12" y="284"/>
                    </a:lnTo>
                    <a:lnTo>
                      <a:pt x="12" y="286"/>
                    </a:lnTo>
                    <a:lnTo>
                      <a:pt x="12" y="288"/>
                    </a:lnTo>
                    <a:lnTo>
                      <a:pt x="10" y="288"/>
                    </a:lnTo>
                    <a:lnTo>
                      <a:pt x="9" y="290"/>
                    </a:lnTo>
                    <a:lnTo>
                      <a:pt x="7" y="297"/>
                    </a:lnTo>
                    <a:lnTo>
                      <a:pt x="9" y="306"/>
                    </a:lnTo>
                    <a:lnTo>
                      <a:pt x="9" y="307"/>
                    </a:lnTo>
                    <a:lnTo>
                      <a:pt x="10" y="311"/>
                    </a:lnTo>
                    <a:lnTo>
                      <a:pt x="9" y="318"/>
                    </a:lnTo>
                    <a:lnTo>
                      <a:pt x="10" y="320"/>
                    </a:lnTo>
                    <a:lnTo>
                      <a:pt x="12" y="324"/>
                    </a:lnTo>
                    <a:lnTo>
                      <a:pt x="14" y="331"/>
                    </a:lnTo>
                    <a:lnTo>
                      <a:pt x="16" y="334"/>
                    </a:lnTo>
                    <a:lnTo>
                      <a:pt x="17" y="334"/>
                    </a:lnTo>
                    <a:lnTo>
                      <a:pt x="17" y="336"/>
                    </a:lnTo>
                    <a:lnTo>
                      <a:pt x="16" y="334"/>
                    </a:lnTo>
                    <a:lnTo>
                      <a:pt x="14" y="334"/>
                    </a:lnTo>
                    <a:lnTo>
                      <a:pt x="14" y="336"/>
                    </a:lnTo>
                    <a:lnTo>
                      <a:pt x="14" y="338"/>
                    </a:lnTo>
                    <a:lnTo>
                      <a:pt x="12" y="340"/>
                    </a:lnTo>
                    <a:lnTo>
                      <a:pt x="14" y="341"/>
                    </a:lnTo>
                    <a:lnTo>
                      <a:pt x="14" y="347"/>
                    </a:lnTo>
                    <a:lnTo>
                      <a:pt x="12" y="350"/>
                    </a:lnTo>
                    <a:lnTo>
                      <a:pt x="10" y="350"/>
                    </a:lnTo>
                    <a:lnTo>
                      <a:pt x="10" y="354"/>
                    </a:lnTo>
                    <a:lnTo>
                      <a:pt x="10" y="356"/>
                    </a:lnTo>
                    <a:lnTo>
                      <a:pt x="12" y="356"/>
                    </a:lnTo>
                    <a:lnTo>
                      <a:pt x="10" y="357"/>
                    </a:lnTo>
                    <a:lnTo>
                      <a:pt x="12" y="359"/>
                    </a:lnTo>
                    <a:lnTo>
                      <a:pt x="14" y="361"/>
                    </a:lnTo>
                    <a:lnTo>
                      <a:pt x="14" y="361"/>
                    </a:lnTo>
                    <a:lnTo>
                      <a:pt x="12" y="363"/>
                    </a:lnTo>
                    <a:lnTo>
                      <a:pt x="12" y="365"/>
                    </a:lnTo>
                    <a:lnTo>
                      <a:pt x="16" y="365"/>
                    </a:lnTo>
                    <a:lnTo>
                      <a:pt x="21" y="368"/>
                    </a:lnTo>
                    <a:lnTo>
                      <a:pt x="28" y="372"/>
                    </a:lnTo>
                    <a:lnTo>
                      <a:pt x="30" y="372"/>
                    </a:lnTo>
                    <a:lnTo>
                      <a:pt x="28" y="375"/>
                    </a:lnTo>
                    <a:lnTo>
                      <a:pt x="32" y="377"/>
                    </a:lnTo>
                    <a:lnTo>
                      <a:pt x="35" y="374"/>
                    </a:lnTo>
                    <a:lnTo>
                      <a:pt x="35" y="375"/>
                    </a:lnTo>
                    <a:lnTo>
                      <a:pt x="35" y="379"/>
                    </a:lnTo>
                    <a:lnTo>
                      <a:pt x="39" y="382"/>
                    </a:lnTo>
                    <a:lnTo>
                      <a:pt x="39" y="384"/>
                    </a:lnTo>
                    <a:lnTo>
                      <a:pt x="41" y="386"/>
                    </a:lnTo>
                    <a:lnTo>
                      <a:pt x="39" y="388"/>
                    </a:lnTo>
                    <a:lnTo>
                      <a:pt x="37" y="390"/>
                    </a:lnTo>
                    <a:lnTo>
                      <a:pt x="39" y="390"/>
                    </a:lnTo>
                    <a:lnTo>
                      <a:pt x="41" y="388"/>
                    </a:lnTo>
                    <a:lnTo>
                      <a:pt x="44" y="382"/>
                    </a:lnTo>
                    <a:lnTo>
                      <a:pt x="44" y="384"/>
                    </a:lnTo>
                    <a:lnTo>
                      <a:pt x="44" y="386"/>
                    </a:lnTo>
                    <a:lnTo>
                      <a:pt x="46" y="386"/>
                    </a:lnTo>
                    <a:lnTo>
                      <a:pt x="53" y="382"/>
                    </a:lnTo>
                    <a:lnTo>
                      <a:pt x="55" y="382"/>
                    </a:lnTo>
                    <a:lnTo>
                      <a:pt x="59" y="382"/>
                    </a:lnTo>
                    <a:lnTo>
                      <a:pt x="59" y="384"/>
                    </a:lnTo>
                    <a:lnTo>
                      <a:pt x="60" y="384"/>
                    </a:lnTo>
                    <a:lnTo>
                      <a:pt x="66" y="379"/>
                    </a:lnTo>
                    <a:lnTo>
                      <a:pt x="67" y="379"/>
                    </a:lnTo>
                    <a:lnTo>
                      <a:pt x="69" y="379"/>
                    </a:lnTo>
                    <a:lnTo>
                      <a:pt x="73" y="377"/>
                    </a:lnTo>
                    <a:lnTo>
                      <a:pt x="76" y="377"/>
                    </a:lnTo>
                    <a:lnTo>
                      <a:pt x="78" y="372"/>
                    </a:lnTo>
                    <a:lnTo>
                      <a:pt x="80" y="375"/>
                    </a:lnTo>
                    <a:lnTo>
                      <a:pt x="85" y="374"/>
                    </a:lnTo>
                    <a:lnTo>
                      <a:pt x="85" y="370"/>
                    </a:lnTo>
                    <a:lnTo>
                      <a:pt x="85" y="370"/>
                    </a:lnTo>
                    <a:lnTo>
                      <a:pt x="87" y="372"/>
                    </a:lnTo>
                    <a:lnTo>
                      <a:pt x="89" y="372"/>
                    </a:lnTo>
                    <a:lnTo>
                      <a:pt x="91" y="370"/>
                    </a:lnTo>
                    <a:lnTo>
                      <a:pt x="96" y="370"/>
                    </a:lnTo>
                    <a:lnTo>
                      <a:pt x="103" y="366"/>
                    </a:lnTo>
                    <a:lnTo>
                      <a:pt x="105" y="368"/>
                    </a:lnTo>
                    <a:lnTo>
                      <a:pt x="110" y="368"/>
                    </a:lnTo>
                    <a:lnTo>
                      <a:pt x="112" y="368"/>
                    </a:lnTo>
                    <a:lnTo>
                      <a:pt x="114" y="366"/>
                    </a:lnTo>
                    <a:lnTo>
                      <a:pt x="114" y="366"/>
                    </a:lnTo>
                    <a:lnTo>
                      <a:pt x="164" y="311"/>
                    </a:lnTo>
                    <a:lnTo>
                      <a:pt x="173" y="295"/>
                    </a:lnTo>
                    <a:lnTo>
                      <a:pt x="173" y="284"/>
                    </a:lnTo>
                    <a:lnTo>
                      <a:pt x="173" y="286"/>
                    </a:lnTo>
                    <a:lnTo>
                      <a:pt x="169" y="281"/>
                    </a:lnTo>
                    <a:lnTo>
                      <a:pt x="167" y="275"/>
                    </a:lnTo>
                    <a:lnTo>
                      <a:pt x="159" y="268"/>
                    </a:lnTo>
                    <a:lnTo>
                      <a:pt x="157" y="265"/>
                    </a:lnTo>
                    <a:lnTo>
                      <a:pt x="155" y="259"/>
                    </a:lnTo>
                    <a:lnTo>
                      <a:pt x="160" y="245"/>
                    </a:lnTo>
                    <a:lnTo>
                      <a:pt x="160" y="240"/>
                    </a:lnTo>
                    <a:lnTo>
                      <a:pt x="157" y="236"/>
                    </a:lnTo>
                    <a:lnTo>
                      <a:pt x="153" y="231"/>
                    </a:lnTo>
                    <a:lnTo>
                      <a:pt x="155" y="225"/>
                    </a:lnTo>
                    <a:lnTo>
                      <a:pt x="151" y="220"/>
                    </a:lnTo>
                    <a:lnTo>
                      <a:pt x="148" y="218"/>
                    </a:lnTo>
                    <a:lnTo>
                      <a:pt x="148" y="213"/>
                    </a:lnTo>
                    <a:lnTo>
                      <a:pt x="150" y="209"/>
                    </a:lnTo>
                    <a:lnTo>
                      <a:pt x="148" y="204"/>
                    </a:lnTo>
                    <a:lnTo>
                      <a:pt x="148" y="200"/>
                    </a:lnTo>
                    <a:lnTo>
                      <a:pt x="150" y="190"/>
                    </a:lnTo>
                    <a:lnTo>
                      <a:pt x="153" y="186"/>
                    </a:lnTo>
                    <a:lnTo>
                      <a:pt x="139" y="143"/>
                    </a:lnTo>
                    <a:lnTo>
                      <a:pt x="139" y="136"/>
                    </a:lnTo>
                    <a:lnTo>
                      <a:pt x="151" y="109"/>
                    </a:lnTo>
                    <a:lnTo>
                      <a:pt x="150" y="102"/>
                    </a:lnTo>
                    <a:lnTo>
                      <a:pt x="142" y="88"/>
                    </a:lnTo>
                    <a:lnTo>
                      <a:pt x="137" y="86"/>
                    </a:lnTo>
                    <a:lnTo>
                      <a:pt x="134" y="84"/>
                    </a:lnTo>
                    <a:lnTo>
                      <a:pt x="130" y="82"/>
                    </a:lnTo>
                    <a:lnTo>
                      <a:pt x="128" y="81"/>
                    </a:lnTo>
                    <a:lnTo>
                      <a:pt x="126" y="68"/>
                    </a:lnTo>
                    <a:lnTo>
                      <a:pt x="130" y="56"/>
                    </a:lnTo>
                    <a:lnTo>
                      <a:pt x="130" y="56"/>
                    </a:lnTo>
                    <a:lnTo>
                      <a:pt x="128" y="54"/>
                    </a:lnTo>
                    <a:lnTo>
                      <a:pt x="137" y="45"/>
                    </a:lnTo>
                    <a:lnTo>
                      <a:pt x="134" y="43"/>
                    </a:lnTo>
                    <a:lnTo>
                      <a:pt x="134" y="40"/>
                    </a:lnTo>
                    <a:lnTo>
                      <a:pt x="135" y="36"/>
                    </a:lnTo>
                    <a:lnTo>
                      <a:pt x="141" y="29"/>
                    </a:lnTo>
                    <a:lnTo>
                      <a:pt x="137" y="16"/>
                    </a:lnTo>
                    <a:lnTo>
                      <a:pt x="132" y="11"/>
                    </a:lnTo>
                    <a:lnTo>
                      <a:pt x="128" y="9"/>
                    </a:lnTo>
                    <a:lnTo>
                      <a:pt x="125" y="7"/>
                    </a:lnTo>
                    <a:lnTo>
                      <a:pt x="121" y="0"/>
                    </a:lnTo>
                    <a:lnTo>
                      <a:pt x="119" y="0"/>
                    </a:lnTo>
                    <a:lnTo>
                      <a:pt x="94" y="7"/>
                    </a:lnTo>
                    <a:lnTo>
                      <a:pt x="91" y="9"/>
                    </a:lnTo>
                    <a:lnTo>
                      <a:pt x="87" y="13"/>
                    </a:lnTo>
                    <a:lnTo>
                      <a:pt x="84" y="22"/>
                    </a:lnTo>
                    <a:lnTo>
                      <a:pt x="84" y="49"/>
                    </a:lnTo>
                    <a:lnTo>
                      <a:pt x="75" y="54"/>
                    </a:lnTo>
                    <a:lnTo>
                      <a:pt x="73" y="57"/>
                    </a:lnTo>
                    <a:lnTo>
                      <a:pt x="66" y="63"/>
                    </a:lnTo>
                    <a:lnTo>
                      <a:pt x="62" y="63"/>
                    </a:lnTo>
                    <a:lnTo>
                      <a:pt x="59" y="56"/>
                    </a:lnTo>
                    <a:lnTo>
                      <a:pt x="55" y="54"/>
                    </a:lnTo>
                    <a:lnTo>
                      <a:pt x="50" y="59"/>
                    </a:lnTo>
                    <a:lnTo>
                      <a:pt x="46" y="63"/>
                    </a:lnTo>
                    <a:lnTo>
                      <a:pt x="42" y="63"/>
                    </a:lnTo>
                    <a:lnTo>
                      <a:pt x="37" y="61"/>
                    </a:lnTo>
                    <a:lnTo>
                      <a:pt x="30" y="59"/>
                    </a:lnTo>
                    <a:lnTo>
                      <a:pt x="28" y="57"/>
                    </a:lnTo>
                    <a:lnTo>
                      <a:pt x="28" y="50"/>
                    </a:lnTo>
                    <a:lnTo>
                      <a:pt x="16" y="34"/>
                    </a:lnTo>
                    <a:lnTo>
                      <a:pt x="12" y="32"/>
                    </a:lnTo>
                    <a:lnTo>
                      <a:pt x="9" y="36"/>
                    </a:lnTo>
                    <a:lnTo>
                      <a:pt x="9" y="41"/>
                    </a:lnTo>
                    <a:lnTo>
                      <a:pt x="7" y="43"/>
                    </a:lnTo>
                    <a:lnTo>
                      <a:pt x="3" y="41"/>
                    </a:lnTo>
                    <a:lnTo>
                      <a:pt x="1" y="43"/>
                    </a:lnTo>
                    <a:lnTo>
                      <a:pt x="0" y="4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83" name="Freeform 1931"/>
              <p:cNvSpPr>
                <a:spLocks/>
              </p:cNvSpPr>
              <p:nvPr/>
            </p:nvSpPr>
            <p:spPr bwMode="auto">
              <a:xfrm>
                <a:off x="2803" y="1861"/>
                <a:ext cx="189" cy="198"/>
              </a:xfrm>
              <a:custGeom>
                <a:avLst/>
                <a:gdLst>
                  <a:gd name="T0" fmla="*/ 59 w 189"/>
                  <a:gd name="T1" fmla="*/ 11 h 198"/>
                  <a:gd name="T2" fmla="*/ 54 w 189"/>
                  <a:gd name="T3" fmla="*/ 13 h 198"/>
                  <a:gd name="T4" fmla="*/ 54 w 189"/>
                  <a:gd name="T5" fmla="*/ 18 h 198"/>
                  <a:gd name="T6" fmla="*/ 41 w 189"/>
                  <a:gd name="T7" fmla="*/ 14 h 198"/>
                  <a:gd name="T8" fmla="*/ 38 w 189"/>
                  <a:gd name="T9" fmla="*/ 25 h 198"/>
                  <a:gd name="T10" fmla="*/ 32 w 189"/>
                  <a:gd name="T11" fmla="*/ 23 h 198"/>
                  <a:gd name="T12" fmla="*/ 23 w 189"/>
                  <a:gd name="T13" fmla="*/ 18 h 198"/>
                  <a:gd name="T14" fmla="*/ 18 w 189"/>
                  <a:gd name="T15" fmla="*/ 27 h 198"/>
                  <a:gd name="T16" fmla="*/ 6 w 189"/>
                  <a:gd name="T17" fmla="*/ 41 h 198"/>
                  <a:gd name="T18" fmla="*/ 0 w 189"/>
                  <a:gd name="T19" fmla="*/ 48 h 198"/>
                  <a:gd name="T20" fmla="*/ 4 w 189"/>
                  <a:gd name="T21" fmla="*/ 52 h 198"/>
                  <a:gd name="T22" fmla="*/ 4 w 189"/>
                  <a:gd name="T23" fmla="*/ 63 h 198"/>
                  <a:gd name="T24" fmla="*/ 15 w 189"/>
                  <a:gd name="T25" fmla="*/ 68 h 198"/>
                  <a:gd name="T26" fmla="*/ 15 w 189"/>
                  <a:gd name="T27" fmla="*/ 73 h 198"/>
                  <a:gd name="T28" fmla="*/ 23 w 189"/>
                  <a:gd name="T29" fmla="*/ 70 h 198"/>
                  <a:gd name="T30" fmla="*/ 29 w 189"/>
                  <a:gd name="T31" fmla="*/ 63 h 198"/>
                  <a:gd name="T32" fmla="*/ 56 w 189"/>
                  <a:gd name="T33" fmla="*/ 71 h 198"/>
                  <a:gd name="T34" fmla="*/ 72 w 189"/>
                  <a:gd name="T35" fmla="*/ 100 h 198"/>
                  <a:gd name="T36" fmla="*/ 77 w 189"/>
                  <a:gd name="T37" fmla="*/ 104 h 198"/>
                  <a:gd name="T38" fmla="*/ 86 w 189"/>
                  <a:gd name="T39" fmla="*/ 113 h 198"/>
                  <a:gd name="T40" fmla="*/ 113 w 189"/>
                  <a:gd name="T41" fmla="*/ 130 h 198"/>
                  <a:gd name="T42" fmla="*/ 123 w 189"/>
                  <a:gd name="T43" fmla="*/ 139 h 198"/>
                  <a:gd name="T44" fmla="*/ 129 w 189"/>
                  <a:gd name="T45" fmla="*/ 141 h 198"/>
                  <a:gd name="T46" fmla="*/ 132 w 189"/>
                  <a:gd name="T47" fmla="*/ 146 h 198"/>
                  <a:gd name="T48" fmla="*/ 138 w 189"/>
                  <a:gd name="T49" fmla="*/ 154 h 198"/>
                  <a:gd name="T50" fmla="*/ 143 w 189"/>
                  <a:gd name="T51" fmla="*/ 154 h 198"/>
                  <a:gd name="T52" fmla="*/ 148 w 189"/>
                  <a:gd name="T53" fmla="*/ 186 h 198"/>
                  <a:gd name="T54" fmla="*/ 145 w 189"/>
                  <a:gd name="T55" fmla="*/ 198 h 198"/>
                  <a:gd name="T56" fmla="*/ 150 w 189"/>
                  <a:gd name="T57" fmla="*/ 198 h 198"/>
                  <a:gd name="T58" fmla="*/ 157 w 189"/>
                  <a:gd name="T59" fmla="*/ 189 h 198"/>
                  <a:gd name="T60" fmla="*/ 159 w 189"/>
                  <a:gd name="T61" fmla="*/ 179 h 198"/>
                  <a:gd name="T62" fmla="*/ 166 w 189"/>
                  <a:gd name="T63" fmla="*/ 177 h 198"/>
                  <a:gd name="T64" fmla="*/ 163 w 189"/>
                  <a:gd name="T65" fmla="*/ 164 h 198"/>
                  <a:gd name="T66" fmla="*/ 159 w 189"/>
                  <a:gd name="T67" fmla="*/ 152 h 198"/>
                  <a:gd name="T68" fmla="*/ 173 w 189"/>
                  <a:gd name="T69" fmla="*/ 148 h 198"/>
                  <a:gd name="T70" fmla="*/ 186 w 189"/>
                  <a:gd name="T71" fmla="*/ 159 h 198"/>
                  <a:gd name="T72" fmla="*/ 181 w 189"/>
                  <a:gd name="T73" fmla="*/ 141 h 198"/>
                  <a:gd name="T74" fmla="*/ 150 w 189"/>
                  <a:gd name="T75" fmla="*/ 125 h 198"/>
                  <a:gd name="T76" fmla="*/ 147 w 189"/>
                  <a:gd name="T77" fmla="*/ 123 h 198"/>
                  <a:gd name="T78" fmla="*/ 152 w 189"/>
                  <a:gd name="T79" fmla="*/ 116 h 198"/>
                  <a:gd name="T80" fmla="*/ 145 w 189"/>
                  <a:gd name="T81" fmla="*/ 114 h 198"/>
                  <a:gd name="T82" fmla="*/ 136 w 189"/>
                  <a:gd name="T83" fmla="*/ 114 h 198"/>
                  <a:gd name="T84" fmla="*/ 129 w 189"/>
                  <a:gd name="T85" fmla="*/ 111 h 198"/>
                  <a:gd name="T86" fmla="*/ 118 w 189"/>
                  <a:gd name="T87" fmla="*/ 100 h 198"/>
                  <a:gd name="T88" fmla="*/ 107 w 189"/>
                  <a:gd name="T89" fmla="*/ 79 h 198"/>
                  <a:gd name="T90" fmla="*/ 89 w 189"/>
                  <a:gd name="T91" fmla="*/ 61 h 198"/>
                  <a:gd name="T92" fmla="*/ 93 w 189"/>
                  <a:gd name="T93" fmla="*/ 48 h 198"/>
                  <a:gd name="T94" fmla="*/ 89 w 189"/>
                  <a:gd name="T95" fmla="*/ 41 h 198"/>
                  <a:gd name="T96" fmla="*/ 93 w 189"/>
                  <a:gd name="T97" fmla="*/ 36 h 198"/>
                  <a:gd name="T98" fmla="*/ 107 w 189"/>
                  <a:gd name="T99" fmla="*/ 32 h 198"/>
                  <a:gd name="T100" fmla="*/ 113 w 189"/>
                  <a:gd name="T101" fmla="*/ 32 h 198"/>
                  <a:gd name="T102" fmla="*/ 113 w 189"/>
                  <a:gd name="T103" fmla="*/ 36 h 198"/>
                  <a:gd name="T104" fmla="*/ 116 w 189"/>
                  <a:gd name="T105" fmla="*/ 34 h 198"/>
                  <a:gd name="T106" fmla="*/ 113 w 189"/>
                  <a:gd name="T107" fmla="*/ 30 h 198"/>
                  <a:gd name="T108" fmla="*/ 111 w 189"/>
                  <a:gd name="T109" fmla="*/ 27 h 198"/>
                  <a:gd name="T110" fmla="*/ 109 w 189"/>
                  <a:gd name="T111" fmla="*/ 20 h 198"/>
                  <a:gd name="T112" fmla="*/ 109 w 189"/>
                  <a:gd name="T113" fmla="*/ 16 h 198"/>
                  <a:gd name="T114" fmla="*/ 93 w 189"/>
                  <a:gd name="T115" fmla="*/ 9 h 198"/>
                  <a:gd name="T116" fmla="*/ 88 w 189"/>
                  <a:gd name="T117" fmla="*/ 2 h 198"/>
                  <a:gd name="T118" fmla="*/ 84 w 189"/>
                  <a:gd name="T119" fmla="*/ 0 h 198"/>
                  <a:gd name="T120" fmla="*/ 59 w 189"/>
                  <a:gd name="T121" fmla="*/ 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9" h="198">
                    <a:moveTo>
                      <a:pt x="59" y="5"/>
                    </a:moveTo>
                    <a:lnTo>
                      <a:pt x="59" y="9"/>
                    </a:lnTo>
                    <a:lnTo>
                      <a:pt x="59" y="11"/>
                    </a:lnTo>
                    <a:lnTo>
                      <a:pt x="57" y="11"/>
                    </a:lnTo>
                    <a:lnTo>
                      <a:pt x="54" y="11"/>
                    </a:lnTo>
                    <a:lnTo>
                      <a:pt x="54" y="13"/>
                    </a:lnTo>
                    <a:lnTo>
                      <a:pt x="54" y="14"/>
                    </a:lnTo>
                    <a:lnTo>
                      <a:pt x="56" y="16"/>
                    </a:lnTo>
                    <a:lnTo>
                      <a:pt x="54" y="18"/>
                    </a:lnTo>
                    <a:lnTo>
                      <a:pt x="45" y="16"/>
                    </a:lnTo>
                    <a:lnTo>
                      <a:pt x="43" y="14"/>
                    </a:lnTo>
                    <a:lnTo>
                      <a:pt x="41" y="14"/>
                    </a:lnTo>
                    <a:lnTo>
                      <a:pt x="41" y="18"/>
                    </a:lnTo>
                    <a:lnTo>
                      <a:pt x="38" y="23"/>
                    </a:lnTo>
                    <a:lnTo>
                      <a:pt x="38" y="25"/>
                    </a:lnTo>
                    <a:lnTo>
                      <a:pt x="36" y="27"/>
                    </a:lnTo>
                    <a:lnTo>
                      <a:pt x="34" y="25"/>
                    </a:lnTo>
                    <a:lnTo>
                      <a:pt x="32" y="23"/>
                    </a:lnTo>
                    <a:lnTo>
                      <a:pt x="29" y="21"/>
                    </a:lnTo>
                    <a:lnTo>
                      <a:pt x="27" y="16"/>
                    </a:lnTo>
                    <a:lnTo>
                      <a:pt x="23" y="18"/>
                    </a:lnTo>
                    <a:lnTo>
                      <a:pt x="23" y="20"/>
                    </a:lnTo>
                    <a:lnTo>
                      <a:pt x="23" y="21"/>
                    </a:lnTo>
                    <a:lnTo>
                      <a:pt x="18" y="27"/>
                    </a:lnTo>
                    <a:lnTo>
                      <a:pt x="2" y="29"/>
                    </a:lnTo>
                    <a:lnTo>
                      <a:pt x="2" y="30"/>
                    </a:lnTo>
                    <a:lnTo>
                      <a:pt x="6" y="41"/>
                    </a:lnTo>
                    <a:lnTo>
                      <a:pt x="2" y="43"/>
                    </a:lnTo>
                    <a:lnTo>
                      <a:pt x="2" y="45"/>
                    </a:lnTo>
                    <a:lnTo>
                      <a:pt x="0" y="48"/>
                    </a:lnTo>
                    <a:lnTo>
                      <a:pt x="0" y="50"/>
                    </a:lnTo>
                    <a:lnTo>
                      <a:pt x="2" y="50"/>
                    </a:lnTo>
                    <a:lnTo>
                      <a:pt x="4" y="52"/>
                    </a:lnTo>
                    <a:lnTo>
                      <a:pt x="4" y="54"/>
                    </a:lnTo>
                    <a:lnTo>
                      <a:pt x="4" y="57"/>
                    </a:lnTo>
                    <a:lnTo>
                      <a:pt x="4" y="63"/>
                    </a:lnTo>
                    <a:lnTo>
                      <a:pt x="6" y="66"/>
                    </a:lnTo>
                    <a:lnTo>
                      <a:pt x="13" y="66"/>
                    </a:lnTo>
                    <a:lnTo>
                      <a:pt x="15" y="68"/>
                    </a:lnTo>
                    <a:lnTo>
                      <a:pt x="15" y="71"/>
                    </a:lnTo>
                    <a:lnTo>
                      <a:pt x="15" y="73"/>
                    </a:lnTo>
                    <a:lnTo>
                      <a:pt x="15" y="73"/>
                    </a:lnTo>
                    <a:lnTo>
                      <a:pt x="20" y="73"/>
                    </a:lnTo>
                    <a:lnTo>
                      <a:pt x="23" y="71"/>
                    </a:lnTo>
                    <a:lnTo>
                      <a:pt x="23" y="70"/>
                    </a:lnTo>
                    <a:lnTo>
                      <a:pt x="27" y="66"/>
                    </a:lnTo>
                    <a:lnTo>
                      <a:pt x="29" y="64"/>
                    </a:lnTo>
                    <a:lnTo>
                      <a:pt x="29" y="63"/>
                    </a:lnTo>
                    <a:lnTo>
                      <a:pt x="34" y="61"/>
                    </a:lnTo>
                    <a:lnTo>
                      <a:pt x="40" y="63"/>
                    </a:lnTo>
                    <a:lnTo>
                      <a:pt x="56" y="71"/>
                    </a:lnTo>
                    <a:lnTo>
                      <a:pt x="63" y="89"/>
                    </a:lnTo>
                    <a:lnTo>
                      <a:pt x="63" y="91"/>
                    </a:lnTo>
                    <a:lnTo>
                      <a:pt x="72" y="100"/>
                    </a:lnTo>
                    <a:lnTo>
                      <a:pt x="72" y="105"/>
                    </a:lnTo>
                    <a:lnTo>
                      <a:pt x="73" y="104"/>
                    </a:lnTo>
                    <a:lnTo>
                      <a:pt x="77" y="104"/>
                    </a:lnTo>
                    <a:lnTo>
                      <a:pt x="79" y="107"/>
                    </a:lnTo>
                    <a:lnTo>
                      <a:pt x="82" y="113"/>
                    </a:lnTo>
                    <a:lnTo>
                      <a:pt x="86" y="113"/>
                    </a:lnTo>
                    <a:lnTo>
                      <a:pt x="102" y="129"/>
                    </a:lnTo>
                    <a:lnTo>
                      <a:pt x="104" y="129"/>
                    </a:lnTo>
                    <a:lnTo>
                      <a:pt x="113" y="130"/>
                    </a:lnTo>
                    <a:lnTo>
                      <a:pt x="118" y="134"/>
                    </a:lnTo>
                    <a:lnTo>
                      <a:pt x="118" y="138"/>
                    </a:lnTo>
                    <a:lnTo>
                      <a:pt x="123" y="139"/>
                    </a:lnTo>
                    <a:lnTo>
                      <a:pt x="123" y="141"/>
                    </a:lnTo>
                    <a:lnTo>
                      <a:pt x="123" y="143"/>
                    </a:lnTo>
                    <a:lnTo>
                      <a:pt x="129" y="141"/>
                    </a:lnTo>
                    <a:lnTo>
                      <a:pt x="131" y="143"/>
                    </a:lnTo>
                    <a:lnTo>
                      <a:pt x="132" y="145"/>
                    </a:lnTo>
                    <a:lnTo>
                      <a:pt x="132" y="146"/>
                    </a:lnTo>
                    <a:lnTo>
                      <a:pt x="132" y="150"/>
                    </a:lnTo>
                    <a:lnTo>
                      <a:pt x="134" y="152"/>
                    </a:lnTo>
                    <a:lnTo>
                      <a:pt x="138" y="154"/>
                    </a:lnTo>
                    <a:lnTo>
                      <a:pt x="139" y="157"/>
                    </a:lnTo>
                    <a:lnTo>
                      <a:pt x="141" y="154"/>
                    </a:lnTo>
                    <a:lnTo>
                      <a:pt x="143" y="154"/>
                    </a:lnTo>
                    <a:lnTo>
                      <a:pt x="152" y="180"/>
                    </a:lnTo>
                    <a:lnTo>
                      <a:pt x="147" y="184"/>
                    </a:lnTo>
                    <a:lnTo>
                      <a:pt x="148" y="186"/>
                    </a:lnTo>
                    <a:lnTo>
                      <a:pt x="145" y="193"/>
                    </a:lnTo>
                    <a:lnTo>
                      <a:pt x="145" y="198"/>
                    </a:lnTo>
                    <a:lnTo>
                      <a:pt x="145" y="198"/>
                    </a:lnTo>
                    <a:lnTo>
                      <a:pt x="145" y="198"/>
                    </a:lnTo>
                    <a:lnTo>
                      <a:pt x="150" y="198"/>
                    </a:lnTo>
                    <a:lnTo>
                      <a:pt x="150" y="198"/>
                    </a:lnTo>
                    <a:lnTo>
                      <a:pt x="154" y="191"/>
                    </a:lnTo>
                    <a:lnTo>
                      <a:pt x="156" y="189"/>
                    </a:lnTo>
                    <a:lnTo>
                      <a:pt x="157" y="189"/>
                    </a:lnTo>
                    <a:lnTo>
                      <a:pt x="159" y="188"/>
                    </a:lnTo>
                    <a:lnTo>
                      <a:pt x="159" y="180"/>
                    </a:lnTo>
                    <a:lnTo>
                      <a:pt x="159" y="179"/>
                    </a:lnTo>
                    <a:lnTo>
                      <a:pt x="164" y="177"/>
                    </a:lnTo>
                    <a:lnTo>
                      <a:pt x="166" y="177"/>
                    </a:lnTo>
                    <a:lnTo>
                      <a:pt x="166" y="177"/>
                    </a:lnTo>
                    <a:lnTo>
                      <a:pt x="166" y="168"/>
                    </a:lnTo>
                    <a:lnTo>
                      <a:pt x="164" y="166"/>
                    </a:lnTo>
                    <a:lnTo>
                      <a:pt x="163" y="164"/>
                    </a:lnTo>
                    <a:lnTo>
                      <a:pt x="161" y="163"/>
                    </a:lnTo>
                    <a:lnTo>
                      <a:pt x="157" y="161"/>
                    </a:lnTo>
                    <a:lnTo>
                      <a:pt x="159" y="152"/>
                    </a:lnTo>
                    <a:lnTo>
                      <a:pt x="164" y="145"/>
                    </a:lnTo>
                    <a:lnTo>
                      <a:pt x="168" y="145"/>
                    </a:lnTo>
                    <a:lnTo>
                      <a:pt x="173" y="148"/>
                    </a:lnTo>
                    <a:lnTo>
                      <a:pt x="181" y="152"/>
                    </a:lnTo>
                    <a:lnTo>
                      <a:pt x="184" y="157"/>
                    </a:lnTo>
                    <a:lnTo>
                      <a:pt x="186" y="159"/>
                    </a:lnTo>
                    <a:lnTo>
                      <a:pt x="186" y="159"/>
                    </a:lnTo>
                    <a:lnTo>
                      <a:pt x="189" y="154"/>
                    </a:lnTo>
                    <a:lnTo>
                      <a:pt x="181" y="141"/>
                    </a:lnTo>
                    <a:lnTo>
                      <a:pt x="170" y="136"/>
                    </a:lnTo>
                    <a:lnTo>
                      <a:pt x="168" y="134"/>
                    </a:lnTo>
                    <a:lnTo>
                      <a:pt x="150" y="125"/>
                    </a:lnTo>
                    <a:lnTo>
                      <a:pt x="148" y="125"/>
                    </a:lnTo>
                    <a:lnTo>
                      <a:pt x="147" y="125"/>
                    </a:lnTo>
                    <a:lnTo>
                      <a:pt x="147" y="123"/>
                    </a:lnTo>
                    <a:lnTo>
                      <a:pt x="148" y="121"/>
                    </a:lnTo>
                    <a:lnTo>
                      <a:pt x="152" y="120"/>
                    </a:lnTo>
                    <a:lnTo>
                      <a:pt x="152" y="116"/>
                    </a:lnTo>
                    <a:lnTo>
                      <a:pt x="150" y="114"/>
                    </a:lnTo>
                    <a:lnTo>
                      <a:pt x="147" y="114"/>
                    </a:lnTo>
                    <a:lnTo>
                      <a:pt x="145" y="114"/>
                    </a:lnTo>
                    <a:lnTo>
                      <a:pt x="148" y="114"/>
                    </a:lnTo>
                    <a:lnTo>
                      <a:pt x="145" y="114"/>
                    </a:lnTo>
                    <a:lnTo>
                      <a:pt x="136" y="114"/>
                    </a:lnTo>
                    <a:lnTo>
                      <a:pt x="136" y="118"/>
                    </a:lnTo>
                    <a:lnTo>
                      <a:pt x="131" y="111"/>
                    </a:lnTo>
                    <a:lnTo>
                      <a:pt x="129" y="111"/>
                    </a:lnTo>
                    <a:lnTo>
                      <a:pt x="127" y="109"/>
                    </a:lnTo>
                    <a:lnTo>
                      <a:pt x="127" y="109"/>
                    </a:lnTo>
                    <a:lnTo>
                      <a:pt x="118" y="100"/>
                    </a:lnTo>
                    <a:lnTo>
                      <a:pt x="109" y="79"/>
                    </a:lnTo>
                    <a:lnTo>
                      <a:pt x="109" y="79"/>
                    </a:lnTo>
                    <a:lnTo>
                      <a:pt x="107" y="79"/>
                    </a:lnTo>
                    <a:lnTo>
                      <a:pt x="106" y="77"/>
                    </a:lnTo>
                    <a:lnTo>
                      <a:pt x="95" y="70"/>
                    </a:lnTo>
                    <a:lnTo>
                      <a:pt x="89" y="61"/>
                    </a:lnTo>
                    <a:lnTo>
                      <a:pt x="91" y="52"/>
                    </a:lnTo>
                    <a:lnTo>
                      <a:pt x="93" y="50"/>
                    </a:lnTo>
                    <a:lnTo>
                      <a:pt x="93" y="48"/>
                    </a:lnTo>
                    <a:lnTo>
                      <a:pt x="91" y="46"/>
                    </a:lnTo>
                    <a:lnTo>
                      <a:pt x="89" y="45"/>
                    </a:lnTo>
                    <a:lnTo>
                      <a:pt x="89" y="41"/>
                    </a:lnTo>
                    <a:lnTo>
                      <a:pt x="89" y="39"/>
                    </a:lnTo>
                    <a:lnTo>
                      <a:pt x="93" y="36"/>
                    </a:lnTo>
                    <a:lnTo>
                      <a:pt x="93" y="36"/>
                    </a:lnTo>
                    <a:lnTo>
                      <a:pt x="93" y="38"/>
                    </a:lnTo>
                    <a:lnTo>
                      <a:pt x="106" y="32"/>
                    </a:lnTo>
                    <a:lnTo>
                      <a:pt x="107" y="32"/>
                    </a:lnTo>
                    <a:lnTo>
                      <a:pt x="111" y="30"/>
                    </a:lnTo>
                    <a:lnTo>
                      <a:pt x="113" y="30"/>
                    </a:lnTo>
                    <a:lnTo>
                      <a:pt x="113" y="32"/>
                    </a:lnTo>
                    <a:lnTo>
                      <a:pt x="111" y="36"/>
                    </a:lnTo>
                    <a:lnTo>
                      <a:pt x="111" y="36"/>
                    </a:lnTo>
                    <a:lnTo>
                      <a:pt x="113" y="36"/>
                    </a:lnTo>
                    <a:lnTo>
                      <a:pt x="114" y="36"/>
                    </a:lnTo>
                    <a:lnTo>
                      <a:pt x="116" y="34"/>
                    </a:lnTo>
                    <a:lnTo>
                      <a:pt x="116" y="34"/>
                    </a:lnTo>
                    <a:lnTo>
                      <a:pt x="114" y="32"/>
                    </a:lnTo>
                    <a:lnTo>
                      <a:pt x="114" y="32"/>
                    </a:lnTo>
                    <a:lnTo>
                      <a:pt x="113" y="30"/>
                    </a:lnTo>
                    <a:lnTo>
                      <a:pt x="111" y="29"/>
                    </a:lnTo>
                    <a:lnTo>
                      <a:pt x="111" y="29"/>
                    </a:lnTo>
                    <a:lnTo>
                      <a:pt x="111" y="27"/>
                    </a:lnTo>
                    <a:lnTo>
                      <a:pt x="109" y="25"/>
                    </a:lnTo>
                    <a:lnTo>
                      <a:pt x="109" y="20"/>
                    </a:lnTo>
                    <a:lnTo>
                      <a:pt x="109" y="20"/>
                    </a:lnTo>
                    <a:lnTo>
                      <a:pt x="107" y="20"/>
                    </a:lnTo>
                    <a:lnTo>
                      <a:pt x="107" y="18"/>
                    </a:lnTo>
                    <a:lnTo>
                      <a:pt x="109" y="16"/>
                    </a:lnTo>
                    <a:lnTo>
                      <a:pt x="111" y="14"/>
                    </a:lnTo>
                    <a:lnTo>
                      <a:pt x="97" y="11"/>
                    </a:lnTo>
                    <a:lnTo>
                      <a:pt x="93" y="9"/>
                    </a:lnTo>
                    <a:lnTo>
                      <a:pt x="93" y="9"/>
                    </a:lnTo>
                    <a:lnTo>
                      <a:pt x="89" y="7"/>
                    </a:lnTo>
                    <a:lnTo>
                      <a:pt x="88" y="2"/>
                    </a:lnTo>
                    <a:lnTo>
                      <a:pt x="88" y="0"/>
                    </a:lnTo>
                    <a:lnTo>
                      <a:pt x="86" y="0"/>
                    </a:lnTo>
                    <a:lnTo>
                      <a:pt x="84" y="0"/>
                    </a:lnTo>
                    <a:lnTo>
                      <a:pt x="82" y="2"/>
                    </a:lnTo>
                    <a:lnTo>
                      <a:pt x="63" y="5"/>
                    </a:lnTo>
                    <a:lnTo>
                      <a:pt x="59"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84" name="Freeform 1932"/>
              <p:cNvSpPr>
                <a:spLocks/>
              </p:cNvSpPr>
              <p:nvPr/>
            </p:nvSpPr>
            <p:spPr bwMode="auto">
              <a:xfrm>
                <a:off x="2803" y="1861"/>
                <a:ext cx="189" cy="198"/>
              </a:xfrm>
              <a:custGeom>
                <a:avLst/>
                <a:gdLst>
                  <a:gd name="T0" fmla="*/ 59 w 189"/>
                  <a:gd name="T1" fmla="*/ 11 h 198"/>
                  <a:gd name="T2" fmla="*/ 54 w 189"/>
                  <a:gd name="T3" fmla="*/ 13 h 198"/>
                  <a:gd name="T4" fmla="*/ 54 w 189"/>
                  <a:gd name="T5" fmla="*/ 18 h 198"/>
                  <a:gd name="T6" fmla="*/ 41 w 189"/>
                  <a:gd name="T7" fmla="*/ 14 h 198"/>
                  <a:gd name="T8" fmla="*/ 38 w 189"/>
                  <a:gd name="T9" fmla="*/ 25 h 198"/>
                  <a:gd name="T10" fmla="*/ 32 w 189"/>
                  <a:gd name="T11" fmla="*/ 23 h 198"/>
                  <a:gd name="T12" fmla="*/ 23 w 189"/>
                  <a:gd name="T13" fmla="*/ 18 h 198"/>
                  <a:gd name="T14" fmla="*/ 18 w 189"/>
                  <a:gd name="T15" fmla="*/ 27 h 198"/>
                  <a:gd name="T16" fmla="*/ 6 w 189"/>
                  <a:gd name="T17" fmla="*/ 41 h 198"/>
                  <a:gd name="T18" fmla="*/ 0 w 189"/>
                  <a:gd name="T19" fmla="*/ 48 h 198"/>
                  <a:gd name="T20" fmla="*/ 4 w 189"/>
                  <a:gd name="T21" fmla="*/ 52 h 198"/>
                  <a:gd name="T22" fmla="*/ 4 w 189"/>
                  <a:gd name="T23" fmla="*/ 63 h 198"/>
                  <a:gd name="T24" fmla="*/ 15 w 189"/>
                  <a:gd name="T25" fmla="*/ 68 h 198"/>
                  <a:gd name="T26" fmla="*/ 15 w 189"/>
                  <a:gd name="T27" fmla="*/ 73 h 198"/>
                  <a:gd name="T28" fmla="*/ 23 w 189"/>
                  <a:gd name="T29" fmla="*/ 70 h 198"/>
                  <a:gd name="T30" fmla="*/ 29 w 189"/>
                  <a:gd name="T31" fmla="*/ 63 h 198"/>
                  <a:gd name="T32" fmla="*/ 56 w 189"/>
                  <a:gd name="T33" fmla="*/ 71 h 198"/>
                  <a:gd name="T34" fmla="*/ 72 w 189"/>
                  <a:gd name="T35" fmla="*/ 100 h 198"/>
                  <a:gd name="T36" fmla="*/ 77 w 189"/>
                  <a:gd name="T37" fmla="*/ 104 h 198"/>
                  <a:gd name="T38" fmla="*/ 86 w 189"/>
                  <a:gd name="T39" fmla="*/ 113 h 198"/>
                  <a:gd name="T40" fmla="*/ 113 w 189"/>
                  <a:gd name="T41" fmla="*/ 130 h 198"/>
                  <a:gd name="T42" fmla="*/ 123 w 189"/>
                  <a:gd name="T43" fmla="*/ 139 h 198"/>
                  <a:gd name="T44" fmla="*/ 129 w 189"/>
                  <a:gd name="T45" fmla="*/ 141 h 198"/>
                  <a:gd name="T46" fmla="*/ 132 w 189"/>
                  <a:gd name="T47" fmla="*/ 146 h 198"/>
                  <a:gd name="T48" fmla="*/ 138 w 189"/>
                  <a:gd name="T49" fmla="*/ 154 h 198"/>
                  <a:gd name="T50" fmla="*/ 143 w 189"/>
                  <a:gd name="T51" fmla="*/ 154 h 198"/>
                  <a:gd name="T52" fmla="*/ 148 w 189"/>
                  <a:gd name="T53" fmla="*/ 186 h 198"/>
                  <a:gd name="T54" fmla="*/ 145 w 189"/>
                  <a:gd name="T55" fmla="*/ 198 h 198"/>
                  <a:gd name="T56" fmla="*/ 150 w 189"/>
                  <a:gd name="T57" fmla="*/ 198 h 198"/>
                  <a:gd name="T58" fmla="*/ 157 w 189"/>
                  <a:gd name="T59" fmla="*/ 189 h 198"/>
                  <a:gd name="T60" fmla="*/ 159 w 189"/>
                  <a:gd name="T61" fmla="*/ 179 h 198"/>
                  <a:gd name="T62" fmla="*/ 166 w 189"/>
                  <a:gd name="T63" fmla="*/ 177 h 198"/>
                  <a:gd name="T64" fmla="*/ 163 w 189"/>
                  <a:gd name="T65" fmla="*/ 164 h 198"/>
                  <a:gd name="T66" fmla="*/ 159 w 189"/>
                  <a:gd name="T67" fmla="*/ 152 h 198"/>
                  <a:gd name="T68" fmla="*/ 173 w 189"/>
                  <a:gd name="T69" fmla="*/ 148 h 198"/>
                  <a:gd name="T70" fmla="*/ 186 w 189"/>
                  <a:gd name="T71" fmla="*/ 159 h 198"/>
                  <a:gd name="T72" fmla="*/ 181 w 189"/>
                  <a:gd name="T73" fmla="*/ 141 h 198"/>
                  <a:gd name="T74" fmla="*/ 150 w 189"/>
                  <a:gd name="T75" fmla="*/ 125 h 198"/>
                  <a:gd name="T76" fmla="*/ 147 w 189"/>
                  <a:gd name="T77" fmla="*/ 123 h 198"/>
                  <a:gd name="T78" fmla="*/ 152 w 189"/>
                  <a:gd name="T79" fmla="*/ 116 h 198"/>
                  <a:gd name="T80" fmla="*/ 145 w 189"/>
                  <a:gd name="T81" fmla="*/ 114 h 198"/>
                  <a:gd name="T82" fmla="*/ 136 w 189"/>
                  <a:gd name="T83" fmla="*/ 114 h 198"/>
                  <a:gd name="T84" fmla="*/ 129 w 189"/>
                  <a:gd name="T85" fmla="*/ 111 h 198"/>
                  <a:gd name="T86" fmla="*/ 118 w 189"/>
                  <a:gd name="T87" fmla="*/ 100 h 198"/>
                  <a:gd name="T88" fmla="*/ 107 w 189"/>
                  <a:gd name="T89" fmla="*/ 79 h 198"/>
                  <a:gd name="T90" fmla="*/ 89 w 189"/>
                  <a:gd name="T91" fmla="*/ 61 h 198"/>
                  <a:gd name="T92" fmla="*/ 93 w 189"/>
                  <a:gd name="T93" fmla="*/ 48 h 198"/>
                  <a:gd name="T94" fmla="*/ 89 w 189"/>
                  <a:gd name="T95" fmla="*/ 41 h 198"/>
                  <a:gd name="T96" fmla="*/ 93 w 189"/>
                  <a:gd name="T97" fmla="*/ 36 h 198"/>
                  <a:gd name="T98" fmla="*/ 107 w 189"/>
                  <a:gd name="T99" fmla="*/ 32 h 198"/>
                  <a:gd name="T100" fmla="*/ 113 w 189"/>
                  <a:gd name="T101" fmla="*/ 32 h 198"/>
                  <a:gd name="T102" fmla="*/ 113 w 189"/>
                  <a:gd name="T103" fmla="*/ 36 h 198"/>
                  <a:gd name="T104" fmla="*/ 116 w 189"/>
                  <a:gd name="T105" fmla="*/ 34 h 198"/>
                  <a:gd name="T106" fmla="*/ 113 w 189"/>
                  <a:gd name="T107" fmla="*/ 30 h 198"/>
                  <a:gd name="T108" fmla="*/ 111 w 189"/>
                  <a:gd name="T109" fmla="*/ 27 h 198"/>
                  <a:gd name="T110" fmla="*/ 109 w 189"/>
                  <a:gd name="T111" fmla="*/ 20 h 198"/>
                  <a:gd name="T112" fmla="*/ 109 w 189"/>
                  <a:gd name="T113" fmla="*/ 16 h 198"/>
                  <a:gd name="T114" fmla="*/ 93 w 189"/>
                  <a:gd name="T115" fmla="*/ 9 h 198"/>
                  <a:gd name="T116" fmla="*/ 88 w 189"/>
                  <a:gd name="T117" fmla="*/ 2 h 198"/>
                  <a:gd name="T118" fmla="*/ 84 w 189"/>
                  <a:gd name="T119" fmla="*/ 0 h 198"/>
                  <a:gd name="T120" fmla="*/ 59 w 189"/>
                  <a:gd name="T121" fmla="*/ 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9" h="198">
                    <a:moveTo>
                      <a:pt x="59" y="5"/>
                    </a:moveTo>
                    <a:lnTo>
                      <a:pt x="59" y="9"/>
                    </a:lnTo>
                    <a:lnTo>
                      <a:pt x="59" y="11"/>
                    </a:lnTo>
                    <a:lnTo>
                      <a:pt x="57" y="11"/>
                    </a:lnTo>
                    <a:lnTo>
                      <a:pt x="54" y="11"/>
                    </a:lnTo>
                    <a:lnTo>
                      <a:pt x="54" y="13"/>
                    </a:lnTo>
                    <a:lnTo>
                      <a:pt x="54" y="14"/>
                    </a:lnTo>
                    <a:lnTo>
                      <a:pt x="56" y="16"/>
                    </a:lnTo>
                    <a:lnTo>
                      <a:pt x="54" y="18"/>
                    </a:lnTo>
                    <a:lnTo>
                      <a:pt x="45" y="16"/>
                    </a:lnTo>
                    <a:lnTo>
                      <a:pt x="43" y="14"/>
                    </a:lnTo>
                    <a:lnTo>
                      <a:pt x="41" y="14"/>
                    </a:lnTo>
                    <a:lnTo>
                      <a:pt x="41" y="18"/>
                    </a:lnTo>
                    <a:lnTo>
                      <a:pt x="38" y="23"/>
                    </a:lnTo>
                    <a:lnTo>
                      <a:pt x="38" y="25"/>
                    </a:lnTo>
                    <a:lnTo>
                      <a:pt x="36" y="27"/>
                    </a:lnTo>
                    <a:lnTo>
                      <a:pt x="34" y="25"/>
                    </a:lnTo>
                    <a:lnTo>
                      <a:pt x="32" y="23"/>
                    </a:lnTo>
                    <a:lnTo>
                      <a:pt x="29" y="21"/>
                    </a:lnTo>
                    <a:lnTo>
                      <a:pt x="27" y="16"/>
                    </a:lnTo>
                    <a:lnTo>
                      <a:pt x="23" y="18"/>
                    </a:lnTo>
                    <a:lnTo>
                      <a:pt x="23" y="20"/>
                    </a:lnTo>
                    <a:lnTo>
                      <a:pt x="23" y="21"/>
                    </a:lnTo>
                    <a:lnTo>
                      <a:pt x="18" y="27"/>
                    </a:lnTo>
                    <a:lnTo>
                      <a:pt x="2" y="29"/>
                    </a:lnTo>
                    <a:lnTo>
                      <a:pt x="2" y="30"/>
                    </a:lnTo>
                    <a:lnTo>
                      <a:pt x="6" y="41"/>
                    </a:lnTo>
                    <a:lnTo>
                      <a:pt x="2" y="43"/>
                    </a:lnTo>
                    <a:lnTo>
                      <a:pt x="2" y="45"/>
                    </a:lnTo>
                    <a:lnTo>
                      <a:pt x="0" y="48"/>
                    </a:lnTo>
                    <a:lnTo>
                      <a:pt x="0" y="50"/>
                    </a:lnTo>
                    <a:lnTo>
                      <a:pt x="2" y="50"/>
                    </a:lnTo>
                    <a:lnTo>
                      <a:pt x="4" y="52"/>
                    </a:lnTo>
                    <a:lnTo>
                      <a:pt x="4" y="54"/>
                    </a:lnTo>
                    <a:lnTo>
                      <a:pt x="4" y="57"/>
                    </a:lnTo>
                    <a:lnTo>
                      <a:pt x="4" y="63"/>
                    </a:lnTo>
                    <a:lnTo>
                      <a:pt x="6" y="66"/>
                    </a:lnTo>
                    <a:lnTo>
                      <a:pt x="13" y="66"/>
                    </a:lnTo>
                    <a:lnTo>
                      <a:pt x="15" y="68"/>
                    </a:lnTo>
                    <a:lnTo>
                      <a:pt x="15" y="71"/>
                    </a:lnTo>
                    <a:lnTo>
                      <a:pt x="15" y="73"/>
                    </a:lnTo>
                    <a:lnTo>
                      <a:pt x="15" y="73"/>
                    </a:lnTo>
                    <a:lnTo>
                      <a:pt x="20" y="73"/>
                    </a:lnTo>
                    <a:lnTo>
                      <a:pt x="23" y="71"/>
                    </a:lnTo>
                    <a:lnTo>
                      <a:pt x="23" y="70"/>
                    </a:lnTo>
                    <a:lnTo>
                      <a:pt x="27" y="66"/>
                    </a:lnTo>
                    <a:lnTo>
                      <a:pt x="29" y="64"/>
                    </a:lnTo>
                    <a:lnTo>
                      <a:pt x="29" y="63"/>
                    </a:lnTo>
                    <a:lnTo>
                      <a:pt x="34" y="61"/>
                    </a:lnTo>
                    <a:lnTo>
                      <a:pt x="40" y="63"/>
                    </a:lnTo>
                    <a:lnTo>
                      <a:pt x="56" y="71"/>
                    </a:lnTo>
                    <a:lnTo>
                      <a:pt x="63" y="89"/>
                    </a:lnTo>
                    <a:lnTo>
                      <a:pt x="63" y="91"/>
                    </a:lnTo>
                    <a:lnTo>
                      <a:pt x="72" y="100"/>
                    </a:lnTo>
                    <a:lnTo>
                      <a:pt x="72" y="105"/>
                    </a:lnTo>
                    <a:lnTo>
                      <a:pt x="73" y="104"/>
                    </a:lnTo>
                    <a:lnTo>
                      <a:pt x="77" y="104"/>
                    </a:lnTo>
                    <a:lnTo>
                      <a:pt x="79" y="107"/>
                    </a:lnTo>
                    <a:lnTo>
                      <a:pt x="82" y="113"/>
                    </a:lnTo>
                    <a:lnTo>
                      <a:pt x="86" y="113"/>
                    </a:lnTo>
                    <a:lnTo>
                      <a:pt x="102" y="129"/>
                    </a:lnTo>
                    <a:lnTo>
                      <a:pt x="104" y="129"/>
                    </a:lnTo>
                    <a:lnTo>
                      <a:pt x="113" y="130"/>
                    </a:lnTo>
                    <a:lnTo>
                      <a:pt x="118" y="134"/>
                    </a:lnTo>
                    <a:lnTo>
                      <a:pt x="118" y="138"/>
                    </a:lnTo>
                    <a:lnTo>
                      <a:pt x="123" y="139"/>
                    </a:lnTo>
                    <a:lnTo>
                      <a:pt x="123" y="141"/>
                    </a:lnTo>
                    <a:lnTo>
                      <a:pt x="123" y="143"/>
                    </a:lnTo>
                    <a:lnTo>
                      <a:pt x="129" y="141"/>
                    </a:lnTo>
                    <a:lnTo>
                      <a:pt x="131" y="143"/>
                    </a:lnTo>
                    <a:lnTo>
                      <a:pt x="132" y="145"/>
                    </a:lnTo>
                    <a:lnTo>
                      <a:pt x="132" y="146"/>
                    </a:lnTo>
                    <a:lnTo>
                      <a:pt x="132" y="150"/>
                    </a:lnTo>
                    <a:lnTo>
                      <a:pt x="134" y="152"/>
                    </a:lnTo>
                    <a:lnTo>
                      <a:pt x="138" y="154"/>
                    </a:lnTo>
                    <a:lnTo>
                      <a:pt x="139" y="157"/>
                    </a:lnTo>
                    <a:lnTo>
                      <a:pt x="141" y="154"/>
                    </a:lnTo>
                    <a:lnTo>
                      <a:pt x="143" y="154"/>
                    </a:lnTo>
                    <a:lnTo>
                      <a:pt x="152" y="180"/>
                    </a:lnTo>
                    <a:lnTo>
                      <a:pt x="147" y="184"/>
                    </a:lnTo>
                    <a:lnTo>
                      <a:pt x="148" y="186"/>
                    </a:lnTo>
                    <a:lnTo>
                      <a:pt x="145" y="193"/>
                    </a:lnTo>
                    <a:lnTo>
                      <a:pt x="145" y="198"/>
                    </a:lnTo>
                    <a:lnTo>
                      <a:pt x="145" y="198"/>
                    </a:lnTo>
                    <a:lnTo>
                      <a:pt x="145" y="198"/>
                    </a:lnTo>
                    <a:lnTo>
                      <a:pt x="150" y="198"/>
                    </a:lnTo>
                    <a:lnTo>
                      <a:pt x="150" y="198"/>
                    </a:lnTo>
                    <a:lnTo>
                      <a:pt x="154" y="191"/>
                    </a:lnTo>
                    <a:lnTo>
                      <a:pt x="156" y="189"/>
                    </a:lnTo>
                    <a:lnTo>
                      <a:pt x="157" y="189"/>
                    </a:lnTo>
                    <a:lnTo>
                      <a:pt x="159" y="188"/>
                    </a:lnTo>
                    <a:lnTo>
                      <a:pt x="159" y="180"/>
                    </a:lnTo>
                    <a:lnTo>
                      <a:pt x="159" y="179"/>
                    </a:lnTo>
                    <a:lnTo>
                      <a:pt x="164" y="177"/>
                    </a:lnTo>
                    <a:lnTo>
                      <a:pt x="166" y="177"/>
                    </a:lnTo>
                    <a:lnTo>
                      <a:pt x="166" y="177"/>
                    </a:lnTo>
                    <a:lnTo>
                      <a:pt x="166" y="168"/>
                    </a:lnTo>
                    <a:lnTo>
                      <a:pt x="164" y="166"/>
                    </a:lnTo>
                    <a:lnTo>
                      <a:pt x="163" y="164"/>
                    </a:lnTo>
                    <a:lnTo>
                      <a:pt x="161" y="163"/>
                    </a:lnTo>
                    <a:lnTo>
                      <a:pt x="157" y="161"/>
                    </a:lnTo>
                    <a:lnTo>
                      <a:pt x="159" y="152"/>
                    </a:lnTo>
                    <a:lnTo>
                      <a:pt x="164" y="145"/>
                    </a:lnTo>
                    <a:lnTo>
                      <a:pt x="168" y="145"/>
                    </a:lnTo>
                    <a:lnTo>
                      <a:pt x="173" y="148"/>
                    </a:lnTo>
                    <a:lnTo>
                      <a:pt x="181" y="152"/>
                    </a:lnTo>
                    <a:lnTo>
                      <a:pt x="184" y="157"/>
                    </a:lnTo>
                    <a:lnTo>
                      <a:pt x="186" y="159"/>
                    </a:lnTo>
                    <a:lnTo>
                      <a:pt x="186" y="159"/>
                    </a:lnTo>
                    <a:lnTo>
                      <a:pt x="189" y="154"/>
                    </a:lnTo>
                    <a:lnTo>
                      <a:pt x="181" y="141"/>
                    </a:lnTo>
                    <a:lnTo>
                      <a:pt x="170" y="136"/>
                    </a:lnTo>
                    <a:lnTo>
                      <a:pt x="168" y="134"/>
                    </a:lnTo>
                    <a:lnTo>
                      <a:pt x="150" y="125"/>
                    </a:lnTo>
                    <a:lnTo>
                      <a:pt x="148" y="125"/>
                    </a:lnTo>
                    <a:lnTo>
                      <a:pt x="147" y="125"/>
                    </a:lnTo>
                    <a:lnTo>
                      <a:pt x="147" y="123"/>
                    </a:lnTo>
                    <a:lnTo>
                      <a:pt x="148" y="121"/>
                    </a:lnTo>
                    <a:lnTo>
                      <a:pt x="152" y="120"/>
                    </a:lnTo>
                    <a:lnTo>
                      <a:pt x="152" y="116"/>
                    </a:lnTo>
                    <a:lnTo>
                      <a:pt x="150" y="114"/>
                    </a:lnTo>
                    <a:lnTo>
                      <a:pt x="147" y="114"/>
                    </a:lnTo>
                    <a:lnTo>
                      <a:pt x="145" y="114"/>
                    </a:lnTo>
                    <a:lnTo>
                      <a:pt x="148" y="114"/>
                    </a:lnTo>
                    <a:lnTo>
                      <a:pt x="145" y="114"/>
                    </a:lnTo>
                    <a:lnTo>
                      <a:pt x="136" y="114"/>
                    </a:lnTo>
                    <a:lnTo>
                      <a:pt x="136" y="118"/>
                    </a:lnTo>
                    <a:lnTo>
                      <a:pt x="131" y="111"/>
                    </a:lnTo>
                    <a:lnTo>
                      <a:pt x="129" y="111"/>
                    </a:lnTo>
                    <a:lnTo>
                      <a:pt x="127" y="109"/>
                    </a:lnTo>
                    <a:lnTo>
                      <a:pt x="127" y="109"/>
                    </a:lnTo>
                    <a:lnTo>
                      <a:pt x="118" y="100"/>
                    </a:lnTo>
                    <a:lnTo>
                      <a:pt x="109" y="79"/>
                    </a:lnTo>
                    <a:lnTo>
                      <a:pt x="109" y="79"/>
                    </a:lnTo>
                    <a:lnTo>
                      <a:pt x="107" y="79"/>
                    </a:lnTo>
                    <a:lnTo>
                      <a:pt x="106" y="77"/>
                    </a:lnTo>
                    <a:lnTo>
                      <a:pt x="95" y="70"/>
                    </a:lnTo>
                    <a:lnTo>
                      <a:pt x="89" y="61"/>
                    </a:lnTo>
                    <a:lnTo>
                      <a:pt x="91" y="52"/>
                    </a:lnTo>
                    <a:lnTo>
                      <a:pt x="93" y="50"/>
                    </a:lnTo>
                    <a:lnTo>
                      <a:pt x="93" y="48"/>
                    </a:lnTo>
                    <a:lnTo>
                      <a:pt x="91" y="46"/>
                    </a:lnTo>
                    <a:lnTo>
                      <a:pt x="89" y="45"/>
                    </a:lnTo>
                    <a:lnTo>
                      <a:pt x="89" y="41"/>
                    </a:lnTo>
                    <a:lnTo>
                      <a:pt x="89" y="39"/>
                    </a:lnTo>
                    <a:lnTo>
                      <a:pt x="93" y="36"/>
                    </a:lnTo>
                    <a:lnTo>
                      <a:pt x="93" y="36"/>
                    </a:lnTo>
                    <a:lnTo>
                      <a:pt x="93" y="38"/>
                    </a:lnTo>
                    <a:lnTo>
                      <a:pt x="106" y="32"/>
                    </a:lnTo>
                    <a:lnTo>
                      <a:pt x="107" y="32"/>
                    </a:lnTo>
                    <a:lnTo>
                      <a:pt x="111" y="30"/>
                    </a:lnTo>
                    <a:lnTo>
                      <a:pt x="113" y="30"/>
                    </a:lnTo>
                    <a:lnTo>
                      <a:pt x="113" y="32"/>
                    </a:lnTo>
                    <a:lnTo>
                      <a:pt x="111" y="36"/>
                    </a:lnTo>
                    <a:lnTo>
                      <a:pt x="111" y="36"/>
                    </a:lnTo>
                    <a:lnTo>
                      <a:pt x="113" y="36"/>
                    </a:lnTo>
                    <a:lnTo>
                      <a:pt x="114" y="36"/>
                    </a:lnTo>
                    <a:lnTo>
                      <a:pt x="116" y="34"/>
                    </a:lnTo>
                    <a:lnTo>
                      <a:pt x="116" y="34"/>
                    </a:lnTo>
                    <a:lnTo>
                      <a:pt x="114" y="32"/>
                    </a:lnTo>
                    <a:lnTo>
                      <a:pt x="114" y="32"/>
                    </a:lnTo>
                    <a:lnTo>
                      <a:pt x="113" y="30"/>
                    </a:lnTo>
                    <a:lnTo>
                      <a:pt x="111" y="29"/>
                    </a:lnTo>
                    <a:lnTo>
                      <a:pt x="111" y="29"/>
                    </a:lnTo>
                    <a:lnTo>
                      <a:pt x="111" y="27"/>
                    </a:lnTo>
                    <a:lnTo>
                      <a:pt x="109" y="25"/>
                    </a:lnTo>
                    <a:lnTo>
                      <a:pt x="109" y="20"/>
                    </a:lnTo>
                    <a:lnTo>
                      <a:pt x="109" y="20"/>
                    </a:lnTo>
                    <a:lnTo>
                      <a:pt x="107" y="20"/>
                    </a:lnTo>
                    <a:lnTo>
                      <a:pt x="107" y="18"/>
                    </a:lnTo>
                    <a:lnTo>
                      <a:pt x="109" y="16"/>
                    </a:lnTo>
                    <a:lnTo>
                      <a:pt x="111" y="14"/>
                    </a:lnTo>
                    <a:lnTo>
                      <a:pt x="97" y="11"/>
                    </a:lnTo>
                    <a:lnTo>
                      <a:pt x="93" y="9"/>
                    </a:lnTo>
                    <a:lnTo>
                      <a:pt x="93" y="9"/>
                    </a:lnTo>
                    <a:lnTo>
                      <a:pt x="89" y="7"/>
                    </a:lnTo>
                    <a:lnTo>
                      <a:pt x="88" y="2"/>
                    </a:lnTo>
                    <a:lnTo>
                      <a:pt x="88" y="0"/>
                    </a:lnTo>
                    <a:lnTo>
                      <a:pt x="86" y="0"/>
                    </a:lnTo>
                    <a:lnTo>
                      <a:pt x="84" y="0"/>
                    </a:lnTo>
                    <a:lnTo>
                      <a:pt x="82" y="2"/>
                    </a:lnTo>
                    <a:lnTo>
                      <a:pt x="63" y="5"/>
                    </a:lnTo>
                    <a:lnTo>
                      <a:pt x="59"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85" name="Freeform 1933"/>
              <p:cNvSpPr>
                <a:spLocks/>
              </p:cNvSpPr>
              <p:nvPr/>
            </p:nvSpPr>
            <p:spPr bwMode="auto">
              <a:xfrm>
                <a:off x="3592" y="2279"/>
                <a:ext cx="6" cy="11"/>
              </a:xfrm>
              <a:custGeom>
                <a:avLst/>
                <a:gdLst>
                  <a:gd name="T0" fmla="*/ 0 w 6"/>
                  <a:gd name="T1" fmla="*/ 3 h 11"/>
                  <a:gd name="T2" fmla="*/ 0 w 6"/>
                  <a:gd name="T3" fmla="*/ 5 h 11"/>
                  <a:gd name="T4" fmla="*/ 2 w 6"/>
                  <a:gd name="T5" fmla="*/ 7 h 11"/>
                  <a:gd name="T6" fmla="*/ 0 w 6"/>
                  <a:gd name="T7" fmla="*/ 7 h 11"/>
                  <a:gd name="T8" fmla="*/ 2 w 6"/>
                  <a:gd name="T9" fmla="*/ 9 h 11"/>
                  <a:gd name="T10" fmla="*/ 0 w 6"/>
                  <a:gd name="T11" fmla="*/ 11 h 11"/>
                  <a:gd name="T12" fmla="*/ 2 w 6"/>
                  <a:gd name="T13" fmla="*/ 11 h 11"/>
                  <a:gd name="T14" fmla="*/ 4 w 6"/>
                  <a:gd name="T15" fmla="*/ 11 h 11"/>
                  <a:gd name="T16" fmla="*/ 4 w 6"/>
                  <a:gd name="T17" fmla="*/ 11 h 11"/>
                  <a:gd name="T18" fmla="*/ 6 w 6"/>
                  <a:gd name="T19" fmla="*/ 7 h 11"/>
                  <a:gd name="T20" fmla="*/ 6 w 6"/>
                  <a:gd name="T21" fmla="*/ 5 h 11"/>
                  <a:gd name="T22" fmla="*/ 6 w 6"/>
                  <a:gd name="T23" fmla="*/ 3 h 11"/>
                  <a:gd name="T24" fmla="*/ 6 w 6"/>
                  <a:gd name="T25" fmla="*/ 3 h 11"/>
                  <a:gd name="T26" fmla="*/ 6 w 6"/>
                  <a:gd name="T27" fmla="*/ 2 h 11"/>
                  <a:gd name="T28" fmla="*/ 6 w 6"/>
                  <a:gd name="T29" fmla="*/ 2 h 11"/>
                  <a:gd name="T30" fmla="*/ 6 w 6"/>
                  <a:gd name="T31" fmla="*/ 0 h 11"/>
                  <a:gd name="T32" fmla="*/ 4 w 6"/>
                  <a:gd name="T33" fmla="*/ 2 h 11"/>
                  <a:gd name="T34" fmla="*/ 2 w 6"/>
                  <a:gd name="T35" fmla="*/ 2 h 11"/>
                  <a:gd name="T36" fmla="*/ 0 w 6"/>
                  <a:gd name="T3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1">
                    <a:moveTo>
                      <a:pt x="0" y="3"/>
                    </a:moveTo>
                    <a:lnTo>
                      <a:pt x="0" y="5"/>
                    </a:lnTo>
                    <a:lnTo>
                      <a:pt x="2" y="7"/>
                    </a:lnTo>
                    <a:lnTo>
                      <a:pt x="0" y="7"/>
                    </a:lnTo>
                    <a:lnTo>
                      <a:pt x="2" y="9"/>
                    </a:lnTo>
                    <a:lnTo>
                      <a:pt x="0" y="11"/>
                    </a:lnTo>
                    <a:lnTo>
                      <a:pt x="2" y="11"/>
                    </a:lnTo>
                    <a:lnTo>
                      <a:pt x="4" y="11"/>
                    </a:lnTo>
                    <a:lnTo>
                      <a:pt x="4" y="11"/>
                    </a:lnTo>
                    <a:lnTo>
                      <a:pt x="6" y="7"/>
                    </a:lnTo>
                    <a:lnTo>
                      <a:pt x="6" y="5"/>
                    </a:lnTo>
                    <a:lnTo>
                      <a:pt x="6" y="3"/>
                    </a:lnTo>
                    <a:lnTo>
                      <a:pt x="6" y="3"/>
                    </a:lnTo>
                    <a:lnTo>
                      <a:pt x="6" y="2"/>
                    </a:lnTo>
                    <a:lnTo>
                      <a:pt x="6" y="2"/>
                    </a:lnTo>
                    <a:lnTo>
                      <a:pt x="6" y="0"/>
                    </a:lnTo>
                    <a:lnTo>
                      <a:pt x="4" y="2"/>
                    </a:lnTo>
                    <a:lnTo>
                      <a:pt x="2" y="2"/>
                    </a:lnTo>
                    <a:lnTo>
                      <a:pt x="0"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86" name="Freeform 1934"/>
              <p:cNvSpPr>
                <a:spLocks/>
              </p:cNvSpPr>
              <p:nvPr/>
            </p:nvSpPr>
            <p:spPr bwMode="auto">
              <a:xfrm>
                <a:off x="3592" y="2279"/>
                <a:ext cx="6" cy="11"/>
              </a:xfrm>
              <a:custGeom>
                <a:avLst/>
                <a:gdLst>
                  <a:gd name="T0" fmla="*/ 0 w 6"/>
                  <a:gd name="T1" fmla="*/ 3 h 11"/>
                  <a:gd name="T2" fmla="*/ 0 w 6"/>
                  <a:gd name="T3" fmla="*/ 5 h 11"/>
                  <a:gd name="T4" fmla="*/ 2 w 6"/>
                  <a:gd name="T5" fmla="*/ 7 h 11"/>
                  <a:gd name="T6" fmla="*/ 0 w 6"/>
                  <a:gd name="T7" fmla="*/ 7 h 11"/>
                  <a:gd name="T8" fmla="*/ 2 w 6"/>
                  <a:gd name="T9" fmla="*/ 9 h 11"/>
                  <a:gd name="T10" fmla="*/ 0 w 6"/>
                  <a:gd name="T11" fmla="*/ 11 h 11"/>
                  <a:gd name="T12" fmla="*/ 2 w 6"/>
                  <a:gd name="T13" fmla="*/ 11 h 11"/>
                  <a:gd name="T14" fmla="*/ 4 w 6"/>
                  <a:gd name="T15" fmla="*/ 11 h 11"/>
                  <a:gd name="T16" fmla="*/ 4 w 6"/>
                  <a:gd name="T17" fmla="*/ 11 h 11"/>
                  <a:gd name="T18" fmla="*/ 6 w 6"/>
                  <a:gd name="T19" fmla="*/ 7 h 11"/>
                  <a:gd name="T20" fmla="*/ 6 w 6"/>
                  <a:gd name="T21" fmla="*/ 5 h 11"/>
                  <a:gd name="T22" fmla="*/ 6 w 6"/>
                  <a:gd name="T23" fmla="*/ 3 h 11"/>
                  <a:gd name="T24" fmla="*/ 6 w 6"/>
                  <a:gd name="T25" fmla="*/ 3 h 11"/>
                  <a:gd name="T26" fmla="*/ 6 w 6"/>
                  <a:gd name="T27" fmla="*/ 2 h 11"/>
                  <a:gd name="T28" fmla="*/ 6 w 6"/>
                  <a:gd name="T29" fmla="*/ 2 h 11"/>
                  <a:gd name="T30" fmla="*/ 6 w 6"/>
                  <a:gd name="T31" fmla="*/ 0 h 11"/>
                  <a:gd name="T32" fmla="*/ 4 w 6"/>
                  <a:gd name="T33" fmla="*/ 2 h 11"/>
                  <a:gd name="T34" fmla="*/ 2 w 6"/>
                  <a:gd name="T35" fmla="*/ 2 h 11"/>
                  <a:gd name="T36" fmla="*/ 0 w 6"/>
                  <a:gd name="T3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11">
                    <a:moveTo>
                      <a:pt x="0" y="3"/>
                    </a:moveTo>
                    <a:lnTo>
                      <a:pt x="0" y="5"/>
                    </a:lnTo>
                    <a:lnTo>
                      <a:pt x="2" y="7"/>
                    </a:lnTo>
                    <a:lnTo>
                      <a:pt x="0" y="7"/>
                    </a:lnTo>
                    <a:lnTo>
                      <a:pt x="2" y="9"/>
                    </a:lnTo>
                    <a:lnTo>
                      <a:pt x="0" y="11"/>
                    </a:lnTo>
                    <a:lnTo>
                      <a:pt x="2" y="11"/>
                    </a:lnTo>
                    <a:lnTo>
                      <a:pt x="4" y="11"/>
                    </a:lnTo>
                    <a:lnTo>
                      <a:pt x="4" y="11"/>
                    </a:lnTo>
                    <a:lnTo>
                      <a:pt x="6" y="7"/>
                    </a:lnTo>
                    <a:lnTo>
                      <a:pt x="6" y="5"/>
                    </a:lnTo>
                    <a:lnTo>
                      <a:pt x="6" y="3"/>
                    </a:lnTo>
                    <a:lnTo>
                      <a:pt x="6" y="3"/>
                    </a:lnTo>
                    <a:lnTo>
                      <a:pt x="6" y="2"/>
                    </a:lnTo>
                    <a:lnTo>
                      <a:pt x="6" y="2"/>
                    </a:lnTo>
                    <a:lnTo>
                      <a:pt x="6" y="0"/>
                    </a:lnTo>
                    <a:lnTo>
                      <a:pt x="4" y="2"/>
                    </a:lnTo>
                    <a:lnTo>
                      <a:pt x="2" y="2"/>
                    </a:lnTo>
                    <a:lnTo>
                      <a:pt x="0"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87" name="Freeform 1935"/>
              <p:cNvSpPr>
                <a:spLocks/>
              </p:cNvSpPr>
              <p:nvPr/>
            </p:nvSpPr>
            <p:spPr bwMode="auto">
              <a:xfrm>
                <a:off x="3403" y="2020"/>
                <a:ext cx="305" cy="280"/>
              </a:xfrm>
              <a:custGeom>
                <a:avLst/>
                <a:gdLst>
                  <a:gd name="T0" fmla="*/ 277 w 305"/>
                  <a:gd name="T1" fmla="*/ 280 h 280"/>
                  <a:gd name="T2" fmla="*/ 259 w 305"/>
                  <a:gd name="T3" fmla="*/ 277 h 280"/>
                  <a:gd name="T4" fmla="*/ 239 w 305"/>
                  <a:gd name="T5" fmla="*/ 275 h 280"/>
                  <a:gd name="T6" fmla="*/ 204 w 305"/>
                  <a:gd name="T7" fmla="*/ 248 h 280"/>
                  <a:gd name="T8" fmla="*/ 182 w 305"/>
                  <a:gd name="T9" fmla="*/ 248 h 280"/>
                  <a:gd name="T10" fmla="*/ 175 w 305"/>
                  <a:gd name="T11" fmla="*/ 252 h 280"/>
                  <a:gd name="T12" fmla="*/ 163 w 305"/>
                  <a:gd name="T13" fmla="*/ 255 h 280"/>
                  <a:gd name="T14" fmla="*/ 150 w 305"/>
                  <a:gd name="T15" fmla="*/ 252 h 280"/>
                  <a:gd name="T16" fmla="*/ 148 w 305"/>
                  <a:gd name="T17" fmla="*/ 248 h 280"/>
                  <a:gd name="T18" fmla="*/ 134 w 305"/>
                  <a:gd name="T19" fmla="*/ 239 h 280"/>
                  <a:gd name="T20" fmla="*/ 120 w 305"/>
                  <a:gd name="T21" fmla="*/ 232 h 280"/>
                  <a:gd name="T22" fmla="*/ 109 w 305"/>
                  <a:gd name="T23" fmla="*/ 212 h 280"/>
                  <a:gd name="T24" fmla="*/ 98 w 305"/>
                  <a:gd name="T25" fmla="*/ 200 h 280"/>
                  <a:gd name="T26" fmla="*/ 93 w 305"/>
                  <a:gd name="T27" fmla="*/ 191 h 280"/>
                  <a:gd name="T28" fmla="*/ 86 w 305"/>
                  <a:gd name="T29" fmla="*/ 193 h 280"/>
                  <a:gd name="T30" fmla="*/ 82 w 305"/>
                  <a:gd name="T31" fmla="*/ 191 h 280"/>
                  <a:gd name="T32" fmla="*/ 79 w 305"/>
                  <a:gd name="T33" fmla="*/ 184 h 280"/>
                  <a:gd name="T34" fmla="*/ 73 w 305"/>
                  <a:gd name="T35" fmla="*/ 182 h 280"/>
                  <a:gd name="T36" fmla="*/ 73 w 305"/>
                  <a:gd name="T37" fmla="*/ 187 h 280"/>
                  <a:gd name="T38" fmla="*/ 61 w 305"/>
                  <a:gd name="T39" fmla="*/ 184 h 280"/>
                  <a:gd name="T40" fmla="*/ 55 w 305"/>
                  <a:gd name="T41" fmla="*/ 173 h 280"/>
                  <a:gd name="T42" fmla="*/ 41 w 305"/>
                  <a:gd name="T43" fmla="*/ 141 h 280"/>
                  <a:gd name="T44" fmla="*/ 27 w 305"/>
                  <a:gd name="T45" fmla="*/ 127 h 280"/>
                  <a:gd name="T46" fmla="*/ 22 w 305"/>
                  <a:gd name="T47" fmla="*/ 123 h 280"/>
                  <a:gd name="T48" fmla="*/ 20 w 305"/>
                  <a:gd name="T49" fmla="*/ 116 h 280"/>
                  <a:gd name="T50" fmla="*/ 23 w 305"/>
                  <a:gd name="T51" fmla="*/ 105 h 280"/>
                  <a:gd name="T52" fmla="*/ 32 w 305"/>
                  <a:gd name="T53" fmla="*/ 93 h 280"/>
                  <a:gd name="T54" fmla="*/ 34 w 305"/>
                  <a:gd name="T55" fmla="*/ 80 h 280"/>
                  <a:gd name="T56" fmla="*/ 18 w 305"/>
                  <a:gd name="T57" fmla="*/ 70 h 280"/>
                  <a:gd name="T58" fmla="*/ 9 w 305"/>
                  <a:gd name="T59" fmla="*/ 48 h 280"/>
                  <a:gd name="T60" fmla="*/ 2 w 305"/>
                  <a:gd name="T61" fmla="*/ 16 h 280"/>
                  <a:gd name="T62" fmla="*/ 7 w 305"/>
                  <a:gd name="T63" fmla="*/ 0 h 280"/>
                  <a:gd name="T64" fmla="*/ 45 w 305"/>
                  <a:gd name="T65" fmla="*/ 11 h 280"/>
                  <a:gd name="T66" fmla="*/ 64 w 305"/>
                  <a:gd name="T67" fmla="*/ 5 h 280"/>
                  <a:gd name="T68" fmla="*/ 61 w 305"/>
                  <a:gd name="T69" fmla="*/ 20 h 280"/>
                  <a:gd name="T70" fmla="*/ 66 w 305"/>
                  <a:gd name="T71" fmla="*/ 23 h 280"/>
                  <a:gd name="T72" fmla="*/ 73 w 305"/>
                  <a:gd name="T73" fmla="*/ 27 h 280"/>
                  <a:gd name="T74" fmla="*/ 82 w 305"/>
                  <a:gd name="T75" fmla="*/ 48 h 280"/>
                  <a:gd name="T76" fmla="*/ 98 w 305"/>
                  <a:gd name="T77" fmla="*/ 52 h 280"/>
                  <a:gd name="T78" fmla="*/ 123 w 305"/>
                  <a:gd name="T79" fmla="*/ 66 h 280"/>
                  <a:gd name="T80" fmla="*/ 147 w 305"/>
                  <a:gd name="T81" fmla="*/ 61 h 280"/>
                  <a:gd name="T82" fmla="*/ 157 w 305"/>
                  <a:gd name="T83" fmla="*/ 54 h 280"/>
                  <a:gd name="T84" fmla="*/ 179 w 305"/>
                  <a:gd name="T85" fmla="*/ 36 h 280"/>
                  <a:gd name="T86" fmla="*/ 193 w 305"/>
                  <a:gd name="T87" fmla="*/ 36 h 280"/>
                  <a:gd name="T88" fmla="*/ 207 w 305"/>
                  <a:gd name="T89" fmla="*/ 30 h 280"/>
                  <a:gd name="T90" fmla="*/ 234 w 305"/>
                  <a:gd name="T91" fmla="*/ 43 h 280"/>
                  <a:gd name="T92" fmla="*/ 245 w 305"/>
                  <a:gd name="T93" fmla="*/ 50 h 280"/>
                  <a:gd name="T94" fmla="*/ 272 w 305"/>
                  <a:gd name="T95" fmla="*/ 66 h 280"/>
                  <a:gd name="T96" fmla="*/ 273 w 305"/>
                  <a:gd name="T97" fmla="*/ 80 h 280"/>
                  <a:gd name="T98" fmla="*/ 268 w 305"/>
                  <a:gd name="T99" fmla="*/ 111 h 280"/>
                  <a:gd name="T100" fmla="*/ 264 w 305"/>
                  <a:gd name="T101" fmla="*/ 123 h 280"/>
                  <a:gd name="T102" fmla="*/ 264 w 305"/>
                  <a:gd name="T103" fmla="*/ 145 h 280"/>
                  <a:gd name="T104" fmla="*/ 275 w 305"/>
                  <a:gd name="T105" fmla="*/ 162 h 280"/>
                  <a:gd name="T106" fmla="*/ 280 w 305"/>
                  <a:gd name="T107" fmla="*/ 175 h 280"/>
                  <a:gd name="T108" fmla="*/ 279 w 305"/>
                  <a:gd name="T109" fmla="*/ 216 h 280"/>
                  <a:gd name="T110" fmla="*/ 297 w 305"/>
                  <a:gd name="T111" fmla="*/ 225 h 280"/>
                  <a:gd name="T112" fmla="*/ 305 w 305"/>
                  <a:gd name="T113" fmla="*/ 245 h 280"/>
                  <a:gd name="T114" fmla="*/ 302 w 305"/>
                  <a:gd name="T115" fmla="*/ 252 h 280"/>
                  <a:gd name="T116" fmla="*/ 279 w 305"/>
                  <a:gd name="T117" fmla="*/ 27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5" h="280">
                    <a:moveTo>
                      <a:pt x="279" y="279"/>
                    </a:moveTo>
                    <a:lnTo>
                      <a:pt x="279" y="279"/>
                    </a:lnTo>
                    <a:lnTo>
                      <a:pt x="277" y="280"/>
                    </a:lnTo>
                    <a:lnTo>
                      <a:pt x="263" y="277"/>
                    </a:lnTo>
                    <a:lnTo>
                      <a:pt x="261" y="275"/>
                    </a:lnTo>
                    <a:lnTo>
                      <a:pt x="259" y="277"/>
                    </a:lnTo>
                    <a:lnTo>
                      <a:pt x="241" y="273"/>
                    </a:lnTo>
                    <a:lnTo>
                      <a:pt x="239" y="275"/>
                    </a:lnTo>
                    <a:lnTo>
                      <a:pt x="239" y="275"/>
                    </a:lnTo>
                    <a:lnTo>
                      <a:pt x="236" y="273"/>
                    </a:lnTo>
                    <a:lnTo>
                      <a:pt x="213" y="270"/>
                    </a:lnTo>
                    <a:lnTo>
                      <a:pt x="204" y="248"/>
                    </a:lnTo>
                    <a:lnTo>
                      <a:pt x="197" y="245"/>
                    </a:lnTo>
                    <a:lnTo>
                      <a:pt x="195" y="245"/>
                    </a:lnTo>
                    <a:lnTo>
                      <a:pt x="182" y="248"/>
                    </a:lnTo>
                    <a:lnTo>
                      <a:pt x="180" y="250"/>
                    </a:lnTo>
                    <a:lnTo>
                      <a:pt x="179" y="252"/>
                    </a:lnTo>
                    <a:lnTo>
                      <a:pt x="175" y="252"/>
                    </a:lnTo>
                    <a:lnTo>
                      <a:pt x="170" y="255"/>
                    </a:lnTo>
                    <a:lnTo>
                      <a:pt x="168" y="255"/>
                    </a:lnTo>
                    <a:lnTo>
                      <a:pt x="163" y="255"/>
                    </a:lnTo>
                    <a:lnTo>
                      <a:pt x="161" y="254"/>
                    </a:lnTo>
                    <a:lnTo>
                      <a:pt x="157" y="252"/>
                    </a:lnTo>
                    <a:lnTo>
                      <a:pt x="150" y="252"/>
                    </a:lnTo>
                    <a:lnTo>
                      <a:pt x="148" y="250"/>
                    </a:lnTo>
                    <a:lnTo>
                      <a:pt x="148" y="250"/>
                    </a:lnTo>
                    <a:lnTo>
                      <a:pt x="148" y="248"/>
                    </a:lnTo>
                    <a:lnTo>
                      <a:pt x="138" y="245"/>
                    </a:lnTo>
                    <a:lnTo>
                      <a:pt x="134" y="241"/>
                    </a:lnTo>
                    <a:lnTo>
                      <a:pt x="134" y="239"/>
                    </a:lnTo>
                    <a:lnTo>
                      <a:pt x="132" y="237"/>
                    </a:lnTo>
                    <a:lnTo>
                      <a:pt x="123" y="234"/>
                    </a:lnTo>
                    <a:lnTo>
                      <a:pt x="120" y="232"/>
                    </a:lnTo>
                    <a:lnTo>
                      <a:pt x="116" y="232"/>
                    </a:lnTo>
                    <a:lnTo>
                      <a:pt x="114" y="229"/>
                    </a:lnTo>
                    <a:lnTo>
                      <a:pt x="109" y="212"/>
                    </a:lnTo>
                    <a:lnTo>
                      <a:pt x="102" y="207"/>
                    </a:lnTo>
                    <a:lnTo>
                      <a:pt x="100" y="200"/>
                    </a:lnTo>
                    <a:lnTo>
                      <a:pt x="98" y="200"/>
                    </a:lnTo>
                    <a:lnTo>
                      <a:pt x="95" y="195"/>
                    </a:lnTo>
                    <a:lnTo>
                      <a:pt x="95" y="193"/>
                    </a:lnTo>
                    <a:lnTo>
                      <a:pt x="93" y="191"/>
                    </a:lnTo>
                    <a:lnTo>
                      <a:pt x="91" y="189"/>
                    </a:lnTo>
                    <a:lnTo>
                      <a:pt x="88" y="191"/>
                    </a:lnTo>
                    <a:lnTo>
                      <a:pt x="86" y="193"/>
                    </a:lnTo>
                    <a:lnTo>
                      <a:pt x="86" y="193"/>
                    </a:lnTo>
                    <a:lnTo>
                      <a:pt x="84" y="191"/>
                    </a:lnTo>
                    <a:lnTo>
                      <a:pt x="82" y="191"/>
                    </a:lnTo>
                    <a:lnTo>
                      <a:pt x="80" y="189"/>
                    </a:lnTo>
                    <a:lnTo>
                      <a:pt x="79" y="187"/>
                    </a:lnTo>
                    <a:lnTo>
                      <a:pt x="79" y="184"/>
                    </a:lnTo>
                    <a:lnTo>
                      <a:pt x="77" y="182"/>
                    </a:lnTo>
                    <a:lnTo>
                      <a:pt x="75" y="182"/>
                    </a:lnTo>
                    <a:lnTo>
                      <a:pt x="73" y="182"/>
                    </a:lnTo>
                    <a:lnTo>
                      <a:pt x="73" y="184"/>
                    </a:lnTo>
                    <a:lnTo>
                      <a:pt x="73" y="186"/>
                    </a:lnTo>
                    <a:lnTo>
                      <a:pt x="73" y="187"/>
                    </a:lnTo>
                    <a:lnTo>
                      <a:pt x="72" y="187"/>
                    </a:lnTo>
                    <a:lnTo>
                      <a:pt x="72" y="191"/>
                    </a:lnTo>
                    <a:lnTo>
                      <a:pt x="61" y="184"/>
                    </a:lnTo>
                    <a:lnTo>
                      <a:pt x="59" y="180"/>
                    </a:lnTo>
                    <a:lnTo>
                      <a:pt x="59" y="175"/>
                    </a:lnTo>
                    <a:lnTo>
                      <a:pt x="55" y="173"/>
                    </a:lnTo>
                    <a:lnTo>
                      <a:pt x="55" y="159"/>
                    </a:lnTo>
                    <a:lnTo>
                      <a:pt x="48" y="145"/>
                    </a:lnTo>
                    <a:lnTo>
                      <a:pt x="41" y="141"/>
                    </a:lnTo>
                    <a:lnTo>
                      <a:pt x="29" y="134"/>
                    </a:lnTo>
                    <a:lnTo>
                      <a:pt x="29" y="130"/>
                    </a:lnTo>
                    <a:lnTo>
                      <a:pt x="27" y="127"/>
                    </a:lnTo>
                    <a:lnTo>
                      <a:pt x="25" y="125"/>
                    </a:lnTo>
                    <a:lnTo>
                      <a:pt x="23" y="123"/>
                    </a:lnTo>
                    <a:lnTo>
                      <a:pt x="22" y="123"/>
                    </a:lnTo>
                    <a:lnTo>
                      <a:pt x="20" y="121"/>
                    </a:lnTo>
                    <a:lnTo>
                      <a:pt x="20" y="116"/>
                    </a:lnTo>
                    <a:lnTo>
                      <a:pt x="20" y="116"/>
                    </a:lnTo>
                    <a:lnTo>
                      <a:pt x="22" y="114"/>
                    </a:lnTo>
                    <a:lnTo>
                      <a:pt x="22" y="107"/>
                    </a:lnTo>
                    <a:lnTo>
                      <a:pt x="23" y="105"/>
                    </a:lnTo>
                    <a:lnTo>
                      <a:pt x="25" y="104"/>
                    </a:lnTo>
                    <a:lnTo>
                      <a:pt x="25" y="102"/>
                    </a:lnTo>
                    <a:lnTo>
                      <a:pt x="32" y="93"/>
                    </a:lnTo>
                    <a:lnTo>
                      <a:pt x="31" y="87"/>
                    </a:lnTo>
                    <a:lnTo>
                      <a:pt x="32" y="82"/>
                    </a:lnTo>
                    <a:lnTo>
                      <a:pt x="34" y="80"/>
                    </a:lnTo>
                    <a:lnTo>
                      <a:pt x="23" y="79"/>
                    </a:lnTo>
                    <a:lnTo>
                      <a:pt x="20" y="77"/>
                    </a:lnTo>
                    <a:lnTo>
                      <a:pt x="18" y="70"/>
                    </a:lnTo>
                    <a:lnTo>
                      <a:pt x="14" y="66"/>
                    </a:lnTo>
                    <a:lnTo>
                      <a:pt x="11" y="62"/>
                    </a:lnTo>
                    <a:lnTo>
                      <a:pt x="9" y="48"/>
                    </a:lnTo>
                    <a:lnTo>
                      <a:pt x="7" y="43"/>
                    </a:lnTo>
                    <a:lnTo>
                      <a:pt x="2" y="39"/>
                    </a:lnTo>
                    <a:lnTo>
                      <a:pt x="2" y="16"/>
                    </a:lnTo>
                    <a:lnTo>
                      <a:pt x="0" y="9"/>
                    </a:lnTo>
                    <a:lnTo>
                      <a:pt x="4" y="7"/>
                    </a:lnTo>
                    <a:lnTo>
                      <a:pt x="7" y="0"/>
                    </a:lnTo>
                    <a:lnTo>
                      <a:pt x="20" y="18"/>
                    </a:lnTo>
                    <a:lnTo>
                      <a:pt x="41" y="20"/>
                    </a:lnTo>
                    <a:lnTo>
                      <a:pt x="45" y="11"/>
                    </a:lnTo>
                    <a:lnTo>
                      <a:pt x="52" y="5"/>
                    </a:lnTo>
                    <a:lnTo>
                      <a:pt x="59" y="4"/>
                    </a:lnTo>
                    <a:lnTo>
                      <a:pt x="64" y="5"/>
                    </a:lnTo>
                    <a:lnTo>
                      <a:pt x="64" y="11"/>
                    </a:lnTo>
                    <a:lnTo>
                      <a:pt x="66" y="16"/>
                    </a:lnTo>
                    <a:lnTo>
                      <a:pt x="61" y="20"/>
                    </a:lnTo>
                    <a:lnTo>
                      <a:pt x="61" y="20"/>
                    </a:lnTo>
                    <a:lnTo>
                      <a:pt x="64" y="21"/>
                    </a:lnTo>
                    <a:lnTo>
                      <a:pt x="66" y="23"/>
                    </a:lnTo>
                    <a:lnTo>
                      <a:pt x="68" y="25"/>
                    </a:lnTo>
                    <a:lnTo>
                      <a:pt x="70" y="27"/>
                    </a:lnTo>
                    <a:lnTo>
                      <a:pt x="73" y="27"/>
                    </a:lnTo>
                    <a:lnTo>
                      <a:pt x="75" y="27"/>
                    </a:lnTo>
                    <a:lnTo>
                      <a:pt x="79" y="45"/>
                    </a:lnTo>
                    <a:lnTo>
                      <a:pt x="82" y="48"/>
                    </a:lnTo>
                    <a:lnTo>
                      <a:pt x="88" y="50"/>
                    </a:lnTo>
                    <a:lnTo>
                      <a:pt x="97" y="50"/>
                    </a:lnTo>
                    <a:lnTo>
                      <a:pt x="98" y="52"/>
                    </a:lnTo>
                    <a:lnTo>
                      <a:pt x="100" y="55"/>
                    </a:lnTo>
                    <a:lnTo>
                      <a:pt x="109" y="62"/>
                    </a:lnTo>
                    <a:lnTo>
                      <a:pt x="123" y="66"/>
                    </a:lnTo>
                    <a:lnTo>
                      <a:pt x="152" y="59"/>
                    </a:lnTo>
                    <a:lnTo>
                      <a:pt x="150" y="59"/>
                    </a:lnTo>
                    <a:lnTo>
                      <a:pt x="147" y="61"/>
                    </a:lnTo>
                    <a:lnTo>
                      <a:pt x="152" y="61"/>
                    </a:lnTo>
                    <a:lnTo>
                      <a:pt x="159" y="59"/>
                    </a:lnTo>
                    <a:lnTo>
                      <a:pt x="157" y="54"/>
                    </a:lnTo>
                    <a:lnTo>
                      <a:pt x="155" y="48"/>
                    </a:lnTo>
                    <a:lnTo>
                      <a:pt x="164" y="46"/>
                    </a:lnTo>
                    <a:lnTo>
                      <a:pt x="179" y="36"/>
                    </a:lnTo>
                    <a:lnTo>
                      <a:pt x="188" y="34"/>
                    </a:lnTo>
                    <a:lnTo>
                      <a:pt x="191" y="36"/>
                    </a:lnTo>
                    <a:lnTo>
                      <a:pt x="193" y="36"/>
                    </a:lnTo>
                    <a:lnTo>
                      <a:pt x="195" y="34"/>
                    </a:lnTo>
                    <a:lnTo>
                      <a:pt x="197" y="30"/>
                    </a:lnTo>
                    <a:lnTo>
                      <a:pt x="207" y="30"/>
                    </a:lnTo>
                    <a:lnTo>
                      <a:pt x="213" y="37"/>
                    </a:lnTo>
                    <a:lnTo>
                      <a:pt x="232" y="45"/>
                    </a:lnTo>
                    <a:lnTo>
                      <a:pt x="234" y="43"/>
                    </a:lnTo>
                    <a:lnTo>
                      <a:pt x="239" y="45"/>
                    </a:lnTo>
                    <a:lnTo>
                      <a:pt x="241" y="46"/>
                    </a:lnTo>
                    <a:lnTo>
                      <a:pt x="245" y="50"/>
                    </a:lnTo>
                    <a:lnTo>
                      <a:pt x="245" y="54"/>
                    </a:lnTo>
                    <a:lnTo>
                      <a:pt x="264" y="66"/>
                    </a:lnTo>
                    <a:lnTo>
                      <a:pt x="272" y="66"/>
                    </a:lnTo>
                    <a:lnTo>
                      <a:pt x="273" y="66"/>
                    </a:lnTo>
                    <a:lnTo>
                      <a:pt x="273" y="77"/>
                    </a:lnTo>
                    <a:lnTo>
                      <a:pt x="273" y="80"/>
                    </a:lnTo>
                    <a:lnTo>
                      <a:pt x="272" y="100"/>
                    </a:lnTo>
                    <a:lnTo>
                      <a:pt x="268" y="105"/>
                    </a:lnTo>
                    <a:lnTo>
                      <a:pt x="268" y="111"/>
                    </a:lnTo>
                    <a:lnTo>
                      <a:pt x="261" y="112"/>
                    </a:lnTo>
                    <a:lnTo>
                      <a:pt x="261" y="121"/>
                    </a:lnTo>
                    <a:lnTo>
                      <a:pt x="264" y="123"/>
                    </a:lnTo>
                    <a:lnTo>
                      <a:pt x="266" y="127"/>
                    </a:lnTo>
                    <a:lnTo>
                      <a:pt x="263" y="136"/>
                    </a:lnTo>
                    <a:lnTo>
                      <a:pt x="264" y="145"/>
                    </a:lnTo>
                    <a:lnTo>
                      <a:pt x="264" y="159"/>
                    </a:lnTo>
                    <a:lnTo>
                      <a:pt x="268" y="162"/>
                    </a:lnTo>
                    <a:lnTo>
                      <a:pt x="275" y="162"/>
                    </a:lnTo>
                    <a:lnTo>
                      <a:pt x="279" y="166"/>
                    </a:lnTo>
                    <a:lnTo>
                      <a:pt x="280" y="171"/>
                    </a:lnTo>
                    <a:lnTo>
                      <a:pt x="280" y="175"/>
                    </a:lnTo>
                    <a:lnTo>
                      <a:pt x="266" y="196"/>
                    </a:lnTo>
                    <a:lnTo>
                      <a:pt x="273" y="204"/>
                    </a:lnTo>
                    <a:lnTo>
                      <a:pt x="279" y="216"/>
                    </a:lnTo>
                    <a:lnTo>
                      <a:pt x="288" y="221"/>
                    </a:lnTo>
                    <a:lnTo>
                      <a:pt x="295" y="223"/>
                    </a:lnTo>
                    <a:lnTo>
                      <a:pt x="297" y="225"/>
                    </a:lnTo>
                    <a:lnTo>
                      <a:pt x="298" y="241"/>
                    </a:lnTo>
                    <a:lnTo>
                      <a:pt x="304" y="243"/>
                    </a:lnTo>
                    <a:lnTo>
                      <a:pt x="305" y="245"/>
                    </a:lnTo>
                    <a:lnTo>
                      <a:pt x="305" y="246"/>
                    </a:lnTo>
                    <a:lnTo>
                      <a:pt x="305" y="248"/>
                    </a:lnTo>
                    <a:lnTo>
                      <a:pt x="302" y="252"/>
                    </a:lnTo>
                    <a:lnTo>
                      <a:pt x="289" y="257"/>
                    </a:lnTo>
                    <a:lnTo>
                      <a:pt x="282" y="262"/>
                    </a:lnTo>
                    <a:lnTo>
                      <a:pt x="279" y="27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88" name="Freeform 1936"/>
              <p:cNvSpPr>
                <a:spLocks/>
              </p:cNvSpPr>
              <p:nvPr/>
            </p:nvSpPr>
            <p:spPr bwMode="auto">
              <a:xfrm>
                <a:off x="3403" y="2020"/>
                <a:ext cx="305" cy="280"/>
              </a:xfrm>
              <a:custGeom>
                <a:avLst/>
                <a:gdLst>
                  <a:gd name="T0" fmla="*/ 277 w 305"/>
                  <a:gd name="T1" fmla="*/ 280 h 280"/>
                  <a:gd name="T2" fmla="*/ 259 w 305"/>
                  <a:gd name="T3" fmla="*/ 277 h 280"/>
                  <a:gd name="T4" fmla="*/ 239 w 305"/>
                  <a:gd name="T5" fmla="*/ 275 h 280"/>
                  <a:gd name="T6" fmla="*/ 204 w 305"/>
                  <a:gd name="T7" fmla="*/ 248 h 280"/>
                  <a:gd name="T8" fmla="*/ 182 w 305"/>
                  <a:gd name="T9" fmla="*/ 248 h 280"/>
                  <a:gd name="T10" fmla="*/ 175 w 305"/>
                  <a:gd name="T11" fmla="*/ 252 h 280"/>
                  <a:gd name="T12" fmla="*/ 163 w 305"/>
                  <a:gd name="T13" fmla="*/ 255 h 280"/>
                  <a:gd name="T14" fmla="*/ 150 w 305"/>
                  <a:gd name="T15" fmla="*/ 252 h 280"/>
                  <a:gd name="T16" fmla="*/ 148 w 305"/>
                  <a:gd name="T17" fmla="*/ 248 h 280"/>
                  <a:gd name="T18" fmla="*/ 134 w 305"/>
                  <a:gd name="T19" fmla="*/ 239 h 280"/>
                  <a:gd name="T20" fmla="*/ 120 w 305"/>
                  <a:gd name="T21" fmla="*/ 232 h 280"/>
                  <a:gd name="T22" fmla="*/ 109 w 305"/>
                  <a:gd name="T23" fmla="*/ 212 h 280"/>
                  <a:gd name="T24" fmla="*/ 98 w 305"/>
                  <a:gd name="T25" fmla="*/ 200 h 280"/>
                  <a:gd name="T26" fmla="*/ 93 w 305"/>
                  <a:gd name="T27" fmla="*/ 191 h 280"/>
                  <a:gd name="T28" fmla="*/ 86 w 305"/>
                  <a:gd name="T29" fmla="*/ 193 h 280"/>
                  <a:gd name="T30" fmla="*/ 82 w 305"/>
                  <a:gd name="T31" fmla="*/ 191 h 280"/>
                  <a:gd name="T32" fmla="*/ 79 w 305"/>
                  <a:gd name="T33" fmla="*/ 184 h 280"/>
                  <a:gd name="T34" fmla="*/ 73 w 305"/>
                  <a:gd name="T35" fmla="*/ 182 h 280"/>
                  <a:gd name="T36" fmla="*/ 73 w 305"/>
                  <a:gd name="T37" fmla="*/ 187 h 280"/>
                  <a:gd name="T38" fmla="*/ 61 w 305"/>
                  <a:gd name="T39" fmla="*/ 184 h 280"/>
                  <a:gd name="T40" fmla="*/ 55 w 305"/>
                  <a:gd name="T41" fmla="*/ 173 h 280"/>
                  <a:gd name="T42" fmla="*/ 41 w 305"/>
                  <a:gd name="T43" fmla="*/ 141 h 280"/>
                  <a:gd name="T44" fmla="*/ 27 w 305"/>
                  <a:gd name="T45" fmla="*/ 127 h 280"/>
                  <a:gd name="T46" fmla="*/ 22 w 305"/>
                  <a:gd name="T47" fmla="*/ 123 h 280"/>
                  <a:gd name="T48" fmla="*/ 20 w 305"/>
                  <a:gd name="T49" fmla="*/ 116 h 280"/>
                  <a:gd name="T50" fmla="*/ 23 w 305"/>
                  <a:gd name="T51" fmla="*/ 105 h 280"/>
                  <a:gd name="T52" fmla="*/ 32 w 305"/>
                  <a:gd name="T53" fmla="*/ 93 h 280"/>
                  <a:gd name="T54" fmla="*/ 34 w 305"/>
                  <a:gd name="T55" fmla="*/ 80 h 280"/>
                  <a:gd name="T56" fmla="*/ 18 w 305"/>
                  <a:gd name="T57" fmla="*/ 70 h 280"/>
                  <a:gd name="T58" fmla="*/ 9 w 305"/>
                  <a:gd name="T59" fmla="*/ 48 h 280"/>
                  <a:gd name="T60" fmla="*/ 2 w 305"/>
                  <a:gd name="T61" fmla="*/ 16 h 280"/>
                  <a:gd name="T62" fmla="*/ 7 w 305"/>
                  <a:gd name="T63" fmla="*/ 0 h 280"/>
                  <a:gd name="T64" fmla="*/ 45 w 305"/>
                  <a:gd name="T65" fmla="*/ 11 h 280"/>
                  <a:gd name="T66" fmla="*/ 64 w 305"/>
                  <a:gd name="T67" fmla="*/ 5 h 280"/>
                  <a:gd name="T68" fmla="*/ 61 w 305"/>
                  <a:gd name="T69" fmla="*/ 20 h 280"/>
                  <a:gd name="T70" fmla="*/ 66 w 305"/>
                  <a:gd name="T71" fmla="*/ 23 h 280"/>
                  <a:gd name="T72" fmla="*/ 73 w 305"/>
                  <a:gd name="T73" fmla="*/ 27 h 280"/>
                  <a:gd name="T74" fmla="*/ 82 w 305"/>
                  <a:gd name="T75" fmla="*/ 48 h 280"/>
                  <a:gd name="T76" fmla="*/ 98 w 305"/>
                  <a:gd name="T77" fmla="*/ 52 h 280"/>
                  <a:gd name="T78" fmla="*/ 123 w 305"/>
                  <a:gd name="T79" fmla="*/ 66 h 280"/>
                  <a:gd name="T80" fmla="*/ 147 w 305"/>
                  <a:gd name="T81" fmla="*/ 61 h 280"/>
                  <a:gd name="T82" fmla="*/ 157 w 305"/>
                  <a:gd name="T83" fmla="*/ 54 h 280"/>
                  <a:gd name="T84" fmla="*/ 179 w 305"/>
                  <a:gd name="T85" fmla="*/ 36 h 280"/>
                  <a:gd name="T86" fmla="*/ 193 w 305"/>
                  <a:gd name="T87" fmla="*/ 36 h 280"/>
                  <a:gd name="T88" fmla="*/ 207 w 305"/>
                  <a:gd name="T89" fmla="*/ 30 h 280"/>
                  <a:gd name="T90" fmla="*/ 234 w 305"/>
                  <a:gd name="T91" fmla="*/ 43 h 280"/>
                  <a:gd name="T92" fmla="*/ 245 w 305"/>
                  <a:gd name="T93" fmla="*/ 50 h 280"/>
                  <a:gd name="T94" fmla="*/ 272 w 305"/>
                  <a:gd name="T95" fmla="*/ 66 h 280"/>
                  <a:gd name="T96" fmla="*/ 273 w 305"/>
                  <a:gd name="T97" fmla="*/ 80 h 280"/>
                  <a:gd name="T98" fmla="*/ 268 w 305"/>
                  <a:gd name="T99" fmla="*/ 111 h 280"/>
                  <a:gd name="T100" fmla="*/ 264 w 305"/>
                  <a:gd name="T101" fmla="*/ 123 h 280"/>
                  <a:gd name="T102" fmla="*/ 264 w 305"/>
                  <a:gd name="T103" fmla="*/ 145 h 280"/>
                  <a:gd name="T104" fmla="*/ 275 w 305"/>
                  <a:gd name="T105" fmla="*/ 162 h 280"/>
                  <a:gd name="T106" fmla="*/ 280 w 305"/>
                  <a:gd name="T107" fmla="*/ 175 h 280"/>
                  <a:gd name="T108" fmla="*/ 279 w 305"/>
                  <a:gd name="T109" fmla="*/ 216 h 280"/>
                  <a:gd name="T110" fmla="*/ 297 w 305"/>
                  <a:gd name="T111" fmla="*/ 225 h 280"/>
                  <a:gd name="T112" fmla="*/ 305 w 305"/>
                  <a:gd name="T113" fmla="*/ 245 h 280"/>
                  <a:gd name="T114" fmla="*/ 302 w 305"/>
                  <a:gd name="T115" fmla="*/ 252 h 280"/>
                  <a:gd name="T116" fmla="*/ 279 w 305"/>
                  <a:gd name="T117" fmla="*/ 279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05" h="280">
                    <a:moveTo>
                      <a:pt x="279" y="279"/>
                    </a:moveTo>
                    <a:lnTo>
                      <a:pt x="279" y="279"/>
                    </a:lnTo>
                    <a:lnTo>
                      <a:pt x="277" y="280"/>
                    </a:lnTo>
                    <a:lnTo>
                      <a:pt x="263" y="277"/>
                    </a:lnTo>
                    <a:lnTo>
                      <a:pt x="261" y="275"/>
                    </a:lnTo>
                    <a:lnTo>
                      <a:pt x="259" y="277"/>
                    </a:lnTo>
                    <a:lnTo>
                      <a:pt x="241" y="273"/>
                    </a:lnTo>
                    <a:lnTo>
                      <a:pt x="239" y="275"/>
                    </a:lnTo>
                    <a:lnTo>
                      <a:pt x="239" y="275"/>
                    </a:lnTo>
                    <a:lnTo>
                      <a:pt x="236" y="273"/>
                    </a:lnTo>
                    <a:lnTo>
                      <a:pt x="213" y="270"/>
                    </a:lnTo>
                    <a:lnTo>
                      <a:pt x="204" y="248"/>
                    </a:lnTo>
                    <a:lnTo>
                      <a:pt x="197" y="245"/>
                    </a:lnTo>
                    <a:lnTo>
                      <a:pt x="195" y="245"/>
                    </a:lnTo>
                    <a:lnTo>
                      <a:pt x="182" y="248"/>
                    </a:lnTo>
                    <a:lnTo>
                      <a:pt x="180" y="250"/>
                    </a:lnTo>
                    <a:lnTo>
                      <a:pt x="179" y="252"/>
                    </a:lnTo>
                    <a:lnTo>
                      <a:pt x="175" y="252"/>
                    </a:lnTo>
                    <a:lnTo>
                      <a:pt x="170" y="255"/>
                    </a:lnTo>
                    <a:lnTo>
                      <a:pt x="168" y="255"/>
                    </a:lnTo>
                    <a:lnTo>
                      <a:pt x="163" y="255"/>
                    </a:lnTo>
                    <a:lnTo>
                      <a:pt x="161" y="254"/>
                    </a:lnTo>
                    <a:lnTo>
                      <a:pt x="157" y="252"/>
                    </a:lnTo>
                    <a:lnTo>
                      <a:pt x="150" y="252"/>
                    </a:lnTo>
                    <a:lnTo>
                      <a:pt x="148" y="250"/>
                    </a:lnTo>
                    <a:lnTo>
                      <a:pt x="148" y="250"/>
                    </a:lnTo>
                    <a:lnTo>
                      <a:pt x="148" y="248"/>
                    </a:lnTo>
                    <a:lnTo>
                      <a:pt x="138" y="245"/>
                    </a:lnTo>
                    <a:lnTo>
                      <a:pt x="134" y="241"/>
                    </a:lnTo>
                    <a:lnTo>
                      <a:pt x="134" y="239"/>
                    </a:lnTo>
                    <a:lnTo>
                      <a:pt x="132" y="237"/>
                    </a:lnTo>
                    <a:lnTo>
                      <a:pt x="123" y="234"/>
                    </a:lnTo>
                    <a:lnTo>
                      <a:pt x="120" y="232"/>
                    </a:lnTo>
                    <a:lnTo>
                      <a:pt x="116" y="232"/>
                    </a:lnTo>
                    <a:lnTo>
                      <a:pt x="114" y="229"/>
                    </a:lnTo>
                    <a:lnTo>
                      <a:pt x="109" y="212"/>
                    </a:lnTo>
                    <a:lnTo>
                      <a:pt x="102" y="207"/>
                    </a:lnTo>
                    <a:lnTo>
                      <a:pt x="100" y="200"/>
                    </a:lnTo>
                    <a:lnTo>
                      <a:pt x="98" y="200"/>
                    </a:lnTo>
                    <a:lnTo>
                      <a:pt x="95" y="195"/>
                    </a:lnTo>
                    <a:lnTo>
                      <a:pt x="95" y="193"/>
                    </a:lnTo>
                    <a:lnTo>
                      <a:pt x="93" y="191"/>
                    </a:lnTo>
                    <a:lnTo>
                      <a:pt x="91" y="189"/>
                    </a:lnTo>
                    <a:lnTo>
                      <a:pt x="88" y="191"/>
                    </a:lnTo>
                    <a:lnTo>
                      <a:pt x="86" y="193"/>
                    </a:lnTo>
                    <a:lnTo>
                      <a:pt x="86" y="193"/>
                    </a:lnTo>
                    <a:lnTo>
                      <a:pt x="84" y="191"/>
                    </a:lnTo>
                    <a:lnTo>
                      <a:pt x="82" y="191"/>
                    </a:lnTo>
                    <a:lnTo>
                      <a:pt x="80" y="189"/>
                    </a:lnTo>
                    <a:lnTo>
                      <a:pt x="79" y="187"/>
                    </a:lnTo>
                    <a:lnTo>
                      <a:pt x="79" y="184"/>
                    </a:lnTo>
                    <a:lnTo>
                      <a:pt x="77" y="182"/>
                    </a:lnTo>
                    <a:lnTo>
                      <a:pt x="75" y="182"/>
                    </a:lnTo>
                    <a:lnTo>
                      <a:pt x="73" y="182"/>
                    </a:lnTo>
                    <a:lnTo>
                      <a:pt x="73" y="184"/>
                    </a:lnTo>
                    <a:lnTo>
                      <a:pt x="73" y="186"/>
                    </a:lnTo>
                    <a:lnTo>
                      <a:pt x="73" y="187"/>
                    </a:lnTo>
                    <a:lnTo>
                      <a:pt x="72" y="187"/>
                    </a:lnTo>
                    <a:lnTo>
                      <a:pt x="72" y="191"/>
                    </a:lnTo>
                    <a:lnTo>
                      <a:pt x="61" y="184"/>
                    </a:lnTo>
                    <a:lnTo>
                      <a:pt x="59" y="180"/>
                    </a:lnTo>
                    <a:lnTo>
                      <a:pt x="59" y="175"/>
                    </a:lnTo>
                    <a:lnTo>
                      <a:pt x="55" y="173"/>
                    </a:lnTo>
                    <a:lnTo>
                      <a:pt x="55" y="159"/>
                    </a:lnTo>
                    <a:lnTo>
                      <a:pt x="48" y="145"/>
                    </a:lnTo>
                    <a:lnTo>
                      <a:pt x="41" y="141"/>
                    </a:lnTo>
                    <a:lnTo>
                      <a:pt x="29" y="134"/>
                    </a:lnTo>
                    <a:lnTo>
                      <a:pt x="29" y="130"/>
                    </a:lnTo>
                    <a:lnTo>
                      <a:pt x="27" y="127"/>
                    </a:lnTo>
                    <a:lnTo>
                      <a:pt x="25" y="125"/>
                    </a:lnTo>
                    <a:lnTo>
                      <a:pt x="23" y="123"/>
                    </a:lnTo>
                    <a:lnTo>
                      <a:pt x="22" y="123"/>
                    </a:lnTo>
                    <a:lnTo>
                      <a:pt x="20" y="121"/>
                    </a:lnTo>
                    <a:lnTo>
                      <a:pt x="20" y="116"/>
                    </a:lnTo>
                    <a:lnTo>
                      <a:pt x="20" y="116"/>
                    </a:lnTo>
                    <a:lnTo>
                      <a:pt x="22" y="114"/>
                    </a:lnTo>
                    <a:lnTo>
                      <a:pt x="22" y="107"/>
                    </a:lnTo>
                    <a:lnTo>
                      <a:pt x="23" y="105"/>
                    </a:lnTo>
                    <a:lnTo>
                      <a:pt x="25" y="104"/>
                    </a:lnTo>
                    <a:lnTo>
                      <a:pt x="25" y="102"/>
                    </a:lnTo>
                    <a:lnTo>
                      <a:pt x="32" y="93"/>
                    </a:lnTo>
                    <a:lnTo>
                      <a:pt x="31" y="87"/>
                    </a:lnTo>
                    <a:lnTo>
                      <a:pt x="32" y="82"/>
                    </a:lnTo>
                    <a:lnTo>
                      <a:pt x="34" y="80"/>
                    </a:lnTo>
                    <a:lnTo>
                      <a:pt x="23" y="79"/>
                    </a:lnTo>
                    <a:lnTo>
                      <a:pt x="20" y="77"/>
                    </a:lnTo>
                    <a:lnTo>
                      <a:pt x="18" y="70"/>
                    </a:lnTo>
                    <a:lnTo>
                      <a:pt x="14" y="66"/>
                    </a:lnTo>
                    <a:lnTo>
                      <a:pt x="11" y="62"/>
                    </a:lnTo>
                    <a:lnTo>
                      <a:pt x="9" y="48"/>
                    </a:lnTo>
                    <a:lnTo>
                      <a:pt x="7" y="43"/>
                    </a:lnTo>
                    <a:lnTo>
                      <a:pt x="2" y="39"/>
                    </a:lnTo>
                    <a:lnTo>
                      <a:pt x="2" y="16"/>
                    </a:lnTo>
                    <a:lnTo>
                      <a:pt x="0" y="9"/>
                    </a:lnTo>
                    <a:lnTo>
                      <a:pt x="4" y="7"/>
                    </a:lnTo>
                    <a:lnTo>
                      <a:pt x="7" y="0"/>
                    </a:lnTo>
                    <a:lnTo>
                      <a:pt x="20" y="18"/>
                    </a:lnTo>
                    <a:lnTo>
                      <a:pt x="41" y="20"/>
                    </a:lnTo>
                    <a:lnTo>
                      <a:pt x="45" y="11"/>
                    </a:lnTo>
                    <a:lnTo>
                      <a:pt x="52" y="5"/>
                    </a:lnTo>
                    <a:lnTo>
                      <a:pt x="59" y="4"/>
                    </a:lnTo>
                    <a:lnTo>
                      <a:pt x="64" y="5"/>
                    </a:lnTo>
                    <a:lnTo>
                      <a:pt x="64" y="11"/>
                    </a:lnTo>
                    <a:lnTo>
                      <a:pt x="66" y="16"/>
                    </a:lnTo>
                    <a:lnTo>
                      <a:pt x="61" y="20"/>
                    </a:lnTo>
                    <a:lnTo>
                      <a:pt x="61" y="20"/>
                    </a:lnTo>
                    <a:lnTo>
                      <a:pt x="64" y="21"/>
                    </a:lnTo>
                    <a:lnTo>
                      <a:pt x="66" y="23"/>
                    </a:lnTo>
                    <a:lnTo>
                      <a:pt x="68" y="25"/>
                    </a:lnTo>
                    <a:lnTo>
                      <a:pt x="70" y="27"/>
                    </a:lnTo>
                    <a:lnTo>
                      <a:pt x="73" y="27"/>
                    </a:lnTo>
                    <a:lnTo>
                      <a:pt x="75" y="27"/>
                    </a:lnTo>
                    <a:lnTo>
                      <a:pt x="79" y="45"/>
                    </a:lnTo>
                    <a:lnTo>
                      <a:pt x="82" y="48"/>
                    </a:lnTo>
                    <a:lnTo>
                      <a:pt x="88" y="50"/>
                    </a:lnTo>
                    <a:lnTo>
                      <a:pt x="97" y="50"/>
                    </a:lnTo>
                    <a:lnTo>
                      <a:pt x="98" y="52"/>
                    </a:lnTo>
                    <a:lnTo>
                      <a:pt x="100" y="55"/>
                    </a:lnTo>
                    <a:lnTo>
                      <a:pt x="109" y="62"/>
                    </a:lnTo>
                    <a:lnTo>
                      <a:pt x="123" y="66"/>
                    </a:lnTo>
                    <a:lnTo>
                      <a:pt x="152" y="59"/>
                    </a:lnTo>
                    <a:lnTo>
                      <a:pt x="150" y="59"/>
                    </a:lnTo>
                    <a:lnTo>
                      <a:pt x="147" y="61"/>
                    </a:lnTo>
                    <a:lnTo>
                      <a:pt x="152" y="61"/>
                    </a:lnTo>
                    <a:lnTo>
                      <a:pt x="159" y="59"/>
                    </a:lnTo>
                    <a:lnTo>
                      <a:pt x="157" y="54"/>
                    </a:lnTo>
                    <a:lnTo>
                      <a:pt x="155" y="48"/>
                    </a:lnTo>
                    <a:lnTo>
                      <a:pt x="164" y="46"/>
                    </a:lnTo>
                    <a:lnTo>
                      <a:pt x="179" y="36"/>
                    </a:lnTo>
                    <a:lnTo>
                      <a:pt x="188" y="34"/>
                    </a:lnTo>
                    <a:lnTo>
                      <a:pt x="191" y="36"/>
                    </a:lnTo>
                    <a:lnTo>
                      <a:pt x="193" y="36"/>
                    </a:lnTo>
                    <a:lnTo>
                      <a:pt x="195" y="34"/>
                    </a:lnTo>
                    <a:lnTo>
                      <a:pt x="197" y="30"/>
                    </a:lnTo>
                    <a:lnTo>
                      <a:pt x="207" y="30"/>
                    </a:lnTo>
                    <a:lnTo>
                      <a:pt x="213" y="37"/>
                    </a:lnTo>
                    <a:lnTo>
                      <a:pt x="232" y="45"/>
                    </a:lnTo>
                    <a:lnTo>
                      <a:pt x="234" y="43"/>
                    </a:lnTo>
                    <a:lnTo>
                      <a:pt x="239" y="45"/>
                    </a:lnTo>
                    <a:lnTo>
                      <a:pt x="241" y="46"/>
                    </a:lnTo>
                    <a:lnTo>
                      <a:pt x="245" y="50"/>
                    </a:lnTo>
                    <a:lnTo>
                      <a:pt x="245" y="54"/>
                    </a:lnTo>
                    <a:lnTo>
                      <a:pt x="264" y="66"/>
                    </a:lnTo>
                    <a:lnTo>
                      <a:pt x="272" y="66"/>
                    </a:lnTo>
                    <a:lnTo>
                      <a:pt x="273" y="66"/>
                    </a:lnTo>
                    <a:lnTo>
                      <a:pt x="273" y="77"/>
                    </a:lnTo>
                    <a:lnTo>
                      <a:pt x="273" y="80"/>
                    </a:lnTo>
                    <a:lnTo>
                      <a:pt x="272" y="100"/>
                    </a:lnTo>
                    <a:lnTo>
                      <a:pt x="268" y="105"/>
                    </a:lnTo>
                    <a:lnTo>
                      <a:pt x="268" y="111"/>
                    </a:lnTo>
                    <a:lnTo>
                      <a:pt x="261" y="112"/>
                    </a:lnTo>
                    <a:lnTo>
                      <a:pt x="261" y="121"/>
                    </a:lnTo>
                    <a:lnTo>
                      <a:pt x="264" y="123"/>
                    </a:lnTo>
                    <a:lnTo>
                      <a:pt x="266" y="127"/>
                    </a:lnTo>
                    <a:lnTo>
                      <a:pt x="263" y="136"/>
                    </a:lnTo>
                    <a:lnTo>
                      <a:pt x="264" y="145"/>
                    </a:lnTo>
                    <a:lnTo>
                      <a:pt x="264" y="159"/>
                    </a:lnTo>
                    <a:lnTo>
                      <a:pt x="268" y="162"/>
                    </a:lnTo>
                    <a:lnTo>
                      <a:pt x="275" y="162"/>
                    </a:lnTo>
                    <a:lnTo>
                      <a:pt x="279" y="166"/>
                    </a:lnTo>
                    <a:lnTo>
                      <a:pt x="280" y="171"/>
                    </a:lnTo>
                    <a:lnTo>
                      <a:pt x="280" y="175"/>
                    </a:lnTo>
                    <a:lnTo>
                      <a:pt x="266" y="196"/>
                    </a:lnTo>
                    <a:lnTo>
                      <a:pt x="273" y="204"/>
                    </a:lnTo>
                    <a:lnTo>
                      <a:pt x="279" y="216"/>
                    </a:lnTo>
                    <a:lnTo>
                      <a:pt x="288" y="221"/>
                    </a:lnTo>
                    <a:lnTo>
                      <a:pt x="295" y="223"/>
                    </a:lnTo>
                    <a:lnTo>
                      <a:pt x="297" y="225"/>
                    </a:lnTo>
                    <a:lnTo>
                      <a:pt x="298" y="241"/>
                    </a:lnTo>
                    <a:lnTo>
                      <a:pt x="304" y="243"/>
                    </a:lnTo>
                    <a:lnTo>
                      <a:pt x="305" y="245"/>
                    </a:lnTo>
                    <a:lnTo>
                      <a:pt x="305" y="246"/>
                    </a:lnTo>
                    <a:lnTo>
                      <a:pt x="305" y="248"/>
                    </a:lnTo>
                    <a:lnTo>
                      <a:pt x="302" y="252"/>
                    </a:lnTo>
                    <a:lnTo>
                      <a:pt x="289" y="257"/>
                    </a:lnTo>
                    <a:lnTo>
                      <a:pt x="282" y="262"/>
                    </a:lnTo>
                    <a:lnTo>
                      <a:pt x="279" y="27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89" name="Freeform 1937"/>
              <p:cNvSpPr>
                <a:spLocks/>
              </p:cNvSpPr>
              <p:nvPr/>
            </p:nvSpPr>
            <p:spPr bwMode="auto">
              <a:xfrm>
                <a:off x="2953" y="1825"/>
                <a:ext cx="107" cy="66"/>
              </a:xfrm>
              <a:custGeom>
                <a:avLst/>
                <a:gdLst>
                  <a:gd name="T0" fmla="*/ 16 w 107"/>
                  <a:gd name="T1" fmla="*/ 13 h 66"/>
                  <a:gd name="T2" fmla="*/ 27 w 107"/>
                  <a:gd name="T3" fmla="*/ 20 h 66"/>
                  <a:gd name="T4" fmla="*/ 39 w 107"/>
                  <a:gd name="T5" fmla="*/ 20 h 66"/>
                  <a:gd name="T6" fmla="*/ 43 w 107"/>
                  <a:gd name="T7" fmla="*/ 13 h 66"/>
                  <a:gd name="T8" fmla="*/ 57 w 107"/>
                  <a:gd name="T9" fmla="*/ 9 h 66"/>
                  <a:gd name="T10" fmla="*/ 61 w 107"/>
                  <a:gd name="T11" fmla="*/ 9 h 66"/>
                  <a:gd name="T12" fmla="*/ 68 w 107"/>
                  <a:gd name="T13" fmla="*/ 7 h 66"/>
                  <a:gd name="T14" fmla="*/ 70 w 107"/>
                  <a:gd name="T15" fmla="*/ 4 h 66"/>
                  <a:gd name="T16" fmla="*/ 75 w 107"/>
                  <a:gd name="T17" fmla="*/ 0 h 66"/>
                  <a:gd name="T18" fmla="*/ 79 w 107"/>
                  <a:gd name="T19" fmla="*/ 2 h 66"/>
                  <a:gd name="T20" fmla="*/ 82 w 107"/>
                  <a:gd name="T21" fmla="*/ 0 h 66"/>
                  <a:gd name="T22" fmla="*/ 88 w 107"/>
                  <a:gd name="T23" fmla="*/ 2 h 66"/>
                  <a:gd name="T24" fmla="*/ 93 w 107"/>
                  <a:gd name="T25" fmla="*/ 6 h 66"/>
                  <a:gd name="T26" fmla="*/ 97 w 107"/>
                  <a:gd name="T27" fmla="*/ 4 h 66"/>
                  <a:gd name="T28" fmla="*/ 106 w 107"/>
                  <a:gd name="T29" fmla="*/ 11 h 66"/>
                  <a:gd name="T30" fmla="*/ 107 w 107"/>
                  <a:gd name="T31" fmla="*/ 15 h 66"/>
                  <a:gd name="T32" fmla="*/ 104 w 107"/>
                  <a:gd name="T33" fmla="*/ 18 h 66"/>
                  <a:gd name="T34" fmla="*/ 102 w 107"/>
                  <a:gd name="T35" fmla="*/ 18 h 66"/>
                  <a:gd name="T36" fmla="*/ 98 w 107"/>
                  <a:gd name="T37" fmla="*/ 20 h 66"/>
                  <a:gd name="T38" fmla="*/ 95 w 107"/>
                  <a:gd name="T39" fmla="*/ 24 h 66"/>
                  <a:gd name="T40" fmla="*/ 95 w 107"/>
                  <a:gd name="T41" fmla="*/ 25 h 66"/>
                  <a:gd name="T42" fmla="*/ 93 w 107"/>
                  <a:gd name="T43" fmla="*/ 29 h 66"/>
                  <a:gd name="T44" fmla="*/ 93 w 107"/>
                  <a:gd name="T45" fmla="*/ 32 h 66"/>
                  <a:gd name="T46" fmla="*/ 81 w 107"/>
                  <a:gd name="T47" fmla="*/ 52 h 66"/>
                  <a:gd name="T48" fmla="*/ 66 w 107"/>
                  <a:gd name="T49" fmla="*/ 57 h 66"/>
                  <a:gd name="T50" fmla="*/ 66 w 107"/>
                  <a:gd name="T51" fmla="*/ 57 h 66"/>
                  <a:gd name="T52" fmla="*/ 64 w 107"/>
                  <a:gd name="T53" fmla="*/ 56 h 66"/>
                  <a:gd name="T54" fmla="*/ 61 w 107"/>
                  <a:gd name="T55" fmla="*/ 57 h 66"/>
                  <a:gd name="T56" fmla="*/ 57 w 107"/>
                  <a:gd name="T57" fmla="*/ 57 h 66"/>
                  <a:gd name="T58" fmla="*/ 52 w 107"/>
                  <a:gd name="T59" fmla="*/ 59 h 66"/>
                  <a:gd name="T60" fmla="*/ 48 w 107"/>
                  <a:gd name="T61" fmla="*/ 61 h 66"/>
                  <a:gd name="T62" fmla="*/ 47 w 107"/>
                  <a:gd name="T63" fmla="*/ 61 h 66"/>
                  <a:gd name="T64" fmla="*/ 43 w 107"/>
                  <a:gd name="T65" fmla="*/ 63 h 66"/>
                  <a:gd name="T66" fmla="*/ 39 w 107"/>
                  <a:gd name="T67" fmla="*/ 65 h 66"/>
                  <a:gd name="T68" fmla="*/ 31 w 107"/>
                  <a:gd name="T69" fmla="*/ 66 h 66"/>
                  <a:gd name="T70" fmla="*/ 25 w 107"/>
                  <a:gd name="T71" fmla="*/ 63 h 66"/>
                  <a:gd name="T72" fmla="*/ 22 w 107"/>
                  <a:gd name="T73" fmla="*/ 63 h 66"/>
                  <a:gd name="T74" fmla="*/ 18 w 107"/>
                  <a:gd name="T75" fmla="*/ 57 h 66"/>
                  <a:gd name="T76" fmla="*/ 14 w 107"/>
                  <a:gd name="T77" fmla="*/ 56 h 66"/>
                  <a:gd name="T78" fmla="*/ 11 w 107"/>
                  <a:gd name="T79" fmla="*/ 50 h 66"/>
                  <a:gd name="T80" fmla="*/ 9 w 107"/>
                  <a:gd name="T81" fmla="*/ 50 h 66"/>
                  <a:gd name="T82" fmla="*/ 4 w 107"/>
                  <a:gd name="T83" fmla="*/ 41 h 66"/>
                  <a:gd name="T84" fmla="*/ 2 w 107"/>
                  <a:gd name="T85" fmla="*/ 41 h 66"/>
                  <a:gd name="T86" fmla="*/ 0 w 107"/>
                  <a:gd name="T87" fmla="*/ 41 h 66"/>
                  <a:gd name="T88" fmla="*/ 4 w 107"/>
                  <a:gd name="T89" fmla="*/ 38 h 66"/>
                  <a:gd name="T90" fmla="*/ 6 w 107"/>
                  <a:gd name="T91" fmla="*/ 36 h 66"/>
                  <a:gd name="T92" fmla="*/ 6 w 107"/>
                  <a:gd name="T93" fmla="*/ 31 h 66"/>
                  <a:gd name="T94" fmla="*/ 9 w 107"/>
                  <a:gd name="T95" fmla="*/ 25 h 66"/>
                  <a:gd name="T96" fmla="*/ 7 w 107"/>
                  <a:gd name="T97" fmla="*/ 24 h 66"/>
                  <a:gd name="T98" fmla="*/ 7 w 107"/>
                  <a:gd name="T99" fmla="*/ 20 h 66"/>
                  <a:gd name="T100" fmla="*/ 16 w 107"/>
                  <a:gd name="T101" fmla="*/ 20 h 66"/>
                  <a:gd name="T102" fmla="*/ 16 w 107"/>
                  <a:gd name="T103" fmla="*/ 18 h 66"/>
                  <a:gd name="T104" fmla="*/ 16 w 107"/>
                  <a:gd name="T105" fmla="*/ 1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7" h="66">
                    <a:moveTo>
                      <a:pt x="16" y="13"/>
                    </a:moveTo>
                    <a:lnTo>
                      <a:pt x="27" y="20"/>
                    </a:lnTo>
                    <a:lnTo>
                      <a:pt x="39" y="20"/>
                    </a:lnTo>
                    <a:lnTo>
                      <a:pt x="43" y="13"/>
                    </a:lnTo>
                    <a:lnTo>
                      <a:pt x="57" y="9"/>
                    </a:lnTo>
                    <a:lnTo>
                      <a:pt x="61" y="9"/>
                    </a:lnTo>
                    <a:lnTo>
                      <a:pt x="68" y="7"/>
                    </a:lnTo>
                    <a:lnTo>
                      <a:pt x="70" y="4"/>
                    </a:lnTo>
                    <a:lnTo>
                      <a:pt x="75" y="0"/>
                    </a:lnTo>
                    <a:lnTo>
                      <a:pt x="79" y="2"/>
                    </a:lnTo>
                    <a:lnTo>
                      <a:pt x="82" y="0"/>
                    </a:lnTo>
                    <a:lnTo>
                      <a:pt x="88" y="2"/>
                    </a:lnTo>
                    <a:lnTo>
                      <a:pt x="93" y="6"/>
                    </a:lnTo>
                    <a:lnTo>
                      <a:pt x="97" y="4"/>
                    </a:lnTo>
                    <a:lnTo>
                      <a:pt x="106" y="11"/>
                    </a:lnTo>
                    <a:lnTo>
                      <a:pt x="107" y="15"/>
                    </a:lnTo>
                    <a:lnTo>
                      <a:pt x="104" y="18"/>
                    </a:lnTo>
                    <a:lnTo>
                      <a:pt x="102" y="18"/>
                    </a:lnTo>
                    <a:lnTo>
                      <a:pt x="98" y="20"/>
                    </a:lnTo>
                    <a:lnTo>
                      <a:pt x="95" y="24"/>
                    </a:lnTo>
                    <a:lnTo>
                      <a:pt x="95" y="25"/>
                    </a:lnTo>
                    <a:lnTo>
                      <a:pt x="93" y="29"/>
                    </a:lnTo>
                    <a:lnTo>
                      <a:pt x="93" y="32"/>
                    </a:lnTo>
                    <a:lnTo>
                      <a:pt x="81" y="52"/>
                    </a:lnTo>
                    <a:lnTo>
                      <a:pt x="66" y="57"/>
                    </a:lnTo>
                    <a:lnTo>
                      <a:pt x="66" y="57"/>
                    </a:lnTo>
                    <a:lnTo>
                      <a:pt x="64" y="56"/>
                    </a:lnTo>
                    <a:lnTo>
                      <a:pt x="61" y="57"/>
                    </a:lnTo>
                    <a:lnTo>
                      <a:pt x="57" y="57"/>
                    </a:lnTo>
                    <a:lnTo>
                      <a:pt x="52" y="59"/>
                    </a:lnTo>
                    <a:lnTo>
                      <a:pt x="48" y="61"/>
                    </a:lnTo>
                    <a:lnTo>
                      <a:pt x="47" y="61"/>
                    </a:lnTo>
                    <a:lnTo>
                      <a:pt x="43" y="63"/>
                    </a:lnTo>
                    <a:lnTo>
                      <a:pt x="39" y="65"/>
                    </a:lnTo>
                    <a:lnTo>
                      <a:pt x="31" y="66"/>
                    </a:lnTo>
                    <a:lnTo>
                      <a:pt x="25" y="63"/>
                    </a:lnTo>
                    <a:lnTo>
                      <a:pt x="22" y="63"/>
                    </a:lnTo>
                    <a:lnTo>
                      <a:pt x="18" y="57"/>
                    </a:lnTo>
                    <a:lnTo>
                      <a:pt x="14" y="56"/>
                    </a:lnTo>
                    <a:lnTo>
                      <a:pt x="11" y="50"/>
                    </a:lnTo>
                    <a:lnTo>
                      <a:pt x="9" y="50"/>
                    </a:lnTo>
                    <a:lnTo>
                      <a:pt x="4" y="41"/>
                    </a:lnTo>
                    <a:lnTo>
                      <a:pt x="2" y="41"/>
                    </a:lnTo>
                    <a:lnTo>
                      <a:pt x="0" y="41"/>
                    </a:lnTo>
                    <a:lnTo>
                      <a:pt x="4" y="38"/>
                    </a:lnTo>
                    <a:lnTo>
                      <a:pt x="6" y="36"/>
                    </a:lnTo>
                    <a:lnTo>
                      <a:pt x="6" y="31"/>
                    </a:lnTo>
                    <a:lnTo>
                      <a:pt x="9" y="25"/>
                    </a:lnTo>
                    <a:lnTo>
                      <a:pt x="7" y="24"/>
                    </a:lnTo>
                    <a:lnTo>
                      <a:pt x="7" y="20"/>
                    </a:lnTo>
                    <a:lnTo>
                      <a:pt x="16" y="20"/>
                    </a:lnTo>
                    <a:lnTo>
                      <a:pt x="16" y="18"/>
                    </a:lnTo>
                    <a:lnTo>
                      <a:pt x="16" y="1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grpSp>
        <p:grpSp>
          <p:nvGrpSpPr>
            <p:cNvPr id="140" name="Group 2139"/>
            <p:cNvGrpSpPr>
              <a:grpSpLocks/>
            </p:cNvGrpSpPr>
            <p:nvPr/>
          </p:nvGrpSpPr>
          <p:grpSpPr bwMode="auto">
            <a:xfrm>
              <a:off x="2784982" y="1102454"/>
              <a:ext cx="6138851" cy="5056945"/>
              <a:chOff x="1593" y="486"/>
              <a:chExt cx="3813" cy="3141"/>
            </a:xfrm>
            <a:solidFill>
              <a:schemeClr val="bg1">
                <a:lumMod val="85000"/>
              </a:schemeClr>
            </a:solidFill>
          </p:grpSpPr>
          <p:sp>
            <p:nvSpPr>
              <p:cNvPr id="1490" name="Freeform 1939"/>
              <p:cNvSpPr>
                <a:spLocks/>
              </p:cNvSpPr>
              <p:nvPr/>
            </p:nvSpPr>
            <p:spPr bwMode="auto">
              <a:xfrm>
                <a:off x="2953" y="1825"/>
                <a:ext cx="107" cy="66"/>
              </a:xfrm>
              <a:custGeom>
                <a:avLst/>
                <a:gdLst>
                  <a:gd name="T0" fmla="*/ 16 w 107"/>
                  <a:gd name="T1" fmla="*/ 13 h 66"/>
                  <a:gd name="T2" fmla="*/ 27 w 107"/>
                  <a:gd name="T3" fmla="*/ 20 h 66"/>
                  <a:gd name="T4" fmla="*/ 39 w 107"/>
                  <a:gd name="T5" fmla="*/ 20 h 66"/>
                  <a:gd name="T6" fmla="*/ 43 w 107"/>
                  <a:gd name="T7" fmla="*/ 13 h 66"/>
                  <a:gd name="T8" fmla="*/ 57 w 107"/>
                  <a:gd name="T9" fmla="*/ 9 h 66"/>
                  <a:gd name="T10" fmla="*/ 61 w 107"/>
                  <a:gd name="T11" fmla="*/ 9 h 66"/>
                  <a:gd name="T12" fmla="*/ 68 w 107"/>
                  <a:gd name="T13" fmla="*/ 7 h 66"/>
                  <a:gd name="T14" fmla="*/ 70 w 107"/>
                  <a:gd name="T15" fmla="*/ 4 h 66"/>
                  <a:gd name="T16" fmla="*/ 75 w 107"/>
                  <a:gd name="T17" fmla="*/ 0 h 66"/>
                  <a:gd name="T18" fmla="*/ 79 w 107"/>
                  <a:gd name="T19" fmla="*/ 2 h 66"/>
                  <a:gd name="T20" fmla="*/ 82 w 107"/>
                  <a:gd name="T21" fmla="*/ 0 h 66"/>
                  <a:gd name="T22" fmla="*/ 88 w 107"/>
                  <a:gd name="T23" fmla="*/ 2 h 66"/>
                  <a:gd name="T24" fmla="*/ 93 w 107"/>
                  <a:gd name="T25" fmla="*/ 6 h 66"/>
                  <a:gd name="T26" fmla="*/ 97 w 107"/>
                  <a:gd name="T27" fmla="*/ 4 h 66"/>
                  <a:gd name="T28" fmla="*/ 106 w 107"/>
                  <a:gd name="T29" fmla="*/ 11 h 66"/>
                  <a:gd name="T30" fmla="*/ 107 w 107"/>
                  <a:gd name="T31" fmla="*/ 15 h 66"/>
                  <a:gd name="T32" fmla="*/ 104 w 107"/>
                  <a:gd name="T33" fmla="*/ 18 h 66"/>
                  <a:gd name="T34" fmla="*/ 102 w 107"/>
                  <a:gd name="T35" fmla="*/ 18 h 66"/>
                  <a:gd name="T36" fmla="*/ 98 w 107"/>
                  <a:gd name="T37" fmla="*/ 20 h 66"/>
                  <a:gd name="T38" fmla="*/ 95 w 107"/>
                  <a:gd name="T39" fmla="*/ 24 h 66"/>
                  <a:gd name="T40" fmla="*/ 95 w 107"/>
                  <a:gd name="T41" fmla="*/ 25 h 66"/>
                  <a:gd name="T42" fmla="*/ 93 w 107"/>
                  <a:gd name="T43" fmla="*/ 29 h 66"/>
                  <a:gd name="T44" fmla="*/ 93 w 107"/>
                  <a:gd name="T45" fmla="*/ 32 h 66"/>
                  <a:gd name="T46" fmla="*/ 81 w 107"/>
                  <a:gd name="T47" fmla="*/ 52 h 66"/>
                  <a:gd name="T48" fmla="*/ 66 w 107"/>
                  <a:gd name="T49" fmla="*/ 57 h 66"/>
                  <a:gd name="T50" fmla="*/ 66 w 107"/>
                  <a:gd name="T51" fmla="*/ 57 h 66"/>
                  <a:gd name="T52" fmla="*/ 64 w 107"/>
                  <a:gd name="T53" fmla="*/ 56 h 66"/>
                  <a:gd name="T54" fmla="*/ 61 w 107"/>
                  <a:gd name="T55" fmla="*/ 57 h 66"/>
                  <a:gd name="T56" fmla="*/ 57 w 107"/>
                  <a:gd name="T57" fmla="*/ 57 h 66"/>
                  <a:gd name="T58" fmla="*/ 52 w 107"/>
                  <a:gd name="T59" fmla="*/ 59 h 66"/>
                  <a:gd name="T60" fmla="*/ 48 w 107"/>
                  <a:gd name="T61" fmla="*/ 61 h 66"/>
                  <a:gd name="T62" fmla="*/ 47 w 107"/>
                  <a:gd name="T63" fmla="*/ 61 h 66"/>
                  <a:gd name="T64" fmla="*/ 43 w 107"/>
                  <a:gd name="T65" fmla="*/ 63 h 66"/>
                  <a:gd name="T66" fmla="*/ 39 w 107"/>
                  <a:gd name="T67" fmla="*/ 65 h 66"/>
                  <a:gd name="T68" fmla="*/ 31 w 107"/>
                  <a:gd name="T69" fmla="*/ 66 h 66"/>
                  <a:gd name="T70" fmla="*/ 25 w 107"/>
                  <a:gd name="T71" fmla="*/ 63 h 66"/>
                  <a:gd name="T72" fmla="*/ 22 w 107"/>
                  <a:gd name="T73" fmla="*/ 63 h 66"/>
                  <a:gd name="T74" fmla="*/ 18 w 107"/>
                  <a:gd name="T75" fmla="*/ 57 h 66"/>
                  <a:gd name="T76" fmla="*/ 14 w 107"/>
                  <a:gd name="T77" fmla="*/ 56 h 66"/>
                  <a:gd name="T78" fmla="*/ 11 w 107"/>
                  <a:gd name="T79" fmla="*/ 50 h 66"/>
                  <a:gd name="T80" fmla="*/ 9 w 107"/>
                  <a:gd name="T81" fmla="*/ 50 h 66"/>
                  <a:gd name="T82" fmla="*/ 4 w 107"/>
                  <a:gd name="T83" fmla="*/ 41 h 66"/>
                  <a:gd name="T84" fmla="*/ 2 w 107"/>
                  <a:gd name="T85" fmla="*/ 41 h 66"/>
                  <a:gd name="T86" fmla="*/ 0 w 107"/>
                  <a:gd name="T87" fmla="*/ 41 h 66"/>
                  <a:gd name="T88" fmla="*/ 4 w 107"/>
                  <a:gd name="T89" fmla="*/ 38 h 66"/>
                  <a:gd name="T90" fmla="*/ 6 w 107"/>
                  <a:gd name="T91" fmla="*/ 36 h 66"/>
                  <a:gd name="T92" fmla="*/ 6 w 107"/>
                  <a:gd name="T93" fmla="*/ 31 h 66"/>
                  <a:gd name="T94" fmla="*/ 9 w 107"/>
                  <a:gd name="T95" fmla="*/ 25 h 66"/>
                  <a:gd name="T96" fmla="*/ 7 w 107"/>
                  <a:gd name="T97" fmla="*/ 24 h 66"/>
                  <a:gd name="T98" fmla="*/ 7 w 107"/>
                  <a:gd name="T99" fmla="*/ 20 h 66"/>
                  <a:gd name="T100" fmla="*/ 16 w 107"/>
                  <a:gd name="T101" fmla="*/ 20 h 66"/>
                  <a:gd name="T102" fmla="*/ 16 w 107"/>
                  <a:gd name="T103" fmla="*/ 18 h 66"/>
                  <a:gd name="T104" fmla="*/ 16 w 107"/>
                  <a:gd name="T105" fmla="*/ 13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7" h="66">
                    <a:moveTo>
                      <a:pt x="16" y="13"/>
                    </a:moveTo>
                    <a:lnTo>
                      <a:pt x="27" y="20"/>
                    </a:lnTo>
                    <a:lnTo>
                      <a:pt x="39" y="20"/>
                    </a:lnTo>
                    <a:lnTo>
                      <a:pt x="43" y="13"/>
                    </a:lnTo>
                    <a:lnTo>
                      <a:pt x="57" y="9"/>
                    </a:lnTo>
                    <a:lnTo>
                      <a:pt x="61" y="9"/>
                    </a:lnTo>
                    <a:lnTo>
                      <a:pt x="68" y="7"/>
                    </a:lnTo>
                    <a:lnTo>
                      <a:pt x="70" y="4"/>
                    </a:lnTo>
                    <a:lnTo>
                      <a:pt x="75" y="0"/>
                    </a:lnTo>
                    <a:lnTo>
                      <a:pt x="79" y="2"/>
                    </a:lnTo>
                    <a:lnTo>
                      <a:pt x="82" y="0"/>
                    </a:lnTo>
                    <a:lnTo>
                      <a:pt x="88" y="2"/>
                    </a:lnTo>
                    <a:lnTo>
                      <a:pt x="93" y="6"/>
                    </a:lnTo>
                    <a:lnTo>
                      <a:pt x="97" y="4"/>
                    </a:lnTo>
                    <a:lnTo>
                      <a:pt x="106" y="11"/>
                    </a:lnTo>
                    <a:lnTo>
                      <a:pt x="107" y="15"/>
                    </a:lnTo>
                    <a:lnTo>
                      <a:pt x="104" y="18"/>
                    </a:lnTo>
                    <a:lnTo>
                      <a:pt x="102" y="18"/>
                    </a:lnTo>
                    <a:lnTo>
                      <a:pt x="98" y="20"/>
                    </a:lnTo>
                    <a:lnTo>
                      <a:pt x="95" y="24"/>
                    </a:lnTo>
                    <a:lnTo>
                      <a:pt x="95" y="25"/>
                    </a:lnTo>
                    <a:lnTo>
                      <a:pt x="93" y="29"/>
                    </a:lnTo>
                    <a:lnTo>
                      <a:pt x="93" y="32"/>
                    </a:lnTo>
                    <a:lnTo>
                      <a:pt x="81" y="52"/>
                    </a:lnTo>
                    <a:lnTo>
                      <a:pt x="66" y="57"/>
                    </a:lnTo>
                    <a:lnTo>
                      <a:pt x="66" y="57"/>
                    </a:lnTo>
                    <a:lnTo>
                      <a:pt x="64" y="56"/>
                    </a:lnTo>
                    <a:lnTo>
                      <a:pt x="61" y="57"/>
                    </a:lnTo>
                    <a:lnTo>
                      <a:pt x="57" y="57"/>
                    </a:lnTo>
                    <a:lnTo>
                      <a:pt x="52" y="59"/>
                    </a:lnTo>
                    <a:lnTo>
                      <a:pt x="48" y="61"/>
                    </a:lnTo>
                    <a:lnTo>
                      <a:pt x="47" y="61"/>
                    </a:lnTo>
                    <a:lnTo>
                      <a:pt x="43" y="63"/>
                    </a:lnTo>
                    <a:lnTo>
                      <a:pt x="39" y="65"/>
                    </a:lnTo>
                    <a:lnTo>
                      <a:pt x="31" y="66"/>
                    </a:lnTo>
                    <a:lnTo>
                      <a:pt x="25" y="63"/>
                    </a:lnTo>
                    <a:lnTo>
                      <a:pt x="22" y="63"/>
                    </a:lnTo>
                    <a:lnTo>
                      <a:pt x="18" y="57"/>
                    </a:lnTo>
                    <a:lnTo>
                      <a:pt x="14" y="56"/>
                    </a:lnTo>
                    <a:lnTo>
                      <a:pt x="11" y="50"/>
                    </a:lnTo>
                    <a:lnTo>
                      <a:pt x="9" y="50"/>
                    </a:lnTo>
                    <a:lnTo>
                      <a:pt x="4" y="41"/>
                    </a:lnTo>
                    <a:lnTo>
                      <a:pt x="2" y="41"/>
                    </a:lnTo>
                    <a:lnTo>
                      <a:pt x="0" y="41"/>
                    </a:lnTo>
                    <a:lnTo>
                      <a:pt x="4" y="38"/>
                    </a:lnTo>
                    <a:lnTo>
                      <a:pt x="6" y="36"/>
                    </a:lnTo>
                    <a:lnTo>
                      <a:pt x="6" y="31"/>
                    </a:lnTo>
                    <a:lnTo>
                      <a:pt x="9" y="25"/>
                    </a:lnTo>
                    <a:lnTo>
                      <a:pt x="7" y="24"/>
                    </a:lnTo>
                    <a:lnTo>
                      <a:pt x="7" y="20"/>
                    </a:lnTo>
                    <a:lnTo>
                      <a:pt x="16" y="20"/>
                    </a:lnTo>
                    <a:lnTo>
                      <a:pt x="16" y="18"/>
                    </a:lnTo>
                    <a:lnTo>
                      <a:pt x="16" y="1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91" name="Freeform 1940"/>
              <p:cNvSpPr>
                <a:spLocks/>
              </p:cNvSpPr>
              <p:nvPr/>
            </p:nvSpPr>
            <p:spPr bwMode="auto">
              <a:xfrm>
                <a:off x="2576" y="1441"/>
                <a:ext cx="8" cy="2"/>
              </a:xfrm>
              <a:custGeom>
                <a:avLst/>
                <a:gdLst>
                  <a:gd name="T0" fmla="*/ 8 w 8"/>
                  <a:gd name="T1" fmla="*/ 2 h 2"/>
                  <a:gd name="T2" fmla="*/ 6 w 8"/>
                  <a:gd name="T3" fmla="*/ 0 h 2"/>
                  <a:gd name="T4" fmla="*/ 2 w 8"/>
                  <a:gd name="T5" fmla="*/ 0 h 2"/>
                  <a:gd name="T6" fmla="*/ 0 w 8"/>
                  <a:gd name="T7" fmla="*/ 0 h 2"/>
                  <a:gd name="T8" fmla="*/ 2 w 8"/>
                  <a:gd name="T9" fmla="*/ 2 h 2"/>
                  <a:gd name="T10" fmla="*/ 6 w 8"/>
                  <a:gd name="T11" fmla="*/ 2 h 2"/>
                  <a:gd name="T12" fmla="*/ 8 w 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8" h="2">
                    <a:moveTo>
                      <a:pt x="8" y="2"/>
                    </a:moveTo>
                    <a:lnTo>
                      <a:pt x="6" y="0"/>
                    </a:lnTo>
                    <a:lnTo>
                      <a:pt x="2" y="0"/>
                    </a:lnTo>
                    <a:lnTo>
                      <a:pt x="0" y="0"/>
                    </a:lnTo>
                    <a:lnTo>
                      <a:pt x="2" y="2"/>
                    </a:lnTo>
                    <a:lnTo>
                      <a:pt x="6" y="2"/>
                    </a:lnTo>
                    <a:lnTo>
                      <a:pt x="8"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92" name="Freeform 1941"/>
              <p:cNvSpPr>
                <a:spLocks/>
              </p:cNvSpPr>
              <p:nvPr/>
            </p:nvSpPr>
            <p:spPr bwMode="auto">
              <a:xfrm>
                <a:off x="2576" y="1441"/>
                <a:ext cx="8" cy="2"/>
              </a:xfrm>
              <a:custGeom>
                <a:avLst/>
                <a:gdLst>
                  <a:gd name="T0" fmla="*/ 8 w 8"/>
                  <a:gd name="T1" fmla="*/ 2 h 2"/>
                  <a:gd name="T2" fmla="*/ 6 w 8"/>
                  <a:gd name="T3" fmla="*/ 0 h 2"/>
                  <a:gd name="T4" fmla="*/ 2 w 8"/>
                  <a:gd name="T5" fmla="*/ 0 h 2"/>
                  <a:gd name="T6" fmla="*/ 0 w 8"/>
                  <a:gd name="T7" fmla="*/ 0 h 2"/>
                  <a:gd name="T8" fmla="*/ 2 w 8"/>
                  <a:gd name="T9" fmla="*/ 2 h 2"/>
                  <a:gd name="T10" fmla="*/ 6 w 8"/>
                  <a:gd name="T11" fmla="*/ 2 h 2"/>
                  <a:gd name="T12" fmla="*/ 8 w 8"/>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8" h="2">
                    <a:moveTo>
                      <a:pt x="8" y="2"/>
                    </a:moveTo>
                    <a:lnTo>
                      <a:pt x="6" y="0"/>
                    </a:lnTo>
                    <a:lnTo>
                      <a:pt x="2" y="0"/>
                    </a:lnTo>
                    <a:lnTo>
                      <a:pt x="0" y="0"/>
                    </a:lnTo>
                    <a:lnTo>
                      <a:pt x="2" y="2"/>
                    </a:lnTo>
                    <a:lnTo>
                      <a:pt x="6" y="2"/>
                    </a:lnTo>
                    <a:lnTo>
                      <a:pt x="8"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93" name="Freeform 1942"/>
              <p:cNvSpPr>
                <a:spLocks/>
              </p:cNvSpPr>
              <p:nvPr/>
            </p:nvSpPr>
            <p:spPr bwMode="auto">
              <a:xfrm>
                <a:off x="2580" y="1436"/>
                <a:ext cx="9" cy="11"/>
              </a:xfrm>
              <a:custGeom>
                <a:avLst/>
                <a:gdLst>
                  <a:gd name="T0" fmla="*/ 7 w 9"/>
                  <a:gd name="T1" fmla="*/ 11 h 11"/>
                  <a:gd name="T2" fmla="*/ 9 w 9"/>
                  <a:gd name="T3" fmla="*/ 11 h 11"/>
                  <a:gd name="T4" fmla="*/ 9 w 9"/>
                  <a:gd name="T5" fmla="*/ 7 h 11"/>
                  <a:gd name="T6" fmla="*/ 4 w 9"/>
                  <a:gd name="T7" fmla="*/ 2 h 11"/>
                  <a:gd name="T8" fmla="*/ 2 w 9"/>
                  <a:gd name="T9" fmla="*/ 0 h 11"/>
                  <a:gd name="T10" fmla="*/ 0 w 9"/>
                  <a:gd name="T11" fmla="*/ 2 h 11"/>
                  <a:gd name="T12" fmla="*/ 0 w 9"/>
                  <a:gd name="T13" fmla="*/ 4 h 11"/>
                  <a:gd name="T14" fmla="*/ 4 w 9"/>
                  <a:gd name="T15" fmla="*/ 5 h 11"/>
                  <a:gd name="T16" fmla="*/ 5 w 9"/>
                  <a:gd name="T17" fmla="*/ 7 h 11"/>
                  <a:gd name="T18" fmla="*/ 5 w 9"/>
                  <a:gd name="T19" fmla="*/ 9 h 11"/>
                  <a:gd name="T20" fmla="*/ 7 w 9"/>
                  <a:gd name="T21" fmla="*/ 11 h 11"/>
                  <a:gd name="T22" fmla="*/ 7 w 9"/>
                  <a:gd name="T2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1">
                    <a:moveTo>
                      <a:pt x="7" y="11"/>
                    </a:moveTo>
                    <a:lnTo>
                      <a:pt x="9" y="11"/>
                    </a:lnTo>
                    <a:lnTo>
                      <a:pt x="9" y="7"/>
                    </a:lnTo>
                    <a:lnTo>
                      <a:pt x="4" y="2"/>
                    </a:lnTo>
                    <a:lnTo>
                      <a:pt x="2" y="0"/>
                    </a:lnTo>
                    <a:lnTo>
                      <a:pt x="0" y="2"/>
                    </a:lnTo>
                    <a:lnTo>
                      <a:pt x="0" y="4"/>
                    </a:lnTo>
                    <a:lnTo>
                      <a:pt x="4" y="5"/>
                    </a:lnTo>
                    <a:lnTo>
                      <a:pt x="5" y="7"/>
                    </a:lnTo>
                    <a:lnTo>
                      <a:pt x="5" y="9"/>
                    </a:lnTo>
                    <a:lnTo>
                      <a:pt x="7" y="11"/>
                    </a:lnTo>
                    <a:lnTo>
                      <a:pt x="7"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94" name="Freeform 1943"/>
              <p:cNvSpPr>
                <a:spLocks/>
              </p:cNvSpPr>
              <p:nvPr/>
            </p:nvSpPr>
            <p:spPr bwMode="auto">
              <a:xfrm>
                <a:off x="2580" y="1436"/>
                <a:ext cx="9" cy="11"/>
              </a:xfrm>
              <a:custGeom>
                <a:avLst/>
                <a:gdLst>
                  <a:gd name="T0" fmla="*/ 7 w 9"/>
                  <a:gd name="T1" fmla="*/ 11 h 11"/>
                  <a:gd name="T2" fmla="*/ 9 w 9"/>
                  <a:gd name="T3" fmla="*/ 11 h 11"/>
                  <a:gd name="T4" fmla="*/ 9 w 9"/>
                  <a:gd name="T5" fmla="*/ 7 h 11"/>
                  <a:gd name="T6" fmla="*/ 4 w 9"/>
                  <a:gd name="T7" fmla="*/ 2 h 11"/>
                  <a:gd name="T8" fmla="*/ 2 w 9"/>
                  <a:gd name="T9" fmla="*/ 0 h 11"/>
                  <a:gd name="T10" fmla="*/ 0 w 9"/>
                  <a:gd name="T11" fmla="*/ 2 h 11"/>
                  <a:gd name="T12" fmla="*/ 0 w 9"/>
                  <a:gd name="T13" fmla="*/ 4 h 11"/>
                  <a:gd name="T14" fmla="*/ 4 w 9"/>
                  <a:gd name="T15" fmla="*/ 5 h 11"/>
                  <a:gd name="T16" fmla="*/ 5 w 9"/>
                  <a:gd name="T17" fmla="*/ 7 h 11"/>
                  <a:gd name="T18" fmla="*/ 5 w 9"/>
                  <a:gd name="T19" fmla="*/ 9 h 11"/>
                  <a:gd name="T20" fmla="*/ 7 w 9"/>
                  <a:gd name="T21" fmla="*/ 11 h 11"/>
                  <a:gd name="T22" fmla="*/ 7 w 9"/>
                  <a:gd name="T2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1">
                    <a:moveTo>
                      <a:pt x="7" y="11"/>
                    </a:moveTo>
                    <a:lnTo>
                      <a:pt x="9" y="11"/>
                    </a:lnTo>
                    <a:lnTo>
                      <a:pt x="9" y="7"/>
                    </a:lnTo>
                    <a:lnTo>
                      <a:pt x="4" y="2"/>
                    </a:lnTo>
                    <a:lnTo>
                      <a:pt x="2" y="0"/>
                    </a:lnTo>
                    <a:lnTo>
                      <a:pt x="0" y="2"/>
                    </a:lnTo>
                    <a:lnTo>
                      <a:pt x="0" y="4"/>
                    </a:lnTo>
                    <a:lnTo>
                      <a:pt x="4" y="5"/>
                    </a:lnTo>
                    <a:lnTo>
                      <a:pt x="5" y="7"/>
                    </a:lnTo>
                    <a:lnTo>
                      <a:pt x="5" y="9"/>
                    </a:lnTo>
                    <a:lnTo>
                      <a:pt x="7" y="11"/>
                    </a:lnTo>
                    <a:lnTo>
                      <a:pt x="7"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95" name="Freeform 1944"/>
              <p:cNvSpPr>
                <a:spLocks/>
              </p:cNvSpPr>
              <p:nvPr/>
            </p:nvSpPr>
            <p:spPr bwMode="auto">
              <a:xfrm>
                <a:off x="2584" y="1434"/>
                <a:ext cx="7" cy="9"/>
              </a:xfrm>
              <a:custGeom>
                <a:avLst/>
                <a:gdLst>
                  <a:gd name="T0" fmla="*/ 5 w 7"/>
                  <a:gd name="T1" fmla="*/ 9 h 9"/>
                  <a:gd name="T2" fmla="*/ 7 w 7"/>
                  <a:gd name="T3" fmla="*/ 9 h 9"/>
                  <a:gd name="T4" fmla="*/ 7 w 7"/>
                  <a:gd name="T5" fmla="*/ 7 h 9"/>
                  <a:gd name="T6" fmla="*/ 5 w 7"/>
                  <a:gd name="T7" fmla="*/ 4 h 9"/>
                  <a:gd name="T8" fmla="*/ 3 w 7"/>
                  <a:gd name="T9" fmla="*/ 2 h 9"/>
                  <a:gd name="T10" fmla="*/ 1 w 7"/>
                  <a:gd name="T11" fmla="*/ 0 h 9"/>
                  <a:gd name="T12" fmla="*/ 0 w 7"/>
                  <a:gd name="T13" fmla="*/ 0 h 9"/>
                  <a:gd name="T14" fmla="*/ 1 w 7"/>
                  <a:gd name="T15" fmla="*/ 4 h 9"/>
                  <a:gd name="T16" fmla="*/ 3 w 7"/>
                  <a:gd name="T17" fmla="*/ 6 h 9"/>
                  <a:gd name="T18" fmla="*/ 5 w 7"/>
                  <a:gd name="T19" fmla="*/ 9 h 9"/>
                  <a:gd name="T20" fmla="*/ 5 w 7"/>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9">
                    <a:moveTo>
                      <a:pt x="5" y="9"/>
                    </a:moveTo>
                    <a:lnTo>
                      <a:pt x="7" y="9"/>
                    </a:lnTo>
                    <a:lnTo>
                      <a:pt x="7" y="7"/>
                    </a:lnTo>
                    <a:lnTo>
                      <a:pt x="5" y="4"/>
                    </a:lnTo>
                    <a:lnTo>
                      <a:pt x="3" y="2"/>
                    </a:lnTo>
                    <a:lnTo>
                      <a:pt x="1" y="0"/>
                    </a:lnTo>
                    <a:lnTo>
                      <a:pt x="0" y="0"/>
                    </a:lnTo>
                    <a:lnTo>
                      <a:pt x="1" y="4"/>
                    </a:lnTo>
                    <a:lnTo>
                      <a:pt x="3" y="6"/>
                    </a:lnTo>
                    <a:lnTo>
                      <a:pt x="5" y="9"/>
                    </a:lnTo>
                    <a:lnTo>
                      <a:pt x="5"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96" name="Freeform 1945"/>
              <p:cNvSpPr>
                <a:spLocks/>
              </p:cNvSpPr>
              <p:nvPr/>
            </p:nvSpPr>
            <p:spPr bwMode="auto">
              <a:xfrm>
                <a:off x="2584" y="1434"/>
                <a:ext cx="7" cy="9"/>
              </a:xfrm>
              <a:custGeom>
                <a:avLst/>
                <a:gdLst>
                  <a:gd name="T0" fmla="*/ 5 w 7"/>
                  <a:gd name="T1" fmla="*/ 9 h 9"/>
                  <a:gd name="T2" fmla="*/ 7 w 7"/>
                  <a:gd name="T3" fmla="*/ 9 h 9"/>
                  <a:gd name="T4" fmla="*/ 7 w 7"/>
                  <a:gd name="T5" fmla="*/ 7 h 9"/>
                  <a:gd name="T6" fmla="*/ 5 w 7"/>
                  <a:gd name="T7" fmla="*/ 4 h 9"/>
                  <a:gd name="T8" fmla="*/ 3 w 7"/>
                  <a:gd name="T9" fmla="*/ 2 h 9"/>
                  <a:gd name="T10" fmla="*/ 1 w 7"/>
                  <a:gd name="T11" fmla="*/ 0 h 9"/>
                  <a:gd name="T12" fmla="*/ 0 w 7"/>
                  <a:gd name="T13" fmla="*/ 0 h 9"/>
                  <a:gd name="T14" fmla="*/ 1 w 7"/>
                  <a:gd name="T15" fmla="*/ 4 h 9"/>
                  <a:gd name="T16" fmla="*/ 3 w 7"/>
                  <a:gd name="T17" fmla="*/ 6 h 9"/>
                  <a:gd name="T18" fmla="*/ 5 w 7"/>
                  <a:gd name="T19" fmla="*/ 9 h 9"/>
                  <a:gd name="T20" fmla="*/ 5 w 7"/>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9">
                    <a:moveTo>
                      <a:pt x="5" y="9"/>
                    </a:moveTo>
                    <a:lnTo>
                      <a:pt x="7" y="9"/>
                    </a:lnTo>
                    <a:lnTo>
                      <a:pt x="7" y="7"/>
                    </a:lnTo>
                    <a:lnTo>
                      <a:pt x="5" y="4"/>
                    </a:lnTo>
                    <a:lnTo>
                      <a:pt x="3" y="2"/>
                    </a:lnTo>
                    <a:lnTo>
                      <a:pt x="1" y="0"/>
                    </a:lnTo>
                    <a:lnTo>
                      <a:pt x="0" y="0"/>
                    </a:lnTo>
                    <a:lnTo>
                      <a:pt x="1" y="4"/>
                    </a:lnTo>
                    <a:lnTo>
                      <a:pt x="3" y="6"/>
                    </a:lnTo>
                    <a:lnTo>
                      <a:pt x="5" y="9"/>
                    </a:lnTo>
                    <a:lnTo>
                      <a:pt x="5"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97" name="Freeform 1946"/>
              <p:cNvSpPr>
                <a:spLocks/>
              </p:cNvSpPr>
              <p:nvPr/>
            </p:nvSpPr>
            <p:spPr bwMode="auto">
              <a:xfrm>
                <a:off x="2589" y="1434"/>
                <a:ext cx="5" cy="6"/>
              </a:xfrm>
              <a:custGeom>
                <a:avLst/>
                <a:gdLst>
                  <a:gd name="T0" fmla="*/ 4 w 5"/>
                  <a:gd name="T1" fmla="*/ 2 h 6"/>
                  <a:gd name="T2" fmla="*/ 5 w 5"/>
                  <a:gd name="T3" fmla="*/ 2 h 6"/>
                  <a:gd name="T4" fmla="*/ 0 w 5"/>
                  <a:gd name="T5" fmla="*/ 0 h 6"/>
                  <a:gd name="T6" fmla="*/ 0 w 5"/>
                  <a:gd name="T7" fmla="*/ 2 h 6"/>
                  <a:gd name="T8" fmla="*/ 2 w 5"/>
                  <a:gd name="T9" fmla="*/ 4 h 6"/>
                  <a:gd name="T10" fmla="*/ 2 w 5"/>
                  <a:gd name="T11" fmla="*/ 6 h 6"/>
                  <a:gd name="T12" fmla="*/ 4 w 5"/>
                  <a:gd name="T13" fmla="*/ 4 h 6"/>
                  <a:gd name="T14" fmla="*/ 4 w 5"/>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4" y="2"/>
                    </a:moveTo>
                    <a:lnTo>
                      <a:pt x="5" y="2"/>
                    </a:lnTo>
                    <a:lnTo>
                      <a:pt x="0" y="0"/>
                    </a:lnTo>
                    <a:lnTo>
                      <a:pt x="0" y="2"/>
                    </a:lnTo>
                    <a:lnTo>
                      <a:pt x="2" y="4"/>
                    </a:lnTo>
                    <a:lnTo>
                      <a:pt x="2" y="6"/>
                    </a:lnTo>
                    <a:lnTo>
                      <a:pt x="4" y="4"/>
                    </a:lnTo>
                    <a:lnTo>
                      <a:pt x="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98" name="Freeform 1947"/>
              <p:cNvSpPr>
                <a:spLocks/>
              </p:cNvSpPr>
              <p:nvPr/>
            </p:nvSpPr>
            <p:spPr bwMode="auto">
              <a:xfrm>
                <a:off x="2589" y="1434"/>
                <a:ext cx="5" cy="6"/>
              </a:xfrm>
              <a:custGeom>
                <a:avLst/>
                <a:gdLst>
                  <a:gd name="T0" fmla="*/ 4 w 5"/>
                  <a:gd name="T1" fmla="*/ 2 h 6"/>
                  <a:gd name="T2" fmla="*/ 5 w 5"/>
                  <a:gd name="T3" fmla="*/ 2 h 6"/>
                  <a:gd name="T4" fmla="*/ 0 w 5"/>
                  <a:gd name="T5" fmla="*/ 0 h 6"/>
                  <a:gd name="T6" fmla="*/ 0 w 5"/>
                  <a:gd name="T7" fmla="*/ 2 h 6"/>
                  <a:gd name="T8" fmla="*/ 2 w 5"/>
                  <a:gd name="T9" fmla="*/ 4 h 6"/>
                  <a:gd name="T10" fmla="*/ 2 w 5"/>
                  <a:gd name="T11" fmla="*/ 6 h 6"/>
                  <a:gd name="T12" fmla="*/ 4 w 5"/>
                  <a:gd name="T13" fmla="*/ 4 h 6"/>
                  <a:gd name="T14" fmla="*/ 4 w 5"/>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4" y="2"/>
                    </a:moveTo>
                    <a:lnTo>
                      <a:pt x="5" y="2"/>
                    </a:lnTo>
                    <a:lnTo>
                      <a:pt x="0" y="0"/>
                    </a:lnTo>
                    <a:lnTo>
                      <a:pt x="0" y="2"/>
                    </a:lnTo>
                    <a:lnTo>
                      <a:pt x="2" y="4"/>
                    </a:lnTo>
                    <a:lnTo>
                      <a:pt x="2" y="6"/>
                    </a:lnTo>
                    <a:lnTo>
                      <a:pt x="4" y="4"/>
                    </a:lnTo>
                    <a:lnTo>
                      <a:pt x="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99" name="Freeform 1948"/>
              <p:cNvSpPr>
                <a:spLocks/>
              </p:cNvSpPr>
              <p:nvPr/>
            </p:nvSpPr>
            <p:spPr bwMode="auto">
              <a:xfrm>
                <a:off x="2587" y="1449"/>
                <a:ext cx="4" cy="5"/>
              </a:xfrm>
              <a:custGeom>
                <a:avLst/>
                <a:gdLst>
                  <a:gd name="T0" fmla="*/ 4 w 4"/>
                  <a:gd name="T1" fmla="*/ 5 h 5"/>
                  <a:gd name="T2" fmla="*/ 4 w 4"/>
                  <a:gd name="T3" fmla="*/ 1 h 5"/>
                  <a:gd name="T4" fmla="*/ 4 w 4"/>
                  <a:gd name="T5" fmla="*/ 0 h 5"/>
                  <a:gd name="T6" fmla="*/ 2 w 4"/>
                  <a:gd name="T7" fmla="*/ 0 h 5"/>
                  <a:gd name="T8" fmla="*/ 0 w 4"/>
                  <a:gd name="T9" fmla="*/ 1 h 5"/>
                  <a:gd name="T10" fmla="*/ 0 w 4"/>
                  <a:gd name="T11" fmla="*/ 1 h 5"/>
                  <a:gd name="T12" fmla="*/ 2 w 4"/>
                  <a:gd name="T13" fmla="*/ 1 h 5"/>
                  <a:gd name="T14" fmla="*/ 2 w 4"/>
                  <a:gd name="T15" fmla="*/ 5 h 5"/>
                  <a:gd name="T16" fmla="*/ 4 w 4"/>
                  <a:gd name="T17" fmla="*/ 5 h 5"/>
                  <a:gd name="T18" fmla="*/ 4 w 4"/>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5"/>
                    </a:moveTo>
                    <a:lnTo>
                      <a:pt x="4" y="1"/>
                    </a:lnTo>
                    <a:lnTo>
                      <a:pt x="4" y="0"/>
                    </a:lnTo>
                    <a:lnTo>
                      <a:pt x="2" y="0"/>
                    </a:lnTo>
                    <a:lnTo>
                      <a:pt x="0" y="1"/>
                    </a:lnTo>
                    <a:lnTo>
                      <a:pt x="0" y="1"/>
                    </a:lnTo>
                    <a:lnTo>
                      <a:pt x="2" y="1"/>
                    </a:lnTo>
                    <a:lnTo>
                      <a:pt x="2" y="5"/>
                    </a:lnTo>
                    <a:lnTo>
                      <a:pt x="4" y="5"/>
                    </a:lnTo>
                    <a:lnTo>
                      <a:pt x="4"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00" name="Freeform 1949"/>
              <p:cNvSpPr>
                <a:spLocks/>
              </p:cNvSpPr>
              <p:nvPr/>
            </p:nvSpPr>
            <p:spPr bwMode="auto">
              <a:xfrm>
                <a:off x="2587" y="1449"/>
                <a:ext cx="4" cy="5"/>
              </a:xfrm>
              <a:custGeom>
                <a:avLst/>
                <a:gdLst>
                  <a:gd name="T0" fmla="*/ 4 w 4"/>
                  <a:gd name="T1" fmla="*/ 5 h 5"/>
                  <a:gd name="T2" fmla="*/ 4 w 4"/>
                  <a:gd name="T3" fmla="*/ 1 h 5"/>
                  <a:gd name="T4" fmla="*/ 4 w 4"/>
                  <a:gd name="T5" fmla="*/ 0 h 5"/>
                  <a:gd name="T6" fmla="*/ 2 w 4"/>
                  <a:gd name="T7" fmla="*/ 0 h 5"/>
                  <a:gd name="T8" fmla="*/ 0 w 4"/>
                  <a:gd name="T9" fmla="*/ 1 h 5"/>
                  <a:gd name="T10" fmla="*/ 0 w 4"/>
                  <a:gd name="T11" fmla="*/ 1 h 5"/>
                  <a:gd name="T12" fmla="*/ 2 w 4"/>
                  <a:gd name="T13" fmla="*/ 1 h 5"/>
                  <a:gd name="T14" fmla="*/ 2 w 4"/>
                  <a:gd name="T15" fmla="*/ 5 h 5"/>
                  <a:gd name="T16" fmla="*/ 4 w 4"/>
                  <a:gd name="T17" fmla="*/ 5 h 5"/>
                  <a:gd name="T18" fmla="*/ 4 w 4"/>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5"/>
                    </a:moveTo>
                    <a:lnTo>
                      <a:pt x="4" y="1"/>
                    </a:lnTo>
                    <a:lnTo>
                      <a:pt x="4" y="0"/>
                    </a:lnTo>
                    <a:lnTo>
                      <a:pt x="2" y="0"/>
                    </a:lnTo>
                    <a:lnTo>
                      <a:pt x="0" y="1"/>
                    </a:lnTo>
                    <a:lnTo>
                      <a:pt x="0" y="1"/>
                    </a:lnTo>
                    <a:lnTo>
                      <a:pt x="2" y="1"/>
                    </a:lnTo>
                    <a:lnTo>
                      <a:pt x="2" y="5"/>
                    </a:lnTo>
                    <a:lnTo>
                      <a:pt x="4" y="5"/>
                    </a:lnTo>
                    <a:lnTo>
                      <a:pt x="4"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01" name="Freeform 1950"/>
              <p:cNvSpPr>
                <a:spLocks/>
              </p:cNvSpPr>
              <p:nvPr/>
            </p:nvSpPr>
            <p:spPr bwMode="auto">
              <a:xfrm>
                <a:off x="2585" y="1457"/>
                <a:ext cx="4" cy="8"/>
              </a:xfrm>
              <a:custGeom>
                <a:avLst/>
                <a:gdLst>
                  <a:gd name="T0" fmla="*/ 0 w 4"/>
                  <a:gd name="T1" fmla="*/ 0 h 8"/>
                  <a:gd name="T2" fmla="*/ 0 w 4"/>
                  <a:gd name="T3" fmla="*/ 0 h 8"/>
                  <a:gd name="T4" fmla="*/ 0 w 4"/>
                  <a:gd name="T5" fmla="*/ 2 h 8"/>
                  <a:gd name="T6" fmla="*/ 0 w 4"/>
                  <a:gd name="T7" fmla="*/ 6 h 8"/>
                  <a:gd name="T8" fmla="*/ 2 w 4"/>
                  <a:gd name="T9" fmla="*/ 8 h 8"/>
                  <a:gd name="T10" fmla="*/ 2 w 4"/>
                  <a:gd name="T11" fmla="*/ 8 h 8"/>
                  <a:gd name="T12" fmla="*/ 4 w 4"/>
                  <a:gd name="T13" fmla="*/ 8 h 8"/>
                  <a:gd name="T14" fmla="*/ 4 w 4"/>
                  <a:gd name="T15" fmla="*/ 6 h 8"/>
                  <a:gd name="T16" fmla="*/ 4 w 4"/>
                  <a:gd name="T17" fmla="*/ 4 h 8"/>
                  <a:gd name="T18" fmla="*/ 0 w 4"/>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0"/>
                    </a:moveTo>
                    <a:lnTo>
                      <a:pt x="0" y="0"/>
                    </a:lnTo>
                    <a:lnTo>
                      <a:pt x="0" y="2"/>
                    </a:lnTo>
                    <a:lnTo>
                      <a:pt x="0" y="6"/>
                    </a:lnTo>
                    <a:lnTo>
                      <a:pt x="2" y="8"/>
                    </a:lnTo>
                    <a:lnTo>
                      <a:pt x="2" y="8"/>
                    </a:lnTo>
                    <a:lnTo>
                      <a:pt x="4" y="8"/>
                    </a:lnTo>
                    <a:lnTo>
                      <a:pt x="4" y="6"/>
                    </a:lnTo>
                    <a:lnTo>
                      <a:pt x="4" y="4"/>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02" name="Freeform 1951"/>
              <p:cNvSpPr>
                <a:spLocks/>
              </p:cNvSpPr>
              <p:nvPr/>
            </p:nvSpPr>
            <p:spPr bwMode="auto">
              <a:xfrm>
                <a:off x="2585" y="1457"/>
                <a:ext cx="4" cy="8"/>
              </a:xfrm>
              <a:custGeom>
                <a:avLst/>
                <a:gdLst>
                  <a:gd name="T0" fmla="*/ 0 w 4"/>
                  <a:gd name="T1" fmla="*/ 0 h 8"/>
                  <a:gd name="T2" fmla="*/ 0 w 4"/>
                  <a:gd name="T3" fmla="*/ 0 h 8"/>
                  <a:gd name="T4" fmla="*/ 0 w 4"/>
                  <a:gd name="T5" fmla="*/ 2 h 8"/>
                  <a:gd name="T6" fmla="*/ 0 w 4"/>
                  <a:gd name="T7" fmla="*/ 6 h 8"/>
                  <a:gd name="T8" fmla="*/ 2 w 4"/>
                  <a:gd name="T9" fmla="*/ 8 h 8"/>
                  <a:gd name="T10" fmla="*/ 2 w 4"/>
                  <a:gd name="T11" fmla="*/ 8 h 8"/>
                  <a:gd name="T12" fmla="*/ 4 w 4"/>
                  <a:gd name="T13" fmla="*/ 8 h 8"/>
                  <a:gd name="T14" fmla="*/ 4 w 4"/>
                  <a:gd name="T15" fmla="*/ 6 h 8"/>
                  <a:gd name="T16" fmla="*/ 4 w 4"/>
                  <a:gd name="T17" fmla="*/ 4 h 8"/>
                  <a:gd name="T18" fmla="*/ 0 w 4"/>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0" y="0"/>
                    </a:moveTo>
                    <a:lnTo>
                      <a:pt x="0" y="0"/>
                    </a:lnTo>
                    <a:lnTo>
                      <a:pt x="0" y="2"/>
                    </a:lnTo>
                    <a:lnTo>
                      <a:pt x="0" y="6"/>
                    </a:lnTo>
                    <a:lnTo>
                      <a:pt x="2" y="8"/>
                    </a:lnTo>
                    <a:lnTo>
                      <a:pt x="2" y="8"/>
                    </a:lnTo>
                    <a:lnTo>
                      <a:pt x="4" y="8"/>
                    </a:lnTo>
                    <a:lnTo>
                      <a:pt x="4" y="6"/>
                    </a:lnTo>
                    <a:lnTo>
                      <a:pt x="4" y="4"/>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03" name="Freeform 1952"/>
              <p:cNvSpPr>
                <a:spLocks/>
              </p:cNvSpPr>
              <p:nvPr/>
            </p:nvSpPr>
            <p:spPr bwMode="auto">
              <a:xfrm>
                <a:off x="2930" y="1652"/>
                <a:ext cx="5" cy="7"/>
              </a:xfrm>
              <a:custGeom>
                <a:avLst/>
                <a:gdLst>
                  <a:gd name="T0" fmla="*/ 5 w 5"/>
                  <a:gd name="T1" fmla="*/ 7 h 7"/>
                  <a:gd name="T2" fmla="*/ 5 w 5"/>
                  <a:gd name="T3" fmla="*/ 2 h 7"/>
                  <a:gd name="T4" fmla="*/ 2 w 5"/>
                  <a:gd name="T5" fmla="*/ 0 h 7"/>
                  <a:gd name="T6" fmla="*/ 0 w 5"/>
                  <a:gd name="T7" fmla="*/ 0 h 7"/>
                  <a:gd name="T8" fmla="*/ 0 w 5"/>
                  <a:gd name="T9" fmla="*/ 4 h 7"/>
                  <a:gd name="T10" fmla="*/ 2 w 5"/>
                  <a:gd name="T11" fmla="*/ 5 h 7"/>
                  <a:gd name="T12" fmla="*/ 4 w 5"/>
                  <a:gd name="T13" fmla="*/ 7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5" y="2"/>
                    </a:lnTo>
                    <a:lnTo>
                      <a:pt x="2" y="0"/>
                    </a:lnTo>
                    <a:lnTo>
                      <a:pt x="0" y="0"/>
                    </a:lnTo>
                    <a:lnTo>
                      <a:pt x="0" y="4"/>
                    </a:lnTo>
                    <a:lnTo>
                      <a:pt x="2" y="5"/>
                    </a:lnTo>
                    <a:lnTo>
                      <a:pt x="4" y="7"/>
                    </a:lnTo>
                    <a:lnTo>
                      <a:pt x="5"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04" name="Freeform 1953"/>
              <p:cNvSpPr>
                <a:spLocks/>
              </p:cNvSpPr>
              <p:nvPr/>
            </p:nvSpPr>
            <p:spPr bwMode="auto">
              <a:xfrm>
                <a:off x="2930" y="1652"/>
                <a:ext cx="5" cy="7"/>
              </a:xfrm>
              <a:custGeom>
                <a:avLst/>
                <a:gdLst>
                  <a:gd name="T0" fmla="*/ 5 w 5"/>
                  <a:gd name="T1" fmla="*/ 7 h 7"/>
                  <a:gd name="T2" fmla="*/ 5 w 5"/>
                  <a:gd name="T3" fmla="*/ 2 h 7"/>
                  <a:gd name="T4" fmla="*/ 2 w 5"/>
                  <a:gd name="T5" fmla="*/ 0 h 7"/>
                  <a:gd name="T6" fmla="*/ 0 w 5"/>
                  <a:gd name="T7" fmla="*/ 0 h 7"/>
                  <a:gd name="T8" fmla="*/ 0 w 5"/>
                  <a:gd name="T9" fmla="*/ 4 h 7"/>
                  <a:gd name="T10" fmla="*/ 2 w 5"/>
                  <a:gd name="T11" fmla="*/ 5 h 7"/>
                  <a:gd name="T12" fmla="*/ 4 w 5"/>
                  <a:gd name="T13" fmla="*/ 7 h 7"/>
                  <a:gd name="T14" fmla="*/ 5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5" y="7"/>
                    </a:moveTo>
                    <a:lnTo>
                      <a:pt x="5" y="2"/>
                    </a:lnTo>
                    <a:lnTo>
                      <a:pt x="2" y="0"/>
                    </a:lnTo>
                    <a:lnTo>
                      <a:pt x="0" y="0"/>
                    </a:lnTo>
                    <a:lnTo>
                      <a:pt x="0" y="4"/>
                    </a:lnTo>
                    <a:lnTo>
                      <a:pt x="2" y="5"/>
                    </a:lnTo>
                    <a:lnTo>
                      <a:pt x="4" y="7"/>
                    </a:lnTo>
                    <a:lnTo>
                      <a:pt x="5"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05" name="Freeform 1954"/>
              <p:cNvSpPr>
                <a:spLocks/>
              </p:cNvSpPr>
              <p:nvPr/>
            </p:nvSpPr>
            <p:spPr bwMode="auto">
              <a:xfrm>
                <a:off x="2885" y="1661"/>
                <a:ext cx="6" cy="11"/>
              </a:xfrm>
              <a:custGeom>
                <a:avLst/>
                <a:gdLst>
                  <a:gd name="T0" fmla="*/ 0 w 6"/>
                  <a:gd name="T1" fmla="*/ 0 h 11"/>
                  <a:gd name="T2" fmla="*/ 2 w 6"/>
                  <a:gd name="T3" fmla="*/ 0 h 11"/>
                  <a:gd name="T4" fmla="*/ 2 w 6"/>
                  <a:gd name="T5" fmla="*/ 0 h 11"/>
                  <a:gd name="T6" fmla="*/ 4 w 6"/>
                  <a:gd name="T7" fmla="*/ 0 h 11"/>
                  <a:gd name="T8" fmla="*/ 6 w 6"/>
                  <a:gd name="T9" fmla="*/ 2 h 11"/>
                  <a:gd name="T10" fmla="*/ 6 w 6"/>
                  <a:gd name="T11" fmla="*/ 4 h 11"/>
                  <a:gd name="T12" fmla="*/ 4 w 6"/>
                  <a:gd name="T13" fmla="*/ 5 h 11"/>
                  <a:gd name="T14" fmla="*/ 4 w 6"/>
                  <a:gd name="T15" fmla="*/ 11 h 11"/>
                  <a:gd name="T16" fmla="*/ 2 w 6"/>
                  <a:gd name="T17" fmla="*/ 9 h 11"/>
                  <a:gd name="T18" fmla="*/ 2 w 6"/>
                  <a:gd name="T19" fmla="*/ 5 h 11"/>
                  <a:gd name="T20" fmla="*/ 2 w 6"/>
                  <a:gd name="T21" fmla="*/ 4 h 11"/>
                  <a:gd name="T22" fmla="*/ 0 w 6"/>
                  <a:gd name="T23" fmla="*/ 2 h 11"/>
                  <a:gd name="T24" fmla="*/ 0 w 6"/>
                  <a:gd name="T25" fmla="*/ 2 h 11"/>
                  <a:gd name="T26" fmla="*/ 0 w 6"/>
                  <a:gd name="T27" fmla="*/ 0 h 11"/>
                  <a:gd name="T28" fmla="*/ 0 w 6"/>
                  <a:gd name="T29" fmla="*/ 0 h 11"/>
                  <a:gd name="T30" fmla="*/ 0 w 6"/>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11">
                    <a:moveTo>
                      <a:pt x="0" y="0"/>
                    </a:moveTo>
                    <a:lnTo>
                      <a:pt x="2" y="0"/>
                    </a:lnTo>
                    <a:lnTo>
                      <a:pt x="2" y="0"/>
                    </a:lnTo>
                    <a:lnTo>
                      <a:pt x="4" y="0"/>
                    </a:lnTo>
                    <a:lnTo>
                      <a:pt x="6" y="2"/>
                    </a:lnTo>
                    <a:lnTo>
                      <a:pt x="6" y="4"/>
                    </a:lnTo>
                    <a:lnTo>
                      <a:pt x="4" y="5"/>
                    </a:lnTo>
                    <a:lnTo>
                      <a:pt x="4" y="11"/>
                    </a:lnTo>
                    <a:lnTo>
                      <a:pt x="2" y="9"/>
                    </a:lnTo>
                    <a:lnTo>
                      <a:pt x="2" y="5"/>
                    </a:lnTo>
                    <a:lnTo>
                      <a:pt x="2" y="4"/>
                    </a:lnTo>
                    <a:lnTo>
                      <a:pt x="0" y="2"/>
                    </a:lnTo>
                    <a:lnTo>
                      <a:pt x="0" y="2"/>
                    </a:lnTo>
                    <a:lnTo>
                      <a:pt x="0" y="0"/>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06" name="Freeform 1955"/>
              <p:cNvSpPr>
                <a:spLocks/>
              </p:cNvSpPr>
              <p:nvPr/>
            </p:nvSpPr>
            <p:spPr bwMode="auto">
              <a:xfrm>
                <a:off x="2885" y="1661"/>
                <a:ext cx="6" cy="11"/>
              </a:xfrm>
              <a:custGeom>
                <a:avLst/>
                <a:gdLst>
                  <a:gd name="T0" fmla="*/ 0 w 6"/>
                  <a:gd name="T1" fmla="*/ 0 h 11"/>
                  <a:gd name="T2" fmla="*/ 2 w 6"/>
                  <a:gd name="T3" fmla="*/ 0 h 11"/>
                  <a:gd name="T4" fmla="*/ 2 w 6"/>
                  <a:gd name="T5" fmla="*/ 0 h 11"/>
                  <a:gd name="T6" fmla="*/ 4 w 6"/>
                  <a:gd name="T7" fmla="*/ 0 h 11"/>
                  <a:gd name="T8" fmla="*/ 6 w 6"/>
                  <a:gd name="T9" fmla="*/ 2 h 11"/>
                  <a:gd name="T10" fmla="*/ 6 w 6"/>
                  <a:gd name="T11" fmla="*/ 4 h 11"/>
                  <a:gd name="T12" fmla="*/ 4 w 6"/>
                  <a:gd name="T13" fmla="*/ 5 h 11"/>
                  <a:gd name="T14" fmla="*/ 4 w 6"/>
                  <a:gd name="T15" fmla="*/ 11 h 11"/>
                  <a:gd name="T16" fmla="*/ 2 w 6"/>
                  <a:gd name="T17" fmla="*/ 9 h 11"/>
                  <a:gd name="T18" fmla="*/ 2 w 6"/>
                  <a:gd name="T19" fmla="*/ 5 h 11"/>
                  <a:gd name="T20" fmla="*/ 2 w 6"/>
                  <a:gd name="T21" fmla="*/ 4 h 11"/>
                  <a:gd name="T22" fmla="*/ 0 w 6"/>
                  <a:gd name="T23" fmla="*/ 2 h 11"/>
                  <a:gd name="T24" fmla="*/ 0 w 6"/>
                  <a:gd name="T25" fmla="*/ 2 h 11"/>
                  <a:gd name="T26" fmla="*/ 0 w 6"/>
                  <a:gd name="T27" fmla="*/ 0 h 11"/>
                  <a:gd name="T28" fmla="*/ 0 w 6"/>
                  <a:gd name="T29" fmla="*/ 0 h 11"/>
                  <a:gd name="T30" fmla="*/ 0 w 6"/>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 h="11">
                    <a:moveTo>
                      <a:pt x="0" y="0"/>
                    </a:moveTo>
                    <a:lnTo>
                      <a:pt x="2" y="0"/>
                    </a:lnTo>
                    <a:lnTo>
                      <a:pt x="2" y="0"/>
                    </a:lnTo>
                    <a:lnTo>
                      <a:pt x="4" y="0"/>
                    </a:lnTo>
                    <a:lnTo>
                      <a:pt x="6" y="2"/>
                    </a:lnTo>
                    <a:lnTo>
                      <a:pt x="6" y="4"/>
                    </a:lnTo>
                    <a:lnTo>
                      <a:pt x="4" y="5"/>
                    </a:lnTo>
                    <a:lnTo>
                      <a:pt x="4" y="11"/>
                    </a:lnTo>
                    <a:lnTo>
                      <a:pt x="2" y="9"/>
                    </a:lnTo>
                    <a:lnTo>
                      <a:pt x="2" y="5"/>
                    </a:lnTo>
                    <a:lnTo>
                      <a:pt x="2" y="4"/>
                    </a:lnTo>
                    <a:lnTo>
                      <a:pt x="0" y="2"/>
                    </a:lnTo>
                    <a:lnTo>
                      <a:pt x="0" y="2"/>
                    </a:lnTo>
                    <a:lnTo>
                      <a:pt x="0" y="0"/>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07" name="Freeform 1956"/>
              <p:cNvSpPr>
                <a:spLocks/>
              </p:cNvSpPr>
              <p:nvPr/>
            </p:nvSpPr>
            <p:spPr bwMode="auto">
              <a:xfrm>
                <a:off x="2873" y="1661"/>
                <a:ext cx="12" cy="9"/>
              </a:xfrm>
              <a:custGeom>
                <a:avLst/>
                <a:gdLst>
                  <a:gd name="T0" fmla="*/ 3 w 12"/>
                  <a:gd name="T1" fmla="*/ 0 h 9"/>
                  <a:gd name="T2" fmla="*/ 5 w 12"/>
                  <a:gd name="T3" fmla="*/ 0 h 9"/>
                  <a:gd name="T4" fmla="*/ 5 w 12"/>
                  <a:gd name="T5" fmla="*/ 0 h 9"/>
                  <a:gd name="T6" fmla="*/ 5 w 12"/>
                  <a:gd name="T7" fmla="*/ 2 h 9"/>
                  <a:gd name="T8" fmla="*/ 7 w 12"/>
                  <a:gd name="T9" fmla="*/ 2 h 9"/>
                  <a:gd name="T10" fmla="*/ 9 w 12"/>
                  <a:gd name="T11" fmla="*/ 2 h 9"/>
                  <a:gd name="T12" fmla="*/ 9 w 12"/>
                  <a:gd name="T13" fmla="*/ 2 h 9"/>
                  <a:gd name="T14" fmla="*/ 9 w 12"/>
                  <a:gd name="T15" fmla="*/ 2 h 9"/>
                  <a:gd name="T16" fmla="*/ 9 w 12"/>
                  <a:gd name="T17" fmla="*/ 2 h 9"/>
                  <a:gd name="T18" fmla="*/ 11 w 12"/>
                  <a:gd name="T19" fmla="*/ 2 h 9"/>
                  <a:gd name="T20" fmla="*/ 11 w 12"/>
                  <a:gd name="T21" fmla="*/ 2 h 9"/>
                  <a:gd name="T22" fmla="*/ 12 w 12"/>
                  <a:gd name="T23" fmla="*/ 4 h 9"/>
                  <a:gd name="T24" fmla="*/ 12 w 12"/>
                  <a:gd name="T25" fmla="*/ 7 h 9"/>
                  <a:gd name="T26" fmla="*/ 11 w 12"/>
                  <a:gd name="T27" fmla="*/ 7 h 9"/>
                  <a:gd name="T28" fmla="*/ 9 w 12"/>
                  <a:gd name="T29" fmla="*/ 7 h 9"/>
                  <a:gd name="T30" fmla="*/ 9 w 12"/>
                  <a:gd name="T31" fmla="*/ 9 h 9"/>
                  <a:gd name="T32" fmla="*/ 7 w 12"/>
                  <a:gd name="T33" fmla="*/ 9 h 9"/>
                  <a:gd name="T34" fmla="*/ 3 w 12"/>
                  <a:gd name="T35" fmla="*/ 5 h 9"/>
                  <a:gd name="T36" fmla="*/ 0 w 12"/>
                  <a:gd name="T37" fmla="*/ 5 h 9"/>
                  <a:gd name="T38" fmla="*/ 0 w 12"/>
                  <a:gd name="T39" fmla="*/ 4 h 9"/>
                  <a:gd name="T40" fmla="*/ 2 w 12"/>
                  <a:gd name="T41" fmla="*/ 4 h 9"/>
                  <a:gd name="T42" fmla="*/ 2 w 12"/>
                  <a:gd name="T43" fmla="*/ 2 h 9"/>
                  <a:gd name="T44" fmla="*/ 2 w 12"/>
                  <a:gd name="T45" fmla="*/ 2 h 9"/>
                  <a:gd name="T46" fmla="*/ 0 w 12"/>
                  <a:gd name="T47" fmla="*/ 0 h 9"/>
                  <a:gd name="T48" fmla="*/ 2 w 12"/>
                  <a:gd name="T49" fmla="*/ 0 h 9"/>
                  <a:gd name="T50" fmla="*/ 3 w 12"/>
                  <a:gd name="T51" fmla="*/ 0 h 9"/>
                  <a:gd name="T52" fmla="*/ 3 w 12"/>
                  <a:gd name="T5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9">
                    <a:moveTo>
                      <a:pt x="3" y="0"/>
                    </a:moveTo>
                    <a:lnTo>
                      <a:pt x="5" y="0"/>
                    </a:lnTo>
                    <a:lnTo>
                      <a:pt x="5" y="0"/>
                    </a:lnTo>
                    <a:lnTo>
                      <a:pt x="5" y="2"/>
                    </a:lnTo>
                    <a:lnTo>
                      <a:pt x="7" y="2"/>
                    </a:lnTo>
                    <a:lnTo>
                      <a:pt x="9" y="2"/>
                    </a:lnTo>
                    <a:lnTo>
                      <a:pt x="9" y="2"/>
                    </a:lnTo>
                    <a:lnTo>
                      <a:pt x="9" y="2"/>
                    </a:lnTo>
                    <a:lnTo>
                      <a:pt x="9" y="2"/>
                    </a:lnTo>
                    <a:lnTo>
                      <a:pt x="11" y="2"/>
                    </a:lnTo>
                    <a:lnTo>
                      <a:pt x="11" y="2"/>
                    </a:lnTo>
                    <a:lnTo>
                      <a:pt x="12" y="4"/>
                    </a:lnTo>
                    <a:lnTo>
                      <a:pt x="12" y="7"/>
                    </a:lnTo>
                    <a:lnTo>
                      <a:pt x="11" y="7"/>
                    </a:lnTo>
                    <a:lnTo>
                      <a:pt x="9" y="7"/>
                    </a:lnTo>
                    <a:lnTo>
                      <a:pt x="9" y="9"/>
                    </a:lnTo>
                    <a:lnTo>
                      <a:pt x="7" y="9"/>
                    </a:lnTo>
                    <a:lnTo>
                      <a:pt x="3" y="5"/>
                    </a:lnTo>
                    <a:lnTo>
                      <a:pt x="0" y="5"/>
                    </a:lnTo>
                    <a:lnTo>
                      <a:pt x="0" y="4"/>
                    </a:lnTo>
                    <a:lnTo>
                      <a:pt x="2" y="4"/>
                    </a:lnTo>
                    <a:lnTo>
                      <a:pt x="2" y="2"/>
                    </a:lnTo>
                    <a:lnTo>
                      <a:pt x="2" y="2"/>
                    </a:lnTo>
                    <a:lnTo>
                      <a:pt x="0" y="0"/>
                    </a:lnTo>
                    <a:lnTo>
                      <a:pt x="2" y="0"/>
                    </a:lnTo>
                    <a:lnTo>
                      <a:pt x="3" y="0"/>
                    </a:lnTo>
                    <a:lnTo>
                      <a:pt x="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08" name="Freeform 1957"/>
              <p:cNvSpPr>
                <a:spLocks/>
              </p:cNvSpPr>
              <p:nvPr/>
            </p:nvSpPr>
            <p:spPr bwMode="auto">
              <a:xfrm>
                <a:off x="2873" y="1661"/>
                <a:ext cx="12" cy="9"/>
              </a:xfrm>
              <a:custGeom>
                <a:avLst/>
                <a:gdLst>
                  <a:gd name="T0" fmla="*/ 3 w 12"/>
                  <a:gd name="T1" fmla="*/ 0 h 9"/>
                  <a:gd name="T2" fmla="*/ 5 w 12"/>
                  <a:gd name="T3" fmla="*/ 0 h 9"/>
                  <a:gd name="T4" fmla="*/ 5 w 12"/>
                  <a:gd name="T5" fmla="*/ 0 h 9"/>
                  <a:gd name="T6" fmla="*/ 5 w 12"/>
                  <a:gd name="T7" fmla="*/ 2 h 9"/>
                  <a:gd name="T8" fmla="*/ 7 w 12"/>
                  <a:gd name="T9" fmla="*/ 2 h 9"/>
                  <a:gd name="T10" fmla="*/ 9 w 12"/>
                  <a:gd name="T11" fmla="*/ 2 h 9"/>
                  <a:gd name="T12" fmla="*/ 9 w 12"/>
                  <a:gd name="T13" fmla="*/ 2 h 9"/>
                  <a:gd name="T14" fmla="*/ 9 w 12"/>
                  <a:gd name="T15" fmla="*/ 2 h 9"/>
                  <a:gd name="T16" fmla="*/ 9 w 12"/>
                  <a:gd name="T17" fmla="*/ 2 h 9"/>
                  <a:gd name="T18" fmla="*/ 11 w 12"/>
                  <a:gd name="T19" fmla="*/ 2 h 9"/>
                  <a:gd name="T20" fmla="*/ 11 w 12"/>
                  <a:gd name="T21" fmla="*/ 2 h 9"/>
                  <a:gd name="T22" fmla="*/ 12 w 12"/>
                  <a:gd name="T23" fmla="*/ 4 h 9"/>
                  <a:gd name="T24" fmla="*/ 12 w 12"/>
                  <a:gd name="T25" fmla="*/ 7 h 9"/>
                  <a:gd name="T26" fmla="*/ 11 w 12"/>
                  <a:gd name="T27" fmla="*/ 7 h 9"/>
                  <a:gd name="T28" fmla="*/ 9 w 12"/>
                  <a:gd name="T29" fmla="*/ 7 h 9"/>
                  <a:gd name="T30" fmla="*/ 9 w 12"/>
                  <a:gd name="T31" fmla="*/ 9 h 9"/>
                  <a:gd name="T32" fmla="*/ 7 w 12"/>
                  <a:gd name="T33" fmla="*/ 9 h 9"/>
                  <a:gd name="T34" fmla="*/ 3 w 12"/>
                  <a:gd name="T35" fmla="*/ 5 h 9"/>
                  <a:gd name="T36" fmla="*/ 0 w 12"/>
                  <a:gd name="T37" fmla="*/ 5 h 9"/>
                  <a:gd name="T38" fmla="*/ 0 w 12"/>
                  <a:gd name="T39" fmla="*/ 4 h 9"/>
                  <a:gd name="T40" fmla="*/ 2 w 12"/>
                  <a:gd name="T41" fmla="*/ 4 h 9"/>
                  <a:gd name="T42" fmla="*/ 2 w 12"/>
                  <a:gd name="T43" fmla="*/ 2 h 9"/>
                  <a:gd name="T44" fmla="*/ 2 w 12"/>
                  <a:gd name="T45" fmla="*/ 2 h 9"/>
                  <a:gd name="T46" fmla="*/ 0 w 12"/>
                  <a:gd name="T47" fmla="*/ 0 h 9"/>
                  <a:gd name="T48" fmla="*/ 2 w 12"/>
                  <a:gd name="T49" fmla="*/ 0 h 9"/>
                  <a:gd name="T50" fmla="*/ 3 w 12"/>
                  <a:gd name="T51" fmla="*/ 0 h 9"/>
                  <a:gd name="T52" fmla="*/ 3 w 12"/>
                  <a:gd name="T5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9">
                    <a:moveTo>
                      <a:pt x="3" y="0"/>
                    </a:moveTo>
                    <a:lnTo>
                      <a:pt x="5" y="0"/>
                    </a:lnTo>
                    <a:lnTo>
                      <a:pt x="5" y="0"/>
                    </a:lnTo>
                    <a:lnTo>
                      <a:pt x="5" y="2"/>
                    </a:lnTo>
                    <a:lnTo>
                      <a:pt x="7" y="2"/>
                    </a:lnTo>
                    <a:lnTo>
                      <a:pt x="9" y="2"/>
                    </a:lnTo>
                    <a:lnTo>
                      <a:pt x="9" y="2"/>
                    </a:lnTo>
                    <a:lnTo>
                      <a:pt x="9" y="2"/>
                    </a:lnTo>
                    <a:lnTo>
                      <a:pt x="9" y="2"/>
                    </a:lnTo>
                    <a:lnTo>
                      <a:pt x="11" y="2"/>
                    </a:lnTo>
                    <a:lnTo>
                      <a:pt x="11" y="2"/>
                    </a:lnTo>
                    <a:lnTo>
                      <a:pt x="12" y="4"/>
                    </a:lnTo>
                    <a:lnTo>
                      <a:pt x="12" y="7"/>
                    </a:lnTo>
                    <a:lnTo>
                      <a:pt x="11" y="7"/>
                    </a:lnTo>
                    <a:lnTo>
                      <a:pt x="9" y="7"/>
                    </a:lnTo>
                    <a:lnTo>
                      <a:pt x="9" y="9"/>
                    </a:lnTo>
                    <a:lnTo>
                      <a:pt x="7" y="9"/>
                    </a:lnTo>
                    <a:lnTo>
                      <a:pt x="3" y="5"/>
                    </a:lnTo>
                    <a:lnTo>
                      <a:pt x="0" y="5"/>
                    </a:lnTo>
                    <a:lnTo>
                      <a:pt x="0" y="4"/>
                    </a:lnTo>
                    <a:lnTo>
                      <a:pt x="2" y="4"/>
                    </a:lnTo>
                    <a:lnTo>
                      <a:pt x="2" y="2"/>
                    </a:lnTo>
                    <a:lnTo>
                      <a:pt x="2" y="2"/>
                    </a:lnTo>
                    <a:lnTo>
                      <a:pt x="0" y="0"/>
                    </a:lnTo>
                    <a:lnTo>
                      <a:pt x="2" y="0"/>
                    </a:lnTo>
                    <a:lnTo>
                      <a:pt x="3" y="0"/>
                    </a:lnTo>
                    <a:lnTo>
                      <a:pt x="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09" name="Freeform 1958"/>
              <p:cNvSpPr>
                <a:spLocks/>
              </p:cNvSpPr>
              <p:nvPr/>
            </p:nvSpPr>
            <p:spPr bwMode="auto">
              <a:xfrm>
                <a:off x="2851" y="1641"/>
                <a:ext cx="20" cy="16"/>
              </a:xfrm>
              <a:custGeom>
                <a:avLst/>
                <a:gdLst>
                  <a:gd name="T0" fmla="*/ 6 w 20"/>
                  <a:gd name="T1" fmla="*/ 4 h 16"/>
                  <a:gd name="T2" fmla="*/ 8 w 20"/>
                  <a:gd name="T3" fmla="*/ 2 h 16"/>
                  <a:gd name="T4" fmla="*/ 11 w 20"/>
                  <a:gd name="T5" fmla="*/ 2 h 16"/>
                  <a:gd name="T6" fmla="*/ 13 w 20"/>
                  <a:gd name="T7" fmla="*/ 4 h 16"/>
                  <a:gd name="T8" fmla="*/ 15 w 20"/>
                  <a:gd name="T9" fmla="*/ 4 h 16"/>
                  <a:gd name="T10" fmla="*/ 15 w 20"/>
                  <a:gd name="T11" fmla="*/ 2 h 16"/>
                  <a:gd name="T12" fmla="*/ 15 w 20"/>
                  <a:gd name="T13" fmla="*/ 0 h 16"/>
                  <a:gd name="T14" fmla="*/ 17 w 20"/>
                  <a:gd name="T15" fmla="*/ 4 h 16"/>
                  <a:gd name="T16" fmla="*/ 17 w 20"/>
                  <a:gd name="T17" fmla="*/ 8 h 16"/>
                  <a:gd name="T18" fmla="*/ 18 w 20"/>
                  <a:gd name="T19" fmla="*/ 9 h 16"/>
                  <a:gd name="T20" fmla="*/ 18 w 20"/>
                  <a:gd name="T21" fmla="*/ 9 h 16"/>
                  <a:gd name="T22" fmla="*/ 20 w 20"/>
                  <a:gd name="T23" fmla="*/ 9 h 16"/>
                  <a:gd name="T24" fmla="*/ 20 w 20"/>
                  <a:gd name="T25" fmla="*/ 11 h 16"/>
                  <a:gd name="T26" fmla="*/ 18 w 20"/>
                  <a:gd name="T27" fmla="*/ 11 h 16"/>
                  <a:gd name="T28" fmla="*/ 18 w 20"/>
                  <a:gd name="T29" fmla="*/ 16 h 16"/>
                  <a:gd name="T30" fmla="*/ 17 w 20"/>
                  <a:gd name="T31" fmla="*/ 16 h 16"/>
                  <a:gd name="T32" fmla="*/ 15 w 20"/>
                  <a:gd name="T33" fmla="*/ 16 h 16"/>
                  <a:gd name="T34" fmla="*/ 13 w 20"/>
                  <a:gd name="T35" fmla="*/ 16 h 16"/>
                  <a:gd name="T36" fmla="*/ 9 w 20"/>
                  <a:gd name="T37" fmla="*/ 16 h 16"/>
                  <a:gd name="T38" fmla="*/ 8 w 20"/>
                  <a:gd name="T39" fmla="*/ 16 h 16"/>
                  <a:gd name="T40" fmla="*/ 8 w 20"/>
                  <a:gd name="T41" fmla="*/ 15 h 16"/>
                  <a:gd name="T42" fmla="*/ 8 w 20"/>
                  <a:gd name="T43" fmla="*/ 13 h 16"/>
                  <a:gd name="T44" fmla="*/ 8 w 20"/>
                  <a:gd name="T45" fmla="*/ 13 h 16"/>
                  <a:gd name="T46" fmla="*/ 4 w 20"/>
                  <a:gd name="T47" fmla="*/ 13 h 16"/>
                  <a:gd name="T48" fmla="*/ 4 w 20"/>
                  <a:gd name="T49" fmla="*/ 11 h 16"/>
                  <a:gd name="T50" fmla="*/ 2 w 20"/>
                  <a:gd name="T51" fmla="*/ 9 h 16"/>
                  <a:gd name="T52" fmla="*/ 2 w 20"/>
                  <a:gd name="T53" fmla="*/ 8 h 16"/>
                  <a:gd name="T54" fmla="*/ 2 w 20"/>
                  <a:gd name="T55" fmla="*/ 6 h 16"/>
                  <a:gd name="T56" fmla="*/ 2 w 20"/>
                  <a:gd name="T57" fmla="*/ 6 h 16"/>
                  <a:gd name="T58" fmla="*/ 2 w 20"/>
                  <a:gd name="T59" fmla="*/ 6 h 16"/>
                  <a:gd name="T60" fmla="*/ 0 w 20"/>
                  <a:gd name="T61" fmla="*/ 4 h 16"/>
                  <a:gd name="T62" fmla="*/ 0 w 20"/>
                  <a:gd name="T63" fmla="*/ 4 h 16"/>
                  <a:gd name="T64" fmla="*/ 2 w 20"/>
                  <a:gd name="T65" fmla="*/ 4 h 16"/>
                  <a:gd name="T66" fmla="*/ 4 w 20"/>
                  <a:gd name="T67" fmla="*/ 4 h 16"/>
                  <a:gd name="T68" fmla="*/ 6 w 20"/>
                  <a:gd name="T6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6">
                    <a:moveTo>
                      <a:pt x="6" y="4"/>
                    </a:moveTo>
                    <a:lnTo>
                      <a:pt x="8" y="2"/>
                    </a:lnTo>
                    <a:lnTo>
                      <a:pt x="11" y="2"/>
                    </a:lnTo>
                    <a:lnTo>
                      <a:pt x="13" y="4"/>
                    </a:lnTo>
                    <a:lnTo>
                      <a:pt x="15" y="4"/>
                    </a:lnTo>
                    <a:lnTo>
                      <a:pt x="15" y="2"/>
                    </a:lnTo>
                    <a:lnTo>
                      <a:pt x="15" y="0"/>
                    </a:lnTo>
                    <a:lnTo>
                      <a:pt x="17" y="4"/>
                    </a:lnTo>
                    <a:lnTo>
                      <a:pt x="17" y="8"/>
                    </a:lnTo>
                    <a:lnTo>
                      <a:pt x="18" y="9"/>
                    </a:lnTo>
                    <a:lnTo>
                      <a:pt x="18" y="9"/>
                    </a:lnTo>
                    <a:lnTo>
                      <a:pt x="20" y="9"/>
                    </a:lnTo>
                    <a:lnTo>
                      <a:pt x="20" y="11"/>
                    </a:lnTo>
                    <a:lnTo>
                      <a:pt x="18" y="11"/>
                    </a:lnTo>
                    <a:lnTo>
                      <a:pt x="18" y="16"/>
                    </a:lnTo>
                    <a:lnTo>
                      <a:pt x="17" y="16"/>
                    </a:lnTo>
                    <a:lnTo>
                      <a:pt x="15" y="16"/>
                    </a:lnTo>
                    <a:lnTo>
                      <a:pt x="13" y="16"/>
                    </a:lnTo>
                    <a:lnTo>
                      <a:pt x="9" y="16"/>
                    </a:lnTo>
                    <a:lnTo>
                      <a:pt x="8" y="16"/>
                    </a:lnTo>
                    <a:lnTo>
                      <a:pt x="8" y="15"/>
                    </a:lnTo>
                    <a:lnTo>
                      <a:pt x="8" y="13"/>
                    </a:lnTo>
                    <a:lnTo>
                      <a:pt x="8" y="13"/>
                    </a:lnTo>
                    <a:lnTo>
                      <a:pt x="4" y="13"/>
                    </a:lnTo>
                    <a:lnTo>
                      <a:pt x="4" y="11"/>
                    </a:lnTo>
                    <a:lnTo>
                      <a:pt x="2" y="9"/>
                    </a:lnTo>
                    <a:lnTo>
                      <a:pt x="2" y="8"/>
                    </a:lnTo>
                    <a:lnTo>
                      <a:pt x="2" y="6"/>
                    </a:lnTo>
                    <a:lnTo>
                      <a:pt x="2" y="6"/>
                    </a:lnTo>
                    <a:lnTo>
                      <a:pt x="2" y="6"/>
                    </a:lnTo>
                    <a:lnTo>
                      <a:pt x="0" y="4"/>
                    </a:lnTo>
                    <a:lnTo>
                      <a:pt x="0" y="4"/>
                    </a:lnTo>
                    <a:lnTo>
                      <a:pt x="2" y="4"/>
                    </a:lnTo>
                    <a:lnTo>
                      <a:pt x="4" y="4"/>
                    </a:lnTo>
                    <a:lnTo>
                      <a:pt x="6"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10" name="Freeform 1959"/>
              <p:cNvSpPr>
                <a:spLocks/>
              </p:cNvSpPr>
              <p:nvPr/>
            </p:nvSpPr>
            <p:spPr bwMode="auto">
              <a:xfrm>
                <a:off x="2851" y="1641"/>
                <a:ext cx="20" cy="16"/>
              </a:xfrm>
              <a:custGeom>
                <a:avLst/>
                <a:gdLst>
                  <a:gd name="T0" fmla="*/ 6 w 20"/>
                  <a:gd name="T1" fmla="*/ 4 h 16"/>
                  <a:gd name="T2" fmla="*/ 8 w 20"/>
                  <a:gd name="T3" fmla="*/ 2 h 16"/>
                  <a:gd name="T4" fmla="*/ 11 w 20"/>
                  <a:gd name="T5" fmla="*/ 2 h 16"/>
                  <a:gd name="T6" fmla="*/ 13 w 20"/>
                  <a:gd name="T7" fmla="*/ 4 h 16"/>
                  <a:gd name="T8" fmla="*/ 15 w 20"/>
                  <a:gd name="T9" fmla="*/ 4 h 16"/>
                  <a:gd name="T10" fmla="*/ 15 w 20"/>
                  <a:gd name="T11" fmla="*/ 2 h 16"/>
                  <a:gd name="T12" fmla="*/ 15 w 20"/>
                  <a:gd name="T13" fmla="*/ 0 h 16"/>
                  <a:gd name="T14" fmla="*/ 17 w 20"/>
                  <a:gd name="T15" fmla="*/ 4 h 16"/>
                  <a:gd name="T16" fmla="*/ 17 w 20"/>
                  <a:gd name="T17" fmla="*/ 8 h 16"/>
                  <a:gd name="T18" fmla="*/ 18 w 20"/>
                  <a:gd name="T19" fmla="*/ 9 h 16"/>
                  <a:gd name="T20" fmla="*/ 18 w 20"/>
                  <a:gd name="T21" fmla="*/ 9 h 16"/>
                  <a:gd name="T22" fmla="*/ 20 w 20"/>
                  <a:gd name="T23" fmla="*/ 9 h 16"/>
                  <a:gd name="T24" fmla="*/ 20 w 20"/>
                  <a:gd name="T25" fmla="*/ 11 h 16"/>
                  <a:gd name="T26" fmla="*/ 18 w 20"/>
                  <a:gd name="T27" fmla="*/ 11 h 16"/>
                  <a:gd name="T28" fmla="*/ 18 w 20"/>
                  <a:gd name="T29" fmla="*/ 16 h 16"/>
                  <a:gd name="T30" fmla="*/ 17 w 20"/>
                  <a:gd name="T31" fmla="*/ 16 h 16"/>
                  <a:gd name="T32" fmla="*/ 15 w 20"/>
                  <a:gd name="T33" fmla="*/ 16 h 16"/>
                  <a:gd name="T34" fmla="*/ 13 w 20"/>
                  <a:gd name="T35" fmla="*/ 16 h 16"/>
                  <a:gd name="T36" fmla="*/ 9 w 20"/>
                  <a:gd name="T37" fmla="*/ 16 h 16"/>
                  <a:gd name="T38" fmla="*/ 8 w 20"/>
                  <a:gd name="T39" fmla="*/ 16 h 16"/>
                  <a:gd name="T40" fmla="*/ 8 w 20"/>
                  <a:gd name="T41" fmla="*/ 15 h 16"/>
                  <a:gd name="T42" fmla="*/ 8 w 20"/>
                  <a:gd name="T43" fmla="*/ 13 h 16"/>
                  <a:gd name="T44" fmla="*/ 8 w 20"/>
                  <a:gd name="T45" fmla="*/ 13 h 16"/>
                  <a:gd name="T46" fmla="*/ 4 w 20"/>
                  <a:gd name="T47" fmla="*/ 13 h 16"/>
                  <a:gd name="T48" fmla="*/ 4 w 20"/>
                  <a:gd name="T49" fmla="*/ 11 h 16"/>
                  <a:gd name="T50" fmla="*/ 2 w 20"/>
                  <a:gd name="T51" fmla="*/ 9 h 16"/>
                  <a:gd name="T52" fmla="*/ 2 w 20"/>
                  <a:gd name="T53" fmla="*/ 8 h 16"/>
                  <a:gd name="T54" fmla="*/ 2 w 20"/>
                  <a:gd name="T55" fmla="*/ 6 h 16"/>
                  <a:gd name="T56" fmla="*/ 2 w 20"/>
                  <a:gd name="T57" fmla="*/ 6 h 16"/>
                  <a:gd name="T58" fmla="*/ 2 w 20"/>
                  <a:gd name="T59" fmla="*/ 6 h 16"/>
                  <a:gd name="T60" fmla="*/ 0 w 20"/>
                  <a:gd name="T61" fmla="*/ 4 h 16"/>
                  <a:gd name="T62" fmla="*/ 0 w 20"/>
                  <a:gd name="T63" fmla="*/ 4 h 16"/>
                  <a:gd name="T64" fmla="*/ 2 w 20"/>
                  <a:gd name="T65" fmla="*/ 4 h 16"/>
                  <a:gd name="T66" fmla="*/ 4 w 20"/>
                  <a:gd name="T67" fmla="*/ 4 h 16"/>
                  <a:gd name="T68" fmla="*/ 6 w 20"/>
                  <a:gd name="T6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 h="16">
                    <a:moveTo>
                      <a:pt x="6" y="4"/>
                    </a:moveTo>
                    <a:lnTo>
                      <a:pt x="8" y="2"/>
                    </a:lnTo>
                    <a:lnTo>
                      <a:pt x="11" y="2"/>
                    </a:lnTo>
                    <a:lnTo>
                      <a:pt x="13" y="4"/>
                    </a:lnTo>
                    <a:lnTo>
                      <a:pt x="15" y="4"/>
                    </a:lnTo>
                    <a:lnTo>
                      <a:pt x="15" y="2"/>
                    </a:lnTo>
                    <a:lnTo>
                      <a:pt x="15" y="0"/>
                    </a:lnTo>
                    <a:lnTo>
                      <a:pt x="17" y="4"/>
                    </a:lnTo>
                    <a:lnTo>
                      <a:pt x="17" y="8"/>
                    </a:lnTo>
                    <a:lnTo>
                      <a:pt x="18" y="9"/>
                    </a:lnTo>
                    <a:lnTo>
                      <a:pt x="18" y="9"/>
                    </a:lnTo>
                    <a:lnTo>
                      <a:pt x="20" y="9"/>
                    </a:lnTo>
                    <a:lnTo>
                      <a:pt x="20" y="11"/>
                    </a:lnTo>
                    <a:lnTo>
                      <a:pt x="18" y="11"/>
                    </a:lnTo>
                    <a:lnTo>
                      <a:pt x="18" y="16"/>
                    </a:lnTo>
                    <a:lnTo>
                      <a:pt x="17" y="16"/>
                    </a:lnTo>
                    <a:lnTo>
                      <a:pt x="15" y="16"/>
                    </a:lnTo>
                    <a:lnTo>
                      <a:pt x="13" y="16"/>
                    </a:lnTo>
                    <a:lnTo>
                      <a:pt x="9" y="16"/>
                    </a:lnTo>
                    <a:lnTo>
                      <a:pt x="8" y="16"/>
                    </a:lnTo>
                    <a:lnTo>
                      <a:pt x="8" y="15"/>
                    </a:lnTo>
                    <a:lnTo>
                      <a:pt x="8" y="13"/>
                    </a:lnTo>
                    <a:lnTo>
                      <a:pt x="8" y="13"/>
                    </a:lnTo>
                    <a:lnTo>
                      <a:pt x="4" y="13"/>
                    </a:lnTo>
                    <a:lnTo>
                      <a:pt x="4" y="11"/>
                    </a:lnTo>
                    <a:lnTo>
                      <a:pt x="2" y="9"/>
                    </a:lnTo>
                    <a:lnTo>
                      <a:pt x="2" y="8"/>
                    </a:lnTo>
                    <a:lnTo>
                      <a:pt x="2" y="6"/>
                    </a:lnTo>
                    <a:lnTo>
                      <a:pt x="2" y="6"/>
                    </a:lnTo>
                    <a:lnTo>
                      <a:pt x="2" y="6"/>
                    </a:lnTo>
                    <a:lnTo>
                      <a:pt x="0" y="4"/>
                    </a:lnTo>
                    <a:lnTo>
                      <a:pt x="0" y="4"/>
                    </a:lnTo>
                    <a:lnTo>
                      <a:pt x="2" y="4"/>
                    </a:lnTo>
                    <a:lnTo>
                      <a:pt x="4" y="4"/>
                    </a:lnTo>
                    <a:lnTo>
                      <a:pt x="6"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11" name="Freeform 1960"/>
              <p:cNvSpPr>
                <a:spLocks/>
              </p:cNvSpPr>
              <p:nvPr/>
            </p:nvSpPr>
            <p:spPr bwMode="auto">
              <a:xfrm>
                <a:off x="2868" y="1654"/>
                <a:ext cx="5" cy="12"/>
              </a:xfrm>
              <a:custGeom>
                <a:avLst/>
                <a:gdLst>
                  <a:gd name="T0" fmla="*/ 3 w 5"/>
                  <a:gd name="T1" fmla="*/ 3 h 12"/>
                  <a:gd name="T2" fmla="*/ 3 w 5"/>
                  <a:gd name="T3" fmla="*/ 2 h 12"/>
                  <a:gd name="T4" fmla="*/ 3 w 5"/>
                  <a:gd name="T5" fmla="*/ 0 h 12"/>
                  <a:gd name="T6" fmla="*/ 3 w 5"/>
                  <a:gd name="T7" fmla="*/ 0 h 12"/>
                  <a:gd name="T8" fmla="*/ 5 w 5"/>
                  <a:gd name="T9" fmla="*/ 5 h 12"/>
                  <a:gd name="T10" fmla="*/ 3 w 5"/>
                  <a:gd name="T11" fmla="*/ 7 h 12"/>
                  <a:gd name="T12" fmla="*/ 3 w 5"/>
                  <a:gd name="T13" fmla="*/ 9 h 12"/>
                  <a:gd name="T14" fmla="*/ 1 w 5"/>
                  <a:gd name="T15" fmla="*/ 11 h 12"/>
                  <a:gd name="T16" fmla="*/ 1 w 5"/>
                  <a:gd name="T17" fmla="*/ 12 h 12"/>
                  <a:gd name="T18" fmla="*/ 0 w 5"/>
                  <a:gd name="T19" fmla="*/ 12 h 12"/>
                  <a:gd name="T20" fmla="*/ 0 w 5"/>
                  <a:gd name="T21" fmla="*/ 11 h 12"/>
                  <a:gd name="T22" fmla="*/ 0 w 5"/>
                  <a:gd name="T23" fmla="*/ 9 h 12"/>
                  <a:gd name="T24" fmla="*/ 0 w 5"/>
                  <a:gd name="T25" fmla="*/ 9 h 12"/>
                  <a:gd name="T26" fmla="*/ 0 w 5"/>
                  <a:gd name="T27" fmla="*/ 5 h 12"/>
                  <a:gd name="T28" fmla="*/ 1 w 5"/>
                  <a:gd name="T29" fmla="*/ 3 h 12"/>
                  <a:gd name="T30" fmla="*/ 3 w 5"/>
                  <a:gd name="T3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12">
                    <a:moveTo>
                      <a:pt x="3" y="3"/>
                    </a:moveTo>
                    <a:lnTo>
                      <a:pt x="3" y="2"/>
                    </a:lnTo>
                    <a:lnTo>
                      <a:pt x="3" y="0"/>
                    </a:lnTo>
                    <a:lnTo>
                      <a:pt x="3" y="0"/>
                    </a:lnTo>
                    <a:lnTo>
                      <a:pt x="5" y="5"/>
                    </a:lnTo>
                    <a:lnTo>
                      <a:pt x="3" y="7"/>
                    </a:lnTo>
                    <a:lnTo>
                      <a:pt x="3" y="9"/>
                    </a:lnTo>
                    <a:lnTo>
                      <a:pt x="1" y="11"/>
                    </a:lnTo>
                    <a:lnTo>
                      <a:pt x="1" y="12"/>
                    </a:lnTo>
                    <a:lnTo>
                      <a:pt x="0" y="12"/>
                    </a:lnTo>
                    <a:lnTo>
                      <a:pt x="0" y="11"/>
                    </a:lnTo>
                    <a:lnTo>
                      <a:pt x="0" y="9"/>
                    </a:lnTo>
                    <a:lnTo>
                      <a:pt x="0" y="9"/>
                    </a:lnTo>
                    <a:lnTo>
                      <a:pt x="0" y="5"/>
                    </a:lnTo>
                    <a:lnTo>
                      <a:pt x="1" y="3"/>
                    </a:lnTo>
                    <a:lnTo>
                      <a:pt x="3"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12" name="Freeform 1961"/>
              <p:cNvSpPr>
                <a:spLocks/>
              </p:cNvSpPr>
              <p:nvPr/>
            </p:nvSpPr>
            <p:spPr bwMode="auto">
              <a:xfrm>
                <a:off x="2868" y="1654"/>
                <a:ext cx="5" cy="12"/>
              </a:xfrm>
              <a:custGeom>
                <a:avLst/>
                <a:gdLst>
                  <a:gd name="T0" fmla="*/ 3 w 5"/>
                  <a:gd name="T1" fmla="*/ 3 h 12"/>
                  <a:gd name="T2" fmla="*/ 3 w 5"/>
                  <a:gd name="T3" fmla="*/ 2 h 12"/>
                  <a:gd name="T4" fmla="*/ 3 w 5"/>
                  <a:gd name="T5" fmla="*/ 0 h 12"/>
                  <a:gd name="T6" fmla="*/ 3 w 5"/>
                  <a:gd name="T7" fmla="*/ 0 h 12"/>
                  <a:gd name="T8" fmla="*/ 5 w 5"/>
                  <a:gd name="T9" fmla="*/ 5 h 12"/>
                  <a:gd name="T10" fmla="*/ 3 w 5"/>
                  <a:gd name="T11" fmla="*/ 7 h 12"/>
                  <a:gd name="T12" fmla="*/ 3 w 5"/>
                  <a:gd name="T13" fmla="*/ 9 h 12"/>
                  <a:gd name="T14" fmla="*/ 1 w 5"/>
                  <a:gd name="T15" fmla="*/ 11 h 12"/>
                  <a:gd name="T16" fmla="*/ 1 w 5"/>
                  <a:gd name="T17" fmla="*/ 12 h 12"/>
                  <a:gd name="T18" fmla="*/ 0 w 5"/>
                  <a:gd name="T19" fmla="*/ 12 h 12"/>
                  <a:gd name="T20" fmla="*/ 0 w 5"/>
                  <a:gd name="T21" fmla="*/ 11 h 12"/>
                  <a:gd name="T22" fmla="*/ 0 w 5"/>
                  <a:gd name="T23" fmla="*/ 9 h 12"/>
                  <a:gd name="T24" fmla="*/ 0 w 5"/>
                  <a:gd name="T25" fmla="*/ 9 h 12"/>
                  <a:gd name="T26" fmla="*/ 0 w 5"/>
                  <a:gd name="T27" fmla="*/ 5 h 12"/>
                  <a:gd name="T28" fmla="*/ 1 w 5"/>
                  <a:gd name="T29" fmla="*/ 3 h 12"/>
                  <a:gd name="T30" fmla="*/ 3 w 5"/>
                  <a:gd name="T3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 h="12">
                    <a:moveTo>
                      <a:pt x="3" y="3"/>
                    </a:moveTo>
                    <a:lnTo>
                      <a:pt x="3" y="2"/>
                    </a:lnTo>
                    <a:lnTo>
                      <a:pt x="3" y="0"/>
                    </a:lnTo>
                    <a:lnTo>
                      <a:pt x="3" y="0"/>
                    </a:lnTo>
                    <a:lnTo>
                      <a:pt x="5" y="5"/>
                    </a:lnTo>
                    <a:lnTo>
                      <a:pt x="3" y="7"/>
                    </a:lnTo>
                    <a:lnTo>
                      <a:pt x="3" y="9"/>
                    </a:lnTo>
                    <a:lnTo>
                      <a:pt x="1" y="11"/>
                    </a:lnTo>
                    <a:lnTo>
                      <a:pt x="1" y="12"/>
                    </a:lnTo>
                    <a:lnTo>
                      <a:pt x="0" y="12"/>
                    </a:lnTo>
                    <a:lnTo>
                      <a:pt x="0" y="11"/>
                    </a:lnTo>
                    <a:lnTo>
                      <a:pt x="0" y="9"/>
                    </a:lnTo>
                    <a:lnTo>
                      <a:pt x="0" y="9"/>
                    </a:lnTo>
                    <a:lnTo>
                      <a:pt x="0" y="5"/>
                    </a:lnTo>
                    <a:lnTo>
                      <a:pt x="1" y="3"/>
                    </a:lnTo>
                    <a:lnTo>
                      <a:pt x="3"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13" name="Freeform 1962"/>
              <p:cNvSpPr>
                <a:spLocks/>
              </p:cNvSpPr>
              <p:nvPr/>
            </p:nvSpPr>
            <p:spPr bwMode="auto">
              <a:xfrm>
                <a:off x="2871" y="1627"/>
                <a:ext cx="29" cy="32"/>
              </a:xfrm>
              <a:custGeom>
                <a:avLst/>
                <a:gdLst>
                  <a:gd name="T0" fmla="*/ 14 w 29"/>
                  <a:gd name="T1" fmla="*/ 5 h 32"/>
                  <a:gd name="T2" fmla="*/ 14 w 29"/>
                  <a:gd name="T3" fmla="*/ 7 h 32"/>
                  <a:gd name="T4" fmla="*/ 13 w 29"/>
                  <a:gd name="T5" fmla="*/ 9 h 32"/>
                  <a:gd name="T6" fmla="*/ 14 w 29"/>
                  <a:gd name="T7" fmla="*/ 9 h 32"/>
                  <a:gd name="T8" fmla="*/ 16 w 29"/>
                  <a:gd name="T9" fmla="*/ 13 h 32"/>
                  <a:gd name="T10" fmla="*/ 16 w 29"/>
                  <a:gd name="T11" fmla="*/ 9 h 32"/>
                  <a:gd name="T12" fmla="*/ 16 w 29"/>
                  <a:gd name="T13" fmla="*/ 7 h 32"/>
                  <a:gd name="T14" fmla="*/ 16 w 29"/>
                  <a:gd name="T15" fmla="*/ 7 h 32"/>
                  <a:gd name="T16" fmla="*/ 18 w 29"/>
                  <a:gd name="T17" fmla="*/ 11 h 32"/>
                  <a:gd name="T18" fmla="*/ 18 w 29"/>
                  <a:gd name="T19" fmla="*/ 13 h 32"/>
                  <a:gd name="T20" fmla="*/ 18 w 29"/>
                  <a:gd name="T21" fmla="*/ 13 h 32"/>
                  <a:gd name="T22" fmla="*/ 18 w 29"/>
                  <a:gd name="T23" fmla="*/ 7 h 32"/>
                  <a:gd name="T24" fmla="*/ 16 w 29"/>
                  <a:gd name="T25" fmla="*/ 5 h 32"/>
                  <a:gd name="T26" fmla="*/ 18 w 29"/>
                  <a:gd name="T27" fmla="*/ 2 h 32"/>
                  <a:gd name="T28" fmla="*/ 21 w 29"/>
                  <a:gd name="T29" fmla="*/ 0 h 32"/>
                  <a:gd name="T30" fmla="*/ 25 w 29"/>
                  <a:gd name="T31" fmla="*/ 2 h 32"/>
                  <a:gd name="T32" fmla="*/ 27 w 29"/>
                  <a:gd name="T33" fmla="*/ 5 h 32"/>
                  <a:gd name="T34" fmla="*/ 27 w 29"/>
                  <a:gd name="T35" fmla="*/ 9 h 32"/>
                  <a:gd name="T36" fmla="*/ 27 w 29"/>
                  <a:gd name="T37" fmla="*/ 11 h 32"/>
                  <a:gd name="T38" fmla="*/ 27 w 29"/>
                  <a:gd name="T39" fmla="*/ 14 h 32"/>
                  <a:gd name="T40" fmla="*/ 25 w 29"/>
                  <a:gd name="T41" fmla="*/ 14 h 32"/>
                  <a:gd name="T42" fmla="*/ 21 w 29"/>
                  <a:gd name="T43" fmla="*/ 20 h 32"/>
                  <a:gd name="T44" fmla="*/ 25 w 29"/>
                  <a:gd name="T45" fmla="*/ 22 h 32"/>
                  <a:gd name="T46" fmla="*/ 20 w 29"/>
                  <a:gd name="T47" fmla="*/ 27 h 32"/>
                  <a:gd name="T48" fmla="*/ 20 w 29"/>
                  <a:gd name="T49" fmla="*/ 29 h 32"/>
                  <a:gd name="T50" fmla="*/ 21 w 29"/>
                  <a:gd name="T51" fmla="*/ 30 h 32"/>
                  <a:gd name="T52" fmla="*/ 20 w 29"/>
                  <a:gd name="T53" fmla="*/ 30 h 32"/>
                  <a:gd name="T54" fmla="*/ 18 w 29"/>
                  <a:gd name="T55" fmla="*/ 32 h 32"/>
                  <a:gd name="T56" fmla="*/ 14 w 29"/>
                  <a:gd name="T57" fmla="*/ 30 h 32"/>
                  <a:gd name="T58" fmla="*/ 13 w 29"/>
                  <a:gd name="T59" fmla="*/ 30 h 32"/>
                  <a:gd name="T60" fmla="*/ 14 w 29"/>
                  <a:gd name="T61" fmla="*/ 29 h 32"/>
                  <a:gd name="T62" fmla="*/ 14 w 29"/>
                  <a:gd name="T63" fmla="*/ 27 h 32"/>
                  <a:gd name="T64" fmla="*/ 5 w 29"/>
                  <a:gd name="T65" fmla="*/ 27 h 32"/>
                  <a:gd name="T66" fmla="*/ 4 w 29"/>
                  <a:gd name="T67" fmla="*/ 23 h 32"/>
                  <a:gd name="T68" fmla="*/ 4 w 29"/>
                  <a:gd name="T69" fmla="*/ 22 h 32"/>
                  <a:gd name="T70" fmla="*/ 5 w 29"/>
                  <a:gd name="T71" fmla="*/ 16 h 32"/>
                  <a:gd name="T72" fmla="*/ 2 w 29"/>
                  <a:gd name="T73" fmla="*/ 14 h 32"/>
                  <a:gd name="T74" fmla="*/ 2 w 29"/>
                  <a:gd name="T75" fmla="*/ 13 h 32"/>
                  <a:gd name="T76" fmla="*/ 0 w 29"/>
                  <a:gd name="T77" fmla="*/ 13 h 32"/>
                  <a:gd name="T78" fmla="*/ 5 w 29"/>
                  <a:gd name="T79" fmla="*/ 11 h 32"/>
                  <a:gd name="T80" fmla="*/ 7 w 29"/>
                  <a:gd name="T81" fmla="*/ 9 h 32"/>
                  <a:gd name="T82" fmla="*/ 11 w 29"/>
                  <a:gd name="T83" fmla="*/ 7 h 32"/>
                  <a:gd name="T84" fmla="*/ 7 w 29"/>
                  <a:gd name="T85"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 h="32">
                    <a:moveTo>
                      <a:pt x="7" y="4"/>
                    </a:moveTo>
                    <a:lnTo>
                      <a:pt x="14" y="5"/>
                    </a:lnTo>
                    <a:lnTo>
                      <a:pt x="14" y="5"/>
                    </a:lnTo>
                    <a:lnTo>
                      <a:pt x="14" y="7"/>
                    </a:lnTo>
                    <a:lnTo>
                      <a:pt x="14" y="9"/>
                    </a:lnTo>
                    <a:lnTo>
                      <a:pt x="13" y="9"/>
                    </a:lnTo>
                    <a:lnTo>
                      <a:pt x="13" y="11"/>
                    </a:lnTo>
                    <a:lnTo>
                      <a:pt x="14" y="9"/>
                    </a:lnTo>
                    <a:lnTo>
                      <a:pt x="14" y="13"/>
                    </a:lnTo>
                    <a:lnTo>
                      <a:pt x="16" y="13"/>
                    </a:lnTo>
                    <a:lnTo>
                      <a:pt x="16" y="9"/>
                    </a:lnTo>
                    <a:lnTo>
                      <a:pt x="16" y="9"/>
                    </a:lnTo>
                    <a:lnTo>
                      <a:pt x="16" y="7"/>
                    </a:lnTo>
                    <a:lnTo>
                      <a:pt x="16" y="7"/>
                    </a:lnTo>
                    <a:lnTo>
                      <a:pt x="16" y="7"/>
                    </a:lnTo>
                    <a:lnTo>
                      <a:pt x="16" y="7"/>
                    </a:lnTo>
                    <a:lnTo>
                      <a:pt x="18" y="11"/>
                    </a:lnTo>
                    <a:lnTo>
                      <a:pt x="18" y="11"/>
                    </a:lnTo>
                    <a:lnTo>
                      <a:pt x="18" y="11"/>
                    </a:lnTo>
                    <a:lnTo>
                      <a:pt x="18" y="13"/>
                    </a:lnTo>
                    <a:lnTo>
                      <a:pt x="18" y="13"/>
                    </a:lnTo>
                    <a:lnTo>
                      <a:pt x="18" y="13"/>
                    </a:lnTo>
                    <a:lnTo>
                      <a:pt x="18" y="13"/>
                    </a:lnTo>
                    <a:lnTo>
                      <a:pt x="18" y="7"/>
                    </a:lnTo>
                    <a:lnTo>
                      <a:pt x="18" y="5"/>
                    </a:lnTo>
                    <a:lnTo>
                      <a:pt x="16" y="5"/>
                    </a:lnTo>
                    <a:lnTo>
                      <a:pt x="16" y="4"/>
                    </a:lnTo>
                    <a:lnTo>
                      <a:pt x="18" y="2"/>
                    </a:lnTo>
                    <a:lnTo>
                      <a:pt x="21" y="0"/>
                    </a:lnTo>
                    <a:lnTo>
                      <a:pt x="21" y="0"/>
                    </a:lnTo>
                    <a:lnTo>
                      <a:pt x="23" y="0"/>
                    </a:lnTo>
                    <a:lnTo>
                      <a:pt x="25" y="2"/>
                    </a:lnTo>
                    <a:lnTo>
                      <a:pt x="27" y="5"/>
                    </a:lnTo>
                    <a:lnTo>
                      <a:pt x="27" y="5"/>
                    </a:lnTo>
                    <a:lnTo>
                      <a:pt x="27" y="7"/>
                    </a:lnTo>
                    <a:lnTo>
                      <a:pt x="27" y="9"/>
                    </a:lnTo>
                    <a:lnTo>
                      <a:pt x="27" y="9"/>
                    </a:lnTo>
                    <a:lnTo>
                      <a:pt x="27" y="11"/>
                    </a:lnTo>
                    <a:lnTo>
                      <a:pt x="29" y="14"/>
                    </a:lnTo>
                    <a:lnTo>
                      <a:pt x="27" y="14"/>
                    </a:lnTo>
                    <a:lnTo>
                      <a:pt x="25" y="14"/>
                    </a:lnTo>
                    <a:lnTo>
                      <a:pt x="25" y="14"/>
                    </a:lnTo>
                    <a:lnTo>
                      <a:pt x="21" y="18"/>
                    </a:lnTo>
                    <a:lnTo>
                      <a:pt x="21" y="20"/>
                    </a:lnTo>
                    <a:lnTo>
                      <a:pt x="23" y="20"/>
                    </a:lnTo>
                    <a:lnTo>
                      <a:pt x="25" y="22"/>
                    </a:lnTo>
                    <a:lnTo>
                      <a:pt x="25" y="25"/>
                    </a:lnTo>
                    <a:lnTo>
                      <a:pt x="20" y="27"/>
                    </a:lnTo>
                    <a:lnTo>
                      <a:pt x="20" y="27"/>
                    </a:lnTo>
                    <a:lnTo>
                      <a:pt x="20" y="29"/>
                    </a:lnTo>
                    <a:lnTo>
                      <a:pt x="20" y="29"/>
                    </a:lnTo>
                    <a:lnTo>
                      <a:pt x="21" y="30"/>
                    </a:lnTo>
                    <a:lnTo>
                      <a:pt x="20" y="30"/>
                    </a:lnTo>
                    <a:lnTo>
                      <a:pt x="20" y="30"/>
                    </a:lnTo>
                    <a:lnTo>
                      <a:pt x="20" y="32"/>
                    </a:lnTo>
                    <a:lnTo>
                      <a:pt x="18" y="32"/>
                    </a:lnTo>
                    <a:lnTo>
                      <a:pt x="18" y="32"/>
                    </a:lnTo>
                    <a:lnTo>
                      <a:pt x="14" y="30"/>
                    </a:lnTo>
                    <a:lnTo>
                      <a:pt x="13" y="30"/>
                    </a:lnTo>
                    <a:lnTo>
                      <a:pt x="13" y="30"/>
                    </a:lnTo>
                    <a:lnTo>
                      <a:pt x="14" y="30"/>
                    </a:lnTo>
                    <a:lnTo>
                      <a:pt x="14" y="29"/>
                    </a:lnTo>
                    <a:lnTo>
                      <a:pt x="14" y="29"/>
                    </a:lnTo>
                    <a:lnTo>
                      <a:pt x="14" y="27"/>
                    </a:lnTo>
                    <a:lnTo>
                      <a:pt x="11" y="27"/>
                    </a:lnTo>
                    <a:lnTo>
                      <a:pt x="5" y="27"/>
                    </a:lnTo>
                    <a:lnTo>
                      <a:pt x="5" y="23"/>
                    </a:lnTo>
                    <a:lnTo>
                      <a:pt x="4" y="23"/>
                    </a:lnTo>
                    <a:lnTo>
                      <a:pt x="4" y="23"/>
                    </a:lnTo>
                    <a:lnTo>
                      <a:pt x="4" y="22"/>
                    </a:lnTo>
                    <a:lnTo>
                      <a:pt x="4" y="22"/>
                    </a:lnTo>
                    <a:lnTo>
                      <a:pt x="5" y="16"/>
                    </a:lnTo>
                    <a:lnTo>
                      <a:pt x="4" y="14"/>
                    </a:lnTo>
                    <a:lnTo>
                      <a:pt x="2" y="14"/>
                    </a:lnTo>
                    <a:lnTo>
                      <a:pt x="2" y="14"/>
                    </a:lnTo>
                    <a:lnTo>
                      <a:pt x="2" y="13"/>
                    </a:lnTo>
                    <a:lnTo>
                      <a:pt x="0" y="13"/>
                    </a:lnTo>
                    <a:lnTo>
                      <a:pt x="0" y="13"/>
                    </a:lnTo>
                    <a:lnTo>
                      <a:pt x="2" y="11"/>
                    </a:lnTo>
                    <a:lnTo>
                      <a:pt x="5" y="11"/>
                    </a:lnTo>
                    <a:lnTo>
                      <a:pt x="7" y="11"/>
                    </a:lnTo>
                    <a:lnTo>
                      <a:pt x="7" y="9"/>
                    </a:lnTo>
                    <a:lnTo>
                      <a:pt x="9" y="9"/>
                    </a:lnTo>
                    <a:lnTo>
                      <a:pt x="11" y="7"/>
                    </a:lnTo>
                    <a:lnTo>
                      <a:pt x="11" y="7"/>
                    </a:lnTo>
                    <a:lnTo>
                      <a:pt x="7"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14" name="Freeform 1963"/>
              <p:cNvSpPr>
                <a:spLocks/>
              </p:cNvSpPr>
              <p:nvPr/>
            </p:nvSpPr>
            <p:spPr bwMode="auto">
              <a:xfrm>
                <a:off x="2871" y="1627"/>
                <a:ext cx="29" cy="32"/>
              </a:xfrm>
              <a:custGeom>
                <a:avLst/>
                <a:gdLst>
                  <a:gd name="T0" fmla="*/ 14 w 29"/>
                  <a:gd name="T1" fmla="*/ 5 h 32"/>
                  <a:gd name="T2" fmla="*/ 14 w 29"/>
                  <a:gd name="T3" fmla="*/ 7 h 32"/>
                  <a:gd name="T4" fmla="*/ 13 w 29"/>
                  <a:gd name="T5" fmla="*/ 9 h 32"/>
                  <a:gd name="T6" fmla="*/ 14 w 29"/>
                  <a:gd name="T7" fmla="*/ 9 h 32"/>
                  <a:gd name="T8" fmla="*/ 16 w 29"/>
                  <a:gd name="T9" fmla="*/ 13 h 32"/>
                  <a:gd name="T10" fmla="*/ 16 w 29"/>
                  <a:gd name="T11" fmla="*/ 9 h 32"/>
                  <a:gd name="T12" fmla="*/ 16 w 29"/>
                  <a:gd name="T13" fmla="*/ 7 h 32"/>
                  <a:gd name="T14" fmla="*/ 16 w 29"/>
                  <a:gd name="T15" fmla="*/ 7 h 32"/>
                  <a:gd name="T16" fmla="*/ 18 w 29"/>
                  <a:gd name="T17" fmla="*/ 11 h 32"/>
                  <a:gd name="T18" fmla="*/ 18 w 29"/>
                  <a:gd name="T19" fmla="*/ 13 h 32"/>
                  <a:gd name="T20" fmla="*/ 18 w 29"/>
                  <a:gd name="T21" fmla="*/ 13 h 32"/>
                  <a:gd name="T22" fmla="*/ 18 w 29"/>
                  <a:gd name="T23" fmla="*/ 7 h 32"/>
                  <a:gd name="T24" fmla="*/ 16 w 29"/>
                  <a:gd name="T25" fmla="*/ 5 h 32"/>
                  <a:gd name="T26" fmla="*/ 18 w 29"/>
                  <a:gd name="T27" fmla="*/ 2 h 32"/>
                  <a:gd name="T28" fmla="*/ 21 w 29"/>
                  <a:gd name="T29" fmla="*/ 0 h 32"/>
                  <a:gd name="T30" fmla="*/ 25 w 29"/>
                  <a:gd name="T31" fmla="*/ 2 h 32"/>
                  <a:gd name="T32" fmla="*/ 27 w 29"/>
                  <a:gd name="T33" fmla="*/ 5 h 32"/>
                  <a:gd name="T34" fmla="*/ 27 w 29"/>
                  <a:gd name="T35" fmla="*/ 9 h 32"/>
                  <a:gd name="T36" fmla="*/ 27 w 29"/>
                  <a:gd name="T37" fmla="*/ 11 h 32"/>
                  <a:gd name="T38" fmla="*/ 27 w 29"/>
                  <a:gd name="T39" fmla="*/ 14 h 32"/>
                  <a:gd name="T40" fmla="*/ 25 w 29"/>
                  <a:gd name="T41" fmla="*/ 14 h 32"/>
                  <a:gd name="T42" fmla="*/ 21 w 29"/>
                  <a:gd name="T43" fmla="*/ 20 h 32"/>
                  <a:gd name="T44" fmla="*/ 25 w 29"/>
                  <a:gd name="T45" fmla="*/ 22 h 32"/>
                  <a:gd name="T46" fmla="*/ 20 w 29"/>
                  <a:gd name="T47" fmla="*/ 27 h 32"/>
                  <a:gd name="T48" fmla="*/ 20 w 29"/>
                  <a:gd name="T49" fmla="*/ 29 h 32"/>
                  <a:gd name="T50" fmla="*/ 21 w 29"/>
                  <a:gd name="T51" fmla="*/ 30 h 32"/>
                  <a:gd name="T52" fmla="*/ 20 w 29"/>
                  <a:gd name="T53" fmla="*/ 30 h 32"/>
                  <a:gd name="T54" fmla="*/ 18 w 29"/>
                  <a:gd name="T55" fmla="*/ 32 h 32"/>
                  <a:gd name="T56" fmla="*/ 14 w 29"/>
                  <a:gd name="T57" fmla="*/ 30 h 32"/>
                  <a:gd name="T58" fmla="*/ 13 w 29"/>
                  <a:gd name="T59" fmla="*/ 30 h 32"/>
                  <a:gd name="T60" fmla="*/ 14 w 29"/>
                  <a:gd name="T61" fmla="*/ 29 h 32"/>
                  <a:gd name="T62" fmla="*/ 14 w 29"/>
                  <a:gd name="T63" fmla="*/ 27 h 32"/>
                  <a:gd name="T64" fmla="*/ 5 w 29"/>
                  <a:gd name="T65" fmla="*/ 27 h 32"/>
                  <a:gd name="T66" fmla="*/ 4 w 29"/>
                  <a:gd name="T67" fmla="*/ 23 h 32"/>
                  <a:gd name="T68" fmla="*/ 4 w 29"/>
                  <a:gd name="T69" fmla="*/ 22 h 32"/>
                  <a:gd name="T70" fmla="*/ 5 w 29"/>
                  <a:gd name="T71" fmla="*/ 16 h 32"/>
                  <a:gd name="T72" fmla="*/ 2 w 29"/>
                  <a:gd name="T73" fmla="*/ 14 h 32"/>
                  <a:gd name="T74" fmla="*/ 2 w 29"/>
                  <a:gd name="T75" fmla="*/ 13 h 32"/>
                  <a:gd name="T76" fmla="*/ 0 w 29"/>
                  <a:gd name="T77" fmla="*/ 13 h 32"/>
                  <a:gd name="T78" fmla="*/ 5 w 29"/>
                  <a:gd name="T79" fmla="*/ 11 h 32"/>
                  <a:gd name="T80" fmla="*/ 7 w 29"/>
                  <a:gd name="T81" fmla="*/ 9 h 32"/>
                  <a:gd name="T82" fmla="*/ 11 w 29"/>
                  <a:gd name="T83" fmla="*/ 7 h 32"/>
                  <a:gd name="T84" fmla="*/ 7 w 29"/>
                  <a:gd name="T85"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 h="32">
                    <a:moveTo>
                      <a:pt x="7" y="4"/>
                    </a:moveTo>
                    <a:lnTo>
                      <a:pt x="14" y="5"/>
                    </a:lnTo>
                    <a:lnTo>
                      <a:pt x="14" y="5"/>
                    </a:lnTo>
                    <a:lnTo>
                      <a:pt x="14" y="7"/>
                    </a:lnTo>
                    <a:lnTo>
                      <a:pt x="14" y="9"/>
                    </a:lnTo>
                    <a:lnTo>
                      <a:pt x="13" y="9"/>
                    </a:lnTo>
                    <a:lnTo>
                      <a:pt x="13" y="11"/>
                    </a:lnTo>
                    <a:lnTo>
                      <a:pt x="14" y="9"/>
                    </a:lnTo>
                    <a:lnTo>
                      <a:pt x="14" y="13"/>
                    </a:lnTo>
                    <a:lnTo>
                      <a:pt x="16" y="13"/>
                    </a:lnTo>
                    <a:lnTo>
                      <a:pt x="16" y="9"/>
                    </a:lnTo>
                    <a:lnTo>
                      <a:pt x="16" y="9"/>
                    </a:lnTo>
                    <a:lnTo>
                      <a:pt x="16" y="7"/>
                    </a:lnTo>
                    <a:lnTo>
                      <a:pt x="16" y="7"/>
                    </a:lnTo>
                    <a:lnTo>
                      <a:pt x="16" y="7"/>
                    </a:lnTo>
                    <a:lnTo>
                      <a:pt x="16" y="7"/>
                    </a:lnTo>
                    <a:lnTo>
                      <a:pt x="18" y="11"/>
                    </a:lnTo>
                    <a:lnTo>
                      <a:pt x="18" y="11"/>
                    </a:lnTo>
                    <a:lnTo>
                      <a:pt x="18" y="11"/>
                    </a:lnTo>
                    <a:lnTo>
                      <a:pt x="18" y="13"/>
                    </a:lnTo>
                    <a:lnTo>
                      <a:pt x="18" y="13"/>
                    </a:lnTo>
                    <a:lnTo>
                      <a:pt x="18" y="13"/>
                    </a:lnTo>
                    <a:lnTo>
                      <a:pt x="18" y="13"/>
                    </a:lnTo>
                    <a:lnTo>
                      <a:pt x="18" y="7"/>
                    </a:lnTo>
                    <a:lnTo>
                      <a:pt x="18" y="5"/>
                    </a:lnTo>
                    <a:lnTo>
                      <a:pt x="16" y="5"/>
                    </a:lnTo>
                    <a:lnTo>
                      <a:pt x="16" y="4"/>
                    </a:lnTo>
                    <a:lnTo>
                      <a:pt x="18" y="2"/>
                    </a:lnTo>
                    <a:lnTo>
                      <a:pt x="21" y="0"/>
                    </a:lnTo>
                    <a:lnTo>
                      <a:pt x="21" y="0"/>
                    </a:lnTo>
                    <a:lnTo>
                      <a:pt x="23" y="0"/>
                    </a:lnTo>
                    <a:lnTo>
                      <a:pt x="25" y="2"/>
                    </a:lnTo>
                    <a:lnTo>
                      <a:pt x="27" y="5"/>
                    </a:lnTo>
                    <a:lnTo>
                      <a:pt x="27" y="5"/>
                    </a:lnTo>
                    <a:lnTo>
                      <a:pt x="27" y="7"/>
                    </a:lnTo>
                    <a:lnTo>
                      <a:pt x="27" y="9"/>
                    </a:lnTo>
                    <a:lnTo>
                      <a:pt x="27" y="9"/>
                    </a:lnTo>
                    <a:lnTo>
                      <a:pt x="27" y="11"/>
                    </a:lnTo>
                    <a:lnTo>
                      <a:pt x="29" y="14"/>
                    </a:lnTo>
                    <a:lnTo>
                      <a:pt x="27" y="14"/>
                    </a:lnTo>
                    <a:lnTo>
                      <a:pt x="25" y="14"/>
                    </a:lnTo>
                    <a:lnTo>
                      <a:pt x="25" y="14"/>
                    </a:lnTo>
                    <a:lnTo>
                      <a:pt x="21" y="18"/>
                    </a:lnTo>
                    <a:lnTo>
                      <a:pt x="21" y="20"/>
                    </a:lnTo>
                    <a:lnTo>
                      <a:pt x="23" y="20"/>
                    </a:lnTo>
                    <a:lnTo>
                      <a:pt x="25" y="22"/>
                    </a:lnTo>
                    <a:lnTo>
                      <a:pt x="25" y="25"/>
                    </a:lnTo>
                    <a:lnTo>
                      <a:pt x="20" y="27"/>
                    </a:lnTo>
                    <a:lnTo>
                      <a:pt x="20" y="27"/>
                    </a:lnTo>
                    <a:lnTo>
                      <a:pt x="20" y="29"/>
                    </a:lnTo>
                    <a:lnTo>
                      <a:pt x="20" y="29"/>
                    </a:lnTo>
                    <a:lnTo>
                      <a:pt x="21" y="30"/>
                    </a:lnTo>
                    <a:lnTo>
                      <a:pt x="20" y="30"/>
                    </a:lnTo>
                    <a:lnTo>
                      <a:pt x="20" y="30"/>
                    </a:lnTo>
                    <a:lnTo>
                      <a:pt x="20" y="32"/>
                    </a:lnTo>
                    <a:lnTo>
                      <a:pt x="18" y="32"/>
                    </a:lnTo>
                    <a:lnTo>
                      <a:pt x="18" y="32"/>
                    </a:lnTo>
                    <a:lnTo>
                      <a:pt x="14" y="30"/>
                    </a:lnTo>
                    <a:lnTo>
                      <a:pt x="13" y="30"/>
                    </a:lnTo>
                    <a:lnTo>
                      <a:pt x="13" y="30"/>
                    </a:lnTo>
                    <a:lnTo>
                      <a:pt x="14" y="30"/>
                    </a:lnTo>
                    <a:lnTo>
                      <a:pt x="14" y="29"/>
                    </a:lnTo>
                    <a:lnTo>
                      <a:pt x="14" y="29"/>
                    </a:lnTo>
                    <a:lnTo>
                      <a:pt x="14" y="27"/>
                    </a:lnTo>
                    <a:lnTo>
                      <a:pt x="11" y="27"/>
                    </a:lnTo>
                    <a:lnTo>
                      <a:pt x="5" y="27"/>
                    </a:lnTo>
                    <a:lnTo>
                      <a:pt x="5" y="23"/>
                    </a:lnTo>
                    <a:lnTo>
                      <a:pt x="4" y="23"/>
                    </a:lnTo>
                    <a:lnTo>
                      <a:pt x="4" y="23"/>
                    </a:lnTo>
                    <a:lnTo>
                      <a:pt x="4" y="22"/>
                    </a:lnTo>
                    <a:lnTo>
                      <a:pt x="4" y="22"/>
                    </a:lnTo>
                    <a:lnTo>
                      <a:pt x="5" y="16"/>
                    </a:lnTo>
                    <a:lnTo>
                      <a:pt x="4" y="14"/>
                    </a:lnTo>
                    <a:lnTo>
                      <a:pt x="2" y="14"/>
                    </a:lnTo>
                    <a:lnTo>
                      <a:pt x="2" y="14"/>
                    </a:lnTo>
                    <a:lnTo>
                      <a:pt x="2" y="13"/>
                    </a:lnTo>
                    <a:lnTo>
                      <a:pt x="0" y="13"/>
                    </a:lnTo>
                    <a:lnTo>
                      <a:pt x="0" y="13"/>
                    </a:lnTo>
                    <a:lnTo>
                      <a:pt x="2" y="11"/>
                    </a:lnTo>
                    <a:lnTo>
                      <a:pt x="5" y="11"/>
                    </a:lnTo>
                    <a:lnTo>
                      <a:pt x="7" y="11"/>
                    </a:lnTo>
                    <a:lnTo>
                      <a:pt x="7" y="9"/>
                    </a:lnTo>
                    <a:lnTo>
                      <a:pt x="9" y="9"/>
                    </a:lnTo>
                    <a:lnTo>
                      <a:pt x="11" y="7"/>
                    </a:lnTo>
                    <a:lnTo>
                      <a:pt x="11" y="7"/>
                    </a:lnTo>
                    <a:lnTo>
                      <a:pt x="7"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15" name="Freeform 1964"/>
              <p:cNvSpPr>
                <a:spLocks/>
              </p:cNvSpPr>
              <p:nvPr/>
            </p:nvSpPr>
            <p:spPr bwMode="auto">
              <a:xfrm>
                <a:off x="2825" y="1581"/>
                <a:ext cx="44" cy="84"/>
              </a:xfrm>
              <a:custGeom>
                <a:avLst/>
                <a:gdLst>
                  <a:gd name="T0" fmla="*/ 12 w 44"/>
                  <a:gd name="T1" fmla="*/ 82 h 84"/>
                  <a:gd name="T2" fmla="*/ 23 w 44"/>
                  <a:gd name="T3" fmla="*/ 82 h 84"/>
                  <a:gd name="T4" fmla="*/ 23 w 44"/>
                  <a:gd name="T5" fmla="*/ 80 h 84"/>
                  <a:gd name="T6" fmla="*/ 26 w 44"/>
                  <a:gd name="T7" fmla="*/ 82 h 84"/>
                  <a:gd name="T8" fmla="*/ 23 w 44"/>
                  <a:gd name="T9" fmla="*/ 78 h 84"/>
                  <a:gd name="T10" fmla="*/ 21 w 44"/>
                  <a:gd name="T11" fmla="*/ 75 h 84"/>
                  <a:gd name="T12" fmla="*/ 25 w 44"/>
                  <a:gd name="T13" fmla="*/ 71 h 84"/>
                  <a:gd name="T14" fmla="*/ 23 w 44"/>
                  <a:gd name="T15" fmla="*/ 69 h 84"/>
                  <a:gd name="T16" fmla="*/ 23 w 44"/>
                  <a:gd name="T17" fmla="*/ 64 h 84"/>
                  <a:gd name="T18" fmla="*/ 26 w 44"/>
                  <a:gd name="T19" fmla="*/ 60 h 84"/>
                  <a:gd name="T20" fmla="*/ 26 w 44"/>
                  <a:gd name="T21" fmla="*/ 57 h 84"/>
                  <a:gd name="T22" fmla="*/ 30 w 44"/>
                  <a:gd name="T23" fmla="*/ 57 h 84"/>
                  <a:gd name="T24" fmla="*/ 30 w 44"/>
                  <a:gd name="T25" fmla="*/ 53 h 84"/>
                  <a:gd name="T26" fmla="*/ 35 w 44"/>
                  <a:gd name="T27" fmla="*/ 51 h 84"/>
                  <a:gd name="T28" fmla="*/ 35 w 44"/>
                  <a:gd name="T29" fmla="*/ 44 h 84"/>
                  <a:gd name="T30" fmla="*/ 37 w 44"/>
                  <a:gd name="T31" fmla="*/ 44 h 84"/>
                  <a:gd name="T32" fmla="*/ 39 w 44"/>
                  <a:gd name="T33" fmla="*/ 44 h 84"/>
                  <a:gd name="T34" fmla="*/ 44 w 44"/>
                  <a:gd name="T35" fmla="*/ 43 h 84"/>
                  <a:gd name="T36" fmla="*/ 44 w 44"/>
                  <a:gd name="T37" fmla="*/ 37 h 84"/>
                  <a:gd name="T38" fmla="*/ 39 w 44"/>
                  <a:gd name="T39" fmla="*/ 35 h 84"/>
                  <a:gd name="T40" fmla="*/ 37 w 44"/>
                  <a:gd name="T41" fmla="*/ 35 h 84"/>
                  <a:gd name="T42" fmla="*/ 34 w 44"/>
                  <a:gd name="T43" fmla="*/ 37 h 84"/>
                  <a:gd name="T44" fmla="*/ 32 w 44"/>
                  <a:gd name="T45" fmla="*/ 34 h 84"/>
                  <a:gd name="T46" fmla="*/ 34 w 44"/>
                  <a:gd name="T47" fmla="*/ 32 h 84"/>
                  <a:gd name="T48" fmla="*/ 32 w 44"/>
                  <a:gd name="T49" fmla="*/ 30 h 84"/>
                  <a:gd name="T50" fmla="*/ 34 w 44"/>
                  <a:gd name="T51" fmla="*/ 26 h 84"/>
                  <a:gd name="T52" fmla="*/ 34 w 44"/>
                  <a:gd name="T53" fmla="*/ 23 h 84"/>
                  <a:gd name="T54" fmla="*/ 39 w 44"/>
                  <a:gd name="T55" fmla="*/ 12 h 84"/>
                  <a:gd name="T56" fmla="*/ 37 w 44"/>
                  <a:gd name="T57" fmla="*/ 1 h 84"/>
                  <a:gd name="T58" fmla="*/ 30 w 44"/>
                  <a:gd name="T59" fmla="*/ 5 h 84"/>
                  <a:gd name="T60" fmla="*/ 23 w 44"/>
                  <a:gd name="T61" fmla="*/ 14 h 84"/>
                  <a:gd name="T62" fmla="*/ 9 w 44"/>
                  <a:gd name="T63" fmla="*/ 18 h 84"/>
                  <a:gd name="T64" fmla="*/ 0 w 44"/>
                  <a:gd name="T65" fmla="*/ 39 h 84"/>
                  <a:gd name="T66" fmla="*/ 1 w 44"/>
                  <a:gd name="T67" fmla="*/ 53 h 84"/>
                  <a:gd name="T68" fmla="*/ 1 w 44"/>
                  <a:gd name="T69" fmla="*/ 62 h 84"/>
                  <a:gd name="T70" fmla="*/ 7 w 44"/>
                  <a:gd name="T71" fmla="*/ 64 h 84"/>
                  <a:gd name="T72" fmla="*/ 10 w 44"/>
                  <a:gd name="T73" fmla="*/ 8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84">
                    <a:moveTo>
                      <a:pt x="10" y="82"/>
                    </a:moveTo>
                    <a:lnTo>
                      <a:pt x="12" y="82"/>
                    </a:lnTo>
                    <a:lnTo>
                      <a:pt x="19" y="84"/>
                    </a:lnTo>
                    <a:lnTo>
                      <a:pt x="23" y="82"/>
                    </a:lnTo>
                    <a:lnTo>
                      <a:pt x="23" y="80"/>
                    </a:lnTo>
                    <a:lnTo>
                      <a:pt x="23" y="80"/>
                    </a:lnTo>
                    <a:lnTo>
                      <a:pt x="25" y="82"/>
                    </a:lnTo>
                    <a:lnTo>
                      <a:pt x="26" y="82"/>
                    </a:lnTo>
                    <a:lnTo>
                      <a:pt x="26" y="80"/>
                    </a:lnTo>
                    <a:lnTo>
                      <a:pt x="23" y="78"/>
                    </a:lnTo>
                    <a:lnTo>
                      <a:pt x="21" y="78"/>
                    </a:lnTo>
                    <a:lnTo>
                      <a:pt x="21" y="75"/>
                    </a:lnTo>
                    <a:lnTo>
                      <a:pt x="25" y="71"/>
                    </a:lnTo>
                    <a:lnTo>
                      <a:pt x="25" y="71"/>
                    </a:lnTo>
                    <a:lnTo>
                      <a:pt x="23" y="71"/>
                    </a:lnTo>
                    <a:lnTo>
                      <a:pt x="23" y="69"/>
                    </a:lnTo>
                    <a:lnTo>
                      <a:pt x="25" y="66"/>
                    </a:lnTo>
                    <a:lnTo>
                      <a:pt x="23" y="64"/>
                    </a:lnTo>
                    <a:lnTo>
                      <a:pt x="26" y="60"/>
                    </a:lnTo>
                    <a:lnTo>
                      <a:pt x="26" y="60"/>
                    </a:lnTo>
                    <a:lnTo>
                      <a:pt x="25" y="59"/>
                    </a:lnTo>
                    <a:lnTo>
                      <a:pt x="26" y="57"/>
                    </a:lnTo>
                    <a:lnTo>
                      <a:pt x="30" y="59"/>
                    </a:lnTo>
                    <a:lnTo>
                      <a:pt x="30" y="57"/>
                    </a:lnTo>
                    <a:lnTo>
                      <a:pt x="28" y="53"/>
                    </a:lnTo>
                    <a:lnTo>
                      <a:pt x="30" y="53"/>
                    </a:lnTo>
                    <a:lnTo>
                      <a:pt x="34" y="53"/>
                    </a:lnTo>
                    <a:lnTo>
                      <a:pt x="35" y="51"/>
                    </a:lnTo>
                    <a:lnTo>
                      <a:pt x="34" y="48"/>
                    </a:lnTo>
                    <a:lnTo>
                      <a:pt x="35" y="44"/>
                    </a:lnTo>
                    <a:lnTo>
                      <a:pt x="37" y="44"/>
                    </a:lnTo>
                    <a:lnTo>
                      <a:pt x="37" y="44"/>
                    </a:lnTo>
                    <a:lnTo>
                      <a:pt x="37" y="46"/>
                    </a:lnTo>
                    <a:lnTo>
                      <a:pt x="39" y="44"/>
                    </a:lnTo>
                    <a:lnTo>
                      <a:pt x="41" y="46"/>
                    </a:lnTo>
                    <a:lnTo>
                      <a:pt x="44" y="43"/>
                    </a:lnTo>
                    <a:lnTo>
                      <a:pt x="44" y="39"/>
                    </a:lnTo>
                    <a:lnTo>
                      <a:pt x="44" y="37"/>
                    </a:lnTo>
                    <a:lnTo>
                      <a:pt x="43" y="35"/>
                    </a:lnTo>
                    <a:lnTo>
                      <a:pt x="39" y="35"/>
                    </a:lnTo>
                    <a:lnTo>
                      <a:pt x="37" y="37"/>
                    </a:lnTo>
                    <a:lnTo>
                      <a:pt x="37" y="35"/>
                    </a:lnTo>
                    <a:lnTo>
                      <a:pt x="34" y="35"/>
                    </a:lnTo>
                    <a:lnTo>
                      <a:pt x="34" y="37"/>
                    </a:lnTo>
                    <a:lnTo>
                      <a:pt x="32" y="35"/>
                    </a:lnTo>
                    <a:lnTo>
                      <a:pt x="32" y="34"/>
                    </a:lnTo>
                    <a:lnTo>
                      <a:pt x="35" y="32"/>
                    </a:lnTo>
                    <a:lnTo>
                      <a:pt x="34" y="32"/>
                    </a:lnTo>
                    <a:lnTo>
                      <a:pt x="32" y="32"/>
                    </a:lnTo>
                    <a:lnTo>
                      <a:pt x="32" y="30"/>
                    </a:lnTo>
                    <a:lnTo>
                      <a:pt x="34" y="30"/>
                    </a:lnTo>
                    <a:lnTo>
                      <a:pt x="34" y="26"/>
                    </a:lnTo>
                    <a:lnTo>
                      <a:pt x="34" y="26"/>
                    </a:lnTo>
                    <a:lnTo>
                      <a:pt x="34" y="23"/>
                    </a:lnTo>
                    <a:lnTo>
                      <a:pt x="39" y="14"/>
                    </a:lnTo>
                    <a:lnTo>
                      <a:pt x="39" y="12"/>
                    </a:lnTo>
                    <a:lnTo>
                      <a:pt x="37" y="5"/>
                    </a:lnTo>
                    <a:lnTo>
                      <a:pt x="37" y="1"/>
                    </a:lnTo>
                    <a:lnTo>
                      <a:pt x="37" y="0"/>
                    </a:lnTo>
                    <a:lnTo>
                      <a:pt x="30" y="5"/>
                    </a:lnTo>
                    <a:lnTo>
                      <a:pt x="25" y="10"/>
                    </a:lnTo>
                    <a:lnTo>
                      <a:pt x="23" y="14"/>
                    </a:lnTo>
                    <a:lnTo>
                      <a:pt x="21" y="16"/>
                    </a:lnTo>
                    <a:lnTo>
                      <a:pt x="9" y="18"/>
                    </a:lnTo>
                    <a:lnTo>
                      <a:pt x="5" y="21"/>
                    </a:lnTo>
                    <a:lnTo>
                      <a:pt x="0" y="39"/>
                    </a:lnTo>
                    <a:lnTo>
                      <a:pt x="0" y="51"/>
                    </a:lnTo>
                    <a:lnTo>
                      <a:pt x="1" y="53"/>
                    </a:lnTo>
                    <a:lnTo>
                      <a:pt x="1" y="62"/>
                    </a:lnTo>
                    <a:lnTo>
                      <a:pt x="1" y="62"/>
                    </a:lnTo>
                    <a:lnTo>
                      <a:pt x="3" y="62"/>
                    </a:lnTo>
                    <a:lnTo>
                      <a:pt x="7" y="64"/>
                    </a:lnTo>
                    <a:lnTo>
                      <a:pt x="9" y="69"/>
                    </a:lnTo>
                    <a:lnTo>
                      <a:pt x="10" y="8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16" name="Freeform 1965"/>
              <p:cNvSpPr>
                <a:spLocks/>
              </p:cNvSpPr>
              <p:nvPr/>
            </p:nvSpPr>
            <p:spPr bwMode="auto">
              <a:xfrm>
                <a:off x="2825" y="1581"/>
                <a:ext cx="44" cy="84"/>
              </a:xfrm>
              <a:custGeom>
                <a:avLst/>
                <a:gdLst>
                  <a:gd name="T0" fmla="*/ 12 w 44"/>
                  <a:gd name="T1" fmla="*/ 82 h 84"/>
                  <a:gd name="T2" fmla="*/ 23 w 44"/>
                  <a:gd name="T3" fmla="*/ 82 h 84"/>
                  <a:gd name="T4" fmla="*/ 23 w 44"/>
                  <a:gd name="T5" fmla="*/ 80 h 84"/>
                  <a:gd name="T6" fmla="*/ 26 w 44"/>
                  <a:gd name="T7" fmla="*/ 82 h 84"/>
                  <a:gd name="T8" fmla="*/ 23 w 44"/>
                  <a:gd name="T9" fmla="*/ 78 h 84"/>
                  <a:gd name="T10" fmla="*/ 21 w 44"/>
                  <a:gd name="T11" fmla="*/ 75 h 84"/>
                  <a:gd name="T12" fmla="*/ 25 w 44"/>
                  <a:gd name="T13" fmla="*/ 71 h 84"/>
                  <a:gd name="T14" fmla="*/ 23 w 44"/>
                  <a:gd name="T15" fmla="*/ 69 h 84"/>
                  <a:gd name="T16" fmla="*/ 23 w 44"/>
                  <a:gd name="T17" fmla="*/ 64 h 84"/>
                  <a:gd name="T18" fmla="*/ 26 w 44"/>
                  <a:gd name="T19" fmla="*/ 60 h 84"/>
                  <a:gd name="T20" fmla="*/ 26 w 44"/>
                  <a:gd name="T21" fmla="*/ 57 h 84"/>
                  <a:gd name="T22" fmla="*/ 30 w 44"/>
                  <a:gd name="T23" fmla="*/ 57 h 84"/>
                  <a:gd name="T24" fmla="*/ 30 w 44"/>
                  <a:gd name="T25" fmla="*/ 53 h 84"/>
                  <a:gd name="T26" fmla="*/ 35 w 44"/>
                  <a:gd name="T27" fmla="*/ 51 h 84"/>
                  <a:gd name="T28" fmla="*/ 35 w 44"/>
                  <a:gd name="T29" fmla="*/ 44 h 84"/>
                  <a:gd name="T30" fmla="*/ 37 w 44"/>
                  <a:gd name="T31" fmla="*/ 44 h 84"/>
                  <a:gd name="T32" fmla="*/ 39 w 44"/>
                  <a:gd name="T33" fmla="*/ 44 h 84"/>
                  <a:gd name="T34" fmla="*/ 44 w 44"/>
                  <a:gd name="T35" fmla="*/ 43 h 84"/>
                  <a:gd name="T36" fmla="*/ 44 w 44"/>
                  <a:gd name="T37" fmla="*/ 37 h 84"/>
                  <a:gd name="T38" fmla="*/ 39 w 44"/>
                  <a:gd name="T39" fmla="*/ 35 h 84"/>
                  <a:gd name="T40" fmla="*/ 37 w 44"/>
                  <a:gd name="T41" fmla="*/ 35 h 84"/>
                  <a:gd name="T42" fmla="*/ 34 w 44"/>
                  <a:gd name="T43" fmla="*/ 37 h 84"/>
                  <a:gd name="T44" fmla="*/ 32 w 44"/>
                  <a:gd name="T45" fmla="*/ 34 h 84"/>
                  <a:gd name="T46" fmla="*/ 34 w 44"/>
                  <a:gd name="T47" fmla="*/ 32 h 84"/>
                  <a:gd name="T48" fmla="*/ 32 w 44"/>
                  <a:gd name="T49" fmla="*/ 30 h 84"/>
                  <a:gd name="T50" fmla="*/ 34 w 44"/>
                  <a:gd name="T51" fmla="*/ 26 h 84"/>
                  <a:gd name="T52" fmla="*/ 34 w 44"/>
                  <a:gd name="T53" fmla="*/ 23 h 84"/>
                  <a:gd name="T54" fmla="*/ 39 w 44"/>
                  <a:gd name="T55" fmla="*/ 12 h 84"/>
                  <a:gd name="T56" fmla="*/ 37 w 44"/>
                  <a:gd name="T57" fmla="*/ 1 h 84"/>
                  <a:gd name="T58" fmla="*/ 30 w 44"/>
                  <a:gd name="T59" fmla="*/ 5 h 84"/>
                  <a:gd name="T60" fmla="*/ 23 w 44"/>
                  <a:gd name="T61" fmla="*/ 14 h 84"/>
                  <a:gd name="T62" fmla="*/ 9 w 44"/>
                  <a:gd name="T63" fmla="*/ 18 h 84"/>
                  <a:gd name="T64" fmla="*/ 0 w 44"/>
                  <a:gd name="T65" fmla="*/ 39 h 84"/>
                  <a:gd name="T66" fmla="*/ 1 w 44"/>
                  <a:gd name="T67" fmla="*/ 53 h 84"/>
                  <a:gd name="T68" fmla="*/ 1 w 44"/>
                  <a:gd name="T69" fmla="*/ 62 h 84"/>
                  <a:gd name="T70" fmla="*/ 7 w 44"/>
                  <a:gd name="T71" fmla="*/ 64 h 84"/>
                  <a:gd name="T72" fmla="*/ 10 w 44"/>
                  <a:gd name="T73" fmla="*/ 8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4" h="84">
                    <a:moveTo>
                      <a:pt x="10" y="82"/>
                    </a:moveTo>
                    <a:lnTo>
                      <a:pt x="12" y="82"/>
                    </a:lnTo>
                    <a:lnTo>
                      <a:pt x="19" y="84"/>
                    </a:lnTo>
                    <a:lnTo>
                      <a:pt x="23" y="82"/>
                    </a:lnTo>
                    <a:lnTo>
                      <a:pt x="23" y="80"/>
                    </a:lnTo>
                    <a:lnTo>
                      <a:pt x="23" y="80"/>
                    </a:lnTo>
                    <a:lnTo>
                      <a:pt x="25" y="82"/>
                    </a:lnTo>
                    <a:lnTo>
                      <a:pt x="26" y="82"/>
                    </a:lnTo>
                    <a:lnTo>
                      <a:pt x="26" y="80"/>
                    </a:lnTo>
                    <a:lnTo>
                      <a:pt x="23" y="78"/>
                    </a:lnTo>
                    <a:lnTo>
                      <a:pt x="21" y="78"/>
                    </a:lnTo>
                    <a:lnTo>
                      <a:pt x="21" y="75"/>
                    </a:lnTo>
                    <a:lnTo>
                      <a:pt x="25" y="71"/>
                    </a:lnTo>
                    <a:lnTo>
                      <a:pt x="25" y="71"/>
                    </a:lnTo>
                    <a:lnTo>
                      <a:pt x="23" y="71"/>
                    </a:lnTo>
                    <a:lnTo>
                      <a:pt x="23" y="69"/>
                    </a:lnTo>
                    <a:lnTo>
                      <a:pt x="25" y="66"/>
                    </a:lnTo>
                    <a:lnTo>
                      <a:pt x="23" y="64"/>
                    </a:lnTo>
                    <a:lnTo>
                      <a:pt x="26" y="60"/>
                    </a:lnTo>
                    <a:lnTo>
                      <a:pt x="26" y="60"/>
                    </a:lnTo>
                    <a:lnTo>
                      <a:pt x="25" y="59"/>
                    </a:lnTo>
                    <a:lnTo>
                      <a:pt x="26" y="57"/>
                    </a:lnTo>
                    <a:lnTo>
                      <a:pt x="30" y="59"/>
                    </a:lnTo>
                    <a:lnTo>
                      <a:pt x="30" y="57"/>
                    </a:lnTo>
                    <a:lnTo>
                      <a:pt x="28" y="53"/>
                    </a:lnTo>
                    <a:lnTo>
                      <a:pt x="30" y="53"/>
                    </a:lnTo>
                    <a:lnTo>
                      <a:pt x="34" y="53"/>
                    </a:lnTo>
                    <a:lnTo>
                      <a:pt x="35" y="51"/>
                    </a:lnTo>
                    <a:lnTo>
                      <a:pt x="34" y="48"/>
                    </a:lnTo>
                    <a:lnTo>
                      <a:pt x="35" y="44"/>
                    </a:lnTo>
                    <a:lnTo>
                      <a:pt x="37" y="44"/>
                    </a:lnTo>
                    <a:lnTo>
                      <a:pt x="37" y="44"/>
                    </a:lnTo>
                    <a:lnTo>
                      <a:pt x="37" y="46"/>
                    </a:lnTo>
                    <a:lnTo>
                      <a:pt x="39" y="44"/>
                    </a:lnTo>
                    <a:lnTo>
                      <a:pt x="41" y="46"/>
                    </a:lnTo>
                    <a:lnTo>
                      <a:pt x="44" y="43"/>
                    </a:lnTo>
                    <a:lnTo>
                      <a:pt x="44" y="39"/>
                    </a:lnTo>
                    <a:lnTo>
                      <a:pt x="44" y="37"/>
                    </a:lnTo>
                    <a:lnTo>
                      <a:pt x="43" y="35"/>
                    </a:lnTo>
                    <a:lnTo>
                      <a:pt x="39" y="35"/>
                    </a:lnTo>
                    <a:lnTo>
                      <a:pt x="37" y="37"/>
                    </a:lnTo>
                    <a:lnTo>
                      <a:pt x="37" y="35"/>
                    </a:lnTo>
                    <a:lnTo>
                      <a:pt x="34" y="35"/>
                    </a:lnTo>
                    <a:lnTo>
                      <a:pt x="34" y="37"/>
                    </a:lnTo>
                    <a:lnTo>
                      <a:pt x="32" y="35"/>
                    </a:lnTo>
                    <a:lnTo>
                      <a:pt x="32" y="34"/>
                    </a:lnTo>
                    <a:lnTo>
                      <a:pt x="35" y="32"/>
                    </a:lnTo>
                    <a:lnTo>
                      <a:pt x="34" y="32"/>
                    </a:lnTo>
                    <a:lnTo>
                      <a:pt x="32" y="32"/>
                    </a:lnTo>
                    <a:lnTo>
                      <a:pt x="32" y="30"/>
                    </a:lnTo>
                    <a:lnTo>
                      <a:pt x="34" y="30"/>
                    </a:lnTo>
                    <a:lnTo>
                      <a:pt x="34" y="26"/>
                    </a:lnTo>
                    <a:lnTo>
                      <a:pt x="34" y="26"/>
                    </a:lnTo>
                    <a:lnTo>
                      <a:pt x="34" y="23"/>
                    </a:lnTo>
                    <a:lnTo>
                      <a:pt x="39" y="14"/>
                    </a:lnTo>
                    <a:lnTo>
                      <a:pt x="39" y="12"/>
                    </a:lnTo>
                    <a:lnTo>
                      <a:pt x="37" y="5"/>
                    </a:lnTo>
                    <a:lnTo>
                      <a:pt x="37" y="1"/>
                    </a:lnTo>
                    <a:lnTo>
                      <a:pt x="37" y="0"/>
                    </a:lnTo>
                    <a:lnTo>
                      <a:pt x="30" y="5"/>
                    </a:lnTo>
                    <a:lnTo>
                      <a:pt x="25" y="10"/>
                    </a:lnTo>
                    <a:lnTo>
                      <a:pt x="23" y="14"/>
                    </a:lnTo>
                    <a:lnTo>
                      <a:pt x="21" y="16"/>
                    </a:lnTo>
                    <a:lnTo>
                      <a:pt x="9" y="18"/>
                    </a:lnTo>
                    <a:lnTo>
                      <a:pt x="5" y="21"/>
                    </a:lnTo>
                    <a:lnTo>
                      <a:pt x="0" y="39"/>
                    </a:lnTo>
                    <a:lnTo>
                      <a:pt x="0" y="51"/>
                    </a:lnTo>
                    <a:lnTo>
                      <a:pt x="1" y="53"/>
                    </a:lnTo>
                    <a:lnTo>
                      <a:pt x="1" y="62"/>
                    </a:lnTo>
                    <a:lnTo>
                      <a:pt x="1" y="62"/>
                    </a:lnTo>
                    <a:lnTo>
                      <a:pt x="3" y="62"/>
                    </a:lnTo>
                    <a:lnTo>
                      <a:pt x="7" y="64"/>
                    </a:lnTo>
                    <a:lnTo>
                      <a:pt x="9" y="69"/>
                    </a:lnTo>
                    <a:lnTo>
                      <a:pt x="10" y="8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17" name="Freeform 1966"/>
              <p:cNvSpPr>
                <a:spLocks/>
              </p:cNvSpPr>
              <p:nvPr/>
            </p:nvSpPr>
            <p:spPr bwMode="auto">
              <a:xfrm>
                <a:off x="2787" y="1786"/>
                <a:ext cx="11" cy="16"/>
              </a:xfrm>
              <a:custGeom>
                <a:avLst/>
                <a:gdLst>
                  <a:gd name="T0" fmla="*/ 6 w 11"/>
                  <a:gd name="T1" fmla="*/ 16 h 16"/>
                  <a:gd name="T2" fmla="*/ 9 w 11"/>
                  <a:gd name="T3" fmla="*/ 16 h 16"/>
                  <a:gd name="T4" fmla="*/ 11 w 11"/>
                  <a:gd name="T5" fmla="*/ 14 h 16"/>
                  <a:gd name="T6" fmla="*/ 11 w 11"/>
                  <a:gd name="T7" fmla="*/ 11 h 16"/>
                  <a:gd name="T8" fmla="*/ 7 w 11"/>
                  <a:gd name="T9" fmla="*/ 5 h 16"/>
                  <a:gd name="T10" fmla="*/ 7 w 11"/>
                  <a:gd name="T11" fmla="*/ 4 h 16"/>
                  <a:gd name="T12" fmla="*/ 9 w 11"/>
                  <a:gd name="T13" fmla="*/ 2 h 16"/>
                  <a:gd name="T14" fmla="*/ 6 w 11"/>
                  <a:gd name="T15" fmla="*/ 0 h 16"/>
                  <a:gd name="T16" fmla="*/ 4 w 11"/>
                  <a:gd name="T17" fmla="*/ 0 h 16"/>
                  <a:gd name="T18" fmla="*/ 2 w 11"/>
                  <a:gd name="T19" fmla="*/ 4 h 16"/>
                  <a:gd name="T20" fmla="*/ 0 w 11"/>
                  <a:gd name="T21" fmla="*/ 7 h 16"/>
                  <a:gd name="T22" fmla="*/ 0 w 11"/>
                  <a:gd name="T23" fmla="*/ 11 h 16"/>
                  <a:gd name="T24" fmla="*/ 0 w 11"/>
                  <a:gd name="T25" fmla="*/ 14 h 16"/>
                  <a:gd name="T26" fmla="*/ 6 w 11"/>
                  <a:gd name="T2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6">
                    <a:moveTo>
                      <a:pt x="6" y="16"/>
                    </a:moveTo>
                    <a:lnTo>
                      <a:pt x="9" y="16"/>
                    </a:lnTo>
                    <a:lnTo>
                      <a:pt x="11" y="14"/>
                    </a:lnTo>
                    <a:lnTo>
                      <a:pt x="11" y="11"/>
                    </a:lnTo>
                    <a:lnTo>
                      <a:pt x="7" y="5"/>
                    </a:lnTo>
                    <a:lnTo>
                      <a:pt x="7" y="4"/>
                    </a:lnTo>
                    <a:lnTo>
                      <a:pt x="9" y="2"/>
                    </a:lnTo>
                    <a:lnTo>
                      <a:pt x="6" y="0"/>
                    </a:lnTo>
                    <a:lnTo>
                      <a:pt x="4" y="0"/>
                    </a:lnTo>
                    <a:lnTo>
                      <a:pt x="2" y="4"/>
                    </a:lnTo>
                    <a:lnTo>
                      <a:pt x="0" y="7"/>
                    </a:lnTo>
                    <a:lnTo>
                      <a:pt x="0" y="11"/>
                    </a:lnTo>
                    <a:lnTo>
                      <a:pt x="0" y="14"/>
                    </a:lnTo>
                    <a:lnTo>
                      <a:pt x="6" y="1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18" name="Freeform 1967"/>
              <p:cNvSpPr>
                <a:spLocks/>
              </p:cNvSpPr>
              <p:nvPr/>
            </p:nvSpPr>
            <p:spPr bwMode="auto">
              <a:xfrm>
                <a:off x="2787" y="1786"/>
                <a:ext cx="11" cy="16"/>
              </a:xfrm>
              <a:custGeom>
                <a:avLst/>
                <a:gdLst>
                  <a:gd name="T0" fmla="*/ 6 w 11"/>
                  <a:gd name="T1" fmla="*/ 16 h 16"/>
                  <a:gd name="T2" fmla="*/ 9 w 11"/>
                  <a:gd name="T3" fmla="*/ 16 h 16"/>
                  <a:gd name="T4" fmla="*/ 11 w 11"/>
                  <a:gd name="T5" fmla="*/ 14 h 16"/>
                  <a:gd name="T6" fmla="*/ 11 w 11"/>
                  <a:gd name="T7" fmla="*/ 11 h 16"/>
                  <a:gd name="T8" fmla="*/ 7 w 11"/>
                  <a:gd name="T9" fmla="*/ 5 h 16"/>
                  <a:gd name="T10" fmla="*/ 7 w 11"/>
                  <a:gd name="T11" fmla="*/ 4 h 16"/>
                  <a:gd name="T12" fmla="*/ 9 w 11"/>
                  <a:gd name="T13" fmla="*/ 2 h 16"/>
                  <a:gd name="T14" fmla="*/ 6 w 11"/>
                  <a:gd name="T15" fmla="*/ 0 h 16"/>
                  <a:gd name="T16" fmla="*/ 4 w 11"/>
                  <a:gd name="T17" fmla="*/ 0 h 16"/>
                  <a:gd name="T18" fmla="*/ 2 w 11"/>
                  <a:gd name="T19" fmla="*/ 4 h 16"/>
                  <a:gd name="T20" fmla="*/ 0 w 11"/>
                  <a:gd name="T21" fmla="*/ 7 h 16"/>
                  <a:gd name="T22" fmla="*/ 0 w 11"/>
                  <a:gd name="T23" fmla="*/ 11 h 16"/>
                  <a:gd name="T24" fmla="*/ 0 w 11"/>
                  <a:gd name="T25" fmla="*/ 14 h 16"/>
                  <a:gd name="T26" fmla="*/ 6 w 11"/>
                  <a:gd name="T2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6">
                    <a:moveTo>
                      <a:pt x="6" y="16"/>
                    </a:moveTo>
                    <a:lnTo>
                      <a:pt x="9" y="16"/>
                    </a:lnTo>
                    <a:lnTo>
                      <a:pt x="11" y="14"/>
                    </a:lnTo>
                    <a:lnTo>
                      <a:pt x="11" y="11"/>
                    </a:lnTo>
                    <a:lnTo>
                      <a:pt x="7" y="5"/>
                    </a:lnTo>
                    <a:lnTo>
                      <a:pt x="7" y="4"/>
                    </a:lnTo>
                    <a:lnTo>
                      <a:pt x="9" y="2"/>
                    </a:lnTo>
                    <a:lnTo>
                      <a:pt x="6" y="0"/>
                    </a:lnTo>
                    <a:lnTo>
                      <a:pt x="4" y="0"/>
                    </a:lnTo>
                    <a:lnTo>
                      <a:pt x="2" y="4"/>
                    </a:lnTo>
                    <a:lnTo>
                      <a:pt x="0" y="7"/>
                    </a:lnTo>
                    <a:lnTo>
                      <a:pt x="0" y="11"/>
                    </a:lnTo>
                    <a:lnTo>
                      <a:pt x="0" y="14"/>
                    </a:lnTo>
                    <a:lnTo>
                      <a:pt x="6" y="1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19" name="Freeform 1968"/>
              <p:cNvSpPr>
                <a:spLocks/>
              </p:cNvSpPr>
              <p:nvPr/>
            </p:nvSpPr>
            <p:spPr bwMode="auto">
              <a:xfrm>
                <a:off x="2409" y="556"/>
                <a:ext cx="7" cy="18"/>
              </a:xfrm>
              <a:custGeom>
                <a:avLst/>
                <a:gdLst>
                  <a:gd name="T0" fmla="*/ 3 w 7"/>
                  <a:gd name="T1" fmla="*/ 0 h 18"/>
                  <a:gd name="T2" fmla="*/ 5 w 7"/>
                  <a:gd name="T3" fmla="*/ 0 h 18"/>
                  <a:gd name="T4" fmla="*/ 7 w 7"/>
                  <a:gd name="T5" fmla="*/ 5 h 18"/>
                  <a:gd name="T6" fmla="*/ 7 w 7"/>
                  <a:gd name="T7" fmla="*/ 9 h 18"/>
                  <a:gd name="T8" fmla="*/ 5 w 7"/>
                  <a:gd name="T9" fmla="*/ 9 h 18"/>
                  <a:gd name="T10" fmla="*/ 5 w 7"/>
                  <a:gd name="T11" fmla="*/ 12 h 18"/>
                  <a:gd name="T12" fmla="*/ 5 w 7"/>
                  <a:gd name="T13" fmla="*/ 14 h 18"/>
                  <a:gd name="T14" fmla="*/ 3 w 7"/>
                  <a:gd name="T15" fmla="*/ 14 h 18"/>
                  <a:gd name="T16" fmla="*/ 1 w 7"/>
                  <a:gd name="T17" fmla="*/ 18 h 18"/>
                  <a:gd name="T18" fmla="*/ 0 w 7"/>
                  <a:gd name="T19" fmla="*/ 18 h 18"/>
                  <a:gd name="T20" fmla="*/ 0 w 7"/>
                  <a:gd name="T21" fmla="*/ 7 h 18"/>
                  <a:gd name="T22" fmla="*/ 3 w 7"/>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8">
                    <a:moveTo>
                      <a:pt x="3" y="0"/>
                    </a:moveTo>
                    <a:lnTo>
                      <a:pt x="5" y="0"/>
                    </a:lnTo>
                    <a:lnTo>
                      <a:pt x="7" y="5"/>
                    </a:lnTo>
                    <a:lnTo>
                      <a:pt x="7" y="9"/>
                    </a:lnTo>
                    <a:lnTo>
                      <a:pt x="5" y="9"/>
                    </a:lnTo>
                    <a:lnTo>
                      <a:pt x="5" y="12"/>
                    </a:lnTo>
                    <a:lnTo>
                      <a:pt x="5" y="14"/>
                    </a:lnTo>
                    <a:lnTo>
                      <a:pt x="3" y="14"/>
                    </a:lnTo>
                    <a:lnTo>
                      <a:pt x="1" y="18"/>
                    </a:lnTo>
                    <a:lnTo>
                      <a:pt x="0" y="18"/>
                    </a:lnTo>
                    <a:lnTo>
                      <a:pt x="0" y="7"/>
                    </a:lnTo>
                    <a:lnTo>
                      <a:pt x="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20" name="Freeform 1969"/>
              <p:cNvSpPr>
                <a:spLocks/>
              </p:cNvSpPr>
              <p:nvPr/>
            </p:nvSpPr>
            <p:spPr bwMode="auto">
              <a:xfrm>
                <a:off x="2409" y="556"/>
                <a:ext cx="7" cy="18"/>
              </a:xfrm>
              <a:custGeom>
                <a:avLst/>
                <a:gdLst>
                  <a:gd name="T0" fmla="*/ 3 w 7"/>
                  <a:gd name="T1" fmla="*/ 0 h 18"/>
                  <a:gd name="T2" fmla="*/ 5 w 7"/>
                  <a:gd name="T3" fmla="*/ 0 h 18"/>
                  <a:gd name="T4" fmla="*/ 7 w 7"/>
                  <a:gd name="T5" fmla="*/ 5 h 18"/>
                  <a:gd name="T6" fmla="*/ 7 w 7"/>
                  <a:gd name="T7" fmla="*/ 9 h 18"/>
                  <a:gd name="T8" fmla="*/ 5 w 7"/>
                  <a:gd name="T9" fmla="*/ 9 h 18"/>
                  <a:gd name="T10" fmla="*/ 5 w 7"/>
                  <a:gd name="T11" fmla="*/ 12 h 18"/>
                  <a:gd name="T12" fmla="*/ 5 w 7"/>
                  <a:gd name="T13" fmla="*/ 14 h 18"/>
                  <a:gd name="T14" fmla="*/ 3 w 7"/>
                  <a:gd name="T15" fmla="*/ 14 h 18"/>
                  <a:gd name="T16" fmla="*/ 1 w 7"/>
                  <a:gd name="T17" fmla="*/ 18 h 18"/>
                  <a:gd name="T18" fmla="*/ 0 w 7"/>
                  <a:gd name="T19" fmla="*/ 18 h 18"/>
                  <a:gd name="T20" fmla="*/ 0 w 7"/>
                  <a:gd name="T21" fmla="*/ 7 h 18"/>
                  <a:gd name="T22" fmla="*/ 3 w 7"/>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8">
                    <a:moveTo>
                      <a:pt x="3" y="0"/>
                    </a:moveTo>
                    <a:lnTo>
                      <a:pt x="5" y="0"/>
                    </a:lnTo>
                    <a:lnTo>
                      <a:pt x="7" y="5"/>
                    </a:lnTo>
                    <a:lnTo>
                      <a:pt x="7" y="9"/>
                    </a:lnTo>
                    <a:lnTo>
                      <a:pt x="5" y="9"/>
                    </a:lnTo>
                    <a:lnTo>
                      <a:pt x="5" y="12"/>
                    </a:lnTo>
                    <a:lnTo>
                      <a:pt x="5" y="14"/>
                    </a:lnTo>
                    <a:lnTo>
                      <a:pt x="3" y="14"/>
                    </a:lnTo>
                    <a:lnTo>
                      <a:pt x="1" y="18"/>
                    </a:lnTo>
                    <a:lnTo>
                      <a:pt x="0" y="18"/>
                    </a:lnTo>
                    <a:lnTo>
                      <a:pt x="0" y="7"/>
                    </a:lnTo>
                    <a:lnTo>
                      <a:pt x="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21" name="Freeform 1970"/>
              <p:cNvSpPr>
                <a:spLocks/>
              </p:cNvSpPr>
              <p:nvPr/>
            </p:nvSpPr>
            <p:spPr bwMode="auto">
              <a:xfrm>
                <a:off x="2407" y="661"/>
                <a:ext cx="9" cy="20"/>
              </a:xfrm>
              <a:custGeom>
                <a:avLst/>
                <a:gdLst>
                  <a:gd name="T0" fmla="*/ 5 w 9"/>
                  <a:gd name="T1" fmla="*/ 0 h 20"/>
                  <a:gd name="T2" fmla="*/ 7 w 9"/>
                  <a:gd name="T3" fmla="*/ 0 h 20"/>
                  <a:gd name="T4" fmla="*/ 9 w 9"/>
                  <a:gd name="T5" fmla="*/ 4 h 20"/>
                  <a:gd name="T6" fmla="*/ 7 w 9"/>
                  <a:gd name="T7" fmla="*/ 14 h 20"/>
                  <a:gd name="T8" fmla="*/ 5 w 9"/>
                  <a:gd name="T9" fmla="*/ 18 h 20"/>
                  <a:gd name="T10" fmla="*/ 0 w 9"/>
                  <a:gd name="T11" fmla="*/ 20 h 20"/>
                  <a:gd name="T12" fmla="*/ 0 w 9"/>
                  <a:gd name="T13" fmla="*/ 13 h 20"/>
                  <a:gd name="T14" fmla="*/ 3 w 9"/>
                  <a:gd name="T15" fmla="*/ 2 h 20"/>
                  <a:gd name="T16" fmla="*/ 5 w 9"/>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0">
                    <a:moveTo>
                      <a:pt x="5" y="0"/>
                    </a:moveTo>
                    <a:lnTo>
                      <a:pt x="7" y="0"/>
                    </a:lnTo>
                    <a:lnTo>
                      <a:pt x="9" y="4"/>
                    </a:lnTo>
                    <a:lnTo>
                      <a:pt x="7" y="14"/>
                    </a:lnTo>
                    <a:lnTo>
                      <a:pt x="5" y="18"/>
                    </a:lnTo>
                    <a:lnTo>
                      <a:pt x="0" y="20"/>
                    </a:lnTo>
                    <a:lnTo>
                      <a:pt x="0" y="13"/>
                    </a:lnTo>
                    <a:lnTo>
                      <a:pt x="3" y="2"/>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22" name="Freeform 1971"/>
              <p:cNvSpPr>
                <a:spLocks/>
              </p:cNvSpPr>
              <p:nvPr/>
            </p:nvSpPr>
            <p:spPr bwMode="auto">
              <a:xfrm>
                <a:off x="2407" y="661"/>
                <a:ext cx="9" cy="20"/>
              </a:xfrm>
              <a:custGeom>
                <a:avLst/>
                <a:gdLst>
                  <a:gd name="T0" fmla="*/ 5 w 9"/>
                  <a:gd name="T1" fmla="*/ 0 h 20"/>
                  <a:gd name="T2" fmla="*/ 7 w 9"/>
                  <a:gd name="T3" fmla="*/ 0 h 20"/>
                  <a:gd name="T4" fmla="*/ 9 w 9"/>
                  <a:gd name="T5" fmla="*/ 4 h 20"/>
                  <a:gd name="T6" fmla="*/ 7 w 9"/>
                  <a:gd name="T7" fmla="*/ 14 h 20"/>
                  <a:gd name="T8" fmla="*/ 5 w 9"/>
                  <a:gd name="T9" fmla="*/ 18 h 20"/>
                  <a:gd name="T10" fmla="*/ 0 w 9"/>
                  <a:gd name="T11" fmla="*/ 20 h 20"/>
                  <a:gd name="T12" fmla="*/ 0 w 9"/>
                  <a:gd name="T13" fmla="*/ 13 h 20"/>
                  <a:gd name="T14" fmla="*/ 3 w 9"/>
                  <a:gd name="T15" fmla="*/ 2 h 20"/>
                  <a:gd name="T16" fmla="*/ 5 w 9"/>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0">
                    <a:moveTo>
                      <a:pt x="5" y="0"/>
                    </a:moveTo>
                    <a:lnTo>
                      <a:pt x="7" y="0"/>
                    </a:lnTo>
                    <a:lnTo>
                      <a:pt x="9" y="4"/>
                    </a:lnTo>
                    <a:lnTo>
                      <a:pt x="7" y="14"/>
                    </a:lnTo>
                    <a:lnTo>
                      <a:pt x="5" y="18"/>
                    </a:lnTo>
                    <a:lnTo>
                      <a:pt x="0" y="20"/>
                    </a:lnTo>
                    <a:lnTo>
                      <a:pt x="0" y="13"/>
                    </a:lnTo>
                    <a:lnTo>
                      <a:pt x="3" y="2"/>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23" name="Freeform 1972"/>
              <p:cNvSpPr>
                <a:spLocks/>
              </p:cNvSpPr>
              <p:nvPr/>
            </p:nvSpPr>
            <p:spPr bwMode="auto">
              <a:xfrm>
                <a:off x="1818" y="1113"/>
                <a:ext cx="48" cy="48"/>
              </a:xfrm>
              <a:custGeom>
                <a:avLst/>
                <a:gdLst>
                  <a:gd name="T0" fmla="*/ 9 w 48"/>
                  <a:gd name="T1" fmla="*/ 0 h 48"/>
                  <a:gd name="T2" fmla="*/ 16 w 48"/>
                  <a:gd name="T3" fmla="*/ 2 h 48"/>
                  <a:gd name="T4" fmla="*/ 19 w 48"/>
                  <a:gd name="T5" fmla="*/ 3 h 48"/>
                  <a:gd name="T6" fmla="*/ 28 w 48"/>
                  <a:gd name="T7" fmla="*/ 7 h 48"/>
                  <a:gd name="T8" fmla="*/ 37 w 48"/>
                  <a:gd name="T9" fmla="*/ 23 h 48"/>
                  <a:gd name="T10" fmla="*/ 44 w 48"/>
                  <a:gd name="T11" fmla="*/ 25 h 48"/>
                  <a:gd name="T12" fmla="*/ 48 w 48"/>
                  <a:gd name="T13" fmla="*/ 28 h 48"/>
                  <a:gd name="T14" fmla="*/ 48 w 48"/>
                  <a:gd name="T15" fmla="*/ 36 h 48"/>
                  <a:gd name="T16" fmla="*/ 42 w 48"/>
                  <a:gd name="T17" fmla="*/ 41 h 48"/>
                  <a:gd name="T18" fmla="*/ 21 w 48"/>
                  <a:gd name="T19" fmla="*/ 48 h 48"/>
                  <a:gd name="T20" fmla="*/ 17 w 48"/>
                  <a:gd name="T21" fmla="*/ 46 h 48"/>
                  <a:gd name="T22" fmla="*/ 12 w 48"/>
                  <a:gd name="T23" fmla="*/ 43 h 48"/>
                  <a:gd name="T24" fmla="*/ 12 w 48"/>
                  <a:gd name="T25" fmla="*/ 41 h 48"/>
                  <a:gd name="T26" fmla="*/ 16 w 48"/>
                  <a:gd name="T27" fmla="*/ 39 h 48"/>
                  <a:gd name="T28" fmla="*/ 19 w 48"/>
                  <a:gd name="T29" fmla="*/ 41 h 48"/>
                  <a:gd name="T30" fmla="*/ 23 w 48"/>
                  <a:gd name="T31" fmla="*/ 39 h 48"/>
                  <a:gd name="T32" fmla="*/ 23 w 48"/>
                  <a:gd name="T33" fmla="*/ 37 h 48"/>
                  <a:gd name="T34" fmla="*/ 21 w 48"/>
                  <a:gd name="T35" fmla="*/ 39 h 48"/>
                  <a:gd name="T36" fmla="*/ 19 w 48"/>
                  <a:gd name="T37" fmla="*/ 37 h 48"/>
                  <a:gd name="T38" fmla="*/ 17 w 48"/>
                  <a:gd name="T39" fmla="*/ 37 h 48"/>
                  <a:gd name="T40" fmla="*/ 16 w 48"/>
                  <a:gd name="T41" fmla="*/ 34 h 48"/>
                  <a:gd name="T42" fmla="*/ 14 w 48"/>
                  <a:gd name="T43" fmla="*/ 36 h 48"/>
                  <a:gd name="T44" fmla="*/ 7 w 48"/>
                  <a:gd name="T45" fmla="*/ 36 h 48"/>
                  <a:gd name="T46" fmla="*/ 1 w 48"/>
                  <a:gd name="T47" fmla="*/ 34 h 48"/>
                  <a:gd name="T48" fmla="*/ 1 w 48"/>
                  <a:gd name="T49" fmla="*/ 28 h 48"/>
                  <a:gd name="T50" fmla="*/ 3 w 48"/>
                  <a:gd name="T51" fmla="*/ 28 h 48"/>
                  <a:gd name="T52" fmla="*/ 9 w 48"/>
                  <a:gd name="T53" fmla="*/ 30 h 48"/>
                  <a:gd name="T54" fmla="*/ 0 w 48"/>
                  <a:gd name="T55" fmla="*/ 21 h 48"/>
                  <a:gd name="T56" fmla="*/ 1 w 48"/>
                  <a:gd name="T57" fmla="*/ 19 h 48"/>
                  <a:gd name="T58" fmla="*/ 10 w 48"/>
                  <a:gd name="T59" fmla="*/ 19 h 48"/>
                  <a:gd name="T60" fmla="*/ 7 w 48"/>
                  <a:gd name="T61" fmla="*/ 16 h 48"/>
                  <a:gd name="T62" fmla="*/ 1 w 48"/>
                  <a:gd name="T63" fmla="*/ 9 h 48"/>
                  <a:gd name="T64" fmla="*/ 3 w 48"/>
                  <a:gd name="T65" fmla="*/ 3 h 48"/>
                  <a:gd name="T66" fmla="*/ 9 w 48"/>
                  <a:gd name="T6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48">
                    <a:moveTo>
                      <a:pt x="9" y="0"/>
                    </a:moveTo>
                    <a:lnTo>
                      <a:pt x="16" y="2"/>
                    </a:lnTo>
                    <a:lnTo>
                      <a:pt x="19" y="3"/>
                    </a:lnTo>
                    <a:lnTo>
                      <a:pt x="28" y="7"/>
                    </a:lnTo>
                    <a:lnTo>
                      <a:pt x="37" y="23"/>
                    </a:lnTo>
                    <a:lnTo>
                      <a:pt x="44" y="25"/>
                    </a:lnTo>
                    <a:lnTo>
                      <a:pt x="48" y="28"/>
                    </a:lnTo>
                    <a:lnTo>
                      <a:pt x="48" y="36"/>
                    </a:lnTo>
                    <a:lnTo>
                      <a:pt x="42" y="41"/>
                    </a:lnTo>
                    <a:lnTo>
                      <a:pt x="21" y="48"/>
                    </a:lnTo>
                    <a:lnTo>
                      <a:pt x="17" y="46"/>
                    </a:lnTo>
                    <a:lnTo>
                      <a:pt x="12" y="43"/>
                    </a:lnTo>
                    <a:lnTo>
                      <a:pt x="12" y="41"/>
                    </a:lnTo>
                    <a:lnTo>
                      <a:pt x="16" y="39"/>
                    </a:lnTo>
                    <a:lnTo>
                      <a:pt x="19" y="41"/>
                    </a:lnTo>
                    <a:lnTo>
                      <a:pt x="23" y="39"/>
                    </a:lnTo>
                    <a:lnTo>
                      <a:pt x="23" y="37"/>
                    </a:lnTo>
                    <a:lnTo>
                      <a:pt x="21" y="39"/>
                    </a:lnTo>
                    <a:lnTo>
                      <a:pt x="19" y="37"/>
                    </a:lnTo>
                    <a:lnTo>
                      <a:pt x="17" y="37"/>
                    </a:lnTo>
                    <a:lnTo>
                      <a:pt x="16" y="34"/>
                    </a:lnTo>
                    <a:lnTo>
                      <a:pt x="14" y="36"/>
                    </a:lnTo>
                    <a:lnTo>
                      <a:pt x="7" y="36"/>
                    </a:lnTo>
                    <a:lnTo>
                      <a:pt x="1" y="34"/>
                    </a:lnTo>
                    <a:lnTo>
                      <a:pt x="1" y="28"/>
                    </a:lnTo>
                    <a:lnTo>
                      <a:pt x="3" y="28"/>
                    </a:lnTo>
                    <a:lnTo>
                      <a:pt x="9" y="30"/>
                    </a:lnTo>
                    <a:lnTo>
                      <a:pt x="0" y="21"/>
                    </a:lnTo>
                    <a:lnTo>
                      <a:pt x="1" y="19"/>
                    </a:lnTo>
                    <a:lnTo>
                      <a:pt x="10" y="19"/>
                    </a:lnTo>
                    <a:lnTo>
                      <a:pt x="7" y="16"/>
                    </a:lnTo>
                    <a:lnTo>
                      <a:pt x="1" y="9"/>
                    </a:lnTo>
                    <a:lnTo>
                      <a:pt x="3" y="3"/>
                    </a:lnTo>
                    <a:lnTo>
                      <a:pt x="9"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24" name="Freeform 1973"/>
              <p:cNvSpPr>
                <a:spLocks/>
              </p:cNvSpPr>
              <p:nvPr/>
            </p:nvSpPr>
            <p:spPr bwMode="auto">
              <a:xfrm>
                <a:off x="1818" y="1113"/>
                <a:ext cx="48" cy="48"/>
              </a:xfrm>
              <a:custGeom>
                <a:avLst/>
                <a:gdLst>
                  <a:gd name="T0" fmla="*/ 9 w 48"/>
                  <a:gd name="T1" fmla="*/ 0 h 48"/>
                  <a:gd name="T2" fmla="*/ 16 w 48"/>
                  <a:gd name="T3" fmla="*/ 2 h 48"/>
                  <a:gd name="T4" fmla="*/ 19 w 48"/>
                  <a:gd name="T5" fmla="*/ 3 h 48"/>
                  <a:gd name="T6" fmla="*/ 28 w 48"/>
                  <a:gd name="T7" fmla="*/ 7 h 48"/>
                  <a:gd name="T8" fmla="*/ 37 w 48"/>
                  <a:gd name="T9" fmla="*/ 23 h 48"/>
                  <a:gd name="T10" fmla="*/ 44 w 48"/>
                  <a:gd name="T11" fmla="*/ 25 h 48"/>
                  <a:gd name="T12" fmla="*/ 48 w 48"/>
                  <a:gd name="T13" fmla="*/ 28 h 48"/>
                  <a:gd name="T14" fmla="*/ 48 w 48"/>
                  <a:gd name="T15" fmla="*/ 36 h 48"/>
                  <a:gd name="T16" fmla="*/ 42 w 48"/>
                  <a:gd name="T17" fmla="*/ 41 h 48"/>
                  <a:gd name="T18" fmla="*/ 21 w 48"/>
                  <a:gd name="T19" fmla="*/ 48 h 48"/>
                  <a:gd name="T20" fmla="*/ 17 w 48"/>
                  <a:gd name="T21" fmla="*/ 46 h 48"/>
                  <a:gd name="T22" fmla="*/ 12 w 48"/>
                  <a:gd name="T23" fmla="*/ 43 h 48"/>
                  <a:gd name="T24" fmla="*/ 12 w 48"/>
                  <a:gd name="T25" fmla="*/ 41 h 48"/>
                  <a:gd name="T26" fmla="*/ 16 w 48"/>
                  <a:gd name="T27" fmla="*/ 39 h 48"/>
                  <a:gd name="T28" fmla="*/ 19 w 48"/>
                  <a:gd name="T29" fmla="*/ 41 h 48"/>
                  <a:gd name="T30" fmla="*/ 23 w 48"/>
                  <a:gd name="T31" fmla="*/ 39 h 48"/>
                  <a:gd name="T32" fmla="*/ 23 w 48"/>
                  <a:gd name="T33" fmla="*/ 37 h 48"/>
                  <a:gd name="T34" fmla="*/ 21 w 48"/>
                  <a:gd name="T35" fmla="*/ 39 h 48"/>
                  <a:gd name="T36" fmla="*/ 19 w 48"/>
                  <a:gd name="T37" fmla="*/ 37 h 48"/>
                  <a:gd name="T38" fmla="*/ 17 w 48"/>
                  <a:gd name="T39" fmla="*/ 37 h 48"/>
                  <a:gd name="T40" fmla="*/ 16 w 48"/>
                  <a:gd name="T41" fmla="*/ 34 h 48"/>
                  <a:gd name="T42" fmla="*/ 14 w 48"/>
                  <a:gd name="T43" fmla="*/ 36 h 48"/>
                  <a:gd name="T44" fmla="*/ 7 w 48"/>
                  <a:gd name="T45" fmla="*/ 36 h 48"/>
                  <a:gd name="T46" fmla="*/ 1 w 48"/>
                  <a:gd name="T47" fmla="*/ 34 h 48"/>
                  <a:gd name="T48" fmla="*/ 1 w 48"/>
                  <a:gd name="T49" fmla="*/ 28 h 48"/>
                  <a:gd name="T50" fmla="*/ 3 w 48"/>
                  <a:gd name="T51" fmla="*/ 28 h 48"/>
                  <a:gd name="T52" fmla="*/ 9 w 48"/>
                  <a:gd name="T53" fmla="*/ 30 h 48"/>
                  <a:gd name="T54" fmla="*/ 0 w 48"/>
                  <a:gd name="T55" fmla="*/ 21 h 48"/>
                  <a:gd name="T56" fmla="*/ 1 w 48"/>
                  <a:gd name="T57" fmla="*/ 19 h 48"/>
                  <a:gd name="T58" fmla="*/ 10 w 48"/>
                  <a:gd name="T59" fmla="*/ 19 h 48"/>
                  <a:gd name="T60" fmla="*/ 7 w 48"/>
                  <a:gd name="T61" fmla="*/ 16 h 48"/>
                  <a:gd name="T62" fmla="*/ 1 w 48"/>
                  <a:gd name="T63" fmla="*/ 9 h 48"/>
                  <a:gd name="T64" fmla="*/ 3 w 48"/>
                  <a:gd name="T65" fmla="*/ 3 h 48"/>
                  <a:gd name="T66" fmla="*/ 9 w 48"/>
                  <a:gd name="T6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48">
                    <a:moveTo>
                      <a:pt x="9" y="0"/>
                    </a:moveTo>
                    <a:lnTo>
                      <a:pt x="16" y="2"/>
                    </a:lnTo>
                    <a:lnTo>
                      <a:pt x="19" y="3"/>
                    </a:lnTo>
                    <a:lnTo>
                      <a:pt x="28" y="7"/>
                    </a:lnTo>
                    <a:lnTo>
                      <a:pt x="37" y="23"/>
                    </a:lnTo>
                    <a:lnTo>
                      <a:pt x="44" y="25"/>
                    </a:lnTo>
                    <a:lnTo>
                      <a:pt x="48" y="28"/>
                    </a:lnTo>
                    <a:lnTo>
                      <a:pt x="48" y="36"/>
                    </a:lnTo>
                    <a:lnTo>
                      <a:pt x="42" y="41"/>
                    </a:lnTo>
                    <a:lnTo>
                      <a:pt x="21" y="48"/>
                    </a:lnTo>
                    <a:lnTo>
                      <a:pt x="17" y="46"/>
                    </a:lnTo>
                    <a:lnTo>
                      <a:pt x="12" y="43"/>
                    </a:lnTo>
                    <a:lnTo>
                      <a:pt x="12" y="41"/>
                    </a:lnTo>
                    <a:lnTo>
                      <a:pt x="16" y="39"/>
                    </a:lnTo>
                    <a:lnTo>
                      <a:pt x="19" y="41"/>
                    </a:lnTo>
                    <a:lnTo>
                      <a:pt x="23" y="39"/>
                    </a:lnTo>
                    <a:lnTo>
                      <a:pt x="23" y="37"/>
                    </a:lnTo>
                    <a:lnTo>
                      <a:pt x="21" y="39"/>
                    </a:lnTo>
                    <a:lnTo>
                      <a:pt x="19" y="37"/>
                    </a:lnTo>
                    <a:lnTo>
                      <a:pt x="17" y="37"/>
                    </a:lnTo>
                    <a:lnTo>
                      <a:pt x="16" y="34"/>
                    </a:lnTo>
                    <a:lnTo>
                      <a:pt x="14" y="36"/>
                    </a:lnTo>
                    <a:lnTo>
                      <a:pt x="7" y="36"/>
                    </a:lnTo>
                    <a:lnTo>
                      <a:pt x="1" y="34"/>
                    </a:lnTo>
                    <a:lnTo>
                      <a:pt x="1" y="28"/>
                    </a:lnTo>
                    <a:lnTo>
                      <a:pt x="3" y="28"/>
                    </a:lnTo>
                    <a:lnTo>
                      <a:pt x="9" y="30"/>
                    </a:lnTo>
                    <a:lnTo>
                      <a:pt x="0" y="21"/>
                    </a:lnTo>
                    <a:lnTo>
                      <a:pt x="1" y="19"/>
                    </a:lnTo>
                    <a:lnTo>
                      <a:pt x="10" y="19"/>
                    </a:lnTo>
                    <a:lnTo>
                      <a:pt x="7" y="16"/>
                    </a:lnTo>
                    <a:lnTo>
                      <a:pt x="1" y="9"/>
                    </a:lnTo>
                    <a:lnTo>
                      <a:pt x="3" y="3"/>
                    </a:lnTo>
                    <a:lnTo>
                      <a:pt x="9"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25" name="Freeform 1974"/>
              <p:cNvSpPr>
                <a:spLocks/>
              </p:cNvSpPr>
              <p:nvPr/>
            </p:nvSpPr>
            <p:spPr bwMode="auto">
              <a:xfrm>
                <a:off x="2391" y="747"/>
                <a:ext cx="7" cy="53"/>
              </a:xfrm>
              <a:custGeom>
                <a:avLst/>
                <a:gdLst>
                  <a:gd name="T0" fmla="*/ 5 w 7"/>
                  <a:gd name="T1" fmla="*/ 16 h 53"/>
                  <a:gd name="T2" fmla="*/ 7 w 7"/>
                  <a:gd name="T3" fmla="*/ 53 h 53"/>
                  <a:gd name="T4" fmla="*/ 0 w 7"/>
                  <a:gd name="T5" fmla="*/ 12 h 53"/>
                  <a:gd name="T6" fmla="*/ 3 w 7"/>
                  <a:gd name="T7" fmla="*/ 10 h 53"/>
                  <a:gd name="T8" fmla="*/ 2 w 7"/>
                  <a:gd name="T9" fmla="*/ 9 h 53"/>
                  <a:gd name="T10" fmla="*/ 2 w 7"/>
                  <a:gd name="T11" fmla="*/ 0 h 53"/>
                  <a:gd name="T12" fmla="*/ 5 w 7"/>
                  <a:gd name="T13" fmla="*/ 10 h 53"/>
                  <a:gd name="T14" fmla="*/ 5 w 7"/>
                  <a:gd name="T15" fmla="*/ 16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3">
                    <a:moveTo>
                      <a:pt x="5" y="16"/>
                    </a:moveTo>
                    <a:lnTo>
                      <a:pt x="7" y="53"/>
                    </a:lnTo>
                    <a:lnTo>
                      <a:pt x="0" y="12"/>
                    </a:lnTo>
                    <a:lnTo>
                      <a:pt x="3" y="10"/>
                    </a:lnTo>
                    <a:lnTo>
                      <a:pt x="2" y="9"/>
                    </a:lnTo>
                    <a:lnTo>
                      <a:pt x="2" y="0"/>
                    </a:lnTo>
                    <a:lnTo>
                      <a:pt x="5" y="10"/>
                    </a:lnTo>
                    <a:lnTo>
                      <a:pt x="5" y="1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26" name="Freeform 1975"/>
              <p:cNvSpPr>
                <a:spLocks/>
              </p:cNvSpPr>
              <p:nvPr/>
            </p:nvSpPr>
            <p:spPr bwMode="auto">
              <a:xfrm>
                <a:off x="2391" y="747"/>
                <a:ext cx="7" cy="53"/>
              </a:xfrm>
              <a:custGeom>
                <a:avLst/>
                <a:gdLst>
                  <a:gd name="T0" fmla="*/ 5 w 7"/>
                  <a:gd name="T1" fmla="*/ 16 h 53"/>
                  <a:gd name="T2" fmla="*/ 7 w 7"/>
                  <a:gd name="T3" fmla="*/ 53 h 53"/>
                  <a:gd name="T4" fmla="*/ 0 w 7"/>
                  <a:gd name="T5" fmla="*/ 12 h 53"/>
                  <a:gd name="T6" fmla="*/ 3 w 7"/>
                  <a:gd name="T7" fmla="*/ 10 h 53"/>
                  <a:gd name="T8" fmla="*/ 2 w 7"/>
                  <a:gd name="T9" fmla="*/ 9 h 53"/>
                  <a:gd name="T10" fmla="*/ 2 w 7"/>
                  <a:gd name="T11" fmla="*/ 0 h 53"/>
                  <a:gd name="T12" fmla="*/ 5 w 7"/>
                  <a:gd name="T13" fmla="*/ 10 h 53"/>
                  <a:gd name="T14" fmla="*/ 5 w 7"/>
                  <a:gd name="T15" fmla="*/ 16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3">
                    <a:moveTo>
                      <a:pt x="5" y="16"/>
                    </a:moveTo>
                    <a:lnTo>
                      <a:pt x="7" y="53"/>
                    </a:lnTo>
                    <a:lnTo>
                      <a:pt x="0" y="12"/>
                    </a:lnTo>
                    <a:lnTo>
                      <a:pt x="3" y="10"/>
                    </a:lnTo>
                    <a:lnTo>
                      <a:pt x="2" y="9"/>
                    </a:lnTo>
                    <a:lnTo>
                      <a:pt x="2" y="0"/>
                    </a:lnTo>
                    <a:lnTo>
                      <a:pt x="5" y="10"/>
                    </a:lnTo>
                    <a:lnTo>
                      <a:pt x="5" y="1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27" name="Freeform 1976"/>
              <p:cNvSpPr>
                <a:spLocks/>
              </p:cNvSpPr>
              <p:nvPr/>
            </p:nvSpPr>
            <p:spPr bwMode="auto">
              <a:xfrm>
                <a:off x="2393" y="836"/>
                <a:ext cx="25" cy="29"/>
              </a:xfrm>
              <a:custGeom>
                <a:avLst/>
                <a:gdLst>
                  <a:gd name="T0" fmla="*/ 16 w 25"/>
                  <a:gd name="T1" fmla="*/ 5 h 29"/>
                  <a:gd name="T2" fmla="*/ 16 w 25"/>
                  <a:gd name="T3" fmla="*/ 7 h 29"/>
                  <a:gd name="T4" fmla="*/ 12 w 25"/>
                  <a:gd name="T5" fmla="*/ 9 h 29"/>
                  <a:gd name="T6" fmla="*/ 12 w 25"/>
                  <a:gd name="T7" fmla="*/ 11 h 29"/>
                  <a:gd name="T8" fmla="*/ 14 w 25"/>
                  <a:gd name="T9" fmla="*/ 14 h 29"/>
                  <a:gd name="T10" fmla="*/ 16 w 25"/>
                  <a:gd name="T11" fmla="*/ 20 h 29"/>
                  <a:gd name="T12" fmla="*/ 19 w 25"/>
                  <a:gd name="T13" fmla="*/ 20 h 29"/>
                  <a:gd name="T14" fmla="*/ 21 w 25"/>
                  <a:gd name="T15" fmla="*/ 16 h 29"/>
                  <a:gd name="T16" fmla="*/ 23 w 25"/>
                  <a:gd name="T17" fmla="*/ 16 h 29"/>
                  <a:gd name="T18" fmla="*/ 25 w 25"/>
                  <a:gd name="T19" fmla="*/ 21 h 29"/>
                  <a:gd name="T20" fmla="*/ 23 w 25"/>
                  <a:gd name="T21" fmla="*/ 25 h 29"/>
                  <a:gd name="T22" fmla="*/ 21 w 25"/>
                  <a:gd name="T23" fmla="*/ 29 h 29"/>
                  <a:gd name="T24" fmla="*/ 16 w 25"/>
                  <a:gd name="T25" fmla="*/ 23 h 29"/>
                  <a:gd name="T26" fmla="*/ 7 w 25"/>
                  <a:gd name="T27" fmla="*/ 27 h 29"/>
                  <a:gd name="T28" fmla="*/ 5 w 25"/>
                  <a:gd name="T29" fmla="*/ 25 h 29"/>
                  <a:gd name="T30" fmla="*/ 1 w 25"/>
                  <a:gd name="T31" fmla="*/ 25 h 29"/>
                  <a:gd name="T32" fmla="*/ 1 w 25"/>
                  <a:gd name="T33" fmla="*/ 9 h 29"/>
                  <a:gd name="T34" fmla="*/ 0 w 25"/>
                  <a:gd name="T35" fmla="*/ 7 h 29"/>
                  <a:gd name="T36" fmla="*/ 1 w 25"/>
                  <a:gd name="T37" fmla="*/ 4 h 29"/>
                  <a:gd name="T38" fmla="*/ 7 w 25"/>
                  <a:gd name="T39" fmla="*/ 2 h 29"/>
                  <a:gd name="T40" fmla="*/ 8 w 25"/>
                  <a:gd name="T41" fmla="*/ 5 h 29"/>
                  <a:gd name="T42" fmla="*/ 12 w 25"/>
                  <a:gd name="T43" fmla="*/ 4 h 29"/>
                  <a:gd name="T44" fmla="*/ 12 w 25"/>
                  <a:gd name="T45" fmla="*/ 0 h 29"/>
                  <a:gd name="T46" fmla="*/ 14 w 25"/>
                  <a:gd name="T47" fmla="*/ 0 h 29"/>
                  <a:gd name="T48" fmla="*/ 16 w 25"/>
                  <a:gd name="T4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29">
                    <a:moveTo>
                      <a:pt x="16" y="5"/>
                    </a:moveTo>
                    <a:lnTo>
                      <a:pt x="16" y="7"/>
                    </a:lnTo>
                    <a:lnTo>
                      <a:pt x="12" y="9"/>
                    </a:lnTo>
                    <a:lnTo>
                      <a:pt x="12" y="11"/>
                    </a:lnTo>
                    <a:lnTo>
                      <a:pt x="14" y="14"/>
                    </a:lnTo>
                    <a:lnTo>
                      <a:pt x="16" y="20"/>
                    </a:lnTo>
                    <a:lnTo>
                      <a:pt x="19" y="20"/>
                    </a:lnTo>
                    <a:lnTo>
                      <a:pt x="21" y="16"/>
                    </a:lnTo>
                    <a:lnTo>
                      <a:pt x="23" y="16"/>
                    </a:lnTo>
                    <a:lnTo>
                      <a:pt x="25" y="21"/>
                    </a:lnTo>
                    <a:lnTo>
                      <a:pt x="23" y="25"/>
                    </a:lnTo>
                    <a:lnTo>
                      <a:pt x="21" y="29"/>
                    </a:lnTo>
                    <a:lnTo>
                      <a:pt x="16" y="23"/>
                    </a:lnTo>
                    <a:lnTo>
                      <a:pt x="7" y="27"/>
                    </a:lnTo>
                    <a:lnTo>
                      <a:pt x="5" y="25"/>
                    </a:lnTo>
                    <a:lnTo>
                      <a:pt x="1" y="25"/>
                    </a:lnTo>
                    <a:lnTo>
                      <a:pt x="1" y="9"/>
                    </a:lnTo>
                    <a:lnTo>
                      <a:pt x="0" y="7"/>
                    </a:lnTo>
                    <a:lnTo>
                      <a:pt x="1" y="4"/>
                    </a:lnTo>
                    <a:lnTo>
                      <a:pt x="7" y="2"/>
                    </a:lnTo>
                    <a:lnTo>
                      <a:pt x="8" y="5"/>
                    </a:lnTo>
                    <a:lnTo>
                      <a:pt x="12" y="4"/>
                    </a:lnTo>
                    <a:lnTo>
                      <a:pt x="12" y="0"/>
                    </a:lnTo>
                    <a:lnTo>
                      <a:pt x="14" y="0"/>
                    </a:lnTo>
                    <a:lnTo>
                      <a:pt x="16"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28" name="Freeform 1977"/>
              <p:cNvSpPr>
                <a:spLocks/>
              </p:cNvSpPr>
              <p:nvPr/>
            </p:nvSpPr>
            <p:spPr bwMode="auto">
              <a:xfrm>
                <a:off x="2393" y="836"/>
                <a:ext cx="25" cy="29"/>
              </a:xfrm>
              <a:custGeom>
                <a:avLst/>
                <a:gdLst>
                  <a:gd name="T0" fmla="*/ 16 w 25"/>
                  <a:gd name="T1" fmla="*/ 5 h 29"/>
                  <a:gd name="T2" fmla="*/ 16 w 25"/>
                  <a:gd name="T3" fmla="*/ 7 h 29"/>
                  <a:gd name="T4" fmla="*/ 12 w 25"/>
                  <a:gd name="T5" fmla="*/ 9 h 29"/>
                  <a:gd name="T6" fmla="*/ 12 w 25"/>
                  <a:gd name="T7" fmla="*/ 11 h 29"/>
                  <a:gd name="T8" fmla="*/ 14 w 25"/>
                  <a:gd name="T9" fmla="*/ 14 h 29"/>
                  <a:gd name="T10" fmla="*/ 16 w 25"/>
                  <a:gd name="T11" fmla="*/ 20 h 29"/>
                  <a:gd name="T12" fmla="*/ 19 w 25"/>
                  <a:gd name="T13" fmla="*/ 20 h 29"/>
                  <a:gd name="T14" fmla="*/ 21 w 25"/>
                  <a:gd name="T15" fmla="*/ 16 h 29"/>
                  <a:gd name="T16" fmla="*/ 23 w 25"/>
                  <a:gd name="T17" fmla="*/ 16 h 29"/>
                  <a:gd name="T18" fmla="*/ 25 w 25"/>
                  <a:gd name="T19" fmla="*/ 21 h 29"/>
                  <a:gd name="T20" fmla="*/ 23 w 25"/>
                  <a:gd name="T21" fmla="*/ 25 h 29"/>
                  <a:gd name="T22" fmla="*/ 21 w 25"/>
                  <a:gd name="T23" fmla="*/ 29 h 29"/>
                  <a:gd name="T24" fmla="*/ 16 w 25"/>
                  <a:gd name="T25" fmla="*/ 23 h 29"/>
                  <a:gd name="T26" fmla="*/ 7 w 25"/>
                  <a:gd name="T27" fmla="*/ 27 h 29"/>
                  <a:gd name="T28" fmla="*/ 5 w 25"/>
                  <a:gd name="T29" fmla="*/ 25 h 29"/>
                  <a:gd name="T30" fmla="*/ 1 w 25"/>
                  <a:gd name="T31" fmla="*/ 25 h 29"/>
                  <a:gd name="T32" fmla="*/ 1 w 25"/>
                  <a:gd name="T33" fmla="*/ 9 h 29"/>
                  <a:gd name="T34" fmla="*/ 0 w 25"/>
                  <a:gd name="T35" fmla="*/ 7 h 29"/>
                  <a:gd name="T36" fmla="*/ 1 w 25"/>
                  <a:gd name="T37" fmla="*/ 4 h 29"/>
                  <a:gd name="T38" fmla="*/ 7 w 25"/>
                  <a:gd name="T39" fmla="*/ 2 h 29"/>
                  <a:gd name="T40" fmla="*/ 8 w 25"/>
                  <a:gd name="T41" fmla="*/ 5 h 29"/>
                  <a:gd name="T42" fmla="*/ 12 w 25"/>
                  <a:gd name="T43" fmla="*/ 4 h 29"/>
                  <a:gd name="T44" fmla="*/ 12 w 25"/>
                  <a:gd name="T45" fmla="*/ 0 h 29"/>
                  <a:gd name="T46" fmla="*/ 14 w 25"/>
                  <a:gd name="T47" fmla="*/ 0 h 29"/>
                  <a:gd name="T48" fmla="*/ 16 w 25"/>
                  <a:gd name="T49"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29">
                    <a:moveTo>
                      <a:pt x="16" y="5"/>
                    </a:moveTo>
                    <a:lnTo>
                      <a:pt x="16" y="7"/>
                    </a:lnTo>
                    <a:lnTo>
                      <a:pt x="12" y="9"/>
                    </a:lnTo>
                    <a:lnTo>
                      <a:pt x="12" y="11"/>
                    </a:lnTo>
                    <a:lnTo>
                      <a:pt x="14" y="14"/>
                    </a:lnTo>
                    <a:lnTo>
                      <a:pt x="16" y="20"/>
                    </a:lnTo>
                    <a:lnTo>
                      <a:pt x="19" y="20"/>
                    </a:lnTo>
                    <a:lnTo>
                      <a:pt x="21" y="16"/>
                    </a:lnTo>
                    <a:lnTo>
                      <a:pt x="23" y="16"/>
                    </a:lnTo>
                    <a:lnTo>
                      <a:pt x="25" y="21"/>
                    </a:lnTo>
                    <a:lnTo>
                      <a:pt x="23" y="25"/>
                    </a:lnTo>
                    <a:lnTo>
                      <a:pt x="21" y="29"/>
                    </a:lnTo>
                    <a:lnTo>
                      <a:pt x="16" y="23"/>
                    </a:lnTo>
                    <a:lnTo>
                      <a:pt x="7" y="27"/>
                    </a:lnTo>
                    <a:lnTo>
                      <a:pt x="5" y="25"/>
                    </a:lnTo>
                    <a:lnTo>
                      <a:pt x="1" y="25"/>
                    </a:lnTo>
                    <a:lnTo>
                      <a:pt x="1" y="9"/>
                    </a:lnTo>
                    <a:lnTo>
                      <a:pt x="0" y="7"/>
                    </a:lnTo>
                    <a:lnTo>
                      <a:pt x="1" y="4"/>
                    </a:lnTo>
                    <a:lnTo>
                      <a:pt x="7" y="2"/>
                    </a:lnTo>
                    <a:lnTo>
                      <a:pt x="8" y="5"/>
                    </a:lnTo>
                    <a:lnTo>
                      <a:pt x="12" y="4"/>
                    </a:lnTo>
                    <a:lnTo>
                      <a:pt x="12" y="0"/>
                    </a:lnTo>
                    <a:lnTo>
                      <a:pt x="14" y="0"/>
                    </a:lnTo>
                    <a:lnTo>
                      <a:pt x="16"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29" name="Freeform 1978"/>
              <p:cNvSpPr>
                <a:spLocks/>
              </p:cNvSpPr>
              <p:nvPr/>
            </p:nvSpPr>
            <p:spPr bwMode="auto">
              <a:xfrm>
                <a:off x="2344" y="895"/>
                <a:ext cx="29" cy="20"/>
              </a:xfrm>
              <a:custGeom>
                <a:avLst/>
                <a:gdLst>
                  <a:gd name="T0" fmla="*/ 4 w 29"/>
                  <a:gd name="T1" fmla="*/ 4 h 20"/>
                  <a:gd name="T2" fmla="*/ 0 w 29"/>
                  <a:gd name="T3" fmla="*/ 9 h 20"/>
                  <a:gd name="T4" fmla="*/ 0 w 29"/>
                  <a:gd name="T5" fmla="*/ 14 h 20"/>
                  <a:gd name="T6" fmla="*/ 2 w 29"/>
                  <a:gd name="T7" fmla="*/ 16 h 20"/>
                  <a:gd name="T8" fmla="*/ 9 w 29"/>
                  <a:gd name="T9" fmla="*/ 18 h 20"/>
                  <a:gd name="T10" fmla="*/ 13 w 29"/>
                  <a:gd name="T11" fmla="*/ 20 h 20"/>
                  <a:gd name="T12" fmla="*/ 27 w 29"/>
                  <a:gd name="T13" fmla="*/ 16 h 20"/>
                  <a:gd name="T14" fmla="*/ 29 w 29"/>
                  <a:gd name="T15" fmla="*/ 12 h 20"/>
                  <a:gd name="T16" fmla="*/ 25 w 29"/>
                  <a:gd name="T17" fmla="*/ 11 h 20"/>
                  <a:gd name="T18" fmla="*/ 25 w 29"/>
                  <a:gd name="T19" fmla="*/ 5 h 20"/>
                  <a:gd name="T20" fmla="*/ 24 w 29"/>
                  <a:gd name="T21" fmla="*/ 2 h 20"/>
                  <a:gd name="T22" fmla="*/ 11 w 29"/>
                  <a:gd name="T23" fmla="*/ 0 h 20"/>
                  <a:gd name="T24" fmla="*/ 7 w 29"/>
                  <a:gd name="T25" fmla="*/ 0 h 20"/>
                  <a:gd name="T26" fmla="*/ 4 w 29"/>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0">
                    <a:moveTo>
                      <a:pt x="4" y="4"/>
                    </a:moveTo>
                    <a:lnTo>
                      <a:pt x="0" y="9"/>
                    </a:lnTo>
                    <a:lnTo>
                      <a:pt x="0" y="14"/>
                    </a:lnTo>
                    <a:lnTo>
                      <a:pt x="2" y="16"/>
                    </a:lnTo>
                    <a:lnTo>
                      <a:pt x="9" y="18"/>
                    </a:lnTo>
                    <a:lnTo>
                      <a:pt x="13" y="20"/>
                    </a:lnTo>
                    <a:lnTo>
                      <a:pt x="27" y="16"/>
                    </a:lnTo>
                    <a:lnTo>
                      <a:pt x="29" y="12"/>
                    </a:lnTo>
                    <a:lnTo>
                      <a:pt x="25" y="11"/>
                    </a:lnTo>
                    <a:lnTo>
                      <a:pt x="25" y="5"/>
                    </a:lnTo>
                    <a:lnTo>
                      <a:pt x="24" y="2"/>
                    </a:lnTo>
                    <a:lnTo>
                      <a:pt x="11" y="0"/>
                    </a:lnTo>
                    <a:lnTo>
                      <a:pt x="7" y="0"/>
                    </a:lnTo>
                    <a:lnTo>
                      <a:pt x="4"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30" name="Freeform 1979"/>
              <p:cNvSpPr>
                <a:spLocks/>
              </p:cNvSpPr>
              <p:nvPr/>
            </p:nvSpPr>
            <p:spPr bwMode="auto">
              <a:xfrm>
                <a:off x="2344" y="895"/>
                <a:ext cx="29" cy="20"/>
              </a:xfrm>
              <a:custGeom>
                <a:avLst/>
                <a:gdLst>
                  <a:gd name="T0" fmla="*/ 4 w 29"/>
                  <a:gd name="T1" fmla="*/ 4 h 20"/>
                  <a:gd name="T2" fmla="*/ 0 w 29"/>
                  <a:gd name="T3" fmla="*/ 9 h 20"/>
                  <a:gd name="T4" fmla="*/ 0 w 29"/>
                  <a:gd name="T5" fmla="*/ 14 h 20"/>
                  <a:gd name="T6" fmla="*/ 2 w 29"/>
                  <a:gd name="T7" fmla="*/ 16 h 20"/>
                  <a:gd name="T8" fmla="*/ 9 w 29"/>
                  <a:gd name="T9" fmla="*/ 18 h 20"/>
                  <a:gd name="T10" fmla="*/ 13 w 29"/>
                  <a:gd name="T11" fmla="*/ 20 h 20"/>
                  <a:gd name="T12" fmla="*/ 27 w 29"/>
                  <a:gd name="T13" fmla="*/ 16 h 20"/>
                  <a:gd name="T14" fmla="*/ 29 w 29"/>
                  <a:gd name="T15" fmla="*/ 12 h 20"/>
                  <a:gd name="T16" fmla="*/ 25 w 29"/>
                  <a:gd name="T17" fmla="*/ 11 h 20"/>
                  <a:gd name="T18" fmla="*/ 25 w 29"/>
                  <a:gd name="T19" fmla="*/ 5 h 20"/>
                  <a:gd name="T20" fmla="*/ 24 w 29"/>
                  <a:gd name="T21" fmla="*/ 2 h 20"/>
                  <a:gd name="T22" fmla="*/ 11 w 29"/>
                  <a:gd name="T23" fmla="*/ 0 h 20"/>
                  <a:gd name="T24" fmla="*/ 7 w 29"/>
                  <a:gd name="T25" fmla="*/ 0 h 20"/>
                  <a:gd name="T26" fmla="*/ 4 w 29"/>
                  <a:gd name="T27"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0">
                    <a:moveTo>
                      <a:pt x="4" y="4"/>
                    </a:moveTo>
                    <a:lnTo>
                      <a:pt x="0" y="9"/>
                    </a:lnTo>
                    <a:lnTo>
                      <a:pt x="0" y="14"/>
                    </a:lnTo>
                    <a:lnTo>
                      <a:pt x="2" y="16"/>
                    </a:lnTo>
                    <a:lnTo>
                      <a:pt x="9" y="18"/>
                    </a:lnTo>
                    <a:lnTo>
                      <a:pt x="13" y="20"/>
                    </a:lnTo>
                    <a:lnTo>
                      <a:pt x="27" y="16"/>
                    </a:lnTo>
                    <a:lnTo>
                      <a:pt x="29" y="12"/>
                    </a:lnTo>
                    <a:lnTo>
                      <a:pt x="25" y="11"/>
                    </a:lnTo>
                    <a:lnTo>
                      <a:pt x="25" y="5"/>
                    </a:lnTo>
                    <a:lnTo>
                      <a:pt x="24" y="2"/>
                    </a:lnTo>
                    <a:lnTo>
                      <a:pt x="11" y="0"/>
                    </a:lnTo>
                    <a:lnTo>
                      <a:pt x="7" y="0"/>
                    </a:lnTo>
                    <a:lnTo>
                      <a:pt x="4"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31" name="Freeform 1980"/>
              <p:cNvSpPr>
                <a:spLocks/>
              </p:cNvSpPr>
              <p:nvPr/>
            </p:nvSpPr>
            <p:spPr bwMode="auto">
              <a:xfrm>
                <a:off x="2285" y="954"/>
                <a:ext cx="43" cy="21"/>
              </a:xfrm>
              <a:custGeom>
                <a:avLst/>
                <a:gdLst>
                  <a:gd name="T0" fmla="*/ 0 w 43"/>
                  <a:gd name="T1" fmla="*/ 11 h 21"/>
                  <a:gd name="T2" fmla="*/ 0 w 43"/>
                  <a:gd name="T3" fmla="*/ 16 h 21"/>
                  <a:gd name="T4" fmla="*/ 22 w 43"/>
                  <a:gd name="T5" fmla="*/ 21 h 21"/>
                  <a:gd name="T6" fmla="*/ 25 w 43"/>
                  <a:gd name="T7" fmla="*/ 21 h 21"/>
                  <a:gd name="T8" fmla="*/ 29 w 43"/>
                  <a:gd name="T9" fmla="*/ 20 h 21"/>
                  <a:gd name="T10" fmla="*/ 40 w 43"/>
                  <a:gd name="T11" fmla="*/ 18 h 21"/>
                  <a:gd name="T12" fmla="*/ 43 w 43"/>
                  <a:gd name="T13" fmla="*/ 16 h 21"/>
                  <a:gd name="T14" fmla="*/ 43 w 43"/>
                  <a:gd name="T15" fmla="*/ 14 h 21"/>
                  <a:gd name="T16" fmla="*/ 13 w 43"/>
                  <a:gd name="T17" fmla="*/ 7 h 21"/>
                  <a:gd name="T18" fmla="*/ 22 w 43"/>
                  <a:gd name="T19" fmla="*/ 5 h 21"/>
                  <a:gd name="T20" fmla="*/ 29 w 43"/>
                  <a:gd name="T21" fmla="*/ 11 h 21"/>
                  <a:gd name="T22" fmla="*/ 38 w 43"/>
                  <a:gd name="T23" fmla="*/ 11 h 21"/>
                  <a:gd name="T24" fmla="*/ 38 w 43"/>
                  <a:gd name="T25" fmla="*/ 9 h 21"/>
                  <a:gd name="T26" fmla="*/ 24 w 43"/>
                  <a:gd name="T27" fmla="*/ 2 h 21"/>
                  <a:gd name="T28" fmla="*/ 9 w 43"/>
                  <a:gd name="T29" fmla="*/ 0 h 21"/>
                  <a:gd name="T30" fmla="*/ 0 w 43"/>
                  <a:gd name="T31"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21">
                    <a:moveTo>
                      <a:pt x="0" y="11"/>
                    </a:moveTo>
                    <a:lnTo>
                      <a:pt x="0" y="16"/>
                    </a:lnTo>
                    <a:lnTo>
                      <a:pt x="22" y="21"/>
                    </a:lnTo>
                    <a:lnTo>
                      <a:pt x="25" y="21"/>
                    </a:lnTo>
                    <a:lnTo>
                      <a:pt x="29" y="20"/>
                    </a:lnTo>
                    <a:lnTo>
                      <a:pt x="40" y="18"/>
                    </a:lnTo>
                    <a:lnTo>
                      <a:pt x="43" y="16"/>
                    </a:lnTo>
                    <a:lnTo>
                      <a:pt x="43" y="14"/>
                    </a:lnTo>
                    <a:lnTo>
                      <a:pt x="13" y="7"/>
                    </a:lnTo>
                    <a:lnTo>
                      <a:pt x="22" y="5"/>
                    </a:lnTo>
                    <a:lnTo>
                      <a:pt x="29" y="11"/>
                    </a:lnTo>
                    <a:lnTo>
                      <a:pt x="38" y="11"/>
                    </a:lnTo>
                    <a:lnTo>
                      <a:pt x="38" y="9"/>
                    </a:lnTo>
                    <a:lnTo>
                      <a:pt x="24" y="2"/>
                    </a:lnTo>
                    <a:lnTo>
                      <a:pt x="9" y="0"/>
                    </a:lnTo>
                    <a:lnTo>
                      <a:pt x="0"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32" name="Freeform 1981"/>
              <p:cNvSpPr>
                <a:spLocks/>
              </p:cNvSpPr>
              <p:nvPr/>
            </p:nvSpPr>
            <p:spPr bwMode="auto">
              <a:xfrm>
                <a:off x="2285" y="954"/>
                <a:ext cx="43" cy="21"/>
              </a:xfrm>
              <a:custGeom>
                <a:avLst/>
                <a:gdLst>
                  <a:gd name="T0" fmla="*/ 0 w 43"/>
                  <a:gd name="T1" fmla="*/ 11 h 21"/>
                  <a:gd name="T2" fmla="*/ 0 w 43"/>
                  <a:gd name="T3" fmla="*/ 16 h 21"/>
                  <a:gd name="T4" fmla="*/ 22 w 43"/>
                  <a:gd name="T5" fmla="*/ 21 h 21"/>
                  <a:gd name="T6" fmla="*/ 25 w 43"/>
                  <a:gd name="T7" fmla="*/ 21 h 21"/>
                  <a:gd name="T8" fmla="*/ 29 w 43"/>
                  <a:gd name="T9" fmla="*/ 20 h 21"/>
                  <a:gd name="T10" fmla="*/ 40 w 43"/>
                  <a:gd name="T11" fmla="*/ 18 h 21"/>
                  <a:gd name="T12" fmla="*/ 43 w 43"/>
                  <a:gd name="T13" fmla="*/ 16 h 21"/>
                  <a:gd name="T14" fmla="*/ 43 w 43"/>
                  <a:gd name="T15" fmla="*/ 14 h 21"/>
                  <a:gd name="T16" fmla="*/ 13 w 43"/>
                  <a:gd name="T17" fmla="*/ 7 h 21"/>
                  <a:gd name="T18" fmla="*/ 22 w 43"/>
                  <a:gd name="T19" fmla="*/ 5 h 21"/>
                  <a:gd name="T20" fmla="*/ 29 w 43"/>
                  <a:gd name="T21" fmla="*/ 11 h 21"/>
                  <a:gd name="T22" fmla="*/ 38 w 43"/>
                  <a:gd name="T23" fmla="*/ 11 h 21"/>
                  <a:gd name="T24" fmla="*/ 38 w 43"/>
                  <a:gd name="T25" fmla="*/ 9 h 21"/>
                  <a:gd name="T26" fmla="*/ 24 w 43"/>
                  <a:gd name="T27" fmla="*/ 2 h 21"/>
                  <a:gd name="T28" fmla="*/ 9 w 43"/>
                  <a:gd name="T29" fmla="*/ 0 h 21"/>
                  <a:gd name="T30" fmla="*/ 0 w 43"/>
                  <a:gd name="T31" fmla="*/ 1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21">
                    <a:moveTo>
                      <a:pt x="0" y="11"/>
                    </a:moveTo>
                    <a:lnTo>
                      <a:pt x="0" y="16"/>
                    </a:lnTo>
                    <a:lnTo>
                      <a:pt x="22" y="21"/>
                    </a:lnTo>
                    <a:lnTo>
                      <a:pt x="25" y="21"/>
                    </a:lnTo>
                    <a:lnTo>
                      <a:pt x="29" y="20"/>
                    </a:lnTo>
                    <a:lnTo>
                      <a:pt x="40" y="18"/>
                    </a:lnTo>
                    <a:lnTo>
                      <a:pt x="43" y="16"/>
                    </a:lnTo>
                    <a:lnTo>
                      <a:pt x="43" y="14"/>
                    </a:lnTo>
                    <a:lnTo>
                      <a:pt x="13" y="7"/>
                    </a:lnTo>
                    <a:lnTo>
                      <a:pt x="22" y="5"/>
                    </a:lnTo>
                    <a:lnTo>
                      <a:pt x="29" y="11"/>
                    </a:lnTo>
                    <a:lnTo>
                      <a:pt x="38" y="11"/>
                    </a:lnTo>
                    <a:lnTo>
                      <a:pt x="38" y="9"/>
                    </a:lnTo>
                    <a:lnTo>
                      <a:pt x="24" y="2"/>
                    </a:lnTo>
                    <a:lnTo>
                      <a:pt x="9" y="0"/>
                    </a:lnTo>
                    <a:lnTo>
                      <a:pt x="0"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33" name="Freeform 1982"/>
              <p:cNvSpPr>
                <a:spLocks/>
              </p:cNvSpPr>
              <p:nvPr/>
            </p:nvSpPr>
            <p:spPr bwMode="auto">
              <a:xfrm>
                <a:off x="2302" y="974"/>
                <a:ext cx="42" cy="19"/>
              </a:xfrm>
              <a:custGeom>
                <a:avLst/>
                <a:gdLst>
                  <a:gd name="T0" fmla="*/ 42 w 42"/>
                  <a:gd name="T1" fmla="*/ 8 h 19"/>
                  <a:gd name="T2" fmla="*/ 39 w 42"/>
                  <a:gd name="T3" fmla="*/ 12 h 19"/>
                  <a:gd name="T4" fmla="*/ 39 w 42"/>
                  <a:gd name="T5" fmla="*/ 14 h 19"/>
                  <a:gd name="T6" fmla="*/ 42 w 42"/>
                  <a:gd name="T7" fmla="*/ 17 h 19"/>
                  <a:gd name="T8" fmla="*/ 39 w 42"/>
                  <a:gd name="T9" fmla="*/ 19 h 19"/>
                  <a:gd name="T10" fmla="*/ 32 w 42"/>
                  <a:gd name="T11" fmla="*/ 17 h 19"/>
                  <a:gd name="T12" fmla="*/ 32 w 42"/>
                  <a:gd name="T13" fmla="*/ 16 h 19"/>
                  <a:gd name="T14" fmla="*/ 26 w 42"/>
                  <a:gd name="T15" fmla="*/ 10 h 19"/>
                  <a:gd name="T16" fmla="*/ 1 w 42"/>
                  <a:gd name="T17" fmla="*/ 7 h 19"/>
                  <a:gd name="T18" fmla="*/ 0 w 42"/>
                  <a:gd name="T19" fmla="*/ 5 h 19"/>
                  <a:gd name="T20" fmla="*/ 21 w 42"/>
                  <a:gd name="T21" fmla="*/ 0 h 19"/>
                  <a:gd name="T22" fmla="*/ 24 w 42"/>
                  <a:gd name="T23" fmla="*/ 1 h 19"/>
                  <a:gd name="T24" fmla="*/ 28 w 42"/>
                  <a:gd name="T25" fmla="*/ 1 h 19"/>
                  <a:gd name="T26" fmla="*/ 32 w 42"/>
                  <a:gd name="T27" fmla="*/ 3 h 19"/>
                  <a:gd name="T28" fmla="*/ 35 w 42"/>
                  <a:gd name="T29" fmla="*/ 3 h 19"/>
                  <a:gd name="T30" fmla="*/ 42 w 42"/>
                  <a:gd name="T31" fmla="*/ 7 h 19"/>
                  <a:gd name="T32" fmla="*/ 42 w 42"/>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19">
                    <a:moveTo>
                      <a:pt x="42" y="8"/>
                    </a:moveTo>
                    <a:lnTo>
                      <a:pt x="39" y="12"/>
                    </a:lnTo>
                    <a:lnTo>
                      <a:pt x="39" y="14"/>
                    </a:lnTo>
                    <a:lnTo>
                      <a:pt x="42" y="17"/>
                    </a:lnTo>
                    <a:lnTo>
                      <a:pt x="39" y="19"/>
                    </a:lnTo>
                    <a:lnTo>
                      <a:pt x="32" y="17"/>
                    </a:lnTo>
                    <a:lnTo>
                      <a:pt x="32" y="16"/>
                    </a:lnTo>
                    <a:lnTo>
                      <a:pt x="26" y="10"/>
                    </a:lnTo>
                    <a:lnTo>
                      <a:pt x="1" y="7"/>
                    </a:lnTo>
                    <a:lnTo>
                      <a:pt x="0" y="5"/>
                    </a:lnTo>
                    <a:lnTo>
                      <a:pt x="21" y="0"/>
                    </a:lnTo>
                    <a:lnTo>
                      <a:pt x="24" y="1"/>
                    </a:lnTo>
                    <a:lnTo>
                      <a:pt x="28" y="1"/>
                    </a:lnTo>
                    <a:lnTo>
                      <a:pt x="32" y="3"/>
                    </a:lnTo>
                    <a:lnTo>
                      <a:pt x="35" y="3"/>
                    </a:lnTo>
                    <a:lnTo>
                      <a:pt x="42" y="7"/>
                    </a:lnTo>
                    <a:lnTo>
                      <a:pt x="42" y="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34" name="Freeform 1983"/>
              <p:cNvSpPr>
                <a:spLocks/>
              </p:cNvSpPr>
              <p:nvPr/>
            </p:nvSpPr>
            <p:spPr bwMode="auto">
              <a:xfrm>
                <a:off x="2302" y="974"/>
                <a:ext cx="42" cy="19"/>
              </a:xfrm>
              <a:custGeom>
                <a:avLst/>
                <a:gdLst>
                  <a:gd name="T0" fmla="*/ 42 w 42"/>
                  <a:gd name="T1" fmla="*/ 8 h 19"/>
                  <a:gd name="T2" fmla="*/ 39 w 42"/>
                  <a:gd name="T3" fmla="*/ 12 h 19"/>
                  <a:gd name="T4" fmla="*/ 39 w 42"/>
                  <a:gd name="T5" fmla="*/ 14 h 19"/>
                  <a:gd name="T6" fmla="*/ 42 w 42"/>
                  <a:gd name="T7" fmla="*/ 17 h 19"/>
                  <a:gd name="T8" fmla="*/ 39 w 42"/>
                  <a:gd name="T9" fmla="*/ 19 h 19"/>
                  <a:gd name="T10" fmla="*/ 32 w 42"/>
                  <a:gd name="T11" fmla="*/ 17 h 19"/>
                  <a:gd name="T12" fmla="*/ 32 w 42"/>
                  <a:gd name="T13" fmla="*/ 16 h 19"/>
                  <a:gd name="T14" fmla="*/ 26 w 42"/>
                  <a:gd name="T15" fmla="*/ 10 h 19"/>
                  <a:gd name="T16" fmla="*/ 1 w 42"/>
                  <a:gd name="T17" fmla="*/ 7 h 19"/>
                  <a:gd name="T18" fmla="*/ 0 w 42"/>
                  <a:gd name="T19" fmla="*/ 5 h 19"/>
                  <a:gd name="T20" fmla="*/ 21 w 42"/>
                  <a:gd name="T21" fmla="*/ 0 h 19"/>
                  <a:gd name="T22" fmla="*/ 24 w 42"/>
                  <a:gd name="T23" fmla="*/ 1 h 19"/>
                  <a:gd name="T24" fmla="*/ 28 w 42"/>
                  <a:gd name="T25" fmla="*/ 1 h 19"/>
                  <a:gd name="T26" fmla="*/ 32 w 42"/>
                  <a:gd name="T27" fmla="*/ 3 h 19"/>
                  <a:gd name="T28" fmla="*/ 35 w 42"/>
                  <a:gd name="T29" fmla="*/ 3 h 19"/>
                  <a:gd name="T30" fmla="*/ 42 w 42"/>
                  <a:gd name="T31" fmla="*/ 7 h 19"/>
                  <a:gd name="T32" fmla="*/ 42 w 42"/>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19">
                    <a:moveTo>
                      <a:pt x="42" y="8"/>
                    </a:moveTo>
                    <a:lnTo>
                      <a:pt x="39" y="12"/>
                    </a:lnTo>
                    <a:lnTo>
                      <a:pt x="39" y="14"/>
                    </a:lnTo>
                    <a:lnTo>
                      <a:pt x="42" y="17"/>
                    </a:lnTo>
                    <a:lnTo>
                      <a:pt x="39" y="19"/>
                    </a:lnTo>
                    <a:lnTo>
                      <a:pt x="32" y="17"/>
                    </a:lnTo>
                    <a:lnTo>
                      <a:pt x="32" y="16"/>
                    </a:lnTo>
                    <a:lnTo>
                      <a:pt x="26" y="10"/>
                    </a:lnTo>
                    <a:lnTo>
                      <a:pt x="1" y="7"/>
                    </a:lnTo>
                    <a:lnTo>
                      <a:pt x="0" y="5"/>
                    </a:lnTo>
                    <a:lnTo>
                      <a:pt x="21" y="0"/>
                    </a:lnTo>
                    <a:lnTo>
                      <a:pt x="24" y="1"/>
                    </a:lnTo>
                    <a:lnTo>
                      <a:pt x="28" y="1"/>
                    </a:lnTo>
                    <a:lnTo>
                      <a:pt x="32" y="3"/>
                    </a:lnTo>
                    <a:lnTo>
                      <a:pt x="35" y="3"/>
                    </a:lnTo>
                    <a:lnTo>
                      <a:pt x="42" y="7"/>
                    </a:lnTo>
                    <a:lnTo>
                      <a:pt x="42" y="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35" name="Freeform 1984"/>
              <p:cNvSpPr>
                <a:spLocks/>
              </p:cNvSpPr>
              <p:nvPr/>
            </p:nvSpPr>
            <p:spPr bwMode="auto">
              <a:xfrm>
                <a:off x="2303" y="982"/>
                <a:ext cx="41" cy="42"/>
              </a:xfrm>
              <a:custGeom>
                <a:avLst/>
                <a:gdLst>
                  <a:gd name="T0" fmla="*/ 25 w 41"/>
                  <a:gd name="T1" fmla="*/ 9 h 42"/>
                  <a:gd name="T2" fmla="*/ 29 w 41"/>
                  <a:gd name="T3" fmla="*/ 15 h 42"/>
                  <a:gd name="T4" fmla="*/ 34 w 41"/>
                  <a:gd name="T5" fmla="*/ 17 h 42"/>
                  <a:gd name="T6" fmla="*/ 38 w 41"/>
                  <a:gd name="T7" fmla="*/ 22 h 42"/>
                  <a:gd name="T8" fmla="*/ 40 w 41"/>
                  <a:gd name="T9" fmla="*/ 20 h 42"/>
                  <a:gd name="T10" fmla="*/ 41 w 41"/>
                  <a:gd name="T11" fmla="*/ 27 h 42"/>
                  <a:gd name="T12" fmla="*/ 38 w 41"/>
                  <a:gd name="T13" fmla="*/ 27 h 42"/>
                  <a:gd name="T14" fmla="*/ 36 w 41"/>
                  <a:gd name="T15" fmla="*/ 25 h 42"/>
                  <a:gd name="T16" fmla="*/ 31 w 41"/>
                  <a:gd name="T17" fmla="*/ 25 h 42"/>
                  <a:gd name="T18" fmla="*/ 29 w 41"/>
                  <a:gd name="T19" fmla="*/ 27 h 42"/>
                  <a:gd name="T20" fmla="*/ 32 w 41"/>
                  <a:gd name="T21" fmla="*/ 31 h 42"/>
                  <a:gd name="T22" fmla="*/ 34 w 41"/>
                  <a:gd name="T23" fmla="*/ 34 h 42"/>
                  <a:gd name="T24" fmla="*/ 38 w 41"/>
                  <a:gd name="T25" fmla="*/ 34 h 42"/>
                  <a:gd name="T26" fmla="*/ 38 w 41"/>
                  <a:gd name="T27" fmla="*/ 42 h 42"/>
                  <a:gd name="T28" fmla="*/ 36 w 41"/>
                  <a:gd name="T29" fmla="*/ 42 h 42"/>
                  <a:gd name="T30" fmla="*/ 32 w 41"/>
                  <a:gd name="T31" fmla="*/ 40 h 42"/>
                  <a:gd name="T32" fmla="*/ 32 w 41"/>
                  <a:gd name="T33" fmla="*/ 36 h 42"/>
                  <a:gd name="T34" fmla="*/ 29 w 41"/>
                  <a:gd name="T35" fmla="*/ 38 h 42"/>
                  <a:gd name="T36" fmla="*/ 22 w 41"/>
                  <a:gd name="T37" fmla="*/ 31 h 42"/>
                  <a:gd name="T38" fmla="*/ 9 w 41"/>
                  <a:gd name="T39" fmla="*/ 24 h 42"/>
                  <a:gd name="T40" fmla="*/ 7 w 41"/>
                  <a:gd name="T41" fmla="*/ 18 h 42"/>
                  <a:gd name="T42" fmla="*/ 4 w 41"/>
                  <a:gd name="T43" fmla="*/ 17 h 42"/>
                  <a:gd name="T44" fmla="*/ 2 w 41"/>
                  <a:gd name="T45" fmla="*/ 13 h 42"/>
                  <a:gd name="T46" fmla="*/ 2 w 41"/>
                  <a:gd name="T47" fmla="*/ 11 h 42"/>
                  <a:gd name="T48" fmla="*/ 0 w 41"/>
                  <a:gd name="T49" fmla="*/ 4 h 42"/>
                  <a:gd name="T50" fmla="*/ 0 w 41"/>
                  <a:gd name="T51" fmla="*/ 4 h 42"/>
                  <a:gd name="T52" fmla="*/ 4 w 41"/>
                  <a:gd name="T53" fmla="*/ 0 h 42"/>
                  <a:gd name="T54" fmla="*/ 15 w 41"/>
                  <a:gd name="T55" fmla="*/ 4 h 42"/>
                  <a:gd name="T56" fmla="*/ 16 w 41"/>
                  <a:gd name="T57" fmla="*/ 2 h 42"/>
                  <a:gd name="T58" fmla="*/ 22 w 41"/>
                  <a:gd name="T59" fmla="*/ 6 h 42"/>
                  <a:gd name="T60" fmla="*/ 25 w 41"/>
                  <a:gd name="T61"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42">
                    <a:moveTo>
                      <a:pt x="25" y="9"/>
                    </a:moveTo>
                    <a:lnTo>
                      <a:pt x="29" y="15"/>
                    </a:lnTo>
                    <a:lnTo>
                      <a:pt x="34" y="17"/>
                    </a:lnTo>
                    <a:lnTo>
                      <a:pt x="38" y="22"/>
                    </a:lnTo>
                    <a:lnTo>
                      <a:pt x="40" y="20"/>
                    </a:lnTo>
                    <a:lnTo>
                      <a:pt x="41" y="27"/>
                    </a:lnTo>
                    <a:lnTo>
                      <a:pt x="38" y="27"/>
                    </a:lnTo>
                    <a:lnTo>
                      <a:pt x="36" y="25"/>
                    </a:lnTo>
                    <a:lnTo>
                      <a:pt x="31" y="25"/>
                    </a:lnTo>
                    <a:lnTo>
                      <a:pt x="29" y="27"/>
                    </a:lnTo>
                    <a:lnTo>
                      <a:pt x="32" y="31"/>
                    </a:lnTo>
                    <a:lnTo>
                      <a:pt x="34" y="34"/>
                    </a:lnTo>
                    <a:lnTo>
                      <a:pt x="38" y="34"/>
                    </a:lnTo>
                    <a:lnTo>
                      <a:pt x="38" y="42"/>
                    </a:lnTo>
                    <a:lnTo>
                      <a:pt x="36" y="42"/>
                    </a:lnTo>
                    <a:lnTo>
                      <a:pt x="32" y="40"/>
                    </a:lnTo>
                    <a:lnTo>
                      <a:pt x="32" y="36"/>
                    </a:lnTo>
                    <a:lnTo>
                      <a:pt x="29" y="38"/>
                    </a:lnTo>
                    <a:lnTo>
                      <a:pt x="22" y="31"/>
                    </a:lnTo>
                    <a:lnTo>
                      <a:pt x="9" y="24"/>
                    </a:lnTo>
                    <a:lnTo>
                      <a:pt x="7" y="18"/>
                    </a:lnTo>
                    <a:lnTo>
                      <a:pt x="4" y="17"/>
                    </a:lnTo>
                    <a:lnTo>
                      <a:pt x="2" y="13"/>
                    </a:lnTo>
                    <a:lnTo>
                      <a:pt x="2" y="11"/>
                    </a:lnTo>
                    <a:lnTo>
                      <a:pt x="0" y="4"/>
                    </a:lnTo>
                    <a:lnTo>
                      <a:pt x="0" y="4"/>
                    </a:lnTo>
                    <a:lnTo>
                      <a:pt x="4" y="0"/>
                    </a:lnTo>
                    <a:lnTo>
                      <a:pt x="15" y="4"/>
                    </a:lnTo>
                    <a:lnTo>
                      <a:pt x="16" y="2"/>
                    </a:lnTo>
                    <a:lnTo>
                      <a:pt x="22" y="6"/>
                    </a:lnTo>
                    <a:lnTo>
                      <a:pt x="25"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36" name="Freeform 1985"/>
              <p:cNvSpPr>
                <a:spLocks/>
              </p:cNvSpPr>
              <p:nvPr/>
            </p:nvSpPr>
            <p:spPr bwMode="auto">
              <a:xfrm>
                <a:off x="2303" y="982"/>
                <a:ext cx="41" cy="42"/>
              </a:xfrm>
              <a:custGeom>
                <a:avLst/>
                <a:gdLst>
                  <a:gd name="T0" fmla="*/ 25 w 41"/>
                  <a:gd name="T1" fmla="*/ 9 h 42"/>
                  <a:gd name="T2" fmla="*/ 29 w 41"/>
                  <a:gd name="T3" fmla="*/ 15 h 42"/>
                  <a:gd name="T4" fmla="*/ 34 w 41"/>
                  <a:gd name="T5" fmla="*/ 17 h 42"/>
                  <a:gd name="T6" fmla="*/ 38 w 41"/>
                  <a:gd name="T7" fmla="*/ 22 h 42"/>
                  <a:gd name="T8" fmla="*/ 40 w 41"/>
                  <a:gd name="T9" fmla="*/ 20 h 42"/>
                  <a:gd name="T10" fmla="*/ 41 w 41"/>
                  <a:gd name="T11" fmla="*/ 27 h 42"/>
                  <a:gd name="T12" fmla="*/ 38 w 41"/>
                  <a:gd name="T13" fmla="*/ 27 h 42"/>
                  <a:gd name="T14" fmla="*/ 36 w 41"/>
                  <a:gd name="T15" fmla="*/ 25 h 42"/>
                  <a:gd name="T16" fmla="*/ 31 w 41"/>
                  <a:gd name="T17" fmla="*/ 25 h 42"/>
                  <a:gd name="T18" fmla="*/ 29 w 41"/>
                  <a:gd name="T19" fmla="*/ 27 h 42"/>
                  <a:gd name="T20" fmla="*/ 32 w 41"/>
                  <a:gd name="T21" fmla="*/ 31 h 42"/>
                  <a:gd name="T22" fmla="*/ 34 w 41"/>
                  <a:gd name="T23" fmla="*/ 34 h 42"/>
                  <a:gd name="T24" fmla="*/ 38 w 41"/>
                  <a:gd name="T25" fmla="*/ 34 h 42"/>
                  <a:gd name="T26" fmla="*/ 38 w 41"/>
                  <a:gd name="T27" fmla="*/ 42 h 42"/>
                  <a:gd name="T28" fmla="*/ 36 w 41"/>
                  <a:gd name="T29" fmla="*/ 42 h 42"/>
                  <a:gd name="T30" fmla="*/ 32 w 41"/>
                  <a:gd name="T31" fmla="*/ 40 h 42"/>
                  <a:gd name="T32" fmla="*/ 32 w 41"/>
                  <a:gd name="T33" fmla="*/ 36 h 42"/>
                  <a:gd name="T34" fmla="*/ 29 w 41"/>
                  <a:gd name="T35" fmla="*/ 38 h 42"/>
                  <a:gd name="T36" fmla="*/ 22 w 41"/>
                  <a:gd name="T37" fmla="*/ 31 h 42"/>
                  <a:gd name="T38" fmla="*/ 9 w 41"/>
                  <a:gd name="T39" fmla="*/ 24 h 42"/>
                  <a:gd name="T40" fmla="*/ 7 w 41"/>
                  <a:gd name="T41" fmla="*/ 18 h 42"/>
                  <a:gd name="T42" fmla="*/ 4 w 41"/>
                  <a:gd name="T43" fmla="*/ 17 h 42"/>
                  <a:gd name="T44" fmla="*/ 2 w 41"/>
                  <a:gd name="T45" fmla="*/ 13 h 42"/>
                  <a:gd name="T46" fmla="*/ 2 w 41"/>
                  <a:gd name="T47" fmla="*/ 11 h 42"/>
                  <a:gd name="T48" fmla="*/ 0 w 41"/>
                  <a:gd name="T49" fmla="*/ 4 h 42"/>
                  <a:gd name="T50" fmla="*/ 0 w 41"/>
                  <a:gd name="T51" fmla="*/ 4 h 42"/>
                  <a:gd name="T52" fmla="*/ 4 w 41"/>
                  <a:gd name="T53" fmla="*/ 0 h 42"/>
                  <a:gd name="T54" fmla="*/ 15 w 41"/>
                  <a:gd name="T55" fmla="*/ 4 h 42"/>
                  <a:gd name="T56" fmla="*/ 16 w 41"/>
                  <a:gd name="T57" fmla="*/ 2 h 42"/>
                  <a:gd name="T58" fmla="*/ 22 w 41"/>
                  <a:gd name="T59" fmla="*/ 6 h 42"/>
                  <a:gd name="T60" fmla="*/ 25 w 41"/>
                  <a:gd name="T61"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 h="42">
                    <a:moveTo>
                      <a:pt x="25" y="9"/>
                    </a:moveTo>
                    <a:lnTo>
                      <a:pt x="29" y="15"/>
                    </a:lnTo>
                    <a:lnTo>
                      <a:pt x="34" y="17"/>
                    </a:lnTo>
                    <a:lnTo>
                      <a:pt x="38" y="22"/>
                    </a:lnTo>
                    <a:lnTo>
                      <a:pt x="40" y="20"/>
                    </a:lnTo>
                    <a:lnTo>
                      <a:pt x="41" y="27"/>
                    </a:lnTo>
                    <a:lnTo>
                      <a:pt x="38" y="27"/>
                    </a:lnTo>
                    <a:lnTo>
                      <a:pt x="36" y="25"/>
                    </a:lnTo>
                    <a:lnTo>
                      <a:pt x="31" y="25"/>
                    </a:lnTo>
                    <a:lnTo>
                      <a:pt x="29" y="27"/>
                    </a:lnTo>
                    <a:lnTo>
                      <a:pt x="32" y="31"/>
                    </a:lnTo>
                    <a:lnTo>
                      <a:pt x="34" y="34"/>
                    </a:lnTo>
                    <a:lnTo>
                      <a:pt x="38" y="34"/>
                    </a:lnTo>
                    <a:lnTo>
                      <a:pt x="38" y="42"/>
                    </a:lnTo>
                    <a:lnTo>
                      <a:pt x="36" y="42"/>
                    </a:lnTo>
                    <a:lnTo>
                      <a:pt x="32" y="40"/>
                    </a:lnTo>
                    <a:lnTo>
                      <a:pt x="32" y="36"/>
                    </a:lnTo>
                    <a:lnTo>
                      <a:pt x="29" y="38"/>
                    </a:lnTo>
                    <a:lnTo>
                      <a:pt x="22" y="31"/>
                    </a:lnTo>
                    <a:lnTo>
                      <a:pt x="9" y="24"/>
                    </a:lnTo>
                    <a:lnTo>
                      <a:pt x="7" y="18"/>
                    </a:lnTo>
                    <a:lnTo>
                      <a:pt x="4" y="17"/>
                    </a:lnTo>
                    <a:lnTo>
                      <a:pt x="2" y="13"/>
                    </a:lnTo>
                    <a:lnTo>
                      <a:pt x="2" y="11"/>
                    </a:lnTo>
                    <a:lnTo>
                      <a:pt x="0" y="4"/>
                    </a:lnTo>
                    <a:lnTo>
                      <a:pt x="0" y="4"/>
                    </a:lnTo>
                    <a:lnTo>
                      <a:pt x="4" y="0"/>
                    </a:lnTo>
                    <a:lnTo>
                      <a:pt x="15" y="4"/>
                    </a:lnTo>
                    <a:lnTo>
                      <a:pt x="16" y="2"/>
                    </a:lnTo>
                    <a:lnTo>
                      <a:pt x="22" y="6"/>
                    </a:lnTo>
                    <a:lnTo>
                      <a:pt x="25"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37" name="Freeform 1986"/>
              <p:cNvSpPr>
                <a:spLocks/>
              </p:cNvSpPr>
              <p:nvPr/>
            </p:nvSpPr>
            <p:spPr bwMode="auto">
              <a:xfrm>
                <a:off x="2248" y="1077"/>
                <a:ext cx="43" cy="30"/>
              </a:xfrm>
              <a:custGeom>
                <a:avLst/>
                <a:gdLst>
                  <a:gd name="T0" fmla="*/ 41 w 43"/>
                  <a:gd name="T1" fmla="*/ 9 h 30"/>
                  <a:gd name="T2" fmla="*/ 43 w 43"/>
                  <a:gd name="T3" fmla="*/ 20 h 30"/>
                  <a:gd name="T4" fmla="*/ 39 w 43"/>
                  <a:gd name="T5" fmla="*/ 23 h 30"/>
                  <a:gd name="T6" fmla="*/ 36 w 43"/>
                  <a:gd name="T7" fmla="*/ 23 h 30"/>
                  <a:gd name="T8" fmla="*/ 34 w 43"/>
                  <a:gd name="T9" fmla="*/ 23 h 30"/>
                  <a:gd name="T10" fmla="*/ 32 w 43"/>
                  <a:gd name="T11" fmla="*/ 25 h 30"/>
                  <a:gd name="T12" fmla="*/ 27 w 43"/>
                  <a:gd name="T13" fmla="*/ 23 h 30"/>
                  <a:gd name="T14" fmla="*/ 2 w 43"/>
                  <a:gd name="T15" fmla="*/ 30 h 30"/>
                  <a:gd name="T16" fmla="*/ 0 w 43"/>
                  <a:gd name="T17" fmla="*/ 29 h 30"/>
                  <a:gd name="T18" fmla="*/ 0 w 43"/>
                  <a:gd name="T19" fmla="*/ 22 h 30"/>
                  <a:gd name="T20" fmla="*/ 12 w 43"/>
                  <a:gd name="T21" fmla="*/ 13 h 30"/>
                  <a:gd name="T22" fmla="*/ 14 w 43"/>
                  <a:gd name="T23" fmla="*/ 11 h 30"/>
                  <a:gd name="T24" fmla="*/ 25 w 43"/>
                  <a:gd name="T25" fmla="*/ 7 h 30"/>
                  <a:gd name="T26" fmla="*/ 34 w 43"/>
                  <a:gd name="T27" fmla="*/ 0 h 30"/>
                  <a:gd name="T28" fmla="*/ 36 w 43"/>
                  <a:gd name="T29" fmla="*/ 2 h 30"/>
                  <a:gd name="T30" fmla="*/ 41 w 43"/>
                  <a:gd name="T31" fmla="*/ 7 h 30"/>
                  <a:gd name="T32" fmla="*/ 41 w 43"/>
                  <a:gd name="T3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30">
                    <a:moveTo>
                      <a:pt x="41" y="9"/>
                    </a:moveTo>
                    <a:lnTo>
                      <a:pt x="43" y="20"/>
                    </a:lnTo>
                    <a:lnTo>
                      <a:pt x="39" y="23"/>
                    </a:lnTo>
                    <a:lnTo>
                      <a:pt x="36" y="23"/>
                    </a:lnTo>
                    <a:lnTo>
                      <a:pt x="34" y="23"/>
                    </a:lnTo>
                    <a:lnTo>
                      <a:pt x="32" y="25"/>
                    </a:lnTo>
                    <a:lnTo>
                      <a:pt x="27" y="23"/>
                    </a:lnTo>
                    <a:lnTo>
                      <a:pt x="2" y="30"/>
                    </a:lnTo>
                    <a:lnTo>
                      <a:pt x="0" y="29"/>
                    </a:lnTo>
                    <a:lnTo>
                      <a:pt x="0" y="22"/>
                    </a:lnTo>
                    <a:lnTo>
                      <a:pt x="12" y="13"/>
                    </a:lnTo>
                    <a:lnTo>
                      <a:pt x="14" y="11"/>
                    </a:lnTo>
                    <a:lnTo>
                      <a:pt x="25" y="7"/>
                    </a:lnTo>
                    <a:lnTo>
                      <a:pt x="34" y="0"/>
                    </a:lnTo>
                    <a:lnTo>
                      <a:pt x="36" y="2"/>
                    </a:lnTo>
                    <a:lnTo>
                      <a:pt x="41" y="7"/>
                    </a:lnTo>
                    <a:lnTo>
                      <a:pt x="41"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38" name="Freeform 1987"/>
              <p:cNvSpPr>
                <a:spLocks/>
              </p:cNvSpPr>
              <p:nvPr/>
            </p:nvSpPr>
            <p:spPr bwMode="auto">
              <a:xfrm>
                <a:off x="2248" y="1077"/>
                <a:ext cx="43" cy="30"/>
              </a:xfrm>
              <a:custGeom>
                <a:avLst/>
                <a:gdLst>
                  <a:gd name="T0" fmla="*/ 41 w 43"/>
                  <a:gd name="T1" fmla="*/ 9 h 30"/>
                  <a:gd name="T2" fmla="*/ 43 w 43"/>
                  <a:gd name="T3" fmla="*/ 20 h 30"/>
                  <a:gd name="T4" fmla="*/ 39 w 43"/>
                  <a:gd name="T5" fmla="*/ 23 h 30"/>
                  <a:gd name="T6" fmla="*/ 36 w 43"/>
                  <a:gd name="T7" fmla="*/ 23 h 30"/>
                  <a:gd name="T8" fmla="*/ 34 w 43"/>
                  <a:gd name="T9" fmla="*/ 23 h 30"/>
                  <a:gd name="T10" fmla="*/ 32 w 43"/>
                  <a:gd name="T11" fmla="*/ 25 h 30"/>
                  <a:gd name="T12" fmla="*/ 27 w 43"/>
                  <a:gd name="T13" fmla="*/ 23 h 30"/>
                  <a:gd name="T14" fmla="*/ 2 w 43"/>
                  <a:gd name="T15" fmla="*/ 30 h 30"/>
                  <a:gd name="T16" fmla="*/ 0 w 43"/>
                  <a:gd name="T17" fmla="*/ 29 h 30"/>
                  <a:gd name="T18" fmla="*/ 0 w 43"/>
                  <a:gd name="T19" fmla="*/ 22 h 30"/>
                  <a:gd name="T20" fmla="*/ 12 w 43"/>
                  <a:gd name="T21" fmla="*/ 13 h 30"/>
                  <a:gd name="T22" fmla="*/ 14 w 43"/>
                  <a:gd name="T23" fmla="*/ 11 h 30"/>
                  <a:gd name="T24" fmla="*/ 25 w 43"/>
                  <a:gd name="T25" fmla="*/ 7 h 30"/>
                  <a:gd name="T26" fmla="*/ 34 w 43"/>
                  <a:gd name="T27" fmla="*/ 0 h 30"/>
                  <a:gd name="T28" fmla="*/ 36 w 43"/>
                  <a:gd name="T29" fmla="*/ 2 h 30"/>
                  <a:gd name="T30" fmla="*/ 41 w 43"/>
                  <a:gd name="T31" fmla="*/ 7 h 30"/>
                  <a:gd name="T32" fmla="*/ 41 w 43"/>
                  <a:gd name="T3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30">
                    <a:moveTo>
                      <a:pt x="41" y="9"/>
                    </a:moveTo>
                    <a:lnTo>
                      <a:pt x="43" y="20"/>
                    </a:lnTo>
                    <a:lnTo>
                      <a:pt x="39" y="23"/>
                    </a:lnTo>
                    <a:lnTo>
                      <a:pt x="36" y="23"/>
                    </a:lnTo>
                    <a:lnTo>
                      <a:pt x="34" y="23"/>
                    </a:lnTo>
                    <a:lnTo>
                      <a:pt x="32" y="25"/>
                    </a:lnTo>
                    <a:lnTo>
                      <a:pt x="27" y="23"/>
                    </a:lnTo>
                    <a:lnTo>
                      <a:pt x="2" y="30"/>
                    </a:lnTo>
                    <a:lnTo>
                      <a:pt x="0" y="29"/>
                    </a:lnTo>
                    <a:lnTo>
                      <a:pt x="0" y="22"/>
                    </a:lnTo>
                    <a:lnTo>
                      <a:pt x="12" y="13"/>
                    </a:lnTo>
                    <a:lnTo>
                      <a:pt x="14" y="11"/>
                    </a:lnTo>
                    <a:lnTo>
                      <a:pt x="25" y="7"/>
                    </a:lnTo>
                    <a:lnTo>
                      <a:pt x="34" y="0"/>
                    </a:lnTo>
                    <a:lnTo>
                      <a:pt x="36" y="2"/>
                    </a:lnTo>
                    <a:lnTo>
                      <a:pt x="41" y="7"/>
                    </a:lnTo>
                    <a:lnTo>
                      <a:pt x="41"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39" name="Freeform 1988"/>
              <p:cNvSpPr>
                <a:spLocks/>
              </p:cNvSpPr>
              <p:nvPr/>
            </p:nvSpPr>
            <p:spPr bwMode="auto">
              <a:xfrm>
                <a:off x="1593" y="699"/>
                <a:ext cx="50" cy="17"/>
              </a:xfrm>
              <a:custGeom>
                <a:avLst/>
                <a:gdLst>
                  <a:gd name="T0" fmla="*/ 0 w 50"/>
                  <a:gd name="T1" fmla="*/ 10 h 17"/>
                  <a:gd name="T2" fmla="*/ 0 w 50"/>
                  <a:gd name="T3" fmla="*/ 8 h 17"/>
                  <a:gd name="T4" fmla="*/ 5 w 50"/>
                  <a:gd name="T5" fmla="*/ 5 h 17"/>
                  <a:gd name="T6" fmla="*/ 9 w 50"/>
                  <a:gd name="T7" fmla="*/ 1 h 17"/>
                  <a:gd name="T8" fmla="*/ 28 w 50"/>
                  <a:gd name="T9" fmla="*/ 0 h 17"/>
                  <a:gd name="T10" fmla="*/ 35 w 50"/>
                  <a:gd name="T11" fmla="*/ 1 h 17"/>
                  <a:gd name="T12" fmla="*/ 39 w 50"/>
                  <a:gd name="T13" fmla="*/ 3 h 17"/>
                  <a:gd name="T14" fmla="*/ 41 w 50"/>
                  <a:gd name="T15" fmla="*/ 7 h 17"/>
                  <a:gd name="T16" fmla="*/ 48 w 50"/>
                  <a:gd name="T17" fmla="*/ 10 h 17"/>
                  <a:gd name="T18" fmla="*/ 50 w 50"/>
                  <a:gd name="T19" fmla="*/ 12 h 17"/>
                  <a:gd name="T20" fmla="*/ 44 w 50"/>
                  <a:gd name="T21" fmla="*/ 16 h 17"/>
                  <a:gd name="T22" fmla="*/ 37 w 50"/>
                  <a:gd name="T23" fmla="*/ 17 h 17"/>
                  <a:gd name="T24" fmla="*/ 19 w 50"/>
                  <a:gd name="T25" fmla="*/ 12 h 17"/>
                  <a:gd name="T26" fmla="*/ 14 w 50"/>
                  <a:gd name="T27" fmla="*/ 14 h 17"/>
                  <a:gd name="T28" fmla="*/ 9 w 50"/>
                  <a:gd name="T29" fmla="*/ 12 h 17"/>
                  <a:gd name="T30" fmla="*/ 0 w 50"/>
                  <a:gd name="T31"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17">
                    <a:moveTo>
                      <a:pt x="0" y="10"/>
                    </a:moveTo>
                    <a:lnTo>
                      <a:pt x="0" y="8"/>
                    </a:lnTo>
                    <a:lnTo>
                      <a:pt x="5" y="5"/>
                    </a:lnTo>
                    <a:lnTo>
                      <a:pt x="9" y="1"/>
                    </a:lnTo>
                    <a:lnTo>
                      <a:pt x="28" y="0"/>
                    </a:lnTo>
                    <a:lnTo>
                      <a:pt x="35" y="1"/>
                    </a:lnTo>
                    <a:lnTo>
                      <a:pt x="39" y="3"/>
                    </a:lnTo>
                    <a:lnTo>
                      <a:pt x="41" y="7"/>
                    </a:lnTo>
                    <a:lnTo>
                      <a:pt x="48" y="10"/>
                    </a:lnTo>
                    <a:lnTo>
                      <a:pt x="50" y="12"/>
                    </a:lnTo>
                    <a:lnTo>
                      <a:pt x="44" y="16"/>
                    </a:lnTo>
                    <a:lnTo>
                      <a:pt x="37" y="17"/>
                    </a:lnTo>
                    <a:lnTo>
                      <a:pt x="19" y="12"/>
                    </a:lnTo>
                    <a:lnTo>
                      <a:pt x="14" y="14"/>
                    </a:lnTo>
                    <a:lnTo>
                      <a:pt x="9" y="12"/>
                    </a:lnTo>
                    <a:lnTo>
                      <a:pt x="0" y="1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40" name="Freeform 1989"/>
              <p:cNvSpPr>
                <a:spLocks/>
              </p:cNvSpPr>
              <p:nvPr/>
            </p:nvSpPr>
            <p:spPr bwMode="auto">
              <a:xfrm>
                <a:off x="1593" y="699"/>
                <a:ext cx="50" cy="17"/>
              </a:xfrm>
              <a:custGeom>
                <a:avLst/>
                <a:gdLst>
                  <a:gd name="T0" fmla="*/ 0 w 50"/>
                  <a:gd name="T1" fmla="*/ 10 h 17"/>
                  <a:gd name="T2" fmla="*/ 0 w 50"/>
                  <a:gd name="T3" fmla="*/ 8 h 17"/>
                  <a:gd name="T4" fmla="*/ 5 w 50"/>
                  <a:gd name="T5" fmla="*/ 5 h 17"/>
                  <a:gd name="T6" fmla="*/ 9 w 50"/>
                  <a:gd name="T7" fmla="*/ 1 h 17"/>
                  <a:gd name="T8" fmla="*/ 28 w 50"/>
                  <a:gd name="T9" fmla="*/ 0 h 17"/>
                  <a:gd name="T10" fmla="*/ 35 w 50"/>
                  <a:gd name="T11" fmla="*/ 1 h 17"/>
                  <a:gd name="T12" fmla="*/ 39 w 50"/>
                  <a:gd name="T13" fmla="*/ 3 h 17"/>
                  <a:gd name="T14" fmla="*/ 41 w 50"/>
                  <a:gd name="T15" fmla="*/ 7 h 17"/>
                  <a:gd name="T16" fmla="*/ 48 w 50"/>
                  <a:gd name="T17" fmla="*/ 10 h 17"/>
                  <a:gd name="T18" fmla="*/ 50 w 50"/>
                  <a:gd name="T19" fmla="*/ 12 h 17"/>
                  <a:gd name="T20" fmla="*/ 44 w 50"/>
                  <a:gd name="T21" fmla="*/ 16 h 17"/>
                  <a:gd name="T22" fmla="*/ 37 w 50"/>
                  <a:gd name="T23" fmla="*/ 17 h 17"/>
                  <a:gd name="T24" fmla="*/ 19 w 50"/>
                  <a:gd name="T25" fmla="*/ 12 h 17"/>
                  <a:gd name="T26" fmla="*/ 14 w 50"/>
                  <a:gd name="T27" fmla="*/ 14 h 17"/>
                  <a:gd name="T28" fmla="*/ 9 w 50"/>
                  <a:gd name="T29" fmla="*/ 12 h 17"/>
                  <a:gd name="T30" fmla="*/ 0 w 50"/>
                  <a:gd name="T31"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 h="17">
                    <a:moveTo>
                      <a:pt x="0" y="10"/>
                    </a:moveTo>
                    <a:lnTo>
                      <a:pt x="0" y="8"/>
                    </a:lnTo>
                    <a:lnTo>
                      <a:pt x="5" y="5"/>
                    </a:lnTo>
                    <a:lnTo>
                      <a:pt x="9" y="1"/>
                    </a:lnTo>
                    <a:lnTo>
                      <a:pt x="28" y="0"/>
                    </a:lnTo>
                    <a:lnTo>
                      <a:pt x="35" y="1"/>
                    </a:lnTo>
                    <a:lnTo>
                      <a:pt x="39" y="3"/>
                    </a:lnTo>
                    <a:lnTo>
                      <a:pt x="41" y="7"/>
                    </a:lnTo>
                    <a:lnTo>
                      <a:pt x="48" y="10"/>
                    </a:lnTo>
                    <a:lnTo>
                      <a:pt x="50" y="12"/>
                    </a:lnTo>
                    <a:lnTo>
                      <a:pt x="44" y="16"/>
                    </a:lnTo>
                    <a:lnTo>
                      <a:pt x="37" y="17"/>
                    </a:lnTo>
                    <a:lnTo>
                      <a:pt x="19" y="12"/>
                    </a:lnTo>
                    <a:lnTo>
                      <a:pt x="14" y="14"/>
                    </a:lnTo>
                    <a:lnTo>
                      <a:pt x="9" y="12"/>
                    </a:lnTo>
                    <a:lnTo>
                      <a:pt x="0" y="1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41" name="Freeform 1990"/>
              <p:cNvSpPr>
                <a:spLocks/>
              </p:cNvSpPr>
              <p:nvPr/>
            </p:nvSpPr>
            <p:spPr bwMode="auto">
              <a:xfrm>
                <a:off x="1993" y="1513"/>
                <a:ext cx="5" cy="5"/>
              </a:xfrm>
              <a:custGeom>
                <a:avLst/>
                <a:gdLst>
                  <a:gd name="T0" fmla="*/ 0 w 5"/>
                  <a:gd name="T1" fmla="*/ 0 h 5"/>
                  <a:gd name="T2" fmla="*/ 0 w 5"/>
                  <a:gd name="T3" fmla="*/ 5 h 5"/>
                  <a:gd name="T4" fmla="*/ 0 w 5"/>
                  <a:gd name="T5" fmla="*/ 0 h 5"/>
                  <a:gd name="T6" fmla="*/ 0 w 5"/>
                  <a:gd name="T7" fmla="*/ 3 h 5"/>
                  <a:gd name="T8" fmla="*/ 0 w 5"/>
                  <a:gd name="T9" fmla="*/ 3 h 5"/>
                  <a:gd name="T10" fmla="*/ 3 w 5"/>
                  <a:gd name="T11" fmla="*/ 3 h 5"/>
                  <a:gd name="T12" fmla="*/ 5 w 5"/>
                  <a:gd name="T13" fmla="*/ 2 h 5"/>
                  <a:gd name="T14" fmla="*/ 5 w 5"/>
                  <a:gd name="T15" fmla="*/ 2 h 5"/>
                  <a:gd name="T16" fmla="*/ 1 w 5"/>
                  <a:gd name="T17" fmla="*/ 0 h 5"/>
                  <a:gd name="T18" fmla="*/ 0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0"/>
                    </a:moveTo>
                    <a:lnTo>
                      <a:pt x="0" y="5"/>
                    </a:lnTo>
                    <a:lnTo>
                      <a:pt x="0" y="0"/>
                    </a:lnTo>
                    <a:lnTo>
                      <a:pt x="0" y="3"/>
                    </a:lnTo>
                    <a:lnTo>
                      <a:pt x="0" y="3"/>
                    </a:lnTo>
                    <a:lnTo>
                      <a:pt x="3" y="3"/>
                    </a:lnTo>
                    <a:lnTo>
                      <a:pt x="5" y="2"/>
                    </a:lnTo>
                    <a:lnTo>
                      <a:pt x="5" y="2"/>
                    </a:lnTo>
                    <a:lnTo>
                      <a:pt x="1"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42" name="Freeform 1991"/>
              <p:cNvSpPr>
                <a:spLocks/>
              </p:cNvSpPr>
              <p:nvPr/>
            </p:nvSpPr>
            <p:spPr bwMode="auto">
              <a:xfrm>
                <a:off x="1993" y="1513"/>
                <a:ext cx="5" cy="5"/>
              </a:xfrm>
              <a:custGeom>
                <a:avLst/>
                <a:gdLst>
                  <a:gd name="T0" fmla="*/ 0 w 5"/>
                  <a:gd name="T1" fmla="*/ 0 h 5"/>
                  <a:gd name="T2" fmla="*/ 0 w 5"/>
                  <a:gd name="T3" fmla="*/ 5 h 5"/>
                  <a:gd name="T4" fmla="*/ 0 w 5"/>
                  <a:gd name="T5" fmla="*/ 0 h 5"/>
                  <a:gd name="T6" fmla="*/ 0 w 5"/>
                  <a:gd name="T7" fmla="*/ 3 h 5"/>
                  <a:gd name="T8" fmla="*/ 0 w 5"/>
                  <a:gd name="T9" fmla="*/ 3 h 5"/>
                  <a:gd name="T10" fmla="*/ 3 w 5"/>
                  <a:gd name="T11" fmla="*/ 3 h 5"/>
                  <a:gd name="T12" fmla="*/ 5 w 5"/>
                  <a:gd name="T13" fmla="*/ 2 h 5"/>
                  <a:gd name="T14" fmla="*/ 5 w 5"/>
                  <a:gd name="T15" fmla="*/ 2 h 5"/>
                  <a:gd name="T16" fmla="*/ 1 w 5"/>
                  <a:gd name="T17" fmla="*/ 0 h 5"/>
                  <a:gd name="T18" fmla="*/ 0 w 5"/>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0" y="0"/>
                    </a:moveTo>
                    <a:lnTo>
                      <a:pt x="0" y="5"/>
                    </a:lnTo>
                    <a:lnTo>
                      <a:pt x="0" y="0"/>
                    </a:lnTo>
                    <a:lnTo>
                      <a:pt x="0" y="3"/>
                    </a:lnTo>
                    <a:lnTo>
                      <a:pt x="0" y="3"/>
                    </a:lnTo>
                    <a:lnTo>
                      <a:pt x="3" y="3"/>
                    </a:lnTo>
                    <a:lnTo>
                      <a:pt x="5" y="2"/>
                    </a:lnTo>
                    <a:lnTo>
                      <a:pt x="5" y="2"/>
                    </a:lnTo>
                    <a:lnTo>
                      <a:pt x="1"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43" name="Freeform 1992"/>
              <p:cNvSpPr>
                <a:spLocks/>
              </p:cNvSpPr>
              <p:nvPr/>
            </p:nvSpPr>
            <p:spPr bwMode="auto">
              <a:xfrm>
                <a:off x="1993" y="1507"/>
                <a:ext cx="14" cy="4"/>
              </a:xfrm>
              <a:custGeom>
                <a:avLst/>
                <a:gdLst>
                  <a:gd name="T0" fmla="*/ 14 w 14"/>
                  <a:gd name="T1" fmla="*/ 2 h 4"/>
                  <a:gd name="T2" fmla="*/ 12 w 14"/>
                  <a:gd name="T3" fmla="*/ 2 h 4"/>
                  <a:gd name="T4" fmla="*/ 1 w 14"/>
                  <a:gd name="T5" fmla="*/ 0 h 4"/>
                  <a:gd name="T6" fmla="*/ 0 w 14"/>
                  <a:gd name="T7" fmla="*/ 0 h 4"/>
                  <a:gd name="T8" fmla="*/ 1 w 14"/>
                  <a:gd name="T9" fmla="*/ 2 h 4"/>
                  <a:gd name="T10" fmla="*/ 1 w 14"/>
                  <a:gd name="T11" fmla="*/ 4 h 4"/>
                  <a:gd name="T12" fmla="*/ 7 w 14"/>
                  <a:gd name="T13" fmla="*/ 4 h 4"/>
                  <a:gd name="T14" fmla="*/ 7 w 14"/>
                  <a:gd name="T15" fmla="*/ 4 h 4"/>
                  <a:gd name="T16" fmla="*/ 9 w 14"/>
                  <a:gd name="T17" fmla="*/ 2 h 4"/>
                  <a:gd name="T18" fmla="*/ 12 w 14"/>
                  <a:gd name="T19" fmla="*/ 2 h 4"/>
                  <a:gd name="T20" fmla="*/ 14 w 14"/>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4">
                    <a:moveTo>
                      <a:pt x="14" y="2"/>
                    </a:moveTo>
                    <a:lnTo>
                      <a:pt x="12" y="2"/>
                    </a:lnTo>
                    <a:lnTo>
                      <a:pt x="1" y="0"/>
                    </a:lnTo>
                    <a:lnTo>
                      <a:pt x="0" y="0"/>
                    </a:lnTo>
                    <a:lnTo>
                      <a:pt x="1" y="2"/>
                    </a:lnTo>
                    <a:lnTo>
                      <a:pt x="1" y="4"/>
                    </a:lnTo>
                    <a:lnTo>
                      <a:pt x="7" y="4"/>
                    </a:lnTo>
                    <a:lnTo>
                      <a:pt x="7" y="4"/>
                    </a:lnTo>
                    <a:lnTo>
                      <a:pt x="9" y="2"/>
                    </a:lnTo>
                    <a:lnTo>
                      <a:pt x="12" y="2"/>
                    </a:lnTo>
                    <a:lnTo>
                      <a:pt x="1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44" name="Freeform 1993"/>
              <p:cNvSpPr>
                <a:spLocks/>
              </p:cNvSpPr>
              <p:nvPr/>
            </p:nvSpPr>
            <p:spPr bwMode="auto">
              <a:xfrm>
                <a:off x="1993" y="1507"/>
                <a:ext cx="14" cy="4"/>
              </a:xfrm>
              <a:custGeom>
                <a:avLst/>
                <a:gdLst>
                  <a:gd name="T0" fmla="*/ 14 w 14"/>
                  <a:gd name="T1" fmla="*/ 2 h 4"/>
                  <a:gd name="T2" fmla="*/ 12 w 14"/>
                  <a:gd name="T3" fmla="*/ 2 h 4"/>
                  <a:gd name="T4" fmla="*/ 1 w 14"/>
                  <a:gd name="T5" fmla="*/ 0 h 4"/>
                  <a:gd name="T6" fmla="*/ 0 w 14"/>
                  <a:gd name="T7" fmla="*/ 0 h 4"/>
                  <a:gd name="T8" fmla="*/ 1 w 14"/>
                  <a:gd name="T9" fmla="*/ 2 h 4"/>
                  <a:gd name="T10" fmla="*/ 1 w 14"/>
                  <a:gd name="T11" fmla="*/ 4 h 4"/>
                  <a:gd name="T12" fmla="*/ 7 w 14"/>
                  <a:gd name="T13" fmla="*/ 4 h 4"/>
                  <a:gd name="T14" fmla="*/ 7 w 14"/>
                  <a:gd name="T15" fmla="*/ 4 h 4"/>
                  <a:gd name="T16" fmla="*/ 9 w 14"/>
                  <a:gd name="T17" fmla="*/ 2 h 4"/>
                  <a:gd name="T18" fmla="*/ 12 w 14"/>
                  <a:gd name="T19" fmla="*/ 2 h 4"/>
                  <a:gd name="T20" fmla="*/ 14 w 14"/>
                  <a:gd name="T21"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4">
                    <a:moveTo>
                      <a:pt x="14" y="2"/>
                    </a:moveTo>
                    <a:lnTo>
                      <a:pt x="12" y="2"/>
                    </a:lnTo>
                    <a:lnTo>
                      <a:pt x="1" y="0"/>
                    </a:lnTo>
                    <a:lnTo>
                      <a:pt x="0" y="0"/>
                    </a:lnTo>
                    <a:lnTo>
                      <a:pt x="1" y="2"/>
                    </a:lnTo>
                    <a:lnTo>
                      <a:pt x="1" y="4"/>
                    </a:lnTo>
                    <a:lnTo>
                      <a:pt x="7" y="4"/>
                    </a:lnTo>
                    <a:lnTo>
                      <a:pt x="7" y="4"/>
                    </a:lnTo>
                    <a:lnTo>
                      <a:pt x="9" y="2"/>
                    </a:lnTo>
                    <a:lnTo>
                      <a:pt x="12" y="2"/>
                    </a:lnTo>
                    <a:lnTo>
                      <a:pt x="1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45" name="Freeform 1994"/>
              <p:cNvSpPr>
                <a:spLocks/>
              </p:cNvSpPr>
              <p:nvPr/>
            </p:nvSpPr>
            <p:spPr bwMode="auto">
              <a:xfrm>
                <a:off x="2957" y="1591"/>
                <a:ext cx="10" cy="33"/>
              </a:xfrm>
              <a:custGeom>
                <a:avLst/>
                <a:gdLst>
                  <a:gd name="T0" fmla="*/ 0 w 10"/>
                  <a:gd name="T1" fmla="*/ 33 h 33"/>
                  <a:gd name="T2" fmla="*/ 2 w 10"/>
                  <a:gd name="T3" fmla="*/ 29 h 33"/>
                  <a:gd name="T4" fmla="*/ 9 w 10"/>
                  <a:gd name="T5" fmla="*/ 2 h 33"/>
                  <a:gd name="T6" fmla="*/ 10 w 10"/>
                  <a:gd name="T7" fmla="*/ 2 h 33"/>
                  <a:gd name="T8" fmla="*/ 10 w 10"/>
                  <a:gd name="T9" fmla="*/ 0 h 33"/>
                  <a:gd name="T10" fmla="*/ 9 w 10"/>
                  <a:gd name="T11" fmla="*/ 2 h 33"/>
                  <a:gd name="T12" fmla="*/ 0 w 10"/>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0" h="33">
                    <a:moveTo>
                      <a:pt x="0" y="33"/>
                    </a:moveTo>
                    <a:lnTo>
                      <a:pt x="2" y="29"/>
                    </a:lnTo>
                    <a:lnTo>
                      <a:pt x="9" y="2"/>
                    </a:lnTo>
                    <a:lnTo>
                      <a:pt x="10" y="2"/>
                    </a:lnTo>
                    <a:lnTo>
                      <a:pt x="10" y="0"/>
                    </a:lnTo>
                    <a:lnTo>
                      <a:pt x="9" y="2"/>
                    </a:lnTo>
                    <a:lnTo>
                      <a:pt x="0" y="3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46" name="Freeform 1995"/>
              <p:cNvSpPr>
                <a:spLocks/>
              </p:cNvSpPr>
              <p:nvPr/>
            </p:nvSpPr>
            <p:spPr bwMode="auto">
              <a:xfrm>
                <a:off x="2957" y="1591"/>
                <a:ext cx="10" cy="33"/>
              </a:xfrm>
              <a:custGeom>
                <a:avLst/>
                <a:gdLst>
                  <a:gd name="T0" fmla="*/ 0 w 10"/>
                  <a:gd name="T1" fmla="*/ 33 h 33"/>
                  <a:gd name="T2" fmla="*/ 2 w 10"/>
                  <a:gd name="T3" fmla="*/ 29 h 33"/>
                  <a:gd name="T4" fmla="*/ 9 w 10"/>
                  <a:gd name="T5" fmla="*/ 2 h 33"/>
                  <a:gd name="T6" fmla="*/ 10 w 10"/>
                  <a:gd name="T7" fmla="*/ 2 h 33"/>
                  <a:gd name="T8" fmla="*/ 10 w 10"/>
                  <a:gd name="T9" fmla="*/ 0 h 33"/>
                  <a:gd name="T10" fmla="*/ 9 w 10"/>
                  <a:gd name="T11" fmla="*/ 2 h 33"/>
                  <a:gd name="T12" fmla="*/ 0 w 10"/>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10" h="33">
                    <a:moveTo>
                      <a:pt x="0" y="33"/>
                    </a:moveTo>
                    <a:lnTo>
                      <a:pt x="2" y="29"/>
                    </a:lnTo>
                    <a:lnTo>
                      <a:pt x="9" y="2"/>
                    </a:lnTo>
                    <a:lnTo>
                      <a:pt x="10" y="2"/>
                    </a:lnTo>
                    <a:lnTo>
                      <a:pt x="10" y="0"/>
                    </a:lnTo>
                    <a:lnTo>
                      <a:pt x="9" y="2"/>
                    </a:lnTo>
                    <a:lnTo>
                      <a:pt x="0" y="3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47" name="Freeform 1996"/>
              <p:cNvSpPr>
                <a:spLocks/>
              </p:cNvSpPr>
              <p:nvPr/>
            </p:nvSpPr>
            <p:spPr bwMode="auto">
              <a:xfrm>
                <a:off x="2984" y="1575"/>
                <a:ext cx="14" cy="29"/>
              </a:xfrm>
              <a:custGeom>
                <a:avLst/>
                <a:gdLst>
                  <a:gd name="T0" fmla="*/ 1 w 14"/>
                  <a:gd name="T1" fmla="*/ 29 h 29"/>
                  <a:gd name="T2" fmla="*/ 3 w 14"/>
                  <a:gd name="T3" fmla="*/ 27 h 29"/>
                  <a:gd name="T4" fmla="*/ 5 w 14"/>
                  <a:gd name="T5" fmla="*/ 24 h 29"/>
                  <a:gd name="T6" fmla="*/ 10 w 14"/>
                  <a:gd name="T7" fmla="*/ 18 h 29"/>
                  <a:gd name="T8" fmla="*/ 10 w 14"/>
                  <a:gd name="T9" fmla="*/ 18 h 29"/>
                  <a:gd name="T10" fmla="*/ 12 w 14"/>
                  <a:gd name="T11" fmla="*/ 15 h 29"/>
                  <a:gd name="T12" fmla="*/ 12 w 14"/>
                  <a:gd name="T13" fmla="*/ 6 h 29"/>
                  <a:gd name="T14" fmla="*/ 12 w 14"/>
                  <a:gd name="T15" fmla="*/ 4 h 29"/>
                  <a:gd name="T16" fmla="*/ 14 w 14"/>
                  <a:gd name="T17" fmla="*/ 4 h 29"/>
                  <a:gd name="T18" fmla="*/ 14 w 14"/>
                  <a:gd name="T19" fmla="*/ 0 h 29"/>
                  <a:gd name="T20" fmla="*/ 12 w 14"/>
                  <a:gd name="T21" fmla="*/ 0 h 29"/>
                  <a:gd name="T22" fmla="*/ 10 w 14"/>
                  <a:gd name="T23" fmla="*/ 2 h 29"/>
                  <a:gd name="T24" fmla="*/ 8 w 14"/>
                  <a:gd name="T25" fmla="*/ 0 h 29"/>
                  <a:gd name="T26" fmla="*/ 1 w 14"/>
                  <a:gd name="T27" fmla="*/ 11 h 29"/>
                  <a:gd name="T28" fmla="*/ 0 w 14"/>
                  <a:gd name="T29" fmla="*/ 20 h 29"/>
                  <a:gd name="T30" fmla="*/ 1 w 14"/>
                  <a:gd name="T31" fmla="*/ 22 h 29"/>
                  <a:gd name="T32" fmla="*/ 1 w 14"/>
                  <a:gd name="T33" fmla="*/ 24 h 29"/>
                  <a:gd name="T34" fmla="*/ 3 w 14"/>
                  <a:gd name="T35" fmla="*/ 24 h 29"/>
                  <a:gd name="T36" fmla="*/ 1 w 14"/>
                  <a:gd name="T37" fmla="*/ 25 h 29"/>
                  <a:gd name="T38" fmla="*/ 1 w 14"/>
                  <a:gd name="T3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9">
                    <a:moveTo>
                      <a:pt x="1" y="29"/>
                    </a:moveTo>
                    <a:lnTo>
                      <a:pt x="3" y="27"/>
                    </a:lnTo>
                    <a:lnTo>
                      <a:pt x="5" y="24"/>
                    </a:lnTo>
                    <a:lnTo>
                      <a:pt x="10" y="18"/>
                    </a:lnTo>
                    <a:lnTo>
                      <a:pt x="10" y="18"/>
                    </a:lnTo>
                    <a:lnTo>
                      <a:pt x="12" y="15"/>
                    </a:lnTo>
                    <a:lnTo>
                      <a:pt x="12" y="6"/>
                    </a:lnTo>
                    <a:lnTo>
                      <a:pt x="12" y="4"/>
                    </a:lnTo>
                    <a:lnTo>
                      <a:pt x="14" y="4"/>
                    </a:lnTo>
                    <a:lnTo>
                      <a:pt x="14" y="0"/>
                    </a:lnTo>
                    <a:lnTo>
                      <a:pt x="12" y="0"/>
                    </a:lnTo>
                    <a:lnTo>
                      <a:pt x="10" y="2"/>
                    </a:lnTo>
                    <a:lnTo>
                      <a:pt x="8" y="0"/>
                    </a:lnTo>
                    <a:lnTo>
                      <a:pt x="1" y="11"/>
                    </a:lnTo>
                    <a:lnTo>
                      <a:pt x="0" y="20"/>
                    </a:lnTo>
                    <a:lnTo>
                      <a:pt x="1" y="22"/>
                    </a:lnTo>
                    <a:lnTo>
                      <a:pt x="1" y="24"/>
                    </a:lnTo>
                    <a:lnTo>
                      <a:pt x="3" y="24"/>
                    </a:lnTo>
                    <a:lnTo>
                      <a:pt x="1" y="25"/>
                    </a:lnTo>
                    <a:lnTo>
                      <a:pt x="1" y="2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48" name="Freeform 1997"/>
              <p:cNvSpPr>
                <a:spLocks/>
              </p:cNvSpPr>
              <p:nvPr/>
            </p:nvSpPr>
            <p:spPr bwMode="auto">
              <a:xfrm>
                <a:off x="2984" y="1575"/>
                <a:ext cx="14" cy="29"/>
              </a:xfrm>
              <a:custGeom>
                <a:avLst/>
                <a:gdLst>
                  <a:gd name="T0" fmla="*/ 1 w 14"/>
                  <a:gd name="T1" fmla="*/ 29 h 29"/>
                  <a:gd name="T2" fmla="*/ 3 w 14"/>
                  <a:gd name="T3" fmla="*/ 27 h 29"/>
                  <a:gd name="T4" fmla="*/ 5 w 14"/>
                  <a:gd name="T5" fmla="*/ 24 h 29"/>
                  <a:gd name="T6" fmla="*/ 10 w 14"/>
                  <a:gd name="T7" fmla="*/ 18 h 29"/>
                  <a:gd name="T8" fmla="*/ 10 w 14"/>
                  <a:gd name="T9" fmla="*/ 18 h 29"/>
                  <a:gd name="T10" fmla="*/ 12 w 14"/>
                  <a:gd name="T11" fmla="*/ 15 h 29"/>
                  <a:gd name="T12" fmla="*/ 12 w 14"/>
                  <a:gd name="T13" fmla="*/ 6 h 29"/>
                  <a:gd name="T14" fmla="*/ 12 w 14"/>
                  <a:gd name="T15" fmla="*/ 4 h 29"/>
                  <a:gd name="T16" fmla="*/ 14 w 14"/>
                  <a:gd name="T17" fmla="*/ 4 h 29"/>
                  <a:gd name="T18" fmla="*/ 14 w 14"/>
                  <a:gd name="T19" fmla="*/ 0 h 29"/>
                  <a:gd name="T20" fmla="*/ 12 w 14"/>
                  <a:gd name="T21" fmla="*/ 0 h 29"/>
                  <a:gd name="T22" fmla="*/ 10 w 14"/>
                  <a:gd name="T23" fmla="*/ 2 h 29"/>
                  <a:gd name="T24" fmla="*/ 8 w 14"/>
                  <a:gd name="T25" fmla="*/ 0 h 29"/>
                  <a:gd name="T26" fmla="*/ 1 w 14"/>
                  <a:gd name="T27" fmla="*/ 11 h 29"/>
                  <a:gd name="T28" fmla="*/ 0 w 14"/>
                  <a:gd name="T29" fmla="*/ 20 h 29"/>
                  <a:gd name="T30" fmla="*/ 1 w 14"/>
                  <a:gd name="T31" fmla="*/ 22 h 29"/>
                  <a:gd name="T32" fmla="*/ 1 w 14"/>
                  <a:gd name="T33" fmla="*/ 24 h 29"/>
                  <a:gd name="T34" fmla="*/ 3 w 14"/>
                  <a:gd name="T35" fmla="*/ 24 h 29"/>
                  <a:gd name="T36" fmla="*/ 1 w 14"/>
                  <a:gd name="T37" fmla="*/ 25 h 29"/>
                  <a:gd name="T38" fmla="*/ 1 w 14"/>
                  <a:gd name="T3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9">
                    <a:moveTo>
                      <a:pt x="1" y="29"/>
                    </a:moveTo>
                    <a:lnTo>
                      <a:pt x="3" y="27"/>
                    </a:lnTo>
                    <a:lnTo>
                      <a:pt x="5" y="24"/>
                    </a:lnTo>
                    <a:lnTo>
                      <a:pt x="10" y="18"/>
                    </a:lnTo>
                    <a:lnTo>
                      <a:pt x="10" y="18"/>
                    </a:lnTo>
                    <a:lnTo>
                      <a:pt x="12" y="15"/>
                    </a:lnTo>
                    <a:lnTo>
                      <a:pt x="12" y="6"/>
                    </a:lnTo>
                    <a:lnTo>
                      <a:pt x="12" y="4"/>
                    </a:lnTo>
                    <a:lnTo>
                      <a:pt x="14" y="4"/>
                    </a:lnTo>
                    <a:lnTo>
                      <a:pt x="14" y="0"/>
                    </a:lnTo>
                    <a:lnTo>
                      <a:pt x="12" y="0"/>
                    </a:lnTo>
                    <a:lnTo>
                      <a:pt x="10" y="2"/>
                    </a:lnTo>
                    <a:lnTo>
                      <a:pt x="8" y="0"/>
                    </a:lnTo>
                    <a:lnTo>
                      <a:pt x="1" y="11"/>
                    </a:lnTo>
                    <a:lnTo>
                      <a:pt x="0" y="20"/>
                    </a:lnTo>
                    <a:lnTo>
                      <a:pt x="1" y="22"/>
                    </a:lnTo>
                    <a:lnTo>
                      <a:pt x="1" y="24"/>
                    </a:lnTo>
                    <a:lnTo>
                      <a:pt x="3" y="24"/>
                    </a:lnTo>
                    <a:lnTo>
                      <a:pt x="1" y="25"/>
                    </a:lnTo>
                    <a:lnTo>
                      <a:pt x="1" y="2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49" name="Freeform 1998"/>
              <p:cNvSpPr>
                <a:spLocks/>
              </p:cNvSpPr>
              <p:nvPr/>
            </p:nvSpPr>
            <p:spPr bwMode="auto">
              <a:xfrm>
                <a:off x="2773" y="1707"/>
                <a:ext cx="5" cy="9"/>
              </a:xfrm>
              <a:custGeom>
                <a:avLst/>
                <a:gdLst>
                  <a:gd name="T0" fmla="*/ 3 w 5"/>
                  <a:gd name="T1" fmla="*/ 2 h 9"/>
                  <a:gd name="T2" fmla="*/ 5 w 5"/>
                  <a:gd name="T3" fmla="*/ 0 h 9"/>
                  <a:gd name="T4" fmla="*/ 5 w 5"/>
                  <a:gd name="T5" fmla="*/ 0 h 9"/>
                  <a:gd name="T6" fmla="*/ 0 w 5"/>
                  <a:gd name="T7" fmla="*/ 9 h 9"/>
                  <a:gd name="T8" fmla="*/ 2 w 5"/>
                  <a:gd name="T9" fmla="*/ 8 h 9"/>
                  <a:gd name="T10" fmla="*/ 3 w 5"/>
                  <a:gd name="T11" fmla="*/ 4 h 9"/>
                  <a:gd name="T12" fmla="*/ 3 w 5"/>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5" h="9">
                    <a:moveTo>
                      <a:pt x="3" y="2"/>
                    </a:moveTo>
                    <a:lnTo>
                      <a:pt x="5" y="0"/>
                    </a:lnTo>
                    <a:lnTo>
                      <a:pt x="5" y="0"/>
                    </a:lnTo>
                    <a:lnTo>
                      <a:pt x="0" y="9"/>
                    </a:lnTo>
                    <a:lnTo>
                      <a:pt x="2" y="8"/>
                    </a:lnTo>
                    <a:lnTo>
                      <a:pt x="3" y="4"/>
                    </a:lnTo>
                    <a:lnTo>
                      <a:pt x="3"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50" name="Freeform 1999"/>
              <p:cNvSpPr>
                <a:spLocks/>
              </p:cNvSpPr>
              <p:nvPr/>
            </p:nvSpPr>
            <p:spPr bwMode="auto">
              <a:xfrm>
                <a:off x="2773" y="1707"/>
                <a:ext cx="5" cy="9"/>
              </a:xfrm>
              <a:custGeom>
                <a:avLst/>
                <a:gdLst>
                  <a:gd name="T0" fmla="*/ 3 w 5"/>
                  <a:gd name="T1" fmla="*/ 2 h 9"/>
                  <a:gd name="T2" fmla="*/ 5 w 5"/>
                  <a:gd name="T3" fmla="*/ 0 h 9"/>
                  <a:gd name="T4" fmla="*/ 5 w 5"/>
                  <a:gd name="T5" fmla="*/ 0 h 9"/>
                  <a:gd name="T6" fmla="*/ 0 w 5"/>
                  <a:gd name="T7" fmla="*/ 9 h 9"/>
                  <a:gd name="T8" fmla="*/ 2 w 5"/>
                  <a:gd name="T9" fmla="*/ 8 h 9"/>
                  <a:gd name="T10" fmla="*/ 3 w 5"/>
                  <a:gd name="T11" fmla="*/ 4 h 9"/>
                  <a:gd name="T12" fmla="*/ 3 w 5"/>
                  <a:gd name="T13" fmla="*/ 2 h 9"/>
                </a:gdLst>
                <a:ahLst/>
                <a:cxnLst>
                  <a:cxn ang="0">
                    <a:pos x="T0" y="T1"/>
                  </a:cxn>
                  <a:cxn ang="0">
                    <a:pos x="T2" y="T3"/>
                  </a:cxn>
                  <a:cxn ang="0">
                    <a:pos x="T4" y="T5"/>
                  </a:cxn>
                  <a:cxn ang="0">
                    <a:pos x="T6" y="T7"/>
                  </a:cxn>
                  <a:cxn ang="0">
                    <a:pos x="T8" y="T9"/>
                  </a:cxn>
                  <a:cxn ang="0">
                    <a:pos x="T10" y="T11"/>
                  </a:cxn>
                  <a:cxn ang="0">
                    <a:pos x="T12" y="T13"/>
                  </a:cxn>
                </a:cxnLst>
                <a:rect l="0" t="0" r="r" b="b"/>
                <a:pathLst>
                  <a:path w="5" h="9">
                    <a:moveTo>
                      <a:pt x="3" y="2"/>
                    </a:moveTo>
                    <a:lnTo>
                      <a:pt x="5" y="0"/>
                    </a:lnTo>
                    <a:lnTo>
                      <a:pt x="5" y="0"/>
                    </a:lnTo>
                    <a:lnTo>
                      <a:pt x="0" y="9"/>
                    </a:lnTo>
                    <a:lnTo>
                      <a:pt x="2" y="8"/>
                    </a:lnTo>
                    <a:lnTo>
                      <a:pt x="3" y="4"/>
                    </a:lnTo>
                    <a:lnTo>
                      <a:pt x="3"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51" name="Freeform 2000"/>
              <p:cNvSpPr>
                <a:spLocks/>
              </p:cNvSpPr>
              <p:nvPr/>
            </p:nvSpPr>
            <p:spPr bwMode="auto">
              <a:xfrm>
                <a:off x="2760" y="1745"/>
                <a:ext cx="6" cy="4"/>
              </a:xfrm>
              <a:custGeom>
                <a:avLst/>
                <a:gdLst>
                  <a:gd name="T0" fmla="*/ 2 w 6"/>
                  <a:gd name="T1" fmla="*/ 2 h 4"/>
                  <a:gd name="T2" fmla="*/ 0 w 6"/>
                  <a:gd name="T3" fmla="*/ 0 h 4"/>
                  <a:gd name="T4" fmla="*/ 2 w 6"/>
                  <a:gd name="T5" fmla="*/ 0 h 4"/>
                  <a:gd name="T6" fmla="*/ 6 w 6"/>
                  <a:gd name="T7" fmla="*/ 4 h 4"/>
                  <a:gd name="T8" fmla="*/ 6 w 6"/>
                  <a:gd name="T9" fmla="*/ 4 h 4"/>
                  <a:gd name="T10" fmla="*/ 2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2" y="2"/>
                    </a:moveTo>
                    <a:lnTo>
                      <a:pt x="0" y="0"/>
                    </a:lnTo>
                    <a:lnTo>
                      <a:pt x="2" y="0"/>
                    </a:lnTo>
                    <a:lnTo>
                      <a:pt x="6" y="4"/>
                    </a:lnTo>
                    <a:lnTo>
                      <a:pt x="6" y="4"/>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52" name="Freeform 2001"/>
              <p:cNvSpPr>
                <a:spLocks/>
              </p:cNvSpPr>
              <p:nvPr/>
            </p:nvSpPr>
            <p:spPr bwMode="auto">
              <a:xfrm>
                <a:off x="2760" y="1745"/>
                <a:ext cx="6" cy="4"/>
              </a:xfrm>
              <a:custGeom>
                <a:avLst/>
                <a:gdLst>
                  <a:gd name="T0" fmla="*/ 2 w 6"/>
                  <a:gd name="T1" fmla="*/ 2 h 4"/>
                  <a:gd name="T2" fmla="*/ 0 w 6"/>
                  <a:gd name="T3" fmla="*/ 0 h 4"/>
                  <a:gd name="T4" fmla="*/ 2 w 6"/>
                  <a:gd name="T5" fmla="*/ 0 h 4"/>
                  <a:gd name="T6" fmla="*/ 6 w 6"/>
                  <a:gd name="T7" fmla="*/ 4 h 4"/>
                  <a:gd name="T8" fmla="*/ 6 w 6"/>
                  <a:gd name="T9" fmla="*/ 4 h 4"/>
                  <a:gd name="T10" fmla="*/ 2 w 6"/>
                  <a:gd name="T11" fmla="*/ 2 h 4"/>
                </a:gdLst>
                <a:ahLst/>
                <a:cxnLst>
                  <a:cxn ang="0">
                    <a:pos x="T0" y="T1"/>
                  </a:cxn>
                  <a:cxn ang="0">
                    <a:pos x="T2" y="T3"/>
                  </a:cxn>
                  <a:cxn ang="0">
                    <a:pos x="T4" y="T5"/>
                  </a:cxn>
                  <a:cxn ang="0">
                    <a:pos x="T6" y="T7"/>
                  </a:cxn>
                  <a:cxn ang="0">
                    <a:pos x="T8" y="T9"/>
                  </a:cxn>
                  <a:cxn ang="0">
                    <a:pos x="T10" y="T11"/>
                  </a:cxn>
                </a:cxnLst>
                <a:rect l="0" t="0" r="r" b="b"/>
                <a:pathLst>
                  <a:path w="6" h="4">
                    <a:moveTo>
                      <a:pt x="2" y="2"/>
                    </a:moveTo>
                    <a:lnTo>
                      <a:pt x="0" y="0"/>
                    </a:lnTo>
                    <a:lnTo>
                      <a:pt x="2" y="0"/>
                    </a:lnTo>
                    <a:lnTo>
                      <a:pt x="6" y="4"/>
                    </a:lnTo>
                    <a:lnTo>
                      <a:pt x="6" y="4"/>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53" name="Freeform 2002"/>
              <p:cNvSpPr>
                <a:spLocks/>
              </p:cNvSpPr>
              <p:nvPr/>
            </p:nvSpPr>
            <p:spPr bwMode="auto">
              <a:xfrm>
                <a:off x="2757" y="1747"/>
                <a:ext cx="5" cy="3"/>
              </a:xfrm>
              <a:custGeom>
                <a:avLst/>
                <a:gdLst>
                  <a:gd name="T0" fmla="*/ 0 w 5"/>
                  <a:gd name="T1" fmla="*/ 2 h 3"/>
                  <a:gd name="T2" fmla="*/ 2 w 5"/>
                  <a:gd name="T3" fmla="*/ 0 h 3"/>
                  <a:gd name="T4" fmla="*/ 5 w 5"/>
                  <a:gd name="T5" fmla="*/ 2 h 3"/>
                  <a:gd name="T6" fmla="*/ 5 w 5"/>
                  <a:gd name="T7" fmla="*/ 3 h 3"/>
                  <a:gd name="T8" fmla="*/ 0 w 5"/>
                  <a:gd name="T9" fmla="*/ 2 h 3"/>
                </a:gdLst>
                <a:ahLst/>
                <a:cxnLst>
                  <a:cxn ang="0">
                    <a:pos x="T0" y="T1"/>
                  </a:cxn>
                  <a:cxn ang="0">
                    <a:pos x="T2" y="T3"/>
                  </a:cxn>
                  <a:cxn ang="0">
                    <a:pos x="T4" y="T5"/>
                  </a:cxn>
                  <a:cxn ang="0">
                    <a:pos x="T6" y="T7"/>
                  </a:cxn>
                  <a:cxn ang="0">
                    <a:pos x="T8" y="T9"/>
                  </a:cxn>
                </a:cxnLst>
                <a:rect l="0" t="0" r="r" b="b"/>
                <a:pathLst>
                  <a:path w="5" h="3">
                    <a:moveTo>
                      <a:pt x="0" y="2"/>
                    </a:moveTo>
                    <a:lnTo>
                      <a:pt x="2" y="0"/>
                    </a:lnTo>
                    <a:lnTo>
                      <a:pt x="5" y="2"/>
                    </a:lnTo>
                    <a:lnTo>
                      <a:pt x="5" y="3"/>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54" name="Freeform 2003"/>
              <p:cNvSpPr>
                <a:spLocks/>
              </p:cNvSpPr>
              <p:nvPr/>
            </p:nvSpPr>
            <p:spPr bwMode="auto">
              <a:xfrm>
                <a:off x="2757" y="1747"/>
                <a:ext cx="5" cy="3"/>
              </a:xfrm>
              <a:custGeom>
                <a:avLst/>
                <a:gdLst>
                  <a:gd name="T0" fmla="*/ 0 w 5"/>
                  <a:gd name="T1" fmla="*/ 2 h 3"/>
                  <a:gd name="T2" fmla="*/ 2 w 5"/>
                  <a:gd name="T3" fmla="*/ 0 h 3"/>
                  <a:gd name="T4" fmla="*/ 5 w 5"/>
                  <a:gd name="T5" fmla="*/ 2 h 3"/>
                  <a:gd name="T6" fmla="*/ 5 w 5"/>
                  <a:gd name="T7" fmla="*/ 3 h 3"/>
                  <a:gd name="T8" fmla="*/ 0 w 5"/>
                  <a:gd name="T9" fmla="*/ 2 h 3"/>
                </a:gdLst>
                <a:ahLst/>
                <a:cxnLst>
                  <a:cxn ang="0">
                    <a:pos x="T0" y="T1"/>
                  </a:cxn>
                  <a:cxn ang="0">
                    <a:pos x="T2" y="T3"/>
                  </a:cxn>
                  <a:cxn ang="0">
                    <a:pos x="T4" y="T5"/>
                  </a:cxn>
                  <a:cxn ang="0">
                    <a:pos x="T6" y="T7"/>
                  </a:cxn>
                  <a:cxn ang="0">
                    <a:pos x="T8" y="T9"/>
                  </a:cxn>
                </a:cxnLst>
                <a:rect l="0" t="0" r="r" b="b"/>
                <a:pathLst>
                  <a:path w="5" h="3">
                    <a:moveTo>
                      <a:pt x="0" y="2"/>
                    </a:moveTo>
                    <a:lnTo>
                      <a:pt x="2" y="0"/>
                    </a:lnTo>
                    <a:lnTo>
                      <a:pt x="5" y="2"/>
                    </a:lnTo>
                    <a:lnTo>
                      <a:pt x="5" y="3"/>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55" name="Freeform 2004"/>
              <p:cNvSpPr>
                <a:spLocks/>
              </p:cNvSpPr>
              <p:nvPr/>
            </p:nvSpPr>
            <p:spPr bwMode="auto">
              <a:xfrm>
                <a:off x="2755" y="1752"/>
                <a:ext cx="2" cy="4"/>
              </a:xfrm>
              <a:custGeom>
                <a:avLst/>
                <a:gdLst>
                  <a:gd name="T0" fmla="*/ 0 w 2"/>
                  <a:gd name="T1" fmla="*/ 0 h 4"/>
                  <a:gd name="T2" fmla="*/ 0 w 2"/>
                  <a:gd name="T3" fmla="*/ 4 h 4"/>
                  <a:gd name="T4" fmla="*/ 0 w 2"/>
                  <a:gd name="T5" fmla="*/ 4 h 4"/>
                  <a:gd name="T6" fmla="*/ 2 w 2"/>
                  <a:gd name="T7" fmla="*/ 2 h 4"/>
                  <a:gd name="T8" fmla="*/ 2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0" y="4"/>
                    </a:lnTo>
                    <a:lnTo>
                      <a:pt x="0" y="4"/>
                    </a:lnTo>
                    <a:lnTo>
                      <a:pt x="2" y="2"/>
                    </a:lnTo>
                    <a:lnTo>
                      <a:pt x="2"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56" name="Freeform 2005"/>
              <p:cNvSpPr>
                <a:spLocks/>
              </p:cNvSpPr>
              <p:nvPr/>
            </p:nvSpPr>
            <p:spPr bwMode="auto">
              <a:xfrm>
                <a:off x="2755" y="1752"/>
                <a:ext cx="2" cy="4"/>
              </a:xfrm>
              <a:custGeom>
                <a:avLst/>
                <a:gdLst>
                  <a:gd name="T0" fmla="*/ 0 w 2"/>
                  <a:gd name="T1" fmla="*/ 0 h 4"/>
                  <a:gd name="T2" fmla="*/ 0 w 2"/>
                  <a:gd name="T3" fmla="*/ 4 h 4"/>
                  <a:gd name="T4" fmla="*/ 0 w 2"/>
                  <a:gd name="T5" fmla="*/ 4 h 4"/>
                  <a:gd name="T6" fmla="*/ 2 w 2"/>
                  <a:gd name="T7" fmla="*/ 2 h 4"/>
                  <a:gd name="T8" fmla="*/ 2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0" y="4"/>
                    </a:lnTo>
                    <a:lnTo>
                      <a:pt x="0" y="4"/>
                    </a:lnTo>
                    <a:lnTo>
                      <a:pt x="2" y="2"/>
                    </a:lnTo>
                    <a:lnTo>
                      <a:pt x="2"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57" name="Freeform 2006"/>
              <p:cNvSpPr>
                <a:spLocks/>
              </p:cNvSpPr>
              <p:nvPr/>
            </p:nvSpPr>
            <p:spPr bwMode="auto">
              <a:xfrm>
                <a:off x="2834" y="1952"/>
                <a:ext cx="16" cy="36"/>
              </a:xfrm>
              <a:custGeom>
                <a:avLst/>
                <a:gdLst>
                  <a:gd name="T0" fmla="*/ 12 w 16"/>
                  <a:gd name="T1" fmla="*/ 0 h 36"/>
                  <a:gd name="T2" fmla="*/ 14 w 16"/>
                  <a:gd name="T3" fmla="*/ 2 h 36"/>
                  <a:gd name="T4" fmla="*/ 16 w 16"/>
                  <a:gd name="T5" fmla="*/ 18 h 36"/>
                  <a:gd name="T6" fmla="*/ 10 w 16"/>
                  <a:gd name="T7" fmla="*/ 36 h 36"/>
                  <a:gd name="T8" fmla="*/ 9 w 16"/>
                  <a:gd name="T9" fmla="*/ 34 h 36"/>
                  <a:gd name="T10" fmla="*/ 7 w 16"/>
                  <a:gd name="T11" fmla="*/ 34 h 36"/>
                  <a:gd name="T12" fmla="*/ 5 w 16"/>
                  <a:gd name="T13" fmla="*/ 32 h 36"/>
                  <a:gd name="T14" fmla="*/ 3 w 16"/>
                  <a:gd name="T15" fmla="*/ 30 h 36"/>
                  <a:gd name="T16" fmla="*/ 3 w 16"/>
                  <a:gd name="T17" fmla="*/ 29 h 36"/>
                  <a:gd name="T18" fmla="*/ 1 w 16"/>
                  <a:gd name="T19" fmla="*/ 27 h 36"/>
                  <a:gd name="T20" fmla="*/ 1 w 16"/>
                  <a:gd name="T21" fmla="*/ 20 h 36"/>
                  <a:gd name="T22" fmla="*/ 0 w 16"/>
                  <a:gd name="T23" fmla="*/ 18 h 36"/>
                  <a:gd name="T24" fmla="*/ 0 w 16"/>
                  <a:gd name="T25" fmla="*/ 14 h 36"/>
                  <a:gd name="T26" fmla="*/ 1 w 16"/>
                  <a:gd name="T27" fmla="*/ 9 h 36"/>
                  <a:gd name="T28" fmla="*/ 3 w 16"/>
                  <a:gd name="T29" fmla="*/ 11 h 36"/>
                  <a:gd name="T30" fmla="*/ 5 w 16"/>
                  <a:gd name="T31" fmla="*/ 9 h 36"/>
                  <a:gd name="T32" fmla="*/ 9 w 16"/>
                  <a:gd name="T33" fmla="*/ 7 h 36"/>
                  <a:gd name="T34" fmla="*/ 10 w 16"/>
                  <a:gd name="T35" fmla="*/ 5 h 36"/>
                  <a:gd name="T36" fmla="*/ 12 w 16"/>
                  <a:gd name="T37" fmla="*/ 5 h 36"/>
                  <a:gd name="T38" fmla="*/ 12 w 16"/>
                  <a:gd name="T3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36">
                    <a:moveTo>
                      <a:pt x="12" y="0"/>
                    </a:moveTo>
                    <a:lnTo>
                      <a:pt x="14" y="2"/>
                    </a:lnTo>
                    <a:lnTo>
                      <a:pt x="16" y="18"/>
                    </a:lnTo>
                    <a:lnTo>
                      <a:pt x="10" y="36"/>
                    </a:lnTo>
                    <a:lnTo>
                      <a:pt x="9" y="34"/>
                    </a:lnTo>
                    <a:lnTo>
                      <a:pt x="7" y="34"/>
                    </a:lnTo>
                    <a:lnTo>
                      <a:pt x="5" y="32"/>
                    </a:lnTo>
                    <a:lnTo>
                      <a:pt x="3" y="30"/>
                    </a:lnTo>
                    <a:lnTo>
                      <a:pt x="3" y="29"/>
                    </a:lnTo>
                    <a:lnTo>
                      <a:pt x="1" y="27"/>
                    </a:lnTo>
                    <a:lnTo>
                      <a:pt x="1" y="20"/>
                    </a:lnTo>
                    <a:lnTo>
                      <a:pt x="0" y="18"/>
                    </a:lnTo>
                    <a:lnTo>
                      <a:pt x="0" y="14"/>
                    </a:lnTo>
                    <a:lnTo>
                      <a:pt x="1" y="9"/>
                    </a:lnTo>
                    <a:lnTo>
                      <a:pt x="3" y="11"/>
                    </a:lnTo>
                    <a:lnTo>
                      <a:pt x="5" y="9"/>
                    </a:lnTo>
                    <a:lnTo>
                      <a:pt x="9" y="7"/>
                    </a:lnTo>
                    <a:lnTo>
                      <a:pt x="10" y="5"/>
                    </a:lnTo>
                    <a:lnTo>
                      <a:pt x="12" y="5"/>
                    </a:lnTo>
                    <a:lnTo>
                      <a:pt x="1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58" name="Freeform 2007"/>
              <p:cNvSpPr>
                <a:spLocks/>
              </p:cNvSpPr>
              <p:nvPr/>
            </p:nvSpPr>
            <p:spPr bwMode="auto">
              <a:xfrm>
                <a:off x="2834" y="1952"/>
                <a:ext cx="16" cy="36"/>
              </a:xfrm>
              <a:custGeom>
                <a:avLst/>
                <a:gdLst>
                  <a:gd name="T0" fmla="*/ 12 w 16"/>
                  <a:gd name="T1" fmla="*/ 0 h 36"/>
                  <a:gd name="T2" fmla="*/ 14 w 16"/>
                  <a:gd name="T3" fmla="*/ 2 h 36"/>
                  <a:gd name="T4" fmla="*/ 16 w 16"/>
                  <a:gd name="T5" fmla="*/ 18 h 36"/>
                  <a:gd name="T6" fmla="*/ 10 w 16"/>
                  <a:gd name="T7" fmla="*/ 36 h 36"/>
                  <a:gd name="T8" fmla="*/ 9 w 16"/>
                  <a:gd name="T9" fmla="*/ 34 h 36"/>
                  <a:gd name="T10" fmla="*/ 7 w 16"/>
                  <a:gd name="T11" fmla="*/ 34 h 36"/>
                  <a:gd name="T12" fmla="*/ 5 w 16"/>
                  <a:gd name="T13" fmla="*/ 32 h 36"/>
                  <a:gd name="T14" fmla="*/ 3 w 16"/>
                  <a:gd name="T15" fmla="*/ 30 h 36"/>
                  <a:gd name="T16" fmla="*/ 3 w 16"/>
                  <a:gd name="T17" fmla="*/ 29 h 36"/>
                  <a:gd name="T18" fmla="*/ 1 w 16"/>
                  <a:gd name="T19" fmla="*/ 27 h 36"/>
                  <a:gd name="T20" fmla="*/ 1 w 16"/>
                  <a:gd name="T21" fmla="*/ 20 h 36"/>
                  <a:gd name="T22" fmla="*/ 0 w 16"/>
                  <a:gd name="T23" fmla="*/ 18 h 36"/>
                  <a:gd name="T24" fmla="*/ 0 w 16"/>
                  <a:gd name="T25" fmla="*/ 14 h 36"/>
                  <a:gd name="T26" fmla="*/ 1 w 16"/>
                  <a:gd name="T27" fmla="*/ 9 h 36"/>
                  <a:gd name="T28" fmla="*/ 3 w 16"/>
                  <a:gd name="T29" fmla="*/ 11 h 36"/>
                  <a:gd name="T30" fmla="*/ 5 w 16"/>
                  <a:gd name="T31" fmla="*/ 9 h 36"/>
                  <a:gd name="T32" fmla="*/ 9 w 16"/>
                  <a:gd name="T33" fmla="*/ 7 h 36"/>
                  <a:gd name="T34" fmla="*/ 10 w 16"/>
                  <a:gd name="T35" fmla="*/ 5 h 36"/>
                  <a:gd name="T36" fmla="*/ 12 w 16"/>
                  <a:gd name="T37" fmla="*/ 5 h 36"/>
                  <a:gd name="T38" fmla="*/ 12 w 16"/>
                  <a:gd name="T3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36">
                    <a:moveTo>
                      <a:pt x="12" y="0"/>
                    </a:moveTo>
                    <a:lnTo>
                      <a:pt x="14" y="2"/>
                    </a:lnTo>
                    <a:lnTo>
                      <a:pt x="16" y="18"/>
                    </a:lnTo>
                    <a:lnTo>
                      <a:pt x="10" y="36"/>
                    </a:lnTo>
                    <a:lnTo>
                      <a:pt x="9" y="34"/>
                    </a:lnTo>
                    <a:lnTo>
                      <a:pt x="7" y="34"/>
                    </a:lnTo>
                    <a:lnTo>
                      <a:pt x="5" y="32"/>
                    </a:lnTo>
                    <a:lnTo>
                      <a:pt x="3" y="30"/>
                    </a:lnTo>
                    <a:lnTo>
                      <a:pt x="3" y="29"/>
                    </a:lnTo>
                    <a:lnTo>
                      <a:pt x="1" y="27"/>
                    </a:lnTo>
                    <a:lnTo>
                      <a:pt x="1" y="20"/>
                    </a:lnTo>
                    <a:lnTo>
                      <a:pt x="0" y="18"/>
                    </a:lnTo>
                    <a:lnTo>
                      <a:pt x="0" y="14"/>
                    </a:lnTo>
                    <a:lnTo>
                      <a:pt x="1" y="9"/>
                    </a:lnTo>
                    <a:lnTo>
                      <a:pt x="3" y="11"/>
                    </a:lnTo>
                    <a:lnTo>
                      <a:pt x="5" y="9"/>
                    </a:lnTo>
                    <a:lnTo>
                      <a:pt x="9" y="7"/>
                    </a:lnTo>
                    <a:lnTo>
                      <a:pt x="10" y="5"/>
                    </a:lnTo>
                    <a:lnTo>
                      <a:pt x="12" y="5"/>
                    </a:lnTo>
                    <a:lnTo>
                      <a:pt x="1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59" name="Freeform 2008"/>
              <p:cNvSpPr>
                <a:spLocks/>
              </p:cNvSpPr>
              <p:nvPr/>
            </p:nvSpPr>
            <p:spPr bwMode="auto">
              <a:xfrm>
                <a:off x="3555" y="2315"/>
                <a:ext cx="3" cy="1"/>
              </a:xfrm>
              <a:custGeom>
                <a:avLst/>
                <a:gdLst>
                  <a:gd name="T0" fmla="*/ 0 w 3"/>
                  <a:gd name="T1" fmla="*/ 1 h 1"/>
                  <a:gd name="T2" fmla="*/ 2 w 3"/>
                  <a:gd name="T3" fmla="*/ 1 h 1"/>
                  <a:gd name="T4" fmla="*/ 2 w 3"/>
                  <a:gd name="T5" fmla="*/ 1 h 1"/>
                  <a:gd name="T6" fmla="*/ 3 w 3"/>
                  <a:gd name="T7" fmla="*/ 1 h 1"/>
                  <a:gd name="T8" fmla="*/ 3 w 3"/>
                  <a:gd name="T9" fmla="*/ 1 h 1"/>
                  <a:gd name="T10" fmla="*/ 3 w 3"/>
                  <a:gd name="T11" fmla="*/ 1 h 1"/>
                  <a:gd name="T12" fmla="*/ 2 w 3"/>
                  <a:gd name="T13" fmla="*/ 1 h 1"/>
                  <a:gd name="T14" fmla="*/ 2 w 3"/>
                  <a:gd name="T15" fmla="*/ 0 h 1"/>
                  <a:gd name="T16" fmla="*/ 2 w 3"/>
                  <a:gd name="T17" fmla="*/ 0 h 1"/>
                  <a:gd name="T18" fmla="*/ 0 w 3"/>
                  <a:gd name="T19" fmla="*/ 0 h 1"/>
                  <a:gd name="T20" fmla="*/ 0 w 3"/>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
                    <a:moveTo>
                      <a:pt x="0" y="1"/>
                    </a:moveTo>
                    <a:lnTo>
                      <a:pt x="2" y="1"/>
                    </a:lnTo>
                    <a:lnTo>
                      <a:pt x="2" y="1"/>
                    </a:lnTo>
                    <a:lnTo>
                      <a:pt x="3" y="1"/>
                    </a:lnTo>
                    <a:lnTo>
                      <a:pt x="3" y="1"/>
                    </a:lnTo>
                    <a:lnTo>
                      <a:pt x="3" y="1"/>
                    </a:lnTo>
                    <a:lnTo>
                      <a:pt x="2" y="1"/>
                    </a:lnTo>
                    <a:lnTo>
                      <a:pt x="2" y="0"/>
                    </a:lnTo>
                    <a:lnTo>
                      <a:pt x="2" y="0"/>
                    </a:lnTo>
                    <a:lnTo>
                      <a:pt x="0" y="0"/>
                    </a:lnTo>
                    <a:lnTo>
                      <a:pt x="0"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60" name="Freeform 2009"/>
              <p:cNvSpPr>
                <a:spLocks/>
              </p:cNvSpPr>
              <p:nvPr/>
            </p:nvSpPr>
            <p:spPr bwMode="auto">
              <a:xfrm>
                <a:off x="3555" y="2315"/>
                <a:ext cx="3" cy="1"/>
              </a:xfrm>
              <a:custGeom>
                <a:avLst/>
                <a:gdLst>
                  <a:gd name="T0" fmla="*/ 0 w 3"/>
                  <a:gd name="T1" fmla="*/ 1 h 1"/>
                  <a:gd name="T2" fmla="*/ 2 w 3"/>
                  <a:gd name="T3" fmla="*/ 1 h 1"/>
                  <a:gd name="T4" fmla="*/ 2 w 3"/>
                  <a:gd name="T5" fmla="*/ 1 h 1"/>
                  <a:gd name="T6" fmla="*/ 3 w 3"/>
                  <a:gd name="T7" fmla="*/ 1 h 1"/>
                  <a:gd name="T8" fmla="*/ 3 w 3"/>
                  <a:gd name="T9" fmla="*/ 1 h 1"/>
                  <a:gd name="T10" fmla="*/ 3 w 3"/>
                  <a:gd name="T11" fmla="*/ 1 h 1"/>
                  <a:gd name="T12" fmla="*/ 2 w 3"/>
                  <a:gd name="T13" fmla="*/ 1 h 1"/>
                  <a:gd name="T14" fmla="*/ 2 w 3"/>
                  <a:gd name="T15" fmla="*/ 0 h 1"/>
                  <a:gd name="T16" fmla="*/ 2 w 3"/>
                  <a:gd name="T17" fmla="*/ 0 h 1"/>
                  <a:gd name="T18" fmla="*/ 0 w 3"/>
                  <a:gd name="T19" fmla="*/ 0 h 1"/>
                  <a:gd name="T20" fmla="*/ 0 w 3"/>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
                    <a:moveTo>
                      <a:pt x="0" y="1"/>
                    </a:moveTo>
                    <a:lnTo>
                      <a:pt x="2" y="1"/>
                    </a:lnTo>
                    <a:lnTo>
                      <a:pt x="2" y="1"/>
                    </a:lnTo>
                    <a:lnTo>
                      <a:pt x="3" y="1"/>
                    </a:lnTo>
                    <a:lnTo>
                      <a:pt x="3" y="1"/>
                    </a:lnTo>
                    <a:lnTo>
                      <a:pt x="3" y="1"/>
                    </a:lnTo>
                    <a:lnTo>
                      <a:pt x="2" y="1"/>
                    </a:lnTo>
                    <a:lnTo>
                      <a:pt x="2" y="0"/>
                    </a:lnTo>
                    <a:lnTo>
                      <a:pt x="2" y="0"/>
                    </a:lnTo>
                    <a:lnTo>
                      <a:pt x="0" y="0"/>
                    </a:lnTo>
                    <a:lnTo>
                      <a:pt x="0"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61" name="Freeform 2010"/>
              <p:cNvSpPr>
                <a:spLocks/>
              </p:cNvSpPr>
              <p:nvPr/>
            </p:nvSpPr>
            <p:spPr bwMode="auto">
              <a:xfrm>
                <a:off x="4892" y="1654"/>
                <a:ext cx="15" cy="16"/>
              </a:xfrm>
              <a:custGeom>
                <a:avLst/>
                <a:gdLst>
                  <a:gd name="T0" fmla="*/ 2 w 15"/>
                  <a:gd name="T1" fmla="*/ 11 h 16"/>
                  <a:gd name="T2" fmla="*/ 0 w 15"/>
                  <a:gd name="T3" fmla="*/ 14 h 16"/>
                  <a:gd name="T4" fmla="*/ 2 w 15"/>
                  <a:gd name="T5" fmla="*/ 11 h 16"/>
                  <a:gd name="T6" fmla="*/ 4 w 15"/>
                  <a:gd name="T7" fmla="*/ 12 h 16"/>
                  <a:gd name="T8" fmla="*/ 6 w 15"/>
                  <a:gd name="T9" fmla="*/ 16 h 16"/>
                  <a:gd name="T10" fmla="*/ 7 w 15"/>
                  <a:gd name="T11" fmla="*/ 16 h 16"/>
                  <a:gd name="T12" fmla="*/ 11 w 15"/>
                  <a:gd name="T13" fmla="*/ 14 h 16"/>
                  <a:gd name="T14" fmla="*/ 13 w 15"/>
                  <a:gd name="T15" fmla="*/ 11 h 16"/>
                  <a:gd name="T16" fmla="*/ 13 w 15"/>
                  <a:gd name="T17" fmla="*/ 7 h 16"/>
                  <a:gd name="T18" fmla="*/ 15 w 15"/>
                  <a:gd name="T19" fmla="*/ 5 h 16"/>
                  <a:gd name="T20" fmla="*/ 11 w 15"/>
                  <a:gd name="T21" fmla="*/ 2 h 16"/>
                  <a:gd name="T22" fmla="*/ 6 w 15"/>
                  <a:gd name="T23" fmla="*/ 0 h 16"/>
                  <a:gd name="T24" fmla="*/ 4 w 15"/>
                  <a:gd name="T25" fmla="*/ 7 h 16"/>
                  <a:gd name="T26" fmla="*/ 2 w 15"/>
                  <a:gd name="T27"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6">
                    <a:moveTo>
                      <a:pt x="2" y="11"/>
                    </a:moveTo>
                    <a:lnTo>
                      <a:pt x="0" y="14"/>
                    </a:lnTo>
                    <a:lnTo>
                      <a:pt x="2" y="11"/>
                    </a:lnTo>
                    <a:lnTo>
                      <a:pt x="4" y="12"/>
                    </a:lnTo>
                    <a:lnTo>
                      <a:pt x="6" y="16"/>
                    </a:lnTo>
                    <a:lnTo>
                      <a:pt x="7" y="16"/>
                    </a:lnTo>
                    <a:lnTo>
                      <a:pt x="11" y="14"/>
                    </a:lnTo>
                    <a:lnTo>
                      <a:pt x="13" y="11"/>
                    </a:lnTo>
                    <a:lnTo>
                      <a:pt x="13" y="7"/>
                    </a:lnTo>
                    <a:lnTo>
                      <a:pt x="15" y="5"/>
                    </a:lnTo>
                    <a:lnTo>
                      <a:pt x="11" y="2"/>
                    </a:lnTo>
                    <a:lnTo>
                      <a:pt x="6" y="0"/>
                    </a:lnTo>
                    <a:lnTo>
                      <a:pt x="4" y="7"/>
                    </a:lnTo>
                    <a:lnTo>
                      <a:pt x="2"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62" name="Freeform 2011"/>
              <p:cNvSpPr>
                <a:spLocks/>
              </p:cNvSpPr>
              <p:nvPr/>
            </p:nvSpPr>
            <p:spPr bwMode="auto">
              <a:xfrm>
                <a:off x="4892" y="1654"/>
                <a:ext cx="15" cy="16"/>
              </a:xfrm>
              <a:custGeom>
                <a:avLst/>
                <a:gdLst>
                  <a:gd name="T0" fmla="*/ 2 w 15"/>
                  <a:gd name="T1" fmla="*/ 11 h 16"/>
                  <a:gd name="T2" fmla="*/ 0 w 15"/>
                  <a:gd name="T3" fmla="*/ 14 h 16"/>
                  <a:gd name="T4" fmla="*/ 2 w 15"/>
                  <a:gd name="T5" fmla="*/ 11 h 16"/>
                  <a:gd name="T6" fmla="*/ 4 w 15"/>
                  <a:gd name="T7" fmla="*/ 12 h 16"/>
                  <a:gd name="T8" fmla="*/ 6 w 15"/>
                  <a:gd name="T9" fmla="*/ 16 h 16"/>
                  <a:gd name="T10" fmla="*/ 7 w 15"/>
                  <a:gd name="T11" fmla="*/ 16 h 16"/>
                  <a:gd name="T12" fmla="*/ 11 w 15"/>
                  <a:gd name="T13" fmla="*/ 14 h 16"/>
                  <a:gd name="T14" fmla="*/ 13 w 15"/>
                  <a:gd name="T15" fmla="*/ 11 h 16"/>
                  <a:gd name="T16" fmla="*/ 13 w 15"/>
                  <a:gd name="T17" fmla="*/ 7 h 16"/>
                  <a:gd name="T18" fmla="*/ 15 w 15"/>
                  <a:gd name="T19" fmla="*/ 5 h 16"/>
                  <a:gd name="T20" fmla="*/ 11 w 15"/>
                  <a:gd name="T21" fmla="*/ 2 h 16"/>
                  <a:gd name="T22" fmla="*/ 6 w 15"/>
                  <a:gd name="T23" fmla="*/ 0 h 16"/>
                  <a:gd name="T24" fmla="*/ 4 w 15"/>
                  <a:gd name="T25" fmla="*/ 7 h 16"/>
                  <a:gd name="T26" fmla="*/ 2 w 15"/>
                  <a:gd name="T27"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6">
                    <a:moveTo>
                      <a:pt x="2" y="11"/>
                    </a:moveTo>
                    <a:lnTo>
                      <a:pt x="0" y="14"/>
                    </a:lnTo>
                    <a:lnTo>
                      <a:pt x="2" y="11"/>
                    </a:lnTo>
                    <a:lnTo>
                      <a:pt x="4" y="12"/>
                    </a:lnTo>
                    <a:lnTo>
                      <a:pt x="6" y="16"/>
                    </a:lnTo>
                    <a:lnTo>
                      <a:pt x="7" y="16"/>
                    </a:lnTo>
                    <a:lnTo>
                      <a:pt x="11" y="14"/>
                    </a:lnTo>
                    <a:lnTo>
                      <a:pt x="13" y="11"/>
                    </a:lnTo>
                    <a:lnTo>
                      <a:pt x="13" y="7"/>
                    </a:lnTo>
                    <a:lnTo>
                      <a:pt x="15" y="5"/>
                    </a:lnTo>
                    <a:lnTo>
                      <a:pt x="11" y="2"/>
                    </a:lnTo>
                    <a:lnTo>
                      <a:pt x="6" y="0"/>
                    </a:lnTo>
                    <a:lnTo>
                      <a:pt x="4" y="7"/>
                    </a:lnTo>
                    <a:lnTo>
                      <a:pt x="2"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63" name="Freeform 2012"/>
              <p:cNvSpPr>
                <a:spLocks/>
              </p:cNvSpPr>
              <p:nvPr/>
            </p:nvSpPr>
            <p:spPr bwMode="auto">
              <a:xfrm>
                <a:off x="5310" y="1536"/>
                <a:ext cx="20" cy="23"/>
              </a:xfrm>
              <a:custGeom>
                <a:avLst/>
                <a:gdLst>
                  <a:gd name="T0" fmla="*/ 16 w 20"/>
                  <a:gd name="T1" fmla="*/ 0 h 23"/>
                  <a:gd name="T2" fmla="*/ 14 w 20"/>
                  <a:gd name="T3" fmla="*/ 4 h 23"/>
                  <a:gd name="T4" fmla="*/ 5 w 20"/>
                  <a:gd name="T5" fmla="*/ 5 h 23"/>
                  <a:gd name="T6" fmla="*/ 4 w 20"/>
                  <a:gd name="T7" fmla="*/ 7 h 23"/>
                  <a:gd name="T8" fmla="*/ 7 w 20"/>
                  <a:gd name="T9" fmla="*/ 9 h 23"/>
                  <a:gd name="T10" fmla="*/ 0 w 20"/>
                  <a:gd name="T11" fmla="*/ 23 h 23"/>
                  <a:gd name="T12" fmla="*/ 11 w 20"/>
                  <a:gd name="T13" fmla="*/ 14 h 23"/>
                  <a:gd name="T14" fmla="*/ 16 w 20"/>
                  <a:gd name="T15" fmla="*/ 11 h 23"/>
                  <a:gd name="T16" fmla="*/ 20 w 20"/>
                  <a:gd name="T17" fmla="*/ 7 h 23"/>
                  <a:gd name="T18" fmla="*/ 20 w 20"/>
                  <a:gd name="T19" fmla="*/ 4 h 23"/>
                  <a:gd name="T20" fmla="*/ 18 w 20"/>
                  <a:gd name="T21" fmla="*/ 0 h 23"/>
                  <a:gd name="T22" fmla="*/ 16 w 2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3">
                    <a:moveTo>
                      <a:pt x="16" y="0"/>
                    </a:moveTo>
                    <a:lnTo>
                      <a:pt x="14" y="4"/>
                    </a:lnTo>
                    <a:lnTo>
                      <a:pt x="5" y="5"/>
                    </a:lnTo>
                    <a:lnTo>
                      <a:pt x="4" y="7"/>
                    </a:lnTo>
                    <a:lnTo>
                      <a:pt x="7" y="9"/>
                    </a:lnTo>
                    <a:lnTo>
                      <a:pt x="0" y="23"/>
                    </a:lnTo>
                    <a:lnTo>
                      <a:pt x="11" y="14"/>
                    </a:lnTo>
                    <a:lnTo>
                      <a:pt x="16" y="11"/>
                    </a:lnTo>
                    <a:lnTo>
                      <a:pt x="20" y="7"/>
                    </a:lnTo>
                    <a:lnTo>
                      <a:pt x="20" y="4"/>
                    </a:lnTo>
                    <a:lnTo>
                      <a:pt x="18" y="0"/>
                    </a:lnTo>
                    <a:lnTo>
                      <a:pt x="16"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64" name="Freeform 2013"/>
              <p:cNvSpPr>
                <a:spLocks/>
              </p:cNvSpPr>
              <p:nvPr/>
            </p:nvSpPr>
            <p:spPr bwMode="auto">
              <a:xfrm>
                <a:off x="5310" y="1536"/>
                <a:ext cx="20" cy="23"/>
              </a:xfrm>
              <a:custGeom>
                <a:avLst/>
                <a:gdLst>
                  <a:gd name="T0" fmla="*/ 16 w 20"/>
                  <a:gd name="T1" fmla="*/ 0 h 23"/>
                  <a:gd name="T2" fmla="*/ 14 w 20"/>
                  <a:gd name="T3" fmla="*/ 4 h 23"/>
                  <a:gd name="T4" fmla="*/ 5 w 20"/>
                  <a:gd name="T5" fmla="*/ 5 h 23"/>
                  <a:gd name="T6" fmla="*/ 4 w 20"/>
                  <a:gd name="T7" fmla="*/ 7 h 23"/>
                  <a:gd name="T8" fmla="*/ 7 w 20"/>
                  <a:gd name="T9" fmla="*/ 9 h 23"/>
                  <a:gd name="T10" fmla="*/ 0 w 20"/>
                  <a:gd name="T11" fmla="*/ 23 h 23"/>
                  <a:gd name="T12" fmla="*/ 11 w 20"/>
                  <a:gd name="T13" fmla="*/ 14 h 23"/>
                  <a:gd name="T14" fmla="*/ 16 w 20"/>
                  <a:gd name="T15" fmla="*/ 11 h 23"/>
                  <a:gd name="T16" fmla="*/ 20 w 20"/>
                  <a:gd name="T17" fmla="*/ 7 h 23"/>
                  <a:gd name="T18" fmla="*/ 20 w 20"/>
                  <a:gd name="T19" fmla="*/ 4 h 23"/>
                  <a:gd name="T20" fmla="*/ 18 w 20"/>
                  <a:gd name="T21" fmla="*/ 0 h 23"/>
                  <a:gd name="T22" fmla="*/ 16 w 20"/>
                  <a:gd name="T2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3">
                    <a:moveTo>
                      <a:pt x="16" y="0"/>
                    </a:moveTo>
                    <a:lnTo>
                      <a:pt x="14" y="4"/>
                    </a:lnTo>
                    <a:lnTo>
                      <a:pt x="5" y="5"/>
                    </a:lnTo>
                    <a:lnTo>
                      <a:pt x="4" y="7"/>
                    </a:lnTo>
                    <a:lnTo>
                      <a:pt x="7" y="9"/>
                    </a:lnTo>
                    <a:lnTo>
                      <a:pt x="0" y="23"/>
                    </a:lnTo>
                    <a:lnTo>
                      <a:pt x="11" y="14"/>
                    </a:lnTo>
                    <a:lnTo>
                      <a:pt x="16" y="11"/>
                    </a:lnTo>
                    <a:lnTo>
                      <a:pt x="20" y="7"/>
                    </a:lnTo>
                    <a:lnTo>
                      <a:pt x="20" y="4"/>
                    </a:lnTo>
                    <a:lnTo>
                      <a:pt x="18" y="0"/>
                    </a:lnTo>
                    <a:lnTo>
                      <a:pt x="16"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65" name="Freeform 2014"/>
              <p:cNvSpPr>
                <a:spLocks/>
              </p:cNvSpPr>
              <p:nvPr/>
            </p:nvSpPr>
            <p:spPr bwMode="auto">
              <a:xfrm>
                <a:off x="5196" y="1768"/>
                <a:ext cx="5" cy="7"/>
              </a:xfrm>
              <a:custGeom>
                <a:avLst/>
                <a:gdLst>
                  <a:gd name="T0" fmla="*/ 5 w 5"/>
                  <a:gd name="T1" fmla="*/ 2 h 7"/>
                  <a:gd name="T2" fmla="*/ 5 w 5"/>
                  <a:gd name="T3" fmla="*/ 0 h 7"/>
                  <a:gd name="T4" fmla="*/ 0 w 5"/>
                  <a:gd name="T5" fmla="*/ 6 h 7"/>
                  <a:gd name="T6" fmla="*/ 2 w 5"/>
                  <a:gd name="T7" fmla="*/ 7 h 7"/>
                  <a:gd name="T8" fmla="*/ 3 w 5"/>
                  <a:gd name="T9" fmla="*/ 7 h 7"/>
                  <a:gd name="T10" fmla="*/ 5 w 5"/>
                  <a:gd name="T11" fmla="*/ 2 h 7"/>
                </a:gdLst>
                <a:ahLst/>
                <a:cxnLst>
                  <a:cxn ang="0">
                    <a:pos x="T0" y="T1"/>
                  </a:cxn>
                  <a:cxn ang="0">
                    <a:pos x="T2" y="T3"/>
                  </a:cxn>
                  <a:cxn ang="0">
                    <a:pos x="T4" y="T5"/>
                  </a:cxn>
                  <a:cxn ang="0">
                    <a:pos x="T6" y="T7"/>
                  </a:cxn>
                  <a:cxn ang="0">
                    <a:pos x="T8" y="T9"/>
                  </a:cxn>
                  <a:cxn ang="0">
                    <a:pos x="T10" y="T11"/>
                  </a:cxn>
                </a:cxnLst>
                <a:rect l="0" t="0" r="r" b="b"/>
                <a:pathLst>
                  <a:path w="5" h="7">
                    <a:moveTo>
                      <a:pt x="5" y="2"/>
                    </a:moveTo>
                    <a:lnTo>
                      <a:pt x="5" y="0"/>
                    </a:lnTo>
                    <a:lnTo>
                      <a:pt x="0" y="6"/>
                    </a:lnTo>
                    <a:lnTo>
                      <a:pt x="2" y="7"/>
                    </a:lnTo>
                    <a:lnTo>
                      <a:pt x="3" y="7"/>
                    </a:lnTo>
                    <a:lnTo>
                      <a:pt x="5"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66" name="Freeform 2015"/>
              <p:cNvSpPr>
                <a:spLocks/>
              </p:cNvSpPr>
              <p:nvPr/>
            </p:nvSpPr>
            <p:spPr bwMode="auto">
              <a:xfrm>
                <a:off x="5196" y="1768"/>
                <a:ext cx="5" cy="7"/>
              </a:xfrm>
              <a:custGeom>
                <a:avLst/>
                <a:gdLst>
                  <a:gd name="T0" fmla="*/ 5 w 5"/>
                  <a:gd name="T1" fmla="*/ 2 h 7"/>
                  <a:gd name="T2" fmla="*/ 5 w 5"/>
                  <a:gd name="T3" fmla="*/ 0 h 7"/>
                  <a:gd name="T4" fmla="*/ 0 w 5"/>
                  <a:gd name="T5" fmla="*/ 6 h 7"/>
                  <a:gd name="T6" fmla="*/ 2 w 5"/>
                  <a:gd name="T7" fmla="*/ 7 h 7"/>
                  <a:gd name="T8" fmla="*/ 3 w 5"/>
                  <a:gd name="T9" fmla="*/ 7 h 7"/>
                  <a:gd name="T10" fmla="*/ 5 w 5"/>
                  <a:gd name="T11" fmla="*/ 2 h 7"/>
                </a:gdLst>
                <a:ahLst/>
                <a:cxnLst>
                  <a:cxn ang="0">
                    <a:pos x="T0" y="T1"/>
                  </a:cxn>
                  <a:cxn ang="0">
                    <a:pos x="T2" y="T3"/>
                  </a:cxn>
                  <a:cxn ang="0">
                    <a:pos x="T4" y="T5"/>
                  </a:cxn>
                  <a:cxn ang="0">
                    <a:pos x="T6" y="T7"/>
                  </a:cxn>
                  <a:cxn ang="0">
                    <a:pos x="T8" y="T9"/>
                  </a:cxn>
                  <a:cxn ang="0">
                    <a:pos x="T10" y="T11"/>
                  </a:cxn>
                </a:cxnLst>
                <a:rect l="0" t="0" r="r" b="b"/>
                <a:pathLst>
                  <a:path w="5" h="7">
                    <a:moveTo>
                      <a:pt x="5" y="2"/>
                    </a:moveTo>
                    <a:lnTo>
                      <a:pt x="5" y="0"/>
                    </a:lnTo>
                    <a:lnTo>
                      <a:pt x="0" y="6"/>
                    </a:lnTo>
                    <a:lnTo>
                      <a:pt x="2" y="7"/>
                    </a:lnTo>
                    <a:lnTo>
                      <a:pt x="3" y="7"/>
                    </a:lnTo>
                    <a:lnTo>
                      <a:pt x="5"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67" name="Freeform 2016"/>
              <p:cNvSpPr>
                <a:spLocks/>
              </p:cNvSpPr>
              <p:nvPr/>
            </p:nvSpPr>
            <p:spPr bwMode="auto">
              <a:xfrm>
                <a:off x="5349" y="1650"/>
                <a:ext cx="13" cy="18"/>
              </a:xfrm>
              <a:custGeom>
                <a:avLst/>
                <a:gdLst>
                  <a:gd name="T0" fmla="*/ 2 w 13"/>
                  <a:gd name="T1" fmla="*/ 0 h 18"/>
                  <a:gd name="T2" fmla="*/ 6 w 13"/>
                  <a:gd name="T3" fmla="*/ 2 h 18"/>
                  <a:gd name="T4" fmla="*/ 6 w 13"/>
                  <a:gd name="T5" fmla="*/ 2 h 18"/>
                  <a:gd name="T6" fmla="*/ 6 w 13"/>
                  <a:gd name="T7" fmla="*/ 4 h 18"/>
                  <a:gd name="T8" fmla="*/ 6 w 13"/>
                  <a:gd name="T9" fmla="*/ 6 h 18"/>
                  <a:gd name="T10" fmla="*/ 7 w 13"/>
                  <a:gd name="T11" fmla="*/ 7 h 18"/>
                  <a:gd name="T12" fmla="*/ 7 w 13"/>
                  <a:gd name="T13" fmla="*/ 9 h 18"/>
                  <a:gd name="T14" fmla="*/ 9 w 13"/>
                  <a:gd name="T15" fmla="*/ 11 h 18"/>
                  <a:gd name="T16" fmla="*/ 11 w 13"/>
                  <a:gd name="T17" fmla="*/ 13 h 18"/>
                  <a:gd name="T18" fmla="*/ 13 w 13"/>
                  <a:gd name="T19" fmla="*/ 16 h 18"/>
                  <a:gd name="T20" fmla="*/ 11 w 13"/>
                  <a:gd name="T21" fmla="*/ 18 h 18"/>
                  <a:gd name="T22" fmla="*/ 6 w 13"/>
                  <a:gd name="T23" fmla="*/ 15 h 18"/>
                  <a:gd name="T24" fmla="*/ 0 w 13"/>
                  <a:gd name="T25" fmla="*/ 2 h 18"/>
                  <a:gd name="T26" fmla="*/ 0 w 13"/>
                  <a:gd name="T27" fmla="*/ 0 h 18"/>
                  <a:gd name="T28" fmla="*/ 2 w 13"/>
                  <a:gd name="T2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8">
                    <a:moveTo>
                      <a:pt x="2" y="0"/>
                    </a:moveTo>
                    <a:lnTo>
                      <a:pt x="6" y="2"/>
                    </a:lnTo>
                    <a:lnTo>
                      <a:pt x="6" y="2"/>
                    </a:lnTo>
                    <a:lnTo>
                      <a:pt x="6" y="4"/>
                    </a:lnTo>
                    <a:lnTo>
                      <a:pt x="6" y="6"/>
                    </a:lnTo>
                    <a:lnTo>
                      <a:pt x="7" y="7"/>
                    </a:lnTo>
                    <a:lnTo>
                      <a:pt x="7" y="9"/>
                    </a:lnTo>
                    <a:lnTo>
                      <a:pt x="9" y="11"/>
                    </a:lnTo>
                    <a:lnTo>
                      <a:pt x="11" y="13"/>
                    </a:lnTo>
                    <a:lnTo>
                      <a:pt x="13" y="16"/>
                    </a:lnTo>
                    <a:lnTo>
                      <a:pt x="11" y="18"/>
                    </a:lnTo>
                    <a:lnTo>
                      <a:pt x="6" y="15"/>
                    </a:lnTo>
                    <a:lnTo>
                      <a:pt x="0" y="2"/>
                    </a:lnTo>
                    <a:lnTo>
                      <a:pt x="0"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68" name="Freeform 2017"/>
              <p:cNvSpPr>
                <a:spLocks/>
              </p:cNvSpPr>
              <p:nvPr/>
            </p:nvSpPr>
            <p:spPr bwMode="auto">
              <a:xfrm>
                <a:off x="5349" y="1650"/>
                <a:ext cx="13" cy="18"/>
              </a:xfrm>
              <a:custGeom>
                <a:avLst/>
                <a:gdLst>
                  <a:gd name="T0" fmla="*/ 2 w 13"/>
                  <a:gd name="T1" fmla="*/ 0 h 18"/>
                  <a:gd name="T2" fmla="*/ 6 w 13"/>
                  <a:gd name="T3" fmla="*/ 2 h 18"/>
                  <a:gd name="T4" fmla="*/ 6 w 13"/>
                  <a:gd name="T5" fmla="*/ 2 h 18"/>
                  <a:gd name="T6" fmla="*/ 6 w 13"/>
                  <a:gd name="T7" fmla="*/ 4 h 18"/>
                  <a:gd name="T8" fmla="*/ 6 w 13"/>
                  <a:gd name="T9" fmla="*/ 6 h 18"/>
                  <a:gd name="T10" fmla="*/ 7 w 13"/>
                  <a:gd name="T11" fmla="*/ 7 h 18"/>
                  <a:gd name="T12" fmla="*/ 7 w 13"/>
                  <a:gd name="T13" fmla="*/ 9 h 18"/>
                  <a:gd name="T14" fmla="*/ 9 w 13"/>
                  <a:gd name="T15" fmla="*/ 11 h 18"/>
                  <a:gd name="T16" fmla="*/ 11 w 13"/>
                  <a:gd name="T17" fmla="*/ 13 h 18"/>
                  <a:gd name="T18" fmla="*/ 13 w 13"/>
                  <a:gd name="T19" fmla="*/ 16 h 18"/>
                  <a:gd name="T20" fmla="*/ 11 w 13"/>
                  <a:gd name="T21" fmla="*/ 18 h 18"/>
                  <a:gd name="T22" fmla="*/ 6 w 13"/>
                  <a:gd name="T23" fmla="*/ 15 h 18"/>
                  <a:gd name="T24" fmla="*/ 0 w 13"/>
                  <a:gd name="T25" fmla="*/ 2 h 18"/>
                  <a:gd name="T26" fmla="*/ 0 w 13"/>
                  <a:gd name="T27" fmla="*/ 0 h 18"/>
                  <a:gd name="T28" fmla="*/ 2 w 13"/>
                  <a:gd name="T2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 h="18">
                    <a:moveTo>
                      <a:pt x="2" y="0"/>
                    </a:moveTo>
                    <a:lnTo>
                      <a:pt x="6" y="2"/>
                    </a:lnTo>
                    <a:lnTo>
                      <a:pt x="6" y="2"/>
                    </a:lnTo>
                    <a:lnTo>
                      <a:pt x="6" y="4"/>
                    </a:lnTo>
                    <a:lnTo>
                      <a:pt x="6" y="6"/>
                    </a:lnTo>
                    <a:lnTo>
                      <a:pt x="7" y="7"/>
                    </a:lnTo>
                    <a:lnTo>
                      <a:pt x="7" y="9"/>
                    </a:lnTo>
                    <a:lnTo>
                      <a:pt x="9" y="11"/>
                    </a:lnTo>
                    <a:lnTo>
                      <a:pt x="11" y="13"/>
                    </a:lnTo>
                    <a:lnTo>
                      <a:pt x="13" y="16"/>
                    </a:lnTo>
                    <a:lnTo>
                      <a:pt x="11" y="18"/>
                    </a:lnTo>
                    <a:lnTo>
                      <a:pt x="6" y="15"/>
                    </a:lnTo>
                    <a:lnTo>
                      <a:pt x="0" y="2"/>
                    </a:lnTo>
                    <a:lnTo>
                      <a:pt x="0"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69" name="Freeform 2018"/>
              <p:cNvSpPr>
                <a:spLocks/>
              </p:cNvSpPr>
              <p:nvPr/>
            </p:nvSpPr>
            <p:spPr bwMode="auto">
              <a:xfrm>
                <a:off x="5373" y="1663"/>
                <a:ext cx="8" cy="11"/>
              </a:xfrm>
              <a:custGeom>
                <a:avLst/>
                <a:gdLst>
                  <a:gd name="T0" fmla="*/ 0 w 8"/>
                  <a:gd name="T1" fmla="*/ 0 h 11"/>
                  <a:gd name="T2" fmla="*/ 1 w 8"/>
                  <a:gd name="T3" fmla="*/ 0 h 11"/>
                  <a:gd name="T4" fmla="*/ 3 w 8"/>
                  <a:gd name="T5" fmla="*/ 5 h 11"/>
                  <a:gd name="T6" fmla="*/ 5 w 8"/>
                  <a:gd name="T7" fmla="*/ 5 h 11"/>
                  <a:gd name="T8" fmla="*/ 8 w 8"/>
                  <a:gd name="T9" fmla="*/ 9 h 11"/>
                  <a:gd name="T10" fmla="*/ 8 w 8"/>
                  <a:gd name="T11" fmla="*/ 11 h 11"/>
                  <a:gd name="T12" fmla="*/ 5 w 8"/>
                  <a:gd name="T13" fmla="*/ 7 h 11"/>
                  <a:gd name="T14" fmla="*/ 3 w 8"/>
                  <a:gd name="T15" fmla="*/ 5 h 11"/>
                  <a:gd name="T16" fmla="*/ 1 w 8"/>
                  <a:gd name="T17" fmla="*/ 5 h 11"/>
                  <a:gd name="T18" fmla="*/ 0 w 8"/>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1">
                    <a:moveTo>
                      <a:pt x="0" y="0"/>
                    </a:moveTo>
                    <a:lnTo>
                      <a:pt x="1" y="0"/>
                    </a:lnTo>
                    <a:lnTo>
                      <a:pt x="3" y="5"/>
                    </a:lnTo>
                    <a:lnTo>
                      <a:pt x="5" y="5"/>
                    </a:lnTo>
                    <a:lnTo>
                      <a:pt x="8" y="9"/>
                    </a:lnTo>
                    <a:lnTo>
                      <a:pt x="8" y="11"/>
                    </a:lnTo>
                    <a:lnTo>
                      <a:pt x="5" y="7"/>
                    </a:lnTo>
                    <a:lnTo>
                      <a:pt x="3" y="5"/>
                    </a:lnTo>
                    <a:lnTo>
                      <a:pt x="1" y="5"/>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70" name="Freeform 2019"/>
              <p:cNvSpPr>
                <a:spLocks/>
              </p:cNvSpPr>
              <p:nvPr/>
            </p:nvSpPr>
            <p:spPr bwMode="auto">
              <a:xfrm>
                <a:off x="5373" y="1663"/>
                <a:ext cx="8" cy="11"/>
              </a:xfrm>
              <a:custGeom>
                <a:avLst/>
                <a:gdLst>
                  <a:gd name="T0" fmla="*/ 0 w 8"/>
                  <a:gd name="T1" fmla="*/ 0 h 11"/>
                  <a:gd name="T2" fmla="*/ 1 w 8"/>
                  <a:gd name="T3" fmla="*/ 0 h 11"/>
                  <a:gd name="T4" fmla="*/ 3 w 8"/>
                  <a:gd name="T5" fmla="*/ 5 h 11"/>
                  <a:gd name="T6" fmla="*/ 5 w 8"/>
                  <a:gd name="T7" fmla="*/ 5 h 11"/>
                  <a:gd name="T8" fmla="*/ 8 w 8"/>
                  <a:gd name="T9" fmla="*/ 9 h 11"/>
                  <a:gd name="T10" fmla="*/ 8 w 8"/>
                  <a:gd name="T11" fmla="*/ 11 h 11"/>
                  <a:gd name="T12" fmla="*/ 5 w 8"/>
                  <a:gd name="T13" fmla="*/ 7 h 11"/>
                  <a:gd name="T14" fmla="*/ 3 w 8"/>
                  <a:gd name="T15" fmla="*/ 5 h 11"/>
                  <a:gd name="T16" fmla="*/ 1 w 8"/>
                  <a:gd name="T17" fmla="*/ 5 h 11"/>
                  <a:gd name="T18" fmla="*/ 0 w 8"/>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1">
                    <a:moveTo>
                      <a:pt x="0" y="0"/>
                    </a:moveTo>
                    <a:lnTo>
                      <a:pt x="1" y="0"/>
                    </a:lnTo>
                    <a:lnTo>
                      <a:pt x="3" y="5"/>
                    </a:lnTo>
                    <a:lnTo>
                      <a:pt x="5" y="5"/>
                    </a:lnTo>
                    <a:lnTo>
                      <a:pt x="8" y="9"/>
                    </a:lnTo>
                    <a:lnTo>
                      <a:pt x="8" y="11"/>
                    </a:lnTo>
                    <a:lnTo>
                      <a:pt x="5" y="7"/>
                    </a:lnTo>
                    <a:lnTo>
                      <a:pt x="3" y="5"/>
                    </a:lnTo>
                    <a:lnTo>
                      <a:pt x="1" y="5"/>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71" name="Freeform 2020"/>
              <p:cNvSpPr>
                <a:spLocks/>
              </p:cNvSpPr>
              <p:nvPr/>
            </p:nvSpPr>
            <p:spPr bwMode="auto">
              <a:xfrm>
                <a:off x="4285" y="536"/>
                <a:ext cx="98" cy="123"/>
              </a:xfrm>
              <a:custGeom>
                <a:avLst/>
                <a:gdLst>
                  <a:gd name="T0" fmla="*/ 13 w 98"/>
                  <a:gd name="T1" fmla="*/ 82 h 123"/>
                  <a:gd name="T2" fmla="*/ 16 w 98"/>
                  <a:gd name="T3" fmla="*/ 70 h 123"/>
                  <a:gd name="T4" fmla="*/ 20 w 98"/>
                  <a:gd name="T5" fmla="*/ 55 h 123"/>
                  <a:gd name="T6" fmla="*/ 29 w 98"/>
                  <a:gd name="T7" fmla="*/ 59 h 123"/>
                  <a:gd name="T8" fmla="*/ 23 w 98"/>
                  <a:gd name="T9" fmla="*/ 39 h 123"/>
                  <a:gd name="T10" fmla="*/ 29 w 98"/>
                  <a:gd name="T11" fmla="*/ 36 h 123"/>
                  <a:gd name="T12" fmla="*/ 27 w 98"/>
                  <a:gd name="T13" fmla="*/ 30 h 123"/>
                  <a:gd name="T14" fmla="*/ 32 w 98"/>
                  <a:gd name="T15" fmla="*/ 27 h 123"/>
                  <a:gd name="T16" fmla="*/ 31 w 98"/>
                  <a:gd name="T17" fmla="*/ 21 h 123"/>
                  <a:gd name="T18" fmla="*/ 38 w 98"/>
                  <a:gd name="T19" fmla="*/ 13 h 123"/>
                  <a:gd name="T20" fmla="*/ 38 w 98"/>
                  <a:gd name="T21" fmla="*/ 7 h 123"/>
                  <a:gd name="T22" fmla="*/ 45 w 98"/>
                  <a:gd name="T23" fmla="*/ 18 h 123"/>
                  <a:gd name="T24" fmla="*/ 48 w 98"/>
                  <a:gd name="T25" fmla="*/ 0 h 123"/>
                  <a:gd name="T26" fmla="*/ 57 w 98"/>
                  <a:gd name="T27" fmla="*/ 11 h 123"/>
                  <a:gd name="T28" fmla="*/ 59 w 98"/>
                  <a:gd name="T29" fmla="*/ 7 h 123"/>
                  <a:gd name="T30" fmla="*/ 61 w 98"/>
                  <a:gd name="T31" fmla="*/ 13 h 123"/>
                  <a:gd name="T32" fmla="*/ 57 w 98"/>
                  <a:gd name="T33" fmla="*/ 29 h 123"/>
                  <a:gd name="T34" fmla="*/ 57 w 98"/>
                  <a:gd name="T35" fmla="*/ 36 h 123"/>
                  <a:gd name="T36" fmla="*/ 64 w 98"/>
                  <a:gd name="T37" fmla="*/ 20 h 123"/>
                  <a:gd name="T38" fmla="*/ 68 w 98"/>
                  <a:gd name="T39" fmla="*/ 23 h 123"/>
                  <a:gd name="T40" fmla="*/ 70 w 98"/>
                  <a:gd name="T41" fmla="*/ 30 h 123"/>
                  <a:gd name="T42" fmla="*/ 73 w 98"/>
                  <a:gd name="T43" fmla="*/ 21 h 123"/>
                  <a:gd name="T44" fmla="*/ 77 w 98"/>
                  <a:gd name="T45" fmla="*/ 29 h 123"/>
                  <a:gd name="T46" fmla="*/ 77 w 98"/>
                  <a:gd name="T47" fmla="*/ 36 h 123"/>
                  <a:gd name="T48" fmla="*/ 81 w 98"/>
                  <a:gd name="T49" fmla="*/ 39 h 123"/>
                  <a:gd name="T50" fmla="*/ 82 w 98"/>
                  <a:gd name="T51" fmla="*/ 32 h 123"/>
                  <a:gd name="T52" fmla="*/ 95 w 98"/>
                  <a:gd name="T53" fmla="*/ 54 h 123"/>
                  <a:gd name="T54" fmla="*/ 98 w 98"/>
                  <a:gd name="T55" fmla="*/ 70 h 123"/>
                  <a:gd name="T56" fmla="*/ 98 w 98"/>
                  <a:gd name="T57" fmla="*/ 80 h 123"/>
                  <a:gd name="T58" fmla="*/ 89 w 98"/>
                  <a:gd name="T59" fmla="*/ 95 h 123"/>
                  <a:gd name="T60" fmla="*/ 82 w 98"/>
                  <a:gd name="T61" fmla="*/ 95 h 123"/>
                  <a:gd name="T62" fmla="*/ 66 w 98"/>
                  <a:gd name="T63" fmla="*/ 100 h 123"/>
                  <a:gd name="T64" fmla="*/ 61 w 98"/>
                  <a:gd name="T65" fmla="*/ 100 h 123"/>
                  <a:gd name="T66" fmla="*/ 59 w 98"/>
                  <a:gd name="T67" fmla="*/ 104 h 123"/>
                  <a:gd name="T68" fmla="*/ 52 w 98"/>
                  <a:gd name="T69" fmla="*/ 100 h 123"/>
                  <a:gd name="T70" fmla="*/ 41 w 98"/>
                  <a:gd name="T71" fmla="*/ 102 h 123"/>
                  <a:gd name="T72" fmla="*/ 29 w 98"/>
                  <a:gd name="T73" fmla="*/ 104 h 123"/>
                  <a:gd name="T74" fmla="*/ 25 w 98"/>
                  <a:gd name="T75" fmla="*/ 109 h 123"/>
                  <a:gd name="T76" fmla="*/ 16 w 98"/>
                  <a:gd name="T77" fmla="*/ 116 h 123"/>
                  <a:gd name="T78" fmla="*/ 11 w 98"/>
                  <a:gd name="T79" fmla="*/ 123 h 123"/>
                  <a:gd name="T80" fmla="*/ 2 w 98"/>
                  <a:gd name="T81" fmla="*/ 120 h 123"/>
                  <a:gd name="T82" fmla="*/ 4 w 98"/>
                  <a:gd name="T83" fmla="*/ 114 h 123"/>
                  <a:gd name="T84" fmla="*/ 2 w 98"/>
                  <a:gd name="T85" fmla="*/ 104 h 123"/>
                  <a:gd name="T86" fmla="*/ 9 w 98"/>
                  <a:gd name="T87" fmla="*/ 8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 h="123">
                    <a:moveTo>
                      <a:pt x="11" y="84"/>
                    </a:moveTo>
                    <a:lnTo>
                      <a:pt x="13" y="82"/>
                    </a:lnTo>
                    <a:lnTo>
                      <a:pt x="13" y="79"/>
                    </a:lnTo>
                    <a:lnTo>
                      <a:pt x="16" y="70"/>
                    </a:lnTo>
                    <a:lnTo>
                      <a:pt x="14" y="68"/>
                    </a:lnTo>
                    <a:lnTo>
                      <a:pt x="20" y="55"/>
                    </a:lnTo>
                    <a:lnTo>
                      <a:pt x="25" y="59"/>
                    </a:lnTo>
                    <a:lnTo>
                      <a:pt x="29" y="59"/>
                    </a:lnTo>
                    <a:lnTo>
                      <a:pt x="23" y="54"/>
                    </a:lnTo>
                    <a:lnTo>
                      <a:pt x="23" y="39"/>
                    </a:lnTo>
                    <a:lnTo>
                      <a:pt x="27" y="36"/>
                    </a:lnTo>
                    <a:lnTo>
                      <a:pt x="29" y="36"/>
                    </a:lnTo>
                    <a:lnTo>
                      <a:pt x="27" y="34"/>
                    </a:lnTo>
                    <a:lnTo>
                      <a:pt x="27" y="30"/>
                    </a:lnTo>
                    <a:lnTo>
                      <a:pt x="29" y="29"/>
                    </a:lnTo>
                    <a:lnTo>
                      <a:pt x="32" y="27"/>
                    </a:lnTo>
                    <a:lnTo>
                      <a:pt x="31" y="27"/>
                    </a:lnTo>
                    <a:lnTo>
                      <a:pt x="31" y="21"/>
                    </a:lnTo>
                    <a:lnTo>
                      <a:pt x="36" y="16"/>
                    </a:lnTo>
                    <a:lnTo>
                      <a:pt x="38" y="13"/>
                    </a:lnTo>
                    <a:lnTo>
                      <a:pt x="36" y="9"/>
                    </a:lnTo>
                    <a:lnTo>
                      <a:pt x="38" y="7"/>
                    </a:lnTo>
                    <a:lnTo>
                      <a:pt x="41" y="18"/>
                    </a:lnTo>
                    <a:lnTo>
                      <a:pt x="45" y="18"/>
                    </a:lnTo>
                    <a:lnTo>
                      <a:pt x="45" y="5"/>
                    </a:lnTo>
                    <a:lnTo>
                      <a:pt x="48" y="0"/>
                    </a:lnTo>
                    <a:lnTo>
                      <a:pt x="57" y="4"/>
                    </a:lnTo>
                    <a:lnTo>
                      <a:pt x="57" y="11"/>
                    </a:lnTo>
                    <a:lnTo>
                      <a:pt x="57" y="9"/>
                    </a:lnTo>
                    <a:lnTo>
                      <a:pt x="59" y="7"/>
                    </a:lnTo>
                    <a:lnTo>
                      <a:pt x="61" y="9"/>
                    </a:lnTo>
                    <a:lnTo>
                      <a:pt x="61" y="13"/>
                    </a:lnTo>
                    <a:lnTo>
                      <a:pt x="57" y="21"/>
                    </a:lnTo>
                    <a:lnTo>
                      <a:pt x="57" y="29"/>
                    </a:lnTo>
                    <a:lnTo>
                      <a:pt x="57" y="32"/>
                    </a:lnTo>
                    <a:lnTo>
                      <a:pt x="57" y="36"/>
                    </a:lnTo>
                    <a:lnTo>
                      <a:pt x="64" y="25"/>
                    </a:lnTo>
                    <a:lnTo>
                      <a:pt x="64" y="20"/>
                    </a:lnTo>
                    <a:lnTo>
                      <a:pt x="66" y="20"/>
                    </a:lnTo>
                    <a:lnTo>
                      <a:pt x="68" y="23"/>
                    </a:lnTo>
                    <a:lnTo>
                      <a:pt x="70" y="29"/>
                    </a:lnTo>
                    <a:lnTo>
                      <a:pt x="70" y="30"/>
                    </a:lnTo>
                    <a:lnTo>
                      <a:pt x="72" y="27"/>
                    </a:lnTo>
                    <a:lnTo>
                      <a:pt x="73" y="21"/>
                    </a:lnTo>
                    <a:lnTo>
                      <a:pt x="75" y="23"/>
                    </a:lnTo>
                    <a:lnTo>
                      <a:pt x="77" y="29"/>
                    </a:lnTo>
                    <a:lnTo>
                      <a:pt x="75" y="32"/>
                    </a:lnTo>
                    <a:lnTo>
                      <a:pt x="77" y="36"/>
                    </a:lnTo>
                    <a:lnTo>
                      <a:pt x="79" y="39"/>
                    </a:lnTo>
                    <a:lnTo>
                      <a:pt x="81" y="39"/>
                    </a:lnTo>
                    <a:lnTo>
                      <a:pt x="79" y="36"/>
                    </a:lnTo>
                    <a:lnTo>
                      <a:pt x="82" y="32"/>
                    </a:lnTo>
                    <a:lnTo>
                      <a:pt x="86" y="48"/>
                    </a:lnTo>
                    <a:lnTo>
                      <a:pt x="95" y="54"/>
                    </a:lnTo>
                    <a:lnTo>
                      <a:pt x="98" y="57"/>
                    </a:lnTo>
                    <a:lnTo>
                      <a:pt x="98" y="70"/>
                    </a:lnTo>
                    <a:lnTo>
                      <a:pt x="98" y="71"/>
                    </a:lnTo>
                    <a:lnTo>
                      <a:pt x="98" y="80"/>
                    </a:lnTo>
                    <a:lnTo>
                      <a:pt x="93" y="91"/>
                    </a:lnTo>
                    <a:lnTo>
                      <a:pt x="89" y="95"/>
                    </a:lnTo>
                    <a:lnTo>
                      <a:pt x="88" y="93"/>
                    </a:lnTo>
                    <a:lnTo>
                      <a:pt x="82" y="95"/>
                    </a:lnTo>
                    <a:lnTo>
                      <a:pt x="72" y="100"/>
                    </a:lnTo>
                    <a:lnTo>
                      <a:pt x="66" y="100"/>
                    </a:lnTo>
                    <a:lnTo>
                      <a:pt x="63" y="102"/>
                    </a:lnTo>
                    <a:lnTo>
                      <a:pt x="61" y="100"/>
                    </a:lnTo>
                    <a:lnTo>
                      <a:pt x="59" y="102"/>
                    </a:lnTo>
                    <a:lnTo>
                      <a:pt x="59" y="104"/>
                    </a:lnTo>
                    <a:lnTo>
                      <a:pt x="56" y="105"/>
                    </a:lnTo>
                    <a:lnTo>
                      <a:pt x="52" y="100"/>
                    </a:lnTo>
                    <a:lnTo>
                      <a:pt x="43" y="104"/>
                    </a:lnTo>
                    <a:lnTo>
                      <a:pt x="41" y="102"/>
                    </a:lnTo>
                    <a:lnTo>
                      <a:pt x="39" y="104"/>
                    </a:lnTo>
                    <a:lnTo>
                      <a:pt x="29" y="104"/>
                    </a:lnTo>
                    <a:lnTo>
                      <a:pt x="27" y="109"/>
                    </a:lnTo>
                    <a:lnTo>
                      <a:pt x="25" y="109"/>
                    </a:lnTo>
                    <a:lnTo>
                      <a:pt x="23" y="113"/>
                    </a:lnTo>
                    <a:lnTo>
                      <a:pt x="16" y="116"/>
                    </a:lnTo>
                    <a:lnTo>
                      <a:pt x="13" y="120"/>
                    </a:lnTo>
                    <a:lnTo>
                      <a:pt x="11" y="123"/>
                    </a:lnTo>
                    <a:lnTo>
                      <a:pt x="2" y="121"/>
                    </a:lnTo>
                    <a:lnTo>
                      <a:pt x="2" y="120"/>
                    </a:lnTo>
                    <a:lnTo>
                      <a:pt x="4" y="116"/>
                    </a:lnTo>
                    <a:lnTo>
                      <a:pt x="4" y="114"/>
                    </a:lnTo>
                    <a:lnTo>
                      <a:pt x="0" y="116"/>
                    </a:lnTo>
                    <a:lnTo>
                      <a:pt x="2" y="104"/>
                    </a:lnTo>
                    <a:lnTo>
                      <a:pt x="11" y="89"/>
                    </a:lnTo>
                    <a:lnTo>
                      <a:pt x="9" y="88"/>
                    </a:lnTo>
                    <a:lnTo>
                      <a:pt x="11" y="8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72" name="Freeform 2021"/>
              <p:cNvSpPr>
                <a:spLocks/>
              </p:cNvSpPr>
              <p:nvPr/>
            </p:nvSpPr>
            <p:spPr bwMode="auto">
              <a:xfrm>
                <a:off x="4285" y="536"/>
                <a:ext cx="98" cy="123"/>
              </a:xfrm>
              <a:custGeom>
                <a:avLst/>
                <a:gdLst>
                  <a:gd name="T0" fmla="*/ 13 w 98"/>
                  <a:gd name="T1" fmla="*/ 82 h 123"/>
                  <a:gd name="T2" fmla="*/ 16 w 98"/>
                  <a:gd name="T3" fmla="*/ 70 h 123"/>
                  <a:gd name="T4" fmla="*/ 20 w 98"/>
                  <a:gd name="T5" fmla="*/ 55 h 123"/>
                  <a:gd name="T6" fmla="*/ 29 w 98"/>
                  <a:gd name="T7" fmla="*/ 59 h 123"/>
                  <a:gd name="T8" fmla="*/ 23 w 98"/>
                  <a:gd name="T9" fmla="*/ 39 h 123"/>
                  <a:gd name="T10" fmla="*/ 29 w 98"/>
                  <a:gd name="T11" fmla="*/ 36 h 123"/>
                  <a:gd name="T12" fmla="*/ 27 w 98"/>
                  <a:gd name="T13" fmla="*/ 30 h 123"/>
                  <a:gd name="T14" fmla="*/ 32 w 98"/>
                  <a:gd name="T15" fmla="*/ 27 h 123"/>
                  <a:gd name="T16" fmla="*/ 31 w 98"/>
                  <a:gd name="T17" fmla="*/ 21 h 123"/>
                  <a:gd name="T18" fmla="*/ 38 w 98"/>
                  <a:gd name="T19" fmla="*/ 13 h 123"/>
                  <a:gd name="T20" fmla="*/ 38 w 98"/>
                  <a:gd name="T21" fmla="*/ 7 h 123"/>
                  <a:gd name="T22" fmla="*/ 45 w 98"/>
                  <a:gd name="T23" fmla="*/ 18 h 123"/>
                  <a:gd name="T24" fmla="*/ 48 w 98"/>
                  <a:gd name="T25" fmla="*/ 0 h 123"/>
                  <a:gd name="T26" fmla="*/ 57 w 98"/>
                  <a:gd name="T27" fmla="*/ 11 h 123"/>
                  <a:gd name="T28" fmla="*/ 59 w 98"/>
                  <a:gd name="T29" fmla="*/ 7 h 123"/>
                  <a:gd name="T30" fmla="*/ 61 w 98"/>
                  <a:gd name="T31" fmla="*/ 13 h 123"/>
                  <a:gd name="T32" fmla="*/ 57 w 98"/>
                  <a:gd name="T33" fmla="*/ 29 h 123"/>
                  <a:gd name="T34" fmla="*/ 57 w 98"/>
                  <a:gd name="T35" fmla="*/ 36 h 123"/>
                  <a:gd name="T36" fmla="*/ 64 w 98"/>
                  <a:gd name="T37" fmla="*/ 20 h 123"/>
                  <a:gd name="T38" fmla="*/ 68 w 98"/>
                  <a:gd name="T39" fmla="*/ 23 h 123"/>
                  <a:gd name="T40" fmla="*/ 70 w 98"/>
                  <a:gd name="T41" fmla="*/ 30 h 123"/>
                  <a:gd name="T42" fmla="*/ 73 w 98"/>
                  <a:gd name="T43" fmla="*/ 21 h 123"/>
                  <a:gd name="T44" fmla="*/ 77 w 98"/>
                  <a:gd name="T45" fmla="*/ 29 h 123"/>
                  <a:gd name="T46" fmla="*/ 77 w 98"/>
                  <a:gd name="T47" fmla="*/ 36 h 123"/>
                  <a:gd name="T48" fmla="*/ 81 w 98"/>
                  <a:gd name="T49" fmla="*/ 39 h 123"/>
                  <a:gd name="T50" fmla="*/ 82 w 98"/>
                  <a:gd name="T51" fmla="*/ 32 h 123"/>
                  <a:gd name="T52" fmla="*/ 95 w 98"/>
                  <a:gd name="T53" fmla="*/ 54 h 123"/>
                  <a:gd name="T54" fmla="*/ 98 w 98"/>
                  <a:gd name="T55" fmla="*/ 70 h 123"/>
                  <a:gd name="T56" fmla="*/ 98 w 98"/>
                  <a:gd name="T57" fmla="*/ 80 h 123"/>
                  <a:gd name="T58" fmla="*/ 89 w 98"/>
                  <a:gd name="T59" fmla="*/ 95 h 123"/>
                  <a:gd name="T60" fmla="*/ 82 w 98"/>
                  <a:gd name="T61" fmla="*/ 95 h 123"/>
                  <a:gd name="T62" fmla="*/ 66 w 98"/>
                  <a:gd name="T63" fmla="*/ 100 h 123"/>
                  <a:gd name="T64" fmla="*/ 61 w 98"/>
                  <a:gd name="T65" fmla="*/ 100 h 123"/>
                  <a:gd name="T66" fmla="*/ 59 w 98"/>
                  <a:gd name="T67" fmla="*/ 104 h 123"/>
                  <a:gd name="T68" fmla="*/ 52 w 98"/>
                  <a:gd name="T69" fmla="*/ 100 h 123"/>
                  <a:gd name="T70" fmla="*/ 41 w 98"/>
                  <a:gd name="T71" fmla="*/ 102 h 123"/>
                  <a:gd name="T72" fmla="*/ 29 w 98"/>
                  <a:gd name="T73" fmla="*/ 104 h 123"/>
                  <a:gd name="T74" fmla="*/ 25 w 98"/>
                  <a:gd name="T75" fmla="*/ 109 h 123"/>
                  <a:gd name="T76" fmla="*/ 16 w 98"/>
                  <a:gd name="T77" fmla="*/ 116 h 123"/>
                  <a:gd name="T78" fmla="*/ 11 w 98"/>
                  <a:gd name="T79" fmla="*/ 123 h 123"/>
                  <a:gd name="T80" fmla="*/ 2 w 98"/>
                  <a:gd name="T81" fmla="*/ 120 h 123"/>
                  <a:gd name="T82" fmla="*/ 4 w 98"/>
                  <a:gd name="T83" fmla="*/ 114 h 123"/>
                  <a:gd name="T84" fmla="*/ 2 w 98"/>
                  <a:gd name="T85" fmla="*/ 104 h 123"/>
                  <a:gd name="T86" fmla="*/ 9 w 98"/>
                  <a:gd name="T87" fmla="*/ 88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 h="123">
                    <a:moveTo>
                      <a:pt x="11" y="84"/>
                    </a:moveTo>
                    <a:lnTo>
                      <a:pt x="13" y="82"/>
                    </a:lnTo>
                    <a:lnTo>
                      <a:pt x="13" y="79"/>
                    </a:lnTo>
                    <a:lnTo>
                      <a:pt x="16" y="70"/>
                    </a:lnTo>
                    <a:lnTo>
                      <a:pt x="14" y="68"/>
                    </a:lnTo>
                    <a:lnTo>
                      <a:pt x="20" y="55"/>
                    </a:lnTo>
                    <a:lnTo>
                      <a:pt x="25" y="59"/>
                    </a:lnTo>
                    <a:lnTo>
                      <a:pt x="29" y="59"/>
                    </a:lnTo>
                    <a:lnTo>
                      <a:pt x="23" y="54"/>
                    </a:lnTo>
                    <a:lnTo>
                      <a:pt x="23" y="39"/>
                    </a:lnTo>
                    <a:lnTo>
                      <a:pt x="27" y="36"/>
                    </a:lnTo>
                    <a:lnTo>
                      <a:pt x="29" y="36"/>
                    </a:lnTo>
                    <a:lnTo>
                      <a:pt x="27" y="34"/>
                    </a:lnTo>
                    <a:lnTo>
                      <a:pt x="27" y="30"/>
                    </a:lnTo>
                    <a:lnTo>
                      <a:pt x="29" y="29"/>
                    </a:lnTo>
                    <a:lnTo>
                      <a:pt x="32" y="27"/>
                    </a:lnTo>
                    <a:lnTo>
                      <a:pt x="31" y="27"/>
                    </a:lnTo>
                    <a:lnTo>
                      <a:pt x="31" y="21"/>
                    </a:lnTo>
                    <a:lnTo>
                      <a:pt x="36" y="16"/>
                    </a:lnTo>
                    <a:lnTo>
                      <a:pt x="38" y="13"/>
                    </a:lnTo>
                    <a:lnTo>
                      <a:pt x="36" y="9"/>
                    </a:lnTo>
                    <a:lnTo>
                      <a:pt x="38" y="7"/>
                    </a:lnTo>
                    <a:lnTo>
                      <a:pt x="41" y="18"/>
                    </a:lnTo>
                    <a:lnTo>
                      <a:pt x="45" y="18"/>
                    </a:lnTo>
                    <a:lnTo>
                      <a:pt x="45" y="5"/>
                    </a:lnTo>
                    <a:lnTo>
                      <a:pt x="48" y="0"/>
                    </a:lnTo>
                    <a:lnTo>
                      <a:pt x="57" y="4"/>
                    </a:lnTo>
                    <a:lnTo>
                      <a:pt x="57" y="11"/>
                    </a:lnTo>
                    <a:lnTo>
                      <a:pt x="57" y="9"/>
                    </a:lnTo>
                    <a:lnTo>
                      <a:pt x="59" y="7"/>
                    </a:lnTo>
                    <a:lnTo>
                      <a:pt x="61" y="9"/>
                    </a:lnTo>
                    <a:lnTo>
                      <a:pt x="61" y="13"/>
                    </a:lnTo>
                    <a:lnTo>
                      <a:pt x="57" y="21"/>
                    </a:lnTo>
                    <a:lnTo>
                      <a:pt x="57" y="29"/>
                    </a:lnTo>
                    <a:lnTo>
                      <a:pt x="57" y="32"/>
                    </a:lnTo>
                    <a:lnTo>
                      <a:pt x="57" y="36"/>
                    </a:lnTo>
                    <a:lnTo>
                      <a:pt x="64" y="25"/>
                    </a:lnTo>
                    <a:lnTo>
                      <a:pt x="64" y="20"/>
                    </a:lnTo>
                    <a:lnTo>
                      <a:pt x="66" y="20"/>
                    </a:lnTo>
                    <a:lnTo>
                      <a:pt x="68" y="23"/>
                    </a:lnTo>
                    <a:lnTo>
                      <a:pt x="70" y="29"/>
                    </a:lnTo>
                    <a:lnTo>
                      <a:pt x="70" y="30"/>
                    </a:lnTo>
                    <a:lnTo>
                      <a:pt x="72" y="27"/>
                    </a:lnTo>
                    <a:lnTo>
                      <a:pt x="73" y="21"/>
                    </a:lnTo>
                    <a:lnTo>
                      <a:pt x="75" y="23"/>
                    </a:lnTo>
                    <a:lnTo>
                      <a:pt x="77" y="29"/>
                    </a:lnTo>
                    <a:lnTo>
                      <a:pt x="75" y="32"/>
                    </a:lnTo>
                    <a:lnTo>
                      <a:pt x="77" y="36"/>
                    </a:lnTo>
                    <a:lnTo>
                      <a:pt x="79" y="39"/>
                    </a:lnTo>
                    <a:lnTo>
                      <a:pt x="81" y="39"/>
                    </a:lnTo>
                    <a:lnTo>
                      <a:pt x="79" y="36"/>
                    </a:lnTo>
                    <a:lnTo>
                      <a:pt x="82" y="32"/>
                    </a:lnTo>
                    <a:lnTo>
                      <a:pt x="86" y="48"/>
                    </a:lnTo>
                    <a:lnTo>
                      <a:pt x="95" y="54"/>
                    </a:lnTo>
                    <a:lnTo>
                      <a:pt x="98" y="57"/>
                    </a:lnTo>
                    <a:lnTo>
                      <a:pt x="98" y="70"/>
                    </a:lnTo>
                    <a:lnTo>
                      <a:pt x="98" y="71"/>
                    </a:lnTo>
                    <a:lnTo>
                      <a:pt x="98" y="80"/>
                    </a:lnTo>
                    <a:lnTo>
                      <a:pt x="93" y="91"/>
                    </a:lnTo>
                    <a:lnTo>
                      <a:pt x="89" y="95"/>
                    </a:lnTo>
                    <a:lnTo>
                      <a:pt x="88" y="93"/>
                    </a:lnTo>
                    <a:lnTo>
                      <a:pt x="82" y="95"/>
                    </a:lnTo>
                    <a:lnTo>
                      <a:pt x="72" y="100"/>
                    </a:lnTo>
                    <a:lnTo>
                      <a:pt x="66" y="100"/>
                    </a:lnTo>
                    <a:lnTo>
                      <a:pt x="63" y="102"/>
                    </a:lnTo>
                    <a:lnTo>
                      <a:pt x="61" y="100"/>
                    </a:lnTo>
                    <a:lnTo>
                      <a:pt x="59" y="102"/>
                    </a:lnTo>
                    <a:lnTo>
                      <a:pt x="59" y="104"/>
                    </a:lnTo>
                    <a:lnTo>
                      <a:pt x="56" y="105"/>
                    </a:lnTo>
                    <a:lnTo>
                      <a:pt x="52" y="100"/>
                    </a:lnTo>
                    <a:lnTo>
                      <a:pt x="43" y="104"/>
                    </a:lnTo>
                    <a:lnTo>
                      <a:pt x="41" y="102"/>
                    </a:lnTo>
                    <a:lnTo>
                      <a:pt x="39" y="104"/>
                    </a:lnTo>
                    <a:lnTo>
                      <a:pt x="29" y="104"/>
                    </a:lnTo>
                    <a:lnTo>
                      <a:pt x="27" y="109"/>
                    </a:lnTo>
                    <a:lnTo>
                      <a:pt x="25" y="109"/>
                    </a:lnTo>
                    <a:lnTo>
                      <a:pt x="23" y="113"/>
                    </a:lnTo>
                    <a:lnTo>
                      <a:pt x="16" y="116"/>
                    </a:lnTo>
                    <a:lnTo>
                      <a:pt x="13" y="120"/>
                    </a:lnTo>
                    <a:lnTo>
                      <a:pt x="11" y="123"/>
                    </a:lnTo>
                    <a:lnTo>
                      <a:pt x="2" y="121"/>
                    </a:lnTo>
                    <a:lnTo>
                      <a:pt x="2" y="120"/>
                    </a:lnTo>
                    <a:lnTo>
                      <a:pt x="4" y="116"/>
                    </a:lnTo>
                    <a:lnTo>
                      <a:pt x="4" y="114"/>
                    </a:lnTo>
                    <a:lnTo>
                      <a:pt x="0" y="116"/>
                    </a:lnTo>
                    <a:lnTo>
                      <a:pt x="2" y="104"/>
                    </a:lnTo>
                    <a:lnTo>
                      <a:pt x="11" y="89"/>
                    </a:lnTo>
                    <a:lnTo>
                      <a:pt x="9" y="88"/>
                    </a:lnTo>
                    <a:lnTo>
                      <a:pt x="11" y="8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73" name="Freeform 2022"/>
              <p:cNvSpPr>
                <a:spLocks/>
              </p:cNvSpPr>
              <p:nvPr/>
            </p:nvSpPr>
            <p:spPr bwMode="auto">
              <a:xfrm>
                <a:off x="4862" y="906"/>
                <a:ext cx="14" cy="21"/>
              </a:xfrm>
              <a:custGeom>
                <a:avLst/>
                <a:gdLst>
                  <a:gd name="T0" fmla="*/ 11 w 14"/>
                  <a:gd name="T1" fmla="*/ 10 h 21"/>
                  <a:gd name="T2" fmla="*/ 11 w 14"/>
                  <a:gd name="T3" fmla="*/ 12 h 21"/>
                  <a:gd name="T4" fmla="*/ 12 w 14"/>
                  <a:gd name="T5" fmla="*/ 14 h 21"/>
                  <a:gd name="T6" fmla="*/ 14 w 14"/>
                  <a:gd name="T7" fmla="*/ 16 h 21"/>
                  <a:gd name="T8" fmla="*/ 14 w 14"/>
                  <a:gd name="T9" fmla="*/ 21 h 21"/>
                  <a:gd name="T10" fmla="*/ 11 w 14"/>
                  <a:gd name="T11" fmla="*/ 19 h 21"/>
                  <a:gd name="T12" fmla="*/ 9 w 14"/>
                  <a:gd name="T13" fmla="*/ 16 h 21"/>
                  <a:gd name="T14" fmla="*/ 5 w 14"/>
                  <a:gd name="T15" fmla="*/ 12 h 21"/>
                  <a:gd name="T16" fmla="*/ 5 w 14"/>
                  <a:gd name="T17" fmla="*/ 9 h 21"/>
                  <a:gd name="T18" fmla="*/ 0 w 14"/>
                  <a:gd name="T19" fmla="*/ 3 h 21"/>
                  <a:gd name="T20" fmla="*/ 2 w 14"/>
                  <a:gd name="T21" fmla="*/ 0 h 21"/>
                  <a:gd name="T22" fmla="*/ 3 w 14"/>
                  <a:gd name="T23" fmla="*/ 0 h 21"/>
                  <a:gd name="T24" fmla="*/ 5 w 14"/>
                  <a:gd name="T25" fmla="*/ 5 h 21"/>
                  <a:gd name="T26" fmla="*/ 9 w 14"/>
                  <a:gd name="T27" fmla="*/ 10 h 21"/>
                  <a:gd name="T28" fmla="*/ 11 w 14"/>
                  <a:gd name="T2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1" y="10"/>
                    </a:moveTo>
                    <a:lnTo>
                      <a:pt x="11" y="12"/>
                    </a:lnTo>
                    <a:lnTo>
                      <a:pt x="12" y="14"/>
                    </a:lnTo>
                    <a:lnTo>
                      <a:pt x="14" y="16"/>
                    </a:lnTo>
                    <a:lnTo>
                      <a:pt x="14" y="21"/>
                    </a:lnTo>
                    <a:lnTo>
                      <a:pt x="11" y="19"/>
                    </a:lnTo>
                    <a:lnTo>
                      <a:pt x="9" y="16"/>
                    </a:lnTo>
                    <a:lnTo>
                      <a:pt x="5" y="12"/>
                    </a:lnTo>
                    <a:lnTo>
                      <a:pt x="5" y="9"/>
                    </a:lnTo>
                    <a:lnTo>
                      <a:pt x="0" y="3"/>
                    </a:lnTo>
                    <a:lnTo>
                      <a:pt x="2" y="0"/>
                    </a:lnTo>
                    <a:lnTo>
                      <a:pt x="3" y="0"/>
                    </a:lnTo>
                    <a:lnTo>
                      <a:pt x="5" y="5"/>
                    </a:lnTo>
                    <a:lnTo>
                      <a:pt x="9" y="10"/>
                    </a:lnTo>
                    <a:lnTo>
                      <a:pt x="11" y="1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74" name="Freeform 2023"/>
              <p:cNvSpPr>
                <a:spLocks/>
              </p:cNvSpPr>
              <p:nvPr/>
            </p:nvSpPr>
            <p:spPr bwMode="auto">
              <a:xfrm>
                <a:off x="4862" y="906"/>
                <a:ext cx="14" cy="21"/>
              </a:xfrm>
              <a:custGeom>
                <a:avLst/>
                <a:gdLst>
                  <a:gd name="T0" fmla="*/ 11 w 14"/>
                  <a:gd name="T1" fmla="*/ 10 h 21"/>
                  <a:gd name="T2" fmla="*/ 11 w 14"/>
                  <a:gd name="T3" fmla="*/ 12 h 21"/>
                  <a:gd name="T4" fmla="*/ 12 w 14"/>
                  <a:gd name="T5" fmla="*/ 14 h 21"/>
                  <a:gd name="T6" fmla="*/ 14 w 14"/>
                  <a:gd name="T7" fmla="*/ 16 h 21"/>
                  <a:gd name="T8" fmla="*/ 14 w 14"/>
                  <a:gd name="T9" fmla="*/ 21 h 21"/>
                  <a:gd name="T10" fmla="*/ 11 w 14"/>
                  <a:gd name="T11" fmla="*/ 19 h 21"/>
                  <a:gd name="T12" fmla="*/ 9 w 14"/>
                  <a:gd name="T13" fmla="*/ 16 h 21"/>
                  <a:gd name="T14" fmla="*/ 5 w 14"/>
                  <a:gd name="T15" fmla="*/ 12 h 21"/>
                  <a:gd name="T16" fmla="*/ 5 w 14"/>
                  <a:gd name="T17" fmla="*/ 9 h 21"/>
                  <a:gd name="T18" fmla="*/ 0 w 14"/>
                  <a:gd name="T19" fmla="*/ 3 h 21"/>
                  <a:gd name="T20" fmla="*/ 2 w 14"/>
                  <a:gd name="T21" fmla="*/ 0 h 21"/>
                  <a:gd name="T22" fmla="*/ 3 w 14"/>
                  <a:gd name="T23" fmla="*/ 0 h 21"/>
                  <a:gd name="T24" fmla="*/ 5 w 14"/>
                  <a:gd name="T25" fmla="*/ 5 h 21"/>
                  <a:gd name="T26" fmla="*/ 9 w 14"/>
                  <a:gd name="T27" fmla="*/ 10 h 21"/>
                  <a:gd name="T28" fmla="*/ 11 w 14"/>
                  <a:gd name="T2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21">
                    <a:moveTo>
                      <a:pt x="11" y="10"/>
                    </a:moveTo>
                    <a:lnTo>
                      <a:pt x="11" y="12"/>
                    </a:lnTo>
                    <a:lnTo>
                      <a:pt x="12" y="14"/>
                    </a:lnTo>
                    <a:lnTo>
                      <a:pt x="14" y="16"/>
                    </a:lnTo>
                    <a:lnTo>
                      <a:pt x="14" y="21"/>
                    </a:lnTo>
                    <a:lnTo>
                      <a:pt x="11" y="19"/>
                    </a:lnTo>
                    <a:lnTo>
                      <a:pt x="9" y="16"/>
                    </a:lnTo>
                    <a:lnTo>
                      <a:pt x="5" y="12"/>
                    </a:lnTo>
                    <a:lnTo>
                      <a:pt x="5" y="9"/>
                    </a:lnTo>
                    <a:lnTo>
                      <a:pt x="0" y="3"/>
                    </a:lnTo>
                    <a:lnTo>
                      <a:pt x="2" y="0"/>
                    </a:lnTo>
                    <a:lnTo>
                      <a:pt x="3" y="0"/>
                    </a:lnTo>
                    <a:lnTo>
                      <a:pt x="5" y="5"/>
                    </a:lnTo>
                    <a:lnTo>
                      <a:pt x="9" y="10"/>
                    </a:lnTo>
                    <a:lnTo>
                      <a:pt x="11" y="1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75" name="Freeform 2024"/>
              <p:cNvSpPr>
                <a:spLocks/>
              </p:cNvSpPr>
              <p:nvPr/>
            </p:nvSpPr>
            <p:spPr bwMode="auto">
              <a:xfrm>
                <a:off x="4862" y="806"/>
                <a:ext cx="9" cy="32"/>
              </a:xfrm>
              <a:custGeom>
                <a:avLst/>
                <a:gdLst>
                  <a:gd name="T0" fmla="*/ 7 w 9"/>
                  <a:gd name="T1" fmla="*/ 19 h 32"/>
                  <a:gd name="T2" fmla="*/ 7 w 9"/>
                  <a:gd name="T3" fmla="*/ 23 h 32"/>
                  <a:gd name="T4" fmla="*/ 5 w 9"/>
                  <a:gd name="T5" fmla="*/ 25 h 32"/>
                  <a:gd name="T6" fmla="*/ 7 w 9"/>
                  <a:gd name="T7" fmla="*/ 30 h 32"/>
                  <a:gd name="T8" fmla="*/ 5 w 9"/>
                  <a:gd name="T9" fmla="*/ 32 h 32"/>
                  <a:gd name="T10" fmla="*/ 2 w 9"/>
                  <a:gd name="T11" fmla="*/ 30 h 32"/>
                  <a:gd name="T12" fmla="*/ 0 w 9"/>
                  <a:gd name="T13" fmla="*/ 26 h 32"/>
                  <a:gd name="T14" fmla="*/ 2 w 9"/>
                  <a:gd name="T15" fmla="*/ 25 h 32"/>
                  <a:gd name="T16" fmla="*/ 0 w 9"/>
                  <a:gd name="T17" fmla="*/ 23 h 32"/>
                  <a:gd name="T18" fmla="*/ 2 w 9"/>
                  <a:gd name="T19" fmla="*/ 0 h 32"/>
                  <a:gd name="T20" fmla="*/ 3 w 9"/>
                  <a:gd name="T21" fmla="*/ 3 h 32"/>
                  <a:gd name="T22" fmla="*/ 5 w 9"/>
                  <a:gd name="T23" fmla="*/ 5 h 32"/>
                  <a:gd name="T24" fmla="*/ 5 w 9"/>
                  <a:gd name="T25" fmla="*/ 10 h 32"/>
                  <a:gd name="T26" fmla="*/ 7 w 9"/>
                  <a:gd name="T27" fmla="*/ 14 h 32"/>
                  <a:gd name="T28" fmla="*/ 9 w 9"/>
                  <a:gd name="T29" fmla="*/ 14 h 32"/>
                  <a:gd name="T30" fmla="*/ 7 w 9"/>
                  <a:gd name="T31"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32">
                    <a:moveTo>
                      <a:pt x="7" y="19"/>
                    </a:moveTo>
                    <a:lnTo>
                      <a:pt x="7" y="23"/>
                    </a:lnTo>
                    <a:lnTo>
                      <a:pt x="5" y="25"/>
                    </a:lnTo>
                    <a:lnTo>
                      <a:pt x="7" y="30"/>
                    </a:lnTo>
                    <a:lnTo>
                      <a:pt x="5" y="32"/>
                    </a:lnTo>
                    <a:lnTo>
                      <a:pt x="2" y="30"/>
                    </a:lnTo>
                    <a:lnTo>
                      <a:pt x="0" y="26"/>
                    </a:lnTo>
                    <a:lnTo>
                      <a:pt x="2" y="25"/>
                    </a:lnTo>
                    <a:lnTo>
                      <a:pt x="0" y="23"/>
                    </a:lnTo>
                    <a:lnTo>
                      <a:pt x="2" y="0"/>
                    </a:lnTo>
                    <a:lnTo>
                      <a:pt x="3" y="3"/>
                    </a:lnTo>
                    <a:lnTo>
                      <a:pt x="5" y="5"/>
                    </a:lnTo>
                    <a:lnTo>
                      <a:pt x="5" y="10"/>
                    </a:lnTo>
                    <a:lnTo>
                      <a:pt x="7" y="14"/>
                    </a:lnTo>
                    <a:lnTo>
                      <a:pt x="9" y="14"/>
                    </a:lnTo>
                    <a:lnTo>
                      <a:pt x="7" y="1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76" name="Freeform 2025"/>
              <p:cNvSpPr>
                <a:spLocks/>
              </p:cNvSpPr>
              <p:nvPr/>
            </p:nvSpPr>
            <p:spPr bwMode="auto">
              <a:xfrm>
                <a:off x="4862" y="806"/>
                <a:ext cx="9" cy="32"/>
              </a:xfrm>
              <a:custGeom>
                <a:avLst/>
                <a:gdLst>
                  <a:gd name="T0" fmla="*/ 7 w 9"/>
                  <a:gd name="T1" fmla="*/ 19 h 32"/>
                  <a:gd name="T2" fmla="*/ 7 w 9"/>
                  <a:gd name="T3" fmla="*/ 23 h 32"/>
                  <a:gd name="T4" fmla="*/ 5 w 9"/>
                  <a:gd name="T5" fmla="*/ 25 h 32"/>
                  <a:gd name="T6" fmla="*/ 7 w 9"/>
                  <a:gd name="T7" fmla="*/ 30 h 32"/>
                  <a:gd name="T8" fmla="*/ 5 w 9"/>
                  <a:gd name="T9" fmla="*/ 32 h 32"/>
                  <a:gd name="T10" fmla="*/ 2 w 9"/>
                  <a:gd name="T11" fmla="*/ 30 h 32"/>
                  <a:gd name="T12" fmla="*/ 0 w 9"/>
                  <a:gd name="T13" fmla="*/ 26 h 32"/>
                  <a:gd name="T14" fmla="*/ 2 w 9"/>
                  <a:gd name="T15" fmla="*/ 25 h 32"/>
                  <a:gd name="T16" fmla="*/ 0 w 9"/>
                  <a:gd name="T17" fmla="*/ 23 h 32"/>
                  <a:gd name="T18" fmla="*/ 2 w 9"/>
                  <a:gd name="T19" fmla="*/ 0 h 32"/>
                  <a:gd name="T20" fmla="*/ 3 w 9"/>
                  <a:gd name="T21" fmla="*/ 3 h 32"/>
                  <a:gd name="T22" fmla="*/ 5 w 9"/>
                  <a:gd name="T23" fmla="*/ 5 h 32"/>
                  <a:gd name="T24" fmla="*/ 5 w 9"/>
                  <a:gd name="T25" fmla="*/ 10 h 32"/>
                  <a:gd name="T26" fmla="*/ 7 w 9"/>
                  <a:gd name="T27" fmla="*/ 14 h 32"/>
                  <a:gd name="T28" fmla="*/ 9 w 9"/>
                  <a:gd name="T29" fmla="*/ 14 h 32"/>
                  <a:gd name="T30" fmla="*/ 7 w 9"/>
                  <a:gd name="T31"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32">
                    <a:moveTo>
                      <a:pt x="7" y="19"/>
                    </a:moveTo>
                    <a:lnTo>
                      <a:pt x="7" y="23"/>
                    </a:lnTo>
                    <a:lnTo>
                      <a:pt x="5" y="25"/>
                    </a:lnTo>
                    <a:lnTo>
                      <a:pt x="7" y="30"/>
                    </a:lnTo>
                    <a:lnTo>
                      <a:pt x="5" y="32"/>
                    </a:lnTo>
                    <a:lnTo>
                      <a:pt x="2" y="30"/>
                    </a:lnTo>
                    <a:lnTo>
                      <a:pt x="0" y="26"/>
                    </a:lnTo>
                    <a:lnTo>
                      <a:pt x="2" y="25"/>
                    </a:lnTo>
                    <a:lnTo>
                      <a:pt x="0" y="23"/>
                    </a:lnTo>
                    <a:lnTo>
                      <a:pt x="2" y="0"/>
                    </a:lnTo>
                    <a:lnTo>
                      <a:pt x="3" y="3"/>
                    </a:lnTo>
                    <a:lnTo>
                      <a:pt x="5" y="5"/>
                    </a:lnTo>
                    <a:lnTo>
                      <a:pt x="5" y="10"/>
                    </a:lnTo>
                    <a:lnTo>
                      <a:pt x="7" y="14"/>
                    </a:lnTo>
                    <a:lnTo>
                      <a:pt x="9" y="14"/>
                    </a:lnTo>
                    <a:lnTo>
                      <a:pt x="7" y="1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77" name="Freeform 2026"/>
              <p:cNvSpPr>
                <a:spLocks/>
              </p:cNvSpPr>
              <p:nvPr/>
            </p:nvSpPr>
            <p:spPr bwMode="auto">
              <a:xfrm>
                <a:off x="4883" y="781"/>
                <a:ext cx="106" cy="98"/>
              </a:xfrm>
              <a:custGeom>
                <a:avLst/>
                <a:gdLst>
                  <a:gd name="T0" fmla="*/ 52 w 106"/>
                  <a:gd name="T1" fmla="*/ 26 h 98"/>
                  <a:gd name="T2" fmla="*/ 54 w 106"/>
                  <a:gd name="T3" fmla="*/ 26 h 98"/>
                  <a:gd name="T4" fmla="*/ 57 w 106"/>
                  <a:gd name="T5" fmla="*/ 30 h 98"/>
                  <a:gd name="T6" fmla="*/ 56 w 106"/>
                  <a:gd name="T7" fmla="*/ 35 h 98"/>
                  <a:gd name="T8" fmla="*/ 57 w 106"/>
                  <a:gd name="T9" fmla="*/ 37 h 98"/>
                  <a:gd name="T10" fmla="*/ 59 w 106"/>
                  <a:gd name="T11" fmla="*/ 39 h 98"/>
                  <a:gd name="T12" fmla="*/ 63 w 106"/>
                  <a:gd name="T13" fmla="*/ 39 h 98"/>
                  <a:gd name="T14" fmla="*/ 66 w 106"/>
                  <a:gd name="T15" fmla="*/ 39 h 98"/>
                  <a:gd name="T16" fmla="*/ 68 w 106"/>
                  <a:gd name="T17" fmla="*/ 30 h 98"/>
                  <a:gd name="T18" fmla="*/ 65 w 106"/>
                  <a:gd name="T19" fmla="*/ 14 h 98"/>
                  <a:gd name="T20" fmla="*/ 70 w 106"/>
                  <a:gd name="T21" fmla="*/ 9 h 98"/>
                  <a:gd name="T22" fmla="*/ 86 w 106"/>
                  <a:gd name="T23" fmla="*/ 32 h 98"/>
                  <a:gd name="T24" fmla="*/ 91 w 106"/>
                  <a:gd name="T25" fmla="*/ 34 h 98"/>
                  <a:gd name="T26" fmla="*/ 86 w 106"/>
                  <a:gd name="T27" fmla="*/ 53 h 98"/>
                  <a:gd name="T28" fmla="*/ 93 w 106"/>
                  <a:gd name="T29" fmla="*/ 75 h 98"/>
                  <a:gd name="T30" fmla="*/ 106 w 106"/>
                  <a:gd name="T31" fmla="*/ 80 h 98"/>
                  <a:gd name="T32" fmla="*/ 106 w 106"/>
                  <a:gd name="T33" fmla="*/ 84 h 98"/>
                  <a:gd name="T34" fmla="*/ 93 w 106"/>
                  <a:gd name="T35" fmla="*/ 82 h 98"/>
                  <a:gd name="T36" fmla="*/ 88 w 106"/>
                  <a:gd name="T37" fmla="*/ 89 h 98"/>
                  <a:gd name="T38" fmla="*/ 84 w 106"/>
                  <a:gd name="T39" fmla="*/ 80 h 98"/>
                  <a:gd name="T40" fmla="*/ 81 w 106"/>
                  <a:gd name="T41" fmla="*/ 75 h 98"/>
                  <a:gd name="T42" fmla="*/ 65 w 106"/>
                  <a:gd name="T43" fmla="*/ 84 h 98"/>
                  <a:gd name="T44" fmla="*/ 54 w 106"/>
                  <a:gd name="T45" fmla="*/ 91 h 98"/>
                  <a:gd name="T46" fmla="*/ 49 w 106"/>
                  <a:gd name="T47" fmla="*/ 89 h 98"/>
                  <a:gd name="T48" fmla="*/ 52 w 106"/>
                  <a:gd name="T49" fmla="*/ 87 h 98"/>
                  <a:gd name="T50" fmla="*/ 47 w 106"/>
                  <a:gd name="T51" fmla="*/ 82 h 98"/>
                  <a:gd name="T52" fmla="*/ 43 w 106"/>
                  <a:gd name="T53" fmla="*/ 78 h 98"/>
                  <a:gd name="T54" fmla="*/ 45 w 106"/>
                  <a:gd name="T55" fmla="*/ 84 h 98"/>
                  <a:gd name="T56" fmla="*/ 40 w 106"/>
                  <a:gd name="T57" fmla="*/ 98 h 98"/>
                  <a:gd name="T58" fmla="*/ 32 w 106"/>
                  <a:gd name="T59" fmla="*/ 94 h 98"/>
                  <a:gd name="T60" fmla="*/ 20 w 106"/>
                  <a:gd name="T61" fmla="*/ 91 h 98"/>
                  <a:gd name="T62" fmla="*/ 13 w 106"/>
                  <a:gd name="T63" fmla="*/ 76 h 98"/>
                  <a:gd name="T64" fmla="*/ 0 w 106"/>
                  <a:gd name="T65" fmla="*/ 57 h 98"/>
                  <a:gd name="T66" fmla="*/ 6 w 106"/>
                  <a:gd name="T67" fmla="*/ 57 h 98"/>
                  <a:gd name="T68" fmla="*/ 7 w 106"/>
                  <a:gd name="T69" fmla="*/ 53 h 98"/>
                  <a:gd name="T70" fmla="*/ 4 w 106"/>
                  <a:gd name="T71" fmla="*/ 51 h 98"/>
                  <a:gd name="T72" fmla="*/ 7 w 106"/>
                  <a:gd name="T73" fmla="*/ 51 h 98"/>
                  <a:gd name="T74" fmla="*/ 4 w 106"/>
                  <a:gd name="T75" fmla="*/ 44 h 98"/>
                  <a:gd name="T76" fmla="*/ 2 w 106"/>
                  <a:gd name="T77" fmla="*/ 41 h 98"/>
                  <a:gd name="T78" fmla="*/ 6 w 106"/>
                  <a:gd name="T79" fmla="*/ 43 h 98"/>
                  <a:gd name="T80" fmla="*/ 4 w 106"/>
                  <a:gd name="T81" fmla="*/ 35 h 98"/>
                  <a:gd name="T82" fmla="*/ 7 w 106"/>
                  <a:gd name="T83" fmla="*/ 30 h 98"/>
                  <a:gd name="T84" fmla="*/ 13 w 106"/>
                  <a:gd name="T85" fmla="*/ 28 h 98"/>
                  <a:gd name="T86" fmla="*/ 9 w 106"/>
                  <a:gd name="T87" fmla="*/ 26 h 98"/>
                  <a:gd name="T88" fmla="*/ 11 w 106"/>
                  <a:gd name="T89" fmla="*/ 16 h 98"/>
                  <a:gd name="T90" fmla="*/ 20 w 106"/>
                  <a:gd name="T91" fmla="*/ 12 h 98"/>
                  <a:gd name="T92" fmla="*/ 24 w 106"/>
                  <a:gd name="T93" fmla="*/ 7 h 98"/>
                  <a:gd name="T94" fmla="*/ 34 w 106"/>
                  <a:gd name="T95" fmla="*/ 0 h 98"/>
                  <a:gd name="T96" fmla="*/ 34 w 106"/>
                  <a:gd name="T97" fmla="*/ 5 h 98"/>
                  <a:gd name="T98" fmla="*/ 41 w 106"/>
                  <a:gd name="T99" fmla="*/ 16 h 98"/>
                  <a:gd name="T100" fmla="*/ 47 w 106"/>
                  <a:gd name="T101" fmla="*/ 16 h 98"/>
                  <a:gd name="T102" fmla="*/ 49 w 106"/>
                  <a:gd name="T103" fmla="*/ 21 h 98"/>
                  <a:gd name="T104" fmla="*/ 49 w 106"/>
                  <a:gd name="T105" fmla="*/ 2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98">
                    <a:moveTo>
                      <a:pt x="52" y="25"/>
                    </a:moveTo>
                    <a:lnTo>
                      <a:pt x="52" y="26"/>
                    </a:lnTo>
                    <a:lnTo>
                      <a:pt x="52" y="28"/>
                    </a:lnTo>
                    <a:lnTo>
                      <a:pt x="54" y="26"/>
                    </a:lnTo>
                    <a:lnTo>
                      <a:pt x="59" y="28"/>
                    </a:lnTo>
                    <a:lnTo>
                      <a:pt x="57" y="30"/>
                    </a:lnTo>
                    <a:lnTo>
                      <a:pt x="59" y="32"/>
                    </a:lnTo>
                    <a:lnTo>
                      <a:pt x="56" y="35"/>
                    </a:lnTo>
                    <a:lnTo>
                      <a:pt x="57" y="35"/>
                    </a:lnTo>
                    <a:lnTo>
                      <a:pt x="57" y="37"/>
                    </a:lnTo>
                    <a:lnTo>
                      <a:pt x="57" y="39"/>
                    </a:lnTo>
                    <a:lnTo>
                      <a:pt x="59" y="39"/>
                    </a:lnTo>
                    <a:lnTo>
                      <a:pt x="61" y="41"/>
                    </a:lnTo>
                    <a:lnTo>
                      <a:pt x="63" y="39"/>
                    </a:lnTo>
                    <a:lnTo>
                      <a:pt x="66" y="41"/>
                    </a:lnTo>
                    <a:lnTo>
                      <a:pt x="66" y="39"/>
                    </a:lnTo>
                    <a:lnTo>
                      <a:pt x="66" y="32"/>
                    </a:lnTo>
                    <a:lnTo>
                      <a:pt x="68" y="30"/>
                    </a:lnTo>
                    <a:lnTo>
                      <a:pt x="66" y="26"/>
                    </a:lnTo>
                    <a:lnTo>
                      <a:pt x="65" y="14"/>
                    </a:lnTo>
                    <a:lnTo>
                      <a:pt x="68" y="10"/>
                    </a:lnTo>
                    <a:lnTo>
                      <a:pt x="70" y="9"/>
                    </a:lnTo>
                    <a:lnTo>
                      <a:pt x="77" y="14"/>
                    </a:lnTo>
                    <a:lnTo>
                      <a:pt x="86" y="32"/>
                    </a:lnTo>
                    <a:lnTo>
                      <a:pt x="90" y="32"/>
                    </a:lnTo>
                    <a:lnTo>
                      <a:pt x="91" y="34"/>
                    </a:lnTo>
                    <a:lnTo>
                      <a:pt x="91" y="37"/>
                    </a:lnTo>
                    <a:lnTo>
                      <a:pt x="86" y="53"/>
                    </a:lnTo>
                    <a:lnTo>
                      <a:pt x="90" y="69"/>
                    </a:lnTo>
                    <a:lnTo>
                      <a:pt x="93" y="75"/>
                    </a:lnTo>
                    <a:lnTo>
                      <a:pt x="100" y="76"/>
                    </a:lnTo>
                    <a:lnTo>
                      <a:pt x="106" y="80"/>
                    </a:lnTo>
                    <a:lnTo>
                      <a:pt x="106" y="82"/>
                    </a:lnTo>
                    <a:lnTo>
                      <a:pt x="106" y="84"/>
                    </a:lnTo>
                    <a:lnTo>
                      <a:pt x="100" y="85"/>
                    </a:lnTo>
                    <a:lnTo>
                      <a:pt x="93" y="82"/>
                    </a:lnTo>
                    <a:lnTo>
                      <a:pt x="91" y="87"/>
                    </a:lnTo>
                    <a:lnTo>
                      <a:pt x="88" y="89"/>
                    </a:lnTo>
                    <a:lnTo>
                      <a:pt x="82" y="80"/>
                    </a:lnTo>
                    <a:lnTo>
                      <a:pt x="84" y="80"/>
                    </a:lnTo>
                    <a:lnTo>
                      <a:pt x="84" y="76"/>
                    </a:lnTo>
                    <a:lnTo>
                      <a:pt x="81" y="75"/>
                    </a:lnTo>
                    <a:lnTo>
                      <a:pt x="77" y="80"/>
                    </a:lnTo>
                    <a:lnTo>
                      <a:pt x="65" y="84"/>
                    </a:lnTo>
                    <a:lnTo>
                      <a:pt x="61" y="89"/>
                    </a:lnTo>
                    <a:lnTo>
                      <a:pt x="54" y="91"/>
                    </a:lnTo>
                    <a:lnTo>
                      <a:pt x="50" y="91"/>
                    </a:lnTo>
                    <a:lnTo>
                      <a:pt x="49" y="89"/>
                    </a:lnTo>
                    <a:lnTo>
                      <a:pt x="50" y="89"/>
                    </a:lnTo>
                    <a:lnTo>
                      <a:pt x="52" y="87"/>
                    </a:lnTo>
                    <a:lnTo>
                      <a:pt x="49" y="85"/>
                    </a:lnTo>
                    <a:lnTo>
                      <a:pt x="47" y="82"/>
                    </a:lnTo>
                    <a:lnTo>
                      <a:pt x="47" y="75"/>
                    </a:lnTo>
                    <a:lnTo>
                      <a:pt x="43" y="78"/>
                    </a:lnTo>
                    <a:lnTo>
                      <a:pt x="41" y="85"/>
                    </a:lnTo>
                    <a:lnTo>
                      <a:pt x="45" y="84"/>
                    </a:lnTo>
                    <a:lnTo>
                      <a:pt x="41" y="94"/>
                    </a:lnTo>
                    <a:lnTo>
                      <a:pt x="40" y="98"/>
                    </a:lnTo>
                    <a:lnTo>
                      <a:pt x="38" y="98"/>
                    </a:lnTo>
                    <a:lnTo>
                      <a:pt x="32" y="94"/>
                    </a:lnTo>
                    <a:lnTo>
                      <a:pt x="25" y="94"/>
                    </a:lnTo>
                    <a:lnTo>
                      <a:pt x="20" y="91"/>
                    </a:lnTo>
                    <a:lnTo>
                      <a:pt x="15" y="76"/>
                    </a:lnTo>
                    <a:lnTo>
                      <a:pt x="13" y="76"/>
                    </a:lnTo>
                    <a:lnTo>
                      <a:pt x="4" y="71"/>
                    </a:lnTo>
                    <a:lnTo>
                      <a:pt x="0" y="57"/>
                    </a:lnTo>
                    <a:lnTo>
                      <a:pt x="2" y="55"/>
                    </a:lnTo>
                    <a:lnTo>
                      <a:pt x="6" y="57"/>
                    </a:lnTo>
                    <a:lnTo>
                      <a:pt x="9" y="57"/>
                    </a:lnTo>
                    <a:lnTo>
                      <a:pt x="7" y="53"/>
                    </a:lnTo>
                    <a:lnTo>
                      <a:pt x="6" y="53"/>
                    </a:lnTo>
                    <a:lnTo>
                      <a:pt x="4" y="51"/>
                    </a:lnTo>
                    <a:lnTo>
                      <a:pt x="6" y="51"/>
                    </a:lnTo>
                    <a:lnTo>
                      <a:pt x="7" y="51"/>
                    </a:lnTo>
                    <a:lnTo>
                      <a:pt x="7" y="48"/>
                    </a:lnTo>
                    <a:lnTo>
                      <a:pt x="4" y="44"/>
                    </a:lnTo>
                    <a:lnTo>
                      <a:pt x="2" y="41"/>
                    </a:lnTo>
                    <a:lnTo>
                      <a:pt x="2" y="41"/>
                    </a:lnTo>
                    <a:lnTo>
                      <a:pt x="6" y="44"/>
                    </a:lnTo>
                    <a:lnTo>
                      <a:pt x="6" y="43"/>
                    </a:lnTo>
                    <a:lnTo>
                      <a:pt x="6" y="39"/>
                    </a:lnTo>
                    <a:lnTo>
                      <a:pt x="4" y="35"/>
                    </a:lnTo>
                    <a:lnTo>
                      <a:pt x="4" y="32"/>
                    </a:lnTo>
                    <a:lnTo>
                      <a:pt x="7" y="30"/>
                    </a:lnTo>
                    <a:lnTo>
                      <a:pt x="11" y="30"/>
                    </a:lnTo>
                    <a:lnTo>
                      <a:pt x="13" y="28"/>
                    </a:lnTo>
                    <a:lnTo>
                      <a:pt x="11" y="25"/>
                    </a:lnTo>
                    <a:lnTo>
                      <a:pt x="9" y="26"/>
                    </a:lnTo>
                    <a:lnTo>
                      <a:pt x="7" y="19"/>
                    </a:lnTo>
                    <a:lnTo>
                      <a:pt x="11" y="16"/>
                    </a:lnTo>
                    <a:lnTo>
                      <a:pt x="11" y="16"/>
                    </a:lnTo>
                    <a:lnTo>
                      <a:pt x="20" y="12"/>
                    </a:lnTo>
                    <a:lnTo>
                      <a:pt x="22" y="5"/>
                    </a:lnTo>
                    <a:lnTo>
                      <a:pt x="24" y="7"/>
                    </a:lnTo>
                    <a:lnTo>
                      <a:pt x="31" y="1"/>
                    </a:lnTo>
                    <a:lnTo>
                      <a:pt x="34" y="0"/>
                    </a:lnTo>
                    <a:lnTo>
                      <a:pt x="36" y="1"/>
                    </a:lnTo>
                    <a:lnTo>
                      <a:pt x="34" y="5"/>
                    </a:lnTo>
                    <a:lnTo>
                      <a:pt x="34" y="7"/>
                    </a:lnTo>
                    <a:lnTo>
                      <a:pt x="41" y="16"/>
                    </a:lnTo>
                    <a:lnTo>
                      <a:pt x="43" y="18"/>
                    </a:lnTo>
                    <a:lnTo>
                      <a:pt x="47" y="16"/>
                    </a:lnTo>
                    <a:lnTo>
                      <a:pt x="47" y="19"/>
                    </a:lnTo>
                    <a:lnTo>
                      <a:pt x="49" y="21"/>
                    </a:lnTo>
                    <a:lnTo>
                      <a:pt x="47" y="23"/>
                    </a:lnTo>
                    <a:lnTo>
                      <a:pt x="49" y="26"/>
                    </a:lnTo>
                    <a:lnTo>
                      <a:pt x="52" y="2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78" name="Freeform 2027"/>
              <p:cNvSpPr>
                <a:spLocks/>
              </p:cNvSpPr>
              <p:nvPr/>
            </p:nvSpPr>
            <p:spPr bwMode="auto">
              <a:xfrm>
                <a:off x="4883" y="781"/>
                <a:ext cx="106" cy="98"/>
              </a:xfrm>
              <a:custGeom>
                <a:avLst/>
                <a:gdLst>
                  <a:gd name="T0" fmla="*/ 52 w 106"/>
                  <a:gd name="T1" fmla="*/ 26 h 98"/>
                  <a:gd name="T2" fmla="*/ 54 w 106"/>
                  <a:gd name="T3" fmla="*/ 26 h 98"/>
                  <a:gd name="T4" fmla="*/ 57 w 106"/>
                  <a:gd name="T5" fmla="*/ 30 h 98"/>
                  <a:gd name="T6" fmla="*/ 56 w 106"/>
                  <a:gd name="T7" fmla="*/ 35 h 98"/>
                  <a:gd name="T8" fmla="*/ 57 w 106"/>
                  <a:gd name="T9" fmla="*/ 37 h 98"/>
                  <a:gd name="T10" fmla="*/ 59 w 106"/>
                  <a:gd name="T11" fmla="*/ 39 h 98"/>
                  <a:gd name="T12" fmla="*/ 63 w 106"/>
                  <a:gd name="T13" fmla="*/ 39 h 98"/>
                  <a:gd name="T14" fmla="*/ 66 w 106"/>
                  <a:gd name="T15" fmla="*/ 39 h 98"/>
                  <a:gd name="T16" fmla="*/ 68 w 106"/>
                  <a:gd name="T17" fmla="*/ 30 h 98"/>
                  <a:gd name="T18" fmla="*/ 65 w 106"/>
                  <a:gd name="T19" fmla="*/ 14 h 98"/>
                  <a:gd name="T20" fmla="*/ 70 w 106"/>
                  <a:gd name="T21" fmla="*/ 9 h 98"/>
                  <a:gd name="T22" fmla="*/ 86 w 106"/>
                  <a:gd name="T23" fmla="*/ 32 h 98"/>
                  <a:gd name="T24" fmla="*/ 91 w 106"/>
                  <a:gd name="T25" fmla="*/ 34 h 98"/>
                  <a:gd name="T26" fmla="*/ 86 w 106"/>
                  <a:gd name="T27" fmla="*/ 53 h 98"/>
                  <a:gd name="T28" fmla="*/ 93 w 106"/>
                  <a:gd name="T29" fmla="*/ 75 h 98"/>
                  <a:gd name="T30" fmla="*/ 106 w 106"/>
                  <a:gd name="T31" fmla="*/ 80 h 98"/>
                  <a:gd name="T32" fmla="*/ 106 w 106"/>
                  <a:gd name="T33" fmla="*/ 84 h 98"/>
                  <a:gd name="T34" fmla="*/ 93 w 106"/>
                  <a:gd name="T35" fmla="*/ 82 h 98"/>
                  <a:gd name="T36" fmla="*/ 88 w 106"/>
                  <a:gd name="T37" fmla="*/ 89 h 98"/>
                  <a:gd name="T38" fmla="*/ 84 w 106"/>
                  <a:gd name="T39" fmla="*/ 80 h 98"/>
                  <a:gd name="T40" fmla="*/ 81 w 106"/>
                  <a:gd name="T41" fmla="*/ 75 h 98"/>
                  <a:gd name="T42" fmla="*/ 65 w 106"/>
                  <a:gd name="T43" fmla="*/ 84 h 98"/>
                  <a:gd name="T44" fmla="*/ 54 w 106"/>
                  <a:gd name="T45" fmla="*/ 91 h 98"/>
                  <a:gd name="T46" fmla="*/ 49 w 106"/>
                  <a:gd name="T47" fmla="*/ 89 h 98"/>
                  <a:gd name="T48" fmla="*/ 52 w 106"/>
                  <a:gd name="T49" fmla="*/ 87 h 98"/>
                  <a:gd name="T50" fmla="*/ 47 w 106"/>
                  <a:gd name="T51" fmla="*/ 82 h 98"/>
                  <a:gd name="T52" fmla="*/ 43 w 106"/>
                  <a:gd name="T53" fmla="*/ 78 h 98"/>
                  <a:gd name="T54" fmla="*/ 45 w 106"/>
                  <a:gd name="T55" fmla="*/ 84 h 98"/>
                  <a:gd name="T56" fmla="*/ 40 w 106"/>
                  <a:gd name="T57" fmla="*/ 98 h 98"/>
                  <a:gd name="T58" fmla="*/ 32 w 106"/>
                  <a:gd name="T59" fmla="*/ 94 h 98"/>
                  <a:gd name="T60" fmla="*/ 20 w 106"/>
                  <a:gd name="T61" fmla="*/ 91 h 98"/>
                  <a:gd name="T62" fmla="*/ 13 w 106"/>
                  <a:gd name="T63" fmla="*/ 76 h 98"/>
                  <a:gd name="T64" fmla="*/ 0 w 106"/>
                  <a:gd name="T65" fmla="*/ 57 h 98"/>
                  <a:gd name="T66" fmla="*/ 6 w 106"/>
                  <a:gd name="T67" fmla="*/ 57 h 98"/>
                  <a:gd name="T68" fmla="*/ 7 w 106"/>
                  <a:gd name="T69" fmla="*/ 53 h 98"/>
                  <a:gd name="T70" fmla="*/ 4 w 106"/>
                  <a:gd name="T71" fmla="*/ 51 h 98"/>
                  <a:gd name="T72" fmla="*/ 7 w 106"/>
                  <a:gd name="T73" fmla="*/ 51 h 98"/>
                  <a:gd name="T74" fmla="*/ 4 w 106"/>
                  <a:gd name="T75" fmla="*/ 44 h 98"/>
                  <a:gd name="T76" fmla="*/ 2 w 106"/>
                  <a:gd name="T77" fmla="*/ 41 h 98"/>
                  <a:gd name="T78" fmla="*/ 6 w 106"/>
                  <a:gd name="T79" fmla="*/ 43 h 98"/>
                  <a:gd name="T80" fmla="*/ 4 w 106"/>
                  <a:gd name="T81" fmla="*/ 35 h 98"/>
                  <a:gd name="T82" fmla="*/ 7 w 106"/>
                  <a:gd name="T83" fmla="*/ 30 h 98"/>
                  <a:gd name="T84" fmla="*/ 13 w 106"/>
                  <a:gd name="T85" fmla="*/ 28 h 98"/>
                  <a:gd name="T86" fmla="*/ 9 w 106"/>
                  <a:gd name="T87" fmla="*/ 26 h 98"/>
                  <a:gd name="T88" fmla="*/ 11 w 106"/>
                  <a:gd name="T89" fmla="*/ 16 h 98"/>
                  <a:gd name="T90" fmla="*/ 20 w 106"/>
                  <a:gd name="T91" fmla="*/ 12 h 98"/>
                  <a:gd name="T92" fmla="*/ 24 w 106"/>
                  <a:gd name="T93" fmla="*/ 7 h 98"/>
                  <a:gd name="T94" fmla="*/ 34 w 106"/>
                  <a:gd name="T95" fmla="*/ 0 h 98"/>
                  <a:gd name="T96" fmla="*/ 34 w 106"/>
                  <a:gd name="T97" fmla="*/ 5 h 98"/>
                  <a:gd name="T98" fmla="*/ 41 w 106"/>
                  <a:gd name="T99" fmla="*/ 16 h 98"/>
                  <a:gd name="T100" fmla="*/ 47 w 106"/>
                  <a:gd name="T101" fmla="*/ 16 h 98"/>
                  <a:gd name="T102" fmla="*/ 49 w 106"/>
                  <a:gd name="T103" fmla="*/ 21 h 98"/>
                  <a:gd name="T104" fmla="*/ 49 w 106"/>
                  <a:gd name="T105" fmla="*/ 2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98">
                    <a:moveTo>
                      <a:pt x="52" y="25"/>
                    </a:moveTo>
                    <a:lnTo>
                      <a:pt x="52" y="26"/>
                    </a:lnTo>
                    <a:lnTo>
                      <a:pt x="52" y="28"/>
                    </a:lnTo>
                    <a:lnTo>
                      <a:pt x="54" y="26"/>
                    </a:lnTo>
                    <a:lnTo>
                      <a:pt x="59" y="28"/>
                    </a:lnTo>
                    <a:lnTo>
                      <a:pt x="57" y="30"/>
                    </a:lnTo>
                    <a:lnTo>
                      <a:pt x="59" y="32"/>
                    </a:lnTo>
                    <a:lnTo>
                      <a:pt x="56" y="35"/>
                    </a:lnTo>
                    <a:lnTo>
                      <a:pt x="57" y="35"/>
                    </a:lnTo>
                    <a:lnTo>
                      <a:pt x="57" y="37"/>
                    </a:lnTo>
                    <a:lnTo>
                      <a:pt x="57" y="39"/>
                    </a:lnTo>
                    <a:lnTo>
                      <a:pt x="59" y="39"/>
                    </a:lnTo>
                    <a:lnTo>
                      <a:pt x="61" y="41"/>
                    </a:lnTo>
                    <a:lnTo>
                      <a:pt x="63" y="39"/>
                    </a:lnTo>
                    <a:lnTo>
                      <a:pt x="66" y="41"/>
                    </a:lnTo>
                    <a:lnTo>
                      <a:pt x="66" y="39"/>
                    </a:lnTo>
                    <a:lnTo>
                      <a:pt x="66" y="32"/>
                    </a:lnTo>
                    <a:lnTo>
                      <a:pt x="68" y="30"/>
                    </a:lnTo>
                    <a:lnTo>
                      <a:pt x="66" y="26"/>
                    </a:lnTo>
                    <a:lnTo>
                      <a:pt x="65" y="14"/>
                    </a:lnTo>
                    <a:lnTo>
                      <a:pt x="68" y="10"/>
                    </a:lnTo>
                    <a:lnTo>
                      <a:pt x="70" y="9"/>
                    </a:lnTo>
                    <a:lnTo>
                      <a:pt x="77" y="14"/>
                    </a:lnTo>
                    <a:lnTo>
                      <a:pt x="86" y="32"/>
                    </a:lnTo>
                    <a:lnTo>
                      <a:pt x="90" y="32"/>
                    </a:lnTo>
                    <a:lnTo>
                      <a:pt x="91" y="34"/>
                    </a:lnTo>
                    <a:lnTo>
                      <a:pt x="91" y="37"/>
                    </a:lnTo>
                    <a:lnTo>
                      <a:pt x="86" y="53"/>
                    </a:lnTo>
                    <a:lnTo>
                      <a:pt x="90" y="69"/>
                    </a:lnTo>
                    <a:lnTo>
                      <a:pt x="93" y="75"/>
                    </a:lnTo>
                    <a:lnTo>
                      <a:pt x="100" y="76"/>
                    </a:lnTo>
                    <a:lnTo>
                      <a:pt x="106" y="80"/>
                    </a:lnTo>
                    <a:lnTo>
                      <a:pt x="106" y="82"/>
                    </a:lnTo>
                    <a:lnTo>
                      <a:pt x="106" y="84"/>
                    </a:lnTo>
                    <a:lnTo>
                      <a:pt x="100" y="85"/>
                    </a:lnTo>
                    <a:lnTo>
                      <a:pt x="93" y="82"/>
                    </a:lnTo>
                    <a:lnTo>
                      <a:pt x="91" y="87"/>
                    </a:lnTo>
                    <a:lnTo>
                      <a:pt x="88" y="89"/>
                    </a:lnTo>
                    <a:lnTo>
                      <a:pt x="82" y="80"/>
                    </a:lnTo>
                    <a:lnTo>
                      <a:pt x="84" y="80"/>
                    </a:lnTo>
                    <a:lnTo>
                      <a:pt x="84" y="76"/>
                    </a:lnTo>
                    <a:lnTo>
                      <a:pt x="81" y="75"/>
                    </a:lnTo>
                    <a:lnTo>
                      <a:pt x="77" y="80"/>
                    </a:lnTo>
                    <a:lnTo>
                      <a:pt x="65" y="84"/>
                    </a:lnTo>
                    <a:lnTo>
                      <a:pt x="61" y="89"/>
                    </a:lnTo>
                    <a:lnTo>
                      <a:pt x="54" y="91"/>
                    </a:lnTo>
                    <a:lnTo>
                      <a:pt x="50" y="91"/>
                    </a:lnTo>
                    <a:lnTo>
                      <a:pt x="49" y="89"/>
                    </a:lnTo>
                    <a:lnTo>
                      <a:pt x="50" y="89"/>
                    </a:lnTo>
                    <a:lnTo>
                      <a:pt x="52" y="87"/>
                    </a:lnTo>
                    <a:lnTo>
                      <a:pt x="49" y="85"/>
                    </a:lnTo>
                    <a:lnTo>
                      <a:pt x="47" y="82"/>
                    </a:lnTo>
                    <a:lnTo>
                      <a:pt x="47" y="75"/>
                    </a:lnTo>
                    <a:lnTo>
                      <a:pt x="43" y="78"/>
                    </a:lnTo>
                    <a:lnTo>
                      <a:pt x="41" y="85"/>
                    </a:lnTo>
                    <a:lnTo>
                      <a:pt x="45" y="84"/>
                    </a:lnTo>
                    <a:lnTo>
                      <a:pt x="41" y="94"/>
                    </a:lnTo>
                    <a:lnTo>
                      <a:pt x="40" y="98"/>
                    </a:lnTo>
                    <a:lnTo>
                      <a:pt x="38" y="98"/>
                    </a:lnTo>
                    <a:lnTo>
                      <a:pt x="32" y="94"/>
                    </a:lnTo>
                    <a:lnTo>
                      <a:pt x="25" y="94"/>
                    </a:lnTo>
                    <a:lnTo>
                      <a:pt x="20" y="91"/>
                    </a:lnTo>
                    <a:lnTo>
                      <a:pt x="15" y="76"/>
                    </a:lnTo>
                    <a:lnTo>
                      <a:pt x="13" y="76"/>
                    </a:lnTo>
                    <a:lnTo>
                      <a:pt x="4" y="71"/>
                    </a:lnTo>
                    <a:lnTo>
                      <a:pt x="0" y="57"/>
                    </a:lnTo>
                    <a:lnTo>
                      <a:pt x="2" y="55"/>
                    </a:lnTo>
                    <a:lnTo>
                      <a:pt x="6" y="57"/>
                    </a:lnTo>
                    <a:lnTo>
                      <a:pt x="9" y="57"/>
                    </a:lnTo>
                    <a:lnTo>
                      <a:pt x="7" y="53"/>
                    </a:lnTo>
                    <a:lnTo>
                      <a:pt x="6" y="53"/>
                    </a:lnTo>
                    <a:lnTo>
                      <a:pt x="4" y="51"/>
                    </a:lnTo>
                    <a:lnTo>
                      <a:pt x="6" y="51"/>
                    </a:lnTo>
                    <a:lnTo>
                      <a:pt x="7" y="51"/>
                    </a:lnTo>
                    <a:lnTo>
                      <a:pt x="7" y="48"/>
                    </a:lnTo>
                    <a:lnTo>
                      <a:pt x="4" y="44"/>
                    </a:lnTo>
                    <a:lnTo>
                      <a:pt x="2" y="41"/>
                    </a:lnTo>
                    <a:lnTo>
                      <a:pt x="2" y="41"/>
                    </a:lnTo>
                    <a:lnTo>
                      <a:pt x="6" y="44"/>
                    </a:lnTo>
                    <a:lnTo>
                      <a:pt x="6" y="43"/>
                    </a:lnTo>
                    <a:lnTo>
                      <a:pt x="6" y="39"/>
                    </a:lnTo>
                    <a:lnTo>
                      <a:pt x="4" y="35"/>
                    </a:lnTo>
                    <a:lnTo>
                      <a:pt x="4" y="32"/>
                    </a:lnTo>
                    <a:lnTo>
                      <a:pt x="7" y="30"/>
                    </a:lnTo>
                    <a:lnTo>
                      <a:pt x="11" y="30"/>
                    </a:lnTo>
                    <a:lnTo>
                      <a:pt x="13" y="28"/>
                    </a:lnTo>
                    <a:lnTo>
                      <a:pt x="11" y="25"/>
                    </a:lnTo>
                    <a:lnTo>
                      <a:pt x="9" y="26"/>
                    </a:lnTo>
                    <a:lnTo>
                      <a:pt x="7" y="19"/>
                    </a:lnTo>
                    <a:lnTo>
                      <a:pt x="11" y="16"/>
                    </a:lnTo>
                    <a:lnTo>
                      <a:pt x="11" y="16"/>
                    </a:lnTo>
                    <a:lnTo>
                      <a:pt x="20" y="12"/>
                    </a:lnTo>
                    <a:lnTo>
                      <a:pt x="22" y="5"/>
                    </a:lnTo>
                    <a:lnTo>
                      <a:pt x="24" y="7"/>
                    </a:lnTo>
                    <a:lnTo>
                      <a:pt x="31" y="1"/>
                    </a:lnTo>
                    <a:lnTo>
                      <a:pt x="34" y="0"/>
                    </a:lnTo>
                    <a:lnTo>
                      <a:pt x="36" y="1"/>
                    </a:lnTo>
                    <a:lnTo>
                      <a:pt x="34" y="5"/>
                    </a:lnTo>
                    <a:lnTo>
                      <a:pt x="34" y="7"/>
                    </a:lnTo>
                    <a:lnTo>
                      <a:pt x="41" y="16"/>
                    </a:lnTo>
                    <a:lnTo>
                      <a:pt x="43" y="18"/>
                    </a:lnTo>
                    <a:lnTo>
                      <a:pt x="47" y="16"/>
                    </a:lnTo>
                    <a:lnTo>
                      <a:pt x="47" y="19"/>
                    </a:lnTo>
                    <a:lnTo>
                      <a:pt x="49" y="21"/>
                    </a:lnTo>
                    <a:lnTo>
                      <a:pt x="47" y="23"/>
                    </a:lnTo>
                    <a:lnTo>
                      <a:pt x="49" y="26"/>
                    </a:lnTo>
                    <a:lnTo>
                      <a:pt x="52" y="2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79" name="Freeform 2028"/>
              <p:cNvSpPr>
                <a:spLocks/>
              </p:cNvSpPr>
              <p:nvPr/>
            </p:nvSpPr>
            <p:spPr bwMode="auto">
              <a:xfrm>
                <a:off x="4957" y="786"/>
                <a:ext cx="66" cy="73"/>
              </a:xfrm>
              <a:custGeom>
                <a:avLst/>
                <a:gdLst>
                  <a:gd name="T0" fmla="*/ 0 w 66"/>
                  <a:gd name="T1" fmla="*/ 0 h 73"/>
                  <a:gd name="T2" fmla="*/ 5 w 66"/>
                  <a:gd name="T3" fmla="*/ 4 h 73"/>
                  <a:gd name="T4" fmla="*/ 10 w 66"/>
                  <a:gd name="T5" fmla="*/ 9 h 73"/>
                  <a:gd name="T6" fmla="*/ 12 w 66"/>
                  <a:gd name="T7" fmla="*/ 11 h 73"/>
                  <a:gd name="T8" fmla="*/ 16 w 66"/>
                  <a:gd name="T9" fmla="*/ 18 h 73"/>
                  <a:gd name="T10" fmla="*/ 19 w 66"/>
                  <a:gd name="T11" fmla="*/ 20 h 73"/>
                  <a:gd name="T12" fmla="*/ 26 w 66"/>
                  <a:gd name="T13" fmla="*/ 21 h 73"/>
                  <a:gd name="T14" fmla="*/ 32 w 66"/>
                  <a:gd name="T15" fmla="*/ 18 h 73"/>
                  <a:gd name="T16" fmla="*/ 33 w 66"/>
                  <a:gd name="T17" fmla="*/ 16 h 73"/>
                  <a:gd name="T18" fmla="*/ 41 w 66"/>
                  <a:gd name="T19" fmla="*/ 20 h 73"/>
                  <a:gd name="T20" fmla="*/ 44 w 66"/>
                  <a:gd name="T21" fmla="*/ 27 h 73"/>
                  <a:gd name="T22" fmla="*/ 58 w 66"/>
                  <a:gd name="T23" fmla="*/ 36 h 73"/>
                  <a:gd name="T24" fmla="*/ 64 w 66"/>
                  <a:gd name="T25" fmla="*/ 41 h 73"/>
                  <a:gd name="T26" fmla="*/ 66 w 66"/>
                  <a:gd name="T27" fmla="*/ 41 h 73"/>
                  <a:gd name="T28" fmla="*/ 66 w 66"/>
                  <a:gd name="T29" fmla="*/ 43 h 73"/>
                  <a:gd name="T30" fmla="*/ 60 w 66"/>
                  <a:gd name="T31" fmla="*/ 41 h 73"/>
                  <a:gd name="T32" fmla="*/ 57 w 66"/>
                  <a:gd name="T33" fmla="*/ 43 h 73"/>
                  <a:gd name="T34" fmla="*/ 57 w 66"/>
                  <a:gd name="T35" fmla="*/ 45 h 73"/>
                  <a:gd name="T36" fmla="*/ 53 w 66"/>
                  <a:gd name="T37" fmla="*/ 46 h 73"/>
                  <a:gd name="T38" fmla="*/ 55 w 66"/>
                  <a:gd name="T39" fmla="*/ 46 h 73"/>
                  <a:gd name="T40" fmla="*/ 53 w 66"/>
                  <a:gd name="T41" fmla="*/ 54 h 73"/>
                  <a:gd name="T42" fmla="*/ 55 w 66"/>
                  <a:gd name="T43" fmla="*/ 57 h 73"/>
                  <a:gd name="T44" fmla="*/ 53 w 66"/>
                  <a:gd name="T45" fmla="*/ 59 h 73"/>
                  <a:gd name="T46" fmla="*/ 53 w 66"/>
                  <a:gd name="T47" fmla="*/ 64 h 73"/>
                  <a:gd name="T48" fmla="*/ 50 w 66"/>
                  <a:gd name="T49" fmla="*/ 66 h 73"/>
                  <a:gd name="T50" fmla="*/ 48 w 66"/>
                  <a:gd name="T51" fmla="*/ 68 h 73"/>
                  <a:gd name="T52" fmla="*/ 41 w 66"/>
                  <a:gd name="T53" fmla="*/ 73 h 73"/>
                  <a:gd name="T54" fmla="*/ 37 w 66"/>
                  <a:gd name="T55" fmla="*/ 70 h 73"/>
                  <a:gd name="T56" fmla="*/ 26 w 66"/>
                  <a:gd name="T57" fmla="*/ 68 h 73"/>
                  <a:gd name="T58" fmla="*/ 23 w 66"/>
                  <a:gd name="T59" fmla="*/ 64 h 73"/>
                  <a:gd name="T60" fmla="*/ 16 w 66"/>
                  <a:gd name="T61" fmla="*/ 48 h 73"/>
                  <a:gd name="T62" fmla="*/ 21 w 66"/>
                  <a:gd name="T63" fmla="*/ 25 h 73"/>
                  <a:gd name="T64" fmla="*/ 19 w 66"/>
                  <a:gd name="T65" fmla="*/ 25 h 73"/>
                  <a:gd name="T66" fmla="*/ 17 w 66"/>
                  <a:gd name="T67" fmla="*/ 21 h 73"/>
                  <a:gd name="T68" fmla="*/ 0 w 66"/>
                  <a:gd name="T69"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73">
                    <a:moveTo>
                      <a:pt x="0" y="0"/>
                    </a:moveTo>
                    <a:lnTo>
                      <a:pt x="5" y="4"/>
                    </a:lnTo>
                    <a:lnTo>
                      <a:pt x="10" y="9"/>
                    </a:lnTo>
                    <a:lnTo>
                      <a:pt x="12" y="11"/>
                    </a:lnTo>
                    <a:lnTo>
                      <a:pt x="16" y="18"/>
                    </a:lnTo>
                    <a:lnTo>
                      <a:pt x="19" y="20"/>
                    </a:lnTo>
                    <a:lnTo>
                      <a:pt x="26" y="21"/>
                    </a:lnTo>
                    <a:lnTo>
                      <a:pt x="32" y="18"/>
                    </a:lnTo>
                    <a:lnTo>
                      <a:pt x="33" y="16"/>
                    </a:lnTo>
                    <a:lnTo>
                      <a:pt x="41" y="20"/>
                    </a:lnTo>
                    <a:lnTo>
                      <a:pt x="44" y="27"/>
                    </a:lnTo>
                    <a:lnTo>
                      <a:pt x="58" y="36"/>
                    </a:lnTo>
                    <a:lnTo>
                      <a:pt x="64" y="41"/>
                    </a:lnTo>
                    <a:lnTo>
                      <a:pt x="66" y="41"/>
                    </a:lnTo>
                    <a:lnTo>
                      <a:pt x="66" y="43"/>
                    </a:lnTo>
                    <a:lnTo>
                      <a:pt x="60" y="41"/>
                    </a:lnTo>
                    <a:lnTo>
                      <a:pt x="57" y="43"/>
                    </a:lnTo>
                    <a:lnTo>
                      <a:pt x="57" y="45"/>
                    </a:lnTo>
                    <a:lnTo>
                      <a:pt x="53" y="46"/>
                    </a:lnTo>
                    <a:lnTo>
                      <a:pt x="55" y="46"/>
                    </a:lnTo>
                    <a:lnTo>
                      <a:pt x="53" y="54"/>
                    </a:lnTo>
                    <a:lnTo>
                      <a:pt x="55" y="57"/>
                    </a:lnTo>
                    <a:lnTo>
                      <a:pt x="53" y="59"/>
                    </a:lnTo>
                    <a:lnTo>
                      <a:pt x="53" y="64"/>
                    </a:lnTo>
                    <a:lnTo>
                      <a:pt x="50" y="66"/>
                    </a:lnTo>
                    <a:lnTo>
                      <a:pt x="48" y="68"/>
                    </a:lnTo>
                    <a:lnTo>
                      <a:pt x="41" y="73"/>
                    </a:lnTo>
                    <a:lnTo>
                      <a:pt x="37" y="70"/>
                    </a:lnTo>
                    <a:lnTo>
                      <a:pt x="26" y="68"/>
                    </a:lnTo>
                    <a:lnTo>
                      <a:pt x="23" y="64"/>
                    </a:lnTo>
                    <a:lnTo>
                      <a:pt x="16" y="48"/>
                    </a:lnTo>
                    <a:lnTo>
                      <a:pt x="21" y="25"/>
                    </a:lnTo>
                    <a:lnTo>
                      <a:pt x="19" y="25"/>
                    </a:lnTo>
                    <a:lnTo>
                      <a:pt x="17" y="21"/>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80" name="Freeform 2029"/>
              <p:cNvSpPr>
                <a:spLocks/>
              </p:cNvSpPr>
              <p:nvPr/>
            </p:nvSpPr>
            <p:spPr bwMode="auto">
              <a:xfrm>
                <a:off x="4957" y="786"/>
                <a:ext cx="66" cy="73"/>
              </a:xfrm>
              <a:custGeom>
                <a:avLst/>
                <a:gdLst>
                  <a:gd name="T0" fmla="*/ 0 w 66"/>
                  <a:gd name="T1" fmla="*/ 0 h 73"/>
                  <a:gd name="T2" fmla="*/ 5 w 66"/>
                  <a:gd name="T3" fmla="*/ 4 h 73"/>
                  <a:gd name="T4" fmla="*/ 10 w 66"/>
                  <a:gd name="T5" fmla="*/ 9 h 73"/>
                  <a:gd name="T6" fmla="*/ 12 w 66"/>
                  <a:gd name="T7" fmla="*/ 11 h 73"/>
                  <a:gd name="T8" fmla="*/ 16 w 66"/>
                  <a:gd name="T9" fmla="*/ 18 h 73"/>
                  <a:gd name="T10" fmla="*/ 19 w 66"/>
                  <a:gd name="T11" fmla="*/ 20 h 73"/>
                  <a:gd name="T12" fmla="*/ 26 w 66"/>
                  <a:gd name="T13" fmla="*/ 21 h 73"/>
                  <a:gd name="T14" fmla="*/ 32 w 66"/>
                  <a:gd name="T15" fmla="*/ 18 h 73"/>
                  <a:gd name="T16" fmla="*/ 33 w 66"/>
                  <a:gd name="T17" fmla="*/ 16 h 73"/>
                  <a:gd name="T18" fmla="*/ 41 w 66"/>
                  <a:gd name="T19" fmla="*/ 20 h 73"/>
                  <a:gd name="T20" fmla="*/ 44 w 66"/>
                  <a:gd name="T21" fmla="*/ 27 h 73"/>
                  <a:gd name="T22" fmla="*/ 58 w 66"/>
                  <a:gd name="T23" fmla="*/ 36 h 73"/>
                  <a:gd name="T24" fmla="*/ 64 w 66"/>
                  <a:gd name="T25" fmla="*/ 41 h 73"/>
                  <a:gd name="T26" fmla="*/ 66 w 66"/>
                  <a:gd name="T27" fmla="*/ 41 h 73"/>
                  <a:gd name="T28" fmla="*/ 66 w 66"/>
                  <a:gd name="T29" fmla="*/ 43 h 73"/>
                  <a:gd name="T30" fmla="*/ 60 w 66"/>
                  <a:gd name="T31" fmla="*/ 41 h 73"/>
                  <a:gd name="T32" fmla="*/ 57 w 66"/>
                  <a:gd name="T33" fmla="*/ 43 h 73"/>
                  <a:gd name="T34" fmla="*/ 57 w 66"/>
                  <a:gd name="T35" fmla="*/ 45 h 73"/>
                  <a:gd name="T36" fmla="*/ 53 w 66"/>
                  <a:gd name="T37" fmla="*/ 46 h 73"/>
                  <a:gd name="T38" fmla="*/ 55 w 66"/>
                  <a:gd name="T39" fmla="*/ 46 h 73"/>
                  <a:gd name="T40" fmla="*/ 53 w 66"/>
                  <a:gd name="T41" fmla="*/ 54 h 73"/>
                  <a:gd name="T42" fmla="*/ 55 w 66"/>
                  <a:gd name="T43" fmla="*/ 57 h 73"/>
                  <a:gd name="T44" fmla="*/ 53 w 66"/>
                  <a:gd name="T45" fmla="*/ 59 h 73"/>
                  <a:gd name="T46" fmla="*/ 53 w 66"/>
                  <a:gd name="T47" fmla="*/ 64 h 73"/>
                  <a:gd name="T48" fmla="*/ 50 w 66"/>
                  <a:gd name="T49" fmla="*/ 66 h 73"/>
                  <a:gd name="T50" fmla="*/ 48 w 66"/>
                  <a:gd name="T51" fmla="*/ 68 h 73"/>
                  <a:gd name="T52" fmla="*/ 41 w 66"/>
                  <a:gd name="T53" fmla="*/ 73 h 73"/>
                  <a:gd name="T54" fmla="*/ 37 w 66"/>
                  <a:gd name="T55" fmla="*/ 70 h 73"/>
                  <a:gd name="T56" fmla="*/ 26 w 66"/>
                  <a:gd name="T57" fmla="*/ 68 h 73"/>
                  <a:gd name="T58" fmla="*/ 23 w 66"/>
                  <a:gd name="T59" fmla="*/ 64 h 73"/>
                  <a:gd name="T60" fmla="*/ 16 w 66"/>
                  <a:gd name="T61" fmla="*/ 48 h 73"/>
                  <a:gd name="T62" fmla="*/ 21 w 66"/>
                  <a:gd name="T63" fmla="*/ 25 h 73"/>
                  <a:gd name="T64" fmla="*/ 19 w 66"/>
                  <a:gd name="T65" fmla="*/ 25 h 73"/>
                  <a:gd name="T66" fmla="*/ 17 w 66"/>
                  <a:gd name="T67" fmla="*/ 21 h 73"/>
                  <a:gd name="T68" fmla="*/ 0 w 66"/>
                  <a:gd name="T69" fmla="*/ 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73">
                    <a:moveTo>
                      <a:pt x="0" y="0"/>
                    </a:moveTo>
                    <a:lnTo>
                      <a:pt x="5" y="4"/>
                    </a:lnTo>
                    <a:lnTo>
                      <a:pt x="10" y="9"/>
                    </a:lnTo>
                    <a:lnTo>
                      <a:pt x="12" y="11"/>
                    </a:lnTo>
                    <a:lnTo>
                      <a:pt x="16" y="18"/>
                    </a:lnTo>
                    <a:lnTo>
                      <a:pt x="19" y="20"/>
                    </a:lnTo>
                    <a:lnTo>
                      <a:pt x="26" y="21"/>
                    </a:lnTo>
                    <a:lnTo>
                      <a:pt x="32" y="18"/>
                    </a:lnTo>
                    <a:lnTo>
                      <a:pt x="33" y="16"/>
                    </a:lnTo>
                    <a:lnTo>
                      <a:pt x="41" y="20"/>
                    </a:lnTo>
                    <a:lnTo>
                      <a:pt x="44" y="27"/>
                    </a:lnTo>
                    <a:lnTo>
                      <a:pt x="58" y="36"/>
                    </a:lnTo>
                    <a:lnTo>
                      <a:pt x="64" y="41"/>
                    </a:lnTo>
                    <a:lnTo>
                      <a:pt x="66" y="41"/>
                    </a:lnTo>
                    <a:lnTo>
                      <a:pt x="66" y="43"/>
                    </a:lnTo>
                    <a:lnTo>
                      <a:pt x="60" y="41"/>
                    </a:lnTo>
                    <a:lnTo>
                      <a:pt x="57" y="43"/>
                    </a:lnTo>
                    <a:lnTo>
                      <a:pt x="57" y="45"/>
                    </a:lnTo>
                    <a:lnTo>
                      <a:pt x="53" y="46"/>
                    </a:lnTo>
                    <a:lnTo>
                      <a:pt x="55" y="46"/>
                    </a:lnTo>
                    <a:lnTo>
                      <a:pt x="53" y="54"/>
                    </a:lnTo>
                    <a:lnTo>
                      <a:pt x="55" y="57"/>
                    </a:lnTo>
                    <a:lnTo>
                      <a:pt x="53" y="59"/>
                    </a:lnTo>
                    <a:lnTo>
                      <a:pt x="53" y="64"/>
                    </a:lnTo>
                    <a:lnTo>
                      <a:pt x="50" y="66"/>
                    </a:lnTo>
                    <a:lnTo>
                      <a:pt x="48" y="68"/>
                    </a:lnTo>
                    <a:lnTo>
                      <a:pt x="41" y="73"/>
                    </a:lnTo>
                    <a:lnTo>
                      <a:pt x="37" y="70"/>
                    </a:lnTo>
                    <a:lnTo>
                      <a:pt x="26" y="68"/>
                    </a:lnTo>
                    <a:lnTo>
                      <a:pt x="23" y="64"/>
                    </a:lnTo>
                    <a:lnTo>
                      <a:pt x="16" y="48"/>
                    </a:lnTo>
                    <a:lnTo>
                      <a:pt x="21" y="25"/>
                    </a:lnTo>
                    <a:lnTo>
                      <a:pt x="19" y="25"/>
                    </a:lnTo>
                    <a:lnTo>
                      <a:pt x="17" y="21"/>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81" name="Freeform 2030"/>
              <p:cNvSpPr>
                <a:spLocks/>
              </p:cNvSpPr>
              <p:nvPr/>
            </p:nvSpPr>
            <p:spPr bwMode="auto">
              <a:xfrm>
                <a:off x="5035" y="825"/>
                <a:ext cx="79" cy="52"/>
              </a:xfrm>
              <a:custGeom>
                <a:avLst/>
                <a:gdLst>
                  <a:gd name="T0" fmla="*/ 2 w 79"/>
                  <a:gd name="T1" fmla="*/ 0 h 52"/>
                  <a:gd name="T2" fmla="*/ 4 w 79"/>
                  <a:gd name="T3" fmla="*/ 2 h 52"/>
                  <a:gd name="T4" fmla="*/ 5 w 79"/>
                  <a:gd name="T5" fmla="*/ 2 h 52"/>
                  <a:gd name="T6" fmla="*/ 7 w 79"/>
                  <a:gd name="T7" fmla="*/ 4 h 52"/>
                  <a:gd name="T8" fmla="*/ 9 w 79"/>
                  <a:gd name="T9" fmla="*/ 7 h 52"/>
                  <a:gd name="T10" fmla="*/ 16 w 79"/>
                  <a:gd name="T11" fmla="*/ 9 h 52"/>
                  <a:gd name="T12" fmla="*/ 20 w 79"/>
                  <a:gd name="T13" fmla="*/ 9 h 52"/>
                  <a:gd name="T14" fmla="*/ 22 w 79"/>
                  <a:gd name="T15" fmla="*/ 9 h 52"/>
                  <a:gd name="T16" fmla="*/ 38 w 79"/>
                  <a:gd name="T17" fmla="*/ 11 h 52"/>
                  <a:gd name="T18" fmla="*/ 39 w 79"/>
                  <a:gd name="T19" fmla="*/ 15 h 52"/>
                  <a:gd name="T20" fmla="*/ 36 w 79"/>
                  <a:gd name="T21" fmla="*/ 15 h 52"/>
                  <a:gd name="T22" fmla="*/ 36 w 79"/>
                  <a:gd name="T23" fmla="*/ 16 h 52"/>
                  <a:gd name="T24" fmla="*/ 32 w 79"/>
                  <a:gd name="T25" fmla="*/ 20 h 52"/>
                  <a:gd name="T26" fmla="*/ 47 w 79"/>
                  <a:gd name="T27" fmla="*/ 20 h 52"/>
                  <a:gd name="T28" fmla="*/ 48 w 79"/>
                  <a:gd name="T29" fmla="*/ 18 h 52"/>
                  <a:gd name="T30" fmla="*/ 52 w 79"/>
                  <a:gd name="T31" fmla="*/ 18 h 52"/>
                  <a:gd name="T32" fmla="*/ 54 w 79"/>
                  <a:gd name="T33" fmla="*/ 20 h 52"/>
                  <a:gd name="T34" fmla="*/ 55 w 79"/>
                  <a:gd name="T35" fmla="*/ 22 h 52"/>
                  <a:gd name="T36" fmla="*/ 61 w 79"/>
                  <a:gd name="T37" fmla="*/ 22 h 52"/>
                  <a:gd name="T38" fmla="*/ 64 w 79"/>
                  <a:gd name="T39" fmla="*/ 24 h 52"/>
                  <a:gd name="T40" fmla="*/ 66 w 79"/>
                  <a:gd name="T41" fmla="*/ 25 h 52"/>
                  <a:gd name="T42" fmla="*/ 79 w 79"/>
                  <a:gd name="T43" fmla="*/ 29 h 52"/>
                  <a:gd name="T44" fmla="*/ 75 w 79"/>
                  <a:gd name="T45" fmla="*/ 31 h 52"/>
                  <a:gd name="T46" fmla="*/ 75 w 79"/>
                  <a:gd name="T47" fmla="*/ 40 h 52"/>
                  <a:gd name="T48" fmla="*/ 72 w 79"/>
                  <a:gd name="T49" fmla="*/ 45 h 52"/>
                  <a:gd name="T50" fmla="*/ 61 w 79"/>
                  <a:gd name="T51" fmla="*/ 50 h 52"/>
                  <a:gd name="T52" fmla="*/ 59 w 79"/>
                  <a:gd name="T53" fmla="*/ 52 h 52"/>
                  <a:gd name="T54" fmla="*/ 57 w 79"/>
                  <a:gd name="T55" fmla="*/ 49 h 52"/>
                  <a:gd name="T56" fmla="*/ 55 w 79"/>
                  <a:gd name="T57" fmla="*/ 50 h 52"/>
                  <a:gd name="T58" fmla="*/ 52 w 79"/>
                  <a:gd name="T59" fmla="*/ 50 h 52"/>
                  <a:gd name="T60" fmla="*/ 52 w 79"/>
                  <a:gd name="T61" fmla="*/ 47 h 52"/>
                  <a:gd name="T62" fmla="*/ 50 w 79"/>
                  <a:gd name="T63" fmla="*/ 50 h 52"/>
                  <a:gd name="T64" fmla="*/ 47 w 79"/>
                  <a:gd name="T65" fmla="*/ 50 h 52"/>
                  <a:gd name="T66" fmla="*/ 43 w 79"/>
                  <a:gd name="T67" fmla="*/ 49 h 52"/>
                  <a:gd name="T68" fmla="*/ 39 w 79"/>
                  <a:gd name="T69" fmla="*/ 45 h 52"/>
                  <a:gd name="T70" fmla="*/ 36 w 79"/>
                  <a:gd name="T71" fmla="*/ 45 h 52"/>
                  <a:gd name="T72" fmla="*/ 30 w 79"/>
                  <a:gd name="T73" fmla="*/ 43 h 52"/>
                  <a:gd name="T74" fmla="*/ 29 w 79"/>
                  <a:gd name="T75" fmla="*/ 40 h 52"/>
                  <a:gd name="T76" fmla="*/ 25 w 79"/>
                  <a:gd name="T77" fmla="*/ 40 h 52"/>
                  <a:gd name="T78" fmla="*/ 23 w 79"/>
                  <a:gd name="T79" fmla="*/ 36 h 52"/>
                  <a:gd name="T80" fmla="*/ 18 w 79"/>
                  <a:gd name="T81" fmla="*/ 34 h 52"/>
                  <a:gd name="T82" fmla="*/ 14 w 79"/>
                  <a:gd name="T83" fmla="*/ 32 h 52"/>
                  <a:gd name="T84" fmla="*/ 14 w 79"/>
                  <a:gd name="T85" fmla="*/ 24 h 52"/>
                  <a:gd name="T86" fmla="*/ 11 w 79"/>
                  <a:gd name="T87" fmla="*/ 18 h 52"/>
                  <a:gd name="T88" fmla="*/ 9 w 79"/>
                  <a:gd name="T89" fmla="*/ 13 h 52"/>
                  <a:gd name="T90" fmla="*/ 2 w 79"/>
                  <a:gd name="T91" fmla="*/ 6 h 52"/>
                  <a:gd name="T92" fmla="*/ 0 w 79"/>
                  <a:gd name="T93" fmla="*/ 0 h 52"/>
                  <a:gd name="T94" fmla="*/ 2 w 79"/>
                  <a:gd name="T9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 h="52">
                    <a:moveTo>
                      <a:pt x="2" y="0"/>
                    </a:moveTo>
                    <a:lnTo>
                      <a:pt x="4" y="2"/>
                    </a:lnTo>
                    <a:lnTo>
                      <a:pt x="5" y="2"/>
                    </a:lnTo>
                    <a:lnTo>
                      <a:pt x="7" y="4"/>
                    </a:lnTo>
                    <a:lnTo>
                      <a:pt x="9" y="7"/>
                    </a:lnTo>
                    <a:lnTo>
                      <a:pt x="16" y="9"/>
                    </a:lnTo>
                    <a:lnTo>
                      <a:pt x="20" y="9"/>
                    </a:lnTo>
                    <a:lnTo>
                      <a:pt x="22" y="9"/>
                    </a:lnTo>
                    <a:lnTo>
                      <a:pt x="38" y="11"/>
                    </a:lnTo>
                    <a:lnTo>
                      <a:pt x="39" y="15"/>
                    </a:lnTo>
                    <a:lnTo>
                      <a:pt x="36" y="15"/>
                    </a:lnTo>
                    <a:lnTo>
                      <a:pt x="36" y="16"/>
                    </a:lnTo>
                    <a:lnTo>
                      <a:pt x="32" y="20"/>
                    </a:lnTo>
                    <a:lnTo>
                      <a:pt x="47" y="20"/>
                    </a:lnTo>
                    <a:lnTo>
                      <a:pt x="48" y="18"/>
                    </a:lnTo>
                    <a:lnTo>
                      <a:pt x="52" y="18"/>
                    </a:lnTo>
                    <a:lnTo>
                      <a:pt x="54" y="20"/>
                    </a:lnTo>
                    <a:lnTo>
                      <a:pt x="55" y="22"/>
                    </a:lnTo>
                    <a:lnTo>
                      <a:pt x="61" y="22"/>
                    </a:lnTo>
                    <a:lnTo>
                      <a:pt x="64" y="24"/>
                    </a:lnTo>
                    <a:lnTo>
                      <a:pt x="66" y="25"/>
                    </a:lnTo>
                    <a:lnTo>
                      <a:pt x="79" y="29"/>
                    </a:lnTo>
                    <a:lnTo>
                      <a:pt x="75" y="31"/>
                    </a:lnTo>
                    <a:lnTo>
                      <a:pt x="75" y="40"/>
                    </a:lnTo>
                    <a:lnTo>
                      <a:pt x="72" y="45"/>
                    </a:lnTo>
                    <a:lnTo>
                      <a:pt x="61" y="50"/>
                    </a:lnTo>
                    <a:lnTo>
                      <a:pt x="59" y="52"/>
                    </a:lnTo>
                    <a:lnTo>
                      <a:pt x="57" y="49"/>
                    </a:lnTo>
                    <a:lnTo>
                      <a:pt x="55" y="50"/>
                    </a:lnTo>
                    <a:lnTo>
                      <a:pt x="52" y="50"/>
                    </a:lnTo>
                    <a:lnTo>
                      <a:pt x="52" y="47"/>
                    </a:lnTo>
                    <a:lnTo>
                      <a:pt x="50" y="50"/>
                    </a:lnTo>
                    <a:lnTo>
                      <a:pt x="47" y="50"/>
                    </a:lnTo>
                    <a:lnTo>
                      <a:pt x="43" y="49"/>
                    </a:lnTo>
                    <a:lnTo>
                      <a:pt x="39" y="45"/>
                    </a:lnTo>
                    <a:lnTo>
                      <a:pt x="36" y="45"/>
                    </a:lnTo>
                    <a:lnTo>
                      <a:pt x="30" y="43"/>
                    </a:lnTo>
                    <a:lnTo>
                      <a:pt x="29" y="40"/>
                    </a:lnTo>
                    <a:lnTo>
                      <a:pt x="25" y="40"/>
                    </a:lnTo>
                    <a:lnTo>
                      <a:pt x="23" y="36"/>
                    </a:lnTo>
                    <a:lnTo>
                      <a:pt x="18" y="34"/>
                    </a:lnTo>
                    <a:lnTo>
                      <a:pt x="14" y="32"/>
                    </a:lnTo>
                    <a:lnTo>
                      <a:pt x="14" y="24"/>
                    </a:lnTo>
                    <a:lnTo>
                      <a:pt x="11" y="18"/>
                    </a:lnTo>
                    <a:lnTo>
                      <a:pt x="9" y="13"/>
                    </a:lnTo>
                    <a:lnTo>
                      <a:pt x="2" y="6"/>
                    </a:lnTo>
                    <a:lnTo>
                      <a:pt x="0"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82" name="Freeform 2031"/>
              <p:cNvSpPr>
                <a:spLocks/>
              </p:cNvSpPr>
              <p:nvPr/>
            </p:nvSpPr>
            <p:spPr bwMode="auto">
              <a:xfrm>
                <a:off x="5035" y="825"/>
                <a:ext cx="79" cy="52"/>
              </a:xfrm>
              <a:custGeom>
                <a:avLst/>
                <a:gdLst>
                  <a:gd name="T0" fmla="*/ 2 w 79"/>
                  <a:gd name="T1" fmla="*/ 0 h 52"/>
                  <a:gd name="T2" fmla="*/ 4 w 79"/>
                  <a:gd name="T3" fmla="*/ 2 h 52"/>
                  <a:gd name="T4" fmla="*/ 5 w 79"/>
                  <a:gd name="T5" fmla="*/ 2 h 52"/>
                  <a:gd name="T6" fmla="*/ 7 w 79"/>
                  <a:gd name="T7" fmla="*/ 4 h 52"/>
                  <a:gd name="T8" fmla="*/ 9 w 79"/>
                  <a:gd name="T9" fmla="*/ 7 h 52"/>
                  <a:gd name="T10" fmla="*/ 16 w 79"/>
                  <a:gd name="T11" fmla="*/ 9 h 52"/>
                  <a:gd name="T12" fmla="*/ 20 w 79"/>
                  <a:gd name="T13" fmla="*/ 9 h 52"/>
                  <a:gd name="T14" fmla="*/ 22 w 79"/>
                  <a:gd name="T15" fmla="*/ 9 h 52"/>
                  <a:gd name="T16" fmla="*/ 38 w 79"/>
                  <a:gd name="T17" fmla="*/ 11 h 52"/>
                  <a:gd name="T18" fmla="*/ 39 w 79"/>
                  <a:gd name="T19" fmla="*/ 15 h 52"/>
                  <a:gd name="T20" fmla="*/ 36 w 79"/>
                  <a:gd name="T21" fmla="*/ 15 h 52"/>
                  <a:gd name="T22" fmla="*/ 36 w 79"/>
                  <a:gd name="T23" fmla="*/ 16 h 52"/>
                  <a:gd name="T24" fmla="*/ 32 w 79"/>
                  <a:gd name="T25" fmla="*/ 20 h 52"/>
                  <a:gd name="T26" fmla="*/ 47 w 79"/>
                  <a:gd name="T27" fmla="*/ 20 h 52"/>
                  <a:gd name="T28" fmla="*/ 48 w 79"/>
                  <a:gd name="T29" fmla="*/ 18 h 52"/>
                  <a:gd name="T30" fmla="*/ 52 w 79"/>
                  <a:gd name="T31" fmla="*/ 18 h 52"/>
                  <a:gd name="T32" fmla="*/ 54 w 79"/>
                  <a:gd name="T33" fmla="*/ 20 h 52"/>
                  <a:gd name="T34" fmla="*/ 55 w 79"/>
                  <a:gd name="T35" fmla="*/ 22 h 52"/>
                  <a:gd name="T36" fmla="*/ 61 w 79"/>
                  <a:gd name="T37" fmla="*/ 22 h 52"/>
                  <a:gd name="T38" fmla="*/ 64 w 79"/>
                  <a:gd name="T39" fmla="*/ 24 h 52"/>
                  <a:gd name="T40" fmla="*/ 66 w 79"/>
                  <a:gd name="T41" fmla="*/ 25 h 52"/>
                  <a:gd name="T42" fmla="*/ 79 w 79"/>
                  <a:gd name="T43" fmla="*/ 29 h 52"/>
                  <a:gd name="T44" fmla="*/ 75 w 79"/>
                  <a:gd name="T45" fmla="*/ 31 h 52"/>
                  <a:gd name="T46" fmla="*/ 75 w 79"/>
                  <a:gd name="T47" fmla="*/ 40 h 52"/>
                  <a:gd name="T48" fmla="*/ 72 w 79"/>
                  <a:gd name="T49" fmla="*/ 45 h 52"/>
                  <a:gd name="T50" fmla="*/ 61 w 79"/>
                  <a:gd name="T51" fmla="*/ 50 h 52"/>
                  <a:gd name="T52" fmla="*/ 59 w 79"/>
                  <a:gd name="T53" fmla="*/ 52 h 52"/>
                  <a:gd name="T54" fmla="*/ 57 w 79"/>
                  <a:gd name="T55" fmla="*/ 49 h 52"/>
                  <a:gd name="T56" fmla="*/ 55 w 79"/>
                  <a:gd name="T57" fmla="*/ 50 h 52"/>
                  <a:gd name="T58" fmla="*/ 52 w 79"/>
                  <a:gd name="T59" fmla="*/ 50 h 52"/>
                  <a:gd name="T60" fmla="*/ 52 w 79"/>
                  <a:gd name="T61" fmla="*/ 47 h 52"/>
                  <a:gd name="T62" fmla="*/ 50 w 79"/>
                  <a:gd name="T63" fmla="*/ 50 h 52"/>
                  <a:gd name="T64" fmla="*/ 47 w 79"/>
                  <a:gd name="T65" fmla="*/ 50 h 52"/>
                  <a:gd name="T66" fmla="*/ 43 w 79"/>
                  <a:gd name="T67" fmla="*/ 49 h 52"/>
                  <a:gd name="T68" fmla="*/ 39 w 79"/>
                  <a:gd name="T69" fmla="*/ 45 h 52"/>
                  <a:gd name="T70" fmla="*/ 36 w 79"/>
                  <a:gd name="T71" fmla="*/ 45 h 52"/>
                  <a:gd name="T72" fmla="*/ 30 w 79"/>
                  <a:gd name="T73" fmla="*/ 43 h 52"/>
                  <a:gd name="T74" fmla="*/ 29 w 79"/>
                  <a:gd name="T75" fmla="*/ 40 h 52"/>
                  <a:gd name="T76" fmla="*/ 25 w 79"/>
                  <a:gd name="T77" fmla="*/ 40 h 52"/>
                  <a:gd name="T78" fmla="*/ 23 w 79"/>
                  <a:gd name="T79" fmla="*/ 36 h 52"/>
                  <a:gd name="T80" fmla="*/ 18 w 79"/>
                  <a:gd name="T81" fmla="*/ 34 h 52"/>
                  <a:gd name="T82" fmla="*/ 14 w 79"/>
                  <a:gd name="T83" fmla="*/ 32 h 52"/>
                  <a:gd name="T84" fmla="*/ 14 w 79"/>
                  <a:gd name="T85" fmla="*/ 24 h 52"/>
                  <a:gd name="T86" fmla="*/ 11 w 79"/>
                  <a:gd name="T87" fmla="*/ 18 h 52"/>
                  <a:gd name="T88" fmla="*/ 9 w 79"/>
                  <a:gd name="T89" fmla="*/ 13 h 52"/>
                  <a:gd name="T90" fmla="*/ 2 w 79"/>
                  <a:gd name="T91" fmla="*/ 6 h 52"/>
                  <a:gd name="T92" fmla="*/ 0 w 79"/>
                  <a:gd name="T93" fmla="*/ 0 h 52"/>
                  <a:gd name="T94" fmla="*/ 2 w 79"/>
                  <a:gd name="T9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 h="52">
                    <a:moveTo>
                      <a:pt x="2" y="0"/>
                    </a:moveTo>
                    <a:lnTo>
                      <a:pt x="4" y="2"/>
                    </a:lnTo>
                    <a:lnTo>
                      <a:pt x="5" y="2"/>
                    </a:lnTo>
                    <a:lnTo>
                      <a:pt x="7" y="4"/>
                    </a:lnTo>
                    <a:lnTo>
                      <a:pt x="9" y="7"/>
                    </a:lnTo>
                    <a:lnTo>
                      <a:pt x="16" y="9"/>
                    </a:lnTo>
                    <a:lnTo>
                      <a:pt x="20" y="9"/>
                    </a:lnTo>
                    <a:lnTo>
                      <a:pt x="22" y="9"/>
                    </a:lnTo>
                    <a:lnTo>
                      <a:pt x="38" y="11"/>
                    </a:lnTo>
                    <a:lnTo>
                      <a:pt x="39" y="15"/>
                    </a:lnTo>
                    <a:lnTo>
                      <a:pt x="36" y="15"/>
                    </a:lnTo>
                    <a:lnTo>
                      <a:pt x="36" y="16"/>
                    </a:lnTo>
                    <a:lnTo>
                      <a:pt x="32" y="20"/>
                    </a:lnTo>
                    <a:lnTo>
                      <a:pt x="47" y="20"/>
                    </a:lnTo>
                    <a:lnTo>
                      <a:pt x="48" y="18"/>
                    </a:lnTo>
                    <a:lnTo>
                      <a:pt x="52" y="18"/>
                    </a:lnTo>
                    <a:lnTo>
                      <a:pt x="54" y="20"/>
                    </a:lnTo>
                    <a:lnTo>
                      <a:pt x="55" y="22"/>
                    </a:lnTo>
                    <a:lnTo>
                      <a:pt x="61" y="22"/>
                    </a:lnTo>
                    <a:lnTo>
                      <a:pt x="64" y="24"/>
                    </a:lnTo>
                    <a:lnTo>
                      <a:pt x="66" y="25"/>
                    </a:lnTo>
                    <a:lnTo>
                      <a:pt x="79" y="29"/>
                    </a:lnTo>
                    <a:lnTo>
                      <a:pt x="75" y="31"/>
                    </a:lnTo>
                    <a:lnTo>
                      <a:pt x="75" y="40"/>
                    </a:lnTo>
                    <a:lnTo>
                      <a:pt x="72" y="45"/>
                    </a:lnTo>
                    <a:lnTo>
                      <a:pt x="61" y="50"/>
                    </a:lnTo>
                    <a:lnTo>
                      <a:pt x="59" y="52"/>
                    </a:lnTo>
                    <a:lnTo>
                      <a:pt x="57" y="49"/>
                    </a:lnTo>
                    <a:lnTo>
                      <a:pt x="55" y="50"/>
                    </a:lnTo>
                    <a:lnTo>
                      <a:pt x="52" y="50"/>
                    </a:lnTo>
                    <a:lnTo>
                      <a:pt x="52" y="47"/>
                    </a:lnTo>
                    <a:lnTo>
                      <a:pt x="50" y="50"/>
                    </a:lnTo>
                    <a:lnTo>
                      <a:pt x="47" y="50"/>
                    </a:lnTo>
                    <a:lnTo>
                      <a:pt x="43" y="49"/>
                    </a:lnTo>
                    <a:lnTo>
                      <a:pt x="39" y="45"/>
                    </a:lnTo>
                    <a:lnTo>
                      <a:pt x="36" y="45"/>
                    </a:lnTo>
                    <a:lnTo>
                      <a:pt x="30" y="43"/>
                    </a:lnTo>
                    <a:lnTo>
                      <a:pt x="29" y="40"/>
                    </a:lnTo>
                    <a:lnTo>
                      <a:pt x="25" y="40"/>
                    </a:lnTo>
                    <a:lnTo>
                      <a:pt x="23" y="36"/>
                    </a:lnTo>
                    <a:lnTo>
                      <a:pt x="18" y="34"/>
                    </a:lnTo>
                    <a:lnTo>
                      <a:pt x="14" y="32"/>
                    </a:lnTo>
                    <a:lnTo>
                      <a:pt x="14" y="24"/>
                    </a:lnTo>
                    <a:lnTo>
                      <a:pt x="11" y="18"/>
                    </a:lnTo>
                    <a:lnTo>
                      <a:pt x="9" y="13"/>
                    </a:lnTo>
                    <a:lnTo>
                      <a:pt x="2" y="6"/>
                    </a:lnTo>
                    <a:lnTo>
                      <a:pt x="0"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83" name="Freeform 2032"/>
              <p:cNvSpPr>
                <a:spLocks/>
              </p:cNvSpPr>
              <p:nvPr/>
            </p:nvSpPr>
            <p:spPr bwMode="auto">
              <a:xfrm>
                <a:off x="4937" y="902"/>
                <a:ext cx="16" cy="23"/>
              </a:xfrm>
              <a:custGeom>
                <a:avLst/>
                <a:gdLst>
                  <a:gd name="T0" fmla="*/ 14 w 16"/>
                  <a:gd name="T1" fmla="*/ 9 h 23"/>
                  <a:gd name="T2" fmla="*/ 14 w 16"/>
                  <a:gd name="T3" fmla="*/ 4 h 23"/>
                  <a:gd name="T4" fmla="*/ 12 w 16"/>
                  <a:gd name="T5" fmla="*/ 2 h 23"/>
                  <a:gd name="T6" fmla="*/ 7 w 16"/>
                  <a:gd name="T7" fmla="*/ 0 h 23"/>
                  <a:gd name="T8" fmla="*/ 3 w 16"/>
                  <a:gd name="T9" fmla="*/ 2 h 23"/>
                  <a:gd name="T10" fmla="*/ 0 w 16"/>
                  <a:gd name="T11" fmla="*/ 5 h 23"/>
                  <a:gd name="T12" fmla="*/ 2 w 16"/>
                  <a:gd name="T13" fmla="*/ 22 h 23"/>
                  <a:gd name="T14" fmla="*/ 7 w 16"/>
                  <a:gd name="T15" fmla="*/ 23 h 23"/>
                  <a:gd name="T16" fmla="*/ 7 w 16"/>
                  <a:gd name="T17" fmla="*/ 23 h 23"/>
                  <a:gd name="T18" fmla="*/ 5 w 16"/>
                  <a:gd name="T19" fmla="*/ 23 h 23"/>
                  <a:gd name="T20" fmla="*/ 5 w 16"/>
                  <a:gd name="T21" fmla="*/ 22 h 23"/>
                  <a:gd name="T22" fmla="*/ 9 w 16"/>
                  <a:gd name="T23" fmla="*/ 20 h 23"/>
                  <a:gd name="T24" fmla="*/ 11 w 16"/>
                  <a:gd name="T25" fmla="*/ 18 h 23"/>
                  <a:gd name="T26" fmla="*/ 12 w 16"/>
                  <a:gd name="T27" fmla="*/ 16 h 23"/>
                  <a:gd name="T28" fmla="*/ 14 w 16"/>
                  <a:gd name="T29" fmla="*/ 14 h 23"/>
                  <a:gd name="T30" fmla="*/ 16 w 16"/>
                  <a:gd name="T31" fmla="*/ 13 h 23"/>
                  <a:gd name="T32" fmla="*/ 14 w 16"/>
                  <a:gd name="T33" fmla="*/ 11 h 23"/>
                  <a:gd name="T34" fmla="*/ 14 w 16"/>
                  <a:gd name="T35"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23">
                    <a:moveTo>
                      <a:pt x="14" y="9"/>
                    </a:moveTo>
                    <a:lnTo>
                      <a:pt x="14" y="4"/>
                    </a:lnTo>
                    <a:lnTo>
                      <a:pt x="12" y="2"/>
                    </a:lnTo>
                    <a:lnTo>
                      <a:pt x="7" y="0"/>
                    </a:lnTo>
                    <a:lnTo>
                      <a:pt x="3" y="2"/>
                    </a:lnTo>
                    <a:lnTo>
                      <a:pt x="0" y="5"/>
                    </a:lnTo>
                    <a:lnTo>
                      <a:pt x="2" y="22"/>
                    </a:lnTo>
                    <a:lnTo>
                      <a:pt x="7" y="23"/>
                    </a:lnTo>
                    <a:lnTo>
                      <a:pt x="7" y="23"/>
                    </a:lnTo>
                    <a:lnTo>
                      <a:pt x="5" y="23"/>
                    </a:lnTo>
                    <a:lnTo>
                      <a:pt x="5" y="22"/>
                    </a:lnTo>
                    <a:lnTo>
                      <a:pt x="9" y="20"/>
                    </a:lnTo>
                    <a:lnTo>
                      <a:pt x="11" y="18"/>
                    </a:lnTo>
                    <a:lnTo>
                      <a:pt x="12" y="16"/>
                    </a:lnTo>
                    <a:lnTo>
                      <a:pt x="14" y="14"/>
                    </a:lnTo>
                    <a:lnTo>
                      <a:pt x="16" y="13"/>
                    </a:lnTo>
                    <a:lnTo>
                      <a:pt x="14" y="11"/>
                    </a:lnTo>
                    <a:lnTo>
                      <a:pt x="14"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84" name="Freeform 2033"/>
              <p:cNvSpPr>
                <a:spLocks/>
              </p:cNvSpPr>
              <p:nvPr/>
            </p:nvSpPr>
            <p:spPr bwMode="auto">
              <a:xfrm>
                <a:off x="4937" y="902"/>
                <a:ext cx="16" cy="23"/>
              </a:xfrm>
              <a:custGeom>
                <a:avLst/>
                <a:gdLst>
                  <a:gd name="T0" fmla="*/ 14 w 16"/>
                  <a:gd name="T1" fmla="*/ 9 h 23"/>
                  <a:gd name="T2" fmla="*/ 14 w 16"/>
                  <a:gd name="T3" fmla="*/ 4 h 23"/>
                  <a:gd name="T4" fmla="*/ 12 w 16"/>
                  <a:gd name="T5" fmla="*/ 2 h 23"/>
                  <a:gd name="T6" fmla="*/ 7 w 16"/>
                  <a:gd name="T7" fmla="*/ 0 h 23"/>
                  <a:gd name="T8" fmla="*/ 3 w 16"/>
                  <a:gd name="T9" fmla="*/ 2 h 23"/>
                  <a:gd name="T10" fmla="*/ 0 w 16"/>
                  <a:gd name="T11" fmla="*/ 5 h 23"/>
                  <a:gd name="T12" fmla="*/ 2 w 16"/>
                  <a:gd name="T13" fmla="*/ 22 h 23"/>
                  <a:gd name="T14" fmla="*/ 7 w 16"/>
                  <a:gd name="T15" fmla="*/ 23 h 23"/>
                  <a:gd name="T16" fmla="*/ 7 w 16"/>
                  <a:gd name="T17" fmla="*/ 23 h 23"/>
                  <a:gd name="T18" fmla="*/ 5 w 16"/>
                  <a:gd name="T19" fmla="*/ 23 h 23"/>
                  <a:gd name="T20" fmla="*/ 5 w 16"/>
                  <a:gd name="T21" fmla="*/ 22 h 23"/>
                  <a:gd name="T22" fmla="*/ 9 w 16"/>
                  <a:gd name="T23" fmla="*/ 20 h 23"/>
                  <a:gd name="T24" fmla="*/ 11 w 16"/>
                  <a:gd name="T25" fmla="*/ 18 h 23"/>
                  <a:gd name="T26" fmla="*/ 12 w 16"/>
                  <a:gd name="T27" fmla="*/ 16 h 23"/>
                  <a:gd name="T28" fmla="*/ 14 w 16"/>
                  <a:gd name="T29" fmla="*/ 14 h 23"/>
                  <a:gd name="T30" fmla="*/ 16 w 16"/>
                  <a:gd name="T31" fmla="*/ 13 h 23"/>
                  <a:gd name="T32" fmla="*/ 14 w 16"/>
                  <a:gd name="T33" fmla="*/ 11 h 23"/>
                  <a:gd name="T34" fmla="*/ 14 w 16"/>
                  <a:gd name="T35"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23">
                    <a:moveTo>
                      <a:pt x="14" y="9"/>
                    </a:moveTo>
                    <a:lnTo>
                      <a:pt x="14" y="4"/>
                    </a:lnTo>
                    <a:lnTo>
                      <a:pt x="12" y="2"/>
                    </a:lnTo>
                    <a:lnTo>
                      <a:pt x="7" y="0"/>
                    </a:lnTo>
                    <a:lnTo>
                      <a:pt x="3" y="2"/>
                    </a:lnTo>
                    <a:lnTo>
                      <a:pt x="0" y="5"/>
                    </a:lnTo>
                    <a:lnTo>
                      <a:pt x="2" y="22"/>
                    </a:lnTo>
                    <a:lnTo>
                      <a:pt x="7" y="23"/>
                    </a:lnTo>
                    <a:lnTo>
                      <a:pt x="7" y="23"/>
                    </a:lnTo>
                    <a:lnTo>
                      <a:pt x="5" y="23"/>
                    </a:lnTo>
                    <a:lnTo>
                      <a:pt x="5" y="22"/>
                    </a:lnTo>
                    <a:lnTo>
                      <a:pt x="9" y="20"/>
                    </a:lnTo>
                    <a:lnTo>
                      <a:pt x="11" y="18"/>
                    </a:lnTo>
                    <a:lnTo>
                      <a:pt x="12" y="16"/>
                    </a:lnTo>
                    <a:lnTo>
                      <a:pt x="14" y="14"/>
                    </a:lnTo>
                    <a:lnTo>
                      <a:pt x="16" y="13"/>
                    </a:lnTo>
                    <a:lnTo>
                      <a:pt x="14" y="11"/>
                    </a:lnTo>
                    <a:lnTo>
                      <a:pt x="14"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85" name="Freeform 2034"/>
              <p:cNvSpPr>
                <a:spLocks/>
              </p:cNvSpPr>
              <p:nvPr/>
            </p:nvSpPr>
            <p:spPr bwMode="auto">
              <a:xfrm>
                <a:off x="4930" y="924"/>
                <a:ext cx="62" cy="39"/>
              </a:xfrm>
              <a:custGeom>
                <a:avLst/>
                <a:gdLst>
                  <a:gd name="T0" fmla="*/ 27 w 62"/>
                  <a:gd name="T1" fmla="*/ 1 h 39"/>
                  <a:gd name="T2" fmla="*/ 32 w 62"/>
                  <a:gd name="T3" fmla="*/ 0 h 39"/>
                  <a:gd name="T4" fmla="*/ 37 w 62"/>
                  <a:gd name="T5" fmla="*/ 0 h 39"/>
                  <a:gd name="T6" fmla="*/ 41 w 62"/>
                  <a:gd name="T7" fmla="*/ 1 h 39"/>
                  <a:gd name="T8" fmla="*/ 43 w 62"/>
                  <a:gd name="T9" fmla="*/ 5 h 39"/>
                  <a:gd name="T10" fmla="*/ 46 w 62"/>
                  <a:gd name="T11" fmla="*/ 5 h 39"/>
                  <a:gd name="T12" fmla="*/ 50 w 62"/>
                  <a:gd name="T13" fmla="*/ 10 h 39"/>
                  <a:gd name="T14" fmla="*/ 55 w 62"/>
                  <a:gd name="T15" fmla="*/ 14 h 39"/>
                  <a:gd name="T16" fmla="*/ 60 w 62"/>
                  <a:gd name="T17" fmla="*/ 23 h 39"/>
                  <a:gd name="T18" fmla="*/ 62 w 62"/>
                  <a:gd name="T19" fmla="*/ 39 h 39"/>
                  <a:gd name="T20" fmla="*/ 59 w 62"/>
                  <a:gd name="T21" fmla="*/ 39 h 39"/>
                  <a:gd name="T22" fmla="*/ 57 w 62"/>
                  <a:gd name="T23" fmla="*/ 39 h 39"/>
                  <a:gd name="T24" fmla="*/ 53 w 62"/>
                  <a:gd name="T25" fmla="*/ 39 h 39"/>
                  <a:gd name="T26" fmla="*/ 50 w 62"/>
                  <a:gd name="T27" fmla="*/ 37 h 39"/>
                  <a:gd name="T28" fmla="*/ 41 w 62"/>
                  <a:gd name="T29" fmla="*/ 37 h 39"/>
                  <a:gd name="T30" fmla="*/ 35 w 62"/>
                  <a:gd name="T31" fmla="*/ 35 h 39"/>
                  <a:gd name="T32" fmla="*/ 34 w 62"/>
                  <a:gd name="T33" fmla="*/ 32 h 39"/>
                  <a:gd name="T34" fmla="*/ 30 w 62"/>
                  <a:gd name="T35" fmla="*/ 33 h 39"/>
                  <a:gd name="T36" fmla="*/ 25 w 62"/>
                  <a:gd name="T37" fmla="*/ 32 h 39"/>
                  <a:gd name="T38" fmla="*/ 19 w 62"/>
                  <a:gd name="T39" fmla="*/ 28 h 39"/>
                  <a:gd name="T40" fmla="*/ 14 w 62"/>
                  <a:gd name="T41" fmla="*/ 28 h 39"/>
                  <a:gd name="T42" fmla="*/ 7 w 62"/>
                  <a:gd name="T43" fmla="*/ 32 h 39"/>
                  <a:gd name="T44" fmla="*/ 3 w 62"/>
                  <a:gd name="T45" fmla="*/ 32 h 39"/>
                  <a:gd name="T46" fmla="*/ 0 w 62"/>
                  <a:gd name="T47" fmla="*/ 28 h 39"/>
                  <a:gd name="T48" fmla="*/ 3 w 62"/>
                  <a:gd name="T49" fmla="*/ 26 h 39"/>
                  <a:gd name="T50" fmla="*/ 10 w 62"/>
                  <a:gd name="T51" fmla="*/ 25 h 39"/>
                  <a:gd name="T52" fmla="*/ 18 w 62"/>
                  <a:gd name="T53" fmla="*/ 8 h 39"/>
                  <a:gd name="T54" fmla="*/ 18 w 62"/>
                  <a:gd name="T55" fmla="*/ 5 h 39"/>
                  <a:gd name="T56" fmla="*/ 19 w 62"/>
                  <a:gd name="T57" fmla="*/ 3 h 39"/>
                  <a:gd name="T58" fmla="*/ 27 w 62"/>
                  <a:gd name="T59"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39">
                    <a:moveTo>
                      <a:pt x="27" y="1"/>
                    </a:moveTo>
                    <a:lnTo>
                      <a:pt x="32" y="0"/>
                    </a:lnTo>
                    <a:lnTo>
                      <a:pt x="37" y="0"/>
                    </a:lnTo>
                    <a:lnTo>
                      <a:pt x="41" y="1"/>
                    </a:lnTo>
                    <a:lnTo>
                      <a:pt x="43" y="5"/>
                    </a:lnTo>
                    <a:lnTo>
                      <a:pt x="46" y="5"/>
                    </a:lnTo>
                    <a:lnTo>
                      <a:pt x="50" y="10"/>
                    </a:lnTo>
                    <a:lnTo>
                      <a:pt x="55" y="14"/>
                    </a:lnTo>
                    <a:lnTo>
                      <a:pt x="60" y="23"/>
                    </a:lnTo>
                    <a:lnTo>
                      <a:pt x="62" y="39"/>
                    </a:lnTo>
                    <a:lnTo>
                      <a:pt x="59" y="39"/>
                    </a:lnTo>
                    <a:lnTo>
                      <a:pt x="57" y="39"/>
                    </a:lnTo>
                    <a:lnTo>
                      <a:pt x="53" y="39"/>
                    </a:lnTo>
                    <a:lnTo>
                      <a:pt x="50" y="37"/>
                    </a:lnTo>
                    <a:lnTo>
                      <a:pt x="41" y="37"/>
                    </a:lnTo>
                    <a:lnTo>
                      <a:pt x="35" y="35"/>
                    </a:lnTo>
                    <a:lnTo>
                      <a:pt x="34" y="32"/>
                    </a:lnTo>
                    <a:lnTo>
                      <a:pt x="30" y="33"/>
                    </a:lnTo>
                    <a:lnTo>
                      <a:pt x="25" y="32"/>
                    </a:lnTo>
                    <a:lnTo>
                      <a:pt x="19" y="28"/>
                    </a:lnTo>
                    <a:lnTo>
                      <a:pt x="14" y="28"/>
                    </a:lnTo>
                    <a:lnTo>
                      <a:pt x="7" y="32"/>
                    </a:lnTo>
                    <a:lnTo>
                      <a:pt x="3" y="32"/>
                    </a:lnTo>
                    <a:lnTo>
                      <a:pt x="0" y="28"/>
                    </a:lnTo>
                    <a:lnTo>
                      <a:pt x="3" y="26"/>
                    </a:lnTo>
                    <a:lnTo>
                      <a:pt x="10" y="25"/>
                    </a:lnTo>
                    <a:lnTo>
                      <a:pt x="18" y="8"/>
                    </a:lnTo>
                    <a:lnTo>
                      <a:pt x="18" y="5"/>
                    </a:lnTo>
                    <a:lnTo>
                      <a:pt x="19" y="3"/>
                    </a:lnTo>
                    <a:lnTo>
                      <a:pt x="27"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86" name="Freeform 2035"/>
              <p:cNvSpPr>
                <a:spLocks/>
              </p:cNvSpPr>
              <p:nvPr/>
            </p:nvSpPr>
            <p:spPr bwMode="auto">
              <a:xfrm>
                <a:off x="4930" y="924"/>
                <a:ext cx="62" cy="39"/>
              </a:xfrm>
              <a:custGeom>
                <a:avLst/>
                <a:gdLst>
                  <a:gd name="T0" fmla="*/ 27 w 62"/>
                  <a:gd name="T1" fmla="*/ 1 h 39"/>
                  <a:gd name="T2" fmla="*/ 32 w 62"/>
                  <a:gd name="T3" fmla="*/ 0 h 39"/>
                  <a:gd name="T4" fmla="*/ 37 w 62"/>
                  <a:gd name="T5" fmla="*/ 0 h 39"/>
                  <a:gd name="T6" fmla="*/ 41 w 62"/>
                  <a:gd name="T7" fmla="*/ 1 h 39"/>
                  <a:gd name="T8" fmla="*/ 43 w 62"/>
                  <a:gd name="T9" fmla="*/ 5 h 39"/>
                  <a:gd name="T10" fmla="*/ 46 w 62"/>
                  <a:gd name="T11" fmla="*/ 5 h 39"/>
                  <a:gd name="T12" fmla="*/ 50 w 62"/>
                  <a:gd name="T13" fmla="*/ 10 h 39"/>
                  <a:gd name="T14" fmla="*/ 55 w 62"/>
                  <a:gd name="T15" fmla="*/ 14 h 39"/>
                  <a:gd name="T16" fmla="*/ 60 w 62"/>
                  <a:gd name="T17" fmla="*/ 23 h 39"/>
                  <a:gd name="T18" fmla="*/ 62 w 62"/>
                  <a:gd name="T19" fmla="*/ 39 h 39"/>
                  <a:gd name="T20" fmla="*/ 59 w 62"/>
                  <a:gd name="T21" fmla="*/ 39 h 39"/>
                  <a:gd name="T22" fmla="*/ 57 w 62"/>
                  <a:gd name="T23" fmla="*/ 39 h 39"/>
                  <a:gd name="T24" fmla="*/ 53 w 62"/>
                  <a:gd name="T25" fmla="*/ 39 h 39"/>
                  <a:gd name="T26" fmla="*/ 50 w 62"/>
                  <a:gd name="T27" fmla="*/ 37 h 39"/>
                  <a:gd name="T28" fmla="*/ 41 w 62"/>
                  <a:gd name="T29" fmla="*/ 37 h 39"/>
                  <a:gd name="T30" fmla="*/ 35 w 62"/>
                  <a:gd name="T31" fmla="*/ 35 h 39"/>
                  <a:gd name="T32" fmla="*/ 34 w 62"/>
                  <a:gd name="T33" fmla="*/ 32 h 39"/>
                  <a:gd name="T34" fmla="*/ 30 w 62"/>
                  <a:gd name="T35" fmla="*/ 33 h 39"/>
                  <a:gd name="T36" fmla="*/ 25 w 62"/>
                  <a:gd name="T37" fmla="*/ 32 h 39"/>
                  <a:gd name="T38" fmla="*/ 19 w 62"/>
                  <a:gd name="T39" fmla="*/ 28 h 39"/>
                  <a:gd name="T40" fmla="*/ 14 w 62"/>
                  <a:gd name="T41" fmla="*/ 28 h 39"/>
                  <a:gd name="T42" fmla="*/ 7 w 62"/>
                  <a:gd name="T43" fmla="*/ 32 h 39"/>
                  <a:gd name="T44" fmla="*/ 3 w 62"/>
                  <a:gd name="T45" fmla="*/ 32 h 39"/>
                  <a:gd name="T46" fmla="*/ 0 w 62"/>
                  <a:gd name="T47" fmla="*/ 28 h 39"/>
                  <a:gd name="T48" fmla="*/ 3 w 62"/>
                  <a:gd name="T49" fmla="*/ 26 h 39"/>
                  <a:gd name="T50" fmla="*/ 10 w 62"/>
                  <a:gd name="T51" fmla="*/ 25 h 39"/>
                  <a:gd name="T52" fmla="*/ 18 w 62"/>
                  <a:gd name="T53" fmla="*/ 8 h 39"/>
                  <a:gd name="T54" fmla="*/ 18 w 62"/>
                  <a:gd name="T55" fmla="*/ 5 h 39"/>
                  <a:gd name="T56" fmla="*/ 19 w 62"/>
                  <a:gd name="T57" fmla="*/ 3 h 39"/>
                  <a:gd name="T58" fmla="*/ 27 w 62"/>
                  <a:gd name="T59" fmla="*/ 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39">
                    <a:moveTo>
                      <a:pt x="27" y="1"/>
                    </a:moveTo>
                    <a:lnTo>
                      <a:pt x="32" y="0"/>
                    </a:lnTo>
                    <a:lnTo>
                      <a:pt x="37" y="0"/>
                    </a:lnTo>
                    <a:lnTo>
                      <a:pt x="41" y="1"/>
                    </a:lnTo>
                    <a:lnTo>
                      <a:pt x="43" y="5"/>
                    </a:lnTo>
                    <a:lnTo>
                      <a:pt x="46" y="5"/>
                    </a:lnTo>
                    <a:lnTo>
                      <a:pt x="50" y="10"/>
                    </a:lnTo>
                    <a:lnTo>
                      <a:pt x="55" y="14"/>
                    </a:lnTo>
                    <a:lnTo>
                      <a:pt x="60" y="23"/>
                    </a:lnTo>
                    <a:lnTo>
                      <a:pt x="62" y="39"/>
                    </a:lnTo>
                    <a:lnTo>
                      <a:pt x="59" y="39"/>
                    </a:lnTo>
                    <a:lnTo>
                      <a:pt x="57" y="39"/>
                    </a:lnTo>
                    <a:lnTo>
                      <a:pt x="53" y="39"/>
                    </a:lnTo>
                    <a:lnTo>
                      <a:pt x="50" y="37"/>
                    </a:lnTo>
                    <a:lnTo>
                      <a:pt x="41" y="37"/>
                    </a:lnTo>
                    <a:lnTo>
                      <a:pt x="35" y="35"/>
                    </a:lnTo>
                    <a:lnTo>
                      <a:pt x="34" y="32"/>
                    </a:lnTo>
                    <a:lnTo>
                      <a:pt x="30" y="33"/>
                    </a:lnTo>
                    <a:lnTo>
                      <a:pt x="25" y="32"/>
                    </a:lnTo>
                    <a:lnTo>
                      <a:pt x="19" y="28"/>
                    </a:lnTo>
                    <a:lnTo>
                      <a:pt x="14" y="28"/>
                    </a:lnTo>
                    <a:lnTo>
                      <a:pt x="7" y="32"/>
                    </a:lnTo>
                    <a:lnTo>
                      <a:pt x="3" y="32"/>
                    </a:lnTo>
                    <a:lnTo>
                      <a:pt x="0" y="28"/>
                    </a:lnTo>
                    <a:lnTo>
                      <a:pt x="3" y="26"/>
                    </a:lnTo>
                    <a:lnTo>
                      <a:pt x="10" y="25"/>
                    </a:lnTo>
                    <a:lnTo>
                      <a:pt x="18" y="8"/>
                    </a:lnTo>
                    <a:lnTo>
                      <a:pt x="18" y="5"/>
                    </a:lnTo>
                    <a:lnTo>
                      <a:pt x="19" y="3"/>
                    </a:lnTo>
                    <a:lnTo>
                      <a:pt x="27"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87" name="Freeform 2036"/>
              <p:cNvSpPr>
                <a:spLocks/>
              </p:cNvSpPr>
              <p:nvPr/>
            </p:nvSpPr>
            <p:spPr bwMode="auto">
              <a:xfrm>
                <a:off x="3521" y="956"/>
                <a:ext cx="98" cy="148"/>
              </a:xfrm>
              <a:custGeom>
                <a:avLst/>
                <a:gdLst>
                  <a:gd name="T0" fmla="*/ 43 w 98"/>
                  <a:gd name="T1" fmla="*/ 7 h 148"/>
                  <a:gd name="T2" fmla="*/ 57 w 98"/>
                  <a:gd name="T3" fmla="*/ 0 h 148"/>
                  <a:gd name="T4" fmla="*/ 66 w 98"/>
                  <a:gd name="T5" fmla="*/ 5 h 148"/>
                  <a:gd name="T6" fmla="*/ 79 w 98"/>
                  <a:gd name="T7" fmla="*/ 12 h 148"/>
                  <a:gd name="T8" fmla="*/ 79 w 98"/>
                  <a:gd name="T9" fmla="*/ 19 h 148"/>
                  <a:gd name="T10" fmla="*/ 66 w 98"/>
                  <a:gd name="T11" fmla="*/ 25 h 148"/>
                  <a:gd name="T12" fmla="*/ 77 w 98"/>
                  <a:gd name="T13" fmla="*/ 26 h 148"/>
                  <a:gd name="T14" fmla="*/ 70 w 98"/>
                  <a:gd name="T15" fmla="*/ 34 h 148"/>
                  <a:gd name="T16" fmla="*/ 68 w 98"/>
                  <a:gd name="T17" fmla="*/ 34 h 148"/>
                  <a:gd name="T18" fmla="*/ 66 w 98"/>
                  <a:gd name="T19" fmla="*/ 46 h 148"/>
                  <a:gd name="T20" fmla="*/ 64 w 98"/>
                  <a:gd name="T21" fmla="*/ 48 h 148"/>
                  <a:gd name="T22" fmla="*/ 62 w 98"/>
                  <a:gd name="T23" fmla="*/ 62 h 148"/>
                  <a:gd name="T24" fmla="*/ 62 w 98"/>
                  <a:gd name="T25" fmla="*/ 78 h 148"/>
                  <a:gd name="T26" fmla="*/ 71 w 98"/>
                  <a:gd name="T27" fmla="*/ 109 h 148"/>
                  <a:gd name="T28" fmla="*/ 86 w 98"/>
                  <a:gd name="T29" fmla="*/ 128 h 148"/>
                  <a:gd name="T30" fmla="*/ 98 w 98"/>
                  <a:gd name="T31" fmla="*/ 137 h 148"/>
                  <a:gd name="T32" fmla="*/ 93 w 98"/>
                  <a:gd name="T33" fmla="*/ 143 h 148"/>
                  <a:gd name="T34" fmla="*/ 91 w 98"/>
                  <a:gd name="T35" fmla="*/ 144 h 148"/>
                  <a:gd name="T36" fmla="*/ 86 w 98"/>
                  <a:gd name="T37" fmla="*/ 146 h 148"/>
                  <a:gd name="T38" fmla="*/ 82 w 98"/>
                  <a:gd name="T39" fmla="*/ 137 h 148"/>
                  <a:gd name="T40" fmla="*/ 75 w 98"/>
                  <a:gd name="T41" fmla="*/ 141 h 148"/>
                  <a:gd name="T42" fmla="*/ 79 w 98"/>
                  <a:gd name="T43" fmla="*/ 143 h 148"/>
                  <a:gd name="T44" fmla="*/ 71 w 98"/>
                  <a:gd name="T45" fmla="*/ 143 h 148"/>
                  <a:gd name="T46" fmla="*/ 70 w 98"/>
                  <a:gd name="T47" fmla="*/ 144 h 148"/>
                  <a:gd name="T48" fmla="*/ 62 w 98"/>
                  <a:gd name="T49" fmla="*/ 139 h 148"/>
                  <a:gd name="T50" fmla="*/ 61 w 98"/>
                  <a:gd name="T51" fmla="*/ 143 h 148"/>
                  <a:gd name="T52" fmla="*/ 52 w 98"/>
                  <a:gd name="T53" fmla="*/ 139 h 148"/>
                  <a:gd name="T54" fmla="*/ 54 w 98"/>
                  <a:gd name="T55" fmla="*/ 135 h 148"/>
                  <a:gd name="T56" fmla="*/ 41 w 98"/>
                  <a:gd name="T57" fmla="*/ 137 h 148"/>
                  <a:gd name="T58" fmla="*/ 36 w 98"/>
                  <a:gd name="T59" fmla="*/ 134 h 148"/>
                  <a:gd name="T60" fmla="*/ 34 w 98"/>
                  <a:gd name="T61" fmla="*/ 123 h 148"/>
                  <a:gd name="T62" fmla="*/ 39 w 98"/>
                  <a:gd name="T63" fmla="*/ 123 h 148"/>
                  <a:gd name="T64" fmla="*/ 45 w 98"/>
                  <a:gd name="T65" fmla="*/ 121 h 148"/>
                  <a:gd name="T66" fmla="*/ 43 w 98"/>
                  <a:gd name="T67" fmla="*/ 118 h 148"/>
                  <a:gd name="T68" fmla="*/ 32 w 98"/>
                  <a:gd name="T69" fmla="*/ 112 h 148"/>
                  <a:gd name="T70" fmla="*/ 34 w 98"/>
                  <a:gd name="T71" fmla="*/ 109 h 148"/>
                  <a:gd name="T72" fmla="*/ 30 w 98"/>
                  <a:gd name="T73" fmla="*/ 110 h 148"/>
                  <a:gd name="T74" fmla="*/ 30 w 98"/>
                  <a:gd name="T75" fmla="*/ 98 h 148"/>
                  <a:gd name="T76" fmla="*/ 23 w 98"/>
                  <a:gd name="T77" fmla="*/ 103 h 148"/>
                  <a:gd name="T78" fmla="*/ 20 w 98"/>
                  <a:gd name="T79" fmla="*/ 94 h 148"/>
                  <a:gd name="T80" fmla="*/ 14 w 98"/>
                  <a:gd name="T81" fmla="*/ 101 h 148"/>
                  <a:gd name="T82" fmla="*/ 12 w 98"/>
                  <a:gd name="T83" fmla="*/ 101 h 148"/>
                  <a:gd name="T84" fmla="*/ 4 w 98"/>
                  <a:gd name="T85" fmla="*/ 98 h 148"/>
                  <a:gd name="T86" fmla="*/ 0 w 98"/>
                  <a:gd name="T87" fmla="*/ 71 h 148"/>
                  <a:gd name="T88" fmla="*/ 9 w 98"/>
                  <a:gd name="T89" fmla="*/ 68 h 148"/>
                  <a:gd name="T90" fmla="*/ 12 w 98"/>
                  <a:gd name="T91" fmla="*/ 73 h 148"/>
                  <a:gd name="T92" fmla="*/ 16 w 98"/>
                  <a:gd name="T93" fmla="*/ 60 h 148"/>
                  <a:gd name="T94" fmla="*/ 16 w 98"/>
                  <a:gd name="T95" fmla="*/ 55 h 148"/>
                  <a:gd name="T96" fmla="*/ 20 w 98"/>
                  <a:gd name="T97" fmla="*/ 50 h 148"/>
                  <a:gd name="T98" fmla="*/ 23 w 98"/>
                  <a:gd name="T99" fmla="*/ 43 h 148"/>
                  <a:gd name="T100" fmla="*/ 21 w 98"/>
                  <a:gd name="T101" fmla="*/ 41 h 148"/>
                  <a:gd name="T102" fmla="*/ 14 w 98"/>
                  <a:gd name="T103" fmla="*/ 32 h 148"/>
                  <a:gd name="T104" fmla="*/ 25 w 98"/>
                  <a:gd name="T105" fmla="*/ 26 h 148"/>
                  <a:gd name="T106" fmla="*/ 25 w 98"/>
                  <a:gd name="T107" fmla="*/ 23 h 148"/>
                  <a:gd name="T108" fmla="*/ 27 w 98"/>
                  <a:gd name="T109" fmla="*/ 19 h 148"/>
                  <a:gd name="T110" fmla="*/ 30 w 98"/>
                  <a:gd name="T111" fmla="*/ 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148">
                    <a:moveTo>
                      <a:pt x="36" y="5"/>
                    </a:moveTo>
                    <a:lnTo>
                      <a:pt x="36" y="5"/>
                    </a:lnTo>
                    <a:lnTo>
                      <a:pt x="43" y="7"/>
                    </a:lnTo>
                    <a:lnTo>
                      <a:pt x="46" y="3"/>
                    </a:lnTo>
                    <a:lnTo>
                      <a:pt x="54" y="0"/>
                    </a:lnTo>
                    <a:lnTo>
                      <a:pt x="57" y="0"/>
                    </a:lnTo>
                    <a:lnTo>
                      <a:pt x="61" y="3"/>
                    </a:lnTo>
                    <a:lnTo>
                      <a:pt x="62" y="3"/>
                    </a:lnTo>
                    <a:lnTo>
                      <a:pt x="66" y="5"/>
                    </a:lnTo>
                    <a:lnTo>
                      <a:pt x="73" y="9"/>
                    </a:lnTo>
                    <a:lnTo>
                      <a:pt x="77" y="9"/>
                    </a:lnTo>
                    <a:lnTo>
                      <a:pt x="79" y="12"/>
                    </a:lnTo>
                    <a:lnTo>
                      <a:pt x="80" y="16"/>
                    </a:lnTo>
                    <a:lnTo>
                      <a:pt x="70" y="18"/>
                    </a:lnTo>
                    <a:lnTo>
                      <a:pt x="79" y="19"/>
                    </a:lnTo>
                    <a:lnTo>
                      <a:pt x="77" y="21"/>
                    </a:lnTo>
                    <a:lnTo>
                      <a:pt x="73" y="21"/>
                    </a:lnTo>
                    <a:lnTo>
                      <a:pt x="66" y="25"/>
                    </a:lnTo>
                    <a:lnTo>
                      <a:pt x="70" y="25"/>
                    </a:lnTo>
                    <a:lnTo>
                      <a:pt x="77" y="23"/>
                    </a:lnTo>
                    <a:lnTo>
                      <a:pt x="77" y="26"/>
                    </a:lnTo>
                    <a:lnTo>
                      <a:pt x="75" y="30"/>
                    </a:lnTo>
                    <a:lnTo>
                      <a:pt x="73" y="32"/>
                    </a:lnTo>
                    <a:lnTo>
                      <a:pt x="70" y="34"/>
                    </a:lnTo>
                    <a:lnTo>
                      <a:pt x="64" y="32"/>
                    </a:lnTo>
                    <a:lnTo>
                      <a:pt x="64" y="35"/>
                    </a:lnTo>
                    <a:lnTo>
                      <a:pt x="68" y="34"/>
                    </a:lnTo>
                    <a:lnTo>
                      <a:pt x="70" y="37"/>
                    </a:lnTo>
                    <a:lnTo>
                      <a:pt x="68" y="41"/>
                    </a:lnTo>
                    <a:lnTo>
                      <a:pt x="66" y="46"/>
                    </a:lnTo>
                    <a:lnTo>
                      <a:pt x="64" y="44"/>
                    </a:lnTo>
                    <a:lnTo>
                      <a:pt x="64" y="46"/>
                    </a:lnTo>
                    <a:lnTo>
                      <a:pt x="64" y="48"/>
                    </a:lnTo>
                    <a:lnTo>
                      <a:pt x="64" y="51"/>
                    </a:lnTo>
                    <a:lnTo>
                      <a:pt x="62" y="51"/>
                    </a:lnTo>
                    <a:lnTo>
                      <a:pt x="62" y="62"/>
                    </a:lnTo>
                    <a:lnTo>
                      <a:pt x="64" y="66"/>
                    </a:lnTo>
                    <a:lnTo>
                      <a:pt x="62" y="75"/>
                    </a:lnTo>
                    <a:lnTo>
                      <a:pt x="62" y="78"/>
                    </a:lnTo>
                    <a:lnTo>
                      <a:pt x="64" y="80"/>
                    </a:lnTo>
                    <a:lnTo>
                      <a:pt x="66" y="100"/>
                    </a:lnTo>
                    <a:lnTo>
                      <a:pt x="71" y="109"/>
                    </a:lnTo>
                    <a:lnTo>
                      <a:pt x="73" y="114"/>
                    </a:lnTo>
                    <a:lnTo>
                      <a:pt x="82" y="126"/>
                    </a:lnTo>
                    <a:lnTo>
                      <a:pt x="86" y="128"/>
                    </a:lnTo>
                    <a:lnTo>
                      <a:pt x="93" y="135"/>
                    </a:lnTo>
                    <a:lnTo>
                      <a:pt x="95" y="135"/>
                    </a:lnTo>
                    <a:lnTo>
                      <a:pt x="98" y="137"/>
                    </a:lnTo>
                    <a:lnTo>
                      <a:pt x="95" y="139"/>
                    </a:lnTo>
                    <a:lnTo>
                      <a:pt x="95" y="141"/>
                    </a:lnTo>
                    <a:lnTo>
                      <a:pt x="93" y="143"/>
                    </a:lnTo>
                    <a:lnTo>
                      <a:pt x="87" y="141"/>
                    </a:lnTo>
                    <a:lnTo>
                      <a:pt x="86" y="143"/>
                    </a:lnTo>
                    <a:lnTo>
                      <a:pt x="91" y="144"/>
                    </a:lnTo>
                    <a:lnTo>
                      <a:pt x="89" y="146"/>
                    </a:lnTo>
                    <a:lnTo>
                      <a:pt x="89" y="148"/>
                    </a:lnTo>
                    <a:lnTo>
                      <a:pt x="86" y="146"/>
                    </a:lnTo>
                    <a:lnTo>
                      <a:pt x="82" y="141"/>
                    </a:lnTo>
                    <a:lnTo>
                      <a:pt x="80" y="141"/>
                    </a:lnTo>
                    <a:lnTo>
                      <a:pt x="82" y="137"/>
                    </a:lnTo>
                    <a:lnTo>
                      <a:pt x="79" y="139"/>
                    </a:lnTo>
                    <a:lnTo>
                      <a:pt x="77" y="139"/>
                    </a:lnTo>
                    <a:lnTo>
                      <a:pt x="75" y="141"/>
                    </a:lnTo>
                    <a:lnTo>
                      <a:pt x="75" y="143"/>
                    </a:lnTo>
                    <a:lnTo>
                      <a:pt x="77" y="143"/>
                    </a:lnTo>
                    <a:lnTo>
                      <a:pt x="79" y="143"/>
                    </a:lnTo>
                    <a:lnTo>
                      <a:pt x="79" y="144"/>
                    </a:lnTo>
                    <a:lnTo>
                      <a:pt x="75" y="146"/>
                    </a:lnTo>
                    <a:lnTo>
                      <a:pt x="71" y="143"/>
                    </a:lnTo>
                    <a:lnTo>
                      <a:pt x="70" y="143"/>
                    </a:lnTo>
                    <a:lnTo>
                      <a:pt x="71" y="144"/>
                    </a:lnTo>
                    <a:lnTo>
                      <a:pt x="70" y="144"/>
                    </a:lnTo>
                    <a:lnTo>
                      <a:pt x="68" y="141"/>
                    </a:lnTo>
                    <a:lnTo>
                      <a:pt x="66" y="141"/>
                    </a:lnTo>
                    <a:lnTo>
                      <a:pt x="62" y="139"/>
                    </a:lnTo>
                    <a:lnTo>
                      <a:pt x="62" y="143"/>
                    </a:lnTo>
                    <a:lnTo>
                      <a:pt x="61" y="141"/>
                    </a:lnTo>
                    <a:lnTo>
                      <a:pt x="61" y="143"/>
                    </a:lnTo>
                    <a:lnTo>
                      <a:pt x="61" y="146"/>
                    </a:lnTo>
                    <a:lnTo>
                      <a:pt x="59" y="146"/>
                    </a:lnTo>
                    <a:lnTo>
                      <a:pt x="52" y="139"/>
                    </a:lnTo>
                    <a:lnTo>
                      <a:pt x="50" y="137"/>
                    </a:lnTo>
                    <a:lnTo>
                      <a:pt x="54" y="137"/>
                    </a:lnTo>
                    <a:lnTo>
                      <a:pt x="54" y="135"/>
                    </a:lnTo>
                    <a:lnTo>
                      <a:pt x="50" y="135"/>
                    </a:lnTo>
                    <a:lnTo>
                      <a:pt x="43" y="137"/>
                    </a:lnTo>
                    <a:lnTo>
                      <a:pt x="41" y="137"/>
                    </a:lnTo>
                    <a:lnTo>
                      <a:pt x="39" y="134"/>
                    </a:lnTo>
                    <a:lnTo>
                      <a:pt x="37" y="135"/>
                    </a:lnTo>
                    <a:lnTo>
                      <a:pt x="36" y="134"/>
                    </a:lnTo>
                    <a:lnTo>
                      <a:pt x="36" y="134"/>
                    </a:lnTo>
                    <a:lnTo>
                      <a:pt x="36" y="125"/>
                    </a:lnTo>
                    <a:lnTo>
                      <a:pt x="34" y="123"/>
                    </a:lnTo>
                    <a:lnTo>
                      <a:pt x="36" y="123"/>
                    </a:lnTo>
                    <a:lnTo>
                      <a:pt x="39" y="125"/>
                    </a:lnTo>
                    <a:lnTo>
                      <a:pt x="39" y="123"/>
                    </a:lnTo>
                    <a:lnTo>
                      <a:pt x="37" y="121"/>
                    </a:lnTo>
                    <a:lnTo>
                      <a:pt x="41" y="121"/>
                    </a:lnTo>
                    <a:lnTo>
                      <a:pt x="45" y="121"/>
                    </a:lnTo>
                    <a:lnTo>
                      <a:pt x="45" y="119"/>
                    </a:lnTo>
                    <a:lnTo>
                      <a:pt x="41" y="119"/>
                    </a:lnTo>
                    <a:lnTo>
                      <a:pt x="43" y="118"/>
                    </a:lnTo>
                    <a:lnTo>
                      <a:pt x="41" y="116"/>
                    </a:lnTo>
                    <a:lnTo>
                      <a:pt x="36" y="116"/>
                    </a:lnTo>
                    <a:lnTo>
                      <a:pt x="32" y="112"/>
                    </a:lnTo>
                    <a:lnTo>
                      <a:pt x="32" y="110"/>
                    </a:lnTo>
                    <a:lnTo>
                      <a:pt x="34" y="110"/>
                    </a:lnTo>
                    <a:lnTo>
                      <a:pt x="34" y="109"/>
                    </a:lnTo>
                    <a:lnTo>
                      <a:pt x="39" y="101"/>
                    </a:lnTo>
                    <a:lnTo>
                      <a:pt x="36" y="103"/>
                    </a:lnTo>
                    <a:lnTo>
                      <a:pt x="30" y="110"/>
                    </a:lnTo>
                    <a:lnTo>
                      <a:pt x="30" y="107"/>
                    </a:lnTo>
                    <a:lnTo>
                      <a:pt x="30" y="103"/>
                    </a:lnTo>
                    <a:lnTo>
                      <a:pt x="30" y="98"/>
                    </a:lnTo>
                    <a:lnTo>
                      <a:pt x="27" y="101"/>
                    </a:lnTo>
                    <a:lnTo>
                      <a:pt x="25" y="100"/>
                    </a:lnTo>
                    <a:lnTo>
                      <a:pt x="23" y="103"/>
                    </a:lnTo>
                    <a:lnTo>
                      <a:pt x="21" y="101"/>
                    </a:lnTo>
                    <a:lnTo>
                      <a:pt x="21" y="103"/>
                    </a:lnTo>
                    <a:lnTo>
                      <a:pt x="20" y="94"/>
                    </a:lnTo>
                    <a:lnTo>
                      <a:pt x="18" y="93"/>
                    </a:lnTo>
                    <a:lnTo>
                      <a:pt x="16" y="98"/>
                    </a:lnTo>
                    <a:lnTo>
                      <a:pt x="14" y="101"/>
                    </a:lnTo>
                    <a:lnTo>
                      <a:pt x="14" y="96"/>
                    </a:lnTo>
                    <a:lnTo>
                      <a:pt x="12" y="98"/>
                    </a:lnTo>
                    <a:lnTo>
                      <a:pt x="12" y="101"/>
                    </a:lnTo>
                    <a:lnTo>
                      <a:pt x="7" y="101"/>
                    </a:lnTo>
                    <a:lnTo>
                      <a:pt x="5" y="100"/>
                    </a:lnTo>
                    <a:lnTo>
                      <a:pt x="4" y="98"/>
                    </a:lnTo>
                    <a:lnTo>
                      <a:pt x="0" y="89"/>
                    </a:lnTo>
                    <a:lnTo>
                      <a:pt x="0" y="75"/>
                    </a:lnTo>
                    <a:lnTo>
                      <a:pt x="0" y="71"/>
                    </a:lnTo>
                    <a:lnTo>
                      <a:pt x="5" y="68"/>
                    </a:lnTo>
                    <a:lnTo>
                      <a:pt x="7" y="69"/>
                    </a:lnTo>
                    <a:lnTo>
                      <a:pt x="9" y="68"/>
                    </a:lnTo>
                    <a:lnTo>
                      <a:pt x="11" y="68"/>
                    </a:lnTo>
                    <a:lnTo>
                      <a:pt x="11" y="71"/>
                    </a:lnTo>
                    <a:lnTo>
                      <a:pt x="12" y="73"/>
                    </a:lnTo>
                    <a:lnTo>
                      <a:pt x="14" y="68"/>
                    </a:lnTo>
                    <a:lnTo>
                      <a:pt x="16" y="66"/>
                    </a:lnTo>
                    <a:lnTo>
                      <a:pt x="16" y="60"/>
                    </a:lnTo>
                    <a:lnTo>
                      <a:pt x="18" y="60"/>
                    </a:lnTo>
                    <a:lnTo>
                      <a:pt x="18" y="57"/>
                    </a:lnTo>
                    <a:lnTo>
                      <a:pt x="16" y="55"/>
                    </a:lnTo>
                    <a:lnTo>
                      <a:pt x="20" y="53"/>
                    </a:lnTo>
                    <a:lnTo>
                      <a:pt x="20" y="50"/>
                    </a:lnTo>
                    <a:lnTo>
                      <a:pt x="20" y="50"/>
                    </a:lnTo>
                    <a:lnTo>
                      <a:pt x="21" y="46"/>
                    </a:lnTo>
                    <a:lnTo>
                      <a:pt x="23" y="44"/>
                    </a:lnTo>
                    <a:lnTo>
                      <a:pt x="23" y="43"/>
                    </a:lnTo>
                    <a:lnTo>
                      <a:pt x="21" y="46"/>
                    </a:lnTo>
                    <a:lnTo>
                      <a:pt x="20" y="44"/>
                    </a:lnTo>
                    <a:lnTo>
                      <a:pt x="21" y="41"/>
                    </a:lnTo>
                    <a:lnTo>
                      <a:pt x="18" y="41"/>
                    </a:lnTo>
                    <a:lnTo>
                      <a:pt x="14" y="37"/>
                    </a:lnTo>
                    <a:lnTo>
                      <a:pt x="14" y="32"/>
                    </a:lnTo>
                    <a:lnTo>
                      <a:pt x="20" y="28"/>
                    </a:lnTo>
                    <a:lnTo>
                      <a:pt x="23" y="26"/>
                    </a:lnTo>
                    <a:lnTo>
                      <a:pt x="25" y="26"/>
                    </a:lnTo>
                    <a:lnTo>
                      <a:pt x="29" y="25"/>
                    </a:lnTo>
                    <a:lnTo>
                      <a:pt x="27" y="25"/>
                    </a:lnTo>
                    <a:lnTo>
                      <a:pt x="25" y="23"/>
                    </a:lnTo>
                    <a:lnTo>
                      <a:pt x="27" y="21"/>
                    </a:lnTo>
                    <a:lnTo>
                      <a:pt x="29" y="21"/>
                    </a:lnTo>
                    <a:lnTo>
                      <a:pt x="27" y="19"/>
                    </a:lnTo>
                    <a:lnTo>
                      <a:pt x="25" y="18"/>
                    </a:lnTo>
                    <a:lnTo>
                      <a:pt x="25" y="14"/>
                    </a:lnTo>
                    <a:lnTo>
                      <a:pt x="30" y="9"/>
                    </a:lnTo>
                    <a:lnTo>
                      <a:pt x="36"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88" name="Freeform 2037"/>
              <p:cNvSpPr>
                <a:spLocks/>
              </p:cNvSpPr>
              <p:nvPr/>
            </p:nvSpPr>
            <p:spPr bwMode="auto">
              <a:xfrm>
                <a:off x="3521" y="956"/>
                <a:ext cx="98" cy="148"/>
              </a:xfrm>
              <a:custGeom>
                <a:avLst/>
                <a:gdLst>
                  <a:gd name="T0" fmla="*/ 43 w 98"/>
                  <a:gd name="T1" fmla="*/ 7 h 148"/>
                  <a:gd name="T2" fmla="*/ 57 w 98"/>
                  <a:gd name="T3" fmla="*/ 0 h 148"/>
                  <a:gd name="T4" fmla="*/ 66 w 98"/>
                  <a:gd name="T5" fmla="*/ 5 h 148"/>
                  <a:gd name="T6" fmla="*/ 79 w 98"/>
                  <a:gd name="T7" fmla="*/ 12 h 148"/>
                  <a:gd name="T8" fmla="*/ 79 w 98"/>
                  <a:gd name="T9" fmla="*/ 19 h 148"/>
                  <a:gd name="T10" fmla="*/ 66 w 98"/>
                  <a:gd name="T11" fmla="*/ 25 h 148"/>
                  <a:gd name="T12" fmla="*/ 77 w 98"/>
                  <a:gd name="T13" fmla="*/ 26 h 148"/>
                  <a:gd name="T14" fmla="*/ 70 w 98"/>
                  <a:gd name="T15" fmla="*/ 34 h 148"/>
                  <a:gd name="T16" fmla="*/ 68 w 98"/>
                  <a:gd name="T17" fmla="*/ 34 h 148"/>
                  <a:gd name="T18" fmla="*/ 66 w 98"/>
                  <a:gd name="T19" fmla="*/ 46 h 148"/>
                  <a:gd name="T20" fmla="*/ 64 w 98"/>
                  <a:gd name="T21" fmla="*/ 48 h 148"/>
                  <a:gd name="T22" fmla="*/ 62 w 98"/>
                  <a:gd name="T23" fmla="*/ 62 h 148"/>
                  <a:gd name="T24" fmla="*/ 62 w 98"/>
                  <a:gd name="T25" fmla="*/ 78 h 148"/>
                  <a:gd name="T26" fmla="*/ 71 w 98"/>
                  <a:gd name="T27" fmla="*/ 109 h 148"/>
                  <a:gd name="T28" fmla="*/ 86 w 98"/>
                  <a:gd name="T29" fmla="*/ 128 h 148"/>
                  <a:gd name="T30" fmla="*/ 98 w 98"/>
                  <a:gd name="T31" fmla="*/ 137 h 148"/>
                  <a:gd name="T32" fmla="*/ 93 w 98"/>
                  <a:gd name="T33" fmla="*/ 143 h 148"/>
                  <a:gd name="T34" fmla="*/ 91 w 98"/>
                  <a:gd name="T35" fmla="*/ 144 h 148"/>
                  <a:gd name="T36" fmla="*/ 86 w 98"/>
                  <a:gd name="T37" fmla="*/ 146 h 148"/>
                  <a:gd name="T38" fmla="*/ 82 w 98"/>
                  <a:gd name="T39" fmla="*/ 137 h 148"/>
                  <a:gd name="T40" fmla="*/ 75 w 98"/>
                  <a:gd name="T41" fmla="*/ 141 h 148"/>
                  <a:gd name="T42" fmla="*/ 79 w 98"/>
                  <a:gd name="T43" fmla="*/ 143 h 148"/>
                  <a:gd name="T44" fmla="*/ 71 w 98"/>
                  <a:gd name="T45" fmla="*/ 143 h 148"/>
                  <a:gd name="T46" fmla="*/ 70 w 98"/>
                  <a:gd name="T47" fmla="*/ 144 h 148"/>
                  <a:gd name="T48" fmla="*/ 62 w 98"/>
                  <a:gd name="T49" fmla="*/ 139 h 148"/>
                  <a:gd name="T50" fmla="*/ 61 w 98"/>
                  <a:gd name="T51" fmla="*/ 143 h 148"/>
                  <a:gd name="T52" fmla="*/ 52 w 98"/>
                  <a:gd name="T53" fmla="*/ 139 h 148"/>
                  <a:gd name="T54" fmla="*/ 54 w 98"/>
                  <a:gd name="T55" fmla="*/ 135 h 148"/>
                  <a:gd name="T56" fmla="*/ 41 w 98"/>
                  <a:gd name="T57" fmla="*/ 137 h 148"/>
                  <a:gd name="T58" fmla="*/ 36 w 98"/>
                  <a:gd name="T59" fmla="*/ 134 h 148"/>
                  <a:gd name="T60" fmla="*/ 34 w 98"/>
                  <a:gd name="T61" fmla="*/ 123 h 148"/>
                  <a:gd name="T62" fmla="*/ 39 w 98"/>
                  <a:gd name="T63" fmla="*/ 123 h 148"/>
                  <a:gd name="T64" fmla="*/ 45 w 98"/>
                  <a:gd name="T65" fmla="*/ 121 h 148"/>
                  <a:gd name="T66" fmla="*/ 43 w 98"/>
                  <a:gd name="T67" fmla="*/ 118 h 148"/>
                  <a:gd name="T68" fmla="*/ 32 w 98"/>
                  <a:gd name="T69" fmla="*/ 112 h 148"/>
                  <a:gd name="T70" fmla="*/ 34 w 98"/>
                  <a:gd name="T71" fmla="*/ 109 h 148"/>
                  <a:gd name="T72" fmla="*/ 30 w 98"/>
                  <a:gd name="T73" fmla="*/ 110 h 148"/>
                  <a:gd name="T74" fmla="*/ 30 w 98"/>
                  <a:gd name="T75" fmla="*/ 98 h 148"/>
                  <a:gd name="T76" fmla="*/ 23 w 98"/>
                  <a:gd name="T77" fmla="*/ 103 h 148"/>
                  <a:gd name="T78" fmla="*/ 20 w 98"/>
                  <a:gd name="T79" fmla="*/ 94 h 148"/>
                  <a:gd name="T80" fmla="*/ 14 w 98"/>
                  <a:gd name="T81" fmla="*/ 101 h 148"/>
                  <a:gd name="T82" fmla="*/ 12 w 98"/>
                  <a:gd name="T83" fmla="*/ 101 h 148"/>
                  <a:gd name="T84" fmla="*/ 4 w 98"/>
                  <a:gd name="T85" fmla="*/ 98 h 148"/>
                  <a:gd name="T86" fmla="*/ 0 w 98"/>
                  <a:gd name="T87" fmla="*/ 71 h 148"/>
                  <a:gd name="T88" fmla="*/ 9 w 98"/>
                  <a:gd name="T89" fmla="*/ 68 h 148"/>
                  <a:gd name="T90" fmla="*/ 12 w 98"/>
                  <a:gd name="T91" fmla="*/ 73 h 148"/>
                  <a:gd name="T92" fmla="*/ 16 w 98"/>
                  <a:gd name="T93" fmla="*/ 60 h 148"/>
                  <a:gd name="T94" fmla="*/ 16 w 98"/>
                  <a:gd name="T95" fmla="*/ 55 h 148"/>
                  <a:gd name="T96" fmla="*/ 20 w 98"/>
                  <a:gd name="T97" fmla="*/ 50 h 148"/>
                  <a:gd name="T98" fmla="*/ 23 w 98"/>
                  <a:gd name="T99" fmla="*/ 43 h 148"/>
                  <a:gd name="T100" fmla="*/ 21 w 98"/>
                  <a:gd name="T101" fmla="*/ 41 h 148"/>
                  <a:gd name="T102" fmla="*/ 14 w 98"/>
                  <a:gd name="T103" fmla="*/ 32 h 148"/>
                  <a:gd name="T104" fmla="*/ 25 w 98"/>
                  <a:gd name="T105" fmla="*/ 26 h 148"/>
                  <a:gd name="T106" fmla="*/ 25 w 98"/>
                  <a:gd name="T107" fmla="*/ 23 h 148"/>
                  <a:gd name="T108" fmla="*/ 27 w 98"/>
                  <a:gd name="T109" fmla="*/ 19 h 148"/>
                  <a:gd name="T110" fmla="*/ 30 w 98"/>
                  <a:gd name="T111" fmla="*/ 9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8" h="148">
                    <a:moveTo>
                      <a:pt x="36" y="5"/>
                    </a:moveTo>
                    <a:lnTo>
                      <a:pt x="36" y="5"/>
                    </a:lnTo>
                    <a:lnTo>
                      <a:pt x="43" y="7"/>
                    </a:lnTo>
                    <a:lnTo>
                      <a:pt x="46" y="3"/>
                    </a:lnTo>
                    <a:lnTo>
                      <a:pt x="54" y="0"/>
                    </a:lnTo>
                    <a:lnTo>
                      <a:pt x="57" y="0"/>
                    </a:lnTo>
                    <a:lnTo>
                      <a:pt x="61" y="3"/>
                    </a:lnTo>
                    <a:lnTo>
                      <a:pt x="62" y="3"/>
                    </a:lnTo>
                    <a:lnTo>
                      <a:pt x="66" y="5"/>
                    </a:lnTo>
                    <a:lnTo>
                      <a:pt x="73" y="9"/>
                    </a:lnTo>
                    <a:lnTo>
                      <a:pt x="77" y="9"/>
                    </a:lnTo>
                    <a:lnTo>
                      <a:pt x="79" y="12"/>
                    </a:lnTo>
                    <a:lnTo>
                      <a:pt x="80" y="16"/>
                    </a:lnTo>
                    <a:lnTo>
                      <a:pt x="70" y="18"/>
                    </a:lnTo>
                    <a:lnTo>
                      <a:pt x="79" y="19"/>
                    </a:lnTo>
                    <a:lnTo>
                      <a:pt x="77" y="21"/>
                    </a:lnTo>
                    <a:lnTo>
                      <a:pt x="73" y="21"/>
                    </a:lnTo>
                    <a:lnTo>
                      <a:pt x="66" y="25"/>
                    </a:lnTo>
                    <a:lnTo>
                      <a:pt x="70" y="25"/>
                    </a:lnTo>
                    <a:lnTo>
                      <a:pt x="77" y="23"/>
                    </a:lnTo>
                    <a:lnTo>
                      <a:pt x="77" y="26"/>
                    </a:lnTo>
                    <a:lnTo>
                      <a:pt x="75" y="30"/>
                    </a:lnTo>
                    <a:lnTo>
                      <a:pt x="73" y="32"/>
                    </a:lnTo>
                    <a:lnTo>
                      <a:pt x="70" y="34"/>
                    </a:lnTo>
                    <a:lnTo>
                      <a:pt x="64" y="32"/>
                    </a:lnTo>
                    <a:lnTo>
                      <a:pt x="64" y="35"/>
                    </a:lnTo>
                    <a:lnTo>
                      <a:pt x="68" y="34"/>
                    </a:lnTo>
                    <a:lnTo>
                      <a:pt x="70" y="37"/>
                    </a:lnTo>
                    <a:lnTo>
                      <a:pt x="68" y="41"/>
                    </a:lnTo>
                    <a:lnTo>
                      <a:pt x="66" y="46"/>
                    </a:lnTo>
                    <a:lnTo>
                      <a:pt x="64" y="44"/>
                    </a:lnTo>
                    <a:lnTo>
                      <a:pt x="64" y="46"/>
                    </a:lnTo>
                    <a:lnTo>
                      <a:pt x="64" y="48"/>
                    </a:lnTo>
                    <a:lnTo>
                      <a:pt x="64" y="51"/>
                    </a:lnTo>
                    <a:lnTo>
                      <a:pt x="62" y="51"/>
                    </a:lnTo>
                    <a:lnTo>
                      <a:pt x="62" y="62"/>
                    </a:lnTo>
                    <a:lnTo>
                      <a:pt x="64" y="66"/>
                    </a:lnTo>
                    <a:lnTo>
                      <a:pt x="62" y="75"/>
                    </a:lnTo>
                    <a:lnTo>
                      <a:pt x="62" y="78"/>
                    </a:lnTo>
                    <a:lnTo>
                      <a:pt x="64" y="80"/>
                    </a:lnTo>
                    <a:lnTo>
                      <a:pt x="66" y="100"/>
                    </a:lnTo>
                    <a:lnTo>
                      <a:pt x="71" y="109"/>
                    </a:lnTo>
                    <a:lnTo>
                      <a:pt x="73" y="114"/>
                    </a:lnTo>
                    <a:lnTo>
                      <a:pt x="82" y="126"/>
                    </a:lnTo>
                    <a:lnTo>
                      <a:pt x="86" y="128"/>
                    </a:lnTo>
                    <a:lnTo>
                      <a:pt x="93" y="135"/>
                    </a:lnTo>
                    <a:lnTo>
                      <a:pt x="95" y="135"/>
                    </a:lnTo>
                    <a:lnTo>
                      <a:pt x="98" y="137"/>
                    </a:lnTo>
                    <a:lnTo>
                      <a:pt x="95" y="139"/>
                    </a:lnTo>
                    <a:lnTo>
                      <a:pt x="95" y="141"/>
                    </a:lnTo>
                    <a:lnTo>
                      <a:pt x="93" y="143"/>
                    </a:lnTo>
                    <a:lnTo>
                      <a:pt x="87" y="141"/>
                    </a:lnTo>
                    <a:lnTo>
                      <a:pt x="86" y="143"/>
                    </a:lnTo>
                    <a:lnTo>
                      <a:pt x="91" y="144"/>
                    </a:lnTo>
                    <a:lnTo>
                      <a:pt x="89" y="146"/>
                    </a:lnTo>
                    <a:lnTo>
                      <a:pt x="89" y="148"/>
                    </a:lnTo>
                    <a:lnTo>
                      <a:pt x="86" y="146"/>
                    </a:lnTo>
                    <a:lnTo>
                      <a:pt x="82" y="141"/>
                    </a:lnTo>
                    <a:lnTo>
                      <a:pt x="80" y="141"/>
                    </a:lnTo>
                    <a:lnTo>
                      <a:pt x="82" y="137"/>
                    </a:lnTo>
                    <a:lnTo>
                      <a:pt x="79" y="139"/>
                    </a:lnTo>
                    <a:lnTo>
                      <a:pt x="77" y="139"/>
                    </a:lnTo>
                    <a:lnTo>
                      <a:pt x="75" y="141"/>
                    </a:lnTo>
                    <a:lnTo>
                      <a:pt x="75" y="143"/>
                    </a:lnTo>
                    <a:lnTo>
                      <a:pt x="77" y="143"/>
                    </a:lnTo>
                    <a:lnTo>
                      <a:pt x="79" y="143"/>
                    </a:lnTo>
                    <a:lnTo>
                      <a:pt x="79" y="144"/>
                    </a:lnTo>
                    <a:lnTo>
                      <a:pt x="75" y="146"/>
                    </a:lnTo>
                    <a:lnTo>
                      <a:pt x="71" y="143"/>
                    </a:lnTo>
                    <a:lnTo>
                      <a:pt x="70" y="143"/>
                    </a:lnTo>
                    <a:lnTo>
                      <a:pt x="71" y="144"/>
                    </a:lnTo>
                    <a:lnTo>
                      <a:pt x="70" y="144"/>
                    </a:lnTo>
                    <a:lnTo>
                      <a:pt x="68" y="141"/>
                    </a:lnTo>
                    <a:lnTo>
                      <a:pt x="66" y="141"/>
                    </a:lnTo>
                    <a:lnTo>
                      <a:pt x="62" y="139"/>
                    </a:lnTo>
                    <a:lnTo>
                      <a:pt x="62" y="143"/>
                    </a:lnTo>
                    <a:lnTo>
                      <a:pt x="61" y="141"/>
                    </a:lnTo>
                    <a:lnTo>
                      <a:pt x="61" y="143"/>
                    </a:lnTo>
                    <a:lnTo>
                      <a:pt x="61" y="146"/>
                    </a:lnTo>
                    <a:lnTo>
                      <a:pt x="59" y="146"/>
                    </a:lnTo>
                    <a:lnTo>
                      <a:pt x="52" y="139"/>
                    </a:lnTo>
                    <a:lnTo>
                      <a:pt x="50" y="137"/>
                    </a:lnTo>
                    <a:lnTo>
                      <a:pt x="54" y="137"/>
                    </a:lnTo>
                    <a:lnTo>
                      <a:pt x="54" y="135"/>
                    </a:lnTo>
                    <a:lnTo>
                      <a:pt x="50" y="135"/>
                    </a:lnTo>
                    <a:lnTo>
                      <a:pt x="43" y="137"/>
                    </a:lnTo>
                    <a:lnTo>
                      <a:pt x="41" y="137"/>
                    </a:lnTo>
                    <a:lnTo>
                      <a:pt x="39" y="134"/>
                    </a:lnTo>
                    <a:lnTo>
                      <a:pt x="37" y="135"/>
                    </a:lnTo>
                    <a:lnTo>
                      <a:pt x="36" y="134"/>
                    </a:lnTo>
                    <a:lnTo>
                      <a:pt x="36" y="134"/>
                    </a:lnTo>
                    <a:lnTo>
                      <a:pt x="36" y="125"/>
                    </a:lnTo>
                    <a:lnTo>
                      <a:pt x="34" y="123"/>
                    </a:lnTo>
                    <a:lnTo>
                      <a:pt x="36" y="123"/>
                    </a:lnTo>
                    <a:lnTo>
                      <a:pt x="39" y="125"/>
                    </a:lnTo>
                    <a:lnTo>
                      <a:pt x="39" y="123"/>
                    </a:lnTo>
                    <a:lnTo>
                      <a:pt x="37" y="121"/>
                    </a:lnTo>
                    <a:lnTo>
                      <a:pt x="41" y="121"/>
                    </a:lnTo>
                    <a:lnTo>
                      <a:pt x="45" y="121"/>
                    </a:lnTo>
                    <a:lnTo>
                      <a:pt x="45" y="119"/>
                    </a:lnTo>
                    <a:lnTo>
                      <a:pt x="41" y="119"/>
                    </a:lnTo>
                    <a:lnTo>
                      <a:pt x="43" y="118"/>
                    </a:lnTo>
                    <a:lnTo>
                      <a:pt x="41" y="116"/>
                    </a:lnTo>
                    <a:lnTo>
                      <a:pt x="36" y="116"/>
                    </a:lnTo>
                    <a:lnTo>
                      <a:pt x="32" y="112"/>
                    </a:lnTo>
                    <a:lnTo>
                      <a:pt x="32" y="110"/>
                    </a:lnTo>
                    <a:lnTo>
                      <a:pt x="34" y="110"/>
                    </a:lnTo>
                    <a:lnTo>
                      <a:pt x="34" y="109"/>
                    </a:lnTo>
                    <a:lnTo>
                      <a:pt x="39" y="101"/>
                    </a:lnTo>
                    <a:lnTo>
                      <a:pt x="36" y="103"/>
                    </a:lnTo>
                    <a:lnTo>
                      <a:pt x="30" y="110"/>
                    </a:lnTo>
                    <a:lnTo>
                      <a:pt x="30" y="107"/>
                    </a:lnTo>
                    <a:lnTo>
                      <a:pt x="30" y="103"/>
                    </a:lnTo>
                    <a:lnTo>
                      <a:pt x="30" y="98"/>
                    </a:lnTo>
                    <a:lnTo>
                      <a:pt x="27" y="101"/>
                    </a:lnTo>
                    <a:lnTo>
                      <a:pt x="25" y="100"/>
                    </a:lnTo>
                    <a:lnTo>
                      <a:pt x="23" y="103"/>
                    </a:lnTo>
                    <a:lnTo>
                      <a:pt x="21" y="101"/>
                    </a:lnTo>
                    <a:lnTo>
                      <a:pt x="21" y="103"/>
                    </a:lnTo>
                    <a:lnTo>
                      <a:pt x="20" y="94"/>
                    </a:lnTo>
                    <a:lnTo>
                      <a:pt x="18" y="93"/>
                    </a:lnTo>
                    <a:lnTo>
                      <a:pt x="16" y="98"/>
                    </a:lnTo>
                    <a:lnTo>
                      <a:pt x="14" y="101"/>
                    </a:lnTo>
                    <a:lnTo>
                      <a:pt x="14" y="96"/>
                    </a:lnTo>
                    <a:lnTo>
                      <a:pt x="12" y="98"/>
                    </a:lnTo>
                    <a:lnTo>
                      <a:pt x="12" y="101"/>
                    </a:lnTo>
                    <a:lnTo>
                      <a:pt x="7" y="101"/>
                    </a:lnTo>
                    <a:lnTo>
                      <a:pt x="5" y="100"/>
                    </a:lnTo>
                    <a:lnTo>
                      <a:pt x="4" y="98"/>
                    </a:lnTo>
                    <a:lnTo>
                      <a:pt x="0" y="89"/>
                    </a:lnTo>
                    <a:lnTo>
                      <a:pt x="0" y="75"/>
                    </a:lnTo>
                    <a:lnTo>
                      <a:pt x="0" y="71"/>
                    </a:lnTo>
                    <a:lnTo>
                      <a:pt x="5" y="68"/>
                    </a:lnTo>
                    <a:lnTo>
                      <a:pt x="7" y="69"/>
                    </a:lnTo>
                    <a:lnTo>
                      <a:pt x="9" y="68"/>
                    </a:lnTo>
                    <a:lnTo>
                      <a:pt x="11" y="68"/>
                    </a:lnTo>
                    <a:lnTo>
                      <a:pt x="11" y="71"/>
                    </a:lnTo>
                    <a:lnTo>
                      <a:pt x="12" y="73"/>
                    </a:lnTo>
                    <a:lnTo>
                      <a:pt x="14" y="68"/>
                    </a:lnTo>
                    <a:lnTo>
                      <a:pt x="16" y="66"/>
                    </a:lnTo>
                    <a:lnTo>
                      <a:pt x="16" y="60"/>
                    </a:lnTo>
                    <a:lnTo>
                      <a:pt x="18" y="60"/>
                    </a:lnTo>
                    <a:lnTo>
                      <a:pt x="18" y="57"/>
                    </a:lnTo>
                    <a:lnTo>
                      <a:pt x="16" y="55"/>
                    </a:lnTo>
                    <a:lnTo>
                      <a:pt x="20" y="53"/>
                    </a:lnTo>
                    <a:lnTo>
                      <a:pt x="20" y="50"/>
                    </a:lnTo>
                    <a:lnTo>
                      <a:pt x="20" y="50"/>
                    </a:lnTo>
                    <a:lnTo>
                      <a:pt x="21" y="46"/>
                    </a:lnTo>
                    <a:lnTo>
                      <a:pt x="23" y="44"/>
                    </a:lnTo>
                    <a:lnTo>
                      <a:pt x="23" y="43"/>
                    </a:lnTo>
                    <a:lnTo>
                      <a:pt x="21" y="46"/>
                    </a:lnTo>
                    <a:lnTo>
                      <a:pt x="20" y="44"/>
                    </a:lnTo>
                    <a:lnTo>
                      <a:pt x="21" y="41"/>
                    </a:lnTo>
                    <a:lnTo>
                      <a:pt x="18" y="41"/>
                    </a:lnTo>
                    <a:lnTo>
                      <a:pt x="14" y="37"/>
                    </a:lnTo>
                    <a:lnTo>
                      <a:pt x="14" y="32"/>
                    </a:lnTo>
                    <a:lnTo>
                      <a:pt x="20" y="28"/>
                    </a:lnTo>
                    <a:lnTo>
                      <a:pt x="23" y="26"/>
                    </a:lnTo>
                    <a:lnTo>
                      <a:pt x="25" y="26"/>
                    </a:lnTo>
                    <a:lnTo>
                      <a:pt x="29" y="25"/>
                    </a:lnTo>
                    <a:lnTo>
                      <a:pt x="27" y="25"/>
                    </a:lnTo>
                    <a:lnTo>
                      <a:pt x="25" y="23"/>
                    </a:lnTo>
                    <a:lnTo>
                      <a:pt x="27" y="21"/>
                    </a:lnTo>
                    <a:lnTo>
                      <a:pt x="29" y="21"/>
                    </a:lnTo>
                    <a:lnTo>
                      <a:pt x="27" y="19"/>
                    </a:lnTo>
                    <a:lnTo>
                      <a:pt x="25" y="18"/>
                    </a:lnTo>
                    <a:lnTo>
                      <a:pt x="25" y="14"/>
                    </a:lnTo>
                    <a:lnTo>
                      <a:pt x="30" y="9"/>
                    </a:lnTo>
                    <a:lnTo>
                      <a:pt x="36"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89" name="Freeform 2038"/>
              <p:cNvSpPr>
                <a:spLocks/>
              </p:cNvSpPr>
              <p:nvPr/>
            </p:nvSpPr>
            <p:spPr bwMode="auto">
              <a:xfrm>
                <a:off x="3555" y="731"/>
                <a:ext cx="246" cy="232"/>
              </a:xfrm>
              <a:custGeom>
                <a:avLst/>
                <a:gdLst>
                  <a:gd name="T0" fmla="*/ 9 w 246"/>
                  <a:gd name="T1" fmla="*/ 196 h 232"/>
                  <a:gd name="T2" fmla="*/ 25 w 246"/>
                  <a:gd name="T3" fmla="*/ 184 h 232"/>
                  <a:gd name="T4" fmla="*/ 25 w 246"/>
                  <a:gd name="T5" fmla="*/ 180 h 232"/>
                  <a:gd name="T6" fmla="*/ 25 w 246"/>
                  <a:gd name="T7" fmla="*/ 169 h 232"/>
                  <a:gd name="T8" fmla="*/ 32 w 246"/>
                  <a:gd name="T9" fmla="*/ 162 h 232"/>
                  <a:gd name="T10" fmla="*/ 37 w 246"/>
                  <a:gd name="T11" fmla="*/ 150 h 232"/>
                  <a:gd name="T12" fmla="*/ 41 w 246"/>
                  <a:gd name="T13" fmla="*/ 144 h 232"/>
                  <a:gd name="T14" fmla="*/ 36 w 246"/>
                  <a:gd name="T15" fmla="*/ 134 h 232"/>
                  <a:gd name="T16" fmla="*/ 30 w 246"/>
                  <a:gd name="T17" fmla="*/ 130 h 232"/>
                  <a:gd name="T18" fmla="*/ 36 w 246"/>
                  <a:gd name="T19" fmla="*/ 119 h 232"/>
                  <a:gd name="T20" fmla="*/ 48 w 246"/>
                  <a:gd name="T21" fmla="*/ 114 h 232"/>
                  <a:gd name="T22" fmla="*/ 66 w 246"/>
                  <a:gd name="T23" fmla="*/ 100 h 232"/>
                  <a:gd name="T24" fmla="*/ 78 w 246"/>
                  <a:gd name="T25" fmla="*/ 89 h 232"/>
                  <a:gd name="T26" fmla="*/ 100 w 246"/>
                  <a:gd name="T27" fmla="*/ 68 h 232"/>
                  <a:gd name="T28" fmla="*/ 111 w 246"/>
                  <a:gd name="T29" fmla="*/ 68 h 232"/>
                  <a:gd name="T30" fmla="*/ 116 w 246"/>
                  <a:gd name="T31" fmla="*/ 53 h 232"/>
                  <a:gd name="T32" fmla="*/ 123 w 246"/>
                  <a:gd name="T33" fmla="*/ 44 h 232"/>
                  <a:gd name="T34" fmla="*/ 143 w 246"/>
                  <a:gd name="T35" fmla="*/ 51 h 232"/>
                  <a:gd name="T36" fmla="*/ 164 w 246"/>
                  <a:gd name="T37" fmla="*/ 48 h 232"/>
                  <a:gd name="T38" fmla="*/ 173 w 246"/>
                  <a:gd name="T39" fmla="*/ 43 h 232"/>
                  <a:gd name="T40" fmla="*/ 193 w 246"/>
                  <a:gd name="T41" fmla="*/ 32 h 232"/>
                  <a:gd name="T42" fmla="*/ 202 w 246"/>
                  <a:gd name="T43" fmla="*/ 12 h 232"/>
                  <a:gd name="T44" fmla="*/ 220 w 246"/>
                  <a:gd name="T45" fmla="*/ 0 h 232"/>
                  <a:gd name="T46" fmla="*/ 243 w 246"/>
                  <a:gd name="T47" fmla="*/ 10 h 232"/>
                  <a:gd name="T48" fmla="*/ 243 w 246"/>
                  <a:gd name="T49" fmla="*/ 32 h 232"/>
                  <a:gd name="T50" fmla="*/ 236 w 246"/>
                  <a:gd name="T51" fmla="*/ 55 h 232"/>
                  <a:gd name="T52" fmla="*/ 207 w 246"/>
                  <a:gd name="T53" fmla="*/ 68 h 232"/>
                  <a:gd name="T54" fmla="*/ 187 w 246"/>
                  <a:gd name="T55" fmla="*/ 73 h 232"/>
                  <a:gd name="T56" fmla="*/ 162 w 246"/>
                  <a:gd name="T57" fmla="*/ 91 h 232"/>
                  <a:gd name="T58" fmla="*/ 157 w 246"/>
                  <a:gd name="T59" fmla="*/ 91 h 232"/>
                  <a:gd name="T60" fmla="*/ 137 w 246"/>
                  <a:gd name="T61" fmla="*/ 107 h 232"/>
                  <a:gd name="T62" fmla="*/ 111 w 246"/>
                  <a:gd name="T63" fmla="*/ 128 h 232"/>
                  <a:gd name="T64" fmla="*/ 112 w 246"/>
                  <a:gd name="T65" fmla="*/ 135 h 232"/>
                  <a:gd name="T66" fmla="*/ 96 w 246"/>
                  <a:gd name="T67" fmla="*/ 148 h 232"/>
                  <a:gd name="T68" fmla="*/ 89 w 246"/>
                  <a:gd name="T69" fmla="*/ 151 h 232"/>
                  <a:gd name="T70" fmla="*/ 89 w 246"/>
                  <a:gd name="T71" fmla="*/ 160 h 232"/>
                  <a:gd name="T72" fmla="*/ 84 w 246"/>
                  <a:gd name="T73" fmla="*/ 168 h 232"/>
                  <a:gd name="T74" fmla="*/ 80 w 246"/>
                  <a:gd name="T75" fmla="*/ 173 h 232"/>
                  <a:gd name="T76" fmla="*/ 77 w 246"/>
                  <a:gd name="T77" fmla="*/ 178 h 232"/>
                  <a:gd name="T78" fmla="*/ 73 w 246"/>
                  <a:gd name="T79" fmla="*/ 185 h 232"/>
                  <a:gd name="T80" fmla="*/ 62 w 246"/>
                  <a:gd name="T81" fmla="*/ 176 h 232"/>
                  <a:gd name="T82" fmla="*/ 64 w 246"/>
                  <a:gd name="T83" fmla="*/ 191 h 232"/>
                  <a:gd name="T84" fmla="*/ 66 w 246"/>
                  <a:gd name="T85" fmla="*/ 205 h 232"/>
                  <a:gd name="T86" fmla="*/ 52 w 246"/>
                  <a:gd name="T87" fmla="*/ 201 h 232"/>
                  <a:gd name="T88" fmla="*/ 59 w 246"/>
                  <a:gd name="T89" fmla="*/ 214 h 232"/>
                  <a:gd name="T90" fmla="*/ 53 w 246"/>
                  <a:gd name="T91" fmla="*/ 218 h 232"/>
                  <a:gd name="T92" fmla="*/ 50 w 246"/>
                  <a:gd name="T93" fmla="*/ 228 h 232"/>
                  <a:gd name="T94" fmla="*/ 34 w 246"/>
                  <a:gd name="T95" fmla="*/ 226 h 232"/>
                  <a:gd name="T96" fmla="*/ 7 w 246"/>
                  <a:gd name="T97" fmla="*/ 226 h 232"/>
                  <a:gd name="T98" fmla="*/ 11 w 246"/>
                  <a:gd name="T99" fmla="*/ 216 h 232"/>
                  <a:gd name="T100" fmla="*/ 20 w 246"/>
                  <a:gd name="T101" fmla="*/ 205 h 232"/>
                  <a:gd name="T102" fmla="*/ 5 w 246"/>
                  <a:gd name="T103" fmla="*/ 20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232">
                    <a:moveTo>
                      <a:pt x="0" y="201"/>
                    </a:moveTo>
                    <a:lnTo>
                      <a:pt x="0" y="201"/>
                    </a:lnTo>
                    <a:lnTo>
                      <a:pt x="2" y="201"/>
                    </a:lnTo>
                    <a:lnTo>
                      <a:pt x="5" y="201"/>
                    </a:lnTo>
                    <a:lnTo>
                      <a:pt x="9" y="196"/>
                    </a:lnTo>
                    <a:lnTo>
                      <a:pt x="18" y="193"/>
                    </a:lnTo>
                    <a:lnTo>
                      <a:pt x="16" y="191"/>
                    </a:lnTo>
                    <a:lnTo>
                      <a:pt x="18" y="185"/>
                    </a:lnTo>
                    <a:lnTo>
                      <a:pt x="23" y="182"/>
                    </a:lnTo>
                    <a:lnTo>
                      <a:pt x="25" y="184"/>
                    </a:lnTo>
                    <a:lnTo>
                      <a:pt x="30" y="184"/>
                    </a:lnTo>
                    <a:lnTo>
                      <a:pt x="34" y="187"/>
                    </a:lnTo>
                    <a:lnTo>
                      <a:pt x="39" y="189"/>
                    </a:lnTo>
                    <a:lnTo>
                      <a:pt x="36" y="184"/>
                    </a:lnTo>
                    <a:lnTo>
                      <a:pt x="25" y="180"/>
                    </a:lnTo>
                    <a:lnTo>
                      <a:pt x="23" y="176"/>
                    </a:lnTo>
                    <a:lnTo>
                      <a:pt x="25" y="176"/>
                    </a:lnTo>
                    <a:lnTo>
                      <a:pt x="30" y="176"/>
                    </a:lnTo>
                    <a:lnTo>
                      <a:pt x="32" y="173"/>
                    </a:lnTo>
                    <a:lnTo>
                      <a:pt x="25" y="169"/>
                    </a:lnTo>
                    <a:lnTo>
                      <a:pt x="25" y="168"/>
                    </a:lnTo>
                    <a:lnTo>
                      <a:pt x="36" y="166"/>
                    </a:lnTo>
                    <a:lnTo>
                      <a:pt x="37" y="166"/>
                    </a:lnTo>
                    <a:lnTo>
                      <a:pt x="36" y="162"/>
                    </a:lnTo>
                    <a:lnTo>
                      <a:pt x="32" y="162"/>
                    </a:lnTo>
                    <a:lnTo>
                      <a:pt x="28" y="157"/>
                    </a:lnTo>
                    <a:lnTo>
                      <a:pt x="28" y="153"/>
                    </a:lnTo>
                    <a:lnTo>
                      <a:pt x="28" y="151"/>
                    </a:lnTo>
                    <a:lnTo>
                      <a:pt x="30" y="153"/>
                    </a:lnTo>
                    <a:lnTo>
                      <a:pt x="37" y="150"/>
                    </a:lnTo>
                    <a:lnTo>
                      <a:pt x="45" y="151"/>
                    </a:lnTo>
                    <a:lnTo>
                      <a:pt x="48" y="150"/>
                    </a:lnTo>
                    <a:lnTo>
                      <a:pt x="45" y="150"/>
                    </a:lnTo>
                    <a:lnTo>
                      <a:pt x="43" y="148"/>
                    </a:lnTo>
                    <a:lnTo>
                      <a:pt x="41" y="144"/>
                    </a:lnTo>
                    <a:lnTo>
                      <a:pt x="37" y="144"/>
                    </a:lnTo>
                    <a:lnTo>
                      <a:pt x="32" y="146"/>
                    </a:lnTo>
                    <a:lnTo>
                      <a:pt x="30" y="143"/>
                    </a:lnTo>
                    <a:lnTo>
                      <a:pt x="32" y="141"/>
                    </a:lnTo>
                    <a:lnTo>
                      <a:pt x="36" y="134"/>
                    </a:lnTo>
                    <a:lnTo>
                      <a:pt x="34" y="134"/>
                    </a:lnTo>
                    <a:lnTo>
                      <a:pt x="34" y="132"/>
                    </a:lnTo>
                    <a:lnTo>
                      <a:pt x="32" y="130"/>
                    </a:lnTo>
                    <a:lnTo>
                      <a:pt x="30" y="134"/>
                    </a:lnTo>
                    <a:lnTo>
                      <a:pt x="30" y="130"/>
                    </a:lnTo>
                    <a:lnTo>
                      <a:pt x="28" y="128"/>
                    </a:lnTo>
                    <a:lnTo>
                      <a:pt x="30" y="125"/>
                    </a:lnTo>
                    <a:lnTo>
                      <a:pt x="28" y="123"/>
                    </a:lnTo>
                    <a:lnTo>
                      <a:pt x="30" y="119"/>
                    </a:lnTo>
                    <a:lnTo>
                      <a:pt x="36" y="119"/>
                    </a:lnTo>
                    <a:lnTo>
                      <a:pt x="36" y="125"/>
                    </a:lnTo>
                    <a:lnTo>
                      <a:pt x="39" y="126"/>
                    </a:lnTo>
                    <a:lnTo>
                      <a:pt x="45" y="123"/>
                    </a:lnTo>
                    <a:lnTo>
                      <a:pt x="48" y="118"/>
                    </a:lnTo>
                    <a:lnTo>
                      <a:pt x="48" y="114"/>
                    </a:lnTo>
                    <a:lnTo>
                      <a:pt x="53" y="110"/>
                    </a:lnTo>
                    <a:lnTo>
                      <a:pt x="61" y="112"/>
                    </a:lnTo>
                    <a:lnTo>
                      <a:pt x="66" y="107"/>
                    </a:lnTo>
                    <a:lnTo>
                      <a:pt x="68" y="103"/>
                    </a:lnTo>
                    <a:lnTo>
                      <a:pt x="66" y="100"/>
                    </a:lnTo>
                    <a:lnTo>
                      <a:pt x="70" y="98"/>
                    </a:lnTo>
                    <a:lnTo>
                      <a:pt x="68" y="94"/>
                    </a:lnTo>
                    <a:lnTo>
                      <a:pt x="73" y="91"/>
                    </a:lnTo>
                    <a:lnTo>
                      <a:pt x="75" y="91"/>
                    </a:lnTo>
                    <a:lnTo>
                      <a:pt x="78" y="89"/>
                    </a:lnTo>
                    <a:lnTo>
                      <a:pt x="77" y="87"/>
                    </a:lnTo>
                    <a:lnTo>
                      <a:pt x="78" y="82"/>
                    </a:lnTo>
                    <a:lnTo>
                      <a:pt x="80" y="78"/>
                    </a:lnTo>
                    <a:lnTo>
                      <a:pt x="96" y="71"/>
                    </a:lnTo>
                    <a:lnTo>
                      <a:pt x="100" y="68"/>
                    </a:lnTo>
                    <a:lnTo>
                      <a:pt x="102" y="62"/>
                    </a:lnTo>
                    <a:lnTo>
                      <a:pt x="109" y="57"/>
                    </a:lnTo>
                    <a:lnTo>
                      <a:pt x="112" y="59"/>
                    </a:lnTo>
                    <a:lnTo>
                      <a:pt x="109" y="68"/>
                    </a:lnTo>
                    <a:lnTo>
                      <a:pt x="111" y="68"/>
                    </a:lnTo>
                    <a:lnTo>
                      <a:pt x="112" y="64"/>
                    </a:lnTo>
                    <a:lnTo>
                      <a:pt x="118" y="62"/>
                    </a:lnTo>
                    <a:lnTo>
                      <a:pt x="120" y="59"/>
                    </a:lnTo>
                    <a:lnTo>
                      <a:pt x="118" y="57"/>
                    </a:lnTo>
                    <a:lnTo>
                      <a:pt x="116" y="53"/>
                    </a:lnTo>
                    <a:lnTo>
                      <a:pt x="116" y="50"/>
                    </a:lnTo>
                    <a:lnTo>
                      <a:pt x="118" y="50"/>
                    </a:lnTo>
                    <a:lnTo>
                      <a:pt x="120" y="48"/>
                    </a:lnTo>
                    <a:lnTo>
                      <a:pt x="118" y="46"/>
                    </a:lnTo>
                    <a:lnTo>
                      <a:pt x="123" y="44"/>
                    </a:lnTo>
                    <a:lnTo>
                      <a:pt x="125" y="48"/>
                    </a:lnTo>
                    <a:lnTo>
                      <a:pt x="137" y="48"/>
                    </a:lnTo>
                    <a:lnTo>
                      <a:pt x="137" y="55"/>
                    </a:lnTo>
                    <a:lnTo>
                      <a:pt x="141" y="55"/>
                    </a:lnTo>
                    <a:lnTo>
                      <a:pt x="143" y="51"/>
                    </a:lnTo>
                    <a:lnTo>
                      <a:pt x="146" y="53"/>
                    </a:lnTo>
                    <a:lnTo>
                      <a:pt x="159" y="44"/>
                    </a:lnTo>
                    <a:lnTo>
                      <a:pt x="162" y="44"/>
                    </a:lnTo>
                    <a:lnTo>
                      <a:pt x="162" y="46"/>
                    </a:lnTo>
                    <a:lnTo>
                      <a:pt x="164" y="48"/>
                    </a:lnTo>
                    <a:lnTo>
                      <a:pt x="166" y="46"/>
                    </a:lnTo>
                    <a:lnTo>
                      <a:pt x="168" y="44"/>
                    </a:lnTo>
                    <a:lnTo>
                      <a:pt x="170" y="46"/>
                    </a:lnTo>
                    <a:lnTo>
                      <a:pt x="171" y="43"/>
                    </a:lnTo>
                    <a:lnTo>
                      <a:pt x="173" y="43"/>
                    </a:lnTo>
                    <a:lnTo>
                      <a:pt x="180" y="35"/>
                    </a:lnTo>
                    <a:lnTo>
                      <a:pt x="186" y="37"/>
                    </a:lnTo>
                    <a:lnTo>
                      <a:pt x="187" y="30"/>
                    </a:lnTo>
                    <a:lnTo>
                      <a:pt x="191" y="32"/>
                    </a:lnTo>
                    <a:lnTo>
                      <a:pt x="193" y="32"/>
                    </a:lnTo>
                    <a:lnTo>
                      <a:pt x="195" y="28"/>
                    </a:lnTo>
                    <a:lnTo>
                      <a:pt x="193" y="21"/>
                    </a:lnTo>
                    <a:lnTo>
                      <a:pt x="195" y="18"/>
                    </a:lnTo>
                    <a:lnTo>
                      <a:pt x="198" y="16"/>
                    </a:lnTo>
                    <a:lnTo>
                      <a:pt x="202" y="12"/>
                    </a:lnTo>
                    <a:lnTo>
                      <a:pt x="203" y="12"/>
                    </a:lnTo>
                    <a:lnTo>
                      <a:pt x="207" y="9"/>
                    </a:lnTo>
                    <a:lnTo>
                      <a:pt x="207" y="5"/>
                    </a:lnTo>
                    <a:lnTo>
                      <a:pt x="212" y="7"/>
                    </a:lnTo>
                    <a:lnTo>
                      <a:pt x="220" y="0"/>
                    </a:lnTo>
                    <a:lnTo>
                      <a:pt x="228" y="0"/>
                    </a:lnTo>
                    <a:lnTo>
                      <a:pt x="237" y="3"/>
                    </a:lnTo>
                    <a:lnTo>
                      <a:pt x="239" y="7"/>
                    </a:lnTo>
                    <a:lnTo>
                      <a:pt x="241" y="9"/>
                    </a:lnTo>
                    <a:lnTo>
                      <a:pt x="243" y="10"/>
                    </a:lnTo>
                    <a:lnTo>
                      <a:pt x="243" y="14"/>
                    </a:lnTo>
                    <a:lnTo>
                      <a:pt x="246" y="23"/>
                    </a:lnTo>
                    <a:lnTo>
                      <a:pt x="246" y="26"/>
                    </a:lnTo>
                    <a:lnTo>
                      <a:pt x="243" y="28"/>
                    </a:lnTo>
                    <a:lnTo>
                      <a:pt x="243" y="32"/>
                    </a:lnTo>
                    <a:lnTo>
                      <a:pt x="246" y="34"/>
                    </a:lnTo>
                    <a:lnTo>
                      <a:pt x="245" y="35"/>
                    </a:lnTo>
                    <a:lnTo>
                      <a:pt x="243" y="37"/>
                    </a:lnTo>
                    <a:lnTo>
                      <a:pt x="234" y="51"/>
                    </a:lnTo>
                    <a:lnTo>
                      <a:pt x="236" y="55"/>
                    </a:lnTo>
                    <a:lnTo>
                      <a:pt x="230" y="53"/>
                    </a:lnTo>
                    <a:lnTo>
                      <a:pt x="228" y="53"/>
                    </a:lnTo>
                    <a:lnTo>
                      <a:pt x="225" y="53"/>
                    </a:lnTo>
                    <a:lnTo>
                      <a:pt x="214" y="64"/>
                    </a:lnTo>
                    <a:lnTo>
                      <a:pt x="207" y="68"/>
                    </a:lnTo>
                    <a:lnTo>
                      <a:pt x="205" y="68"/>
                    </a:lnTo>
                    <a:lnTo>
                      <a:pt x="198" y="71"/>
                    </a:lnTo>
                    <a:lnTo>
                      <a:pt x="195" y="69"/>
                    </a:lnTo>
                    <a:lnTo>
                      <a:pt x="189" y="71"/>
                    </a:lnTo>
                    <a:lnTo>
                      <a:pt x="187" y="73"/>
                    </a:lnTo>
                    <a:lnTo>
                      <a:pt x="186" y="76"/>
                    </a:lnTo>
                    <a:lnTo>
                      <a:pt x="184" y="80"/>
                    </a:lnTo>
                    <a:lnTo>
                      <a:pt x="182" y="76"/>
                    </a:lnTo>
                    <a:lnTo>
                      <a:pt x="178" y="80"/>
                    </a:lnTo>
                    <a:lnTo>
                      <a:pt x="162" y="91"/>
                    </a:lnTo>
                    <a:lnTo>
                      <a:pt x="161" y="91"/>
                    </a:lnTo>
                    <a:lnTo>
                      <a:pt x="159" y="85"/>
                    </a:lnTo>
                    <a:lnTo>
                      <a:pt x="157" y="85"/>
                    </a:lnTo>
                    <a:lnTo>
                      <a:pt x="157" y="89"/>
                    </a:lnTo>
                    <a:lnTo>
                      <a:pt x="157" y="91"/>
                    </a:lnTo>
                    <a:lnTo>
                      <a:pt x="155" y="93"/>
                    </a:lnTo>
                    <a:lnTo>
                      <a:pt x="148" y="101"/>
                    </a:lnTo>
                    <a:lnTo>
                      <a:pt x="141" y="103"/>
                    </a:lnTo>
                    <a:lnTo>
                      <a:pt x="137" y="109"/>
                    </a:lnTo>
                    <a:lnTo>
                      <a:pt x="137" y="107"/>
                    </a:lnTo>
                    <a:lnTo>
                      <a:pt x="123" y="126"/>
                    </a:lnTo>
                    <a:lnTo>
                      <a:pt x="116" y="128"/>
                    </a:lnTo>
                    <a:lnTo>
                      <a:pt x="114" y="130"/>
                    </a:lnTo>
                    <a:lnTo>
                      <a:pt x="114" y="126"/>
                    </a:lnTo>
                    <a:lnTo>
                      <a:pt x="111" y="128"/>
                    </a:lnTo>
                    <a:lnTo>
                      <a:pt x="109" y="126"/>
                    </a:lnTo>
                    <a:lnTo>
                      <a:pt x="107" y="130"/>
                    </a:lnTo>
                    <a:lnTo>
                      <a:pt x="109" y="132"/>
                    </a:lnTo>
                    <a:lnTo>
                      <a:pt x="112" y="132"/>
                    </a:lnTo>
                    <a:lnTo>
                      <a:pt x="112" y="135"/>
                    </a:lnTo>
                    <a:lnTo>
                      <a:pt x="105" y="144"/>
                    </a:lnTo>
                    <a:lnTo>
                      <a:pt x="105" y="146"/>
                    </a:lnTo>
                    <a:lnTo>
                      <a:pt x="105" y="150"/>
                    </a:lnTo>
                    <a:lnTo>
                      <a:pt x="100" y="150"/>
                    </a:lnTo>
                    <a:lnTo>
                      <a:pt x="96" y="148"/>
                    </a:lnTo>
                    <a:lnTo>
                      <a:pt x="93" y="146"/>
                    </a:lnTo>
                    <a:lnTo>
                      <a:pt x="93" y="148"/>
                    </a:lnTo>
                    <a:lnTo>
                      <a:pt x="96" y="151"/>
                    </a:lnTo>
                    <a:lnTo>
                      <a:pt x="100" y="159"/>
                    </a:lnTo>
                    <a:lnTo>
                      <a:pt x="89" y="151"/>
                    </a:lnTo>
                    <a:lnTo>
                      <a:pt x="86" y="151"/>
                    </a:lnTo>
                    <a:lnTo>
                      <a:pt x="86" y="153"/>
                    </a:lnTo>
                    <a:lnTo>
                      <a:pt x="86" y="155"/>
                    </a:lnTo>
                    <a:lnTo>
                      <a:pt x="87" y="159"/>
                    </a:lnTo>
                    <a:lnTo>
                      <a:pt x="89" y="160"/>
                    </a:lnTo>
                    <a:lnTo>
                      <a:pt x="86" y="159"/>
                    </a:lnTo>
                    <a:lnTo>
                      <a:pt x="86" y="160"/>
                    </a:lnTo>
                    <a:lnTo>
                      <a:pt x="87" y="164"/>
                    </a:lnTo>
                    <a:lnTo>
                      <a:pt x="86" y="166"/>
                    </a:lnTo>
                    <a:lnTo>
                      <a:pt x="84" y="168"/>
                    </a:lnTo>
                    <a:lnTo>
                      <a:pt x="82" y="164"/>
                    </a:lnTo>
                    <a:lnTo>
                      <a:pt x="73" y="157"/>
                    </a:lnTo>
                    <a:lnTo>
                      <a:pt x="73" y="160"/>
                    </a:lnTo>
                    <a:lnTo>
                      <a:pt x="77" y="164"/>
                    </a:lnTo>
                    <a:lnTo>
                      <a:pt x="80" y="173"/>
                    </a:lnTo>
                    <a:lnTo>
                      <a:pt x="82" y="176"/>
                    </a:lnTo>
                    <a:lnTo>
                      <a:pt x="80" y="176"/>
                    </a:lnTo>
                    <a:lnTo>
                      <a:pt x="78" y="182"/>
                    </a:lnTo>
                    <a:lnTo>
                      <a:pt x="77" y="178"/>
                    </a:lnTo>
                    <a:lnTo>
                      <a:pt x="77" y="178"/>
                    </a:lnTo>
                    <a:lnTo>
                      <a:pt x="77" y="182"/>
                    </a:lnTo>
                    <a:lnTo>
                      <a:pt x="77" y="184"/>
                    </a:lnTo>
                    <a:lnTo>
                      <a:pt x="77" y="185"/>
                    </a:lnTo>
                    <a:lnTo>
                      <a:pt x="73" y="182"/>
                    </a:lnTo>
                    <a:lnTo>
                      <a:pt x="73" y="185"/>
                    </a:lnTo>
                    <a:lnTo>
                      <a:pt x="73" y="191"/>
                    </a:lnTo>
                    <a:lnTo>
                      <a:pt x="71" y="191"/>
                    </a:lnTo>
                    <a:lnTo>
                      <a:pt x="70" y="189"/>
                    </a:lnTo>
                    <a:lnTo>
                      <a:pt x="68" y="187"/>
                    </a:lnTo>
                    <a:lnTo>
                      <a:pt x="62" y="176"/>
                    </a:lnTo>
                    <a:lnTo>
                      <a:pt x="61" y="182"/>
                    </a:lnTo>
                    <a:lnTo>
                      <a:pt x="61" y="185"/>
                    </a:lnTo>
                    <a:lnTo>
                      <a:pt x="57" y="187"/>
                    </a:lnTo>
                    <a:lnTo>
                      <a:pt x="62" y="189"/>
                    </a:lnTo>
                    <a:lnTo>
                      <a:pt x="64" y="191"/>
                    </a:lnTo>
                    <a:lnTo>
                      <a:pt x="64" y="194"/>
                    </a:lnTo>
                    <a:lnTo>
                      <a:pt x="68" y="194"/>
                    </a:lnTo>
                    <a:lnTo>
                      <a:pt x="66" y="196"/>
                    </a:lnTo>
                    <a:lnTo>
                      <a:pt x="66" y="198"/>
                    </a:lnTo>
                    <a:lnTo>
                      <a:pt x="66" y="205"/>
                    </a:lnTo>
                    <a:lnTo>
                      <a:pt x="62" y="205"/>
                    </a:lnTo>
                    <a:lnTo>
                      <a:pt x="62" y="200"/>
                    </a:lnTo>
                    <a:lnTo>
                      <a:pt x="52" y="198"/>
                    </a:lnTo>
                    <a:lnTo>
                      <a:pt x="50" y="200"/>
                    </a:lnTo>
                    <a:lnTo>
                      <a:pt x="52" y="201"/>
                    </a:lnTo>
                    <a:lnTo>
                      <a:pt x="57" y="201"/>
                    </a:lnTo>
                    <a:lnTo>
                      <a:pt x="61" y="209"/>
                    </a:lnTo>
                    <a:lnTo>
                      <a:pt x="61" y="212"/>
                    </a:lnTo>
                    <a:lnTo>
                      <a:pt x="61" y="214"/>
                    </a:lnTo>
                    <a:lnTo>
                      <a:pt x="59" y="214"/>
                    </a:lnTo>
                    <a:lnTo>
                      <a:pt x="59" y="216"/>
                    </a:lnTo>
                    <a:lnTo>
                      <a:pt x="55" y="214"/>
                    </a:lnTo>
                    <a:lnTo>
                      <a:pt x="53" y="210"/>
                    </a:lnTo>
                    <a:lnTo>
                      <a:pt x="50" y="209"/>
                    </a:lnTo>
                    <a:lnTo>
                      <a:pt x="53" y="218"/>
                    </a:lnTo>
                    <a:lnTo>
                      <a:pt x="55" y="219"/>
                    </a:lnTo>
                    <a:lnTo>
                      <a:pt x="55" y="221"/>
                    </a:lnTo>
                    <a:lnTo>
                      <a:pt x="53" y="225"/>
                    </a:lnTo>
                    <a:lnTo>
                      <a:pt x="52" y="228"/>
                    </a:lnTo>
                    <a:lnTo>
                      <a:pt x="50" y="228"/>
                    </a:lnTo>
                    <a:lnTo>
                      <a:pt x="48" y="232"/>
                    </a:lnTo>
                    <a:lnTo>
                      <a:pt x="46" y="232"/>
                    </a:lnTo>
                    <a:lnTo>
                      <a:pt x="45" y="230"/>
                    </a:lnTo>
                    <a:lnTo>
                      <a:pt x="39" y="230"/>
                    </a:lnTo>
                    <a:lnTo>
                      <a:pt x="34" y="226"/>
                    </a:lnTo>
                    <a:lnTo>
                      <a:pt x="28" y="226"/>
                    </a:lnTo>
                    <a:lnTo>
                      <a:pt x="23" y="223"/>
                    </a:lnTo>
                    <a:lnTo>
                      <a:pt x="18" y="223"/>
                    </a:lnTo>
                    <a:lnTo>
                      <a:pt x="11" y="226"/>
                    </a:lnTo>
                    <a:lnTo>
                      <a:pt x="7" y="226"/>
                    </a:lnTo>
                    <a:lnTo>
                      <a:pt x="11" y="225"/>
                    </a:lnTo>
                    <a:lnTo>
                      <a:pt x="11" y="221"/>
                    </a:lnTo>
                    <a:lnTo>
                      <a:pt x="9" y="221"/>
                    </a:lnTo>
                    <a:lnTo>
                      <a:pt x="11" y="218"/>
                    </a:lnTo>
                    <a:lnTo>
                      <a:pt x="11" y="216"/>
                    </a:lnTo>
                    <a:lnTo>
                      <a:pt x="16" y="210"/>
                    </a:lnTo>
                    <a:lnTo>
                      <a:pt x="18" y="212"/>
                    </a:lnTo>
                    <a:lnTo>
                      <a:pt x="23" y="209"/>
                    </a:lnTo>
                    <a:lnTo>
                      <a:pt x="23" y="207"/>
                    </a:lnTo>
                    <a:lnTo>
                      <a:pt x="20" y="205"/>
                    </a:lnTo>
                    <a:lnTo>
                      <a:pt x="18" y="207"/>
                    </a:lnTo>
                    <a:lnTo>
                      <a:pt x="16" y="209"/>
                    </a:lnTo>
                    <a:lnTo>
                      <a:pt x="12" y="212"/>
                    </a:lnTo>
                    <a:lnTo>
                      <a:pt x="5" y="212"/>
                    </a:lnTo>
                    <a:lnTo>
                      <a:pt x="5" y="209"/>
                    </a:lnTo>
                    <a:lnTo>
                      <a:pt x="2" y="207"/>
                    </a:lnTo>
                    <a:lnTo>
                      <a:pt x="0" y="20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90" name="Freeform 2039"/>
              <p:cNvSpPr>
                <a:spLocks/>
              </p:cNvSpPr>
              <p:nvPr/>
            </p:nvSpPr>
            <p:spPr bwMode="auto">
              <a:xfrm>
                <a:off x="3555" y="731"/>
                <a:ext cx="246" cy="232"/>
              </a:xfrm>
              <a:custGeom>
                <a:avLst/>
                <a:gdLst>
                  <a:gd name="T0" fmla="*/ 9 w 246"/>
                  <a:gd name="T1" fmla="*/ 196 h 232"/>
                  <a:gd name="T2" fmla="*/ 25 w 246"/>
                  <a:gd name="T3" fmla="*/ 184 h 232"/>
                  <a:gd name="T4" fmla="*/ 25 w 246"/>
                  <a:gd name="T5" fmla="*/ 180 h 232"/>
                  <a:gd name="T6" fmla="*/ 25 w 246"/>
                  <a:gd name="T7" fmla="*/ 169 h 232"/>
                  <a:gd name="T8" fmla="*/ 32 w 246"/>
                  <a:gd name="T9" fmla="*/ 162 h 232"/>
                  <a:gd name="T10" fmla="*/ 37 w 246"/>
                  <a:gd name="T11" fmla="*/ 150 h 232"/>
                  <a:gd name="T12" fmla="*/ 41 w 246"/>
                  <a:gd name="T13" fmla="*/ 144 h 232"/>
                  <a:gd name="T14" fmla="*/ 36 w 246"/>
                  <a:gd name="T15" fmla="*/ 134 h 232"/>
                  <a:gd name="T16" fmla="*/ 30 w 246"/>
                  <a:gd name="T17" fmla="*/ 130 h 232"/>
                  <a:gd name="T18" fmla="*/ 36 w 246"/>
                  <a:gd name="T19" fmla="*/ 119 h 232"/>
                  <a:gd name="T20" fmla="*/ 48 w 246"/>
                  <a:gd name="T21" fmla="*/ 114 h 232"/>
                  <a:gd name="T22" fmla="*/ 66 w 246"/>
                  <a:gd name="T23" fmla="*/ 100 h 232"/>
                  <a:gd name="T24" fmla="*/ 78 w 246"/>
                  <a:gd name="T25" fmla="*/ 89 h 232"/>
                  <a:gd name="T26" fmla="*/ 100 w 246"/>
                  <a:gd name="T27" fmla="*/ 68 h 232"/>
                  <a:gd name="T28" fmla="*/ 111 w 246"/>
                  <a:gd name="T29" fmla="*/ 68 h 232"/>
                  <a:gd name="T30" fmla="*/ 116 w 246"/>
                  <a:gd name="T31" fmla="*/ 53 h 232"/>
                  <a:gd name="T32" fmla="*/ 123 w 246"/>
                  <a:gd name="T33" fmla="*/ 44 h 232"/>
                  <a:gd name="T34" fmla="*/ 143 w 246"/>
                  <a:gd name="T35" fmla="*/ 51 h 232"/>
                  <a:gd name="T36" fmla="*/ 164 w 246"/>
                  <a:gd name="T37" fmla="*/ 48 h 232"/>
                  <a:gd name="T38" fmla="*/ 173 w 246"/>
                  <a:gd name="T39" fmla="*/ 43 h 232"/>
                  <a:gd name="T40" fmla="*/ 193 w 246"/>
                  <a:gd name="T41" fmla="*/ 32 h 232"/>
                  <a:gd name="T42" fmla="*/ 202 w 246"/>
                  <a:gd name="T43" fmla="*/ 12 h 232"/>
                  <a:gd name="T44" fmla="*/ 220 w 246"/>
                  <a:gd name="T45" fmla="*/ 0 h 232"/>
                  <a:gd name="T46" fmla="*/ 243 w 246"/>
                  <a:gd name="T47" fmla="*/ 10 h 232"/>
                  <a:gd name="T48" fmla="*/ 243 w 246"/>
                  <a:gd name="T49" fmla="*/ 32 h 232"/>
                  <a:gd name="T50" fmla="*/ 236 w 246"/>
                  <a:gd name="T51" fmla="*/ 55 h 232"/>
                  <a:gd name="T52" fmla="*/ 207 w 246"/>
                  <a:gd name="T53" fmla="*/ 68 h 232"/>
                  <a:gd name="T54" fmla="*/ 187 w 246"/>
                  <a:gd name="T55" fmla="*/ 73 h 232"/>
                  <a:gd name="T56" fmla="*/ 162 w 246"/>
                  <a:gd name="T57" fmla="*/ 91 h 232"/>
                  <a:gd name="T58" fmla="*/ 157 w 246"/>
                  <a:gd name="T59" fmla="*/ 91 h 232"/>
                  <a:gd name="T60" fmla="*/ 137 w 246"/>
                  <a:gd name="T61" fmla="*/ 107 h 232"/>
                  <a:gd name="T62" fmla="*/ 111 w 246"/>
                  <a:gd name="T63" fmla="*/ 128 h 232"/>
                  <a:gd name="T64" fmla="*/ 112 w 246"/>
                  <a:gd name="T65" fmla="*/ 135 h 232"/>
                  <a:gd name="T66" fmla="*/ 96 w 246"/>
                  <a:gd name="T67" fmla="*/ 148 h 232"/>
                  <a:gd name="T68" fmla="*/ 89 w 246"/>
                  <a:gd name="T69" fmla="*/ 151 h 232"/>
                  <a:gd name="T70" fmla="*/ 89 w 246"/>
                  <a:gd name="T71" fmla="*/ 160 h 232"/>
                  <a:gd name="T72" fmla="*/ 84 w 246"/>
                  <a:gd name="T73" fmla="*/ 168 h 232"/>
                  <a:gd name="T74" fmla="*/ 80 w 246"/>
                  <a:gd name="T75" fmla="*/ 173 h 232"/>
                  <a:gd name="T76" fmla="*/ 77 w 246"/>
                  <a:gd name="T77" fmla="*/ 178 h 232"/>
                  <a:gd name="T78" fmla="*/ 73 w 246"/>
                  <a:gd name="T79" fmla="*/ 185 h 232"/>
                  <a:gd name="T80" fmla="*/ 62 w 246"/>
                  <a:gd name="T81" fmla="*/ 176 h 232"/>
                  <a:gd name="T82" fmla="*/ 64 w 246"/>
                  <a:gd name="T83" fmla="*/ 191 h 232"/>
                  <a:gd name="T84" fmla="*/ 66 w 246"/>
                  <a:gd name="T85" fmla="*/ 205 h 232"/>
                  <a:gd name="T86" fmla="*/ 52 w 246"/>
                  <a:gd name="T87" fmla="*/ 201 h 232"/>
                  <a:gd name="T88" fmla="*/ 59 w 246"/>
                  <a:gd name="T89" fmla="*/ 214 h 232"/>
                  <a:gd name="T90" fmla="*/ 53 w 246"/>
                  <a:gd name="T91" fmla="*/ 218 h 232"/>
                  <a:gd name="T92" fmla="*/ 50 w 246"/>
                  <a:gd name="T93" fmla="*/ 228 h 232"/>
                  <a:gd name="T94" fmla="*/ 34 w 246"/>
                  <a:gd name="T95" fmla="*/ 226 h 232"/>
                  <a:gd name="T96" fmla="*/ 7 w 246"/>
                  <a:gd name="T97" fmla="*/ 226 h 232"/>
                  <a:gd name="T98" fmla="*/ 11 w 246"/>
                  <a:gd name="T99" fmla="*/ 216 h 232"/>
                  <a:gd name="T100" fmla="*/ 20 w 246"/>
                  <a:gd name="T101" fmla="*/ 205 h 232"/>
                  <a:gd name="T102" fmla="*/ 5 w 246"/>
                  <a:gd name="T103" fmla="*/ 20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232">
                    <a:moveTo>
                      <a:pt x="0" y="201"/>
                    </a:moveTo>
                    <a:lnTo>
                      <a:pt x="0" y="201"/>
                    </a:lnTo>
                    <a:lnTo>
                      <a:pt x="2" y="201"/>
                    </a:lnTo>
                    <a:lnTo>
                      <a:pt x="5" y="201"/>
                    </a:lnTo>
                    <a:lnTo>
                      <a:pt x="9" y="196"/>
                    </a:lnTo>
                    <a:lnTo>
                      <a:pt x="18" y="193"/>
                    </a:lnTo>
                    <a:lnTo>
                      <a:pt x="16" y="191"/>
                    </a:lnTo>
                    <a:lnTo>
                      <a:pt x="18" y="185"/>
                    </a:lnTo>
                    <a:lnTo>
                      <a:pt x="23" y="182"/>
                    </a:lnTo>
                    <a:lnTo>
                      <a:pt x="25" y="184"/>
                    </a:lnTo>
                    <a:lnTo>
                      <a:pt x="30" y="184"/>
                    </a:lnTo>
                    <a:lnTo>
                      <a:pt x="34" y="187"/>
                    </a:lnTo>
                    <a:lnTo>
                      <a:pt x="39" y="189"/>
                    </a:lnTo>
                    <a:lnTo>
                      <a:pt x="36" y="184"/>
                    </a:lnTo>
                    <a:lnTo>
                      <a:pt x="25" y="180"/>
                    </a:lnTo>
                    <a:lnTo>
                      <a:pt x="23" y="176"/>
                    </a:lnTo>
                    <a:lnTo>
                      <a:pt x="25" y="176"/>
                    </a:lnTo>
                    <a:lnTo>
                      <a:pt x="30" y="176"/>
                    </a:lnTo>
                    <a:lnTo>
                      <a:pt x="32" y="173"/>
                    </a:lnTo>
                    <a:lnTo>
                      <a:pt x="25" y="169"/>
                    </a:lnTo>
                    <a:lnTo>
                      <a:pt x="25" y="168"/>
                    </a:lnTo>
                    <a:lnTo>
                      <a:pt x="36" y="166"/>
                    </a:lnTo>
                    <a:lnTo>
                      <a:pt x="37" y="166"/>
                    </a:lnTo>
                    <a:lnTo>
                      <a:pt x="36" y="162"/>
                    </a:lnTo>
                    <a:lnTo>
                      <a:pt x="32" y="162"/>
                    </a:lnTo>
                    <a:lnTo>
                      <a:pt x="28" y="157"/>
                    </a:lnTo>
                    <a:lnTo>
                      <a:pt x="28" y="153"/>
                    </a:lnTo>
                    <a:lnTo>
                      <a:pt x="28" y="151"/>
                    </a:lnTo>
                    <a:lnTo>
                      <a:pt x="30" y="153"/>
                    </a:lnTo>
                    <a:lnTo>
                      <a:pt x="37" y="150"/>
                    </a:lnTo>
                    <a:lnTo>
                      <a:pt x="45" y="151"/>
                    </a:lnTo>
                    <a:lnTo>
                      <a:pt x="48" y="150"/>
                    </a:lnTo>
                    <a:lnTo>
                      <a:pt x="45" y="150"/>
                    </a:lnTo>
                    <a:lnTo>
                      <a:pt x="43" y="148"/>
                    </a:lnTo>
                    <a:lnTo>
                      <a:pt x="41" y="144"/>
                    </a:lnTo>
                    <a:lnTo>
                      <a:pt x="37" y="144"/>
                    </a:lnTo>
                    <a:lnTo>
                      <a:pt x="32" y="146"/>
                    </a:lnTo>
                    <a:lnTo>
                      <a:pt x="30" y="143"/>
                    </a:lnTo>
                    <a:lnTo>
                      <a:pt x="32" y="141"/>
                    </a:lnTo>
                    <a:lnTo>
                      <a:pt x="36" y="134"/>
                    </a:lnTo>
                    <a:lnTo>
                      <a:pt x="34" y="134"/>
                    </a:lnTo>
                    <a:lnTo>
                      <a:pt x="34" y="132"/>
                    </a:lnTo>
                    <a:lnTo>
                      <a:pt x="32" y="130"/>
                    </a:lnTo>
                    <a:lnTo>
                      <a:pt x="30" y="134"/>
                    </a:lnTo>
                    <a:lnTo>
                      <a:pt x="30" y="130"/>
                    </a:lnTo>
                    <a:lnTo>
                      <a:pt x="28" y="128"/>
                    </a:lnTo>
                    <a:lnTo>
                      <a:pt x="30" y="125"/>
                    </a:lnTo>
                    <a:lnTo>
                      <a:pt x="28" y="123"/>
                    </a:lnTo>
                    <a:lnTo>
                      <a:pt x="30" y="119"/>
                    </a:lnTo>
                    <a:lnTo>
                      <a:pt x="36" y="119"/>
                    </a:lnTo>
                    <a:lnTo>
                      <a:pt x="36" y="125"/>
                    </a:lnTo>
                    <a:lnTo>
                      <a:pt x="39" y="126"/>
                    </a:lnTo>
                    <a:lnTo>
                      <a:pt x="45" y="123"/>
                    </a:lnTo>
                    <a:lnTo>
                      <a:pt x="48" y="118"/>
                    </a:lnTo>
                    <a:lnTo>
                      <a:pt x="48" y="114"/>
                    </a:lnTo>
                    <a:lnTo>
                      <a:pt x="53" y="110"/>
                    </a:lnTo>
                    <a:lnTo>
                      <a:pt x="61" y="112"/>
                    </a:lnTo>
                    <a:lnTo>
                      <a:pt x="66" y="107"/>
                    </a:lnTo>
                    <a:lnTo>
                      <a:pt x="68" y="103"/>
                    </a:lnTo>
                    <a:lnTo>
                      <a:pt x="66" y="100"/>
                    </a:lnTo>
                    <a:lnTo>
                      <a:pt x="70" y="98"/>
                    </a:lnTo>
                    <a:lnTo>
                      <a:pt x="68" y="94"/>
                    </a:lnTo>
                    <a:lnTo>
                      <a:pt x="73" y="91"/>
                    </a:lnTo>
                    <a:lnTo>
                      <a:pt x="75" y="91"/>
                    </a:lnTo>
                    <a:lnTo>
                      <a:pt x="78" y="89"/>
                    </a:lnTo>
                    <a:lnTo>
                      <a:pt x="77" y="87"/>
                    </a:lnTo>
                    <a:lnTo>
                      <a:pt x="78" y="82"/>
                    </a:lnTo>
                    <a:lnTo>
                      <a:pt x="80" y="78"/>
                    </a:lnTo>
                    <a:lnTo>
                      <a:pt x="96" y="71"/>
                    </a:lnTo>
                    <a:lnTo>
                      <a:pt x="100" y="68"/>
                    </a:lnTo>
                    <a:lnTo>
                      <a:pt x="102" y="62"/>
                    </a:lnTo>
                    <a:lnTo>
                      <a:pt x="109" y="57"/>
                    </a:lnTo>
                    <a:lnTo>
                      <a:pt x="112" y="59"/>
                    </a:lnTo>
                    <a:lnTo>
                      <a:pt x="109" y="68"/>
                    </a:lnTo>
                    <a:lnTo>
                      <a:pt x="111" y="68"/>
                    </a:lnTo>
                    <a:lnTo>
                      <a:pt x="112" y="64"/>
                    </a:lnTo>
                    <a:lnTo>
                      <a:pt x="118" y="62"/>
                    </a:lnTo>
                    <a:lnTo>
                      <a:pt x="120" y="59"/>
                    </a:lnTo>
                    <a:lnTo>
                      <a:pt x="118" y="57"/>
                    </a:lnTo>
                    <a:lnTo>
                      <a:pt x="116" y="53"/>
                    </a:lnTo>
                    <a:lnTo>
                      <a:pt x="116" y="50"/>
                    </a:lnTo>
                    <a:lnTo>
                      <a:pt x="118" y="50"/>
                    </a:lnTo>
                    <a:lnTo>
                      <a:pt x="120" y="48"/>
                    </a:lnTo>
                    <a:lnTo>
                      <a:pt x="118" y="46"/>
                    </a:lnTo>
                    <a:lnTo>
                      <a:pt x="123" y="44"/>
                    </a:lnTo>
                    <a:lnTo>
                      <a:pt x="125" y="48"/>
                    </a:lnTo>
                    <a:lnTo>
                      <a:pt x="137" y="48"/>
                    </a:lnTo>
                    <a:lnTo>
                      <a:pt x="137" y="55"/>
                    </a:lnTo>
                    <a:lnTo>
                      <a:pt x="141" y="55"/>
                    </a:lnTo>
                    <a:lnTo>
                      <a:pt x="143" y="51"/>
                    </a:lnTo>
                    <a:lnTo>
                      <a:pt x="146" y="53"/>
                    </a:lnTo>
                    <a:lnTo>
                      <a:pt x="159" y="44"/>
                    </a:lnTo>
                    <a:lnTo>
                      <a:pt x="162" y="44"/>
                    </a:lnTo>
                    <a:lnTo>
                      <a:pt x="162" y="46"/>
                    </a:lnTo>
                    <a:lnTo>
                      <a:pt x="164" y="48"/>
                    </a:lnTo>
                    <a:lnTo>
                      <a:pt x="166" y="46"/>
                    </a:lnTo>
                    <a:lnTo>
                      <a:pt x="168" y="44"/>
                    </a:lnTo>
                    <a:lnTo>
                      <a:pt x="170" y="46"/>
                    </a:lnTo>
                    <a:lnTo>
                      <a:pt x="171" y="43"/>
                    </a:lnTo>
                    <a:lnTo>
                      <a:pt x="173" y="43"/>
                    </a:lnTo>
                    <a:lnTo>
                      <a:pt x="180" y="35"/>
                    </a:lnTo>
                    <a:lnTo>
                      <a:pt x="186" y="37"/>
                    </a:lnTo>
                    <a:lnTo>
                      <a:pt x="187" y="30"/>
                    </a:lnTo>
                    <a:lnTo>
                      <a:pt x="191" y="32"/>
                    </a:lnTo>
                    <a:lnTo>
                      <a:pt x="193" y="32"/>
                    </a:lnTo>
                    <a:lnTo>
                      <a:pt x="195" y="28"/>
                    </a:lnTo>
                    <a:lnTo>
                      <a:pt x="193" y="21"/>
                    </a:lnTo>
                    <a:lnTo>
                      <a:pt x="195" y="18"/>
                    </a:lnTo>
                    <a:lnTo>
                      <a:pt x="198" y="16"/>
                    </a:lnTo>
                    <a:lnTo>
                      <a:pt x="202" y="12"/>
                    </a:lnTo>
                    <a:lnTo>
                      <a:pt x="203" y="12"/>
                    </a:lnTo>
                    <a:lnTo>
                      <a:pt x="207" y="9"/>
                    </a:lnTo>
                    <a:lnTo>
                      <a:pt x="207" y="5"/>
                    </a:lnTo>
                    <a:lnTo>
                      <a:pt x="212" y="7"/>
                    </a:lnTo>
                    <a:lnTo>
                      <a:pt x="220" y="0"/>
                    </a:lnTo>
                    <a:lnTo>
                      <a:pt x="228" y="0"/>
                    </a:lnTo>
                    <a:lnTo>
                      <a:pt x="237" y="3"/>
                    </a:lnTo>
                    <a:lnTo>
                      <a:pt x="239" y="7"/>
                    </a:lnTo>
                    <a:lnTo>
                      <a:pt x="241" y="9"/>
                    </a:lnTo>
                    <a:lnTo>
                      <a:pt x="243" y="10"/>
                    </a:lnTo>
                    <a:lnTo>
                      <a:pt x="243" y="14"/>
                    </a:lnTo>
                    <a:lnTo>
                      <a:pt x="246" y="23"/>
                    </a:lnTo>
                    <a:lnTo>
                      <a:pt x="246" y="26"/>
                    </a:lnTo>
                    <a:lnTo>
                      <a:pt x="243" y="28"/>
                    </a:lnTo>
                    <a:lnTo>
                      <a:pt x="243" y="32"/>
                    </a:lnTo>
                    <a:lnTo>
                      <a:pt x="246" y="34"/>
                    </a:lnTo>
                    <a:lnTo>
                      <a:pt x="245" y="35"/>
                    </a:lnTo>
                    <a:lnTo>
                      <a:pt x="243" y="37"/>
                    </a:lnTo>
                    <a:lnTo>
                      <a:pt x="234" y="51"/>
                    </a:lnTo>
                    <a:lnTo>
                      <a:pt x="236" y="55"/>
                    </a:lnTo>
                    <a:lnTo>
                      <a:pt x="230" y="53"/>
                    </a:lnTo>
                    <a:lnTo>
                      <a:pt x="228" y="53"/>
                    </a:lnTo>
                    <a:lnTo>
                      <a:pt x="225" y="53"/>
                    </a:lnTo>
                    <a:lnTo>
                      <a:pt x="214" y="64"/>
                    </a:lnTo>
                    <a:lnTo>
                      <a:pt x="207" y="68"/>
                    </a:lnTo>
                    <a:lnTo>
                      <a:pt x="205" y="68"/>
                    </a:lnTo>
                    <a:lnTo>
                      <a:pt x="198" y="71"/>
                    </a:lnTo>
                    <a:lnTo>
                      <a:pt x="195" y="69"/>
                    </a:lnTo>
                    <a:lnTo>
                      <a:pt x="189" y="71"/>
                    </a:lnTo>
                    <a:lnTo>
                      <a:pt x="187" y="73"/>
                    </a:lnTo>
                    <a:lnTo>
                      <a:pt x="186" y="76"/>
                    </a:lnTo>
                    <a:lnTo>
                      <a:pt x="184" y="80"/>
                    </a:lnTo>
                    <a:lnTo>
                      <a:pt x="182" y="76"/>
                    </a:lnTo>
                    <a:lnTo>
                      <a:pt x="178" y="80"/>
                    </a:lnTo>
                    <a:lnTo>
                      <a:pt x="162" y="91"/>
                    </a:lnTo>
                    <a:lnTo>
                      <a:pt x="161" y="91"/>
                    </a:lnTo>
                    <a:lnTo>
                      <a:pt x="159" y="85"/>
                    </a:lnTo>
                    <a:lnTo>
                      <a:pt x="157" y="85"/>
                    </a:lnTo>
                    <a:lnTo>
                      <a:pt x="157" y="89"/>
                    </a:lnTo>
                    <a:lnTo>
                      <a:pt x="157" y="91"/>
                    </a:lnTo>
                    <a:lnTo>
                      <a:pt x="155" y="93"/>
                    </a:lnTo>
                    <a:lnTo>
                      <a:pt x="148" y="101"/>
                    </a:lnTo>
                    <a:lnTo>
                      <a:pt x="141" y="103"/>
                    </a:lnTo>
                    <a:lnTo>
                      <a:pt x="137" y="109"/>
                    </a:lnTo>
                    <a:lnTo>
                      <a:pt x="137" y="107"/>
                    </a:lnTo>
                    <a:lnTo>
                      <a:pt x="123" y="126"/>
                    </a:lnTo>
                    <a:lnTo>
                      <a:pt x="116" y="128"/>
                    </a:lnTo>
                    <a:lnTo>
                      <a:pt x="114" y="130"/>
                    </a:lnTo>
                    <a:lnTo>
                      <a:pt x="114" y="126"/>
                    </a:lnTo>
                    <a:lnTo>
                      <a:pt x="111" y="128"/>
                    </a:lnTo>
                    <a:lnTo>
                      <a:pt x="109" y="126"/>
                    </a:lnTo>
                    <a:lnTo>
                      <a:pt x="107" y="130"/>
                    </a:lnTo>
                    <a:lnTo>
                      <a:pt x="109" y="132"/>
                    </a:lnTo>
                    <a:lnTo>
                      <a:pt x="112" y="132"/>
                    </a:lnTo>
                    <a:lnTo>
                      <a:pt x="112" y="135"/>
                    </a:lnTo>
                    <a:lnTo>
                      <a:pt x="105" y="144"/>
                    </a:lnTo>
                    <a:lnTo>
                      <a:pt x="105" y="146"/>
                    </a:lnTo>
                    <a:lnTo>
                      <a:pt x="105" y="150"/>
                    </a:lnTo>
                    <a:lnTo>
                      <a:pt x="100" y="150"/>
                    </a:lnTo>
                    <a:lnTo>
                      <a:pt x="96" y="148"/>
                    </a:lnTo>
                    <a:lnTo>
                      <a:pt x="93" y="146"/>
                    </a:lnTo>
                    <a:lnTo>
                      <a:pt x="93" y="148"/>
                    </a:lnTo>
                    <a:lnTo>
                      <a:pt x="96" y="151"/>
                    </a:lnTo>
                    <a:lnTo>
                      <a:pt x="100" y="159"/>
                    </a:lnTo>
                    <a:lnTo>
                      <a:pt x="89" y="151"/>
                    </a:lnTo>
                    <a:lnTo>
                      <a:pt x="86" y="151"/>
                    </a:lnTo>
                    <a:lnTo>
                      <a:pt x="86" y="153"/>
                    </a:lnTo>
                    <a:lnTo>
                      <a:pt x="86" y="155"/>
                    </a:lnTo>
                    <a:lnTo>
                      <a:pt x="87" y="159"/>
                    </a:lnTo>
                    <a:lnTo>
                      <a:pt x="89" y="160"/>
                    </a:lnTo>
                    <a:lnTo>
                      <a:pt x="86" y="159"/>
                    </a:lnTo>
                    <a:lnTo>
                      <a:pt x="86" y="160"/>
                    </a:lnTo>
                    <a:lnTo>
                      <a:pt x="87" y="164"/>
                    </a:lnTo>
                    <a:lnTo>
                      <a:pt x="86" y="166"/>
                    </a:lnTo>
                    <a:lnTo>
                      <a:pt x="84" y="168"/>
                    </a:lnTo>
                    <a:lnTo>
                      <a:pt x="82" y="164"/>
                    </a:lnTo>
                    <a:lnTo>
                      <a:pt x="73" y="157"/>
                    </a:lnTo>
                    <a:lnTo>
                      <a:pt x="73" y="160"/>
                    </a:lnTo>
                    <a:lnTo>
                      <a:pt x="77" y="164"/>
                    </a:lnTo>
                    <a:lnTo>
                      <a:pt x="80" y="173"/>
                    </a:lnTo>
                    <a:lnTo>
                      <a:pt x="82" y="176"/>
                    </a:lnTo>
                    <a:lnTo>
                      <a:pt x="80" y="176"/>
                    </a:lnTo>
                    <a:lnTo>
                      <a:pt x="78" y="182"/>
                    </a:lnTo>
                    <a:lnTo>
                      <a:pt x="77" y="178"/>
                    </a:lnTo>
                    <a:lnTo>
                      <a:pt x="77" y="178"/>
                    </a:lnTo>
                    <a:lnTo>
                      <a:pt x="77" y="182"/>
                    </a:lnTo>
                    <a:lnTo>
                      <a:pt x="77" y="184"/>
                    </a:lnTo>
                    <a:lnTo>
                      <a:pt x="77" y="185"/>
                    </a:lnTo>
                    <a:lnTo>
                      <a:pt x="73" y="182"/>
                    </a:lnTo>
                    <a:lnTo>
                      <a:pt x="73" y="185"/>
                    </a:lnTo>
                    <a:lnTo>
                      <a:pt x="73" y="191"/>
                    </a:lnTo>
                    <a:lnTo>
                      <a:pt x="71" y="191"/>
                    </a:lnTo>
                    <a:lnTo>
                      <a:pt x="70" y="189"/>
                    </a:lnTo>
                    <a:lnTo>
                      <a:pt x="68" y="187"/>
                    </a:lnTo>
                    <a:lnTo>
                      <a:pt x="62" y="176"/>
                    </a:lnTo>
                    <a:lnTo>
                      <a:pt x="61" y="182"/>
                    </a:lnTo>
                    <a:lnTo>
                      <a:pt x="61" y="185"/>
                    </a:lnTo>
                    <a:lnTo>
                      <a:pt x="57" y="187"/>
                    </a:lnTo>
                    <a:lnTo>
                      <a:pt x="62" y="189"/>
                    </a:lnTo>
                    <a:lnTo>
                      <a:pt x="64" y="191"/>
                    </a:lnTo>
                    <a:lnTo>
                      <a:pt x="64" y="194"/>
                    </a:lnTo>
                    <a:lnTo>
                      <a:pt x="68" y="194"/>
                    </a:lnTo>
                    <a:lnTo>
                      <a:pt x="66" y="196"/>
                    </a:lnTo>
                    <a:lnTo>
                      <a:pt x="66" y="198"/>
                    </a:lnTo>
                    <a:lnTo>
                      <a:pt x="66" y="205"/>
                    </a:lnTo>
                    <a:lnTo>
                      <a:pt x="62" y="205"/>
                    </a:lnTo>
                    <a:lnTo>
                      <a:pt x="62" y="200"/>
                    </a:lnTo>
                    <a:lnTo>
                      <a:pt x="52" y="198"/>
                    </a:lnTo>
                    <a:lnTo>
                      <a:pt x="50" y="200"/>
                    </a:lnTo>
                    <a:lnTo>
                      <a:pt x="52" y="201"/>
                    </a:lnTo>
                    <a:lnTo>
                      <a:pt x="57" y="201"/>
                    </a:lnTo>
                    <a:lnTo>
                      <a:pt x="61" y="209"/>
                    </a:lnTo>
                    <a:lnTo>
                      <a:pt x="61" y="212"/>
                    </a:lnTo>
                    <a:lnTo>
                      <a:pt x="61" y="214"/>
                    </a:lnTo>
                    <a:lnTo>
                      <a:pt x="59" y="214"/>
                    </a:lnTo>
                    <a:lnTo>
                      <a:pt x="59" y="216"/>
                    </a:lnTo>
                    <a:lnTo>
                      <a:pt x="55" y="214"/>
                    </a:lnTo>
                    <a:lnTo>
                      <a:pt x="53" y="210"/>
                    </a:lnTo>
                    <a:lnTo>
                      <a:pt x="50" y="209"/>
                    </a:lnTo>
                    <a:lnTo>
                      <a:pt x="53" y="218"/>
                    </a:lnTo>
                    <a:lnTo>
                      <a:pt x="55" y="219"/>
                    </a:lnTo>
                    <a:lnTo>
                      <a:pt x="55" y="221"/>
                    </a:lnTo>
                    <a:lnTo>
                      <a:pt x="53" y="225"/>
                    </a:lnTo>
                    <a:lnTo>
                      <a:pt x="52" y="228"/>
                    </a:lnTo>
                    <a:lnTo>
                      <a:pt x="50" y="228"/>
                    </a:lnTo>
                    <a:lnTo>
                      <a:pt x="48" y="232"/>
                    </a:lnTo>
                    <a:lnTo>
                      <a:pt x="46" y="232"/>
                    </a:lnTo>
                    <a:lnTo>
                      <a:pt x="45" y="230"/>
                    </a:lnTo>
                    <a:lnTo>
                      <a:pt x="39" y="230"/>
                    </a:lnTo>
                    <a:lnTo>
                      <a:pt x="34" y="226"/>
                    </a:lnTo>
                    <a:lnTo>
                      <a:pt x="28" y="226"/>
                    </a:lnTo>
                    <a:lnTo>
                      <a:pt x="23" y="223"/>
                    </a:lnTo>
                    <a:lnTo>
                      <a:pt x="18" y="223"/>
                    </a:lnTo>
                    <a:lnTo>
                      <a:pt x="11" y="226"/>
                    </a:lnTo>
                    <a:lnTo>
                      <a:pt x="7" y="226"/>
                    </a:lnTo>
                    <a:lnTo>
                      <a:pt x="11" y="225"/>
                    </a:lnTo>
                    <a:lnTo>
                      <a:pt x="11" y="221"/>
                    </a:lnTo>
                    <a:lnTo>
                      <a:pt x="9" y="221"/>
                    </a:lnTo>
                    <a:lnTo>
                      <a:pt x="11" y="218"/>
                    </a:lnTo>
                    <a:lnTo>
                      <a:pt x="11" y="216"/>
                    </a:lnTo>
                    <a:lnTo>
                      <a:pt x="16" y="210"/>
                    </a:lnTo>
                    <a:lnTo>
                      <a:pt x="18" y="212"/>
                    </a:lnTo>
                    <a:lnTo>
                      <a:pt x="23" y="209"/>
                    </a:lnTo>
                    <a:lnTo>
                      <a:pt x="23" y="207"/>
                    </a:lnTo>
                    <a:lnTo>
                      <a:pt x="20" y="205"/>
                    </a:lnTo>
                    <a:lnTo>
                      <a:pt x="18" y="207"/>
                    </a:lnTo>
                    <a:lnTo>
                      <a:pt x="16" y="209"/>
                    </a:lnTo>
                    <a:lnTo>
                      <a:pt x="12" y="212"/>
                    </a:lnTo>
                    <a:lnTo>
                      <a:pt x="5" y="212"/>
                    </a:lnTo>
                    <a:lnTo>
                      <a:pt x="5" y="209"/>
                    </a:lnTo>
                    <a:lnTo>
                      <a:pt x="2" y="207"/>
                    </a:lnTo>
                    <a:lnTo>
                      <a:pt x="0" y="20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91" name="Freeform 2040"/>
              <p:cNvSpPr>
                <a:spLocks/>
              </p:cNvSpPr>
              <p:nvPr/>
            </p:nvSpPr>
            <p:spPr bwMode="auto">
              <a:xfrm>
                <a:off x="3533" y="1063"/>
                <a:ext cx="15" cy="23"/>
              </a:xfrm>
              <a:custGeom>
                <a:avLst/>
                <a:gdLst>
                  <a:gd name="T0" fmla="*/ 0 w 15"/>
                  <a:gd name="T1" fmla="*/ 2 h 23"/>
                  <a:gd name="T2" fmla="*/ 0 w 15"/>
                  <a:gd name="T3" fmla="*/ 2 h 23"/>
                  <a:gd name="T4" fmla="*/ 4 w 15"/>
                  <a:gd name="T5" fmla="*/ 0 h 23"/>
                  <a:gd name="T6" fmla="*/ 8 w 15"/>
                  <a:gd name="T7" fmla="*/ 0 h 23"/>
                  <a:gd name="T8" fmla="*/ 9 w 15"/>
                  <a:gd name="T9" fmla="*/ 3 h 23"/>
                  <a:gd name="T10" fmla="*/ 11 w 15"/>
                  <a:gd name="T11" fmla="*/ 2 h 23"/>
                  <a:gd name="T12" fmla="*/ 15 w 15"/>
                  <a:gd name="T13" fmla="*/ 7 h 23"/>
                  <a:gd name="T14" fmla="*/ 15 w 15"/>
                  <a:gd name="T15" fmla="*/ 14 h 23"/>
                  <a:gd name="T16" fmla="*/ 13 w 15"/>
                  <a:gd name="T17" fmla="*/ 16 h 23"/>
                  <a:gd name="T18" fmla="*/ 15 w 15"/>
                  <a:gd name="T19" fmla="*/ 21 h 23"/>
                  <a:gd name="T20" fmla="*/ 13 w 15"/>
                  <a:gd name="T21" fmla="*/ 23 h 23"/>
                  <a:gd name="T22" fmla="*/ 8 w 15"/>
                  <a:gd name="T23" fmla="*/ 7 h 23"/>
                  <a:gd name="T24" fmla="*/ 0 w 15"/>
                  <a:gd name="T25" fmla="*/ 3 h 23"/>
                  <a:gd name="T26" fmla="*/ 0 w 15"/>
                  <a:gd name="T2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23">
                    <a:moveTo>
                      <a:pt x="0" y="2"/>
                    </a:moveTo>
                    <a:lnTo>
                      <a:pt x="0" y="2"/>
                    </a:lnTo>
                    <a:lnTo>
                      <a:pt x="4" y="0"/>
                    </a:lnTo>
                    <a:lnTo>
                      <a:pt x="8" y="0"/>
                    </a:lnTo>
                    <a:lnTo>
                      <a:pt x="9" y="3"/>
                    </a:lnTo>
                    <a:lnTo>
                      <a:pt x="11" y="2"/>
                    </a:lnTo>
                    <a:lnTo>
                      <a:pt x="15" y="7"/>
                    </a:lnTo>
                    <a:lnTo>
                      <a:pt x="15" y="14"/>
                    </a:lnTo>
                    <a:lnTo>
                      <a:pt x="13" y="16"/>
                    </a:lnTo>
                    <a:lnTo>
                      <a:pt x="15" y="21"/>
                    </a:lnTo>
                    <a:lnTo>
                      <a:pt x="13" y="23"/>
                    </a:lnTo>
                    <a:lnTo>
                      <a:pt x="8" y="7"/>
                    </a:lnTo>
                    <a:lnTo>
                      <a:pt x="0" y="3"/>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92" name="Freeform 2041"/>
              <p:cNvSpPr>
                <a:spLocks/>
              </p:cNvSpPr>
              <p:nvPr/>
            </p:nvSpPr>
            <p:spPr bwMode="auto">
              <a:xfrm>
                <a:off x="3533" y="1063"/>
                <a:ext cx="15" cy="23"/>
              </a:xfrm>
              <a:custGeom>
                <a:avLst/>
                <a:gdLst>
                  <a:gd name="T0" fmla="*/ 0 w 15"/>
                  <a:gd name="T1" fmla="*/ 2 h 23"/>
                  <a:gd name="T2" fmla="*/ 0 w 15"/>
                  <a:gd name="T3" fmla="*/ 2 h 23"/>
                  <a:gd name="T4" fmla="*/ 4 w 15"/>
                  <a:gd name="T5" fmla="*/ 0 h 23"/>
                  <a:gd name="T6" fmla="*/ 8 w 15"/>
                  <a:gd name="T7" fmla="*/ 0 h 23"/>
                  <a:gd name="T8" fmla="*/ 9 w 15"/>
                  <a:gd name="T9" fmla="*/ 3 h 23"/>
                  <a:gd name="T10" fmla="*/ 11 w 15"/>
                  <a:gd name="T11" fmla="*/ 2 h 23"/>
                  <a:gd name="T12" fmla="*/ 15 w 15"/>
                  <a:gd name="T13" fmla="*/ 7 h 23"/>
                  <a:gd name="T14" fmla="*/ 15 w 15"/>
                  <a:gd name="T15" fmla="*/ 14 h 23"/>
                  <a:gd name="T16" fmla="*/ 13 w 15"/>
                  <a:gd name="T17" fmla="*/ 16 h 23"/>
                  <a:gd name="T18" fmla="*/ 15 w 15"/>
                  <a:gd name="T19" fmla="*/ 21 h 23"/>
                  <a:gd name="T20" fmla="*/ 13 w 15"/>
                  <a:gd name="T21" fmla="*/ 23 h 23"/>
                  <a:gd name="T22" fmla="*/ 8 w 15"/>
                  <a:gd name="T23" fmla="*/ 7 h 23"/>
                  <a:gd name="T24" fmla="*/ 0 w 15"/>
                  <a:gd name="T25" fmla="*/ 3 h 23"/>
                  <a:gd name="T26" fmla="*/ 0 w 15"/>
                  <a:gd name="T2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23">
                    <a:moveTo>
                      <a:pt x="0" y="2"/>
                    </a:moveTo>
                    <a:lnTo>
                      <a:pt x="0" y="2"/>
                    </a:lnTo>
                    <a:lnTo>
                      <a:pt x="4" y="0"/>
                    </a:lnTo>
                    <a:lnTo>
                      <a:pt x="8" y="0"/>
                    </a:lnTo>
                    <a:lnTo>
                      <a:pt x="9" y="3"/>
                    </a:lnTo>
                    <a:lnTo>
                      <a:pt x="11" y="2"/>
                    </a:lnTo>
                    <a:lnTo>
                      <a:pt x="15" y="7"/>
                    </a:lnTo>
                    <a:lnTo>
                      <a:pt x="15" y="14"/>
                    </a:lnTo>
                    <a:lnTo>
                      <a:pt x="13" y="16"/>
                    </a:lnTo>
                    <a:lnTo>
                      <a:pt x="15" y="21"/>
                    </a:lnTo>
                    <a:lnTo>
                      <a:pt x="13" y="23"/>
                    </a:lnTo>
                    <a:lnTo>
                      <a:pt x="8" y="7"/>
                    </a:lnTo>
                    <a:lnTo>
                      <a:pt x="0" y="3"/>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93" name="Freeform 2042"/>
              <p:cNvSpPr>
                <a:spLocks/>
              </p:cNvSpPr>
              <p:nvPr/>
            </p:nvSpPr>
            <p:spPr bwMode="auto">
              <a:xfrm>
                <a:off x="4401" y="640"/>
                <a:ext cx="20" cy="10"/>
              </a:xfrm>
              <a:custGeom>
                <a:avLst/>
                <a:gdLst>
                  <a:gd name="T0" fmla="*/ 7 w 20"/>
                  <a:gd name="T1" fmla="*/ 0 h 10"/>
                  <a:gd name="T2" fmla="*/ 11 w 20"/>
                  <a:gd name="T3" fmla="*/ 3 h 10"/>
                  <a:gd name="T4" fmla="*/ 15 w 20"/>
                  <a:gd name="T5" fmla="*/ 0 h 10"/>
                  <a:gd name="T6" fmla="*/ 16 w 20"/>
                  <a:gd name="T7" fmla="*/ 0 h 10"/>
                  <a:gd name="T8" fmla="*/ 18 w 20"/>
                  <a:gd name="T9" fmla="*/ 1 h 10"/>
                  <a:gd name="T10" fmla="*/ 20 w 20"/>
                  <a:gd name="T11" fmla="*/ 1 h 10"/>
                  <a:gd name="T12" fmla="*/ 20 w 20"/>
                  <a:gd name="T13" fmla="*/ 5 h 10"/>
                  <a:gd name="T14" fmla="*/ 18 w 20"/>
                  <a:gd name="T15" fmla="*/ 9 h 10"/>
                  <a:gd name="T16" fmla="*/ 16 w 20"/>
                  <a:gd name="T17" fmla="*/ 10 h 10"/>
                  <a:gd name="T18" fmla="*/ 15 w 20"/>
                  <a:gd name="T19" fmla="*/ 9 h 10"/>
                  <a:gd name="T20" fmla="*/ 0 w 20"/>
                  <a:gd name="T21" fmla="*/ 5 h 10"/>
                  <a:gd name="T22" fmla="*/ 0 w 20"/>
                  <a:gd name="T23" fmla="*/ 3 h 10"/>
                  <a:gd name="T24" fmla="*/ 4 w 20"/>
                  <a:gd name="T25" fmla="*/ 3 h 10"/>
                  <a:gd name="T26" fmla="*/ 4 w 20"/>
                  <a:gd name="T27" fmla="*/ 1 h 10"/>
                  <a:gd name="T28" fmla="*/ 7 w 20"/>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0">
                    <a:moveTo>
                      <a:pt x="7" y="0"/>
                    </a:moveTo>
                    <a:lnTo>
                      <a:pt x="11" y="3"/>
                    </a:lnTo>
                    <a:lnTo>
                      <a:pt x="15" y="0"/>
                    </a:lnTo>
                    <a:lnTo>
                      <a:pt x="16" y="0"/>
                    </a:lnTo>
                    <a:lnTo>
                      <a:pt x="18" y="1"/>
                    </a:lnTo>
                    <a:lnTo>
                      <a:pt x="20" y="1"/>
                    </a:lnTo>
                    <a:lnTo>
                      <a:pt x="20" y="5"/>
                    </a:lnTo>
                    <a:lnTo>
                      <a:pt x="18" y="9"/>
                    </a:lnTo>
                    <a:lnTo>
                      <a:pt x="16" y="10"/>
                    </a:lnTo>
                    <a:lnTo>
                      <a:pt x="15" y="9"/>
                    </a:lnTo>
                    <a:lnTo>
                      <a:pt x="0" y="5"/>
                    </a:lnTo>
                    <a:lnTo>
                      <a:pt x="0" y="3"/>
                    </a:lnTo>
                    <a:lnTo>
                      <a:pt x="4" y="3"/>
                    </a:lnTo>
                    <a:lnTo>
                      <a:pt x="4" y="1"/>
                    </a:lnTo>
                    <a:lnTo>
                      <a:pt x="7"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94" name="Freeform 2043"/>
              <p:cNvSpPr>
                <a:spLocks/>
              </p:cNvSpPr>
              <p:nvPr/>
            </p:nvSpPr>
            <p:spPr bwMode="auto">
              <a:xfrm>
                <a:off x="4401" y="640"/>
                <a:ext cx="20" cy="10"/>
              </a:xfrm>
              <a:custGeom>
                <a:avLst/>
                <a:gdLst>
                  <a:gd name="T0" fmla="*/ 7 w 20"/>
                  <a:gd name="T1" fmla="*/ 0 h 10"/>
                  <a:gd name="T2" fmla="*/ 11 w 20"/>
                  <a:gd name="T3" fmla="*/ 3 h 10"/>
                  <a:gd name="T4" fmla="*/ 15 w 20"/>
                  <a:gd name="T5" fmla="*/ 0 h 10"/>
                  <a:gd name="T6" fmla="*/ 16 w 20"/>
                  <a:gd name="T7" fmla="*/ 0 h 10"/>
                  <a:gd name="T8" fmla="*/ 18 w 20"/>
                  <a:gd name="T9" fmla="*/ 1 h 10"/>
                  <a:gd name="T10" fmla="*/ 20 w 20"/>
                  <a:gd name="T11" fmla="*/ 1 h 10"/>
                  <a:gd name="T12" fmla="*/ 20 w 20"/>
                  <a:gd name="T13" fmla="*/ 5 h 10"/>
                  <a:gd name="T14" fmla="*/ 18 w 20"/>
                  <a:gd name="T15" fmla="*/ 9 h 10"/>
                  <a:gd name="T16" fmla="*/ 16 w 20"/>
                  <a:gd name="T17" fmla="*/ 10 h 10"/>
                  <a:gd name="T18" fmla="*/ 15 w 20"/>
                  <a:gd name="T19" fmla="*/ 9 h 10"/>
                  <a:gd name="T20" fmla="*/ 0 w 20"/>
                  <a:gd name="T21" fmla="*/ 5 h 10"/>
                  <a:gd name="T22" fmla="*/ 0 w 20"/>
                  <a:gd name="T23" fmla="*/ 3 h 10"/>
                  <a:gd name="T24" fmla="*/ 4 w 20"/>
                  <a:gd name="T25" fmla="*/ 3 h 10"/>
                  <a:gd name="T26" fmla="*/ 4 w 20"/>
                  <a:gd name="T27" fmla="*/ 1 h 10"/>
                  <a:gd name="T28" fmla="*/ 7 w 20"/>
                  <a:gd name="T2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10">
                    <a:moveTo>
                      <a:pt x="7" y="0"/>
                    </a:moveTo>
                    <a:lnTo>
                      <a:pt x="11" y="3"/>
                    </a:lnTo>
                    <a:lnTo>
                      <a:pt x="15" y="0"/>
                    </a:lnTo>
                    <a:lnTo>
                      <a:pt x="16" y="0"/>
                    </a:lnTo>
                    <a:lnTo>
                      <a:pt x="18" y="1"/>
                    </a:lnTo>
                    <a:lnTo>
                      <a:pt x="20" y="1"/>
                    </a:lnTo>
                    <a:lnTo>
                      <a:pt x="20" y="5"/>
                    </a:lnTo>
                    <a:lnTo>
                      <a:pt x="18" y="9"/>
                    </a:lnTo>
                    <a:lnTo>
                      <a:pt x="16" y="10"/>
                    </a:lnTo>
                    <a:lnTo>
                      <a:pt x="15" y="9"/>
                    </a:lnTo>
                    <a:lnTo>
                      <a:pt x="0" y="5"/>
                    </a:lnTo>
                    <a:lnTo>
                      <a:pt x="0" y="3"/>
                    </a:lnTo>
                    <a:lnTo>
                      <a:pt x="4" y="3"/>
                    </a:lnTo>
                    <a:lnTo>
                      <a:pt x="4" y="1"/>
                    </a:lnTo>
                    <a:lnTo>
                      <a:pt x="7"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95" name="Freeform 2044"/>
              <p:cNvSpPr>
                <a:spLocks/>
              </p:cNvSpPr>
              <p:nvPr/>
            </p:nvSpPr>
            <p:spPr bwMode="auto">
              <a:xfrm>
                <a:off x="4123" y="706"/>
                <a:ext cx="7" cy="12"/>
              </a:xfrm>
              <a:custGeom>
                <a:avLst/>
                <a:gdLst>
                  <a:gd name="T0" fmla="*/ 5 w 7"/>
                  <a:gd name="T1" fmla="*/ 0 h 12"/>
                  <a:gd name="T2" fmla="*/ 5 w 7"/>
                  <a:gd name="T3" fmla="*/ 0 h 12"/>
                  <a:gd name="T4" fmla="*/ 5 w 7"/>
                  <a:gd name="T5" fmla="*/ 3 h 12"/>
                  <a:gd name="T6" fmla="*/ 5 w 7"/>
                  <a:gd name="T7" fmla="*/ 3 h 12"/>
                  <a:gd name="T8" fmla="*/ 5 w 7"/>
                  <a:gd name="T9" fmla="*/ 7 h 12"/>
                  <a:gd name="T10" fmla="*/ 7 w 7"/>
                  <a:gd name="T11" fmla="*/ 7 h 12"/>
                  <a:gd name="T12" fmla="*/ 7 w 7"/>
                  <a:gd name="T13" fmla="*/ 10 h 12"/>
                  <a:gd name="T14" fmla="*/ 5 w 7"/>
                  <a:gd name="T15" fmla="*/ 12 h 12"/>
                  <a:gd name="T16" fmla="*/ 3 w 7"/>
                  <a:gd name="T17" fmla="*/ 10 h 12"/>
                  <a:gd name="T18" fmla="*/ 1 w 7"/>
                  <a:gd name="T19" fmla="*/ 12 h 12"/>
                  <a:gd name="T20" fmla="*/ 0 w 7"/>
                  <a:gd name="T21" fmla="*/ 12 h 12"/>
                  <a:gd name="T22" fmla="*/ 0 w 7"/>
                  <a:gd name="T23" fmla="*/ 7 h 12"/>
                  <a:gd name="T24" fmla="*/ 0 w 7"/>
                  <a:gd name="T25" fmla="*/ 3 h 12"/>
                  <a:gd name="T26" fmla="*/ 1 w 7"/>
                  <a:gd name="T27" fmla="*/ 1 h 12"/>
                  <a:gd name="T28" fmla="*/ 5 w 7"/>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2">
                    <a:moveTo>
                      <a:pt x="5" y="0"/>
                    </a:moveTo>
                    <a:lnTo>
                      <a:pt x="5" y="0"/>
                    </a:lnTo>
                    <a:lnTo>
                      <a:pt x="5" y="3"/>
                    </a:lnTo>
                    <a:lnTo>
                      <a:pt x="5" y="3"/>
                    </a:lnTo>
                    <a:lnTo>
                      <a:pt x="5" y="7"/>
                    </a:lnTo>
                    <a:lnTo>
                      <a:pt x="7" y="7"/>
                    </a:lnTo>
                    <a:lnTo>
                      <a:pt x="7" y="10"/>
                    </a:lnTo>
                    <a:lnTo>
                      <a:pt x="5" y="12"/>
                    </a:lnTo>
                    <a:lnTo>
                      <a:pt x="3" y="10"/>
                    </a:lnTo>
                    <a:lnTo>
                      <a:pt x="1" y="12"/>
                    </a:lnTo>
                    <a:lnTo>
                      <a:pt x="0" y="12"/>
                    </a:lnTo>
                    <a:lnTo>
                      <a:pt x="0" y="7"/>
                    </a:lnTo>
                    <a:lnTo>
                      <a:pt x="0" y="3"/>
                    </a:lnTo>
                    <a:lnTo>
                      <a:pt x="1" y="1"/>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96" name="Freeform 2045"/>
              <p:cNvSpPr>
                <a:spLocks/>
              </p:cNvSpPr>
              <p:nvPr/>
            </p:nvSpPr>
            <p:spPr bwMode="auto">
              <a:xfrm>
                <a:off x="4123" y="706"/>
                <a:ext cx="7" cy="12"/>
              </a:xfrm>
              <a:custGeom>
                <a:avLst/>
                <a:gdLst>
                  <a:gd name="T0" fmla="*/ 5 w 7"/>
                  <a:gd name="T1" fmla="*/ 0 h 12"/>
                  <a:gd name="T2" fmla="*/ 5 w 7"/>
                  <a:gd name="T3" fmla="*/ 0 h 12"/>
                  <a:gd name="T4" fmla="*/ 5 w 7"/>
                  <a:gd name="T5" fmla="*/ 3 h 12"/>
                  <a:gd name="T6" fmla="*/ 5 w 7"/>
                  <a:gd name="T7" fmla="*/ 3 h 12"/>
                  <a:gd name="T8" fmla="*/ 5 w 7"/>
                  <a:gd name="T9" fmla="*/ 7 h 12"/>
                  <a:gd name="T10" fmla="*/ 7 w 7"/>
                  <a:gd name="T11" fmla="*/ 7 h 12"/>
                  <a:gd name="T12" fmla="*/ 7 w 7"/>
                  <a:gd name="T13" fmla="*/ 10 h 12"/>
                  <a:gd name="T14" fmla="*/ 5 w 7"/>
                  <a:gd name="T15" fmla="*/ 12 h 12"/>
                  <a:gd name="T16" fmla="*/ 3 w 7"/>
                  <a:gd name="T17" fmla="*/ 10 h 12"/>
                  <a:gd name="T18" fmla="*/ 1 w 7"/>
                  <a:gd name="T19" fmla="*/ 12 h 12"/>
                  <a:gd name="T20" fmla="*/ 0 w 7"/>
                  <a:gd name="T21" fmla="*/ 12 h 12"/>
                  <a:gd name="T22" fmla="*/ 0 w 7"/>
                  <a:gd name="T23" fmla="*/ 7 h 12"/>
                  <a:gd name="T24" fmla="*/ 0 w 7"/>
                  <a:gd name="T25" fmla="*/ 3 h 12"/>
                  <a:gd name="T26" fmla="*/ 1 w 7"/>
                  <a:gd name="T27" fmla="*/ 1 h 12"/>
                  <a:gd name="T28" fmla="*/ 5 w 7"/>
                  <a:gd name="T2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2">
                    <a:moveTo>
                      <a:pt x="5" y="0"/>
                    </a:moveTo>
                    <a:lnTo>
                      <a:pt x="5" y="0"/>
                    </a:lnTo>
                    <a:lnTo>
                      <a:pt x="5" y="3"/>
                    </a:lnTo>
                    <a:lnTo>
                      <a:pt x="5" y="3"/>
                    </a:lnTo>
                    <a:lnTo>
                      <a:pt x="5" y="7"/>
                    </a:lnTo>
                    <a:lnTo>
                      <a:pt x="7" y="7"/>
                    </a:lnTo>
                    <a:lnTo>
                      <a:pt x="7" y="10"/>
                    </a:lnTo>
                    <a:lnTo>
                      <a:pt x="5" y="12"/>
                    </a:lnTo>
                    <a:lnTo>
                      <a:pt x="3" y="10"/>
                    </a:lnTo>
                    <a:lnTo>
                      <a:pt x="1" y="12"/>
                    </a:lnTo>
                    <a:lnTo>
                      <a:pt x="0" y="12"/>
                    </a:lnTo>
                    <a:lnTo>
                      <a:pt x="0" y="7"/>
                    </a:lnTo>
                    <a:lnTo>
                      <a:pt x="0" y="3"/>
                    </a:lnTo>
                    <a:lnTo>
                      <a:pt x="1" y="1"/>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97" name="Freeform 2046"/>
              <p:cNvSpPr>
                <a:spLocks/>
              </p:cNvSpPr>
              <p:nvPr/>
            </p:nvSpPr>
            <p:spPr bwMode="auto">
              <a:xfrm>
                <a:off x="4221" y="775"/>
                <a:ext cx="20" cy="13"/>
              </a:xfrm>
              <a:custGeom>
                <a:avLst/>
                <a:gdLst>
                  <a:gd name="T0" fmla="*/ 16 w 20"/>
                  <a:gd name="T1" fmla="*/ 2 h 13"/>
                  <a:gd name="T2" fmla="*/ 16 w 20"/>
                  <a:gd name="T3" fmla="*/ 4 h 13"/>
                  <a:gd name="T4" fmla="*/ 16 w 20"/>
                  <a:gd name="T5" fmla="*/ 6 h 13"/>
                  <a:gd name="T6" fmla="*/ 16 w 20"/>
                  <a:gd name="T7" fmla="*/ 9 h 13"/>
                  <a:gd name="T8" fmla="*/ 16 w 20"/>
                  <a:gd name="T9" fmla="*/ 13 h 13"/>
                  <a:gd name="T10" fmla="*/ 7 w 20"/>
                  <a:gd name="T11" fmla="*/ 11 h 13"/>
                  <a:gd name="T12" fmla="*/ 0 w 20"/>
                  <a:gd name="T13" fmla="*/ 7 h 13"/>
                  <a:gd name="T14" fmla="*/ 0 w 20"/>
                  <a:gd name="T15" fmla="*/ 4 h 13"/>
                  <a:gd name="T16" fmla="*/ 0 w 20"/>
                  <a:gd name="T17" fmla="*/ 4 h 13"/>
                  <a:gd name="T18" fmla="*/ 2 w 20"/>
                  <a:gd name="T19" fmla="*/ 4 h 13"/>
                  <a:gd name="T20" fmla="*/ 2 w 20"/>
                  <a:gd name="T21" fmla="*/ 6 h 13"/>
                  <a:gd name="T22" fmla="*/ 3 w 20"/>
                  <a:gd name="T23" fmla="*/ 4 h 13"/>
                  <a:gd name="T24" fmla="*/ 5 w 20"/>
                  <a:gd name="T25" fmla="*/ 4 h 13"/>
                  <a:gd name="T26" fmla="*/ 7 w 20"/>
                  <a:gd name="T27" fmla="*/ 0 h 13"/>
                  <a:gd name="T28" fmla="*/ 12 w 20"/>
                  <a:gd name="T29" fmla="*/ 6 h 13"/>
                  <a:gd name="T30" fmla="*/ 16 w 20"/>
                  <a:gd name="T31" fmla="*/ 2 h 13"/>
                  <a:gd name="T32" fmla="*/ 18 w 20"/>
                  <a:gd name="T33" fmla="*/ 2 h 13"/>
                  <a:gd name="T34" fmla="*/ 20 w 20"/>
                  <a:gd name="T35" fmla="*/ 4 h 13"/>
                  <a:gd name="T36" fmla="*/ 20 w 20"/>
                  <a:gd name="T37" fmla="*/ 6 h 13"/>
                  <a:gd name="T38" fmla="*/ 20 w 20"/>
                  <a:gd name="T39" fmla="*/ 11 h 13"/>
                  <a:gd name="T40" fmla="*/ 20 w 20"/>
                  <a:gd name="T41" fmla="*/ 6 h 13"/>
                  <a:gd name="T42" fmla="*/ 16 w 20"/>
                  <a:gd name="T43"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3">
                    <a:moveTo>
                      <a:pt x="16" y="2"/>
                    </a:moveTo>
                    <a:lnTo>
                      <a:pt x="16" y="4"/>
                    </a:lnTo>
                    <a:lnTo>
                      <a:pt x="16" y="6"/>
                    </a:lnTo>
                    <a:lnTo>
                      <a:pt x="16" y="9"/>
                    </a:lnTo>
                    <a:lnTo>
                      <a:pt x="16" y="13"/>
                    </a:lnTo>
                    <a:lnTo>
                      <a:pt x="7" y="11"/>
                    </a:lnTo>
                    <a:lnTo>
                      <a:pt x="0" y="7"/>
                    </a:lnTo>
                    <a:lnTo>
                      <a:pt x="0" y="4"/>
                    </a:lnTo>
                    <a:lnTo>
                      <a:pt x="0" y="4"/>
                    </a:lnTo>
                    <a:lnTo>
                      <a:pt x="2" y="4"/>
                    </a:lnTo>
                    <a:lnTo>
                      <a:pt x="2" y="6"/>
                    </a:lnTo>
                    <a:lnTo>
                      <a:pt x="3" y="4"/>
                    </a:lnTo>
                    <a:lnTo>
                      <a:pt x="5" y="4"/>
                    </a:lnTo>
                    <a:lnTo>
                      <a:pt x="7" y="0"/>
                    </a:lnTo>
                    <a:lnTo>
                      <a:pt x="12" y="6"/>
                    </a:lnTo>
                    <a:lnTo>
                      <a:pt x="16" y="2"/>
                    </a:lnTo>
                    <a:lnTo>
                      <a:pt x="18" y="2"/>
                    </a:lnTo>
                    <a:lnTo>
                      <a:pt x="20" y="4"/>
                    </a:lnTo>
                    <a:lnTo>
                      <a:pt x="20" y="6"/>
                    </a:lnTo>
                    <a:lnTo>
                      <a:pt x="20" y="11"/>
                    </a:lnTo>
                    <a:lnTo>
                      <a:pt x="20" y="6"/>
                    </a:lnTo>
                    <a:lnTo>
                      <a:pt x="16"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98" name="Freeform 2047"/>
              <p:cNvSpPr>
                <a:spLocks/>
              </p:cNvSpPr>
              <p:nvPr/>
            </p:nvSpPr>
            <p:spPr bwMode="auto">
              <a:xfrm>
                <a:off x="4221" y="775"/>
                <a:ext cx="20" cy="13"/>
              </a:xfrm>
              <a:custGeom>
                <a:avLst/>
                <a:gdLst>
                  <a:gd name="T0" fmla="*/ 16 w 20"/>
                  <a:gd name="T1" fmla="*/ 2 h 13"/>
                  <a:gd name="T2" fmla="*/ 16 w 20"/>
                  <a:gd name="T3" fmla="*/ 4 h 13"/>
                  <a:gd name="T4" fmla="*/ 16 w 20"/>
                  <a:gd name="T5" fmla="*/ 6 h 13"/>
                  <a:gd name="T6" fmla="*/ 16 w 20"/>
                  <a:gd name="T7" fmla="*/ 9 h 13"/>
                  <a:gd name="T8" fmla="*/ 16 w 20"/>
                  <a:gd name="T9" fmla="*/ 13 h 13"/>
                  <a:gd name="T10" fmla="*/ 7 w 20"/>
                  <a:gd name="T11" fmla="*/ 11 h 13"/>
                  <a:gd name="T12" fmla="*/ 0 w 20"/>
                  <a:gd name="T13" fmla="*/ 7 h 13"/>
                  <a:gd name="T14" fmla="*/ 0 w 20"/>
                  <a:gd name="T15" fmla="*/ 4 h 13"/>
                  <a:gd name="T16" fmla="*/ 0 w 20"/>
                  <a:gd name="T17" fmla="*/ 4 h 13"/>
                  <a:gd name="T18" fmla="*/ 2 w 20"/>
                  <a:gd name="T19" fmla="*/ 4 h 13"/>
                  <a:gd name="T20" fmla="*/ 2 w 20"/>
                  <a:gd name="T21" fmla="*/ 6 h 13"/>
                  <a:gd name="T22" fmla="*/ 3 w 20"/>
                  <a:gd name="T23" fmla="*/ 4 h 13"/>
                  <a:gd name="T24" fmla="*/ 5 w 20"/>
                  <a:gd name="T25" fmla="*/ 4 h 13"/>
                  <a:gd name="T26" fmla="*/ 7 w 20"/>
                  <a:gd name="T27" fmla="*/ 0 h 13"/>
                  <a:gd name="T28" fmla="*/ 12 w 20"/>
                  <a:gd name="T29" fmla="*/ 6 h 13"/>
                  <a:gd name="T30" fmla="*/ 16 w 20"/>
                  <a:gd name="T31" fmla="*/ 2 h 13"/>
                  <a:gd name="T32" fmla="*/ 18 w 20"/>
                  <a:gd name="T33" fmla="*/ 2 h 13"/>
                  <a:gd name="T34" fmla="*/ 20 w 20"/>
                  <a:gd name="T35" fmla="*/ 4 h 13"/>
                  <a:gd name="T36" fmla="*/ 20 w 20"/>
                  <a:gd name="T37" fmla="*/ 6 h 13"/>
                  <a:gd name="T38" fmla="*/ 20 w 20"/>
                  <a:gd name="T39" fmla="*/ 11 h 13"/>
                  <a:gd name="T40" fmla="*/ 20 w 20"/>
                  <a:gd name="T41" fmla="*/ 6 h 13"/>
                  <a:gd name="T42" fmla="*/ 16 w 20"/>
                  <a:gd name="T43"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3">
                    <a:moveTo>
                      <a:pt x="16" y="2"/>
                    </a:moveTo>
                    <a:lnTo>
                      <a:pt x="16" y="4"/>
                    </a:lnTo>
                    <a:lnTo>
                      <a:pt x="16" y="6"/>
                    </a:lnTo>
                    <a:lnTo>
                      <a:pt x="16" y="9"/>
                    </a:lnTo>
                    <a:lnTo>
                      <a:pt x="16" y="13"/>
                    </a:lnTo>
                    <a:lnTo>
                      <a:pt x="7" y="11"/>
                    </a:lnTo>
                    <a:lnTo>
                      <a:pt x="0" y="7"/>
                    </a:lnTo>
                    <a:lnTo>
                      <a:pt x="0" y="4"/>
                    </a:lnTo>
                    <a:lnTo>
                      <a:pt x="0" y="4"/>
                    </a:lnTo>
                    <a:lnTo>
                      <a:pt x="2" y="4"/>
                    </a:lnTo>
                    <a:lnTo>
                      <a:pt x="2" y="6"/>
                    </a:lnTo>
                    <a:lnTo>
                      <a:pt x="3" y="4"/>
                    </a:lnTo>
                    <a:lnTo>
                      <a:pt x="5" y="4"/>
                    </a:lnTo>
                    <a:lnTo>
                      <a:pt x="7" y="0"/>
                    </a:lnTo>
                    <a:lnTo>
                      <a:pt x="12" y="6"/>
                    </a:lnTo>
                    <a:lnTo>
                      <a:pt x="16" y="2"/>
                    </a:lnTo>
                    <a:lnTo>
                      <a:pt x="18" y="2"/>
                    </a:lnTo>
                    <a:lnTo>
                      <a:pt x="20" y="4"/>
                    </a:lnTo>
                    <a:lnTo>
                      <a:pt x="20" y="6"/>
                    </a:lnTo>
                    <a:lnTo>
                      <a:pt x="20" y="11"/>
                    </a:lnTo>
                    <a:lnTo>
                      <a:pt x="20" y="6"/>
                    </a:lnTo>
                    <a:lnTo>
                      <a:pt x="16"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99" name="Freeform 2048"/>
              <p:cNvSpPr>
                <a:spLocks/>
              </p:cNvSpPr>
              <p:nvPr/>
            </p:nvSpPr>
            <p:spPr bwMode="auto">
              <a:xfrm>
                <a:off x="4219" y="716"/>
                <a:ext cx="20" cy="22"/>
              </a:xfrm>
              <a:custGeom>
                <a:avLst/>
                <a:gdLst>
                  <a:gd name="T0" fmla="*/ 18 w 20"/>
                  <a:gd name="T1" fmla="*/ 11 h 22"/>
                  <a:gd name="T2" fmla="*/ 18 w 20"/>
                  <a:gd name="T3" fmla="*/ 13 h 22"/>
                  <a:gd name="T4" fmla="*/ 13 w 20"/>
                  <a:gd name="T5" fmla="*/ 18 h 22"/>
                  <a:gd name="T6" fmla="*/ 9 w 20"/>
                  <a:gd name="T7" fmla="*/ 22 h 22"/>
                  <a:gd name="T8" fmla="*/ 7 w 20"/>
                  <a:gd name="T9" fmla="*/ 20 h 22"/>
                  <a:gd name="T10" fmla="*/ 7 w 20"/>
                  <a:gd name="T11" fmla="*/ 18 h 22"/>
                  <a:gd name="T12" fmla="*/ 9 w 20"/>
                  <a:gd name="T13" fmla="*/ 18 h 22"/>
                  <a:gd name="T14" fmla="*/ 11 w 20"/>
                  <a:gd name="T15" fmla="*/ 16 h 22"/>
                  <a:gd name="T16" fmla="*/ 11 w 20"/>
                  <a:gd name="T17" fmla="*/ 15 h 22"/>
                  <a:gd name="T18" fmla="*/ 7 w 20"/>
                  <a:gd name="T19" fmla="*/ 18 h 22"/>
                  <a:gd name="T20" fmla="*/ 0 w 20"/>
                  <a:gd name="T21" fmla="*/ 18 h 22"/>
                  <a:gd name="T22" fmla="*/ 0 w 20"/>
                  <a:gd name="T23" fmla="*/ 16 h 22"/>
                  <a:gd name="T24" fmla="*/ 5 w 20"/>
                  <a:gd name="T25" fmla="*/ 11 h 22"/>
                  <a:gd name="T26" fmla="*/ 7 w 20"/>
                  <a:gd name="T27" fmla="*/ 11 h 22"/>
                  <a:gd name="T28" fmla="*/ 14 w 20"/>
                  <a:gd name="T29" fmla="*/ 6 h 22"/>
                  <a:gd name="T30" fmla="*/ 18 w 20"/>
                  <a:gd name="T31" fmla="*/ 0 h 22"/>
                  <a:gd name="T32" fmla="*/ 20 w 20"/>
                  <a:gd name="T33" fmla="*/ 4 h 22"/>
                  <a:gd name="T34" fmla="*/ 20 w 20"/>
                  <a:gd name="T35" fmla="*/ 11 h 22"/>
                  <a:gd name="T36" fmla="*/ 18 w 20"/>
                  <a:gd name="T37" fmla="*/ 11 h 22"/>
                  <a:gd name="T38" fmla="*/ 18 w 20"/>
                  <a:gd name="T3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2">
                    <a:moveTo>
                      <a:pt x="18" y="11"/>
                    </a:moveTo>
                    <a:lnTo>
                      <a:pt x="18" y="13"/>
                    </a:lnTo>
                    <a:lnTo>
                      <a:pt x="13" y="18"/>
                    </a:lnTo>
                    <a:lnTo>
                      <a:pt x="9" y="22"/>
                    </a:lnTo>
                    <a:lnTo>
                      <a:pt x="7" y="20"/>
                    </a:lnTo>
                    <a:lnTo>
                      <a:pt x="7" y="18"/>
                    </a:lnTo>
                    <a:lnTo>
                      <a:pt x="9" y="18"/>
                    </a:lnTo>
                    <a:lnTo>
                      <a:pt x="11" y="16"/>
                    </a:lnTo>
                    <a:lnTo>
                      <a:pt x="11" y="15"/>
                    </a:lnTo>
                    <a:lnTo>
                      <a:pt x="7" y="18"/>
                    </a:lnTo>
                    <a:lnTo>
                      <a:pt x="0" y="18"/>
                    </a:lnTo>
                    <a:lnTo>
                      <a:pt x="0" y="16"/>
                    </a:lnTo>
                    <a:lnTo>
                      <a:pt x="5" y="11"/>
                    </a:lnTo>
                    <a:lnTo>
                      <a:pt x="7" y="11"/>
                    </a:lnTo>
                    <a:lnTo>
                      <a:pt x="14" y="6"/>
                    </a:lnTo>
                    <a:lnTo>
                      <a:pt x="18" y="0"/>
                    </a:lnTo>
                    <a:lnTo>
                      <a:pt x="20" y="4"/>
                    </a:lnTo>
                    <a:lnTo>
                      <a:pt x="20" y="11"/>
                    </a:lnTo>
                    <a:lnTo>
                      <a:pt x="18" y="11"/>
                    </a:lnTo>
                    <a:lnTo>
                      <a:pt x="18"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00" name="Freeform 2049"/>
              <p:cNvSpPr>
                <a:spLocks/>
              </p:cNvSpPr>
              <p:nvPr/>
            </p:nvSpPr>
            <p:spPr bwMode="auto">
              <a:xfrm>
                <a:off x="4219" y="716"/>
                <a:ext cx="20" cy="22"/>
              </a:xfrm>
              <a:custGeom>
                <a:avLst/>
                <a:gdLst>
                  <a:gd name="T0" fmla="*/ 18 w 20"/>
                  <a:gd name="T1" fmla="*/ 11 h 22"/>
                  <a:gd name="T2" fmla="*/ 18 w 20"/>
                  <a:gd name="T3" fmla="*/ 13 h 22"/>
                  <a:gd name="T4" fmla="*/ 13 w 20"/>
                  <a:gd name="T5" fmla="*/ 18 h 22"/>
                  <a:gd name="T6" fmla="*/ 9 w 20"/>
                  <a:gd name="T7" fmla="*/ 22 h 22"/>
                  <a:gd name="T8" fmla="*/ 7 w 20"/>
                  <a:gd name="T9" fmla="*/ 20 h 22"/>
                  <a:gd name="T10" fmla="*/ 7 w 20"/>
                  <a:gd name="T11" fmla="*/ 18 h 22"/>
                  <a:gd name="T12" fmla="*/ 9 w 20"/>
                  <a:gd name="T13" fmla="*/ 18 h 22"/>
                  <a:gd name="T14" fmla="*/ 11 w 20"/>
                  <a:gd name="T15" fmla="*/ 16 h 22"/>
                  <a:gd name="T16" fmla="*/ 11 w 20"/>
                  <a:gd name="T17" fmla="*/ 15 h 22"/>
                  <a:gd name="T18" fmla="*/ 7 w 20"/>
                  <a:gd name="T19" fmla="*/ 18 h 22"/>
                  <a:gd name="T20" fmla="*/ 0 w 20"/>
                  <a:gd name="T21" fmla="*/ 18 h 22"/>
                  <a:gd name="T22" fmla="*/ 0 w 20"/>
                  <a:gd name="T23" fmla="*/ 16 h 22"/>
                  <a:gd name="T24" fmla="*/ 5 w 20"/>
                  <a:gd name="T25" fmla="*/ 11 h 22"/>
                  <a:gd name="T26" fmla="*/ 7 w 20"/>
                  <a:gd name="T27" fmla="*/ 11 h 22"/>
                  <a:gd name="T28" fmla="*/ 14 w 20"/>
                  <a:gd name="T29" fmla="*/ 6 h 22"/>
                  <a:gd name="T30" fmla="*/ 18 w 20"/>
                  <a:gd name="T31" fmla="*/ 0 h 22"/>
                  <a:gd name="T32" fmla="*/ 20 w 20"/>
                  <a:gd name="T33" fmla="*/ 4 h 22"/>
                  <a:gd name="T34" fmla="*/ 20 w 20"/>
                  <a:gd name="T35" fmla="*/ 11 h 22"/>
                  <a:gd name="T36" fmla="*/ 18 w 20"/>
                  <a:gd name="T37" fmla="*/ 11 h 22"/>
                  <a:gd name="T38" fmla="*/ 18 w 20"/>
                  <a:gd name="T39"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2">
                    <a:moveTo>
                      <a:pt x="18" y="11"/>
                    </a:moveTo>
                    <a:lnTo>
                      <a:pt x="18" y="13"/>
                    </a:lnTo>
                    <a:lnTo>
                      <a:pt x="13" y="18"/>
                    </a:lnTo>
                    <a:lnTo>
                      <a:pt x="9" y="22"/>
                    </a:lnTo>
                    <a:lnTo>
                      <a:pt x="7" y="20"/>
                    </a:lnTo>
                    <a:lnTo>
                      <a:pt x="7" y="18"/>
                    </a:lnTo>
                    <a:lnTo>
                      <a:pt x="9" y="18"/>
                    </a:lnTo>
                    <a:lnTo>
                      <a:pt x="11" y="16"/>
                    </a:lnTo>
                    <a:lnTo>
                      <a:pt x="11" y="15"/>
                    </a:lnTo>
                    <a:lnTo>
                      <a:pt x="7" y="18"/>
                    </a:lnTo>
                    <a:lnTo>
                      <a:pt x="0" y="18"/>
                    </a:lnTo>
                    <a:lnTo>
                      <a:pt x="0" y="16"/>
                    </a:lnTo>
                    <a:lnTo>
                      <a:pt x="5" y="11"/>
                    </a:lnTo>
                    <a:lnTo>
                      <a:pt x="7" y="11"/>
                    </a:lnTo>
                    <a:lnTo>
                      <a:pt x="14" y="6"/>
                    </a:lnTo>
                    <a:lnTo>
                      <a:pt x="18" y="0"/>
                    </a:lnTo>
                    <a:lnTo>
                      <a:pt x="20" y="4"/>
                    </a:lnTo>
                    <a:lnTo>
                      <a:pt x="20" y="11"/>
                    </a:lnTo>
                    <a:lnTo>
                      <a:pt x="18" y="11"/>
                    </a:lnTo>
                    <a:lnTo>
                      <a:pt x="18"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01" name="Freeform 2050"/>
              <p:cNvSpPr>
                <a:spLocks/>
              </p:cNvSpPr>
              <p:nvPr/>
            </p:nvSpPr>
            <p:spPr bwMode="auto">
              <a:xfrm>
                <a:off x="4480" y="888"/>
                <a:ext cx="30" cy="27"/>
              </a:xfrm>
              <a:custGeom>
                <a:avLst/>
                <a:gdLst>
                  <a:gd name="T0" fmla="*/ 25 w 30"/>
                  <a:gd name="T1" fmla="*/ 2 h 27"/>
                  <a:gd name="T2" fmla="*/ 27 w 30"/>
                  <a:gd name="T3" fmla="*/ 5 h 27"/>
                  <a:gd name="T4" fmla="*/ 28 w 30"/>
                  <a:gd name="T5" fmla="*/ 5 h 27"/>
                  <a:gd name="T6" fmla="*/ 30 w 30"/>
                  <a:gd name="T7" fmla="*/ 5 h 27"/>
                  <a:gd name="T8" fmla="*/ 27 w 30"/>
                  <a:gd name="T9" fmla="*/ 19 h 27"/>
                  <a:gd name="T10" fmla="*/ 21 w 30"/>
                  <a:gd name="T11" fmla="*/ 27 h 27"/>
                  <a:gd name="T12" fmla="*/ 14 w 30"/>
                  <a:gd name="T13" fmla="*/ 23 h 27"/>
                  <a:gd name="T14" fmla="*/ 11 w 30"/>
                  <a:gd name="T15" fmla="*/ 23 h 27"/>
                  <a:gd name="T16" fmla="*/ 7 w 30"/>
                  <a:gd name="T17" fmla="*/ 19 h 27"/>
                  <a:gd name="T18" fmla="*/ 2 w 30"/>
                  <a:gd name="T19" fmla="*/ 18 h 27"/>
                  <a:gd name="T20" fmla="*/ 0 w 30"/>
                  <a:gd name="T21" fmla="*/ 14 h 27"/>
                  <a:gd name="T22" fmla="*/ 0 w 30"/>
                  <a:gd name="T23" fmla="*/ 12 h 27"/>
                  <a:gd name="T24" fmla="*/ 2 w 30"/>
                  <a:gd name="T25" fmla="*/ 11 h 27"/>
                  <a:gd name="T26" fmla="*/ 3 w 30"/>
                  <a:gd name="T27" fmla="*/ 12 h 27"/>
                  <a:gd name="T28" fmla="*/ 5 w 30"/>
                  <a:gd name="T29" fmla="*/ 12 h 27"/>
                  <a:gd name="T30" fmla="*/ 7 w 30"/>
                  <a:gd name="T31" fmla="*/ 11 h 27"/>
                  <a:gd name="T32" fmla="*/ 9 w 30"/>
                  <a:gd name="T33" fmla="*/ 7 h 27"/>
                  <a:gd name="T34" fmla="*/ 7 w 30"/>
                  <a:gd name="T35" fmla="*/ 2 h 27"/>
                  <a:gd name="T36" fmla="*/ 9 w 30"/>
                  <a:gd name="T37" fmla="*/ 0 h 27"/>
                  <a:gd name="T38" fmla="*/ 21 w 30"/>
                  <a:gd name="T39" fmla="*/ 2 h 27"/>
                  <a:gd name="T40" fmla="*/ 25 w 30"/>
                  <a:gd name="T41"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27">
                    <a:moveTo>
                      <a:pt x="25" y="2"/>
                    </a:moveTo>
                    <a:lnTo>
                      <a:pt x="27" y="5"/>
                    </a:lnTo>
                    <a:lnTo>
                      <a:pt x="28" y="5"/>
                    </a:lnTo>
                    <a:lnTo>
                      <a:pt x="30" y="5"/>
                    </a:lnTo>
                    <a:lnTo>
                      <a:pt x="27" y="19"/>
                    </a:lnTo>
                    <a:lnTo>
                      <a:pt x="21" y="27"/>
                    </a:lnTo>
                    <a:lnTo>
                      <a:pt x="14" y="23"/>
                    </a:lnTo>
                    <a:lnTo>
                      <a:pt x="11" y="23"/>
                    </a:lnTo>
                    <a:lnTo>
                      <a:pt x="7" y="19"/>
                    </a:lnTo>
                    <a:lnTo>
                      <a:pt x="2" y="18"/>
                    </a:lnTo>
                    <a:lnTo>
                      <a:pt x="0" y="14"/>
                    </a:lnTo>
                    <a:lnTo>
                      <a:pt x="0" y="12"/>
                    </a:lnTo>
                    <a:lnTo>
                      <a:pt x="2" y="11"/>
                    </a:lnTo>
                    <a:lnTo>
                      <a:pt x="3" y="12"/>
                    </a:lnTo>
                    <a:lnTo>
                      <a:pt x="5" y="12"/>
                    </a:lnTo>
                    <a:lnTo>
                      <a:pt x="7" y="11"/>
                    </a:lnTo>
                    <a:lnTo>
                      <a:pt x="9" y="7"/>
                    </a:lnTo>
                    <a:lnTo>
                      <a:pt x="7" y="2"/>
                    </a:lnTo>
                    <a:lnTo>
                      <a:pt x="9" y="0"/>
                    </a:lnTo>
                    <a:lnTo>
                      <a:pt x="21" y="2"/>
                    </a:lnTo>
                    <a:lnTo>
                      <a:pt x="25"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02" name="Freeform 2051"/>
              <p:cNvSpPr>
                <a:spLocks/>
              </p:cNvSpPr>
              <p:nvPr/>
            </p:nvSpPr>
            <p:spPr bwMode="auto">
              <a:xfrm>
                <a:off x="4480" y="888"/>
                <a:ext cx="30" cy="27"/>
              </a:xfrm>
              <a:custGeom>
                <a:avLst/>
                <a:gdLst>
                  <a:gd name="T0" fmla="*/ 25 w 30"/>
                  <a:gd name="T1" fmla="*/ 2 h 27"/>
                  <a:gd name="T2" fmla="*/ 27 w 30"/>
                  <a:gd name="T3" fmla="*/ 5 h 27"/>
                  <a:gd name="T4" fmla="*/ 28 w 30"/>
                  <a:gd name="T5" fmla="*/ 5 h 27"/>
                  <a:gd name="T6" fmla="*/ 30 w 30"/>
                  <a:gd name="T7" fmla="*/ 5 h 27"/>
                  <a:gd name="T8" fmla="*/ 27 w 30"/>
                  <a:gd name="T9" fmla="*/ 19 h 27"/>
                  <a:gd name="T10" fmla="*/ 21 w 30"/>
                  <a:gd name="T11" fmla="*/ 27 h 27"/>
                  <a:gd name="T12" fmla="*/ 14 w 30"/>
                  <a:gd name="T13" fmla="*/ 23 h 27"/>
                  <a:gd name="T14" fmla="*/ 11 w 30"/>
                  <a:gd name="T15" fmla="*/ 23 h 27"/>
                  <a:gd name="T16" fmla="*/ 7 w 30"/>
                  <a:gd name="T17" fmla="*/ 19 h 27"/>
                  <a:gd name="T18" fmla="*/ 2 w 30"/>
                  <a:gd name="T19" fmla="*/ 18 h 27"/>
                  <a:gd name="T20" fmla="*/ 0 w 30"/>
                  <a:gd name="T21" fmla="*/ 14 h 27"/>
                  <a:gd name="T22" fmla="*/ 0 w 30"/>
                  <a:gd name="T23" fmla="*/ 12 h 27"/>
                  <a:gd name="T24" fmla="*/ 2 w 30"/>
                  <a:gd name="T25" fmla="*/ 11 h 27"/>
                  <a:gd name="T26" fmla="*/ 3 w 30"/>
                  <a:gd name="T27" fmla="*/ 12 h 27"/>
                  <a:gd name="T28" fmla="*/ 5 w 30"/>
                  <a:gd name="T29" fmla="*/ 12 h 27"/>
                  <a:gd name="T30" fmla="*/ 7 w 30"/>
                  <a:gd name="T31" fmla="*/ 11 h 27"/>
                  <a:gd name="T32" fmla="*/ 9 w 30"/>
                  <a:gd name="T33" fmla="*/ 7 h 27"/>
                  <a:gd name="T34" fmla="*/ 7 w 30"/>
                  <a:gd name="T35" fmla="*/ 2 h 27"/>
                  <a:gd name="T36" fmla="*/ 9 w 30"/>
                  <a:gd name="T37" fmla="*/ 0 h 27"/>
                  <a:gd name="T38" fmla="*/ 21 w 30"/>
                  <a:gd name="T39" fmla="*/ 2 h 27"/>
                  <a:gd name="T40" fmla="*/ 25 w 30"/>
                  <a:gd name="T41" fmla="*/ 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27">
                    <a:moveTo>
                      <a:pt x="25" y="2"/>
                    </a:moveTo>
                    <a:lnTo>
                      <a:pt x="27" y="5"/>
                    </a:lnTo>
                    <a:lnTo>
                      <a:pt x="28" y="5"/>
                    </a:lnTo>
                    <a:lnTo>
                      <a:pt x="30" y="5"/>
                    </a:lnTo>
                    <a:lnTo>
                      <a:pt x="27" y="19"/>
                    </a:lnTo>
                    <a:lnTo>
                      <a:pt x="21" y="27"/>
                    </a:lnTo>
                    <a:lnTo>
                      <a:pt x="14" y="23"/>
                    </a:lnTo>
                    <a:lnTo>
                      <a:pt x="11" y="23"/>
                    </a:lnTo>
                    <a:lnTo>
                      <a:pt x="7" y="19"/>
                    </a:lnTo>
                    <a:lnTo>
                      <a:pt x="2" y="18"/>
                    </a:lnTo>
                    <a:lnTo>
                      <a:pt x="0" y="14"/>
                    </a:lnTo>
                    <a:lnTo>
                      <a:pt x="0" y="12"/>
                    </a:lnTo>
                    <a:lnTo>
                      <a:pt x="2" y="11"/>
                    </a:lnTo>
                    <a:lnTo>
                      <a:pt x="3" y="12"/>
                    </a:lnTo>
                    <a:lnTo>
                      <a:pt x="5" y="12"/>
                    </a:lnTo>
                    <a:lnTo>
                      <a:pt x="7" y="11"/>
                    </a:lnTo>
                    <a:lnTo>
                      <a:pt x="9" y="7"/>
                    </a:lnTo>
                    <a:lnTo>
                      <a:pt x="7" y="2"/>
                    </a:lnTo>
                    <a:lnTo>
                      <a:pt x="9" y="0"/>
                    </a:lnTo>
                    <a:lnTo>
                      <a:pt x="21" y="2"/>
                    </a:lnTo>
                    <a:lnTo>
                      <a:pt x="25"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03" name="Freeform 2052"/>
              <p:cNvSpPr>
                <a:spLocks/>
              </p:cNvSpPr>
              <p:nvPr/>
            </p:nvSpPr>
            <p:spPr bwMode="auto">
              <a:xfrm>
                <a:off x="5381" y="1125"/>
                <a:ext cx="25" cy="24"/>
              </a:xfrm>
              <a:custGeom>
                <a:avLst/>
                <a:gdLst>
                  <a:gd name="T0" fmla="*/ 4 w 25"/>
                  <a:gd name="T1" fmla="*/ 2 h 24"/>
                  <a:gd name="T2" fmla="*/ 8 w 25"/>
                  <a:gd name="T3" fmla="*/ 0 h 24"/>
                  <a:gd name="T4" fmla="*/ 11 w 25"/>
                  <a:gd name="T5" fmla="*/ 2 h 24"/>
                  <a:gd name="T6" fmla="*/ 24 w 25"/>
                  <a:gd name="T7" fmla="*/ 9 h 24"/>
                  <a:gd name="T8" fmla="*/ 25 w 25"/>
                  <a:gd name="T9" fmla="*/ 13 h 24"/>
                  <a:gd name="T10" fmla="*/ 25 w 25"/>
                  <a:gd name="T11" fmla="*/ 15 h 24"/>
                  <a:gd name="T12" fmla="*/ 24 w 25"/>
                  <a:gd name="T13" fmla="*/ 16 h 24"/>
                  <a:gd name="T14" fmla="*/ 22 w 25"/>
                  <a:gd name="T15" fmla="*/ 24 h 24"/>
                  <a:gd name="T16" fmla="*/ 20 w 25"/>
                  <a:gd name="T17" fmla="*/ 24 h 24"/>
                  <a:gd name="T18" fmla="*/ 11 w 25"/>
                  <a:gd name="T19" fmla="*/ 22 h 24"/>
                  <a:gd name="T20" fmla="*/ 9 w 25"/>
                  <a:gd name="T21" fmla="*/ 18 h 24"/>
                  <a:gd name="T22" fmla="*/ 6 w 25"/>
                  <a:gd name="T23" fmla="*/ 16 h 24"/>
                  <a:gd name="T24" fmla="*/ 6 w 25"/>
                  <a:gd name="T25" fmla="*/ 13 h 24"/>
                  <a:gd name="T26" fmla="*/ 2 w 25"/>
                  <a:gd name="T27" fmla="*/ 11 h 24"/>
                  <a:gd name="T28" fmla="*/ 0 w 25"/>
                  <a:gd name="T29" fmla="*/ 7 h 24"/>
                  <a:gd name="T30" fmla="*/ 0 w 25"/>
                  <a:gd name="T31" fmla="*/ 4 h 24"/>
                  <a:gd name="T32" fmla="*/ 4 w 25"/>
                  <a:gd name="T33"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4">
                    <a:moveTo>
                      <a:pt x="4" y="2"/>
                    </a:moveTo>
                    <a:lnTo>
                      <a:pt x="8" y="0"/>
                    </a:lnTo>
                    <a:lnTo>
                      <a:pt x="11" y="2"/>
                    </a:lnTo>
                    <a:lnTo>
                      <a:pt x="24" y="9"/>
                    </a:lnTo>
                    <a:lnTo>
                      <a:pt x="25" y="13"/>
                    </a:lnTo>
                    <a:lnTo>
                      <a:pt x="25" y="15"/>
                    </a:lnTo>
                    <a:lnTo>
                      <a:pt x="24" y="16"/>
                    </a:lnTo>
                    <a:lnTo>
                      <a:pt x="22" y="24"/>
                    </a:lnTo>
                    <a:lnTo>
                      <a:pt x="20" y="24"/>
                    </a:lnTo>
                    <a:lnTo>
                      <a:pt x="11" y="22"/>
                    </a:lnTo>
                    <a:lnTo>
                      <a:pt x="9" y="18"/>
                    </a:lnTo>
                    <a:lnTo>
                      <a:pt x="6" y="16"/>
                    </a:lnTo>
                    <a:lnTo>
                      <a:pt x="6" y="13"/>
                    </a:lnTo>
                    <a:lnTo>
                      <a:pt x="2" y="11"/>
                    </a:lnTo>
                    <a:lnTo>
                      <a:pt x="0" y="7"/>
                    </a:lnTo>
                    <a:lnTo>
                      <a:pt x="0" y="4"/>
                    </a:lnTo>
                    <a:lnTo>
                      <a:pt x="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04" name="Freeform 2053"/>
              <p:cNvSpPr>
                <a:spLocks/>
              </p:cNvSpPr>
              <p:nvPr/>
            </p:nvSpPr>
            <p:spPr bwMode="auto">
              <a:xfrm>
                <a:off x="5381" y="1125"/>
                <a:ext cx="25" cy="24"/>
              </a:xfrm>
              <a:custGeom>
                <a:avLst/>
                <a:gdLst>
                  <a:gd name="T0" fmla="*/ 4 w 25"/>
                  <a:gd name="T1" fmla="*/ 2 h 24"/>
                  <a:gd name="T2" fmla="*/ 8 w 25"/>
                  <a:gd name="T3" fmla="*/ 0 h 24"/>
                  <a:gd name="T4" fmla="*/ 11 w 25"/>
                  <a:gd name="T5" fmla="*/ 2 h 24"/>
                  <a:gd name="T6" fmla="*/ 24 w 25"/>
                  <a:gd name="T7" fmla="*/ 9 h 24"/>
                  <a:gd name="T8" fmla="*/ 25 w 25"/>
                  <a:gd name="T9" fmla="*/ 13 h 24"/>
                  <a:gd name="T10" fmla="*/ 25 w 25"/>
                  <a:gd name="T11" fmla="*/ 15 h 24"/>
                  <a:gd name="T12" fmla="*/ 24 w 25"/>
                  <a:gd name="T13" fmla="*/ 16 h 24"/>
                  <a:gd name="T14" fmla="*/ 22 w 25"/>
                  <a:gd name="T15" fmla="*/ 24 h 24"/>
                  <a:gd name="T16" fmla="*/ 20 w 25"/>
                  <a:gd name="T17" fmla="*/ 24 h 24"/>
                  <a:gd name="T18" fmla="*/ 11 w 25"/>
                  <a:gd name="T19" fmla="*/ 22 h 24"/>
                  <a:gd name="T20" fmla="*/ 9 w 25"/>
                  <a:gd name="T21" fmla="*/ 18 h 24"/>
                  <a:gd name="T22" fmla="*/ 6 w 25"/>
                  <a:gd name="T23" fmla="*/ 16 h 24"/>
                  <a:gd name="T24" fmla="*/ 6 w 25"/>
                  <a:gd name="T25" fmla="*/ 13 h 24"/>
                  <a:gd name="T26" fmla="*/ 2 w 25"/>
                  <a:gd name="T27" fmla="*/ 11 h 24"/>
                  <a:gd name="T28" fmla="*/ 0 w 25"/>
                  <a:gd name="T29" fmla="*/ 7 h 24"/>
                  <a:gd name="T30" fmla="*/ 0 w 25"/>
                  <a:gd name="T31" fmla="*/ 4 h 24"/>
                  <a:gd name="T32" fmla="*/ 4 w 25"/>
                  <a:gd name="T33"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4">
                    <a:moveTo>
                      <a:pt x="4" y="2"/>
                    </a:moveTo>
                    <a:lnTo>
                      <a:pt x="8" y="0"/>
                    </a:lnTo>
                    <a:lnTo>
                      <a:pt x="11" y="2"/>
                    </a:lnTo>
                    <a:lnTo>
                      <a:pt x="24" y="9"/>
                    </a:lnTo>
                    <a:lnTo>
                      <a:pt x="25" y="13"/>
                    </a:lnTo>
                    <a:lnTo>
                      <a:pt x="25" y="15"/>
                    </a:lnTo>
                    <a:lnTo>
                      <a:pt x="24" y="16"/>
                    </a:lnTo>
                    <a:lnTo>
                      <a:pt x="22" y="24"/>
                    </a:lnTo>
                    <a:lnTo>
                      <a:pt x="20" y="24"/>
                    </a:lnTo>
                    <a:lnTo>
                      <a:pt x="11" y="22"/>
                    </a:lnTo>
                    <a:lnTo>
                      <a:pt x="9" y="18"/>
                    </a:lnTo>
                    <a:lnTo>
                      <a:pt x="6" y="16"/>
                    </a:lnTo>
                    <a:lnTo>
                      <a:pt x="6" y="13"/>
                    </a:lnTo>
                    <a:lnTo>
                      <a:pt x="2" y="11"/>
                    </a:lnTo>
                    <a:lnTo>
                      <a:pt x="0" y="7"/>
                    </a:lnTo>
                    <a:lnTo>
                      <a:pt x="0" y="4"/>
                    </a:lnTo>
                    <a:lnTo>
                      <a:pt x="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05" name="Freeform 2054"/>
              <p:cNvSpPr>
                <a:spLocks/>
              </p:cNvSpPr>
              <p:nvPr/>
            </p:nvSpPr>
            <p:spPr bwMode="auto">
              <a:xfrm>
                <a:off x="3467" y="1150"/>
                <a:ext cx="34" cy="38"/>
              </a:xfrm>
              <a:custGeom>
                <a:avLst/>
                <a:gdLst>
                  <a:gd name="T0" fmla="*/ 8 w 34"/>
                  <a:gd name="T1" fmla="*/ 4 h 38"/>
                  <a:gd name="T2" fmla="*/ 9 w 34"/>
                  <a:gd name="T3" fmla="*/ 2 h 38"/>
                  <a:gd name="T4" fmla="*/ 9 w 34"/>
                  <a:gd name="T5" fmla="*/ 2 h 38"/>
                  <a:gd name="T6" fmla="*/ 11 w 34"/>
                  <a:gd name="T7" fmla="*/ 2 h 38"/>
                  <a:gd name="T8" fmla="*/ 15 w 34"/>
                  <a:gd name="T9" fmla="*/ 0 h 38"/>
                  <a:gd name="T10" fmla="*/ 16 w 34"/>
                  <a:gd name="T11" fmla="*/ 0 h 38"/>
                  <a:gd name="T12" fmla="*/ 27 w 34"/>
                  <a:gd name="T13" fmla="*/ 11 h 38"/>
                  <a:gd name="T14" fmla="*/ 29 w 34"/>
                  <a:gd name="T15" fmla="*/ 16 h 38"/>
                  <a:gd name="T16" fmla="*/ 31 w 34"/>
                  <a:gd name="T17" fmla="*/ 16 h 38"/>
                  <a:gd name="T18" fmla="*/ 31 w 34"/>
                  <a:gd name="T19" fmla="*/ 11 h 38"/>
                  <a:gd name="T20" fmla="*/ 34 w 34"/>
                  <a:gd name="T21" fmla="*/ 20 h 38"/>
                  <a:gd name="T22" fmla="*/ 34 w 34"/>
                  <a:gd name="T23" fmla="*/ 24 h 38"/>
                  <a:gd name="T24" fmla="*/ 33 w 34"/>
                  <a:gd name="T25" fmla="*/ 20 h 38"/>
                  <a:gd name="T26" fmla="*/ 22 w 34"/>
                  <a:gd name="T27" fmla="*/ 31 h 38"/>
                  <a:gd name="T28" fmla="*/ 18 w 34"/>
                  <a:gd name="T29" fmla="*/ 34 h 38"/>
                  <a:gd name="T30" fmla="*/ 16 w 34"/>
                  <a:gd name="T31" fmla="*/ 34 h 38"/>
                  <a:gd name="T32" fmla="*/ 13 w 34"/>
                  <a:gd name="T33" fmla="*/ 36 h 38"/>
                  <a:gd name="T34" fmla="*/ 11 w 34"/>
                  <a:gd name="T35" fmla="*/ 38 h 38"/>
                  <a:gd name="T36" fmla="*/ 9 w 34"/>
                  <a:gd name="T37" fmla="*/ 34 h 38"/>
                  <a:gd name="T38" fmla="*/ 8 w 34"/>
                  <a:gd name="T39" fmla="*/ 38 h 38"/>
                  <a:gd name="T40" fmla="*/ 6 w 34"/>
                  <a:gd name="T41" fmla="*/ 34 h 38"/>
                  <a:gd name="T42" fmla="*/ 4 w 34"/>
                  <a:gd name="T43" fmla="*/ 31 h 38"/>
                  <a:gd name="T44" fmla="*/ 2 w 34"/>
                  <a:gd name="T45" fmla="*/ 31 h 38"/>
                  <a:gd name="T46" fmla="*/ 2 w 34"/>
                  <a:gd name="T47" fmla="*/ 34 h 38"/>
                  <a:gd name="T48" fmla="*/ 2 w 34"/>
                  <a:gd name="T49" fmla="*/ 38 h 38"/>
                  <a:gd name="T50" fmla="*/ 0 w 34"/>
                  <a:gd name="T51" fmla="*/ 31 h 38"/>
                  <a:gd name="T52" fmla="*/ 0 w 34"/>
                  <a:gd name="T53" fmla="*/ 16 h 38"/>
                  <a:gd name="T54" fmla="*/ 8 w 34"/>
                  <a:gd name="T5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38">
                    <a:moveTo>
                      <a:pt x="8" y="4"/>
                    </a:moveTo>
                    <a:lnTo>
                      <a:pt x="9" y="2"/>
                    </a:lnTo>
                    <a:lnTo>
                      <a:pt x="9" y="2"/>
                    </a:lnTo>
                    <a:lnTo>
                      <a:pt x="11" y="2"/>
                    </a:lnTo>
                    <a:lnTo>
                      <a:pt x="15" y="0"/>
                    </a:lnTo>
                    <a:lnTo>
                      <a:pt x="16" y="0"/>
                    </a:lnTo>
                    <a:lnTo>
                      <a:pt x="27" y="11"/>
                    </a:lnTo>
                    <a:lnTo>
                      <a:pt x="29" y="16"/>
                    </a:lnTo>
                    <a:lnTo>
                      <a:pt x="31" y="16"/>
                    </a:lnTo>
                    <a:lnTo>
                      <a:pt x="31" y="11"/>
                    </a:lnTo>
                    <a:lnTo>
                      <a:pt x="34" y="20"/>
                    </a:lnTo>
                    <a:lnTo>
                      <a:pt x="34" y="24"/>
                    </a:lnTo>
                    <a:lnTo>
                      <a:pt x="33" y="20"/>
                    </a:lnTo>
                    <a:lnTo>
                      <a:pt x="22" y="31"/>
                    </a:lnTo>
                    <a:lnTo>
                      <a:pt x="18" y="34"/>
                    </a:lnTo>
                    <a:lnTo>
                      <a:pt x="16" y="34"/>
                    </a:lnTo>
                    <a:lnTo>
                      <a:pt x="13" y="36"/>
                    </a:lnTo>
                    <a:lnTo>
                      <a:pt x="11" y="38"/>
                    </a:lnTo>
                    <a:lnTo>
                      <a:pt x="9" y="34"/>
                    </a:lnTo>
                    <a:lnTo>
                      <a:pt x="8" y="38"/>
                    </a:lnTo>
                    <a:lnTo>
                      <a:pt x="6" y="34"/>
                    </a:lnTo>
                    <a:lnTo>
                      <a:pt x="4" y="31"/>
                    </a:lnTo>
                    <a:lnTo>
                      <a:pt x="2" y="31"/>
                    </a:lnTo>
                    <a:lnTo>
                      <a:pt x="2" y="34"/>
                    </a:lnTo>
                    <a:lnTo>
                      <a:pt x="2" y="38"/>
                    </a:lnTo>
                    <a:lnTo>
                      <a:pt x="0" y="31"/>
                    </a:lnTo>
                    <a:lnTo>
                      <a:pt x="0" y="16"/>
                    </a:lnTo>
                    <a:lnTo>
                      <a:pt x="8"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06" name="Freeform 2055"/>
              <p:cNvSpPr>
                <a:spLocks/>
              </p:cNvSpPr>
              <p:nvPr/>
            </p:nvSpPr>
            <p:spPr bwMode="auto">
              <a:xfrm>
                <a:off x="3467" y="1150"/>
                <a:ext cx="34" cy="38"/>
              </a:xfrm>
              <a:custGeom>
                <a:avLst/>
                <a:gdLst>
                  <a:gd name="T0" fmla="*/ 8 w 34"/>
                  <a:gd name="T1" fmla="*/ 4 h 38"/>
                  <a:gd name="T2" fmla="*/ 9 w 34"/>
                  <a:gd name="T3" fmla="*/ 2 h 38"/>
                  <a:gd name="T4" fmla="*/ 9 w 34"/>
                  <a:gd name="T5" fmla="*/ 2 h 38"/>
                  <a:gd name="T6" fmla="*/ 11 w 34"/>
                  <a:gd name="T7" fmla="*/ 2 h 38"/>
                  <a:gd name="T8" fmla="*/ 15 w 34"/>
                  <a:gd name="T9" fmla="*/ 0 h 38"/>
                  <a:gd name="T10" fmla="*/ 16 w 34"/>
                  <a:gd name="T11" fmla="*/ 0 h 38"/>
                  <a:gd name="T12" fmla="*/ 27 w 34"/>
                  <a:gd name="T13" fmla="*/ 11 h 38"/>
                  <a:gd name="T14" fmla="*/ 29 w 34"/>
                  <a:gd name="T15" fmla="*/ 16 h 38"/>
                  <a:gd name="T16" fmla="*/ 31 w 34"/>
                  <a:gd name="T17" fmla="*/ 16 h 38"/>
                  <a:gd name="T18" fmla="*/ 31 w 34"/>
                  <a:gd name="T19" fmla="*/ 11 h 38"/>
                  <a:gd name="T20" fmla="*/ 34 w 34"/>
                  <a:gd name="T21" fmla="*/ 20 h 38"/>
                  <a:gd name="T22" fmla="*/ 34 w 34"/>
                  <a:gd name="T23" fmla="*/ 24 h 38"/>
                  <a:gd name="T24" fmla="*/ 33 w 34"/>
                  <a:gd name="T25" fmla="*/ 20 h 38"/>
                  <a:gd name="T26" fmla="*/ 22 w 34"/>
                  <a:gd name="T27" fmla="*/ 31 h 38"/>
                  <a:gd name="T28" fmla="*/ 18 w 34"/>
                  <a:gd name="T29" fmla="*/ 34 h 38"/>
                  <a:gd name="T30" fmla="*/ 16 w 34"/>
                  <a:gd name="T31" fmla="*/ 34 h 38"/>
                  <a:gd name="T32" fmla="*/ 13 w 34"/>
                  <a:gd name="T33" fmla="*/ 36 h 38"/>
                  <a:gd name="T34" fmla="*/ 11 w 34"/>
                  <a:gd name="T35" fmla="*/ 38 h 38"/>
                  <a:gd name="T36" fmla="*/ 9 w 34"/>
                  <a:gd name="T37" fmla="*/ 34 h 38"/>
                  <a:gd name="T38" fmla="*/ 8 w 34"/>
                  <a:gd name="T39" fmla="*/ 38 h 38"/>
                  <a:gd name="T40" fmla="*/ 6 w 34"/>
                  <a:gd name="T41" fmla="*/ 34 h 38"/>
                  <a:gd name="T42" fmla="*/ 4 w 34"/>
                  <a:gd name="T43" fmla="*/ 31 h 38"/>
                  <a:gd name="T44" fmla="*/ 2 w 34"/>
                  <a:gd name="T45" fmla="*/ 31 h 38"/>
                  <a:gd name="T46" fmla="*/ 2 w 34"/>
                  <a:gd name="T47" fmla="*/ 34 h 38"/>
                  <a:gd name="T48" fmla="*/ 2 w 34"/>
                  <a:gd name="T49" fmla="*/ 38 h 38"/>
                  <a:gd name="T50" fmla="*/ 0 w 34"/>
                  <a:gd name="T51" fmla="*/ 31 h 38"/>
                  <a:gd name="T52" fmla="*/ 0 w 34"/>
                  <a:gd name="T53" fmla="*/ 16 h 38"/>
                  <a:gd name="T54" fmla="*/ 8 w 34"/>
                  <a:gd name="T55"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 h="38">
                    <a:moveTo>
                      <a:pt x="8" y="4"/>
                    </a:moveTo>
                    <a:lnTo>
                      <a:pt x="9" y="2"/>
                    </a:lnTo>
                    <a:lnTo>
                      <a:pt x="9" y="2"/>
                    </a:lnTo>
                    <a:lnTo>
                      <a:pt x="11" y="2"/>
                    </a:lnTo>
                    <a:lnTo>
                      <a:pt x="15" y="0"/>
                    </a:lnTo>
                    <a:lnTo>
                      <a:pt x="16" y="0"/>
                    </a:lnTo>
                    <a:lnTo>
                      <a:pt x="27" y="11"/>
                    </a:lnTo>
                    <a:lnTo>
                      <a:pt x="29" y="16"/>
                    </a:lnTo>
                    <a:lnTo>
                      <a:pt x="31" y="16"/>
                    </a:lnTo>
                    <a:lnTo>
                      <a:pt x="31" y="11"/>
                    </a:lnTo>
                    <a:lnTo>
                      <a:pt x="34" y="20"/>
                    </a:lnTo>
                    <a:lnTo>
                      <a:pt x="34" y="24"/>
                    </a:lnTo>
                    <a:lnTo>
                      <a:pt x="33" y="20"/>
                    </a:lnTo>
                    <a:lnTo>
                      <a:pt x="22" y="31"/>
                    </a:lnTo>
                    <a:lnTo>
                      <a:pt x="18" y="34"/>
                    </a:lnTo>
                    <a:lnTo>
                      <a:pt x="16" y="34"/>
                    </a:lnTo>
                    <a:lnTo>
                      <a:pt x="13" y="36"/>
                    </a:lnTo>
                    <a:lnTo>
                      <a:pt x="11" y="38"/>
                    </a:lnTo>
                    <a:lnTo>
                      <a:pt x="9" y="34"/>
                    </a:lnTo>
                    <a:lnTo>
                      <a:pt x="8" y="38"/>
                    </a:lnTo>
                    <a:lnTo>
                      <a:pt x="6" y="34"/>
                    </a:lnTo>
                    <a:lnTo>
                      <a:pt x="4" y="31"/>
                    </a:lnTo>
                    <a:lnTo>
                      <a:pt x="2" y="31"/>
                    </a:lnTo>
                    <a:lnTo>
                      <a:pt x="2" y="34"/>
                    </a:lnTo>
                    <a:lnTo>
                      <a:pt x="2" y="38"/>
                    </a:lnTo>
                    <a:lnTo>
                      <a:pt x="0" y="31"/>
                    </a:lnTo>
                    <a:lnTo>
                      <a:pt x="0" y="16"/>
                    </a:lnTo>
                    <a:lnTo>
                      <a:pt x="8"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07" name="Freeform 2056"/>
              <p:cNvSpPr>
                <a:spLocks/>
              </p:cNvSpPr>
              <p:nvPr/>
            </p:nvSpPr>
            <p:spPr bwMode="auto">
              <a:xfrm>
                <a:off x="3633" y="1107"/>
                <a:ext cx="33" cy="36"/>
              </a:xfrm>
              <a:custGeom>
                <a:avLst/>
                <a:gdLst>
                  <a:gd name="T0" fmla="*/ 4 w 33"/>
                  <a:gd name="T1" fmla="*/ 22 h 36"/>
                  <a:gd name="T2" fmla="*/ 4 w 33"/>
                  <a:gd name="T3" fmla="*/ 22 h 36"/>
                  <a:gd name="T4" fmla="*/ 2 w 33"/>
                  <a:gd name="T5" fmla="*/ 17 h 36"/>
                  <a:gd name="T6" fmla="*/ 2 w 33"/>
                  <a:gd name="T7" fmla="*/ 15 h 36"/>
                  <a:gd name="T8" fmla="*/ 0 w 33"/>
                  <a:gd name="T9" fmla="*/ 13 h 36"/>
                  <a:gd name="T10" fmla="*/ 0 w 33"/>
                  <a:gd name="T11" fmla="*/ 11 h 36"/>
                  <a:gd name="T12" fmla="*/ 2 w 33"/>
                  <a:gd name="T13" fmla="*/ 11 h 36"/>
                  <a:gd name="T14" fmla="*/ 6 w 33"/>
                  <a:gd name="T15" fmla="*/ 11 h 36"/>
                  <a:gd name="T16" fmla="*/ 0 w 33"/>
                  <a:gd name="T17" fmla="*/ 8 h 36"/>
                  <a:gd name="T18" fmla="*/ 2 w 33"/>
                  <a:gd name="T19" fmla="*/ 8 h 36"/>
                  <a:gd name="T20" fmla="*/ 6 w 33"/>
                  <a:gd name="T21" fmla="*/ 0 h 36"/>
                  <a:gd name="T22" fmla="*/ 8 w 33"/>
                  <a:gd name="T23" fmla="*/ 0 h 36"/>
                  <a:gd name="T24" fmla="*/ 9 w 33"/>
                  <a:gd name="T25" fmla="*/ 6 h 36"/>
                  <a:gd name="T26" fmla="*/ 13 w 33"/>
                  <a:gd name="T27" fmla="*/ 8 h 36"/>
                  <a:gd name="T28" fmla="*/ 15 w 33"/>
                  <a:gd name="T29" fmla="*/ 11 h 36"/>
                  <a:gd name="T30" fmla="*/ 20 w 33"/>
                  <a:gd name="T31" fmla="*/ 13 h 36"/>
                  <a:gd name="T32" fmla="*/ 31 w 33"/>
                  <a:gd name="T33" fmla="*/ 29 h 36"/>
                  <a:gd name="T34" fmla="*/ 33 w 33"/>
                  <a:gd name="T35" fmla="*/ 33 h 36"/>
                  <a:gd name="T36" fmla="*/ 29 w 33"/>
                  <a:gd name="T37" fmla="*/ 36 h 36"/>
                  <a:gd name="T38" fmla="*/ 27 w 33"/>
                  <a:gd name="T39" fmla="*/ 34 h 36"/>
                  <a:gd name="T40" fmla="*/ 25 w 33"/>
                  <a:gd name="T41" fmla="*/ 34 h 36"/>
                  <a:gd name="T42" fmla="*/ 24 w 33"/>
                  <a:gd name="T43" fmla="*/ 36 h 36"/>
                  <a:gd name="T44" fmla="*/ 22 w 33"/>
                  <a:gd name="T45" fmla="*/ 36 h 36"/>
                  <a:gd name="T46" fmla="*/ 17 w 33"/>
                  <a:gd name="T47" fmla="*/ 33 h 36"/>
                  <a:gd name="T48" fmla="*/ 18 w 33"/>
                  <a:gd name="T49" fmla="*/ 31 h 36"/>
                  <a:gd name="T50" fmla="*/ 15 w 33"/>
                  <a:gd name="T51" fmla="*/ 27 h 36"/>
                  <a:gd name="T52" fmla="*/ 13 w 33"/>
                  <a:gd name="T53" fmla="*/ 27 h 36"/>
                  <a:gd name="T54" fmla="*/ 8 w 33"/>
                  <a:gd name="T55" fmla="*/ 24 h 36"/>
                  <a:gd name="T56" fmla="*/ 11 w 33"/>
                  <a:gd name="T57" fmla="*/ 31 h 36"/>
                  <a:gd name="T58" fmla="*/ 11 w 33"/>
                  <a:gd name="T59" fmla="*/ 33 h 36"/>
                  <a:gd name="T60" fmla="*/ 4 w 33"/>
                  <a:gd name="T61"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 h="36">
                    <a:moveTo>
                      <a:pt x="4" y="22"/>
                    </a:moveTo>
                    <a:lnTo>
                      <a:pt x="4" y="22"/>
                    </a:lnTo>
                    <a:lnTo>
                      <a:pt x="2" y="17"/>
                    </a:lnTo>
                    <a:lnTo>
                      <a:pt x="2" y="15"/>
                    </a:lnTo>
                    <a:lnTo>
                      <a:pt x="0" y="13"/>
                    </a:lnTo>
                    <a:lnTo>
                      <a:pt x="0" y="11"/>
                    </a:lnTo>
                    <a:lnTo>
                      <a:pt x="2" y="11"/>
                    </a:lnTo>
                    <a:lnTo>
                      <a:pt x="6" y="11"/>
                    </a:lnTo>
                    <a:lnTo>
                      <a:pt x="0" y="8"/>
                    </a:lnTo>
                    <a:lnTo>
                      <a:pt x="2" y="8"/>
                    </a:lnTo>
                    <a:lnTo>
                      <a:pt x="6" y="0"/>
                    </a:lnTo>
                    <a:lnTo>
                      <a:pt x="8" y="0"/>
                    </a:lnTo>
                    <a:lnTo>
                      <a:pt x="9" y="6"/>
                    </a:lnTo>
                    <a:lnTo>
                      <a:pt x="13" y="8"/>
                    </a:lnTo>
                    <a:lnTo>
                      <a:pt x="15" y="11"/>
                    </a:lnTo>
                    <a:lnTo>
                      <a:pt x="20" y="13"/>
                    </a:lnTo>
                    <a:lnTo>
                      <a:pt x="31" y="29"/>
                    </a:lnTo>
                    <a:lnTo>
                      <a:pt x="33" y="33"/>
                    </a:lnTo>
                    <a:lnTo>
                      <a:pt x="29" y="36"/>
                    </a:lnTo>
                    <a:lnTo>
                      <a:pt x="27" y="34"/>
                    </a:lnTo>
                    <a:lnTo>
                      <a:pt x="25" y="34"/>
                    </a:lnTo>
                    <a:lnTo>
                      <a:pt x="24" y="36"/>
                    </a:lnTo>
                    <a:lnTo>
                      <a:pt x="22" y="36"/>
                    </a:lnTo>
                    <a:lnTo>
                      <a:pt x="17" y="33"/>
                    </a:lnTo>
                    <a:lnTo>
                      <a:pt x="18" y="31"/>
                    </a:lnTo>
                    <a:lnTo>
                      <a:pt x="15" y="27"/>
                    </a:lnTo>
                    <a:lnTo>
                      <a:pt x="13" y="27"/>
                    </a:lnTo>
                    <a:lnTo>
                      <a:pt x="8" y="24"/>
                    </a:lnTo>
                    <a:lnTo>
                      <a:pt x="11" y="31"/>
                    </a:lnTo>
                    <a:lnTo>
                      <a:pt x="11" y="33"/>
                    </a:lnTo>
                    <a:lnTo>
                      <a:pt x="4" y="2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08" name="Freeform 2057"/>
              <p:cNvSpPr>
                <a:spLocks/>
              </p:cNvSpPr>
              <p:nvPr/>
            </p:nvSpPr>
            <p:spPr bwMode="auto">
              <a:xfrm>
                <a:off x="3633" y="1107"/>
                <a:ext cx="33" cy="36"/>
              </a:xfrm>
              <a:custGeom>
                <a:avLst/>
                <a:gdLst>
                  <a:gd name="T0" fmla="*/ 4 w 33"/>
                  <a:gd name="T1" fmla="*/ 22 h 36"/>
                  <a:gd name="T2" fmla="*/ 4 w 33"/>
                  <a:gd name="T3" fmla="*/ 22 h 36"/>
                  <a:gd name="T4" fmla="*/ 2 w 33"/>
                  <a:gd name="T5" fmla="*/ 17 h 36"/>
                  <a:gd name="T6" fmla="*/ 2 w 33"/>
                  <a:gd name="T7" fmla="*/ 15 h 36"/>
                  <a:gd name="T8" fmla="*/ 0 w 33"/>
                  <a:gd name="T9" fmla="*/ 13 h 36"/>
                  <a:gd name="T10" fmla="*/ 0 w 33"/>
                  <a:gd name="T11" fmla="*/ 11 h 36"/>
                  <a:gd name="T12" fmla="*/ 2 w 33"/>
                  <a:gd name="T13" fmla="*/ 11 h 36"/>
                  <a:gd name="T14" fmla="*/ 6 w 33"/>
                  <a:gd name="T15" fmla="*/ 11 h 36"/>
                  <a:gd name="T16" fmla="*/ 0 w 33"/>
                  <a:gd name="T17" fmla="*/ 8 h 36"/>
                  <a:gd name="T18" fmla="*/ 2 w 33"/>
                  <a:gd name="T19" fmla="*/ 8 h 36"/>
                  <a:gd name="T20" fmla="*/ 6 w 33"/>
                  <a:gd name="T21" fmla="*/ 0 h 36"/>
                  <a:gd name="T22" fmla="*/ 8 w 33"/>
                  <a:gd name="T23" fmla="*/ 0 h 36"/>
                  <a:gd name="T24" fmla="*/ 9 w 33"/>
                  <a:gd name="T25" fmla="*/ 6 h 36"/>
                  <a:gd name="T26" fmla="*/ 13 w 33"/>
                  <a:gd name="T27" fmla="*/ 8 h 36"/>
                  <a:gd name="T28" fmla="*/ 15 w 33"/>
                  <a:gd name="T29" fmla="*/ 11 h 36"/>
                  <a:gd name="T30" fmla="*/ 20 w 33"/>
                  <a:gd name="T31" fmla="*/ 13 h 36"/>
                  <a:gd name="T32" fmla="*/ 31 w 33"/>
                  <a:gd name="T33" fmla="*/ 29 h 36"/>
                  <a:gd name="T34" fmla="*/ 33 w 33"/>
                  <a:gd name="T35" fmla="*/ 33 h 36"/>
                  <a:gd name="T36" fmla="*/ 29 w 33"/>
                  <a:gd name="T37" fmla="*/ 36 h 36"/>
                  <a:gd name="T38" fmla="*/ 27 w 33"/>
                  <a:gd name="T39" fmla="*/ 34 h 36"/>
                  <a:gd name="T40" fmla="*/ 25 w 33"/>
                  <a:gd name="T41" fmla="*/ 34 h 36"/>
                  <a:gd name="T42" fmla="*/ 24 w 33"/>
                  <a:gd name="T43" fmla="*/ 36 h 36"/>
                  <a:gd name="T44" fmla="*/ 22 w 33"/>
                  <a:gd name="T45" fmla="*/ 36 h 36"/>
                  <a:gd name="T46" fmla="*/ 17 w 33"/>
                  <a:gd name="T47" fmla="*/ 33 h 36"/>
                  <a:gd name="T48" fmla="*/ 18 w 33"/>
                  <a:gd name="T49" fmla="*/ 31 h 36"/>
                  <a:gd name="T50" fmla="*/ 15 w 33"/>
                  <a:gd name="T51" fmla="*/ 27 h 36"/>
                  <a:gd name="T52" fmla="*/ 13 w 33"/>
                  <a:gd name="T53" fmla="*/ 27 h 36"/>
                  <a:gd name="T54" fmla="*/ 8 w 33"/>
                  <a:gd name="T55" fmla="*/ 24 h 36"/>
                  <a:gd name="T56" fmla="*/ 11 w 33"/>
                  <a:gd name="T57" fmla="*/ 31 h 36"/>
                  <a:gd name="T58" fmla="*/ 11 w 33"/>
                  <a:gd name="T59" fmla="*/ 33 h 36"/>
                  <a:gd name="T60" fmla="*/ 4 w 33"/>
                  <a:gd name="T61"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 h="36">
                    <a:moveTo>
                      <a:pt x="4" y="22"/>
                    </a:moveTo>
                    <a:lnTo>
                      <a:pt x="4" y="22"/>
                    </a:lnTo>
                    <a:lnTo>
                      <a:pt x="2" y="17"/>
                    </a:lnTo>
                    <a:lnTo>
                      <a:pt x="2" y="15"/>
                    </a:lnTo>
                    <a:lnTo>
                      <a:pt x="0" y="13"/>
                    </a:lnTo>
                    <a:lnTo>
                      <a:pt x="0" y="11"/>
                    </a:lnTo>
                    <a:lnTo>
                      <a:pt x="2" y="11"/>
                    </a:lnTo>
                    <a:lnTo>
                      <a:pt x="6" y="11"/>
                    </a:lnTo>
                    <a:lnTo>
                      <a:pt x="0" y="8"/>
                    </a:lnTo>
                    <a:lnTo>
                      <a:pt x="2" y="8"/>
                    </a:lnTo>
                    <a:lnTo>
                      <a:pt x="6" y="0"/>
                    </a:lnTo>
                    <a:lnTo>
                      <a:pt x="8" y="0"/>
                    </a:lnTo>
                    <a:lnTo>
                      <a:pt x="9" y="6"/>
                    </a:lnTo>
                    <a:lnTo>
                      <a:pt x="13" y="8"/>
                    </a:lnTo>
                    <a:lnTo>
                      <a:pt x="15" y="11"/>
                    </a:lnTo>
                    <a:lnTo>
                      <a:pt x="20" y="13"/>
                    </a:lnTo>
                    <a:lnTo>
                      <a:pt x="31" y="29"/>
                    </a:lnTo>
                    <a:lnTo>
                      <a:pt x="33" y="33"/>
                    </a:lnTo>
                    <a:lnTo>
                      <a:pt x="29" y="36"/>
                    </a:lnTo>
                    <a:lnTo>
                      <a:pt x="27" y="34"/>
                    </a:lnTo>
                    <a:lnTo>
                      <a:pt x="25" y="34"/>
                    </a:lnTo>
                    <a:lnTo>
                      <a:pt x="24" y="36"/>
                    </a:lnTo>
                    <a:lnTo>
                      <a:pt x="22" y="36"/>
                    </a:lnTo>
                    <a:lnTo>
                      <a:pt x="17" y="33"/>
                    </a:lnTo>
                    <a:lnTo>
                      <a:pt x="18" y="31"/>
                    </a:lnTo>
                    <a:lnTo>
                      <a:pt x="15" y="27"/>
                    </a:lnTo>
                    <a:lnTo>
                      <a:pt x="13" y="27"/>
                    </a:lnTo>
                    <a:lnTo>
                      <a:pt x="8" y="24"/>
                    </a:lnTo>
                    <a:lnTo>
                      <a:pt x="11" y="31"/>
                    </a:lnTo>
                    <a:lnTo>
                      <a:pt x="11" y="33"/>
                    </a:lnTo>
                    <a:lnTo>
                      <a:pt x="4" y="2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09" name="Freeform 2058"/>
              <p:cNvSpPr>
                <a:spLocks/>
              </p:cNvSpPr>
              <p:nvPr/>
            </p:nvSpPr>
            <p:spPr bwMode="auto">
              <a:xfrm>
                <a:off x="3819" y="950"/>
                <a:ext cx="23" cy="25"/>
              </a:xfrm>
              <a:custGeom>
                <a:avLst/>
                <a:gdLst>
                  <a:gd name="T0" fmla="*/ 0 w 23"/>
                  <a:gd name="T1" fmla="*/ 25 h 25"/>
                  <a:gd name="T2" fmla="*/ 0 w 23"/>
                  <a:gd name="T3" fmla="*/ 25 h 25"/>
                  <a:gd name="T4" fmla="*/ 2 w 23"/>
                  <a:gd name="T5" fmla="*/ 18 h 25"/>
                  <a:gd name="T6" fmla="*/ 0 w 23"/>
                  <a:gd name="T7" fmla="*/ 11 h 25"/>
                  <a:gd name="T8" fmla="*/ 6 w 23"/>
                  <a:gd name="T9" fmla="*/ 2 h 25"/>
                  <a:gd name="T10" fmla="*/ 9 w 23"/>
                  <a:gd name="T11" fmla="*/ 0 h 25"/>
                  <a:gd name="T12" fmla="*/ 14 w 23"/>
                  <a:gd name="T13" fmla="*/ 2 h 25"/>
                  <a:gd name="T14" fmla="*/ 16 w 23"/>
                  <a:gd name="T15" fmla="*/ 6 h 25"/>
                  <a:gd name="T16" fmla="*/ 14 w 23"/>
                  <a:gd name="T17" fmla="*/ 13 h 25"/>
                  <a:gd name="T18" fmla="*/ 22 w 23"/>
                  <a:gd name="T19" fmla="*/ 13 h 25"/>
                  <a:gd name="T20" fmla="*/ 23 w 23"/>
                  <a:gd name="T21" fmla="*/ 16 h 25"/>
                  <a:gd name="T22" fmla="*/ 18 w 23"/>
                  <a:gd name="T23" fmla="*/ 18 h 25"/>
                  <a:gd name="T24" fmla="*/ 16 w 23"/>
                  <a:gd name="T25" fmla="*/ 22 h 25"/>
                  <a:gd name="T26" fmla="*/ 11 w 23"/>
                  <a:gd name="T27" fmla="*/ 20 h 25"/>
                  <a:gd name="T28" fmla="*/ 6 w 23"/>
                  <a:gd name="T29" fmla="*/ 24 h 25"/>
                  <a:gd name="T30" fmla="*/ 4 w 23"/>
                  <a:gd name="T31" fmla="*/ 20 h 25"/>
                  <a:gd name="T32" fmla="*/ 2 w 23"/>
                  <a:gd name="T33" fmla="*/ 25 h 25"/>
                  <a:gd name="T34" fmla="*/ 0 w 23"/>
                  <a:gd name="T3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5">
                    <a:moveTo>
                      <a:pt x="0" y="25"/>
                    </a:moveTo>
                    <a:lnTo>
                      <a:pt x="0" y="25"/>
                    </a:lnTo>
                    <a:lnTo>
                      <a:pt x="2" y="18"/>
                    </a:lnTo>
                    <a:lnTo>
                      <a:pt x="0" y="11"/>
                    </a:lnTo>
                    <a:lnTo>
                      <a:pt x="6" y="2"/>
                    </a:lnTo>
                    <a:lnTo>
                      <a:pt x="9" y="0"/>
                    </a:lnTo>
                    <a:lnTo>
                      <a:pt x="14" y="2"/>
                    </a:lnTo>
                    <a:lnTo>
                      <a:pt x="16" y="6"/>
                    </a:lnTo>
                    <a:lnTo>
                      <a:pt x="14" y="13"/>
                    </a:lnTo>
                    <a:lnTo>
                      <a:pt x="22" y="13"/>
                    </a:lnTo>
                    <a:lnTo>
                      <a:pt x="23" y="16"/>
                    </a:lnTo>
                    <a:lnTo>
                      <a:pt x="18" y="18"/>
                    </a:lnTo>
                    <a:lnTo>
                      <a:pt x="16" y="22"/>
                    </a:lnTo>
                    <a:lnTo>
                      <a:pt x="11" y="20"/>
                    </a:lnTo>
                    <a:lnTo>
                      <a:pt x="6" y="24"/>
                    </a:lnTo>
                    <a:lnTo>
                      <a:pt x="4" y="20"/>
                    </a:lnTo>
                    <a:lnTo>
                      <a:pt x="2" y="25"/>
                    </a:lnTo>
                    <a:lnTo>
                      <a:pt x="0" y="2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10" name="Freeform 2059"/>
              <p:cNvSpPr>
                <a:spLocks/>
              </p:cNvSpPr>
              <p:nvPr/>
            </p:nvSpPr>
            <p:spPr bwMode="auto">
              <a:xfrm>
                <a:off x="3819" y="950"/>
                <a:ext cx="23" cy="25"/>
              </a:xfrm>
              <a:custGeom>
                <a:avLst/>
                <a:gdLst>
                  <a:gd name="T0" fmla="*/ 0 w 23"/>
                  <a:gd name="T1" fmla="*/ 25 h 25"/>
                  <a:gd name="T2" fmla="*/ 0 w 23"/>
                  <a:gd name="T3" fmla="*/ 25 h 25"/>
                  <a:gd name="T4" fmla="*/ 2 w 23"/>
                  <a:gd name="T5" fmla="*/ 18 h 25"/>
                  <a:gd name="T6" fmla="*/ 0 w 23"/>
                  <a:gd name="T7" fmla="*/ 11 h 25"/>
                  <a:gd name="T8" fmla="*/ 6 w 23"/>
                  <a:gd name="T9" fmla="*/ 2 h 25"/>
                  <a:gd name="T10" fmla="*/ 9 w 23"/>
                  <a:gd name="T11" fmla="*/ 0 h 25"/>
                  <a:gd name="T12" fmla="*/ 14 w 23"/>
                  <a:gd name="T13" fmla="*/ 2 h 25"/>
                  <a:gd name="T14" fmla="*/ 16 w 23"/>
                  <a:gd name="T15" fmla="*/ 6 h 25"/>
                  <a:gd name="T16" fmla="*/ 14 w 23"/>
                  <a:gd name="T17" fmla="*/ 13 h 25"/>
                  <a:gd name="T18" fmla="*/ 22 w 23"/>
                  <a:gd name="T19" fmla="*/ 13 h 25"/>
                  <a:gd name="T20" fmla="*/ 23 w 23"/>
                  <a:gd name="T21" fmla="*/ 16 h 25"/>
                  <a:gd name="T22" fmla="*/ 18 w 23"/>
                  <a:gd name="T23" fmla="*/ 18 h 25"/>
                  <a:gd name="T24" fmla="*/ 16 w 23"/>
                  <a:gd name="T25" fmla="*/ 22 h 25"/>
                  <a:gd name="T26" fmla="*/ 11 w 23"/>
                  <a:gd name="T27" fmla="*/ 20 h 25"/>
                  <a:gd name="T28" fmla="*/ 6 w 23"/>
                  <a:gd name="T29" fmla="*/ 24 h 25"/>
                  <a:gd name="T30" fmla="*/ 4 w 23"/>
                  <a:gd name="T31" fmla="*/ 20 h 25"/>
                  <a:gd name="T32" fmla="*/ 2 w 23"/>
                  <a:gd name="T33" fmla="*/ 25 h 25"/>
                  <a:gd name="T34" fmla="*/ 0 w 23"/>
                  <a:gd name="T35"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 h="25">
                    <a:moveTo>
                      <a:pt x="0" y="25"/>
                    </a:moveTo>
                    <a:lnTo>
                      <a:pt x="0" y="25"/>
                    </a:lnTo>
                    <a:lnTo>
                      <a:pt x="2" y="18"/>
                    </a:lnTo>
                    <a:lnTo>
                      <a:pt x="0" y="11"/>
                    </a:lnTo>
                    <a:lnTo>
                      <a:pt x="6" y="2"/>
                    </a:lnTo>
                    <a:lnTo>
                      <a:pt x="9" y="0"/>
                    </a:lnTo>
                    <a:lnTo>
                      <a:pt x="14" y="2"/>
                    </a:lnTo>
                    <a:lnTo>
                      <a:pt x="16" y="6"/>
                    </a:lnTo>
                    <a:lnTo>
                      <a:pt x="14" y="13"/>
                    </a:lnTo>
                    <a:lnTo>
                      <a:pt x="22" y="13"/>
                    </a:lnTo>
                    <a:lnTo>
                      <a:pt x="23" y="16"/>
                    </a:lnTo>
                    <a:lnTo>
                      <a:pt x="18" y="18"/>
                    </a:lnTo>
                    <a:lnTo>
                      <a:pt x="16" y="22"/>
                    </a:lnTo>
                    <a:lnTo>
                      <a:pt x="11" y="20"/>
                    </a:lnTo>
                    <a:lnTo>
                      <a:pt x="6" y="24"/>
                    </a:lnTo>
                    <a:lnTo>
                      <a:pt x="4" y="20"/>
                    </a:lnTo>
                    <a:lnTo>
                      <a:pt x="2" y="25"/>
                    </a:lnTo>
                    <a:lnTo>
                      <a:pt x="0" y="2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11" name="Freeform 2060"/>
              <p:cNvSpPr>
                <a:spLocks/>
              </p:cNvSpPr>
              <p:nvPr/>
            </p:nvSpPr>
            <p:spPr bwMode="auto">
              <a:xfrm>
                <a:off x="3883" y="972"/>
                <a:ext cx="11" cy="12"/>
              </a:xfrm>
              <a:custGeom>
                <a:avLst/>
                <a:gdLst>
                  <a:gd name="T0" fmla="*/ 0 w 11"/>
                  <a:gd name="T1" fmla="*/ 3 h 12"/>
                  <a:gd name="T2" fmla="*/ 0 w 11"/>
                  <a:gd name="T3" fmla="*/ 0 h 12"/>
                  <a:gd name="T4" fmla="*/ 4 w 11"/>
                  <a:gd name="T5" fmla="*/ 0 h 12"/>
                  <a:gd name="T6" fmla="*/ 11 w 11"/>
                  <a:gd name="T7" fmla="*/ 2 h 12"/>
                  <a:gd name="T8" fmla="*/ 11 w 11"/>
                  <a:gd name="T9" fmla="*/ 3 h 12"/>
                  <a:gd name="T10" fmla="*/ 9 w 11"/>
                  <a:gd name="T11" fmla="*/ 3 h 12"/>
                  <a:gd name="T12" fmla="*/ 8 w 11"/>
                  <a:gd name="T13" fmla="*/ 12 h 12"/>
                  <a:gd name="T14" fmla="*/ 0 w 11"/>
                  <a:gd name="T15" fmla="*/ 5 h 12"/>
                  <a:gd name="T16" fmla="*/ 0 w 11"/>
                  <a:gd name="T17"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2">
                    <a:moveTo>
                      <a:pt x="0" y="3"/>
                    </a:moveTo>
                    <a:lnTo>
                      <a:pt x="0" y="0"/>
                    </a:lnTo>
                    <a:lnTo>
                      <a:pt x="4" y="0"/>
                    </a:lnTo>
                    <a:lnTo>
                      <a:pt x="11" y="2"/>
                    </a:lnTo>
                    <a:lnTo>
                      <a:pt x="11" y="3"/>
                    </a:lnTo>
                    <a:lnTo>
                      <a:pt x="9" y="3"/>
                    </a:lnTo>
                    <a:lnTo>
                      <a:pt x="8" y="12"/>
                    </a:lnTo>
                    <a:lnTo>
                      <a:pt x="0" y="5"/>
                    </a:lnTo>
                    <a:lnTo>
                      <a:pt x="0"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12" name="Freeform 2061"/>
              <p:cNvSpPr>
                <a:spLocks/>
              </p:cNvSpPr>
              <p:nvPr/>
            </p:nvSpPr>
            <p:spPr bwMode="auto">
              <a:xfrm>
                <a:off x="3883" y="972"/>
                <a:ext cx="11" cy="12"/>
              </a:xfrm>
              <a:custGeom>
                <a:avLst/>
                <a:gdLst>
                  <a:gd name="T0" fmla="*/ 0 w 11"/>
                  <a:gd name="T1" fmla="*/ 3 h 12"/>
                  <a:gd name="T2" fmla="*/ 0 w 11"/>
                  <a:gd name="T3" fmla="*/ 0 h 12"/>
                  <a:gd name="T4" fmla="*/ 4 w 11"/>
                  <a:gd name="T5" fmla="*/ 0 h 12"/>
                  <a:gd name="T6" fmla="*/ 11 w 11"/>
                  <a:gd name="T7" fmla="*/ 2 h 12"/>
                  <a:gd name="T8" fmla="*/ 11 w 11"/>
                  <a:gd name="T9" fmla="*/ 3 h 12"/>
                  <a:gd name="T10" fmla="*/ 9 w 11"/>
                  <a:gd name="T11" fmla="*/ 3 h 12"/>
                  <a:gd name="T12" fmla="*/ 8 w 11"/>
                  <a:gd name="T13" fmla="*/ 12 h 12"/>
                  <a:gd name="T14" fmla="*/ 0 w 11"/>
                  <a:gd name="T15" fmla="*/ 5 h 12"/>
                  <a:gd name="T16" fmla="*/ 0 w 11"/>
                  <a:gd name="T17"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2">
                    <a:moveTo>
                      <a:pt x="0" y="3"/>
                    </a:moveTo>
                    <a:lnTo>
                      <a:pt x="0" y="0"/>
                    </a:lnTo>
                    <a:lnTo>
                      <a:pt x="4" y="0"/>
                    </a:lnTo>
                    <a:lnTo>
                      <a:pt x="11" y="2"/>
                    </a:lnTo>
                    <a:lnTo>
                      <a:pt x="11" y="3"/>
                    </a:lnTo>
                    <a:lnTo>
                      <a:pt x="9" y="3"/>
                    </a:lnTo>
                    <a:lnTo>
                      <a:pt x="8" y="12"/>
                    </a:lnTo>
                    <a:lnTo>
                      <a:pt x="0" y="5"/>
                    </a:lnTo>
                    <a:lnTo>
                      <a:pt x="0"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13" name="Freeform 2062"/>
              <p:cNvSpPr>
                <a:spLocks/>
              </p:cNvSpPr>
              <p:nvPr/>
            </p:nvSpPr>
            <p:spPr bwMode="auto">
              <a:xfrm>
                <a:off x="3955" y="974"/>
                <a:ext cx="14" cy="19"/>
              </a:xfrm>
              <a:custGeom>
                <a:avLst/>
                <a:gdLst>
                  <a:gd name="T0" fmla="*/ 9 w 14"/>
                  <a:gd name="T1" fmla="*/ 1 h 19"/>
                  <a:gd name="T2" fmla="*/ 9 w 14"/>
                  <a:gd name="T3" fmla="*/ 3 h 19"/>
                  <a:gd name="T4" fmla="*/ 12 w 14"/>
                  <a:gd name="T5" fmla="*/ 8 h 19"/>
                  <a:gd name="T6" fmla="*/ 14 w 14"/>
                  <a:gd name="T7" fmla="*/ 17 h 19"/>
                  <a:gd name="T8" fmla="*/ 12 w 14"/>
                  <a:gd name="T9" fmla="*/ 19 h 19"/>
                  <a:gd name="T10" fmla="*/ 11 w 14"/>
                  <a:gd name="T11" fmla="*/ 17 h 19"/>
                  <a:gd name="T12" fmla="*/ 5 w 14"/>
                  <a:gd name="T13" fmla="*/ 17 h 19"/>
                  <a:gd name="T14" fmla="*/ 2 w 14"/>
                  <a:gd name="T15" fmla="*/ 16 h 19"/>
                  <a:gd name="T16" fmla="*/ 0 w 14"/>
                  <a:gd name="T17" fmla="*/ 12 h 19"/>
                  <a:gd name="T18" fmla="*/ 9 w 14"/>
                  <a:gd name="T19" fmla="*/ 0 h 19"/>
                  <a:gd name="T20" fmla="*/ 11 w 14"/>
                  <a:gd name="T21" fmla="*/ 1 h 19"/>
                  <a:gd name="T22" fmla="*/ 9 w 14"/>
                  <a:gd name="T23"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9" y="1"/>
                    </a:moveTo>
                    <a:lnTo>
                      <a:pt x="9" y="3"/>
                    </a:lnTo>
                    <a:lnTo>
                      <a:pt x="12" y="8"/>
                    </a:lnTo>
                    <a:lnTo>
                      <a:pt x="14" y="17"/>
                    </a:lnTo>
                    <a:lnTo>
                      <a:pt x="12" y="19"/>
                    </a:lnTo>
                    <a:lnTo>
                      <a:pt x="11" y="17"/>
                    </a:lnTo>
                    <a:lnTo>
                      <a:pt x="5" y="17"/>
                    </a:lnTo>
                    <a:lnTo>
                      <a:pt x="2" y="16"/>
                    </a:lnTo>
                    <a:lnTo>
                      <a:pt x="0" y="12"/>
                    </a:lnTo>
                    <a:lnTo>
                      <a:pt x="9" y="0"/>
                    </a:lnTo>
                    <a:lnTo>
                      <a:pt x="11" y="1"/>
                    </a:lnTo>
                    <a:lnTo>
                      <a:pt x="9"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14" name="Freeform 2063"/>
              <p:cNvSpPr>
                <a:spLocks/>
              </p:cNvSpPr>
              <p:nvPr/>
            </p:nvSpPr>
            <p:spPr bwMode="auto">
              <a:xfrm>
                <a:off x="3955" y="974"/>
                <a:ext cx="14" cy="19"/>
              </a:xfrm>
              <a:custGeom>
                <a:avLst/>
                <a:gdLst>
                  <a:gd name="T0" fmla="*/ 9 w 14"/>
                  <a:gd name="T1" fmla="*/ 1 h 19"/>
                  <a:gd name="T2" fmla="*/ 9 w 14"/>
                  <a:gd name="T3" fmla="*/ 3 h 19"/>
                  <a:gd name="T4" fmla="*/ 12 w 14"/>
                  <a:gd name="T5" fmla="*/ 8 h 19"/>
                  <a:gd name="T6" fmla="*/ 14 w 14"/>
                  <a:gd name="T7" fmla="*/ 17 h 19"/>
                  <a:gd name="T8" fmla="*/ 12 w 14"/>
                  <a:gd name="T9" fmla="*/ 19 h 19"/>
                  <a:gd name="T10" fmla="*/ 11 w 14"/>
                  <a:gd name="T11" fmla="*/ 17 h 19"/>
                  <a:gd name="T12" fmla="*/ 5 w 14"/>
                  <a:gd name="T13" fmla="*/ 17 h 19"/>
                  <a:gd name="T14" fmla="*/ 2 w 14"/>
                  <a:gd name="T15" fmla="*/ 16 h 19"/>
                  <a:gd name="T16" fmla="*/ 0 w 14"/>
                  <a:gd name="T17" fmla="*/ 12 h 19"/>
                  <a:gd name="T18" fmla="*/ 9 w 14"/>
                  <a:gd name="T19" fmla="*/ 0 h 19"/>
                  <a:gd name="T20" fmla="*/ 11 w 14"/>
                  <a:gd name="T21" fmla="*/ 1 h 19"/>
                  <a:gd name="T22" fmla="*/ 9 w 14"/>
                  <a:gd name="T23"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9">
                    <a:moveTo>
                      <a:pt x="9" y="1"/>
                    </a:moveTo>
                    <a:lnTo>
                      <a:pt x="9" y="3"/>
                    </a:lnTo>
                    <a:lnTo>
                      <a:pt x="12" y="8"/>
                    </a:lnTo>
                    <a:lnTo>
                      <a:pt x="14" y="17"/>
                    </a:lnTo>
                    <a:lnTo>
                      <a:pt x="12" y="19"/>
                    </a:lnTo>
                    <a:lnTo>
                      <a:pt x="11" y="17"/>
                    </a:lnTo>
                    <a:lnTo>
                      <a:pt x="5" y="17"/>
                    </a:lnTo>
                    <a:lnTo>
                      <a:pt x="2" y="16"/>
                    </a:lnTo>
                    <a:lnTo>
                      <a:pt x="0" y="12"/>
                    </a:lnTo>
                    <a:lnTo>
                      <a:pt x="9" y="0"/>
                    </a:lnTo>
                    <a:lnTo>
                      <a:pt x="11" y="1"/>
                    </a:lnTo>
                    <a:lnTo>
                      <a:pt x="9"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15" name="Freeform 2064"/>
              <p:cNvSpPr>
                <a:spLocks/>
              </p:cNvSpPr>
              <p:nvPr/>
            </p:nvSpPr>
            <p:spPr bwMode="auto">
              <a:xfrm>
                <a:off x="3928" y="999"/>
                <a:ext cx="22" cy="17"/>
              </a:xfrm>
              <a:custGeom>
                <a:avLst/>
                <a:gdLst>
                  <a:gd name="T0" fmla="*/ 5 w 22"/>
                  <a:gd name="T1" fmla="*/ 3 h 17"/>
                  <a:gd name="T2" fmla="*/ 7 w 22"/>
                  <a:gd name="T3" fmla="*/ 3 h 17"/>
                  <a:gd name="T4" fmla="*/ 9 w 22"/>
                  <a:gd name="T5" fmla="*/ 0 h 17"/>
                  <a:gd name="T6" fmla="*/ 20 w 22"/>
                  <a:gd name="T7" fmla="*/ 3 h 17"/>
                  <a:gd name="T8" fmla="*/ 22 w 22"/>
                  <a:gd name="T9" fmla="*/ 5 h 17"/>
                  <a:gd name="T10" fmla="*/ 20 w 22"/>
                  <a:gd name="T11" fmla="*/ 8 h 17"/>
                  <a:gd name="T12" fmla="*/ 18 w 22"/>
                  <a:gd name="T13" fmla="*/ 10 h 17"/>
                  <a:gd name="T14" fmla="*/ 14 w 22"/>
                  <a:gd name="T15" fmla="*/ 16 h 17"/>
                  <a:gd name="T16" fmla="*/ 0 w 22"/>
                  <a:gd name="T17" fmla="*/ 17 h 17"/>
                  <a:gd name="T18" fmla="*/ 0 w 22"/>
                  <a:gd name="T19" fmla="*/ 16 h 17"/>
                  <a:gd name="T20" fmla="*/ 2 w 22"/>
                  <a:gd name="T21" fmla="*/ 10 h 17"/>
                  <a:gd name="T22" fmla="*/ 5 w 2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17">
                    <a:moveTo>
                      <a:pt x="5" y="3"/>
                    </a:moveTo>
                    <a:lnTo>
                      <a:pt x="7" y="3"/>
                    </a:lnTo>
                    <a:lnTo>
                      <a:pt x="9" y="0"/>
                    </a:lnTo>
                    <a:lnTo>
                      <a:pt x="20" y="3"/>
                    </a:lnTo>
                    <a:lnTo>
                      <a:pt x="22" y="5"/>
                    </a:lnTo>
                    <a:lnTo>
                      <a:pt x="20" y="8"/>
                    </a:lnTo>
                    <a:lnTo>
                      <a:pt x="18" y="10"/>
                    </a:lnTo>
                    <a:lnTo>
                      <a:pt x="14" y="16"/>
                    </a:lnTo>
                    <a:lnTo>
                      <a:pt x="0" y="17"/>
                    </a:lnTo>
                    <a:lnTo>
                      <a:pt x="0" y="16"/>
                    </a:lnTo>
                    <a:lnTo>
                      <a:pt x="2" y="10"/>
                    </a:lnTo>
                    <a:lnTo>
                      <a:pt x="5"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16" name="Freeform 2065"/>
              <p:cNvSpPr>
                <a:spLocks/>
              </p:cNvSpPr>
              <p:nvPr/>
            </p:nvSpPr>
            <p:spPr bwMode="auto">
              <a:xfrm>
                <a:off x="3928" y="999"/>
                <a:ext cx="22" cy="17"/>
              </a:xfrm>
              <a:custGeom>
                <a:avLst/>
                <a:gdLst>
                  <a:gd name="T0" fmla="*/ 5 w 22"/>
                  <a:gd name="T1" fmla="*/ 3 h 17"/>
                  <a:gd name="T2" fmla="*/ 7 w 22"/>
                  <a:gd name="T3" fmla="*/ 3 h 17"/>
                  <a:gd name="T4" fmla="*/ 9 w 22"/>
                  <a:gd name="T5" fmla="*/ 0 h 17"/>
                  <a:gd name="T6" fmla="*/ 20 w 22"/>
                  <a:gd name="T7" fmla="*/ 3 h 17"/>
                  <a:gd name="T8" fmla="*/ 22 w 22"/>
                  <a:gd name="T9" fmla="*/ 5 h 17"/>
                  <a:gd name="T10" fmla="*/ 20 w 22"/>
                  <a:gd name="T11" fmla="*/ 8 h 17"/>
                  <a:gd name="T12" fmla="*/ 18 w 22"/>
                  <a:gd name="T13" fmla="*/ 10 h 17"/>
                  <a:gd name="T14" fmla="*/ 14 w 22"/>
                  <a:gd name="T15" fmla="*/ 16 h 17"/>
                  <a:gd name="T16" fmla="*/ 0 w 22"/>
                  <a:gd name="T17" fmla="*/ 17 h 17"/>
                  <a:gd name="T18" fmla="*/ 0 w 22"/>
                  <a:gd name="T19" fmla="*/ 16 h 17"/>
                  <a:gd name="T20" fmla="*/ 2 w 22"/>
                  <a:gd name="T21" fmla="*/ 10 h 17"/>
                  <a:gd name="T22" fmla="*/ 5 w 22"/>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17">
                    <a:moveTo>
                      <a:pt x="5" y="3"/>
                    </a:moveTo>
                    <a:lnTo>
                      <a:pt x="7" y="3"/>
                    </a:lnTo>
                    <a:lnTo>
                      <a:pt x="9" y="0"/>
                    </a:lnTo>
                    <a:lnTo>
                      <a:pt x="20" y="3"/>
                    </a:lnTo>
                    <a:lnTo>
                      <a:pt x="22" y="5"/>
                    </a:lnTo>
                    <a:lnTo>
                      <a:pt x="20" y="8"/>
                    </a:lnTo>
                    <a:lnTo>
                      <a:pt x="18" y="10"/>
                    </a:lnTo>
                    <a:lnTo>
                      <a:pt x="14" y="16"/>
                    </a:lnTo>
                    <a:lnTo>
                      <a:pt x="0" y="17"/>
                    </a:lnTo>
                    <a:lnTo>
                      <a:pt x="0" y="16"/>
                    </a:lnTo>
                    <a:lnTo>
                      <a:pt x="2" y="10"/>
                    </a:lnTo>
                    <a:lnTo>
                      <a:pt x="5"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17" name="Freeform 2066"/>
              <p:cNvSpPr>
                <a:spLocks/>
              </p:cNvSpPr>
              <p:nvPr/>
            </p:nvSpPr>
            <p:spPr bwMode="auto">
              <a:xfrm>
                <a:off x="4000" y="827"/>
                <a:ext cx="12" cy="22"/>
              </a:xfrm>
              <a:custGeom>
                <a:avLst/>
                <a:gdLst>
                  <a:gd name="T0" fmla="*/ 12 w 12"/>
                  <a:gd name="T1" fmla="*/ 7 h 22"/>
                  <a:gd name="T2" fmla="*/ 12 w 12"/>
                  <a:gd name="T3" fmla="*/ 7 h 22"/>
                  <a:gd name="T4" fmla="*/ 12 w 12"/>
                  <a:gd name="T5" fmla="*/ 11 h 22"/>
                  <a:gd name="T6" fmla="*/ 10 w 12"/>
                  <a:gd name="T7" fmla="*/ 11 h 22"/>
                  <a:gd name="T8" fmla="*/ 8 w 12"/>
                  <a:gd name="T9" fmla="*/ 14 h 22"/>
                  <a:gd name="T10" fmla="*/ 8 w 12"/>
                  <a:gd name="T11" fmla="*/ 22 h 22"/>
                  <a:gd name="T12" fmla="*/ 7 w 12"/>
                  <a:gd name="T13" fmla="*/ 18 h 22"/>
                  <a:gd name="T14" fmla="*/ 7 w 12"/>
                  <a:gd name="T15" fmla="*/ 11 h 22"/>
                  <a:gd name="T16" fmla="*/ 5 w 12"/>
                  <a:gd name="T17" fmla="*/ 13 h 22"/>
                  <a:gd name="T18" fmla="*/ 3 w 12"/>
                  <a:gd name="T19" fmla="*/ 9 h 22"/>
                  <a:gd name="T20" fmla="*/ 1 w 12"/>
                  <a:gd name="T21" fmla="*/ 9 h 22"/>
                  <a:gd name="T22" fmla="*/ 3 w 12"/>
                  <a:gd name="T23" fmla="*/ 20 h 22"/>
                  <a:gd name="T24" fmla="*/ 0 w 12"/>
                  <a:gd name="T25" fmla="*/ 9 h 22"/>
                  <a:gd name="T26" fmla="*/ 0 w 12"/>
                  <a:gd name="T27" fmla="*/ 5 h 22"/>
                  <a:gd name="T28" fmla="*/ 3 w 12"/>
                  <a:gd name="T29" fmla="*/ 4 h 22"/>
                  <a:gd name="T30" fmla="*/ 3 w 12"/>
                  <a:gd name="T31" fmla="*/ 5 h 22"/>
                  <a:gd name="T32" fmla="*/ 5 w 12"/>
                  <a:gd name="T33" fmla="*/ 7 h 22"/>
                  <a:gd name="T34" fmla="*/ 8 w 12"/>
                  <a:gd name="T35" fmla="*/ 2 h 22"/>
                  <a:gd name="T36" fmla="*/ 5 w 12"/>
                  <a:gd name="T37" fmla="*/ 2 h 22"/>
                  <a:gd name="T38" fmla="*/ 7 w 12"/>
                  <a:gd name="T39" fmla="*/ 0 h 22"/>
                  <a:gd name="T40" fmla="*/ 10 w 12"/>
                  <a:gd name="T41" fmla="*/ 0 h 22"/>
                  <a:gd name="T42" fmla="*/ 12 w 12"/>
                  <a:gd name="T43" fmla="*/ 2 h 22"/>
                  <a:gd name="T44" fmla="*/ 10 w 12"/>
                  <a:gd name="T45" fmla="*/ 4 h 22"/>
                  <a:gd name="T46" fmla="*/ 12 w 12"/>
                  <a:gd name="T4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 h="22">
                    <a:moveTo>
                      <a:pt x="12" y="7"/>
                    </a:moveTo>
                    <a:lnTo>
                      <a:pt x="12" y="7"/>
                    </a:lnTo>
                    <a:lnTo>
                      <a:pt x="12" y="11"/>
                    </a:lnTo>
                    <a:lnTo>
                      <a:pt x="10" y="11"/>
                    </a:lnTo>
                    <a:lnTo>
                      <a:pt x="8" y="14"/>
                    </a:lnTo>
                    <a:lnTo>
                      <a:pt x="8" y="22"/>
                    </a:lnTo>
                    <a:lnTo>
                      <a:pt x="7" y="18"/>
                    </a:lnTo>
                    <a:lnTo>
                      <a:pt x="7" y="11"/>
                    </a:lnTo>
                    <a:lnTo>
                      <a:pt x="5" y="13"/>
                    </a:lnTo>
                    <a:lnTo>
                      <a:pt x="3" y="9"/>
                    </a:lnTo>
                    <a:lnTo>
                      <a:pt x="1" y="9"/>
                    </a:lnTo>
                    <a:lnTo>
                      <a:pt x="3" y="20"/>
                    </a:lnTo>
                    <a:lnTo>
                      <a:pt x="0" y="9"/>
                    </a:lnTo>
                    <a:lnTo>
                      <a:pt x="0" y="5"/>
                    </a:lnTo>
                    <a:lnTo>
                      <a:pt x="3" y="4"/>
                    </a:lnTo>
                    <a:lnTo>
                      <a:pt x="3" y="5"/>
                    </a:lnTo>
                    <a:lnTo>
                      <a:pt x="5" y="7"/>
                    </a:lnTo>
                    <a:lnTo>
                      <a:pt x="8" y="2"/>
                    </a:lnTo>
                    <a:lnTo>
                      <a:pt x="5" y="2"/>
                    </a:lnTo>
                    <a:lnTo>
                      <a:pt x="7" y="0"/>
                    </a:lnTo>
                    <a:lnTo>
                      <a:pt x="10" y="0"/>
                    </a:lnTo>
                    <a:lnTo>
                      <a:pt x="12" y="2"/>
                    </a:lnTo>
                    <a:lnTo>
                      <a:pt x="10" y="4"/>
                    </a:lnTo>
                    <a:lnTo>
                      <a:pt x="12"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18" name="Freeform 2067"/>
              <p:cNvSpPr>
                <a:spLocks/>
              </p:cNvSpPr>
              <p:nvPr/>
            </p:nvSpPr>
            <p:spPr bwMode="auto">
              <a:xfrm>
                <a:off x="4000" y="827"/>
                <a:ext cx="12" cy="22"/>
              </a:xfrm>
              <a:custGeom>
                <a:avLst/>
                <a:gdLst>
                  <a:gd name="T0" fmla="*/ 12 w 12"/>
                  <a:gd name="T1" fmla="*/ 7 h 22"/>
                  <a:gd name="T2" fmla="*/ 12 w 12"/>
                  <a:gd name="T3" fmla="*/ 7 h 22"/>
                  <a:gd name="T4" fmla="*/ 12 w 12"/>
                  <a:gd name="T5" fmla="*/ 11 h 22"/>
                  <a:gd name="T6" fmla="*/ 10 w 12"/>
                  <a:gd name="T7" fmla="*/ 11 h 22"/>
                  <a:gd name="T8" fmla="*/ 8 w 12"/>
                  <a:gd name="T9" fmla="*/ 14 h 22"/>
                  <a:gd name="T10" fmla="*/ 8 w 12"/>
                  <a:gd name="T11" fmla="*/ 22 h 22"/>
                  <a:gd name="T12" fmla="*/ 7 w 12"/>
                  <a:gd name="T13" fmla="*/ 18 h 22"/>
                  <a:gd name="T14" fmla="*/ 7 w 12"/>
                  <a:gd name="T15" fmla="*/ 11 h 22"/>
                  <a:gd name="T16" fmla="*/ 5 w 12"/>
                  <a:gd name="T17" fmla="*/ 13 h 22"/>
                  <a:gd name="T18" fmla="*/ 3 w 12"/>
                  <a:gd name="T19" fmla="*/ 9 h 22"/>
                  <a:gd name="T20" fmla="*/ 1 w 12"/>
                  <a:gd name="T21" fmla="*/ 9 h 22"/>
                  <a:gd name="T22" fmla="*/ 3 w 12"/>
                  <a:gd name="T23" fmla="*/ 20 h 22"/>
                  <a:gd name="T24" fmla="*/ 0 w 12"/>
                  <a:gd name="T25" fmla="*/ 9 h 22"/>
                  <a:gd name="T26" fmla="*/ 0 w 12"/>
                  <a:gd name="T27" fmla="*/ 5 h 22"/>
                  <a:gd name="T28" fmla="*/ 3 w 12"/>
                  <a:gd name="T29" fmla="*/ 4 h 22"/>
                  <a:gd name="T30" fmla="*/ 3 w 12"/>
                  <a:gd name="T31" fmla="*/ 5 h 22"/>
                  <a:gd name="T32" fmla="*/ 5 w 12"/>
                  <a:gd name="T33" fmla="*/ 7 h 22"/>
                  <a:gd name="T34" fmla="*/ 8 w 12"/>
                  <a:gd name="T35" fmla="*/ 2 h 22"/>
                  <a:gd name="T36" fmla="*/ 5 w 12"/>
                  <a:gd name="T37" fmla="*/ 2 h 22"/>
                  <a:gd name="T38" fmla="*/ 7 w 12"/>
                  <a:gd name="T39" fmla="*/ 0 h 22"/>
                  <a:gd name="T40" fmla="*/ 10 w 12"/>
                  <a:gd name="T41" fmla="*/ 0 h 22"/>
                  <a:gd name="T42" fmla="*/ 12 w 12"/>
                  <a:gd name="T43" fmla="*/ 2 h 22"/>
                  <a:gd name="T44" fmla="*/ 10 w 12"/>
                  <a:gd name="T45" fmla="*/ 4 h 22"/>
                  <a:gd name="T46" fmla="*/ 12 w 12"/>
                  <a:gd name="T4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 h="22">
                    <a:moveTo>
                      <a:pt x="12" y="7"/>
                    </a:moveTo>
                    <a:lnTo>
                      <a:pt x="12" y="7"/>
                    </a:lnTo>
                    <a:lnTo>
                      <a:pt x="12" y="11"/>
                    </a:lnTo>
                    <a:lnTo>
                      <a:pt x="10" y="11"/>
                    </a:lnTo>
                    <a:lnTo>
                      <a:pt x="8" y="14"/>
                    </a:lnTo>
                    <a:lnTo>
                      <a:pt x="8" y="22"/>
                    </a:lnTo>
                    <a:lnTo>
                      <a:pt x="7" y="18"/>
                    </a:lnTo>
                    <a:lnTo>
                      <a:pt x="7" y="11"/>
                    </a:lnTo>
                    <a:lnTo>
                      <a:pt x="5" y="13"/>
                    </a:lnTo>
                    <a:lnTo>
                      <a:pt x="3" y="9"/>
                    </a:lnTo>
                    <a:lnTo>
                      <a:pt x="1" y="9"/>
                    </a:lnTo>
                    <a:lnTo>
                      <a:pt x="3" y="20"/>
                    </a:lnTo>
                    <a:lnTo>
                      <a:pt x="0" y="9"/>
                    </a:lnTo>
                    <a:lnTo>
                      <a:pt x="0" y="5"/>
                    </a:lnTo>
                    <a:lnTo>
                      <a:pt x="3" y="4"/>
                    </a:lnTo>
                    <a:lnTo>
                      <a:pt x="3" y="5"/>
                    </a:lnTo>
                    <a:lnTo>
                      <a:pt x="5" y="7"/>
                    </a:lnTo>
                    <a:lnTo>
                      <a:pt x="8" y="2"/>
                    </a:lnTo>
                    <a:lnTo>
                      <a:pt x="5" y="2"/>
                    </a:lnTo>
                    <a:lnTo>
                      <a:pt x="7" y="0"/>
                    </a:lnTo>
                    <a:lnTo>
                      <a:pt x="10" y="0"/>
                    </a:lnTo>
                    <a:lnTo>
                      <a:pt x="12" y="2"/>
                    </a:lnTo>
                    <a:lnTo>
                      <a:pt x="10" y="4"/>
                    </a:lnTo>
                    <a:lnTo>
                      <a:pt x="12"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19" name="Freeform 2068"/>
              <p:cNvSpPr>
                <a:spLocks/>
              </p:cNvSpPr>
              <p:nvPr/>
            </p:nvSpPr>
            <p:spPr bwMode="auto">
              <a:xfrm>
                <a:off x="4014" y="1102"/>
                <a:ext cx="7" cy="18"/>
              </a:xfrm>
              <a:custGeom>
                <a:avLst/>
                <a:gdLst>
                  <a:gd name="T0" fmla="*/ 0 w 7"/>
                  <a:gd name="T1" fmla="*/ 7 h 18"/>
                  <a:gd name="T2" fmla="*/ 0 w 7"/>
                  <a:gd name="T3" fmla="*/ 4 h 18"/>
                  <a:gd name="T4" fmla="*/ 2 w 7"/>
                  <a:gd name="T5" fmla="*/ 2 h 18"/>
                  <a:gd name="T6" fmla="*/ 3 w 7"/>
                  <a:gd name="T7" fmla="*/ 0 h 18"/>
                  <a:gd name="T8" fmla="*/ 7 w 7"/>
                  <a:gd name="T9" fmla="*/ 14 h 18"/>
                  <a:gd name="T10" fmla="*/ 5 w 7"/>
                  <a:gd name="T11" fmla="*/ 18 h 18"/>
                  <a:gd name="T12" fmla="*/ 2 w 7"/>
                  <a:gd name="T13" fmla="*/ 16 h 18"/>
                  <a:gd name="T14" fmla="*/ 2 w 7"/>
                  <a:gd name="T15" fmla="*/ 14 h 18"/>
                  <a:gd name="T16" fmla="*/ 0 w 7"/>
                  <a:gd name="T17" fmla="*/ 9 h 18"/>
                  <a:gd name="T18" fmla="*/ 0 w 7"/>
                  <a:gd name="T19"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8">
                    <a:moveTo>
                      <a:pt x="0" y="7"/>
                    </a:moveTo>
                    <a:lnTo>
                      <a:pt x="0" y="4"/>
                    </a:lnTo>
                    <a:lnTo>
                      <a:pt x="2" y="2"/>
                    </a:lnTo>
                    <a:lnTo>
                      <a:pt x="3" y="0"/>
                    </a:lnTo>
                    <a:lnTo>
                      <a:pt x="7" y="14"/>
                    </a:lnTo>
                    <a:lnTo>
                      <a:pt x="5" y="18"/>
                    </a:lnTo>
                    <a:lnTo>
                      <a:pt x="2" y="16"/>
                    </a:lnTo>
                    <a:lnTo>
                      <a:pt x="2" y="14"/>
                    </a:lnTo>
                    <a:lnTo>
                      <a:pt x="0" y="9"/>
                    </a:lnTo>
                    <a:lnTo>
                      <a:pt x="0"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20" name="Freeform 2069"/>
              <p:cNvSpPr>
                <a:spLocks/>
              </p:cNvSpPr>
              <p:nvPr/>
            </p:nvSpPr>
            <p:spPr bwMode="auto">
              <a:xfrm>
                <a:off x="4014" y="1102"/>
                <a:ext cx="7" cy="18"/>
              </a:xfrm>
              <a:custGeom>
                <a:avLst/>
                <a:gdLst>
                  <a:gd name="T0" fmla="*/ 0 w 7"/>
                  <a:gd name="T1" fmla="*/ 7 h 18"/>
                  <a:gd name="T2" fmla="*/ 0 w 7"/>
                  <a:gd name="T3" fmla="*/ 4 h 18"/>
                  <a:gd name="T4" fmla="*/ 2 w 7"/>
                  <a:gd name="T5" fmla="*/ 2 h 18"/>
                  <a:gd name="T6" fmla="*/ 3 w 7"/>
                  <a:gd name="T7" fmla="*/ 0 h 18"/>
                  <a:gd name="T8" fmla="*/ 7 w 7"/>
                  <a:gd name="T9" fmla="*/ 14 h 18"/>
                  <a:gd name="T10" fmla="*/ 5 w 7"/>
                  <a:gd name="T11" fmla="*/ 18 h 18"/>
                  <a:gd name="T12" fmla="*/ 2 w 7"/>
                  <a:gd name="T13" fmla="*/ 16 h 18"/>
                  <a:gd name="T14" fmla="*/ 2 w 7"/>
                  <a:gd name="T15" fmla="*/ 14 h 18"/>
                  <a:gd name="T16" fmla="*/ 0 w 7"/>
                  <a:gd name="T17" fmla="*/ 9 h 18"/>
                  <a:gd name="T18" fmla="*/ 0 w 7"/>
                  <a:gd name="T19"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8">
                    <a:moveTo>
                      <a:pt x="0" y="7"/>
                    </a:moveTo>
                    <a:lnTo>
                      <a:pt x="0" y="4"/>
                    </a:lnTo>
                    <a:lnTo>
                      <a:pt x="2" y="2"/>
                    </a:lnTo>
                    <a:lnTo>
                      <a:pt x="3" y="0"/>
                    </a:lnTo>
                    <a:lnTo>
                      <a:pt x="7" y="14"/>
                    </a:lnTo>
                    <a:lnTo>
                      <a:pt x="5" y="18"/>
                    </a:lnTo>
                    <a:lnTo>
                      <a:pt x="2" y="16"/>
                    </a:lnTo>
                    <a:lnTo>
                      <a:pt x="2" y="14"/>
                    </a:lnTo>
                    <a:lnTo>
                      <a:pt x="0" y="9"/>
                    </a:lnTo>
                    <a:lnTo>
                      <a:pt x="0"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21" name="Freeform 2070"/>
              <p:cNvSpPr>
                <a:spLocks/>
              </p:cNvSpPr>
              <p:nvPr/>
            </p:nvSpPr>
            <p:spPr bwMode="auto">
              <a:xfrm>
                <a:off x="2532" y="1654"/>
                <a:ext cx="68" cy="100"/>
              </a:xfrm>
              <a:custGeom>
                <a:avLst/>
                <a:gdLst>
                  <a:gd name="T0" fmla="*/ 66 w 68"/>
                  <a:gd name="T1" fmla="*/ 32 h 100"/>
                  <a:gd name="T2" fmla="*/ 61 w 68"/>
                  <a:gd name="T3" fmla="*/ 21 h 100"/>
                  <a:gd name="T4" fmla="*/ 50 w 68"/>
                  <a:gd name="T5" fmla="*/ 27 h 100"/>
                  <a:gd name="T6" fmla="*/ 43 w 68"/>
                  <a:gd name="T7" fmla="*/ 28 h 100"/>
                  <a:gd name="T8" fmla="*/ 37 w 68"/>
                  <a:gd name="T9" fmla="*/ 20 h 100"/>
                  <a:gd name="T10" fmla="*/ 41 w 68"/>
                  <a:gd name="T11" fmla="*/ 14 h 100"/>
                  <a:gd name="T12" fmla="*/ 44 w 68"/>
                  <a:gd name="T13" fmla="*/ 11 h 100"/>
                  <a:gd name="T14" fmla="*/ 44 w 68"/>
                  <a:gd name="T15" fmla="*/ 0 h 100"/>
                  <a:gd name="T16" fmla="*/ 39 w 68"/>
                  <a:gd name="T17" fmla="*/ 2 h 100"/>
                  <a:gd name="T18" fmla="*/ 34 w 68"/>
                  <a:gd name="T19" fmla="*/ 5 h 100"/>
                  <a:gd name="T20" fmla="*/ 32 w 68"/>
                  <a:gd name="T21" fmla="*/ 9 h 100"/>
                  <a:gd name="T22" fmla="*/ 32 w 68"/>
                  <a:gd name="T23" fmla="*/ 11 h 100"/>
                  <a:gd name="T24" fmla="*/ 27 w 68"/>
                  <a:gd name="T25" fmla="*/ 16 h 100"/>
                  <a:gd name="T26" fmla="*/ 30 w 68"/>
                  <a:gd name="T27" fmla="*/ 18 h 100"/>
                  <a:gd name="T28" fmla="*/ 36 w 68"/>
                  <a:gd name="T29" fmla="*/ 16 h 100"/>
                  <a:gd name="T30" fmla="*/ 34 w 68"/>
                  <a:gd name="T31" fmla="*/ 20 h 100"/>
                  <a:gd name="T32" fmla="*/ 28 w 68"/>
                  <a:gd name="T33" fmla="*/ 25 h 100"/>
                  <a:gd name="T34" fmla="*/ 19 w 68"/>
                  <a:gd name="T35" fmla="*/ 27 h 100"/>
                  <a:gd name="T36" fmla="*/ 11 w 68"/>
                  <a:gd name="T37" fmla="*/ 25 h 100"/>
                  <a:gd name="T38" fmla="*/ 9 w 68"/>
                  <a:gd name="T39" fmla="*/ 34 h 100"/>
                  <a:gd name="T40" fmla="*/ 5 w 68"/>
                  <a:gd name="T41" fmla="*/ 34 h 100"/>
                  <a:gd name="T42" fmla="*/ 12 w 68"/>
                  <a:gd name="T43" fmla="*/ 37 h 100"/>
                  <a:gd name="T44" fmla="*/ 9 w 68"/>
                  <a:gd name="T45" fmla="*/ 43 h 100"/>
                  <a:gd name="T46" fmla="*/ 5 w 68"/>
                  <a:gd name="T47" fmla="*/ 46 h 100"/>
                  <a:gd name="T48" fmla="*/ 7 w 68"/>
                  <a:gd name="T49" fmla="*/ 50 h 100"/>
                  <a:gd name="T50" fmla="*/ 9 w 68"/>
                  <a:gd name="T51" fmla="*/ 52 h 100"/>
                  <a:gd name="T52" fmla="*/ 12 w 68"/>
                  <a:gd name="T53" fmla="*/ 53 h 100"/>
                  <a:gd name="T54" fmla="*/ 23 w 68"/>
                  <a:gd name="T55" fmla="*/ 55 h 100"/>
                  <a:gd name="T56" fmla="*/ 18 w 68"/>
                  <a:gd name="T57" fmla="*/ 59 h 100"/>
                  <a:gd name="T58" fmla="*/ 16 w 68"/>
                  <a:gd name="T59" fmla="*/ 64 h 100"/>
                  <a:gd name="T60" fmla="*/ 11 w 68"/>
                  <a:gd name="T61" fmla="*/ 71 h 100"/>
                  <a:gd name="T62" fmla="*/ 23 w 68"/>
                  <a:gd name="T63" fmla="*/ 66 h 100"/>
                  <a:gd name="T64" fmla="*/ 27 w 68"/>
                  <a:gd name="T65" fmla="*/ 70 h 100"/>
                  <a:gd name="T66" fmla="*/ 12 w 68"/>
                  <a:gd name="T67" fmla="*/ 73 h 100"/>
                  <a:gd name="T68" fmla="*/ 9 w 68"/>
                  <a:gd name="T69" fmla="*/ 80 h 100"/>
                  <a:gd name="T70" fmla="*/ 7 w 68"/>
                  <a:gd name="T71" fmla="*/ 80 h 100"/>
                  <a:gd name="T72" fmla="*/ 3 w 68"/>
                  <a:gd name="T73" fmla="*/ 80 h 100"/>
                  <a:gd name="T74" fmla="*/ 0 w 68"/>
                  <a:gd name="T75" fmla="*/ 84 h 100"/>
                  <a:gd name="T76" fmla="*/ 9 w 68"/>
                  <a:gd name="T77" fmla="*/ 86 h 100"/>
                  <a:gd name="T78" fmla="*/ 2 w 68"/>
                  <a:gd name="T79" fmla="*/ 89 h 100"/>
                  <a:gd name="T80" fmla="*/ 3 w 68"/>
                  <a:gd name="T81" fmla="*/ 91 h 100"/>
                  <a:gd name="T82" fmla="*/ 5 w 68"/>
                  <a:gd name="T83" fmla="*/ 93 h 100"/>
                  <a:gd name="T84" fmla="*/ 12 w 68"/>
                  <a:gd name="T85" fmla="*/ 93 h 100"/>
                  <a:gd name="T86" fmla="*/ 7 w 68"/>
                  <a:gd name="T87" fmla="*/ 96 h 100"/>
                  <a:gd name="T88" fmla="*/ 14 w 68"/>
                  <a:gd name="T89" fmla="*/ 95 h 100"/>
                  <a:gd name="T90" fmla="*/ 12 w 68"/>
                  <a:gd name="T91" fmla="*/ 96 h 100"/>
                  <a:gd name="T92" fmla="*/ 11 w 68"/>
                  <a:gd name="T93" fmla="*/ 98 h 100"/>
                  <a:gd name="T94" fmla="*/ 12 w 68"/>
                  <a:gd name="T95" fmla="*/ 98 h 100"/>
                  <a:gd name="T96" fmla="*/ 16 w 68"/>
                  <a:gd name="T97" fmla="*/ 100 h 100"/>
                  <a:gd name="T98" fmla="*/ 19 w 68"/>
                  <a:gd name="T99" fmla="*/ 98 h 100"/>
                  <a:gd name="T100" fmla="*/ 30 w 68"/>
                  <a:gd name="T101" fmla="*/ 95 h 100"/>
                  <a:gd name="T102" fmla="*/ 32 w 68"/>
                  <a:gd name="T103" fmla="*/ 89 h 100"/>
                  <a:gd name="T104" fmla="*/ 34 w 68"/>
                  <a:gd name="T105" fmla="*/ 91 h 100"/>
                  <a:gd name="T106" fmla="*/ 39 w 68"/>
                  <a:gd name="T107" fmla="*/ 91 h 100"/>
                  <a:gd name="T108" fmla="*/ 43 w 68"/>
                  <a:gd name="T109" fmla="*/ 89 h 100"/>
                  <a:gd name="T110" fmla="*/ 44 w 68"/>
                  <a:gd name="T111" fmla="*/ 86 h 100"/>
                  <a:gd name="T112" fmla="*/ 59 w 68"/>
                  <a:gd name="T113" fmla="*/ 82 h 100"/>
                  <a:gd name="T114" fmla="*/ 64 w 68"/>
                  <a:gd name="T115" fmla="*/ 82 h 100"/>
                  <a:gd name="T116" fmla="*/ 62 w 68"/>
                  <a:gd name="T117" fmla="*/ 78 h 100"/>
                  <a:gd name="T118" fmla="*/ 66 w 68"/>
                  <a:gd name="T119" fmla="*/ 52 h 100"/>
                  <a:gd name="T120" fmla="*/ 68 w 68"/>
                  <a:gd name="T121" fmla="*/ 46 h 100"/>
                  <a:gd name="T122" fmla="*/ 64 w 68"/>
                  <a:gd name="T123" fmla="*/ 3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 h="100">
                    <a:moveTo>
                      <a:pt x="66" y="34"/>
                    </a:moveTo>
                    <a:lnTo>
                      <a:pt x="66" y="32"/>
                    </a:lnTo>
                    <a:lnTo>
                      <a:pt x="66" y="25"/>
                    </a:lnTo>
                    <a:lnTo>
                      <a:pt x="61" y="21"/>
                    </a:lnTo>
                    <a:lnTo>
                      <a:pt x="52" y="23"/>
                    </a:lnTo>
                    <a:lnTo>
                      <a:pt x="50" y="27"/>
                    </a:lnTo>
                    <a:lnTo>
                      <a:pt x="46" y="30"/>
                    </a:lnTo>
                    <a:lnTo>
                      <a:pt x="43" y="28"/>
                    </a:lnTo>
                    <a:lnTo>
                      <a:pt x="41" y="23"/>
                    </a:lnTo>
                    <a:lnTo>
                      <a:pt x="37" y="20"/>
                    </a:lnTo>
                    <a:lnTo>
                      <a:pt x="41" y="18"/>
                    </a:lnTo>
                    <a:lnTo>
                      <a:pt x="41" y="14"/>
                    </a:lnTo>
                    <a:lnTo>
                      <a:pt x="43" y="14"/>
                    </a:lnTo>
                    <a:lnTo>
                      <a:pt x="44" y="11"/>
                    </a:lnTo>
                    <a:lnTo>
                      <a:pt x="44" y="0"/>
                    </a:lnTo>
                    <a:lnTo>
                      <a:pt x="44" y="0"/>
                    </a:lnTo>
                    <a:lnTo>
                      <a:pt x="43" y="0"/>
                    </a:lnTo>
                    <a:lnTo>
                      <a:pt x="39" y="2"/>
                    </a:lnTo>
                    <a:lnTo>
                      <a:pt x="39" y="0"/>
                    </a:lnTo>
                    <a:lnTo>
                      <a:pt x="34" y="5"/>
                    </a:lnTo>
                    <a:lnTo>
                      <a:pt x="32" y="5"/>
                    </a:lnTo>
                    <a:lnTo>
                      <a:pt x="32" y="9"/>
                    </a:lnTo>
                    <a:lnTo>
                      <a:pt x="32" y="9"/>
                    </a:lnTo>
                    <a:lnTo>
                      <a:pt x="32" y="11"/>
                    </a:lnTo>
                    <a:lnTo>
                      <a:pt x="27" y="14"/>
                    </a:lnTo>
                    <a:lnTo>
                      <a:pt x="27" y="16"/>
                    </a:lnTo>
                    <a:lnTo>
                      <a:pt x="28" y="16"/>
                    </a:lnTo>
                    <a:lnTo>
                      <a:pt x="30" y="18"/>
                    </a:lnTo>
                    <a:lnTo>
                      <a:pt x="32" y="16"/>
                    </a:lnTo>
                    <a:lnTo>
                      <a:pt x="36" y="16"/>
                    </a:lnTo>
                    <a:lnTo>
                      <a:pt x="36" y="18"/>
                    </a:lnTo>
                    <a:lnTo>
                      <a:pt x="34" y="20"/>
                    </a:lnTo>
                    <a:lnTo>
                      <a:pt x="28" y="23"/>
                    </a:lnTo>
                    <a:lnTo>
                      <a:pt x="28" y="25"/>
                    </a:lnTo>
                    <a:lnTo>
                      <a:pt x="28" y="27"/>
                    </a:lnTo>
                    <a:lnTo>
                      <a:pt x="19" y="27"/>
                    </a:lnTo>
                    <a:lnTo>
                      <a:pt x="18" y="25"/>
                    </a:lnTo>
                    <a:lnTo>
                      <a:pt x="11" y="25"/>
                    </a:lnTo>
                    <a:lnTo>
                      <a:pt x="7" y="30"/>
                    </a:lnTo>
                    <a:lnTo>
                      <a:pt x="9" y="34"/>
                    </a:lnTo>
                    <a:lnTo>
                      <a:pt x="7" y="34"/>
                    </a:lnTo>
                    <a:lnTo>
                      <a:pt x="5" y="34"/>
                    </a:lnTo>
                    <a:lnTo>
                      <a:pt x="7" y="37"/>
                    </a:lnTo>
                    <a:lnTo>
                      <a:pt x="12" y="37"/>
                    </a:lnTo>
                    <a:lnTo>
                      <a:pt x="14" y="39"/>
                    </a:lnTo>
                    <a:lnTo>
                      <a:pt x="9" y="43"/>
                    </a:lnTo>
                    <a:lnTo>
                      <a:pt x="7" y="45"/>
                    </a:lnTo>
                    <a:lnTo>
                      <a:pt x="5" y="46"/>
                    </a:lnTo>
                    <a:lnTo>
                      <a:pt x="5" y="48"/>
                    </a:lnTo>
                    <a:lnTo>
                      <a:pt x="7" y="50"/>
                    </a:lnTo>
                    <a:lnTo>
                      <a:pt x="9" y="50"/>
                    </a:lnTo>
                    <a:lnTo>
                      <a:pt x="9" y="52"/>
                    </a:lnTo>
                    <a:lnTo>
                      <a:pt x="12" y="52"/>
                    </a:lnTo>
                    <a:lnTo>
                      <a:pt x="12" y="53"/>
                    </a:lnTo>
                    <a:lnTo>
                      <a:pt x="23" y="53"/>
                    </a:lnTo>
                    <a:lnTo>
                      <a:pt x="23" y="55"/>
                    </a:lnTo>
                    <a:lnTo>
                      <a:pt x="21" y="57"/>
                    </a:lnTo>
                    <a:lnTo>
                      <a:pt x="18" y="59"/>
                    </a:lnTo>
                    <a:lnTo>
                      <a:pt x="16" y="61"/>
                    </a:lnTo>
                    <a:lnTo>
                      <a:pt x="16" y="64"/>
                    </a:lnTo>
                    <a:lnTo>
                      <a:pt x="14" y="68"/>
                    </a:lnTo>
                    <a:lnTo>
                      <a:pt x="11" y="71"/>
                    </a:lnTo>
                    <a:lnTo>
                      <a:pt x="19" y="70"/>
                    </a:lnTo>
                    <a:lnTo>
                      <a:pt x="23" y="66"/>
                    </a:lnTo>
                    <a:lnTo>
                      <a:pt x="25" y="70"/>
                    </a:lnTo>
                    <a:lnTo>
                      <a:pt x="27" y="70"/>
                    </a:lnTo>
                    <a:lnTo>
                      <a:pt x="27" y="70"/>
                    </a:lnTo>
                    <a:lnTo>
                      <a:pt x="12" y="73"/>
                    </a:lnTo>
                    <a:lnTo>
                      <a:pt x="9" y="77"/>
                    </a:lnTo>
                    <a:lnTo>
                      <a:pt x="9" y="80"/>
                    </a:lnTo>
                    <a:lnTo>
                      <a:pt x="9" y="80"/>
                    </a:lnTo>
                    <a:lnTo>
                      <a:pt x="7" y="80"/>
                    </a:lnTo>
                    <a:lnTo>
                      <a:pt x="5" y="80"/>
                    </a:lnTo>
                    <a:lnTo>
                      <a:pt x="3" y="80"/>
                    </a:lnTo>
                    <a:lnTo>
                      <a:pt x="2" y="82"/>
                    </a:lnTo>
                    <a:lnTo>
                      <a:pt x="0" y="84"/>
                    </a:lnTo>
                    <a:lnTo>
                      <a:pt x="7" y="84"/>
                    </a:lnTo>
                    <a:lnTo>
                      <a:pt x="9" y="86"/>
                    </a:lnTo>
                    <a:lnTo>
                      <a:pt x="3" y="87"/>
                    </a:lnTo>
                    <a:lnTo>
                      <a:pt x="2" y="89"/>
                    </a:lnTo>
                    <a:lnTo>
                      <a:pt x="2" y="91"/>
                    </a:lnTo>
                    <a:lnTo>
                      <a:pt x="3" y="91"/>
                    </a:lnTo>
                    <a:lnTo>
                      <a:pt x="3" y="93"/>
                    </a:lnTo>
                    <a:lnTo>
                      <a:pt x="5" y="93"/>
                    </a:lnTo>
                    <a:lnTo>
                      <a:pt x="11" y="91"/>
                    </a:lnTo>
                    <a:lnTo>
                      <a:pt x="12" y="93"/>
                    </a:lnTo>
                    <a:lnTo>
                      <a:pt x="5" y="96"/>
                    </a:lnTo>
                    <a:lnTo>
                      <a:pt x="7" y="96"/>
                    </a:lnTo>
                    <a:lnTo>
                      <a:pt x="14" y="95"/>
                    </a:lnTo>
                    <a:lnTo>
                      <a:pt x="14" y="95"/>
                    </a:lnTo>
                    <a:lnTo>
                      <a:pt x="14" y="96"/>
                    </a:lnTo>
                    <a:lnTo>
                      <a:pt x="12" y="96"/>
                    </a:lnTo>
                    <a:lnTo>
                      <a:pt x="11" y="98"/>
                    </a:lnTo>
                    <a:lnTo>
                      <a:pt x="11" y="98"/>
                    </a:lnTo>
                    <a:lnTo>
                      <a:pt x="11" y="100"/>
                    </a:lnTo>
                    <a:lnTo>
                      <a:pt x="12" y="98"/>
                    </a:lnTo>
                    <a:lnTo>
                      <a:pt x="16" y="98"/>
                    </a:lnTo>
                    <a:lnTo>
                      <a:pt x="16" y="100"/>
                    </a:lnTo>
                    <a:lnTo>
                      <a:pt x="18" y="100"/>
                    </a:lnTo>
                    <a:lnTo>
                      <a:pt x="19" y="98"/>
                    </a:lnTo>
                    <a:lnTo>
                      <a:pt x="21" y="98"/>
                    </a:lnTo>
                    <a:lnTo>
                      <a:pt x="30" y="95"/>
                    </a:lnTo>
                    <a:lnTo>
                      <a:pt x="32" y="93"/>
                    </a:lnTo>
                    <a:lnTo>
                      <a:pt x="32" y="89"/>
                    </a:lnTo>
                    <a:lnTo>
                      <a:pt x="34" y="89"/>
                    </a:lnTo>
                    <a:lnTo>
                      <a:pt x="34" y="91"/>
                    </a:lnTo>
                    <a:lnTo>
                      <a:pt x="36" y="93"/>
                    </a:lnTo>
                    <a:lnTo>
                      <a:pt x="39" y="91"/>
                    </a:lnTo>
                    <a:lnTo>
                      <a:pt x="39" y="87"/>
                    </a:lnTo>
                    <a:lnTo>
                      <a:pt x="43" y="89"/>
                    </a:lnTo>
                    <a:lnTo>
                      <a:pt x="43" y="87"/>
                    </a:lnTo>
                    <a:lnTo>
                      <a:pt x="44" y="86"/>
                    </a:lnTo>
                    <a:lnTo>
                      <a:pt x="44" y="84"/>
                    </a:lnTo>
                    <a:lnTo>
                      <a:pt x="59" y="82"/>
                    </a:lnTo>
                    <a:lnTo>
                      <a:pt x="61" y="82"/>
                    </a:lnTo>
                    <a:lnTo>
                      <a:pt x="64" y="82"/>
                    </a:lnTo>
                    <a:lnTo>
                      <a:pt x="64" y="80"/>
                    </a:lnTo>
                    <a:lnTo>
                      <a:pt x="62" y="78"/>
                    </a:lnTo>
                    <a:lnTo>
                      <a:pt x="68" y="62"/>
                    </a:lnTo>
                    <a:lnTo>
                      <a:pt x="66" y="52"/>
                    </a:lnTo>
                    <a:lnTo>
                      <a:pt x="68" y="50"/>
                    </a:lnTo>
                    <a:lnTo>
                      <a:pt x="68" y="46"/>
                    </a:lnTo>
                    <a:lnTo>
                      <a:pt x="64" y="37"/>
                    </a:lnTo>
                    <a:lnTo>
                      <a:pt x="64" y="34"/>
                    </a:lnTo>
                    <a:lnTo>
                      <a:pt x="66" y="3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22" name="Freeform 2071"/>
              <p:cNvSpPr>
                <a:spLocks/>
              </p:cNvSpPr>
              <p:nvPr/>
            </p:nvSpPr>
            <p:spPr bwMode="auto">
              <a:xfrm>
                <a:off x="2532" y="1654"/>
                <a:ext cx="68" cy="100"/>
              </a:xfrm>
              <a:custGeom>
                <a:avLst/>
                <a:gdLst>
                  <a:gd name="T0" fmla="*/ 66 w 68"/>
                  <a:gd name="T1" fmla="*/ 32 h 100"/>
                  <a:gd name="T2" fmla="*/ 61 w 68"/>
                  <a:gd name="T3" fmla="*/ 21 h 100"/>
                  <a:gd name="T4" fmla="*/ 50 w 68"/>
                  <a:gd name="T5" fmla="*/ 27 h 100"/>
                  <a:gd name="T6" fmla="*/ 43 w 68"/>
                  <a:gd name="T7" fmla="*/ 28 h 100"/>
                  <a:gd name="T8" fmla="*/ 37 w 68"/>
                  <a:gd name="T9" fmla="*/ 20 h 100"/>
                  <a:gd name="T10" fmla="*/ 41 w 68"/>
                  <a:gd name="T11" fmla="*/ 14 h 100"/>
                  <a:gd name="T12" fmla="*/ 44 w 68"/>
                  <a:gd name="T13" fmla="*/ 11 h 100"/>
                  <a:gd name="T14" fmla="*/ 44 w 68"/>
                  <a:gd name="T15" fmla="*/ 0 h 100"/>
                  <a:gd name="T16" fmla="*/ 39 w 68"/>
                  <a:gd name="T17" fmla="*/ 2 h 100"/>
                  <a:gd name="T18" fmla="*/ 34 w 68"/>
                  <a:gd name="T19" fmla="*/ 5 h 100"/>
                  <a:gd name="T20" fmla="*/ 32 w 68"/>
                  <a:gd name="T21" fmla="*/ 9 h 100"/>
                  <a:gd name="T22" fmla="*/ 32 w 68"/>
                  <a:gd name="T23" fmla="*/ 11 h 100"/>
                  <a:gd name="T24" fmla="*/ 27 w 68"/>
                  <a:gd name="T25" fmla="*/ 16 h 100"/>
                  <a:gd name="T26" fmla="*/ 30 w 68"/>
                  <a:gd name="T27" fmla="*/ 18 h 100"/>
                  <a:gd name="T28" fmla="*/ 36 w 68"/>
                  <a:gd name="T29" fmla="*/ 16 h 100"/>
                  <a:gd name="T30" fmla="*/ 34 w 68"/>
                  <a:gd name="T31" fmla="*/ 20 h 100"/>
                  <a:gd name="T32" fmla="*/ 28 w 68"/>
                  <a:gd name="T33" fmla="*/ 25 h 100"/>
                  <a:gd name="T34" fmla="*/ 19 w 68"/>
                  <a:gd name="T35" fmla="*/ 27 h 100"/>
                  <a:gd name="T36" fmla="*/ 11 w 68"/>
                  <a:gd name="T37" fmla="*/ 25 h 100"/>
                  <a:gd name="T38" fmla="*/ 9 w 68"/>
                  <a:gd name="T39" fmla="*/ 34 h 100"/>
                  <a:gd name="T40" fmla="*/ 5 w 68"/>
                  <a:gd name="T41" fmla="*/ 34 h 100"/>
                  <a:gd name="T42" fmla="*/ 12 w 68"/>
                  <a:gd name="T43" fmla="*/ 37 h 100"/>
                  <a:gd name="T44" fmla="*/ 9 w 68"/>
                  <a:gd name="T45" fmla="*/ 43 h 100"/>
                  <a:gd name="T46" fmla="*/ 5 w 68"/>
                  <a:gd name="T47" fmla="*/ 46 h 100"/>
                  <a:gd name="T48" fmla="*/ 7 w 68"/>
                  <a:gd name="T49" fmla="*/ 50 h 100"/>
                  <a:gd name="T50" fmla="*/ 9 w 68"/>
                  <a:gd name="T51" fmla="*/ 52 h 100"/>
                  <a:gd name="T52" fmla="*/ 12 w 68"/>
                  <a:gd name="T53" fmla="*/ 53 h 100"/>
                  <a:gd name="T54" fmla="*/ 23 w 68"/>
                  <a:gd name="T55" fmla="*/ 55 h 100"/>
                  <a:gd name="T56" fmla="*/ 18 w 68"/>
                  <a:gd name="T57" fmla="*/ 59 h 100"/>
                  <a:gd name="T58" fmla="*/ 16 w 68"/>
                  <a:gd name="T59" fmla="*/ 64 h 100"/>
                  <a:gd name="T60" fmla="*/ 11 w 68"/>
                  <a:gd name="T61" fmla="*/ 71 h 100"/>
                  <a:gd name="T62" fmla="*/ 23 w 68"/>
                  <a:gd name="T63" fmla="*/ 66 h 100"/>
                  <a:gd name="T64" fmla="*/ 27 w 68"/>
                  <a:gd name="T65" fmla="*/ 70 h 100"/>
                  <a:gd name="T66" fmla="*/ 12 w 68"/>
                  <a:gd name="T67" fmla="*/ 73 h 100"/>
                  <a:gd name="T68" fmla="*/ 9 w 68"/>
                  <a:gd name="T69" fmla="*/ 80 h 100"/>
                  <a:gd name="T70" fmla="*/ 7 w 68"/>
                  <a:gd name="T71" fmla="*/ 80 h 100"/>
                  <a:gd name="T72" fmla="*/ 3 w 68"/>
                  <a:gd name="T73" fmla="*/ 80 h 100"/>
                  <a:gd name="T74" fmla="*/ 0 w 68"/>
                  <a:gd name="T75" fmla="*/ 84 h 100"/>
                  <a:gd name="T76" fmla="*/ 9 w 68"/>
                  <a:gd name="T77" fmla="*/ 86 h 100"/>
                  <a:gd name="T78" fmla="*/ 2 w 68"/>
                  <a:gd name="T79" fmla="*/ 89 h 100"/>
                  <a:gd name="T80" fmla="*/ 3 w 68"/>
                  <a:gd name="T81" fmla="*/ 91 h 100"/>
                  <a:gd name="T82" fmla="*/ 5 w 68"/>
                  <a:gd name="T83" fmla="*/ 93 h 100"/>
                  <a:gd name="T84" fmla="*/ 12 w 68"/>
                  <a:gd name="T85" fmla="*/ 93 h 100"/>
                  <a:gd name="T86" fmla="*/ 7 w 68"/>
                  <a:gd name="T87" fmla="*/ 96 h 100"/>
                  <a:gd name="T88" fmla="*/ 14 w 68"/>
                  <a:gd name="T89" fmla="*/ 95 h 100"/>
                  <a:gd name="T90" fmla="*/ 12 w 68"/>
                  <a:gd name="T91" fmla="*/ 96 h 100"/>
                  <a:gd name="T92" fmla="*/ 11 w 68"/>
                  <a:gd name="T93" fmla="*/ 98 h 100"/>
                  <a:gd name="T94" fmla="*/ 12 w 68"/>
                  <a:gd name="T95" fmla="*/ 98 h 100"/>
                  <a:gd name="T96" fmla="*/ 16 w 68"/>
                  <a:gd name="T97" fmla="*/ 100 h 100"/>
                  <a:gd name="T98" fmla="*/ 19 w 68"/>
                  <a:gd name="T99" fmla="*/ 98 h 100"/>
                  <a:gd name="T100" fmla="*/ 30 w 68"/>
                  <a:gd name="T101" fmla="*/ 95 h 100"/>
                  <a:gd name="T102" fmla="*/ 32 w 68"/>
                  <a:gd name="T103" fmla="*/ 89 h 100"/>
                  <a:gd name="T104" fmla="*/ 34 w 68"/>
                  <a:gd name="T105" fmla="*/ 91 h 100"/>
                  <a:gd name="T106" fmla="*/ 39 w 68"/>
                  <a:gd name="T107" fmla="*/ 91 h 100"/>
                  <a:gd name="T108" fmla="*/ 43 w 68"/>
                  <a:gd name="T109" fmla="*/ 89 h 100"/>
                  <a:gd name="T110" fmla="*/ 44 w 68"/>
                  <a:gd name="T111" fmla="*/ 86 h 100"/>
                  <a:gd name="T112" fmla="*/ 59 w 68"/>
                  <a:gd name="T113" fmla="*/ 82 h 100"/>
                  <a:gd name="T114" fmla="*/ 64 w 68"/>
                  <a:gd name="T115" fmla="*/ 82 h 100"/>
                  <a:gd name="T116" fmla="*/ 62 w 68"/>
                  <a:gd name="T117" fmla="*/ 78 h 100"/>
                  <a:gd name="T118" fmla="*/ 66 w 68"/>
                  <a:gd name="T119" fmla="*/ 52 h 100"/>
                  <a:gd name="T120" fmla="*/ 68 w 68"/>
                  <a:gd name="T121" fmla="*/ 46 h 100"/>
                  <a:gd name="T122" fmla="*/ 64 w 68"/>
                  <a:gd name="T123" fmla="*/ 3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8" h="100">
                    <a:moveTo>
                      <a:pt x="66" y="34"/>
                    </a:moveTo>
                    <a:lnTo>
                      <a:pt x="66" y="32"/>
                    </a:lnTo>
                    <a:lnTo>
                      <a:pt x="66" y="25"/>
                    </a:lnTo>
                    <a:lnTo>
                      <a:pt x="61" y="21"/>
                    </a:lnTo>
                    <a:lnTo>
                      <a:pt x="52" y="23"/>
                    </a:lnTo>
                    <a:lnTo>
                      <a:pt x="50" y="27"/>
                    </a:lnTo>
                    <a:lnTo>
                      <a:pt x="46" y="30"/>
                    </a:lnTo>
                    <a:lnTo>
                      <a:pt x="43" y="28"/>
                    </a:lnTo>
                    <a:lnTo>
                      <a:pt x="41" y="23"/>
                    </a:lnTo>
                    <a:lnTo>
                      <a:pt x="37" y="20"/>
                    </a:lnTo>
                    <a:lnTo>
                      <a:pt x="41" y="18"/>
                    </a:lnTo>
                    <a:lnTo>
                      <a:pt x="41" y="14"/>
                    </a:lnTo>
                    <a:lnTo>
                      <a:pt x="43" y="14"/>
                    </a:lnTo>
                    <a:lnTo>
                      <a:pt x="44" y="11"/>
                    </a:lnTo>
                    <a:lnTo>
                      <a:pt x="44" y="0"/>
                    </a:lnTo>
                    <a:lnTo>
                      <a:pt x="44" y="0"/>
                    </a:lnTo>
                    <a:lnTo>
                      <a:pt x="43" y="0"/>
                    </a:lnTo>
                    <a:lnTo>
                      <a:pt x="39" y="2"/>
                    </a:lnTo>
                    <a:lnTo>
                      <a:pt x="39" y="0"/>
                    </a:lnTo>
                    <a:lnTo>
                      <a:pt x="34" y="5"/>
                    </a:lnTo>
                    <a:lnTo>
                      <a:pt x="32" y="5"/>
                    </a:lnTo>
                    <a:lnTo>
                      <a:pt x="32" y="9"/>
                    </a:lnTo>
                    <a:lnTo>
                      <a:pt x="32" y="9"/>
                    </a:lnTo>
                    <a:lnTo>
                      <a:pt x="32" y="11"/>
                    </a:lnTo>
                    <a:lnTo>
                      <a:pt x="27" y="14"/>
                    </a:lnTo>
                    <a:lnTo>
                      <a:pt x="27" y="16"/>
                    </a:lnTo>
                    <a:lnTo>
                      <a:pt x="28" y="16"/>
                    </a:lnTo>
                    <a:lnTo>
                      <a:pt x="30" y="18"/>
                    </a:lnTo>
                    <a:lnTo>
                      <a:pt x="32" y="16"/>
                    </a:lnTo>
                    <a:lnTo>
                      <a:pt x="36" y="16"/>
                    </a:lnTo>
                    <a:lnTo>
                      <a:pt x="36" y="18"/>
                    </a:lnTo>
                    <a:lnTo>
                      <a:pt x="34" y="20"/>
                    </a:lnTo>
                    <a:lnTo>
                      <a:pt x="28" y="23"/>
                    </a:lnTo>
                    <a:lnTo>
                      <a:pt x="28" y="25"/>
                    </a:lnTo>
                    <a:lnTo>
                      <a:pt x="28" y="27"/>
                    </a:lnTo>
                    <a:lnTo>
                      <a:pt x="19" y="27"/>
                    </a:lnTo>
                    <a:lnTo>
                      <a:pt x="18" y="25"/>
                    </a:lnTo>
                    <a:lnTo>
                      <a:pt x="11" y="25"/>
                    </a:lnTo>
                    <a:lnTo>
                      <a:pt x="7" y="30"/>
                    </a:lnTo>
                    <a:lnTo>
                      <a:pt x="9" y="34"/>
                    </a:lnTo>
                    <a:lnTo>
                      <a:pt x="7" y="34"/>
                    </a:lnTo>
                    <a:lnTo>
                      <a:pt x="5" y="34"/>
                    </a:lnTo>
                    <a:lnTo>
                      <a:pt x="7" y="37"/>
                    </a:lnTo>
                    <a:lnTo>
                      <a:pt x="12" y="37"/>
                    </a:lnTo>
                    <a:lnTo>
                      <a:pt x="14" y="39"/>
                    </a:lnTo>
                    <a:lnTo>
                      <a:pt x="9" y="43"/>
                    </a:lnTo>
                    <a:lnTo>
                      <a:pt x="7" y="45"/>
                    </a:lnTo>
                    <a:lnTo>
                      <a:pt x="5" y="46"/>
                    </a:lnTo>
                    <a:lnTo>
                      <a:pt x="5" y="48"/>
                    </a:lnTo>
                    <a:lnTo>
                      <a:pt x="7" y="50"/>
                    </a:lnTo>
                    <a:lnTo>
                      <a:pt x="9" y="50"/>
                    </a:lnTo>
                    <a:lnTo>
                      <a:pt x="9" y="52"/>
                    </a:lnTo>
                    <a:lnTo>
                      <a:pt x="12" y="52"/>
                    </a:lnTo>
                    <a:lnTo>
                      <a:pt x="12" y="53"/>
                    </a:lnTo>
                    <a:lnTo>
                      <a:pt x="23" y="53"/>
                    </a:lnTo>
                    <a:lnTo>
                      <a:pt x="23" y="55"/>
                    </a:lnTo>
                    <a:lnTo>
                      <a:pt x="21" y="57"/>
                    </a:lnTo>
                    <a:lnTo>
                      <a:pt x="18" y="59"/>
                    </a:lnTo>
                    <a:lnTo>
                      <a:pt x="16" y="61"/>
                    </a:lnTo>
                    <a:lnTo>
                      <a:pt x="16" y="64"/>
                    </a:lnTo>
                    <a:lnTo>
                      <a:pt x="14" y="68"/>
                    </a:lnTo>
                    <a:lnTo>
                      <a:pt x="11" y="71"/>
                    </a:lnTo>
                    <a:lnTo>
                      <a:pt x="19" y="70"/>
                    </a:lnTo>
                    <a:lnTo>
                      <a:pt x="23" y="66"/>
                    </a:lnTo>
                    <a:lnTo>
                      <a:pt x="25" y="70"/>
                    </a:lnTo>
                    <a:lnTo>
                      <a:pt x="27" y="70"/>
                    </a:lnTo>
                    <a:lnTo>
                      <a:pt x="27" y="70"/>
                    </a:lnTo>
                    <a:lnTo>
                      <a:pt x="12" y="73"/>
                    </a:lnTo>
                    <a:lnTo>
                      <a:pt x="9" y="77"/>
                    </a:lnTo>
                    <a:lnTo>
                      <a:pt x="9" y="80"/>
                    </a:lnTo>
                    <a:lnTo>
                      <a:pt x="9" y="80"/>
                    </a:lnTo>
                    <a:lnTo>
                      <a:pt x="7" y="80"/>
                    </a:lnTo>
                    <a:lnTo>
                      <a:pt x="5" y="80"/>
                    </a:lnTo>
                    <a:lnTo>
                      <a:pt x="3" y="80"/>
                    </a:lnTo>
                    <a:lnTo>
                      <a:pt x="2" y="82"/>
                    </a:lnTo>
                    <a:lnTo>
                      <a:pt x="0" y="84"/>
                    </a:lnTo>
                    <a:lnTo>
                      <a:pt x="7" y="84"/>
                    </a:lnTo>
                    <a:lnTo>
                      <a:pt x="9" y="86"/>
                    </a:lnTo>
                    <a:lnTo>
                      <a:pt x="3" y="87"/>
                    </a:lnTo>
                    <a:lnTo>
                      <a:pt x="2" y="89"/>
                    </a:lnTo>
                    <a:lnTo>
                      <a:pt x="2" y="91"/>
                    </a:lnTo>
                    <a:lnTo>
                      <a:pt x="3" y="91"/>
                    </a:lnTo>
                    <a:lnTo>
                      <a:pt x="3" y="93"/>
                    </a:lnTo>
                    <a:lnTo>
                      <a:pt x="5" y="93"/>
                    </a:lnTo>
                    <a:lnTo>
                      <a:pt x="11" y="91"/>
                    </a:lnTo>
                    <a:lnTo>
                      <a:pt x="12" y="93"/>
                    </a:lnTo>
                    <a:lnTo>
                      <a:pt x="5" y="96"/>
                    </a:lnTo>
                    <a:lnTo>
                      <a:pt x="7" y="96"/>
                    </a:lnTo>
                    <a:lnTo>
                      <a:pt x="14" y="95"/>
                    </a:lnTo>
                    <a:lnTo>
                      <a:pt x="14" y="95"/>
                    </a:lnTo>
                    <a:lnTo>
                      <a:pt x="14" y="96"/>
                    </a:lnTo>
                    <a:lnTo>
                      <a:pt x="12" y="96"/>
                    </a:lnTo>
                    <a:lnTo>
                      <a:pt x="11" y="98"/>
                    </a:lnTo>
                    <a:lnTo>
                      <a:pt x="11" y="98"/>
                    </a:lnTo>
                    <a:lnTo>
                      <a:pt x="11" y="100"/>
                    </a:lnTo>
                    <a:lnTo>
                      <a:pt x="12" y="98"/>
                    </a:lnTo>
                    <a:lnTo>
                      <a:pt x="16" y="98"/>
                    </a:lnTo>
                    <a:lnTo>
                      <a:pt x="16" y="100"/>
                    </a:lnTo>
                    <a:lnTo>
                      <a:pt x="18" y="100"/>
                    </a:lnTo>
                    <a:lnTo>
                      <a:pt x="19" y="98"/>
                    </a:lnTo>
                    <a:lnTo>
                      <a:pt x="21" y="98"/>
                    </a:lnTo>
                    <a:lnTo>
                      <a:pt x="30" y="95"/>
                    </a:lnTo>
                    <a:lnTo>
                      <a:pt x="32" y="93"/>
                    </a:lnTo>
                    <a:lnTo>
                      <a:pt x="32" y="89"/>
                    </a:lnTo>
                    <a:lnTo>
                      <a:pt x="34" y="89"/>
                    </a:lnTo>
                    <a:lnTo>
                      <a:pt x="34" y="91"/>
                    </a:lnTo>
                    <a:lnTo>
                      <a:pt x="36" y="93"/>
                    </a:lnTo>
                    <a:lnTo>
                      <a:pt x="39" y="91"/>
                    </a:lnTo>
                    <a:lnTo>
                      <a:pt x="39" y="87"/>
                    </a:lnTo>
                    <a:lnTo>
                      <a:pt x="43" y="89"/>
                    </a:lnTo>
                    <a:lnTo>
                      <a:pt x="43" y="87"/>
                    </a:lnTo>
                    <a:lnTo>
                      <a:pt x="44" y="86"/>
                    </a:lnTo>
                    <a:lnTo>
                      <a:pt x="44" y="84"/>
                    </a:lnTo>
                    <a:lnTo>
                      <a:pt x="59" y="82"/>
                    </a:lnTo>
                    <a:lnTo>
                      <a:pt x="61" y="82"/>
                    </a:lnTo>
                    <a:lnTo>
                      <a:pt x="64" y="82"/>
                    </a:lnTo>
                    <a:lnTo>
                      <a:pt x="64" y="80"/>
                    </a:lnTo>
                    <a:lnTo>
                      <a:pt x="62" y="78"/>
                    </a:lnTo>
                    <a:lnTo>
                      <a:pt x="68" y="62"/>
                    </a:lnTo>
                    <a:lnTo>
                      <a:pt x="66" y="52"/>
                    </a:lnTo>
                    <a:lnTo>
                      <a:pt x="68" y="50"/>
                    </a:lnTo>
                    <a:lnTo>
                      <a:pt x="68" y="46"/>
                    </a:lnTo>
                    <a:lnTo>
                      <a:pt x="64" y="37"/>
                    </a:lnTo>
                    <a:lnTo>
                      <a:pt x="64" y="34"/>
                    </a:lnTo>
                    <a:lnTo>
                      <a:pt x="66" y="3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23" name="Freeform 2072"/>
              <p:cNvSpPr>
                <a:spLocks/>
              </p:cNvSpPr>
              <p:nvPr/>
            </p:nvSpPr>
            <p:spPr bwMode="auto">
              <a:xfrm>
                <a:off x="2873" y="1170"/>
                <a:ext cx="209" cy="479"/>
              </a:xfrm>
              <a:custGeom>
                <a:avLst/>
                <a:gdLst>
                  <a:gd name="T0" fmla="*/ 3 w 209"/>
                  <a:gd name="T1" fmla="*/ 393 h 479"/>
                  <a:gd name="T2" fmla="*/ 7 w 209"/>
                  <a:gd name="T3" fmla="*/ 395 h 479"/>
                  <a:gd name="T4" fmla="*/ 9 w 209"/>
                  <a:gd name="T5" fmla="*/ 409 h 479"/>
                  <a:gd name="T6" fmla="*/ 14 w 209"/>
                  <a:gd name="T7" fmla="*/ 421 h 479"/>
                  <a:gd name="T8" fmla="*/ 28 w 209"/>
                  <a:gd name="T9" fmla="*/ 448 h 479"/>
                  <a:gd name="T10" fmla="*/ 21 w 209"/>
                  <a:gd name="T11" fmla="*/ 454 h 479"/>
                  <a:gd name="T12" fmla="*/ 27 w 209"/>
                  <a:gd name="T13" fmla="*/ 479 h 479"/>
                  <a:gd name="T14" fmla="*/ 48 w 209"/>
                  <a:gd name="T15" fmla="*/ 477 h 479"/>
                  <a:gd name="T16" fmla="*/ 59 w 209"/>
                  <a:gd name="T17" fmla="*/ 455 h 479"/>
                  <a:gd name="T18" fmla="*/ 84 w 209"/>
                  <a:gd name="T19" fmla="*/ 439 h 479"/>
                  <a:gd name="T20" fmla="*/ 86 w 209"/>
                  <a:gd name="T21" fmla="*/ 414 h 479"/>
                  <a:gd name="T22" fmla="*/ 87 w 209"/>
                  <a:gd name="T23" fmla="*/ 404 h 479"/>
                  <a:gd name="T24" fmla="*/ 89 w 209"/>
                  <a:gd name="T25" fmla="*/ 393 h 479"/>
                  <a:gd name="T26" fmla="*/ 91 w 209"/>
                  <a:gd name="T27" fmla="*/ 387 h 479"/>
                  <a:gd name="T28" fmla="*/ 93 w 209"/>
                  <a:gd name="T29" fmla="*/ 382 h 479"/>
                  <a:gd name="T30" fmla="*/ 105 w 209"/>
                  <a:gd name="T31" fmla="*/ 375 h 479"/>
                  <a:gd name="T32" fmla="*/ 116 w 209"/>
                  <a:gd name="T33" fmla="*/ 364 h 479"/>
                  <a:gd name="T34" fmla="*/ 98 w 209"/>
                  <a:gd name="T35" fmla="*/ 364 h 479"/>
                  <a:gd name="T36" fmla="*/ 84 w 209"/>
                  <a:gd name="T37" fmla="*/ 355 h 479"/>
                  <a:gd name="T38" fmla="*/ 96 w 209"/>
                  <a:gd name="T39" fmla="*/ 357 h 479"/>
                  <a:gd name="T40" fmla="*/ 105 w 209"/>
                  <a:gd name="T41" fmla="*/ 355 h 479"/>
                  <a:gd name="T42" fmla="*/ 123 w 209"/>
                  <a:gd name="T43" fmla="*/ 343 h 479"/>
                  <a:gd name="T44" fmla="*/ 111 w 209"/>
                  <a:gd name="T45" fmla="*/ 329 h 479"/>
                  <a:gd name="T46" fmla="*/ 100 w 209"/>
                  <a:gd name="T47" fmla="*/ 327 h 479"/>
                  <a:gd name="T48" fmla="*/ 87 w 209"/>
                  <a:gd name="T49" fmla="*/ 332 h 479"/>
                  <a:gd name="T50" fmla="*/ 96 w 209"/>
                  <a:gd name="T51" fmla="*/ 318 h 479"/>
                  <a:gd name="T52" fmla="*/ 96 w 209"/>
                  <a:gd name="T53" fmla="*/ 284 h 479"/>
                  <a:gd name="T54" fmla="*/ 98 w 209"/>
                  <a:gd name="T55" fmla="*/ 261 h 479"/>
                  <a:gd name="T56" fmla="*/ 107 w 209"/>
                  <a:gd name="T57" fmla="*/ 254 h 479"/>
                  <a:gd name="T58" fmla="*/ 111 w 209"/>
                  <a:gd name="T59" fmla="*/ 248 h 479"/>
                  <a:gd name="T60" fmla="*/ 112 w 209"/>
                  <a:gd name="T61" fmla="*/ 239 h 479"/>
                  <a:gd name="T62" fmla="*/ 121 w 209"/>
                  <a:gd name="T63" fmla="*/ 232 h 479"/>
                  <a:gd name="T64" fmla="*/ 136 w 209"/>
                  <a:gd name="T65" fmla="*/ 220 h 479"/>
                  <a:gd name="T66" fmla="*/ 146 w 209"/>
                  <a:gd name="T67" fmla="*/ 214 h 479"/>
                  <a:gd name="T68" fmla="*/ 166 w 209"/>
                  <a:gd name="T69" fmla="*/ 193 h 479"/>
                  <a:gd name="T70" fmla="*/ 162 w 209"/>
                  <a:gd name="T71" fmla="*/ 179 h 479"/>
                  <a:gd name="T72" fmla="*/ 166 w 209"/>
                  <a:gd name="T73" fmla="*/ 170 h 479"/>
                  <a:gd name="T74" fmla="*/ 169 w 209"/>
                  <a:gd name="T75" fmla="*/ 150 h 479"/>
                  <a:gd name="T76" fmla="*/ 177 w 209"/>
                  <a:gd name="T77" fmla="*/ 145 h 479"/>
                  <a:gd name="T78" fmla="*/ 178 w 209"/>
                  <a:gd name="T79" fmla="*/ 139 h 479"/>
                  <a:gd name="T80" fmla="*/ 182 w 209"/>
                  <a:gd name="T81" fmla="*/ 134 h 479"/>
                  <a:gd name="T82" fmla="*/ 191 w 209"/>
                  <a:gd name="T83" fmla="*/ 136 h 479"/>
                  <a:gd name="T84" fmla="*/ 207 w 209"/>
                  <a:gd name="T85" fmla="*/ 136 h 479"/>
                  <a:gd name="T86" fmla="*/ 200 w 209"/>
                  <a:gd name="T87" fmla="*/ 86 h 479"/>
                  <a:gd name="T88" fmla="*/ 200 w 209"/>
                  <a:gd name="T89" fmla="*/ 50 h 479"/>
                  <a:gd name="T90" fmla="*/ 146 w 209"/>
                  <a:gd name="T91" fmla="*/ 0 h 479"/>
                  <a:gd name="T92" fmla="*/ 144 w 209"/>
                  <a:gd name="T93" fmla="*/ 12 h 479"/>
                  <a:gd name="T94" fmla="*/ 141 w 209"/>
                  <a:gd name="T95" fmla="*/ 29 h 479"/>
                  <a:gd name="T96" fmla="*/ 112 w 209"/>
                  <a:gd name="T97" fmla="*/ 45 h 479"/>
                  <a:gd name="T98" fmla="*/ 89 w 209"/>
                  <a:gd name="T99" fmla="*/ 52 h 479"/>
                  <a:gd name="T100" fmla="*/ 69 w 209"/>
                  <a:gd name="T101" fmla="*/ 107 h 479"/>
                  <a:gd name="T102" fmla="*/ 43 w 209"/>
                  <a:gd name="T103" fmla="*/ 180 h 479"/>
                  <a:gd name="T104" fmla="*/ 30 w 209"/>
                  <a:gd name="T105" fmla="*/ 204 h 479"/>
                  <a:gd name="T106" fmla="*/ 19 w 209"/>
                  <a:gd name="T107" fmla="*/ 237 h 479"/>
                  <a:gd name="T108" fmla="*/ 19 w 209"/>
                  <a:gd name="T109" fmla="*/ 286 h 479"/>
                  <a:gd name="T110" fmla="*/ 18 w 209"/>
                  <a:gd name="T111" fmla="*/ 309 h 479"/>
                  <a:gd name="T112" fmla="*/ 19 w 209"/>
                  <a:gd name="T113" fmla="*/ 341 h 479"/>
                  <a:gd name="T114" fmla="*/ 5 w 209"/>
                  <a:gd name="T115" fmla="*/ 375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9" h="479">
                    <a:moveTo>
                      <a:pt x="2" y="370"/>
                    </a:moveTo>
                    <a:lnTo>
                      <a:pt x="0" y="373"/>
                    </a:lnTo>
                    <a:lnTo>
                      <a:pt x="2" y="389"/>
                    </a:lnTo>
                    <a:lnTo>
                      <a:pt x="3" y="389"/>
                    </a:lnTo>
                    <a:lnTo>
                      <a:pt x="3" y="391"/>
                    </a:lnTo>
                    <a:lnTo>
                      <a:pt x="3" y="393"/>
                    </a:lnTo>
                    <a:lnTo>
                      <a:pt x="3" y="395"/>
                    </a:lnTo>
                    <a:lnTo>
                      <a:pt x="5" y="393"/>
                    </a:lnTo>
                    <a:lnTo>
                      <a:pt x="5" y="389"/>
                    </a:lnTo>
                    <a:lnTo>
                      <a:pt x="7" y="391"/>
                    </a:lnTo>
                    <a:lnTo>
                      <a:pt x="7" y="395"/>
                    </a:lnTo>
                    <a:lnTo>
                      <a:pt x="7" y="395"/>
                    </a:lnTo>
                    <a:lnTo>
                      <a:pt x="9" y="395"/>
                    </a:lnTo>
                    <a:lnTo>
                      <a:pt x="7" y="396"/>
                    </a:lnTo>
                    <a:lnTo>
                      <a:pt x="5" y="398"/>
                    </a:lnTo>
                    <a:lnTo>
                      <a:pt x="9" y="400"/>
                    </a:lnTo>
                    <a:lnTo>
                      <a:pt x="11" y="404"/>
                    </a:lnTo>
                    <a:lnTo>
                      <a:pt x="9" y="409"/>
                    </a:lnTo>
                    <a:lnTo>
                      <a:pt x="12" y="407"/>
                    </a:lnTo>
                    <a:lnTo>
                      <a:pt x="12" y="411"/>
                    </a:lnTo>
                    <a:lnTo>
                      <a:pt x="11" y="412"/>
                    </a:lnTo>
                    <a:lnTo>
                      <a:pt x="12" y="418"/>
                    </a:lnTo>
                    <a:lnTo>
                      <a:pt x="12" y="421"/>
                    </a:lnTo>
                    <a:lnTo>
                      <a:pt x="14" y="421"/>
                    </a:lnTo>
                    <a:lnTo>
                      <a:pt x="18" y="434"/>
                    </a:lnTo>
                    <a:lnTo>
                      <a:pt x="21" y="437"/>
                    </a:lnTo>
                    <a:lnTo>
                      <a:pt x="23" y="441"/>
                    </a:lnTo>
                    <a:lnTo>
                      <a:pt x="27" y="443"/>
                    </a:lnTo>
                    <a:lnTo>
                      <a:pt x="28" y="445"/>
                    </a:lnTo>
                    <a:lnTo>
                      <a:pt x="28" y="448"/>
                    </a:lnTo>
                    <a:lnTo>
                      <a:pt x="27" y="448"/>
                    </a:lnTo>
                    <a:lnTo>
                      <a:pt x="25" y="448"/>
                    </a:lnTo>
                    <a:lnTo>
                      <a:pt x="23" y="450"/>
                    </a:lnTo>
                    <a:lnTo>
                      <a:pt x="27" y="454"/>
                    </a:lnTo>
                    <a:lnTo>
                      <a:pt x="23" y="454"/>
                    </a:lnTo>
                    <a:lnTo>
                      <a:pt x="21" y="454"/>
                    </a:lnTo>
                    <a:lnTo>
                      <a:pt x="21" y="455"/>
                    </a:lnTo>
                    <a:lnTo>
                      <a:pt x="30" y="471"/>
                    </a:lnTo>
                    <a:lnTo>
                      <a:pt x="28" y="473"/>
                    </a:lnTo>
                    <a:lnTo>
                      <a:pt x="28" y="477"/>
                    </a:lnTo>
                    <a:lnTo>
                      <a:pt x="27" y="477"/>
                    </a:lnTo>
                    <a:lnTo>
                      <a:pt x="27" y="479"/>
                    </a:lnTo>
                    <a:lnTo>
                      <a:pt x="30" y="479"/>
                    </a:lnTo>
                    <a:lnTo>
                      <a:pt x="34" y="479"/>
                    </a:lnTo>
                    <a:lnTo>
                      <a:pt x="39" y="477"/>
                    </a:lnTo>
                    <a:lnTo>
                      <a:pt x="44" y="477"/>
                    </a:lnTo>
                    <a:lnTo>
                      <a:pt x="48" y="479"/>
                    </a:lnTo>
                    <a:lnTo>
                      <a:pt x="48" y="477"/>
                    </a:lnTo>
                    <a:lnTo>
                      <a:pt x="50" y="473"/>
                    </a:lnTo>
                    <a:lnTo>
                      <a:pt x="50" y="466"/>
                    </a:lnTo>
                    <a:lnTo>
                      <a:pt x="52" y="459"/>
                    </a:lnTo>
                    <a:lnTo>
                      <a:pt x="55" y="461"/>
                    </a:lnTo>
                    <a:lnTo>
                      <a:pt x="57" y="457"/>
                    </a:lnTo>
                    <a:lnTo>
                      <a:pt x="59" y="455"/>
                    </a:lnTo>
                    <a:lnTo>
                      <a:pt x="64" y="455"/>
                    </a:lnTo>
                    <a:lnTo>
                      <a:pt x="66" y="457"/>
                    </a:lnTo>
                    <a:lnTo>
                      <a:pt x="69" y="455"/>
                    </a:lnTo>
                    <a:lnTo>
                      <a:pt x="73" y="457"/>
                    </a:lnTo>
                    <a:lnTo>
                      <a:pt x="77" y="457"/>
                    </a:lnTo>
                    <a:lnTo>
                      <a:pt x="84" y="439"/>
                    </a:lnTo>
                    <a:lnTo>
                      <a:pt x="84" y="434"/>
                    </a:lnTo>
                    <a:lnTo>
                      <a:pt x="84" y="430"/>
                    </a:lnTo>
                    <a:lnTo>
                      <a:pt x="84" y="425"/>
                    </a:lnTo>
                    <a:lnTo>
                      <a:pt x="87" y="420"/>
                    </a:lnTo>
                    <a:lnTo>
                      <a:pt x="87" y="416"/>
                    </a:lnTo>
                    <a:lnTo>
                      <a:pt x="86" y="414"/>
                    </a:lnTo>
                    <a:lnTo>
                      <a:pt x="87" y="411"/>
                    </a:lnTo>
                    <a:lnTo>
                      <a:pt x="87" y="409"/>
                    </a:lnTo>
                    <a:lnTo>
                      <a:pt x="86" y="405"/>
                    </a:lnTo>
                    <a:lnTo>
                      <a:pt x="86" y="405"/>
                    </a:lnTo>
                    <a:lnTo>
                      <a:pt x="86" y="404"/>
                    </a:lnTo>
                    <a:lnTo>
                      <a:pt x="87" y="404"/>
                    </a:lnTo>
                    <a:lnTo>
                      <a:pt x="89" y="404"/>
                    </a:lnTo>
                    <a:lnTo>
                      <a:pt x="87" y="402"/>
                    </a:lnTo>
                    <a:lnTo>
                      <a:pt x="87" y="402"/>
                    </a:lnTo>
                    <a:lnTo>
                      <a:pt x="89" y="400"/>
                    </a:lnTo>
                    <a:lnTo>
                      <a:pt x="89" y="398"/>
                    </a:lnTo>
                    <a:lnTo>
                      <a:pt x="89" y="393"/>
                    </a:lnTo>
                    <a:lnTo>
                      <a:pt x="89" y="391"/>
                    </a:lnTo>
                    <a:lnTo>
                      <a:pt x="84" y="387"/>
                    </a:lnTo>
                    <a:lnTo>
                      <a:pt x="84" y="387"/>
                    </a:lnTo>
                    <a:lnTo>
                      <a:pt x="87" y="389"/>
                    </a:lnTo>
                    <a:lnTo>
                      <a:pt x="91" y="387"/>
                    </a:lnTo>
                    <a:lnTo>
                      <a:pt x="91" y="387"/>
                    </a:lnTo>
                    <a:lnTo>
                      <a:pt x="87" y="384"/>
                    </a:lnTo>
                    <a:lnTo>
                      <a:pt x="80" y="384"/>
                    </a:lnTo>
                    <a:lnTo>
                      <a:pt x="80" y="382"/>
                    </a:lnTo>
                    <a:lnTo>
                      <a:pt x="87" y="382"/>
                    </a:lnTo>
                    <a:lnTo>
                      <a:pt x="91" y="382"/>
                    </a:lnTo>
                    <a:lnTo>
                      <a:pt x="93" y="382"/>
                    </a:lnTo>
                    <a:lnTo>
                      <a:pt x="93" y="379"/>
                    </a:lnTo>
                    <a:lnTo>
                      <a:pt x="98" y="379"/>
                    </a:lnTo>
                    <a:lnTo>
                      <a:pt x="102" y="373"/>
                    </a:lnTo>
                    <a:lnTo>
                      <a:pt x="102" y="370"/>
                    </a:lnTo>
                    <a:lnTo>
                      <a:pt x="105" y="371"/>
                    </a:lnTo>
                    <a:lnTo>
                      <a:pt x="105" y="375"/>
                    </a:lnTo>
                    <a:lnTo>
                      <a:pt x="109" y="373"/>
                    </a:lnTo>
                    <a:lnTo>
                      <a:pt x="111" y="370"/>
                    </a:lnTo>
                    <a:lnTo>
                      <a:pt x="114" y="366"/>
                    </a:lnTo>
                    <a:lnTo>
                      <a:pt x="114" y="362"/>
                    </a:lnTo>
                    <a:lnTo>
                      <a:pt x="114" y="364"/>
                    </a:lnTo>
                    <a:lnTo>
                      <a:pt x="116" y="364"/>
                    </a:lnTo>
                    <a:lnTo>
                      <a:pt x="116" y="362"/>
                    </a:lnTo>
                    <a:lnTo>
                      <a:pt x="118" y="361"/>
                    </a:lnTo>
                    <a:lnTo>
                      <a:pt x="118" y="359"/>
                    </a:lnTo>
                    <a:lnTo>
                      <a:pt x="103" y="362"/>
                    </a:lnTo>
                    <a:lnTo>
                      <a:pt x="100" y="362"/>
                    </a:lnTo>
                    <a:lnTo>
                      <a:pt x="98" y="364"/>
                    </a:lnTo>
                    <a:lnTo>
                      <a:pt x="98" y="361"/>
                    </a:lnTo>
                    <a:lnTo>
                      <a:pt x="96" y="361"/>
                    </a:lnTo>
                    <a:lnTo>
                      <a:pt x="89" y="357"/>
                    </a:lnTo>
                    <a:lnTo>
                      <a:pt x="84" y="357"/>
                    </a:lnTo>
                    <a:lnTo>
                      <a:pt x="82" y="357"/>
                    </a:lnTo>
                    <a:lnTo>
                      <a:pt x="84" y="355"/>
                    </a:lnTo>
                    <a:lnTo>
                      <a:pt x="86" y="354"/>
                    </a:lnTo>
                    <a:lnTo>
                      <a:pt x="87" y="354"/>
                    </a:lnTo>
                    <a:lnTo>
                      <a:pt x="89" y="354"/>
                    </a:lnTo>
                    <a:lnTo>
                      <a:pt x="93" y="354"/>
                    </a:lnTo>
                    <a:lnTo>
                      <a:pt x="94" y="354"/>
                    </a:lnTo>
                    <a:lnTo>
                      <a:pt x="96" y="357"/>
                    </a:lnTo>
                    <a:lnTo>
                      <a:pt x="98" y="355"/>
                    </a:lnTo>
                    <a:lnTo>
                      <a:pt x="98" y="354"/>
                    </a:lnTo>
                    <a:lnTo>
                      <a:pt x="100" y="355"/>
                    </a:lnTo>
                    <a:lnTo>
                      <a:pt x="103" y="357"/>
                    </a:lnTo>
                    <a:lnTo>
                      <a:pt x="103" y="355"/>
                    </a:lnTo>
                    <a:lnTo>
                      <a:pt x="105" y="355"/>
                    </a:lnTo>
                    <a:lnTo>
                      <a:pt x="105" y="359"/>
                    </a:lnTo>
                    <a:lnTo>
                      <a:pt x="109" y="361"/>
                    </a:lnTo>
                    <a:lnTo>
                      <a:pt x="118" y="355"/>
                    </a:lnTo>
                    <a:lnTo>
                      <a:pt x="121" y="350"/>
                    </a:lnTo>
                    <a:lnTo>
                      <a:pt x="121" y="348"/>
                    </a:lnTo>
                    <a:lnTo>
                      <a:pt x="123" y="343"/>
                    </a:lnTo>
                    <a:lnTo>
                      <a:pt x="121" y="339"/>
                    </a:lnTo>
                    <a:lnTo>
                      <a:pt x="118" y="336"/>
                    </a:lnTo>
                    <a:lnTo>
                      <a:pt x="114" y="332"/>
                    </a:lnTo>
                    <a:lnTo>
                      <a:pt x="118" y="332"/>
                    </a:lnTo>
                    <a:lnTo>
                      <a:pt x="118" y="330"/>
                    </a:lnTo>
                    <a:lnTo>
                      <a:pt x="111" y="329"/>
                    </a:lnTo>
                    <a:lnTo>
                      <a:pt x="109" y="321"/>
                    </a:lnTo>
                    <a:lnTo>
                      <a:pt x="103" y="323"/>
                    </a:lnTo>
                    <a:lnTo>
                      <a:pt x="102" y="320"/>
                    </a:lnTo>
                    <a:lnTo>
                      <a:pt x="102" y="320"/>
                    </a:lnTo>
                    <a:lnTo>
                      <a:pt x="102" y="321"/>
                    </a:lnTo>
                    <a:lnTo>
                      <a:pt x="100" y="327"/>
                    </a:lnTo>
                    <a:lnTo>
                      <a:pt x="89" y="336"/>
                    </a:lnTo>
                    <a:lnTo>
                      <a:pt x="87" y="336"/>
                    </a:lnTo>
                    <a:lnTo>
                      <a:pt x="84" y="336"/>
                    </a:lnTo>
                    <a:lnTo>
                      <a:pt x="82" y="336"/>
                    </a:lnTo>
                    <a:lnTo>
                      <a:pt x="84" y="334"/>
                    </a:lnTo>
                    <a:lnTo>
                      <a:pt x="87" y="332"/>
                    </a:lnTo>
                    <a:lnTo>
                      <a:pt x="91" y="330"/>
                    </a:lnTo>
                    <a:lnTo>
                      <a:pt x="93" y="329"/>
                    </a:lnTo>
                    <a:lnTo>
                      <a:pt x="98" y="325"/>
                    </a:lnTo>
                    <a:lnTo>
                      <a:pt x="98" y="321"/>
                    </a:lnTo>
                    <a:lnTo>
                      <a:pt x="98" y="318"/>
                    </a:lnTo>
                    <a:lnTo>
                      <a:pt x="96" y="318"/>
                    </a:lnTo>
                    <a:lnTo>
                      <a:pt x="98" y="314"/>
                    </a:lnTo>
                    <a:lnTo>
                      <a:pt x="98" y="312"/>
                    </a:lnTo>
                    <a:lnTo>
                      <a:pt x="96" y="309"/>
                    </a:lnTo>
                    <a:lnTo>
                      <a:pt x="94" y="289"/>
                    </a:lnTo>
                    <a:lnTo>
                      <a:pt x="96" y="286"/>
                    </a:lnTo>
                    <a:lnTo>
                      <a:pt x="96" y="284"/>
                    </a:lnTo>
                    <a:lnTo>
                      <a:pt x="100" y="286"/>
                    </a:lnTo>
                    <a:lnTo>
                      <a:pt x="100" y="284"/>
                    </a:lnTo>
                    <a:lnTo>
                      <a:pt x="100" y="277"/>
                    </a:lnTo>
                    <a:lnTo>
                      <a:pt x="102" y="266"/>
                    </a:lnTo>
                    <a:lnTo>
                      <a:pt x="100" y="262"/>
                    </a:lnTo>
                    <a:lnTo>
                      <a:pt x="98" y="261"/>
                    </a:lnTo>
                    <a:lnTo>
                      <a:pt x="100" y="257"/>
                    </a:lnTo>
                    <a:lnTo>
                      <a:pt x="103" y="259"/>
                    </a:lnTo>
                    <a:lnTo>
                      <a:pt x="103" y="259"/>
                    </a:lnTo>
                    <a:lnTo>
                      <a:pt x="105" y="257"/>
                    </a:lnTo>
                    <a:lnTo>
                      <a:pt x="107" y="255"/>
                    </a:lnTo>
                    <a:lnTo>
                      <a:pt x="107" y="254"/>
                    </a:lnTo>
                    <a:lnTo>
                      <a:pt x="107" y="254"/>
                    </a:lnTo>
                    <a:lnTo>
                      <a:pt x="107" y="248"/>
                    </a:lnTo>
                    <a:lnTo>
                      <a:pt x="107" y="245"/>
                    </a:lnTo>
                    <a:lnTo>
                      <a:pt x="107" y="243"/>
                    </a:lnTo>
                    <a:lnTo>
                      <a:pt x="107" y="245"/>
                    </a:lnTo>
                    <a:lnTo>
                      <a:pt x="111" y="248"/>
                    </a:lnTo>
                    <a:lnTo>
                      <a:pt x="111" y="246"/>
                    </a:lnTo>
                    <a:lnTo>
                      <a:pt x="112" y="245"/>
                    </a:lnTo>
                    <a:lnTo>
                      <a:pt x="114" y="245"/>
                    </a:lnTo>
                    <a:lnTo>
                      <a:pt x="114" y="243"/>
                    </a:lnTo>
                    <a:lnTo>
                      <a:pt x="116" y="241"/>
                    </a:lnTo>
                    <a:lnTo>
                      <a:pt x="112" y="239"/>
                    </a:lnTo>
                    <a:lnTo>
                      <a:pt x="114" y="241"/>
                    </a:lnTo>
                    <a:lnTo>
                      <a:pt x="118" y="239"/>
                    </a:lnTo>
                    <a:lnTo>
                      <a:pt x="118" y="237"/>
                    </a:lnTo>
                    <a:lnTo>
                      <a:pt x="119" y="236"/>
                    </a:lnTo>
                    <a:lnTo>
                      <a:pt x="119" y="234"/>
                    </a:lnTo>
                    <a:lnTo>
                      <a:pt x="121" y="232"/>
                    </a:lnTo>
                    <a:lnTo>
                      <a:pt x="121" y="229"/>
                    </a:lnTo>
                    <a:lnTo>
                      <a:pt x="123" y="229"/>
                    </a:lnTo>
                    <a:lnTo>
                      <a:pt x="127" y="229"/>
                    </a:lnTo>
                    <a:lnTo>
                      <a:pt x="130" y="227"/>
                    </a:lnTo>
                    <a:lnTo>
                      <a:pt x="130" y="223"/>
                    </a:lnTo>
                    <a:lnTo>
                      <a:pt x="136" y="220"/>
                    </a:lnTo>
                    <a:lnTo>
                      <a:pt x="137" y="221"/>
                    </a:lnTo>
                    <a:lnTo>
                      <a:pt x="141" y="220"/>
                    </a:lnTo>
                    <a:lnTo>
                      <a:pt x="141" y="218"/>
                    </a:lnTo>
                    <a:lnTo>
                      <a:pt x="143" y="214"/>
                    </a:lnTo>
                    <a:lnTo>
                      <a:pt x="146" y="216"/>
                    </a:lnTo>
                    <a:lnTo>
                      <a:pt x="146" y="214"/>
                    </a:lnTo>
                    <a:lnTo>
                      <a:pt x="150" y="212"/>
                    </a:lnTo>
                    <a:lnTo>
                      <a:pt x="152" y="211"/>
                    </a:lnTo>
                    <a:lnTo>
                      <a:pt x="153" y="209"/>
                    </a:lnTo>
                    <a:lnTo>
                      <a:pt x="166" y="189"/>
                    </a:lnTo>
                    <a:lnTo>
                      <a:pt x="166" y="191"/>
                    </a:lnTo>
                    <a:lnTo>
                      <a:pt x="166" y="193"/>
                    </a:lnTo>
                    <a:lnTo>
                      <a:pt x="168" y="187"/>
                    </a:lnTo>
                    <a:lnTo>
                      <a:pt x="166" y="186"/>
                    </a:lnTo>
                    <a:lnTo>
                      <a:pt x="166" y="184"/>
                    </a:lnTo>
                    <a:lnTo>
                      <a:pt x="162" y="180"/>
                    </a:lnTo>
                    <a:lnTo>
                      <a:pt x="162" y="179"/>
                    </a:lnTo>
                    <a:lnTo>
                      <a:pt x="162" y="179"/>
                    </a:lnTo>
                    <a:lnTo>
                      <a:pt x="162" y="177"/>
                    </a:lnTo>
                    <a:lnTo>
                      <a:pt x="161" y="175"/>
                    </a:lnTo>
                    <a:lnTo>
                      <a:pt x="161" y="173"/>
                    </a:lnTo>
                    <a:lnTo>
                      <a:pt x="162" y="171"/>
                    </a:lnTo>
                    <a:lnTo>
                      <a:pt x="162" y="170"/>
                    </a:lnTo>
                    <a:lnTo>
                      <a:pt x="166" y="170"/>
                    </a:lnTo>
                    <a:lnTo>
                      <a:pt x="168" y="161"/>
                    </a:lnTo>
                    <a:lnTo>
                      <a:pt x="166" y="155"/>
                    </a:lnTo>
                    <a:lnTo>
                      <a:pt x="166" y="154"/>
                    </a:lnTo>
                    <a:lnTo>
                      <a:pt x="169" y="152"/>
                    </a:lnTo>
                    <a:lnTo>
                      <a:pt x="169" y="150"/>
                    </a:lnTo>
                    <a:lnTo>
                      <a:pt x="169" y="150"/>
                    </a:lnTo>
                    <a:lnTo>
                      <a:pt x="173" y="150"/>
                    </a:lnTo>
                    <a:lnTo>
                      <a:pt x="173" y="150"/>
                    </a:lnTo>
                    <a:lnTo>
                      <a:pt x="175" y="148"/>
                    </a:lnTo>
                    <a:lnTo>
                      <a:pt x="173" y="146"/>
                    </a:lnTo>
                    <a:lnTo>
                      <a:pt x="177" y="146"/>
                    </a:lnTo>
                    <a:lnTo>
                      <a:pt x="177" y="145"/>
                    </a:lnTo>
                    <a:lnTo>
                      <a:pt x="173" y="141"/>
                    </a:lnTo>
                    <a:lnTo>
                      <a:pt x="173" y="139"/>
                    </a:lnTo>
                    <a:lnTo>
                      <a:pt x="177" y="141"/>
                    </a:lnTo>
                    <a:lnTo>
                      <a:pt x="178" y="145"/>
                    </a:lnTo>
                    <a:lnTo>
                      <a:pt x="178" y="145"/>
                    </a:lnTo>
                    <a:lnTo>
                      <a:pt x="178" y="139"/>
                    </a:lnTo>
                    <a:lnTo>
                      <a:pt x="178" y="139"/>
                    </a:lnTo>
                    <a:lnTo>
                      <a:pt x="180" y="139"/>
                    </a:lnTo>
                    <a:lnTo>
                      <a:pt x="180" y="132"/>
                    </a:lnTo>
                    <a:lnTo>
                      <a:pt x="182" y="132"/>
                    </a:lnTo>
                    <a:lnTo>
                      <a:pt x="182" y="132"/>
                    </a:lnTo>
                    <a:lnTo>
                      <a:pt x="182" y="134"/>
                    </a:lnTo>
                    <a:lnTo>
                      <a:pt x="184" y="136"/>
                    </a:lnTo>
                    <a:lnTo>
                      <a:pt x="186" y="136"/>
                    </a:lnTo>
                    <a:lnTo>
                      <a:pt x="187" y="132"/>
                    </a:lnTo>
                    <a:lnTo>
                      <a:pt x="187" y="134"/>
                    </a:lnTo>
                    <a:lnTo>
                      <a:pt x="189" y="136"/>
                    </a:lnTo>
                    <a:lnTo>
                      <a:pt x="191" y="136"/>
                    </a:lnTo>
                    <a:lnTo>
                      <a:pt x="193" y="137"/>
                    </a:lnTo>
                    <a:lnTo>
                      <a:pt x="194" y="134"/>
                    </a:lnTo>
                    <a:lnTo>
                      <a:pt x="202" y="134"/>
                    </a:lnTo>
                    <a:lnTo>
                      <a:pt x="203" y="136"/>
                    </a:lnTo>
                    <a:lnTo>
                      <a:pt x="205" y="137"/>
                    </a:lnTo>
                    <a:lnTo>
                      <a:pt x="207" y="136"/>
                    </a:lnTo>
                    <a:lnTo>
                      <a:pt x="209" y="136"/>
                    </a:lnTo>
                    <a:lnTo>
                      <a:pt x="202" y="116"/>
                    </a:lnTo>
                    <a:lnTo>
                      <a:pt x="203" y="111"/>
                    </a:lnTo>
                    <a:lnTo>
                      <a:pt x="205" y="105"/>
                    </a:lnTo>
                    <a:lnTo>
                      <a:pt x="207" y="100"/>
                    </a:lnTo>
                    <a:lnTo>
                      <a:pt x="200" y="86"/>
                    </a:lnTo>
                    <a:lnTo>
                      <a:pt x="200" y="82"/>
                    </a:lnTo>
                    <a:lnTo>
                      <a:pt x="202" y="75"/>
                    </a:lnTo>
                    <a:lnTo>
                      <a:pt x="200" y="71"/>
                    </a:lnTo>
                    <a:lnTo>
                      <a:pt x="200" y="70"/>
                    </a:lnTo>
                    <a:lnTo>
                      <a:pt x="198" y="59"/>
                    </a:lnTo>
                    <a:lnTo>
                      <a:pt x="200" y="50"/>
                    </a:lnTo>
                    <a:lnTo>
                      <a:pt x="191" y="32"/>
                    </a:lnTo>
                    <a:lnTo>
                      <a:pt x="186" y="27"/>
                    </a:lnTo>
                    <a:lnTo>
                      <a:pt x="175" y="23"/>
                    </a:lnTo>
                    <a:lnTo>
                      <a:pt x="153" y="2"/>
                    </a:lnTo>
                    <a:lnTo>
                      <a:pt x="153" y="0"/>
                    </a:lnTo>
                    <a:lnTo>
                      <a:pt x="146" y="0"/>
                    </a:lnTo>
                    <a:lnTo>
                      <a:pt x="144" y="2"/>
                    </a:lnTo>
                    <a:lnTo>
                      <a:pt x="144" y="4"/>
                    </a:lnTo>
                    <a:lnTo>
                      <a:pt x="146" y="5"/>
                    </a:lnTo>
                    <a:lnTo>
                      <a:pt x="146" y="9"/>
                    </a:lnTo>
                    <a:lnTo>
                      <a:pt x="146" y="11"/>
                    </a:lnTo>
                    <a:lnTo>
                      <a:pt x="144" y="12"/>
                    </a:lnTo>
                    <a:lnTo>
                      <a:pt x="143" y="18"/>
                    </a:lnTo>
                    <a:lnTo>
                      <a:pt x="141" y="20"/>
                    </a:lnTo>
                    <a:lnTo>
                      <a:pt x="143" y="23"/>
                    </a:lnTo>
                    <a:lnTo>
                      <a:pt x="144" y="27"/>
                    </a:lnTo>
                    <a:lnTo>
                      <a:pt x="143" y="29"/>
                    </a:lnTo>
                    <a:lnTo>
                      <a:pt x="141" y="29"/>
                    </a:lnTo>
                    <a:lnTo>
                      <a:pt x="119" y="23"/>
                    </a:lnTo>
                    <a:lnTo>
                      <a:pt x="116" y="23"/>
                    </a:lnTo>
                    <a:lnTo>
                      <a:pt x="114" y="25"/>
                    </a:lnTo>
                    <a:lnTo>
                      <a:pt x="112" y="29"/>
                    </a:lnTo>
                    <a:lnTo>
                      <a:pt x="114" y="36"/>
                    </a:lnTo>
                    <a:lnTo>
                      <a:pt x="112" y="45"/>
                    </a:lnTo>
                    <a:lnTo>
                      <a:pt x="109" y="48"/>
                    </a:lnTo>
                    <a:lnTo>
                      <a:pt x="107" y="48"/>
                    </a:lnTo>
                    <a:lnTo>
                      <a:pt x="105" y="45"/>
                    </a:lnTo>
                    <a:lnTo>
                      <a:pt x="102" y="43"/>
                    </a:lnTo>
                    <a:lnTo>
                      <a:pt x="98" y="43"/>
                    </a:lnTo>
                    <a:lnTo>
                      <a:pt x="89" y="52"/>
                    </a:lnTo>
                    <a:lnTo>
                      <a:pt x="87" y="61"/>
                    </a:lnTo>
                    <a:lnTo>
                      <a:pt x="82" y="70"/>
                    </a:lnTo>
                    <a:lnTo>
                      <a:pt x="82" y="73"/>
                    </a:lnTo>
                    <a:lnTo>
                      <a:pt x="86" y="80"/>
                    </a:lnTo>
                    <a:lnTo>
                      <a:pt x="86" y="84"/>
                    </a:lnTo>
                    <a:lnTo>
                      <a:pt x="69" y="107"/>
                    </a:lnTo>
                    <a:lnTo>
                      <a:pt x="66" y="121"/>
                    </a:lnTo>
                    <a:lnTo>
                      <a:pt x="61" y="125"/>
                    </a:lnTo>
                    <a:lnTo>
                      <a:pt x="59" y="125"/>
                    </a:lnTo>
                    <a:lnTo>
                      <a:pt x="55" y="127"/>
                    </a:lnTo>
                    <a:lnTo>
                      <a:pt x="53" y="159"/>
                    </a:lnTo>
                    <a:lnTo>
                      <a:pt x="43" y="180"/>
                    </a:lnTo>
                    <a:lnTo>
                      <a:pt x="43" y="182"/>
                    </a:lnTo>
                    <a:lnTo>
                      <a:pt x="50" y="191"/>
                    </a:lnTo>
                    <a:lnTo>
                      <a:pt x="48" y="200"/>
                    </a:lnTo>
                    <a:lnTo>
                      <a:pt x="46" y="204"/>
                    </a:lnTo>
                    <a:lnTo>
                      <a:pt x="36" y="202"/>
                    </a:lnTo>
                    <a:lnTo>
                      <a:pt x="30" y="204"/>
                    </a:lnTo>
                    <a:lnTo>
                      <a:pt x="25" y="207"/>
                    </a:lnTo>
                    <a:lnTo>
                      <a:pt x="18" y="216"/>
                    </a:lnTo>
                    <a:lnTo>
                      <a:pt x="14" y="227"/>
                    </a:lnTo>
                    <a:lnTo>
                      <a:pt x="16" y="232"/>
                    </a:lnTo>
                    <a:lnTo>
                      <a:pt x="18" y="236"/>
                    </a:lnTo>
                    <a:lnTo>
                      <a:pt x="19" y="237"/>
                    </a:lnTo>
                    <a:lnTo>
                      <a:pt x="18" y="239"/>
                    </a:lnTo>
                    <a:lnTo>
                      <a:pt x="16" y="257"/>
                    </a:lnTo>
                    <a:lnTo>
                      <a:pt x="16" y="259"/>
                    </a:lnTo>
                    <a:lnTo>
                      <a:pt x="18" y="262"/>
                    </a:lnTo>
                    <a:lnTo>
                      <a:pt x="18" y="282"/>
                    </a:lnTo>
                    <a:lnTo>
                      <a:pt x="19" y="286"/>
                    </a:lnTo>
                    <a:lnTo>
                      <a:pt x="27" y="291"/>
                    </a:lnTo>
                    <a:lnTo>
                      <a:pt x="27" y="296"/>
                    </a:lnTo>
                    <a:lnTo>
                      <a:pt x="25" y="302"/>
                    </a:lnTo>
                    <a:lnTo>
                      <a:pt x="21" y="305"/>
                    </a:lnTo>
                    <a:lnTo>
                      <a:pt x="18" y="307"/>
                    </a:lnTo>
                    <a:lnTo>
                      <a:pt x="18" y="309"/>
                    </a:lnTo>
                    <a:lnTo>
                      <a:pt x="19" y="312"/>
                    </a:lnTo>
                    <a:lnTo>
                      <a:pt x="23" y="323"/>
                    </a:lnTo>
                    <a:lnTo>
                      <a:pt x="19" y="330"/>
                    </a:lnTo>
                    <a:lnTo>
                      <a:pt x="21" y="334"/>
                    </a:lnTo>
                    <a:lnTo>
                      <a:pt x="21" y="337"/>
                    </a:lnTo>
                    <a:lnTo>
                      <a:pt x="19" y="341"/>
                    </a:lnTo>
                    <a:lnTo>
                      <a:pt x="11" y="345"/>
                    </a:lnTo>
                    <a:lnTo>
                      <a:pt x="11" y="348"/>
                    </a:lnTo>
                    <a:lnTo>
                      <a:pt x="7" y="354"/>
                    </a:lnTo>
                    <a:lnTo>
                      <a:pt x="9" y="362"/>
                    </a:lnTo>
                    <a:lnTo>
                      <a:pt x="7" y="373"/>
                    </a:lnTo>
                    <a:lnTo>
                      <a:pt x="5" y="375"/>
                    </a:lnTo>
                    <a:lnTo>
                      <a:pt x="3" y="373"/>
                    </a:lnTo>
                    <a:lnTo>
                      <a:pt x="2" y="377"/>
                    </a:lnTo>
                    <a:lnTo>
                      <a:pt x="2" y="370"/>
                    </a:lnTo>
                    <a:lnTo>
                      <a:pt x="2" y="37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24" name="Freeform 2073"/>
              <p:cNvSpPr>
                <a:spLocks/>
              </p:cNvSpPr>
              <p:nvPr/>
            </p:nvSpPr>
            <p:spPr bwMode="auto">
              <a:xfrm>
                <a:off x="2873" y="1170"/>
                <a:ext cx="209" cy="479"/>
              </a:xfrm>
              <a:custGeom>
                <a:avLst/>
                <a:gdLst>
                  <a:gd name="T0" fmla="*/ 3 w 209"/>
                  <a:gd name="T1" fmla="*/ 393 h 479"/>
                  <a:gd name="T2" fmla="*/ 7 w 209"/>
                  <a:gd name="T3" fmla="*/ 395 h 479"/>
                  <a:gd name="T4" fmla="*/ 9 w 209"/>
                  <a:gd name="T5" fmla="*/ 409 h 479"/>
                  <a:gd name="T6" fmla="*/ 14 w 209"/>
                  <a:gd name="T7" fmla="*/ 421 h 479"/>
                  <a:gd name="T8" fmla="*/ 28 w 209"/>
                  <a:gd name="T9" fmla="*/ 448 h 479"/>
                  <a:gd name="T10" fmla="*/ 21 w 209"/>
                  <a:gd name="T11" fmla="*/ 454 h 479"/>
                  <a:gd name="T12" fmla="*/ 27 w 209"/>
                  <a:gd name="T13" fmla="*/ 479 h 479"/>
                  <a:gd name="T14" fmla="*/ 48 w 209"/>
                  <a:gd name="T15" fmla="*/ 477 h 479"/>
                  <a:gd name="T16" fmla="*/ 59 w 209"/>
                  <a:gd name="T17" fmla="*/ 455 h 479"/>
                  <a:gd name="T18" fmla="*/ 84 w 209"/>
                  <a:gd name="T19" fmla="*/ 439 h 479"/>
                  <a:gd name="T20" fmla="*/ 86 w 209"/>
                  <a:gd name="T21" fmla="*/ 414 h 479"/>
                  <a:gd name="T22" fmla="*/ 87 w 209"/>
                  <a:gd name="T23" fmla="*/ 404 h 479"/>
                  <a:gd name="T24" fmla="*/ 89 w 209"/>
                  <a:gd name="T25" fmla="*/ 393 h 479"/>
                  <a:gd name="T26" fmla="*/ 91 w 209"/>
                  <a:gd name="T27" fmla="*/ 387 h 479"/>
                  <a:gd name="T28" fmla="*/ 93 w 209"/>
                  <a:gd name="T29" fmla="*/ 382 h 479"/>
                  <a:gd name="T30" fmla="*/ 105 w 209"/>
                  <a:gd name="T31" fmla="*/ 375 h 479"/>
                  <a:gd name="T32" fmla="*/ 116 w 209"/>
                  <a:gd name="T33" fmla="*/ 364 h 479"/>
                  <a:gd name="T34" fmla="*/ 98 w 209"/>
                  <a:gd name="T35" fmla="*/ 364 h 479"/>
                  <a:gd name="T36" fmla="*/ 84 w 209"/>
                  <a:gd name="T37" fmla="*/ 355 h 479"/>
                  <a:gd name="T38" fmla="*/ 96 w 209"/>
                  <a:gd name="T39" fmla="*/ 357 h 479"/>
                  <a:gd name="T40" fmla="*/ 105 w 209"/>
                  <a:gd name="T41" fmla="*/ 355 h 479"/>
                  <a:gd name="T42" fmla="*/ 123 w 209"/>
                  <a:gd name="T43" fmla="*/ 343 h 479"/>
                  <a:gd name="T44" fmla="*/ 111 w 209"/>
                  <a:gd name="T45" fmla="*/ 329 h 479"/>
                  <a:gd name="T46" fmla="*/ 100 w 209"/>
                  <a:gd name="T47" fmla="*/ 327 h 479"/>
                  <a:gd name="T48" fmla="*/ 87 w 209"/>
                  <a:gd name="T49" fmla="*/ 332 h 479"/>
                  <a:gd name="T50" fmla="*/ 96 w 209"/>
                  <a:gd name="T51" fmla="*/ 318 h 479"/>
                  <a:gd name="T52" fmla="*/ 96 w 209"/>
                  <a:gd name="T53" fmla="*/ 284 h 479"/>
                  <a:gd name="T54" fmla="*/ 98 w 209"/>
                  <a:gd name="T55" fmla="*/ 261 h 479"/>
                  <a:gd name="T56" fmla="*/ 107 w 209"/>
                  <a:gd name="T57" fmla="*/ 254 h 479"/>
                  <a:gd name="T58" fmla="*/ 111 w 209"/>
                  <a:gd name="T59" fmla="*/ 248 h 479"/>
                  <a:gd name="T60" fmla="*/ 112 w 209"/>
                  <a:gd name="T61" fmla="*/ 239 h 479"/>
                  <a:gd name="T62" fmla="*/ 121 w 209"/>
                  <a:gd name="T63" fmla="*/ 232 h 479"/>
                  <a:gd name="T64" fmla="*/ 136 w 209"/>
                  <a:gd name="T65" fmla="*/ 220 h 479"/>
                  <a:gd name="T66" fmla="*/ 146 w 209"/>
                  <a:gd name="T67" fmla="*/ 214 h 479"/>
                  <a:gd name="T68" fmla="*/ 166 w 209"/>
                  <a:gd name="T69" fmla="*/ 193 h 479"/>
                  <a:gd name="T70" fmla="*/ 162 w 209"/>
                  <a:gd name="T71" fmla="*/ 179 h 479"/>
                  <a:gd name="T72" fmla="*/ 166 w 209"/>
                  <a:gd name="T73" fmla="*/ 170 h 479"/>
                  <a:gd name="T74" fmla="*/ 169 w 209"/>
                  <a:gd name="T75" fmla="*/ 150 h 479"/>
                  <a:gd name="T76" fmla="*/ 177 w 209"/>
                  <a:gd name="T77" fmla="*/ 145 h 479"/>
                  <a:gd name="T78" fmla="*/ 178 w 209"/>
                  <a:gd name="T79" fmla="*/ 139 h 479"/>
                  <a:gd name="T80" fmla="*/ 182 w 209"/>
                  <a:gd name="T81" fmla="*/ 134 h 479"/>
                  <a:gd name="T82" fmla="*/ 191 w 209"/>
                  <a:gd name="T83" fmla="*/ 136 h 479"/>
                  <a:gd name="T84" fmla="*/ 207 w 209"/>
                  <a:gd name="T85" fmla="*/ 136 h 479"/>
                  <a:gd name="T86" fmla="*/ 200 w 209"/>
                  <a:gd name="T87" fmla="*/ 86 h 479"/>
                  <a:gd name="T88" fmla="*/ 200 w 209"/>
                  <a:gd name="T89" fmla="*/ 50 h 479"/>
                  <a:gd name="T90" fmla="*/ 146 w 209"/>
                  <a:gd name="T91" fmla="*/ 0 h 479"/>
                  <a:gd name="T92" fmla="*/ 144 w 209"/>
                  <a:gd name="T93" fmla="*/ 12 h 479"/>
                  <a:gd name="T94" fmla="*/ 141 w 209"/>
                  <a:gd name="T95" fmla="*/ 29 h 479"/>
                  <a:gd name="T96" fmla="*/ 112 w 209"/>
                  <a:gd name="T97" fmla="*/ 45 h 479"/>
                  <a:gd name="T98" fmla="*/ 89 w 209"/>
                  <a:gd name="T99" fmla="*/ 52 h 479"/>
                  <a:gd name="T100" fmla="*/ 69 w 209"/>
                  <a:gd name="T101" fmla="*/ 107 h 479"/>
                  <a:gd name="T102" fmla="*/ 43 w 209"/>
                  <a:gd name="T103" fmla="*/ 180 h 479"/>
                  <a:gd name="T104" fmla="*/ 30 w 209"/>
                  <a:gd name="T105" fmla="*/ 204 h 479"/>
                  <a:gd name="T106" fmla="*/ 19 w 209"/>
                  <a:gd name="T107" fmla="*/ 237 h 479"/>
                  <a:gd name="T108" fmla="*/ 19 w 209"/>
                  <a:gd name="T109" fmla="*/ 286 h 479"/>
                  <a:gd name="T110" fmla="*/ 18 w 209"/>
                  <a:gd name="T111" fmla="*/ 309 h 479"/>
                  <a:gd name="T112" fmla="*/ 19 w 209"/>
                  <a:gd name="T113" fmla="*/ 341 h 479"/>
                  <a:gd name="T114" fmla="*/ 5 w 209"/>
                  <a:gd name="T115" fmla="*/ 375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9" h="479">
                    <a:moveTo>
                      <a:pt x="2" y="370"/>
                    </a:moveTo>
                    <a:lnTo>
                      <a:pt x="0" y="373"/>
                    </a:lnTo>
                    <a:lnTo>
                      <a:pt x="2" y="389"/>
                    </a:lnTo>
                    <a:lnTo>
                      <a:pt x="3" y="389"/>
                    </a:lnTo>
                    <a:lnTo>
                      <a:pt x="3" y="391"/>
                    </a:lnTo>
                    <a:lnTo>
                      <a:pt x="3" y="393"/>
                    </a:lnTo>
                    <a:lnTo>
                      <a:pt x="3" y="395"/>
                    </a:lnTo>
                    <a:lnTo>
                      <a:pt x="5" y="393"/>
                    </a:lnTo>
                    <a:lnTo>
                      <a:pt x="5" y="389"/>
                    </a:lnTo>
                    <a:lnTo>
                      <a:pt x="7" y="391"/>
                    </a:lnTo>
                    <a:lnTo>
                      <a:pt x="7" y="395"/>
                    </a:lnTo>
                    <a:lnTo>
                      <a:pt x="7" y="395"/>
                    </a:lnTo>
                    <a:lnTo>
                      <a:pt x="9" y="395"/>
                    </a:lnTo>
                    <a:lnTo>
                      <a:pt x="7" y="396"/>
                    </a:lnTo>
                    <a:lnTo>
                      <a:pt x="5" y="398"/>
                    </a:lnTo>
                    <a:lnTo>
                      <a:pt x="9" y="400"/>
                    </a:lnTo>
                    <a:lnTo>
                      <a:pt x="11" y="404"/>
                    </a:lnTo>
                    <a:lnTo>
                      <a:pt x="9" y="409"/>
                    </a:lnTo>
                    <a:lnTo>
                      <a:pt x="12" y="407"/>
                    </a:lnTo>
                    <a:lnTo>
                      <a:pt x="12" y="411"/>
                    </a:lnTo>
                    <a:lnTo>
                      <a:pt x="11" y="412"/>
                    </a:lnTo>
                    <a:lnTo>
                      <a:pt x="12" y="418"/>
                    </a:lnTo>
                    <a:lnTo>
                      <a:pt x="12" y="421"/>
                    </a:lnTo>
                    <a:lnTo>
                      <a:pt x="14" y="421"/>
                    </a:lnTo>
                    <a:lnTo>
                      <a:pt x="18" y="434"/>
                    </a:lnTo>
                    <a:lnTo>
                      <a:pt x="21" y="437"/>
                    </a:lnTo>
                    <a:lnTo>
                      <a:pt x="23" y="441"/>
                    </a:lnTo>
                    <a:lnTo>
                      <a:pt x="27" y="443"/>
                    </a:lnTo>
                    <a:lnTo>
                      <a:pt x="28" y="445"/>
                    </a:lnTo>
                    <a:lnTo>
                      <a:pt x="28" y="448"/>
                    </a:lnTo>
                    <a:lnTo>
                      <a:pt x="27" y="448"/>
                    </a:lnTo>
                    <a:lnTo>
                      <a:pt x="25" y="448"/>
                    </a:lnTo>
                    <a:lnTo>
                      <a:pt x="23" y="450"/>
                    </a:lnTo>
                    <a:lnTo>
                      <a:pt x="27" y="454"/>
                    </a:lnTo>
                    <a:lnTo>
                      <a:pt x="23" y="454"/>
                    </a:lnTo>
                    <a:lnTo>
                      <a:pt x="21" y="454"/>
                    </a:lnTo>
                    <a:lnTo>
                      <a:pt x="21" y="455"/>
                    </a:lnTo>
                    <a:lnTo>
                      <a:pt x="30" y="471"/>
                    </a:lnTo>
                    <a:lnTo>
                      <a:pt x="28" y="473"/>
                    </a:lnTo>
                    <a:lnTo>
                      <a:pt x="28" y="477"/>
                    </a:lnTo>
                    <a:lnTo>
                      <a:pt x="27" y="477"/>
                    </a:lnTo>
                    <a:lnTo>
                      <a:pt x="27" y="479"/>
                    </a:lnTo>
                    <a:lnTo>
                      <a:pt x="30" y="479"/>
                    </a:lnTo>
                    <a:lnTo>
                      <a:pt x="34" y="479"/>
                    </a:lnTo>
                    <a:lnTo>
                      <a:pt x="39" y="477"/>
                    </a:lnTo>
                    <a:lnTo>
                      <a:pt x="44" y="477"/>
                    </a:lnTo>
                    <a:lnTo>
                      <a:pt x="48" y="479"/>
                    </a:lnTo>
                    <a:lnTo>
                      <a:pt x="48" y="477"/>
                    </a:lnTo>
                    <a:lnTo>
                      <a:pt x="50" y="473"/>
                    </a:lnTo>
                    <a:lnTo>
                      <a:pt x="50" y="466"/>
                    </a:lnTo>
                    <a:lnTo>
                      <a:pt x="52" y="459"/>
                    </a:lnTo>
                    <a:lnTo>
                      <a:pt x="55" y="461"/>
                    </a:lnTo>
                    <a:lnTo>
                      <a:pt x="57" y="457"/>
                    </a:lnTo>
                    <a:lnTo>
                      <a:pt x="59" y="455"/>
                    </a:lnTo>
                    <a:lnTo>
                      <a:pt x="64" y="455"/>
                    </a:lnTo>
                    <a:lnTo>
                      <a:pt x="66" y="457"/>
                    </a:lnTo>
                    <a:lnTo>
                      <a:pt x="69" y="455"/>
                    </a:lnTo>
                    <a:lnTo>
                      <a:pt x="73" y="457"/>
                    </a:lnTo>
                    <a:lnTo>
                      <a:pt x="77" y="457"/>
                    </a:lnTo>
                    <a:lnTo>
                      <a:pt x="84" y="439"/>
                    </a:lnTo>
                    <a:lnTo>
                      <a:pt x="84" y="434"/>
                    </a:lnTo>
                    <a:lnTo>
                      <a:pt x="84" y="430"/>
                    </a:lnTo>
                    <a:lnTo>
                      <a:pt x="84" y="425"/>
                    </a:lnTo>
                    <a:lnTo>
                      <a:pt x="87" y="420"/>
                    </a:lnTo>
                    <a:lnTo>
                      <a:pt x="87" y="416"/>
                    </a:lnTo>
                    <a:lnTo>
                      <a:pt x="86" y="414"/>
                    </a:lnTo>
                    <a:lnTo>
                      <a:pt x="87" y="411"/>
                    </a:lnTo>
                    <a:lnTo>
                      <a:pt x="87" y="409"/>
                    </a:lnTo>
                    <a:lnTo>
                      <a:pt x="86" y="405"/>
                    </a:lnTo>
                    <a:lnTo>
                      <a:pt x="86" y="405"/>
                    </a:lnTo>
                    <a:lnTo>
                      <a:pt x="86" y="404"/>
                    </a:lnTo>
                    <a:lnTo>
                      <a:pt x="87" y="404"/>
                    </a:lnTo>
                    <a:lnTo>
                      <a:pt x="89" y="404"/>
                    </a:lnTo>
                    <a:lnTo>
                      <a:pt x="87" y="402"/>
                    </a:lnTo>
                    <a:lnTo>
                      <a:pt x="87" y="402"/>
                    </a:lnTo>
                    <a:lnTo>
                      <a:pt x="89" y="400"/>
                    </a:lnTo>
                    <a:lnTo>
                      <a:pt x="89" y="398"/>
                    </a:lnTo>
                    <a:lnTo>
                      <a:pt x="89" y="393"/>
                    </a:lnTo>
                    <a:lnTo>
                      <a:pt x="89" y="391"/>
                    </a:lnTo>
                    <a:lnTo>
                      <a:pt x="84" y="387"/>
                    </a:lnTo>
                    <a:lnTo>
                      <a:pt x="84" y="387"/>
                    </a:lnTo>
                    <a:lnTo>
                      <a:pt x="87" y="389"/>
                    </a:lnTo>
                    <a:lnTo>
                      <a:pt x="91" y="387"/>
                    </a:lnTo>
                    <a:lnTo>
                      <a:pt x="91" y="387"/>
                    </a:lnTo>
                    <a:lnTo>
                      <a:pt x="87" y="384"/>
                    </a:lnTo>
                    <a:lnTo>
                      <a:pt x="80" y="384"/>
                    </a:lnTo>
                    <a:lnTo>
                      <a:pt x="80" y="382"/>
                    </a:lnTo>
                    <a:lnTo>
                      <a:pt x="87" y="382"/>
                    </a:lnTo>
                    <a:lnTo>
                      <a:pt x="91" y="382"/>
                    </a:lnTo>
                    <a:lnTo>
                      <a:pt x="93" y="382"/>
                    </a:lnTo>
                    <a:lnTo>
                      <a:pt x="93" y="379"/>
                    </a:lnTo>
                    <a:lnTo>
                      <a:pt x="98" y="379"/>
                    </a:lnTo>
                    <a:lnTo>
                      <a:pt x="102" y="373"/>
                    </a:lnTo>
                    <a:lnTo>
                      <a:pt x="102" y="370"/>
                    </a:lnTo>
                    <a:lnTo>
                      <a:pt x="105" y="371"/>
                    </a:lnTo>
                    <a:lnTo>
                      <a:pt x="105" y="375"/>
                    </a:lnTo>
                    <a:lnTo>
                      <a:pt x="109" y="373"/>
                    </a:lnTo>
                    <a:lnTo>
                      <a:pt x="111" y="370"/>
                    </a:lnTo>
                    <a:lnTo>
                      <a:pt x="114" y="366"/>
                    </a:lnTo>
                    <a:lnTo>
                      <a:pt x="114" y="362"/>
                    </a:lnTo>
                    <a:lnTo>
                      <a:pt x="114" y="364"/>
                    </a:lnTo>
                    <a:lnTo>
                      <a:pt x="116" y="364"/>
                    </a:lnTo>
                    <a:lnTo>
                      <a:pt x="116" y="362"/>
                    </a:lnTo>
                    <a:lnTo>
                      <a:pt x="118" y="361"/>
                    </a:lnTo>
                    <a:lnTo>
                      <a:pt x="118" y="359"/>
                    </a:lnTo>
                    <a:lnTo>
                      <a:pt x="103" y="362"/>
                    </a:lnTo>
                    <a:lnTo>
                      <a:pt x="100" y="362"/>
                    </a:lnTo>
                    <a:lnTo>
                      <a:pt x="98" y="364"/>
                    </a:lnTo>
                    <a:lnTo>
                      <a:pt x="98" y="361"/>
                    </a:lnTo>
                    <a:lnTo>
                      <a:pt x="96" y="361"/>
                    </a:lnTo>
                    <a:lnTo>
                      <a:pt x="89" y="357"/>
                    </a:lnTo>
                    <a:lnTo>
                      <a:pt x="84" y="357"/>
                    </a:lnTo>
                    <a:lnTo>
                      <a:pt x="82" y="357"/>
                    </a:lnTo>
                    <a:lnTo>
                      <a:pt x="84" y="355"/>
                    </a:lnTo>
                    <a:lnTo>
                      <a:pt x="86" y="354"/>
                    </a:lnTo>
                    <a:lnTo>
                      <a:pt x="87" y="354"/>
                    </a:lnTo>
                    <a:lnTo>
                      <a:pt x="89" y="354"/>
                    </a:lnTo>
                    <a:lnTo>
                      <a:pt x="93" y="354"/>
                    </a:lnTo>
                    <a:lnTo>
                      <a:pt x="94" y="354"/>
                    </a:lnTo>
                    <a:lnTo>
                      <a:pt x="96" y="357"/>
                    </a:lnTo>
                    <a:lnTo>
                      <a:pt x="98" y="355"/>
                    </a:lnTo>
                    <a:lnTo>
                      <a:pt x="98" y="354"/>
                    </a:lnTo>
                    <a:lnTo>
                      <a:pt x="100" y="355"/>
                    </a:lnTo>
                    <a:lnTo>
                      <a:pt x="103" y="357"/>
                    </a:lnTo>
                    <a:lnTo>
                      <a:pt x="103" y="355"/>
                    </a:lnTo>
                    <a:lnTo>
                      <a:pt x="105" y="355"/>
                    </a:lnTo>
                    <a:lnTo>
                      <a:pt x="105" y="359"/>
                    </a:lnTo>
                    <a:lnTo>
                      <a:pt x="109" y="361"/>
                    </a:lnTo>
                    <a:lnTo>
                      <a:pt x="118" y="355"/>
                    </a:lnTo>
                    <a:lnTo>
                      <a:pt x="121" y="350"/>
                    </a:lnTo>
                    <a:lnTo>
                      <a:pt x="121" y="348"/>
                    </a:lnTo>
                    <a:lnTo>
                      <a:pt x="123" y="343"/>
                    </a:lnTo>
                    <a:lnTo>
                      <a:pt x="121" y="339"/>
                    </a:lnTo>
                    <a:lnTo>
                      <a:pt x="118" y="336"/>
                    </a:lnTo>
                    <a:lnTo>
                      <a:pt x="114" y="332"/>
                    </a:lnTo>
                    <a:lnTo>
                      <a:pt x="118" y="332"/>
                    </a:lnTo>
                    <a:lnTo>
                      <a:pt x="118" y="330"/>
                    </a:lnTo>
                    <a:lnTo>
                      <a:pt x="111" y="329"/>
                    </a:lnTo>
                    <a:lnTo>
                      <a:pt x="109" y="321"/>
                    </a:lnTo>
                    <a:lnTo>
                      <a:pt x="103" y="323"/>
                    </a:lnTo>
                    <a:lnTo>
                      <a:pt x="102" y="320"/>
                    </a:lnTo>
                    <a:lnTo>
                      <a:pt x="102" y="320"/>
                    </a:lnTo>
                    <a:lnTo>
                      <a:pt x="102" y="321"/>
                    </a:lnTo>
                    <a:lnTo>
                      <a:pt x="100" y="327"/>
                    </a:lnTo>
                    <a:lnTo>
                      <a:pt x="89" y="336"/>
                    </a:lnTo>
                    <a:lnTo>
                      <a:pt x="87" y="336"/>
                    </a:lnTo>
                    <a:lnTo>
                      <a:pt x="84" y="336"/>
                    </a:lnTo>
                    <a:lnTo>
                      <a:pt x="82" y="336"/>
                    </a:lnTo>
                    <a:lnTo>
                      <a:pt x="84" y="334"/>
                    </a:lnTo>
                    <a:lnTo>
                      <a:pt x="87" y="332"/>
                    </a:lnTo>
                    <a:lnTo>
                      <a:pt x="91" y="330"/>
                    </a:lnTo>
                    <a:lnTo>
                      <a:pt x="93" y="329"/>
                    </a:lnTo>
                    <a:lnTo>
                      <a:pt x="98" y="325"/>
                    </a:lnTo>
                    <a:lnTo>
                      <a:pt x="98" y="321"/>
                    </a:lnTo>
                    <a:lnTo>
                      <a:pt x="98" y="318"/>
                    </a:lnTo>
                    <a:lnTo>
                      <a:pt x="96" y="318"/>
                    </a:lnTo>
                    <a:lnTo>
                      <a:pt x="98" y="314"/>
                    </a:lnTo>
                    <a:lnTo>
                      <a:pt x="98" y="312"/>
                    </a:lnTo>
                    <a:lnTo>
                      <a:pt x="96" y="309"/>
                    </a:lnTo>
                    <a:lnTo>
                      <a:pt x="94" y="289"/>
                    </a:lnTo>
                    <a:lnTo>
                      <a:pt x="96" y="286"/>
                    </a:lnTo>
                    <a:lnTo>
                      <a:pt x="96" y="284"/>
                    </a:lnTo>
                    <a:lnTo>
                      <a:pt x="100" y="286"/>
                    </a:lnTo>
                    <a:lnTo>
                      <a:pt x="100" y="284"/>
                    </a:lnTo>
                    <a:lnTo>
                      <a:pt x="100" y="277"/>
                    </a:lnTo>
                    <a:lnTo>
                      <a:pt x="102" y="266"/>
                    </a:lnTo>
                    <a:lnTo>
                      <a:pt x="100" y="262"/>
                    </a:lnTo>
                    <a:lnTo>
                      <a:pt x="98" y="261"/>
                    </a:lnTo>
                    <a:lnTo>
                      <a:pt x="100" y="257"/>
                    </a:lnTo>
                    <a:lnTo>
                      <a:pt x="103" y="259"/>
                    </a:lnTo>
                    <a:lnTo>
                      <a:pt x="103" y="259"/>
                    </a:lnTo>
                    <a:lnTo>
                      <a:pt x="105" y="257"/>
                    </a:lnTo>
                    <a:lnTo>
                      <a:pt x="107" y="255"/>
                    </a:lnTo>
                    <a:lnTo>
                      <a:pt x="107" y="254"/>
                    </a:lnTo>
                    <a:lnTo>
                      <a:pt x="107" y="254"/>
                    </a:lnTo>
                    <a:lnTo>
                      <a:pt x="107" y="248"/>
                    </a:lnTo>
                    <a:lnTo>
                      <a:pt x="107" y="245"/>
                    </a:lnTo>
                    <a:lnTo>
                      <a:pt x="107" y="243"/>
                    </a:lnTo>
                    <a:lnTo>
                      <a:pt x="107" y="245"/>
                    </a:lnTo>
                    <a:lnTo>
                      <a:pt x="111" y="248"/>
                    </a:lnTo>
                    <a:lnTo>
                      <a:pt x="111" y="246"/>
                    </a:lnTo>
                    <a:lnTo>
                      <a:pt x="112" y="245"/>
                    </a:lnTo>
                    <a:lnTo>
                      <a:pt x="114" y="245"/>
                    </a:lnTo>
                    <a:lnTo>
                      <a:pt x="114" y="243"/>
                    </a:lnTo>
                    <a:lnTo>
                      <a:pt x="116" y="241"/>
                    </a:lnTo>
                    <a:lnTo>
                      <a:pt x="112" y="239"/>
                    </a:lnTo>
                    <a:lnTo>
                      <a:pt x="114" y="241"/>
                    </a:lnTo>
                    <a:lnTo>
                      <a:pt x="118" y="239"/>
                    </a:lnTo>
                    <a:lnTo>
                      <a:pt x="118" y="237"/>
                    </a:lnTo>
                    <a:lnTo>
                      <a:pt x="119" y="236"/>
                    </a:lnTo>
                    <a:lnTo>
                      <a:pt x="119" y="234"/>
                    </a:lnTo>
                    <a:lnTo>
                      <a:pt x="121" y="232"/>
                    </a:lnTo>
                    <a:lnTo>
                      <a:pt x="121" y="229"/>
                    </a:lnTo>
                    <a:lnTo>
                      <a:pt x="123" y="229"/>
                    </a:lnTo>
                    <a:lnTo>
                      <a:pt x="127" y="229"/>
                    </a:lnTo>
                    <a:lnTo>
                      <a:pt x="130" y="227"/>
                    </a:lnTo>
                    <a:lnTo>
                      <a:pt x="130" y="223"/>
                    </a:lnTo>
                    <a:lnTo>
                      <a:pt x="136" y="220"/>
                    </a:lnTo>
                    <a:lnTo>
                      <a:pt x="137" y="221"/>
                    </a:lnTo>
                    <a:lnTo>
                      <a:pt x="141" y="220"/>
                    </a:lnTo>
                    <a:lnTo>
                      <a:pt x="141" y="218"/>
                    </a:lnTo>
                    <a:lnTo>
                      <a:pt x="143" y="214"/>
                    </a:lnTo>
                    <a:lnTo>
                      <a:pt x="146" y="216"/>
                    </a:lnTo>
                    <a:lnTo>
                      <a:pt x="146" y="214"/>
                    </a:lnTo>
                    <a:lnTo>
                      <a:pt x="150" y="212"/>
                    </a:lnTo>
                    <a:lnTo>
                      <a:pt x="152" y="211"/>
                    </a:lnTo>
                    <a:lnTo>
                      <a:pt x="153" y="209"/>
                    </a:lnTo>
                    <a:lnTo>
                      <a:pt x="166" y="189"/>
                    </a:lnTo>
                    <a:lnTo>
                      <a:pt x="166" y="191"/>
                    </a:lnTo>
                    <a:lnTo>
                      <a:pt x="166" y="193"/>
                    </a:lnTo>
                    <a:lnTo>
                      <a:pt x="168" y="187"/>
                    </a:lnTo>
                    <a:lnTo>
                      <a:pt x="166" y="186"/>
                    </a:lnTo>
                    <a:lnTo>
                      <a:pt x="166" y="184"/>
                    </a:lnTo>
                    <a:lnTo>
                      <a:pt x="162" y="180"/>
                    </a:lnTo>
                    <a:lnTo>
                      <a:pt x="162" y="179"/>
                    </a:lnTo>
                    <a:lnTo>
                      <a:pt x="162" y="179"/>
                    </a:lnTo>
                    <a:lnTo>
                      <a:pt x="162" y="177"/>
                    </a:lnTo>
                    <a:lnTo>
                      <a:pt x="161" y="175"/>
                    </a:lnTo>
                    <a:lnTo>
                      <a:pt x="161" y="173"/>
                    </a:lnTo>
                    <a:lnTo>
                      <a:pt x="162" y="171"/>
                    </a:lnTo>
                    <a:lnTo>
                      <a:pt x="162" y="170"/>
                    </a:lnTo>
                    <a:lnTo>
                      <a:pt x="166" y="170"/>
                    </a:lnTo>
                    <a:lnTo>
                      <a:pt x="168" y="161"/>
                    </a:lnTo>
                    <a:lnTo>
                      <a:pt x="166" y="155"/>
                    </a:lnTo>
                    <a:lnTo>
                      <a:pt x="166" y="154"/>
                    </a:lnTo>
                    <a:lnTo>
                      <a:pt x="169" y="152"/>
                    </a:lnTo>
                    <a:lnTo>
                      <a:pt x="169" y="150"/>
                    </a:lnTo>
                    <a:lnTo>
                      <a:pt x="169" y="150"/>
                    </a:lnTo>
                    <a:lnTo>
                      <a:pt x="173" y="150"/>
                    </a:lnTo>
                    <a:lnTo>
                      <a:pt x="173" y="150"/>
                    </a:lnTo>
                    <a:lnTo>
                      <a:pt x="175" y="148"/>
                    </a:lnTo>
                    <a:lnTo>
                      <a:pt x="173" y="146"/>
                    </a:lnTo>
                    <a:lnTo>
                      <a:pt x="177" y="146"/>
                    </a:lnTo>
                    <a:lnTo>
                      <a:pt x="177" y="145"/>
                    </a:lnTo>
                    <a:lnTo>
                      <a:pt x="173" y="141"/>
                    </a:lnTo>
                    <a:lnTo>
                      <a:pt x="173" y="139"/>
                    </a:lnTo>
                    <a:lnTo>
                      <a:pt x="177" y="141"/>
                    </a:lnTo>
                    <a:lnTo>
                      <a:pt x="178" y="145"/>
                    </a:lnTo>
                    <a:lnTo>
                      <a:pt x="178" y="145"/>
                    </a:lnTo>
                    <a:lnTo>
                      <a:pt x="178" y="139"/>
                    </a:lnTo>
                    <a:lnTo>
                      <a:pt x="178" y="139"/>
                    </a:lnTo>
                    <a:lnTo>
                      <a:pt x="180" y="139"/>
                    </a:lnTo>
                    <a:lnTo>
                      <a:pt x="180" y="132"/>
                    </a:lnTo>
                    <a:lnTo>
                      <a:pt x="182" y="132"/>
                    </a:lnTo>
                    <a:lnTo>
                      <a:pt x="182" y="132"/>
                    </a:lnTo>
                    <a:lnTo>
                      <a:pt x="182" y="134"/>
                    </a:lnTo>
                    <a:lnTo>
                      <a:pt x="184" y="136"/>
                    </a:lnTo>
                    <a:lnTo>
                      <a:pt x="186" y="136"/>
                    </a:lnTo>
                    <a:lnTo>
                      <a:pt x="187" y="132"/>
                    </a:lnTo>
                    <a:lnTo>
                      <a:pt x="187" y="134"/>
                    </a:lnTo>
                    <a:lnTo>
                      <a:pt x="189" y="136"/>
                    </a:lnTo>
                    <a:lnTo>
                      <a:pt x="191" y="136"/>
                    </a:lnTo>
                    <a:lnTo>
                      <a:pt x="193" y="137"/>
                    </a:lnTo>
                    <a:lnTo>
                      <a:pt x="194" y="134"/>
                    </a:lnTo>
                    <a:lnTo>
                      <a:pt x="202" y="134"/>
                    </a:lnTo>
                    <a:lnTo>
                      <a:pt x="203" y="136"/>
                    </a:lnTo>
                    <a:lnTo>
                      <a:pt x="205" y="137"/>
                    </a:lnTo>
                    <a:lnTo>
                      <a:pt x="207" y="136"/>
                    </a:lnTo>
                    <a:lnTo>
                      <a:pt x="209" y="136"/>
                    </a:lnTo>
                    <a:lnTo>
                      <a:pt x="202" y="116"/>
                    </a:lnTo>
                    <a:lnTo>
                      <a:pt x="203" y="111"/>
                    </a:lnTo>
                    <a:lnTo>
                      <a:pt x="205" y="105"/>
                    </a:lnTo>
                    <a:lnTo>
                      <a:pt x="207" y="100"/>
                    </a:lnTo>
                    <a:lnTo>
                      <a:pt x="200" y="86"/>
                    </a:lnTo>
                    <a:lnTo>
                      <a:pt x="200" y="82"/>
                    </a:lnTo>
                    <a:lnTo>
                      <a:pt x="202" y="75"/>
                    </a:lnTo>
                    <a:lnTo>
                      <a:pt x="200" y="71"/>
                    </a:lnTo>
                    <a:lnTo>
                      <a:pt x="200" y="70"/>
                    </a:lnTo>
                    <a:lnTo>
                      <a:pt x="198" y="59"/>
                    </a:lnTo>
                    <a:lnTo>
                      <a:pt x="200" y="50"/>
                    </a:lnTo>
                    <a:lnTo>
                      <a:pt x="191" y="32"/>
                    </a:lnTo>
                    <a:lnTo>
                      <a:pt x="186" y="27"/>
                    </a:lnTo>
                    <a:lnTo>
                      <a:pt x="175" y="23"/>
                    </a:lnTo>
                    <a:lnTo>
                      <a:pt x="153" y="2"/>
                    </a:lnTo>
                    <a:lnTo>
                      <a:pt x="153" y="0"/>
                    </a:lnTo>
                    <a:lnTo>
                      <a:pt x="146" y="0"/>
                    </a:lnTo>
                    <a:lnTo>
                      <a:pt x="144" y="2"/>
                    </a:lnTo>
                    <a:lnTo>
                      <a:pt x="144" y="4"/>
                    </a:lnTo>
                    <a:lnTo>
                      <a:pt x="146" y="5"/>
                    </a:lnTo>
                    <a:lnTo>
                      <a:pt x="146" y="9"/>
                    </a:lnTo>
                    <a:lnTo>
                      <a:pt x="146" y="11"/>
                    </a:lnTo>
                    <a:lnTo>
                      <a:pt x="144" y="12"/>
                    </a:lnTo>
                    <a:lnTo>
                      <a:pt x="143" y="18"/>
                    </a:lnTo>
                    <a:lnTo>
                      <a:pt x="141" y="20"/>
                    </a:lnTo>
                    <a:lnTo>
                      <a:pt x="143" y="23"/>
                    </a:lnTo>
                    <a:lnTo>
                      <a:pt x="144" y="27"/>
                    </a:lnTo>
                    <a:lnTo>
                      <a:pt x="143" y="29"/>
                    </a:lnTo>
                    <a:lnTo>
                      <a:pt x="141" y="29"/>
                    </a:lnTo>
                    <a:lnTo>
                      <a:pt x="119" y="23"/>
                    </a:lnTo>
                    <a:lnTo>
                      <a:pt x="116" y="23"/>
                    </a:lnTo>
                    <a:lnTo>
                      <a:pt x="114" y="25"/>
                    </a:lnTo>
                    <a:lnTo>
                      <a:pt x="112" y="29"/>
                    </a:lnTo>
                    <a:lnTo>
                      <a:pt x="114" y="36"/>
                    </a:lnTo>
                    <a:lnTo>
                      <a:pt x="112" y="45"/>
                    </a:lnTo>
                    <a:lnTo>
                      <a:pt x="109" y="48"/>
                    </a:lnTo>
                    <a:lnTo>
                      <a:pt x="107" y="48"/>
                    </a:lnTo>
                    <a:lnTo>
                      <a:pt x="105" y="45"/>
                    </a:lnTo>
                    <a:lnTo>
                      <a:pt x="102" y="43"/>
                    </a:lnTo>
                    <a:lnTo>
                      <a:pt x="98" y="43"/>
                    </a:lnTo>
                    <a:lnTo>
                      <a:pt x="89" y="52"/>
                    </a:lnTo>
                    <a:lnTo>
                      <a:pt x="87" y="61"/>
                    </a:lnTo>
                    <a:lnTo>
                      <a:pt x="82" y="70"/>
                    </a:lnTo>
                    <a:lnTo>
                      <a:pt x="82" y="73"/>
                    </a:lnTo>
                    <a:lnTo>
                      <a:pt x="86" y="80"/>
                    </a:lnTo>
                    <a:lnTo>
                      <a:pt x="86" y="84"/>
                    </a:lnTo>
                    <a:lnTo>
                      <a:pt x="69" y="107"/>
                    </a:lnTo>
                    <a:lnTo>
                      <a:pt x="66" y="121"/>
                    </a:lnTo>
                    <a:lnTo>
                      <a:pt x="61" y="125"/>
                    </a:lnTo>
                    <a:lnTo>
                      <a:pt x="59" y="125"/>
                    </a:lnTo>
                    <a:lnTo>
                      <a:pt x="55" y="127"/>
                    </a:lnTo>
                    <a:lnTo>
                      <a:pt x="53" y="159"/>
                    </a:lnTo>
                    <a:lnTo>
                      <a:pt x="43" y="180"/>
                    </a:lnTo>
                    <a:lnTo>
                      <a:pt x="43" y="182"/>
                    </a:lnTo>
                    <a:lnTo>
                      <a:pt x="50" y="191"/>
                    </a:lnTo>
                    <a:lnTo>
                      <a:pt x="48" y="200"/>
                    </a:lnTo>
                    <a:lnTo>
                      <a:pt x="46" y="204"/>
                    </a:lnTo>
                    <a:lnTo>
                      <a:pt x="36" y="202"/>
                    </a:lnTo>
                    <a:lnTo>
                      <a:pt x="30" y="204"/>
                    </a:lnTo>
                    <a:lnTo>
                      <a:pt x="25" y="207"/>
                    </a:lnTo>
                    <a:lnTo>
                      <a:pt x="18" y="216"/>
                    </a:lnTo>
                    <a:lnTo>
                      <a:pt x="14" y="227"/>
                    </a:lnTo>
                    <a:lnTo>
                      <a:pt x="16" y="232"/>
                    </a:lnTo>
                    <a:lnTo>
                      <a:pt x="18" y="236"/>
                    </a:lnTo>
                    <a:lnTo>
                      <a:pt x="19" y="237"/>
                    </a:lnTo>
                    <a:lnTo>
                      <a:pt x="18" y="239"/>
                    </a:lnTo>
                    <a:lnTo>
                      <a:pt x="16" y="257"/>
                    </a:lnTo>
                    <a:lnTo>
                      <a:pt x="16" y="259"/>
                    </a:lnTo>
                    <a:lnTo>
                      <a:pt x="18" y="262"/>
                    </a:lnTo>
                    <a:lnTo>
                      <a:pt x="18" y="282"/>
                    </a:lnTo>
                    <a:lnTo>
                      <a:pt x="19" y="286"/>
                    </a:lnTo>
                    <a:lnTo>
                      <a:pt x="27" y="291"/>
                    </a:lnTo>
                    <a:lnTo>
                      <a:pt x="27" y="296"/>
                    </a:lnTo>
                    <a:lnTo>
                      <a:pt x="25" y="302"/>
                    </a:lnTo>
                    <a:lnTo>
                      <a:pt x="21" y="305"/>
                    </a:lnTo>
                    <a:lnTo>
                      <a:pt x="18" y="307"/>
                    </a:lnTo>
                    <a:lnTo>
                      <a:pt x="18" y="309"/>
                    </a:lnTo>
                    <a:lnTo>
                      <a:pt x="19" y="312"/>
                    </a:lnTo>
                    <a:lnTo>
                      <a:pt x="23" y="323"/>
                    </a:lnTo>
                    <a:lnTo>
                      <a:pt x="19" y="330"/>
                    </a:lnTo>
                    <a:lnTo>
                      <a:pt x="21" y="334"/>
                    </a:lnTo>
                    <a:lnTo>
                      <a:pt x="21" y="337"/>
                    </a:lnTo>
                    <a:lnTo>
                      <a:pt x="19" y="341"/>
                    </a:lnTo>
                    <a:lnTo>
                      <a:pt x="11" y="345"/>
                    </a:lnTo>
                    <a:lnTo>
                      <a:pt x="11" y="348"/>
                    </a:lnTo>
                    <a:lnTo>
                      <a:pt x="7" y="354"/>
                    </a:lnTo>
                    <a:lnTo>
                      <a:pt x="9" y="362"/>
                    </a:lnTo>
                    <a:lnTo>
                      <a:pt x="7" y="373"/>
                    </a:lnTo>
                    <a:lnTo>
                      <a:pt x="5" y="375"/>
                    </a:lnTo>
                    <a:lnTo>
                      <a:pt x="3" y="373"/>
                    </a:lnTo>
                    <a:lnTo>
                      <a:pt x="2" y="377"/>
                    </a:lnTo>
                    <a:lnTo>
                      <a:pt x="2" y="370"/>
                    </a:lnTo>
                    <a:lnTo>
                      <a:pt x="2" y="37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25" name="Freeform 2074"/>
              <p:cNvSpPr>
                <a:spLocks/>
              </p:cNvSpPr>
              <p:nvPr/>
            </p:nvSpPr>
            <p:spPr bwMode="auto">
              <a:xfrm>
                <a:off x="2848" y="1815"/>
                <a:ext cx="121" cy="60"/>
              </a:xfrm>
              <a:custGeom>
                <a:avLst/>
                <a:gdLst>
                  <a:gd name="T0" fmla="*/ 68 w 121"/>
                  <a:gd name="T1" fmla="*/ 9 h 60"/>
                  <a:gd name="T2" fmla="*/ 61 w 121"/>
                  <a:gd name="T3" fmla="*/ 16 h 60"/>
                  <a:gd name="T4" fmla="*/ 53 w 121"/>
                  <a:gd name="T5" fmla="*/ 21 h 60"/>
                  <a:gd name="T6" fmla="*/ 55 w 121"/>
                  <a:gd name="T7" fmla="*/ 32 h 60"/>
                  <a:gd name="T8" fmla="*/ 53 w 121"/>
                  <a:gd name="T9" fmla="*/ 34 h 60"/>
                  <a:gd name="T10" fmla="*/ 48 w 121"/>
                  <a:gd name="T11" fmla="*/ 32 h 60"/>
                  <a:gd name="T12" fmla="*/ 43 w 121"/>
                  <a:gd name="T13" fmla="*/ 32 h 60"/>
                  <a:gd name="T14" fmla="*/ 28 w 121"/>
                  <a:gd name="T15" fmla="*/ 37 h 60"/>
                  <a:gd name="T16" fmla="*/ 20 w 121"/>
                  <a:gd name="T17" fmla="*/ 35 h 60"/>
                  <a:gd name="T18" fmla="*/ 14 w 121"/>
                  <a:gd name="T19" fmla="*/ 37 h 60"/>
                  <a:gd name="T20" fmla="*/ 12 w 121"/>
                  <a:gd name="T21" fmla="*/ 39 h 60"/>
                  <a:gd name="T22" fmla="*/ 7 w 121"/>
                  <a:gd name="T23" fmla="*/ 35 h 60"/>
                  <a:gd name="T24" fmla="*/ 2 w 121"/>
                  <a:gd name="T25" fmla="*/ 35 h 60"/>
                  <a:gd name="T26" fmla="*/ 2 w 121"/>
                  <a:gd name="T27" fmla="*/ 39 h 60"/>
                  <a:gd name="T28" fmla="*/ 3 w 121"/>
                  <a:gd name="T29" fmla="*/ 46 h 60"/>
                  <a:gd name="T30" fmla="*/ 3 w 121"/>
                  <a:gd name="T31" fmla="*/ 50 h 60"/>
                  <a:gd name="T32" fmla="*/ 12 w 121"/>
                  <a:gd name="T33" fmla="*/ 50 h 60"/>
                  <a:gd name="T34" fmla="*/ 18 w 121"/>
                  <a:gd name="T35" fmla="*/ 51 h 60"/>
                  <a:gd name="T36" fmla="*/ 39 w 121"/>
                  <a:gd name="T37" fmla="*/ 46 h 60"/>
                  <a:gd name="T38" fmla="*/ 43 w 121"/>
                  <a:gd name="T39" fmla="*/ 46 h 60"/>
                  <a:gd name="T40" fmla="*/ 44 w 121"/>
                  <a:gd name="T41" fmla="*/ 53 h 60"/>
                  <a:gd name="T42" fmla="*/ 48 w 121"/>
                  <a:gd name="T43" fmla="*/ 55 h 60"/>
                  <a:gd name="T44" fmla="*/ 80 w 121"/>
                  <a:gd name="T45" fmla="*/ 60 h 60"/>
                  <a:gd name="T46" fmla="*/ 86 w 121"/>
                  <a:gd name="T47" fmla="*/ 55 h 60"/>
                  <a:gd name="T48" fmla="*/ 94 w 121"/>
                  <a:gd name="T49" fmla="*/ 57 h 60"/>
                  <a:gd name="T50" fmla="*/ 96 w 121"/>
                  <a:gd name="T51" fmla="*/ 53 h 60"/>
                  <a:gd name="T52" fmla="*/ 103 w 121"/>
                  <a:gd name="T53" fmla="*/ 51 h 60"/>
                  <a:gd name="T54" fmla="*/ 109 w 121"/>
                  <a:gd name="T55" fmla="*/ 48 h 60"/>
                  <a:gd name="T56" fmla="*/ 111 w 121"/>
                  <a:gd name="T57" fmla="*/ 41 h 60"/>
                  <a:gd name="T58" fmla="*/ 112 w 121"/>
                  <a:gd name="T59" fmla="*/ 34 h 60"/>
                  <a:gd name="T60" fmla="*/ 121 w 121"/>
                  <a:gd name="T61" fmla="*/ 30 h 60"/>
                  <a:gd name="T62" fmla="*/ 121 w 121"/>
                  <a:gd name="T63" fmla="*/ 23 h 60"/>
                  <a:gd name="T64" fmla="*/ 118 w 121"/>
                  <a:gd name="T65" fmla="*/ 9 h 60"/>
                  <a:gd name="T66" fmla="*/ 105 w 121"/>
                  <a:gd name="T67" fmla="*/ 5 h 60"/>
                  <a:gd name="T68" fmla="*/ 89 w 121"/>
                  <a:gd name="T69" fmla="*/ 0 h 60"/>
                  <a:gd name="T70" fmla="*/ 84 w 121"/>
                  <a:gd name="T71" fmla="*/ 9 h 60"/>
                  <a:gd name="T72" fmla="*/ 75 w 121"/>
                  <a:gd name="T73" fmla="*/ 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 h="60">
                    <a:moveTo>
                      <a:pt x="68" y="7"/>
                    </a:moveTo>
                    <a:lnTo>
                      <a:pt x="68" y="9"/>
                    </a:lnTo>
                    <a:lnTo>
                      <a:pt x="62" y="10"/>
                    </a:lnTo>
                    <a:lnTo>
                      <a:pt x="61" y="16"/>
                    </a:lnTo>
                    <a:lnTo>
                      <a:pt x="53" y="19"/>
                    </a:lnTo>
                    <a:lnTo>
                      <a:pt x="53" y="21"/>
                    </a:lnTo>
                    <a:lnTo>
                      <a:pt x="53" y="26"/>
                    </a:lnTo>
                    <a:lnTo>
                      <a:pt x="55" y="32"/>
                    </a:lnTo>
                    <a:lnTo>
                      <a:pt x="55" y="34"/>
                    </a:lnTo>
                    <a:lnTo>
                      <a:pt x="53" y="34"/>
                    </a:lnTo>
                    <a:lnTo>
                      <a:pt x="52" y="32"/>
                    </a:lnTo>
                    <a:lnTo>
                      <a:pt x="48" y="32"/>
                    </a:lnTo>
                    <a:lnTo>
                      <a:pt x="44" y="32"/>
                    </a:lnTo>
                    <a:lnTo>
                      <a:pt x="43" y="32"/>
                    </a:lnTo>
                    <a:lnTo>
                      <a:pt x="34" y="34"/>
                    </a:lnTo>
                    <a:lnTo>
                      <a:pt x="28" y="37"/>
                    </a:lnTo>
                    <a:lnTo>
                      <a:pt x="23" y="37"/>
                    </a:lnTo>
                    <a:lnTo>
                      <a:pt x="20" y="35"/>
                    </a:lnTo>
                    <a:lnTo>
                      <a:pt x="16" y="35"/>
                    </a:lnTo>
                    <a:lnTo>
                      <a:pt x="14" y="37"/>
                    </a:lnTo>
                    <a:lnTo>
                      <a:pt x="14" y="39"/>
                    </a:lnTo>
                    <a:lnTo>
                      <a:pt x="12" y="39"/>
                    </a:lnTo>
                    <a:lnTo>
                      <a:pt x="9" y="39"/>
                    </a:lnTo>
                    <a:lnTo>
                      <a:pt x="7" y="35"/>
                    </a:lnTo>
                    <a:lnTo>
                      <a:pt x="5" y="35"/>
                    </a:lnTo>
                    <a:lnTo>
                      <a:pt x="2" y="35"/>
                    </a:lnTo>
                    <a:lnTo>
                      <a:pt x="0" y="37"/>
                    </a:lnTo>
                    <a:lnTo>
                      <a:pt x="2" y="39"/>
                    </a:lnTo>
                    <a:lnTo>
                      <a:pt x="3" y="41"/>
                    </a:lnTo>
                    <a:lnTo>
                      <a:pt x="3" y="46"/>
                    </a:lnTo>
                    <a:lnTo>
                      <a:pt x="3" y="48"/>
                    </a:lnTo>
                    <a:lnTo>
                      <a:pt x="3" y="50"/>
                    </a:lnTo>
                    <a:lnTo>
                      <a:pt x="11" y="51"/>
                    </a:lnTo>
                    <a:lnTo>
                      <a:pt x="12" y="50"/>
                    </a:lnTo>
                    <a:lnTo>
                      <a:pt x="14" y="51"/>
                    </a:lnTo>
                    <a:lnTo>
                      <a:pt x="18" y="51"/>
                    </a:lnTo>
                    <a:lnTo>
                      <a:pt x="37" y="48"/>
                    </a:lnTo>
                    <a:lnTo>
                      <a:pt x="39" y="46"/>
                    </a:lnTo>
                    <a:lnTo>
                      <a:pt x="41" y="46"/>
                    </a:lnTo>
                    <a:lnTo>
                      <a:pt x="43" y="46"/>
                    </a:lnTo>
                    <a:lnTo>
                      <a:pt x="43" y="50"/>
                    </a:lnTo>
                    <a:lnTo>
                      <a:pt x="44" y="53"/>
                    </a:lnTo>
                    <a:lnTo>
                      <a:pt x="48" y="55"/>
                    </a:lnTo>
                    <a:lnTo>
                      <a:pt x="48" y="55"/>
                    </a:lnTo>
                    <a:lnTo>
                      <a:pt x="52" y="57"/>
                    </a:lnTo>
                    <a:lnTo>
                      <a:pt x="80" y="60"/>
                    </a:lnTo>
                    <a:lnTo>
                      <a:pt x="82" y="59"/>
                    </a:lnTo>
                    <a:lnTo>
                      <a:pt x="86" y="55"/>
                    </a:lnTo>
                    <a:lnTo>
                      <a:pt x="89" y="55"/>
                    </a:lnTo>
                    <a:lnTo>
                      <a:pt x="94" y="57"/>
                    </a:lnTo>
                    <a:lnTo>
                      <a:pt x="96" y="53"/>
                    </a:lnTo>
                    <a:lnTo>
                      <a:pt x="96" y="53"/>
                    </a:lnTo>
                    <a:lnTo>
                      <a:pt x="102" y="53"/>
                    </a:lnTo>
                    <a:lnTo>
                      <a:pt x="103" y="51"/>
                    </a:lnTo>
                    <a:lnTo>
                      <a:pt x="105" y="51"/>
                    </a:lnTo>
                    <a:lnTo>
                      <a:pt x="109" y="48"/>
                    </a:lnTo>
                    <a:lnTo>
                      <a:pt x="111" y="46"/>
                    </a:lnTo>
                    <a:lnTo>
                      <a:pt x="111" y="41"/>
                    </a:lnTo>
                    <a:lnTo>
                      <a:pt x="114" y="35"/>
                    </a:lnTo>
                    <a:lnTo>
                      <a:pt x="112" y="34"/>
                    </a:lnTo>
                    <a:lnTo>
                      <a:pt x="112" y="30"/>
                    </a:lnTo>
                    <a:lnTo>
                      <a:pt x="121" y="30"/>
                    </a:lnTo>
                    <a:lnTo>
                      <a:pt x="121" y="28"/>
                    </a:lnTo>
                    <a:lnTo>
                      <a:pt x="121" y="23"/>
                    </a:lnTo>
                    <a:lnTo>
                      <a:pt x="118" y="12"/>
                    </a:lnTo>
                    <a:lnTo>
                      <a:pt x="118" y="9"/>
                    </a:lnTo>
                    <a:lnTo>
                      <a:pt x="116" y="5"/>
                    </a:lnTo>
                    <a:lnTo>
                      <a:pt x="105" y="5"/>
                    </a:lnTo>
                    <a:lnTo>
                      <a:pt x="98" y="1"/>
                    </a:lnTo>
                    <a:lnTo>
                      <a:pt x="89" y="0"/>
                    </a:lnTo>
                    <a:lnTo>
                      <a:pt x="86" y="5"/>
                    </a:lnTo>
                    <a:lnTo>
                      <a:pt x="84" y="9"/>
                    </a:lnTo>
                    <a:lnTo>
                      <a:pt x="77" y="10"/>
                    </a:lnTo>
                    <a:lnTo>
                      <a:pt x="75" y="9"/>
                    </a:lnTo>
                    <a:lnTo>
                      <a:pt x="68"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26" name="Freeform 2075"/>
              <p:cNvSpPr>
                <a:spLocks/>
              </p:cNvSpPr>
              <p:nvPr/>
            </p:nvSpPr>
            <p:spPr bwMode="auto">
              <a:xfrm>
                <a:off x="2848" y="1815"/>
                <a:ext cx="121" cy="60"/>
              </a:xfrm>
              <a:custGeom>
                <a:avLst/>
                <a:gdLst>
                  <a:gd name="T0" fmla="*/ 68 w 121"/>
                  <a:gd name="T1" fmla="*/ 9 h 60"/>
                  <a:gd name="T2" fmla="*/ 61 w 121"/>
                  <a:gd name="T3" fmla="*/ 16 h 60"/>
                  <a:gd name="T4" fmla="*/ 53 w 121"/>
                  <a:gd name="T5" fmla="*/ 21 h 60"/>
                  <a:gd name="T6" fmla="*/ 55 w 121"/>
                  <a:gd name="T7" fmla="*/ 32 h 60"/>
                  <a:gd name="T8" fmla="*/ 53 w 121"/>
                  <a:gd name="T9" fmla="*/ 34 h 60"/>
                  <a:gd name="T10" fmla="*/ 48 w 121"/>
                  <a:gd name="T11" fmla="*/ 32 h 60"/>
                  <a:gd name="T12" fmla="*/ 43 w 121"/>
                  <a:gd name="T13" fmla="*/ 32 h 60"/>
                  <a:gd name="T14" fmla="*/ 28 w 121"/>
                  <a:gd name="T15" fmla="*/ 37 h 60"/>
                  <a:gd name="T16" fmla="*/ 20 w 121"/>
                  <a:gd name="T17" fmla="*/ 35 h 60"/>
                  <a:gd name="T18" fmla="*/ 14 w 121"/>
                  <a:gd name="T19" fmla="*/ 37 h 60"/>
                  <a:gd name="T20" fmla="*/ 12 w 121"/>
                  <a:gd name="T21" fmla="*/ 39 h 60"/>
                  <a:gd name="T22" fmla="*/ 7 w 121"/>
                  <a:gd name="T23" fmla="*/ 35 h 60"/>
                  <a:gd name="T24" fmla="*/ 2 w 121"/>
                  <a:gd name="T25" fmla="*/ 35 h 60"/>
                  <a:gd name="T26" fmla="*/ 2 w 121"/>
                  <a:gd name="T27" fmla="*/ 39 h 60"/>
                  <a:gd name="T28" fmla="*/ 3 w 121"/>
                  <a:gd name="T29" fmla="*/ 46 h 60"/>
                  <a:gd name="T30" fmla="*/ 3 w 121"/>
                  <a:gd name="T31" fmla="*/ 50 h 60"/>
                  <a:gd name="T32" fmla="*/ 12 w 121"/>
                  <a:gd name="T33" fmla="*/ 50 h 60"/>
                  <a:gd name="T34" fmla="*/ 18 w 121"/>
                  <a:gd name="T35" fmla="*/ 51 h 60"/>
                  <a:gd name="T36" fmla="*/ 39 w 121"/>
                  <a:gd name="T37" fmla="*/ 46 h 60"/>
                  <a:gd name="T38" fmla="*/ 43 w 121"/>
                  <a:gd name="T39" fmla="*/ 46 h 60"/>
                  <a:gd name="T40" fmla="*/ 44 w 121"/>
                  <a:gd name="T41" fmla="*/ 53 h 60"/>
                  <a:gd name="T42" fmla="*/ 48 w 121"/>
                  <a:gd name="T43" fmla="*/ 55 h 60"/>
                  <a:gd name="T44" fmla="*/ 80 w 121"/>
                  <a:gd name="T45" fmla="*/ 60 h 60"/>
                  <a:gd name="T46" fmla="*/ 86 w 121"/>
                  <a:gd name="T47" fmla="*/ 55 h 60"/>
                  <a:gd name="T48" fmla="*/ 94 w 121"/>
                  <a:gd name="T49" fmla="*/ 57 h 60"/>
                  <a:gd name="T50" fmla="*/ 96 w 121"/>
                  <a:gd name="T51" fmla="*/ 53 h 60"/>
                  <a:gd name="T52" fmla="*/ 103 w 121"/>
                  <a:gd name="T53" fmla="*/ 51 h 60"/>
                  <a:gd name="T54" fmla="*/ 109 w 121"/>
                  <a:gd name="T55" fmla="*/ 48 h 60"/>
                  <a:gd name="T56" fmla="*/ 111 w 121"/>
                  <a:gd name="T57" fmla="*/ 41 h 60"/>
                  <a:gd name="T58" fmla="*/ 112 w 121"/>
                  <a:gd name="T59" fmla="*/ 34 h 60"/>
                  <a:gd name="T60" fmla="*/ 121 w 121"/>
                  <a:gd name="T61" fmla="*/ 30 h 60"/>
                  <a:gd name="T62" fmla="*/ 121 w 121"/>
                  <a:gd name="T63" fmla="*/ 23 h 60"/>
                  <a:gd name="T64" fmla="*/ 118 w 121"/>
                  <a:gd name="T65" fmla="*/ 9 h 60"/>
                  <a:gd name="T66" fmla="*/ 105 w 121"/>
                  <a:gd name="T67" fmla="*/ 5 h 60"/>
                  <a:gd name="T68" fmla="*/ 89 w 121"/>
                  <a:gd name="T69" fmla="*/ 0 h 60"/>
                  <a:gd name="T70" fmla="*/ 84 w 121"/>
                  <a:gd name="T71" fmla="*/ 9 h 60"/>
                  <a:gd name="T72" fmla="*/ 75 w 121"/>
                  <a:gd name="T73" fmla="*/ 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1" h="60">
                    <a:moveTo>
                      <a:pt x="68" y="7"/>
                    </a:moveTo>
                    <a:lnTo>
                      <a:pt x="68" y="9"/>
                    </a:lnTo>
                    <a:lnTo>
                      <a:pt x="62" y="10"/>
                    </a:lnTo>
                    <a:lnTo>
                      <a:pt x="61" y="16"/>
                    </a:lnTo>
                    <a:lnTo>
                      <a:pt x="53" y="19"/>
                    </a:lnTo>
                    <a:lnTo>
                      <a:pt x="53" y="21"/>
                    </a:lnTo>
                    <a:lnTo>
                      <a:pt x="53" y="26"/>
                    </a:lnTo>
                    <a:lnTo>
                      <a:pt x="55" y="32"/>
                    </a:lnTo>
                    <a:lnTo>
                      <a:pt x="55" y="34"/>
                    </a:lnTo>
                    <a:lnTo>
                      <a:pt x="53" y="34"/>
                    </a:lnTo>
                    <a:lnTo>
                      <a:pt x="52" y="32"/>
                    </a:lnTo>
                    <a:lnTo>
                      <a:pt x="48" y="32"/>
                    </a:lnTo>
                    <a:lnTo>
                      <a:pt x="44" y="32"/>
                    </a:lnTo>
                    <a:lnTo>
                      <a:pt x="43" y="32"/>
                    </a:lnTo>
                    <a:lnTo>
                      <a:pt x="34" y="34"/>
                    </a:lnTo>
                    <a:lnTo>
                      <a:pt x="28" y="37"/>
                    </a:lnTo>
                    <a:lnTo>
                      <a:pt x="23" y="37"/>
                    </a:lnTo>
                    <a:lnTo>
                      <a:pt x="20" y="35"/>
                    </a:lnTo>
                    <a:lnTo>
                      <a:pt x="16" y="35"/>
                    </a:lnTo>
                    <a:lnTo>
                      <a:pt x="14" y="37"/>
                    </a:lnTo>
                    <a:lnTo>
                      <a:pt x="14" y="39"/>
                    </a:lnTo>
                    <a:lnTo>
                      <a:pt x="12" y="39"/>
                    </a:lnTo>
                    <a:lnTo>
                      <a:pt x="9" y="39"/>
                    </a:lnTo>
                    <a:lnTo>
                      <a:pt x="7" y="35"/>
                    </a:lnTo>
                    <a:lnTo>
                      <a:pt x="5" y="35"/>
                    </a:lnTo>
                    <a:lnTo>
                      <a:pt x="2" y="35"/>
                    </a:lnTo>
                    <a:lnTo>
                      <a:pt x="0" y="37"/>
                    </a:lnTo>
                    <a:lnTo>
                      <a:pt x="2" y="39"/>
                    </a:lnTo>
                    <a:lnTo>
                      <a:pt x="3" y="41"/>
                    </a:lnTo>
                    <a:lnTo>
                      <a:pt x="3" y="46"/>
                    </a:lnTo>
                    <a:lnTo>
                      <a:pt x="3" y="48"/>
                    </a:lnTo>
                    <a:lnTo>
                      <a:pt x="3" y="50"/>
                    </a:lnTo>
                    <a:lnTo>
                      <a:pt x="11" y="51"/>
                    </a:lnTo>
                    <a:lnTo>
                      <a:pt x="12" y="50"/>
                    </a:lnTo>
                    <a:lnTo>
                      <a:pt x="14" y="51"/>
                    </a:lnTo>
                    <a:lnTo>
                      <a:pt x="18" y="51"/>
                    </a:lnTo>
                    <a:lnTo>
                      <a:pt x="37" y="48"/>
                    </a:lnTo>
                    <a:lnTo>
                      <a:pt x="39" y="46"/>
                    </a:lnTo>
                    <a:lnTo>
                      <a:pt x="41" y="46"/>
                    </a:lnTo>
                    <a:lnTo>
                      <a:pt x="43" y="46"/>
                    </a:lnTo>
                    <a:lnTo>
                      <a:pt x="43" y="50"/>
                    </a:lnTo>
                    <a:lnTo>
                      <a:pt x="44" y="53"/>
                    </a:lnTo>
                    <a:lnTo>
                      <a:pt x="48" y="55"/>
                    </a:lnTo>
                    <a:lnTo>
                      <a:pt x="48" y="55"/>
                    </a:lnTo>
                    <a:lnTo>
                      <a:pt x="52" y="57"/>
                    </a:lnTo>
                    <a:lnTo>
                      <a:pt x="80" y="60"/>
                    </a:lnTo>
                    <a:lnTo>
                      <a:pt x="82" y="59"/>
                    </a:lnTo>
                    <a:lnTo>
                      <a:pt x="86" y="55"/>
                    </a:lnTo>
                    <a:lnTo>
                      <a:pt x="89" y="55"/>
                    </a:lnTo>
                    <a:lnTo>
                      <a:pt x="94" y="57"/>
                    </a:lnTo>
                    <a:lnTo>
                      <a:pt x="96" y="53"/>
                    </a:lnTo>
                    <a:lnTo>
                      <a:pt x="96" y="53"/>
                    </a:lnTo>
                    <a:lnTo>
                      <a:pt x="102" y="53"/>
                    </a:lnTo>
                    <a:lnTo>
                      <a:pt x="103" y="51"/>
                    </a:lnTo>
                    <a:lnTo>
                      <a:pt x="105" y="51"/>
                    </a:lnTo>
                    <a:lnTo>
                      <a:pt x="109" y="48"/>
                    </a:lnTo>
                    <a:lnTo>
                      <a:pt x="111" y="46"/>
                    </a:lnTo>
                    <a:lnTo>
                      <a:pt x="111" y="41"/>
                    </a:lnTo>
                    <a:lnTo>
                      <a:pt x="114" y="35"/>
                    </a:lnTo>
                    <a:lnTo>
                      <a:pt x="112" y="34"/>
                    </a:lnTo>
                    <a:lnTo>
                      <a:pt x="112" y="30"/>
                    </a:lnTo>
                    <a:lnTo>
                      <a:pt x="121" y="30"/>
                    </a:lnTo>
                    <a:lnTo>
                      <a:pt x="121" y="28"/>
                    </a:lnTo>
                    <a:lnTo>
                      <a:pt x="121" y="23"/>
                    </a:lnTo>
                    <a:lnTo>
                      <a:pt x="118" y="12"/>
                    </a:lnTo>
                    <a:lnTo>
                      <a:pt x="118" y="9"/>
                    </a:lnTo>
                    <a:lnTo>
                      <a:pt x="116" y="5"/>
                    </a:lnTo>
                    <a:lnTo>
                      <a:pt x="105" y="5"/>
                    </a:lnTo>
                    <a:lnTo>
                      <a:pt x="98" y="1"/>
                    </a:lnTo>
                    <a:lnTo>
                      <a:pt x="89" y="0"/>
                    </a:lnTo>
                    <a:lnTo>
                      <a:pt x="86" y="5"/>
                    </a:lnTo>
                    <a:lnTo>
                      <a:pt x="84" y="9"/>
                    </a:lnTo>
                    <a:lnTo>
                      <a:pt x="77" y="10"/>
                    </a:lnTo>
                    <a:lnTo>
                      <a:pt x="75" y="9"/>
                    </a:lnTo>
                    <a:lnTo>
                      <a:pt x="68"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27" name="Freeform 2076"/>
              <p:cNvSpPr>
                <a:spLocks/>
              </p:cNvSpPr>
              <p:nvPr/>
            </p:nvSpPr>
            <p:spPr bwMode="auto">
              <a:xfrm>
                <a:off x="2753" y="1702"/>
                <a:ext cx="57" cy="70"/>
              </a:xfrm>
              <a:custGeom>
                <a:avLst/>
                <a:gdLst>
                  <a:gd name="T0" fmla="*/ 36 w 57"/>
                  <a:gd name="T1" fmla="*/ 70 h 70"/>
                  <a:gd name="T2" fmla="*/ 34 w 57"/>
                  <a:gd name="T3" fmla="*/ 59 h 70"/>
                  <a:gd name="T4" fmla="*/ 29 w 57"/>
                  <a:gd name="T5" fmla="*/ 57 h 70"/>
                  <a:gd name="T6" fmla="*/ 25 w 57"/>
                  <a:gd name="T7" fmla="*/ 54 h 70"/>
                  <a:gd name="T8" fmla="*/ 23 w 57"/>
                  <a:gd name="T9" fmla="*/ 52 h 70"/>
                  <a:gd name="T10" fmla="*/ 6 w 57"/>
                  <a:gd name="T11" fmla="*/ 57 h 70"/>
                  <a:gd name="T12" fmla="*/ 0 w 57"/>
                  <a:gd name="T13" fmla="*/ 55 h 70"/>
                  <a:gd name="T14" fmla="*/ 2 w 57"/>
                  <a:gd name="T15" fmla="*/ 54 h 70"/>
                  <a:gd name="T16" fmla="*/ 9 w 57"/>
                  <a:gd name="T17" fmla="*/ 55 h 70"/>
                  <a:gd name="T18" fmla="*/ 11 w 57"/>
                  <a:gd name="T19" fmla="*/ 54 h 70"/>
                  <a:gd name="T20" fmla="*/ 7 w 57"/>
                  <a:gd name="T21" fmla="*/ 54 h 70"/>
                  <a:gd name="T22" fmla="*/ 6 w 57"/>
                  <a:gd name="T23" fmla="*/ 50 h 70"/>
                  <a:gd name="T24" fmla="*/ 16 w 57"/>
                  <a:gd name="T25" fmla="*/ 48 h 70"/>
                  <a:gd name="T26" fmla="*/ 22 w 57"/>
                  <a:gd name="T27" fmla="*/ 45 h 70"/>
                  <a:gd name="T28" fmla="*/ 18 w 57"/>
                  <a:gd name="T29" fmla="*/ 47 h 70"/>
                  <a:gd name="T30" fmla="*/ 13 w 57"/>
                  <a:gd name="T31" fmla="*/ 45 h 70"/>
                  <a:gd name="T32" fmla="*/ 11 w 57"/>
                  <a:gd name="T33" fmla="*/ 41 h 70"/>
                  <a:gd name="T34" fmla="*/ 18 w 57"/>
                  <a:gd name="T35" fmla="*/ 32 h 70"/>
                  <a:gd name="T36" fmla="*/ 23 w 57"/>
                  <a:gd name="T37" fmla="*/ 14 h 70"/>
                  <a:gd name="T38" fmla="*/ 27 w 57"/>
                  <a:gd name="T39" fmla="*/ 18 h 70"/>
                  <a:gd name="T40" fmla="*/ 27 w 57"/>
                  <a:gd name="T41" fmla="*/ 20 h 70"/>
                  <a:gd name="T42" fmla="*/ 23 w 57"/>
                  <a:gd name="T43" fmla="*/ 22 h 70"/>
                  <a:gd name="T44" fmla="*/ 23 w 57"/>
                  <a:gd name="T45" fmla="*/ 27 h 70"/>
                  <a:gd name="T46" fmla="*/ 25 w 57"/>
                  <a:gd name="T47" fmla="*/ 29 h 70"/>
                  <a:gd name="T48" fmla="*/ 31 w 57"/>
                  <a:gd name="T49" fmla="*/ 30 h 70"/>
                  <a:gd name="T50" fmla="*/ 31 w 57"/>
                  <a:gd name="T51" fmla="*/ 27 h 70"/>
                  <a:gd name="T52" fmla="*/ 29 w 57"/>
                  <a:gd name="T53" fmla="*/ 25 h 70"/>
                  <a:gd name="T54" fmla="*/ 32 w 57"/>
                  <a:gd name="T55" fmla="*/ 23 h 70"/>
                  <a:gd name="T56" fmla="*/ 32 w 57"/>
                  <a:gd name="T57" fmla="*/ 14 h 70"/>
                  <a:gd name="T58" fmla="*/ 31 w 57"/>
                  <a:gd name="T59" fmla="*/ 14 h 70"/>
                  <a:gd name="T60" fmla="*/ 31 w 57"/>
                  <a:gd name="T61" fmla="*/ 7 h 70"/>
                  <a:gd name="T62" fmla="*/ 38 w 57"/>
                  <a:gd name="T63" fmla="*/ 2 h 70"/>
                  <a:gd name="T64" fmla="*/ 43 w 57"/>
                  <a:gd name="T65" fmla="*/ 2 h 70"/>
                  <a:gd name="T66" fmla="*/ 50 w 57"/>
                  <a:gd name="T67" fmla="*/ 0 h 70"/>
                  <a:gd name="T68" fmla="*/ 57 w 57"/>
                  <a:gd name="T69" fmla="*/ 5 h 70"/>
                  <a:gd name="T70" fmla="*/ 48 w 57"/>
                  <a:gd name="T71" fmla="*/ 22 h 70"/>
                  <a:gd name="T72" fmla="*/ 56 w 57"/>
                  <a:gd name="T73" fmla="*/ 27 h 70"/>
                  <a:gd name="T74" fmla="*/ 52 w 57"/>
                  <a:gd name="T75" fmla="*/ 32 h 70"/>
                  <a:gd name="T76" fmla="*/ 50 w 57"/>
                  <a:gd name="T77" fmla="*/ 38 h 70"/>
                  <a:gd name="T78" fmla="*/ 45 w 57"/>
                  <a:gd name="T79" fmla="*/ 41 h 70"/>
                  <a:gd name="T80" fmla="*/ 40 w 57"/>
                  <a:gd name="T81" fmla="*/ 39 h 70"/>
                  <a:gd name="T82" fmla="*/ 38 w 57"/>
                  <a:gd name="T83" fmla="*/ 61 h 70"/>
                  <a:gd name="T84" fmla="*/ 40 w 57"/>
                  <a:gd name="T8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 h="70">
                    <a:moveTo>
                      <a:pt x="40" y="70"/>
                    </a:moveTo>
                    <a:lnTo>
                      <a:pt x="36" y="70"/>
                    </a:lnTo>
                    <a:lnTo>
                      <a:pt x="34" y="68"/>
                    </a:lnTo>
                    <a:lnTo>
                      <a:pt x="34" y="59"/>
                    </a:lnTo>
                    <a:lnTo>
                      <a:pt x="31" y="57"/>
                    </a:lnTo>
                    <a:lnTo>
                      <a:pt x="29" y="57"/>
                    </a:lnTo>
                    <a:lnTo>
                      <a:pt x="25" y="55"/>
                    </a:lnTo>
                    <a:lnTo>
                      <a:pt x="25" y="54"/>
                    </a:lnTo>
                    <a:lnTo>
                      <a:pt x="25" y="54"/>
                    </a:lnTo>
                    <a:lnTo>
                      <a:pt x="23" y="52"/>
                    </a:lnTo>
                    <a:lnTo>
                      <a:pt x="15" y="54"/>
                    </a:lnTo>
                    <a:lnTo>
                      <a:pt x="6" y="57"/>
                    </a:lnTo>
                    <a:lnTo>
                      <a:pt x="0" y="55"/>
                    </a:lnTo>
                    <a:lnTo>
                      <a:pt x="0" y="55"/>
                    </a:lnTo>
                    <a:lnTo>
                      <a:pt x="0" y="54"/>
                    </a:lnTo>
                    <a:lnTo>
                      <a:pt x="2" y="54"/>
                    </a:lnTo>
                    <a:lnTo>
                      <a:pt x="6" y="55"/>
                    </a:lnTo>
                    <a:lnTo>
                      <a:pt x="9" y="55"/>
                    </a:lnTo>
                    <a:lnTo>
                      <a:pt x="11" y="55"/>
                    </a:lnTo>
                    <a:lnTo>
                      <a:pt x="11" y="54"/>
                    </a:lnTo>
                    <a:lnTo>
                      <a:pt x="9" y="54"/>
                    </a:lnTo>
                    <a:lnTo>
                      <a:pt x="7" y="54"/>
                    </a:lnTo>
                    <a:lnTo>
                      <a:pt x="6" y="54"/>
                    </a:lnTo>
                    <a:lnTo>
                      <a:pt x="6" y="50"/>
                    </a:lnTo>
                    <a:lnTo>
                      <a:pt x="13" y="50"/>
                    </a:lnTo>
                    <a:lnTo>
                      <a:pt x="16" y="48"/>
                    </a:lnTo>
                    <a:lnTo>
                      <a:pt x="20" y="47"/>
                    </a:lnTo>
                    <a:lnTo>
                      <a:pt x="22" y="45"/>
                    </a:lnTo>
                    <a:lnTo>
                      <a:pt x="22" y="45"/>
                    </a:lnTo>
                    <a:lnTo>
                      <a:pt x="18" y="47"/>
                    </a:lnTo>
                    <a:lnTo>
                      <a:pt x="15" y="47"/>
                    </a:lnTo>
                    <a:lnTo>
                      <a:pt x="13" y="45"/>
                    </a:lnTo>
                    <a:lnTo>
                      <a:pt x="11" y="43"/>
                    </a:lnTo>
                    <a:lnTo>
                      <a:pt x="11" y="41"/>
                    </a:lnTo>
                    <a:lnTo>
                      <a:pt x="11" y="39"/>
                    </a:lnTo>
                    <a:lnTo>
                      <a:pt x="18" y="32"/>
                    </a:lnTo>
                    <a:lnTo>
                      <a:pt x="22" y="16"/>
                    </a:lnTo>
                    <a:lnTo>
                      <a:pt x="23" y="14"/>
                    </a:lnTo>
                    <a:lnTo>
                      <a:pt x="25" y="16"/>
                    </a:lnTo>
                    <a:lnTo>
                      <a:pt x="27" y="18"/>
                    </a:lnTo>
                    <a:lnTo>
                      <a:pt x="27" y="20"/>
                    </a:lnTo>
                    <a:lnTo>
                      <a:pt x="27" y="20"/>
                    </a:lnTo>
                    <a:lnTo>
                      <a:pt x="25" y="20"/>
                    </a:lnTo>
                    <a:lnTo>
                      <a:pt x="23" y="22"/>
                    </a:lnTo>
                    <a:lnTo>
                      <a:pt x="23" y="23"/>
                    </a:lnTo>
                    <a:lnTo>
                      <a:pt x="23" y="27"/>
                    </a:lnTo>
                    <a:lnTo>
                      <a:pt x="23" y="27"/>
                    </a:lnTo>
                    <a:lnTo>
                      <a:pt x="25" y="29"/>
                    </a:lnTo>
                    <a:lnTo>
                      <a:pt x="29" y="30"/>
                    </a:lnTo>
                    <a:lnTo>
                      <a:pt x="31" y="30"/>
                    </a:lnTo>
                    <a:lnTo>
                      <a:pt x="31" y="30"/>
                    </a:lnTo>
                    <a:lnTo>
                      <a:pt x="31" y="27"/>
                    </a:lnTo>
                    <a:lnTo>
                      <a:pt x="29" y="25"/>
                    </a:lnTo>
                    <a:lnTo>
                      <a:pt x="29" y="25"/>
                    </a:lnTo>
                    <a:lnTo>
                      <a:pt x="31" y="23"/>
                    </a:lnTo>
                    <a:lnTo>
                      <a:pt x="32" y="23"/>
                    </a:lnTo>
                    <a:lnTo>
                      <a:pt x="34" y="16"/>
                    </a:lnTo>
                    <a:lnTo>
                      <a:pt x="32" y="14"/>
                    </a:lnTo>
                    <a:lnTo>
                      <a:pt x="31" y="16"/>
                    </a:lnTo>
                    <a:lnTo>
                      <a:pt x="31" y="14"/>
                    </a:lnTo>
                    <a:lnTo>
                      <a:pt x="29" y="9"/>
                    </a:lnTo>
                    <a:lnTo>
                      <a:pt x="31" y="7"/>
                    </a:lnTo>
                    <a:lnTo>
                      <a:pt x="31" y="5"/>
                    </a:lnTo>
                    <a:lnTo>
                      <a:pt x="38" y="2"/>
                    </a:lnTo>
                    <a:lnTo>
                      <a:pt x="40" y="2"/>
                    </a:lnTo>
                    <a:lnTo>
                      <a:pt x="43" y="2"/>
                    </a:lnTo>
                    <a:lnTo>
                      <a:pt x="47" y="0"/>
                    </a:lnTo>
                    <a:lnTo>
                      <a:pt x="50" y="0"/>
                    </a:lnTo>
                    <a:lnTo>
                      <a:pt x="52" y="2"/>
                    </a:lnTo>
                    <a:lnTo>
                      <a:pt x="57" y="5"/>
                    </a:lnTo>
                    <a:lnTo>
                      <a:pt x="54" y="18"/>
                    </a:lnTo>
                    <a:lnTo>
                      <a:pt x="48" y="22"/>
                    </a:lnTo>
                    <a:lnTo>
                      <a:pt x="50" y="25"/>
                    </a:lnTo>
                    <a:lnTo>
                      <a:pt x="56" y="27"/>
                    </a:lnTo>
                    <a:lnTo>
                      <a:pt x="56" y="30"/>
                    </a:lnTo>
                    <a:lnTo>
                      <a:pt x="52" y="32"/>
                    </a:lnTo>
                    <a:lnTo>
                      <a:pt x="50" y="34"/>
                    </a:lnTo>
                    <a:lnTo>
                      <a:pt x="50" y="38"/>
                    </a:lnTo>
                    <a:lnTo>
                      <a:pt x="48" y="41"/>
                    </a:lnTo>
                    <a:lnTo>
                      <a:pt x="45" y="41"/>
                    </a:lnTo>
                    <a:lnTo>
                      <a:pt x="41" y="39"/>
                    </a:lnTo>
                    <a:lnTo>
                      <a:pt x="40" y="39"/>
                    </a:lnTo>
                    <a:lnTo>
                      <a:pt x="40" y="59"/>
                    </a:lnTo>
                    <a:lnTo>
                      <a:pt x="38" y="61"/>
                    </a:lnTo>
                    <a:lnTo>
                      <a:pt x="38" y="63"/>
                    </a:lnTo>
                    <a:lnTo>
                      <a:pt x="40" y="68"/>
                    </a:lnTo>
                    <a:lnTo>
                      <a:pt x="40" y="7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28" name="Freeform 2077"/>
              <p:cNvSpPr>
                <a:spLocks/>
              </p:cNvSpPr>
              <p:nvPr/>
            </p:nvSpPr>
            <p:spPr bwMode="auto">
              <a:xfrm>
                <a:off x="2753" y="1702"/>
                <a:ext cx="57" cy="70"/>
              </a:xfrm>
              <a:custGeom>
                <a:avLst/>
                <a:gdLst>
                  <a:gd name="T0" fmla="*/ 36 w 57"/>
                  <a:gd name="T1" fmla="*/ 70 h 70"/>
                  <a:gd name="T2" fmla="*/ 34 w 57"/>
                  <a:gd name="T3" fmla="*/ 59 h 70"/>
                  <a:gd name="T4" fmla="*/ 29 w 57"/>
                  <a:gd name="T5" fmla="*/ 57 h 70"/>
                  <a:gd name="T6" fmla="*/ 25 w 57"/>
                  <a:gd name="T7" fmla="*/ 54 h 70"/>
                  <a:gd name="T8" fmla="*/ 23 w 57"/>
                  <a:gd name="T9" fmla="*/ 52 h 70"/>
                  <a:gd name="T10" fmla="*/ 6 w 57"/>
                  <a:gd name="T11" fmla="*/ 57 h 70"/>
                  <a:gd name="T12" fmla="*/ 0 w 57"/>
                  <a:gd name="T13" fmla="*/ 55 h 70"/>
                  <a:gd name="T14" fmla="*/ 2 w 57"/>
                  <a:gd name="T15" fmla="*/ 54 h 70"/>
                  <a:gd name="T16" fmla="*/ 9 w 57"/>
                  <a:gd name="T17" fmla="*/ 55 h 70"/>
                  <a:gd name="T18" fmla="*/ 11 w 57"/>
                  <a:gd name="T19" fmla="*/ 54 h 70"/>
                  <a:gd name="T20" fmla="*/ 7 w 57"/>
                  <a:gd name="T21" fmla="*/ 54 h 70"/>
                  <a:gd name="T22" fmla="*/ 6 w 57"/>
                  <a:gd name="T23" fmla="*/ 50 h 70"/>
                  <a:gd name="T24" fmla="*/ 16 w 57"/>
                  <a:gd name="T25" fmla="*/ 48 h 70"/>
                  <a:gd name="T26" fmla="*/ 22 w 57"/>
                  <a:gd name="T27" fmla="*/ 45 h 70"/>
                  <a:gd name="T28" fmla="*/ 18 w 57"/>
                  <a:gd name="T29" fmla="*/ 47 h 70"/>
                  <a:gd name="T30" fmla="*/ 13 w 57"/>
                  <a:gd name="T31" fmla="*/ 45 h 70"/>
                  <a:gd name="T32" fmla="*/ 11 w 57"/>
                  <a:gd name="T33" fmla="*/ 41 h 70"/>
                  <a:gd name="T34" fmla="*/ 18 w 57"/>
                  <a:gd name="T35" fmla="*/ 32 h 70"/>
                  <a:gd name="T36" fmla="*/ 23 w 57"/>
                  <a:gd name="T37" fmla="*/ 14 h 70"/>
                  <a:gd name="T38" fmla="*/ 27 w 57"/>
                  <a:gd name="T39" fmla="*/ 18 h 70"/>
                  <a:gd name="T40" fmla="*/ 27 w 57"/>
                  <a:gd name="T41" fmla="*/ 20 h 70"/>
                  <a:gd name="T42" fmla="*/ 23 w 57"/>
                  <a:gd name="T43" fmla="*/ 22 h 70"/>
                  <a:gd name="T44" fmla="*/ 23 w 57"/>
                  <a:gd name="T45" fmla="*/ 27 h 70"/>
                  <a:gd name="T46" fmla="*/ 25 w 57"/>
                  <a:gd name="T47" fmla="*/ 29 h 70"/>
                  <a:gd name="T48" fmla="*/ 31 w 57"/>
                  <a:gd name="T49" fmla="*/ 30 h 70"/>
                  <a:gd name="T50" fmla="*/ 31 w 57"/>
                  <a:gd name="T51" fmla="*/ 27 h 70"/>
                  <a:gd name="T52" fmla="*/ 29 w 57"/>
                  <a:gd name="T53" fmla="*/ 25 h 70"/>
                  <a:gd name="T54" fmla="*/ 32 w 57"/>
                  <a:gd name="T55" fmla="*/ 23 h 70"/>
                  <a:gd name="T56" fmla="*/ 32 w 57"/>
                  <a:gd name="T57" fmla="*/ 14 h 70"/>
                  <a:gd name="T58" fmla="*/ 31 w 57"/>
                  <a:gd name="T59" fmla="*/ 14 h 70"/>
                  <a:gd name="T60" fmla="*/ 31 w 57"/>
                  <a:gd name="T61" fmla="*/ 7 h 70"/>
                  <a:gd name="T62" fmla="*/ 38 w 57"/>
                  <a:gd name="T63" fmla="*/ 2 h 70"/>
                  <a:gd name="T64" fmla="*/ 43 w 57"/>
                  <a:gd name="T65" fmla="*/ 2 h 70"/>
                  <a:gd name="T66" fmla="*/ 50 w 57"/>
                  <a:gd name="T67" fmla="*/ 0 h 70"/>
                  <a:gd name="T68" fmla="*/ 57 w 57"/>
                  <a:gd name="T69" fmla="*/ 5 h 70"/>
                  <a:gd name="T70" fmla="*/ 48 w 57"/>
                  <a:gd name="T71" fmla="*/ 22 h 70"/>
                  <a:gd name="T72" fmla="*/ 56 w 57"/>
                  <a:gd name="T73" fmla="*/ 27 h 70"/>
                  <a:gd name="T74" fmla="*/ 52 w 57"/>
                  <a:gd name="T75" fmla="*/ 32 h 70"/>
                  <a:gd name="T76" fmla="*/ 50 w 57"/>
                  <a:gd name="T77" fmla="*/ 38 h 70"/>
                  <a:gd name="T78" fmla="*/ 45 w 57"/>
                  <a:gd name="T79" fmla="*/ 41 h 70"/>
                  <a:gd name="T80" fmla="*/ 40 w 57"/>
                  <a:gd name="T81" fmla="*/ 39 h 70"/>
                  <a:gd name="T82" fmla="*/ 38 w 57"/>
                  <a:gd name="T83" fmla="*/ 61 h 70"/>
                  <a:gd name="T84" fmla="*/ 40 w 57"/>
                  <a:gd name="T85" fmla="*/ 6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 h="70">
                    <a:moveTo>
                      <a:pt x="40" y="70"/>
                    </a:moveTo>
                    <a:lnTo>
                      <a:pt x="36" y="70"/>
                    </a:lnTo>
                    <a:lnTo>
                      <a:pt x="34" y="68"/>
                    </a:lnTo>
                    <a:lnTo>
                      <a:pt x="34" y="59"/>
                    </a:lnTo>
                    <a:lnTo>
                      <a:pt x="31" y="57"/>
                    </a:lnTo>
                    <a:lnTo>
                      <a:pt x="29" y="57"/>
                    </a:lnTo>
                    <a:lnTo>
                      <a:pt x="25" y="55"/>
                    </a:lnTo>
                    <a:lnTo>
                      <a:pt x="25" y="54"/>
                    </a:lnTo>
                    <a:lnTo>
                      <a:pt x="25" y="54"/>
                    </a:lnTo>
                    <a:lnTo>
                      <a:pt x="23" y="52"/>
                    </a:lnTo>
                    <a:lnTo>
                      <a:pt x="15" y="54"/>
                    </a:lnTo>
                    <a:lnTo>
                      <a:pt x="6" y="57"/>
                    </a:lnTo>
                    <a:lnTo>
                      <a:pt x="0" y="55"/>
                    </a:lnTo>
                    <a:lnTo>
                      <a:pt x="0" y="55"/>
                    </a:lnTo>
                    <a:lnTo>
                      <a:pt x="0" y="54"/>
                    </a:lnTo>
                    <a:lnTo>
                      <a:pt x="2" y="54"/>
                    </a:lnTo>
                    <a:lnTo>
                      <a:pt x="6" y="55"/>
                    </a:lnTo>
                    <a:lnTo>
                      <a:pt x="9" y="55"/>
                    </a:lnTo>
                    <a:lnTo>
                      <a:pt x="11" y="55"/>
                    </a:lnTo>
                    <a:lnTo>
                      <a:pt x="11" y="54"/>
                    </a:lnTo>
                    <a:lnTo>
                      <a:pt x="9" y="54"/>
                    </a:lnTo>
                    <a:lnTo>
                      <a:pt x="7" y="54"/>
                    </a:lnTo>
                    <a:lnTo>
                      <a:pt x="6" y="54"/>
                    </a:lnTo>
                    <a:lnTo>
                      <a:pt x="6" y="50"/>
                    </a:lnTo>
                    <a:lnTo>
                      <a:pt x="13" y="50"/>
                    </a:lnTo>
                    <a:lnTo>
                      <a:pt x="16" y="48"/>
                    </a:lnTo>
                    <a:lnTo>
                      <a:pt x="20" y="47"/>
                    </a:lnTo>
                    <a:lnTo>
                      <a:pt x="22" y="45"/>
                    </a:lnTo>
                    <a:lnTo>
                      <a:pt x="22" y="45"/>
                    </a:lnTo>
                    <a:lnTo>
                      <a:pt x="18" y="47"/>
                    </a:lnTo>
                    <a:lnTo>
                      <a:pt x="15" y="47"/>
                    </a:lnTo>
                    <a:lnTo>
                      <a:pt x="13" y="45"/>
                    </a:lnTo>
                    <a:lnTo>
                      <a:pt x="11" y="43"/>
                    </a:lnTo>
                    <a:lnTo>
                      <a:pt x="11" y="41"/>
                    </a:lnTo>
                    <a:lnTo>
                      <a:pt x="11" y="39"/>
                    </a:lnTo>
                    <a:lnTo>
                      <a:pt x="18" y="32"/>
                    </a:lnTo>
                    <a:lnTo>
                      <a:pt x="22" y="16"/>
                    </a:lnTo>
                    <a:lnTo>
                      <a:pt x="23" y="14"/>
                    </a:lnTo>
                    <a:lnTo>
                      <a:pt x="25" y="16"/>
                    </a:lnTo>
                    <a:lnTo>
                      <a:pt x="27" y="18"/>
                    </a:lnTo>
                    <a:lnTo>
                      <a:pt x="27" y="20"/>
                    </a:lnTo>
                    <a:lnTo>
                      <a:pt x="27" y="20"/>
                    </a:lnTo>
                    <a:lnTo>
                      <a:pt x="25" y="20"/>
                    </a:lnTo>
                    <a:lnTo>
                      <a:pt x="23" y="22"/>
                    </a:lnTo>
                    <a:lnTo>
                      <a:pt x="23" y="23"/>
                    </a:lnTo>
                    <a:lnTo>
                      <a:pt x="23" y="27"/>
                    </a:lnTo>
                    <a:lnTo>
                      <a:pt x="23" y="27"/>
                    </a:lnTo>
                    <a:lnTo>
                      <a:pt x="25" y="29"/>
                    </a:lnTo>
                    <a:lnTo>
                      <a:pt x="29" y="30"/>
                    </a:lnTo>
                    <a:lnTo>
                      <a:pt x="31" y="30"/>
                    </a:lnTo>
                    <a:lnTo>
                      <a:pt x="31" y="30"/>
                    </a:lnTo>
                    <a:lnTo>
                      <a:pt x="31" y="27"/>
                    </a:lnTo>
                    <a:lnTo>
                      <a:pt x="29" y="25"/>
                    </a:lnTo>
                    <a:lnTo>
                      <a:pt x="29" y="25"/>
                    </a:lnTo>
                    <a:lnTo>
                      <a:pt x="31" y="23"/>
                    </a:lnTo>
                    <a:lnTo>
                      <a:pt x="32" y="23"/>
                    </a:lnTo>
                    <a:lnTo>
                      <a:pt x="34" y="16"/>
                    </a:lnTo>
                    <a:lnTo>
                      <a:pt x="32" y="14"/>
                    </a:lnTo>
                    <a:lnTo>
                      <a:pt x="31" y="16"/>
                    </a:lnTo>
                    <a:lnTo>
                      <a:pt x="31" y="14"/>
                    </a:lnTo>
                    <a:lnTo>
                      <a:pt x="29" y="9"/>
                    </a:lnTo>
                    <a:lnTo>
                      <a:pt x="31" y="7"/>
                    </a:lnTo>
                    <a:lnTo>
                      <a:pt x="31" y="5"/>
                    </a:lnTo>
                    <a:lnTo>
                      <a:pt x="38" y="2"/>
                    </a:lnTo>
                    <a:lnTo>
                      <a:pt x="40" y="2"/>
                    </a:lnTo>
                    <a:lnTo>
                      <a:pt x="43" y="2"/>
                    </a:lnTo>
                    <a:lnTo>
                      <a:pt x="47" y="0"/>
                    </a:lnTo>
                    <a:lnTo>
                      <a:pt x="50" y="0"/>
                    </a:lnTo>
                    <a:lnTo>
                      <a:pt x="52" y="2"/>
                    </a:lnTo>
                    <a:lnTo>
                      <a:pt x="57" y="5"/>
                    </a:lnTo>
                    <a:lnTo>
                      <a:pt x="54" y="18"/>
                    </a:lnTo>
                    <a:lnTo>
                      <a:pt x="48" y="22"/>
                    </a:lnTo>
                    <a:lnTo>
                      <a:pt x="50" y="25"/>
                    </a:lnTo>
                    <a:lnTo>
                      <a:pt x="56" y="27"/>
                    </a:lnTo>
                    <a:lnTo>
                      <a:pt x="56" y="30"/>
                    </a:lnTo>
                    <a:lnTo>
                      <a:pt x="52" y="32"/>
                    </a:lnTo>
                    <a:lnTo>
                      <a:pt x="50" y="34"/>
                    </a:lnTo>
                    <a:lnTo>
                      <a:pt x="50" y="38"/>
                    </a:lnTo>
                    <a:lnTo>
                      <a:pt x="48" y="41"/>
                    </a:lnTo>
                    <a:lnTo>
                      <a:pt x="45" y="41"/>
                    </a:lnTo>
                    <a:lnTo>
                      <a:pt x="41" y="39"/>
                    </a:lnTo>
                    <a:lnTo>
                      <a:pt x="40" y="39"/>
                    </a:lnTo>
                    <a:lnTo>
                      <a:pt x="40" y="59"/>
                    </a:lnTo>
                    <a:lnTo>
                      <a:pt x="38" y="61"/>
                    </a:lnTo>
                    <a:lnTo>
                      <a:pt x="38" y="63"/>
                    </a:lnTo>
                    <a:lnTo>
                      <a:pt x="40" y="68"/>
                    </a:lnTo>
                    <a:lnTo>
                      <a:pt x="40" y="7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29" name="Freeform 2078"/>
              <p:cNvSpPr>
                <a:spLocks/>
              </p:cNvSpPr>
              <p:nvPr/>
            </p:nvSpPr>
            <p:spPr bwMode="auto">
              <a:xfrm>
                <a:off x="2623" y="1763"/>
                <a:ext cx="202" cy="205"/>
              </a:xfrm>
              <a:custGeom>
                <a:avLst/>
                <a:gdLst>
                  <a:gd name="T0" fmla="*/ 100 w 202"/>
                  <a:gd name="T1" fmla="*/ 19 h 205"/>
                  <a:gd name="T2" fmla="*/ 84 w 202"/>
                  <a:gd name="T3" fmla="*/ 32 h 205"/>
                  <a:gd name="T4" fmla="*/ 82 w 202"/>
                  <a:gd name="T5" fmla="*/ 41 h 205"/>
                  <a:gd name="T6" fmla="*/ 75 w 202"/>
                  <a:gd name="T7" fmla="*/ 44 h 205"/>
                  <a:gd name="T8" fmla="*/ 55 w 202"/>
                  <a:gd name="T9" fmla="*/ 39 h 205"/>
                  <a:gd name="T10" fmla="*/ 45 w 202"/>
                  <a:gd name="T11" fmla="*/ 36 h 205"/>
                  <a:gd name="T12" fmla="*/ 53 w 202"/>
                  <a:gd name="T13" fmla="*/ 61 h 205"/>
                  <a:gd name="T14" fmla="*/ 46 w 202"/>
                  <a:gd name="T15" fmla="*/ 61 h 205"/>
                  <a:gd name="T16" fmla="*/ 27 w 202"/>
                  <a:gd name="T17" fmla="*/ 57 h 205"/>
                  <a:gd name="T18" fmla="*/ 18 w 202"/>
                  <a:gd name="T19" fmla="*/ 59 h 205"/>
                  <a:gd name="T20" fmla="*/ 5 w 202"/>
                  <a:gd name="T21" fmla="*/ 68 h 205"/>
                  <a:gd name="T22" fmla="*/ 2 w 202"/>
                  <a:gd name="T23" fmla="*/ 73 h 205"/>
                  <a:gd name="T24" fmla="*/ 2 w 202"/>
                  <a:gd name="T25" fmla="*/ 77 h 205"/>
                  <a:gd name="T26" fmla="*/ 9 w 202"/>
                  <a:gd name="T27" fmla="*/ 80 h 205"/>
                  <a:gd name="T28" fmla="*/ 27 w 202"/>
                  <a:gd name="T29" fmla="*/ 87 h 205"/>
                  <a:gd name="T30" fmla="*/ 34 w 202"/>
                  <a:gd name="T31" fmla="*/ 89 h 205"/>
                  <a:gd name="T32" fmla="*/ 39 w 202"/>
                  <a:gd name="T33" fmla="*/ 94 h 205"/>
                  <a:gd name="T34" fmla="*/ 43 w 202"/>
                  <a:gd name="T35" fmla="*/ 98 h 205"/>
                  <a:gd name="T36" fmla="*/ 41 w 202"/>
                  <a:gd name="T37" fmla="*/ 103 h 205"/>
                  <a:gd name="T38" fmla="*/ 59 w 202"/>
                  <a:gd name="T39" fmla="*/ 118 h 205"/>
                  <a:gd name="T40" fmla="*/ 57 w 202"/>
                  <a:gd name="T41" fmla="*/ 128 h 205"/>
                  <a:gd name="T42" fmla="*/ 64 w 202"/>
                  <a:gd name="T43" fmla="*/ 141 h 205"/>
                  <a:gd name="T44" fmla="*/ 59 w 202"/>
                  <a:gd name="T45" fmla="*/ 152 h 205"/>
                  <a:gd name="T46" fmla="*/ 50 w 202"/>
                  <a:gd name="T47" fmla="*/ 182 h 205"/>
                  <a:gd name="T48" fmla="*/ 59 w 202"/>
                  <a:gd name="T49" fmla="*/ 191 h 205"/>
                  <a:gd name="T50" fmla="*/ 87 w 202"/>
                  <a:gd name="T51" fmla="*/ 196 h 205"/>
                  <a:gd name="T52" fmla="*/ 105 w 202"/>
                  <a:gd name="T53" fmla="*/ 203 h 205"/>
                  <a:gd name="T54" fmla="*/ 123 w 202"/>
                  <a:gd name="T55" fmla="*/ 194 h 205"/>
                  <a:gd name="T56" fmla="*/ 136 w 202"/>
                  <a:gd name="T57" fmla="*/ 180 h 205"/>
                  <a:gd name="T58" fmla="*/ 146 w 202"/>
                  <a:gd name="T59" fmla="*/ 180 h 205"/>
                  <a:gd name="T60" fmla="*/ 153 w 202"/>
                  <a:gd name="T61" fmla="*/ 182 h 205"/>
                  <a:gd name="T62" fmla="*/ 161 w 202"/>
                  <a:gd name="T63" fmla="*/ 184 h 205"/>
                  <a:gd name="T64" fmla="*/ 168 w 202"/>
                  <a:gd name="T65" fmla="*/ 187 h 205"/>
                  <a:gd name="T66" fmla="*/ 180 w 202"/>
                  <a:gd name="T67" fmla="*/ 182 h 205"/>
                  <a:gd name="T68" fmla="*/ 195 w 202"/>
                  <a:gd name="T69" fmla="*/ 171 h 205"/>
                  <a:gd name="T70" fmla="*/ 193 w 202"/>
                  <a:gd name="T71" fmla="*/ 164 h 205"/>
                  <a:gd name="T72" fmla="*/ 184 w 202"/>
                  <a:gd name="T73" fmla="*/ 152 h 205"/>
                  <a:gd name="T74" fmla="*/ 180 w 202"/>
                  <a:gd name="T75" fmla="*/ 146 h 205"/>
                  <a:gd name="T76" fmla="*/ 182 w 202"/>
                  <a:gd name="T77" fmla="*/ 128 h 205"/>
                  <a:gd name="T78" fmla="*/ 182 w 202"/>
                  <a:gd name="T79" fmla="*/ 123 h 205"/>
                  <a:gd name="T80" fmla="*/ 171 w 202"/>
                  <a:gd name="T81" fmla="*/ 118 h 205"/>
                  <a:gd name="T82" fmla="*/ 171 w 202"/>
                  <a:gd name="T83" fmla="*/ 109 h 205"/>
                  <a:gd name="T84" fmla="*/ 177 w 202"/>
                  <a:gd name="T85" fmla="*/ 102 h 205"/>
                  <a:gd name="T86" fmla="*/ 189 w 202"/>
                  <a:gd name="T87" fmla="*/ 87 h 205"/>
                  <a:gd name="T88" fmla="*/ 196 w 202"/>
                  <a:gd name="T89" fmla="*/ 62 h 205"/>
                  <a:gd name="T90" fmla="*/ 177 w 202"/>
                  <a:gd name="T91" fmla="*/ 43 h 205"/>
                  <a:gd name="T92" fmla="*/ 162 w 202"/>
                  <a:gd name="T93" fmla="*/ 37 h 205"/>
                  <a:gd name="T94" fmla="*/ 153 w 202"/>
                  <a:gd name="T95" fmla="*/ 32 h 205"/>
                  <a:gd name="T96" fmla="*/ 145 w 202"/>
                  <a:gd name="T97" fmla="*/ 28 h 205"/>
                  <a:gd name="T98" fmla="*/ 128 w 202"/>
                  <a:gd name="T99" fmla="*/ 14 h 205"/>
                  <a:gd name="T100" fmla="*/ 118 w 202"/>
                  <a:gd name="T101"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2" h="205">
                    <a:moveTo>
                      <a:pt x="118" y="0"/>
                    </a:moveTo>
                    <a:lnTo>
                      <a:pt x="116" y="2"/>
                    </a:lnTo>
                    <a:lnTo>
                      <a:pt x="103" y="5"/>
                    </a:lnTo>
                    <a:lnTo>
                      <a:pt x="100" y="19"/>
                    </a:lnTo>
                    <a:lnTo>
                      <a:pt x="102" y="21"/>
                    </a:lnTo>
                    <a:lnTo>
                      <a:pt x="100" y="23"/>
                    </a:lnTo>
                    <a:lnTo>
                      <a:pt x="93" y="28"/>
                    </a:lnTo>
                    <a:lnTo>
                      <a:pt x="84" y="32"/>
                    </a:lnTo>
                    <a:lnTo>
                      <a:pt x="80" y="36"/>
                    </a:lnTo>
                    <a:lnTo>
                      <a:pt x="77" y="39"/>
                    </a:lnTo>
                    <a:lnTo>
                      <a:pt x="78" y="41"/>
                    </a:lnTo>
                    <a:lnTo>
                      <a:pt x="82" y="41"/>
                    </a:lnTo>
                    <a:lnTo>
                      <a:pt x="84" y="41"/>
                    </a:lnTo>
                    <a:lnTo>
                      <a:pt x="84" y="43"/>
                    </a:lnTo>
                    <a:lnTo>
                      <a:pt x="77" y="43"/>
                    </a:lnTo>
                    <a:lnTo>
                      <a:pt x="75" y="44"/>
                    </a:lnTo>
                    <a:lnTo>
                      <a:pt x="68" y="44"/>
                    </a:lnTo>
                    <a:lnTo>
                      <a:pt x="61" y="44"/>
                    </a:lnTo>
                    <a:lnTo>
                      <a:pt x="59" y="44"/>
                    </a:lnTo>
                    <a:lnTo>
                      <a:pt x="55" y="39"/>
                    </a:lnTo>
                    <a:lnTo>
                      <a:pt x="55" y="37"/>
                    </a:lnTo>
                    <a:lnTo>
                      <a:pt x="53" y="36"/>
                    </a:lnTo>
                    <a:lnTo>
                      <a:pt x="48" y="36"/>
                    </a:lnTo>
                    <a:lnTo>
                      <a:pt x="45" y="36"/>
                    </a:lnTo>
                    <a:lnTo>
                      <a:pt x="46" y="44"/>
                    </a:lnTo>
                    <a:lnTo>
                      <a:pt x="48" y="44"/>
                    </a:lnTo>
                    <a:lnTo>
                      <a:pt x="52" y="59"/>
                    </a:lnTo>
                    <a:lnTo>
                      <a:pt x="53" y="61"/>
                    </a:lnTo>
                    <a:lnTo>
                      <a:pt x="52" y="62"/>
                    </a:lnTo>
                    <a:lnTo>
                      <a:pt x="48" y="62"/>
                    </a:lnTo>
                    <a:lnTo>
                      <a:pt x="46" y="61"/>
                    </a:lnTo>
                    <a:lnTo>
                      <a:pt x="46" y="61"/>
                    </a:lnTo>
                    <a:lnTo>
                      <a:pt x="41" y="62"/>
                    </a:lnTo>
                    <a:lnTo>
                      <a:pt x="39" y="61"/>
                    </a:lnTo>
                    <a:lnTo>
                      <a:pt x="34" y="62"/>
                    </a:lnTo>
                    <a:lnTo>
                      <a:pt x="27" y="57"/>
                    </a:lnTo>
                    <a:lnTo>
                      <a:pt x="21" y="57"/>
                    </a:lnTo>
                    <a:lnTo>
                      <a:pt x="20" y="57"/>
                    </a:lnTo>
                    <a:lnTo>
                      <a:pt x="18" y="57"/>
                    </a:lnTo>
                    <a:lnTo>
                      <a:pt x="18" y="59"/>
                    </a:lnTo>
                    <a:lnTo>
                      <a:pt x="0" y="64"/>
                    </a:lnTo>
                    <a:lnTo>
                      <a:pt x="0" y="68"/>
                    </a:lnTo>
                    <a:lnTo>
                      <a:pt x="0" y="69"/>
                    </a:lnTo>
                    <a:lnTo>
                      <a:pt x="5" y="68"/>
                    </a:lnTo>
                    <a:lnTo>
                      <a:pt x="5" y="69"/>
                    </a:lnTo>
                    <a:lnTo>
                      <a:pt x="3" y="69"/>
                    </a:lnTo>
                    <a:lnTo>
                      <a:pt x="2" y="71"/>
                    </a:lnTo>
                    <a:lnTo>
                      <a:pt x="2" y="73"/>
                    </a:lnTo>
                    <a:lnTo>
                      <a:pt x="7" y="73"/>
                    </a:lnTo>
                    <a:lnTo>
                      <a:pt x="7" y="75"/>
                    </a:lnTo>
                    <a:lnTo>
                      <a:pt x="0" y="77"/>
                    </a:lnTo>
                    <a:lnTo>
                      <a:pt x="2" y="77"/>
                    </a:lnTo>
                    <a:lnTo>
                      <a:pt x="5" y="78"/>
                    </a:lnTo>
                    <a:lnTo>
                      <a:pt x="5" y="82"/>
                    </a:lnTo>
                    <a:lnTo>
                      <a:pt x="9" y="82"/>
                    </a:lnTo>
                    <a:lnTo>
                      <a:pt x="9" y="80"/>
                    </a:lnTo>
                    <a:lnTo>
                      <a:pt x="12" y="80"/>
                    </a:lnTo>
                    <a:lnTo>
                      <a:pt x="23" y="86"/>
                    </a:lnTo>
                    <a:lnTo>
                      <a:pt x="25" y="87"/>
                    </a:lnTo>
                    <a:lnTo>
                      <a:pt x="27" y="87"/>
                    </a:lnTo>
                    <a:lnTo>
                      <a:pt x="30" y="86"/>
                    </a:lnTo>
                    <a:lnTo>
                      <a:pt x="32" y="87"/>
                    </a:lnTo>
                    <a:lnTo>
                      <a:pt x="30" y="87"/>
                    </a:lnTo>
                    <a:lnTo>
                      <a:pt x="34" y="89"/>
                    </a:lnTo>
                    <a:lnTo>
                      <a:pt x="36" y="87"/>
                    </a:lnTo>
                    <a:lnTo>
                      <a:pt x="36" y="89"/>
                    </a:lnTo>
                    <a:lnTo>
                      <a:pt x="36" y="93"/>
                    </a:lnTo>
                    <a:lnTo>
                      <a:pt x="39" y="94"/>
                    </a:lnTo>
                    <a:lnTo>
                      <a:pt x="45" y="93"/>
                    </a:lnTo>
                    <a:lnTo>
                      <a:pt x="48" y="94"/>
                    </a:lnTo>
                    <a:lnTo>
                      <a:pt x="43" y="96"/>
                    </a:lnTo>
                    <a:lnTo>
                      <a:pt x="43" y="98"/>
                    </a:lnTo>
                    <a:lnTo>
                      <a:pt x="45" y="100"/>
                    </a:lnTo>
                    <a:lnTo>
                      <a:pt x="43" y="102"/>
                    </a:lnTo>
                    <a:lnTo>
                      <a:pt x="41" y="100"/>
                    </a:lnTo>
                    <a:lnTo>
                      <a:pt x="41" y="103"/>
                    </a:lnTo>
                    <a:lnTo>
                      <a:pt x="46" y="109"/>
                    </a:lnTo>
                    <a:lnTo>
                      <a:pt x="46" y="112"/>
                    </a:lnTo>
                    <a:lnTo>
                      <a:pt x="53" y="116"/>
                    </a:lnTo>
                    <a:lnTo>
                      <a:pt x="59" y="118"/>
                    </a:lnTo>
                    <a:lnTo>
                      <a:pt x="57" y="119"/>
                    </a:lnTo>
                    <a:lnTo>
                      <a:pt x="59" y="121"/>
                    </a:lnTo>
                    <a:lnTo>
                      <a:pt x="59" y="125"/>
                    </a:lnTo>
                    <a:lnTo>
                      <a:pt x="57" y="128"/>
                    </a:lnTo>
                    <a:lnTo>
                      <a:pt x="59" y="132"/>
                    </a:lnTo>
                    <a:lnTo>
                      <a:pt x="61" y="134"/>
                    </a:lnTo>
                    <a:lnTo>
                      <a:pt x="64" y="137"/>
                    </a:lnTo>
                    <a:lnTo>
                      <a:pt x="64" y="141"/>
                    </a:lnTo>
                    <a:lnTo>
                      <a:pt x="59" y="134"/>
                    </a:lnTo>
                    <a:lnTo>
                      <a:pt x="59" y="137"/>
                    </a:lnTo>
                    <a:lnTo>
                      <a:pt x="57" y="153"/>
                    </a:lnTo>
                    <a:lnTo>
                      <a:pt x="59" y="152"/>
                    </a:lnTo>
                    <a:lnTo>
                      <a:pt x="59" y="153"/>
                    </a:lnTo>
                    <a:lnTo>
                      <a:pt x="57" y="157"/>
                    </a:lnTo>
                    <a:lnTo>
                      <a:pt x="52" y="180"/>
                    </a:lnTo>
                    <a:lnTo>
                      <a:pt x="50" y="182"/>
                    </a:lnTo>
                    <a:lnTo>
                      <a:pt x="46" y="182"/>
                    </a:lnTo>
                    <a:lnTo>
                      <a:pt x="46" y="184"/>
                    </a:lnTo>
                    <a:lnTo>
                      <a:pt x="55" y="191"/>
                    </a:lnTo>
                    <a:lnTo>
                      <a:pt x="59" y="191"/>
                    </a:lnTo>
                    <a:lnTo>
                      <a:pt x="64" y="194"/>
                    </a:lnTo>
                    <a:lnTo>
                      <a:pt x="82" y="198"/>
                    </a:lnTo>
                    <a:lnTo>
                      <a:pt x="84" y="198"/>
                    </a:lnTo>
                    <a:lnTo>
                      <a:pt x="87" y="196"/>
                    </a:lnTo>
                    <a:lnTo>
                      <a:pt x="89" y="196"/>
                    </a:lnTo>
                    <a:lnTo>
                      <a:pt x="96" y="200"/>
                    </a:lnTo>
                    <a:lnTo>
                      <a:pt x="100" y="200"/>
                    </a:lnTo>
                    <a:lnTo>
                      <a:pt x="105" y="203"/>
                    </a:lnTo>
                    <a:lnTo>
                      <a:pt x="107" y="205"/>
                    </a:lnTo>
                    <a:lnTo>
                      <a:pt x="125" y="203"/>
                    </a:lnTo>
                    <a:lnTo>
                      <a:pt x="125" y="194"/>
                    </a:lnTo>
                    <a:lnTo>
                      <a:pt x="123" y="194"/>
                    </a:lnTo>
                    <a:lnTo>
                      <a:pt x="123" y="189"/>
                    </a:lnTo>
                    <a:lnTo>
                      <a:pt x="125" y="187"/>
                    </a:lnTo>
                    <a:lnTo>
                      <a:pt x="134" y="182"/>
                    </a:lnTo>
                    <a:lnTo>
                      <a:pt x="136" y="180"/>
                    </a:lnTo>
                    <a:lnTo>
                      <a:pt x="139" y="178"/>
                    </a:lnTo>
                    <a:lnTo>
                      <a:pt x="141" y="178"/>
                    </a:lnTo>
                    <a:lnTo>
                      <a:pt x="141" y="180"/>
                    </a:lnTo>
                    <a:lnTo>
                      <a:pt x="146" y="180"/>
                    </a:lnTo>
                    <a:lnTo>
                      <a:pt x="146" y="182"/>
                    </a:lnTo>
                    <a:lnTo>
                      <a:pt x="148" y="182"/>
                    </a:lnTo>
                    <a:lnTo>
                      <a:pt x="152" y="184"/>
                    </a:lnTo>
                    <a:lnTo>
                      <a:pt x="153" y="182"/>
                    </a:lnTo>
                    <a:lnTo>
                      <a:pt x="155" y="182"/>
                    </a:lnTo>
                    <a:lnTo>
                      <a:pt x="157" y="182"/>
                    </a:lnTo>
                    <a:lnTo>
                      <a:pt x="159" y="182"/>
                    </a:lnTo>
                    <a:lnTo>
                      <a:pt x="161" y="184"/>
                    </a:lnTo>
                    <a:lnTo>
                      <a:pt x="161" y="186"/>
                    </a:lnTo>
                    <a:lnTo>
                      <a:pt x="162" y="186"/>
                    </a:lnTo>
                    <a:lnTo>
                      <a:pt x="166" y="186"/>
                    </a:lnTo>
                    <a:lnTo>
                      <a:pt x="168" y="187"/>
                    </a:lnTo>
                    <a:lnTo>
                      <a:pt x="173" y="189"/>
                    </a:lnTo>
                    <a:lnTo>
                      <a:pt x="178" y="186"/>
                    </a:lnTo>
                    <a:lnTo>
                      <a:pt x="180" y="184"/>
                    </a:lnTo>
                    <a:lnTo>
                      <a:pt x="180" y="182"/>
                    </a:lnTo>
                    <a:lnTo>
                      <a:pt x="187" y="177"/>
                    </a:lnTo>
                    <a:lnTo>
                      <a:pt x="189" y="175"/>
                    </a:lnTo>
                    <a:lnTo>
                      <a:pt x="195" y="173"/>
                    </a:lnTo>
                    <a:lnTo>
                      <a:pt x="195" y="171"/>
                    </a:lnTo>
                    <a:lnTo>
                      <a:pt x="195" y="171"/>
                    </a:lnTo>
                    <a:lnTo>
                      <a:pt x="195" y="169"/>
                    </a:lnTo>
                    <a:lnTo>
                      <a:pt x="195" y="166"/>
                    </a:lnTo>
                    <a:lnTo>
                      <a:pt x="193" y="164"/>
                    </a:lnTo>
                    <a:lnTo>
                      <a:pt x="186" y="164"/>
                    </a:lnTo>
                    <a:lnTo>
                      <a:pt x="184" y="161"/>
                    </a:lnTo>
                    <a:lnTo>
                      <a:pt x="184" y="155"/>
                    </a:lnTo>
                    <a:lnTo>
                      <a:pt x="184" y="152"/>
                    </a:lnTo>
                    <a:lnTo>
                      <a:pt x="184" y="150"/>
                    </a:lnTo>
                    <a:lnTo>
                      <a:pt x="182" y="148"/>
                    </a:lnTo>
                    <a:lnTo>
                      <a:pt x="180" y="148"/>
                    </a:lnTo>
                    <a:lnTo>
                      <a:pt x="180" y="146"/>
                    </a:lnTo>
                    <a:lnTo>
                      <a:pt x="182" y="143"/>
                    </a:lnTo>
                    <a:lnTo>
                      <a:pt x="182" y="141"/>
                    </a:lnTo>
                    <a:lnTo>
                      <a:pt x="186" y="139"/>
                    </a:lnTo>
                    <a:lnTo>
                      <a:pt x="182" y="128"/>
                    </a:lnTo>
                    <a:lnTo>
                      <a:pt x="182" y="127"/>
                    </a:lnTo>
                    <a:lnTo>
                      <a:pt x="186" y="127"/>
                    </a:lnTo>
                    <a:lnTo>
                      <a:pt x="184" y="123"/>
                    </a:lnTo>
                    <a:lnTo>
                      <a:pt x="182" y="123"/>
                    </a:lnTo>
                    <a:lnTo>
                      <a:pt x="182" y="114"/>
                    </a:lnTo>
                    <a:lnTo>
                      <a:pt x="180" y="114"/>
                    </a:lnTo>
                    <a:lnTo>
                      <a:pt x="175" y="114"/>
                    </a:lnTo>
                    <a:lnTo>
                      <a:pt x="171" y="118"/>
                    </a:lnTo>
                    <a:lnTo>
                      <a:pt x="170" y="119"/>
                    </a:lnTo>
                    <a:lnTo>
                      <a:pt x="170" y="119"/>
                    </a:lnTo>
                    <a:lnTo>
                      <a:pt x="171" y="109"/>
                    </a:lnTo>
                    <a:lnTo>
                      <a:pt x="171" y="109"/>
                    </a:lnTo>
                    <a:lnTo>
                      <a:pt x="173" y="105"/>
                    </a:lnTo>
                    <a:lnTo>
                      <a:pt x="175" y="105"/>
                    </a:lnTo>
                    <a:lnTo>
                      <a:pt x="175" y="103"/>
                    </a:lnTo>
                    <a:lnTo>
                      <a:pt x="177" y="102"/>
                    </a:lnTo>
                    <a:lnTo>
                      <a:pt x="184" y="91"/>
                    </a:lnTo>
                    <a:lnTo>
                      <a:pt x="184" y="89"/>
                    </a:lnTo>
                    <a:lnTo>
                      <a:pt x="184" y="87"/>
                    </a:lnTo>
                    <a:lnTo>
                      <a:pt x="189" y="87"/>
                    </a:lnTo>
                    <a:lnTo>
                      <a:pt x="195" y="86"/>
                    </a:lnTo>
                    <a:lnTo>
                      <a:pt x="193" y="84"/>
                    </a:lnTo>
                    <a:lnTo>
                      <a:pt x="193" y="73"/>
                    </a:lnTo>
                    <a:lnTo>
                      <a:pt x="196" y="62"/>
                    </a:lnTo>
                    <a:lnTo>
                      <a:pt x="202" y="57"/>
                    </a:lnTo>
                    <a:lnTo>
                      <a:pt x="202" y="53"/>
                    </a:lnTo>
                    <a:lnTo>
                      <a:pt x="180" y="46"/>
                    </a:lnTo>
                    <a:lnTo>
                      <a:pt x="177" y="43"/>
                    </a:lnTo>
                    <a:lnTo>
                      <a:pt x="173" y="39"/>
                    </a:lnTo>
                    <a:lnTo>
                      <a:pt x="170" y="39"/>
                    </a:lnTo>
                    <a:lnTo>
                      <a:pt x="164" y="37"/>
                    </a:lnTo>
                    <a:lnTo>
                      <a:pt x="162" y="37"/>
                    </a:lnTo>
                    <a:lnTo>
                      <a:pt x="159" y="37"/>
                    </a:lnTo>
                    <a:lnTo>
                      <a:pt x="153" y="34"/>
                    </a:lnTo>
                    <a:lnTo>
                      <a:pt x="153" y="32"/>
                    </a:lnTo>
                    <a:lnTo>
                      <a:pt x="153" y="32"/>
                    </a:lnTo>
                    <a:lnTo>
                      <a:pt x="153" y="25"/>
                    </a:lnTo>
                    <a:lnTo>
                      <a:pt x="152" y="25"/>
                    </a:lnTo>
                    <a:lnTo>
                      <a:pt x="148" y="28"/>
                    </a:lnTo>
                    <a:lnTo>
                      <a:pt x="145" y="28"/>
                    </a:lnTo>
                    <a:lnTo>
                      <a:pt x="141" y="28"/>
                    </a:lnTo>
                    <a:lnTo>
                      <a:pt x="141" y="21"/>
                    </a:lnTo>
                    <a:lnTo>
                      <a:pt x="139" y="19"/>
                    </a:lnTo>
                    <a:lnTo>
                      <a:pt x="128" y="14"/>
                    </a:lnTo>
                    <a:lnTo>
                      <a:pt x="125" y="9"/>
                    </a:lnTo>
                    <a:lnTo>
                      <a:pt x="123" y="9"/>
                    </a:lnTo>
                    <a:lnTo>
                      <a:pt x="120" y="7"/>
                    </a:lnTo>
                    <a:lnTo>
                      <a:pt x="118"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30" name="Freeform 2079"/>
              <p:cNvSpPr>
                <a:spLocks/>
              </p:cNvSpPr>
              <p:nvPr/>
            </p:nvSpPr>
            <p:spPr bwMode="auto">
              <a:xfrm>
                <a:off x="2623" y="1763"/>
                <a:ext cx="202" cy="205"/>
              </a:xfrm>
              <a:custGeom>
                <a:avLst/>
                <a:gdLst>
                  <a:gd name="T0" fmla="*/ 100 w 202"/>
                  <a:gd name="T1" fmla="*/ 19 h 205"/>
                  <a:gd name="T2" fmla="*/ 84 w 202"/>
                  <a:gd name="T3" fmla="*/ 32 h 205"/>
                  <a:gd name="T4" fmla="*/ 82 w 202"/>
                  <a:gd name="T5" fmla="*/ 41 h 205"/>
                  <a:gd name="T6" fmla="*/ 75 w 202"/>
                  <a:gd name="T7" fmla="*/ 44 h 205"/>
                  <a:gd name="T8" fmla="*/ 55 w 202"/>
                  <a:gd name="T9" fmla="*/ 39 h 205"/>
                  <a:gd name="T10" fmla="*/ 45 w 202"/>
                  <a:gd name="T11" fmla="*/ 36 h 205"/>
                  <a:gd name="T12" fmla="*/ 53 w 202"/>
                  <a:gd name="T13" fmla="*/ 61 h 205"/>
                  <a:gd name="T14" fmla="*/ 46 w 202"/>
                  <a:gd name="T15" fmla="*/ 61 h 205"/>
                  <a:gd name="T16" fmla="*/ 27 w 202"/>
                  <a:gd name="T17" fmla="*/ 57 h 205"/>
                  <a:gd name="T18" fmla="*/ 18 w 202"/>
                  <a:gd name="T19" fmla="*/ 59 h 205"/>
                  <a:gd name="T20" fmla="*/ 5 w 202"/>
                  <a:gd name="T21" fmla="*/ 68 h 205"/>
                  <a:gd name="T22" fmla="*/ 2 w 202"/>
                  <a:gd name="T23" fmla="*/ 73 h 205"/>
                  <a:gd name="T24" fmla="*/ 2 w 202"/>
                  <a:gd name="T25" fmla="*/ 77 h 205"/>
                  <a:gd name="T26" fmla="*/ 9 w 202"/>
                  <a:gd name="T27" fmla="*/ 80 h 205"/>
                  <a:gd name="T28" fmla="*/ 27 w 202"/>
                  <a:gd name="T29" fmla="*/ 87 h 205"/>
                  <a:gd name="T30" fmla="*/ 34 w 202"/>
                  <a:gd name="T31" fmla="*/ 89 h 205"/>
                  <a:gd name="T32" fmla="*/ 39 w 202"/>
                  <a:gd name="T33" fmla="*/ 94 h 205"/>
                  <a:gd name="T34" fmla="*/ 43 w 202"/>
                  <a:gd name="T35" fmla="*/ 98 h 205"/>
                  <a:gd name="T36" fmla="*/ 41 w 202"/>
                  <a:gd name="T37" fmla="*/ 103 h 205"/>
                  <a:gd name="T38" fmla="*/ 59 w 202"/>
                  <a:gd name="T39" fmla="*/ 118 h 205"/>
                  <a:gd name="T40" fmla="*/ 57 w 202"/>
                  <a:gd name="T41" fmla="*/ 128 h 205"/>
                  <a:gd name="T42" fmla="*/ 64 w 202"/>
                  <a:gd name="T43" fmla="*/ 141 h 205"/>
                  <a:gd name="T44" fmla="*/ 59 w 202"/>
                  <a:gd name="T45" fmla="*/ 152 h 205"/>
                  <a:gd name="T46" fmla="*/ 50 w 202"/>
                  <a:gd name="T47" fmla="*/ 182 h 205"/>
                  <a:gd name="T48" fmla="*/ 59 w 202"/>
                  <a:gd name="T49" fmla="*/ 191 h 205"/>
                  <a:gd name="T50" fmla="*/ 87 w 202"/>
                  <a:gd name="T51" fmla="*/ 196 h 205"/>
                  <a:gd name="T52" fmla="*/ 105 w 202"/>
                  <a:gd name="T53" fmla="*/ 203 h 205"/>
                  <a:gd name="T54" fmla="*/ 123 w 202"/>
                  <a:gd name="T55" fmla="*/ 194 h 205"/>
                  <a:gd name="T56" fmla="*/ 136 w 202"/>
                  <a:gd name="T57" fmla="*/ 180 h 205"/>
                  <a:gd name="T58" fmla="*/ 146 w 202"/>
                  <a:gd name="T59" fmla="*/ 180 h 205"/>
                  <a:gd name="T60" fmla="*/ 153 w 202"/>
                  <a:gd name="T61" fmla="*/ 182 h 205"/>
                  <a:gd name="T62" fmla="*/ 161 w 202"/>
                  <a:gd name="T63" fmla="*/ 184 h 205"/>
                  <a:gd name="T64" fmla="*/ 168 w 202"/>
                  <a:gd name="T65" fmla="*/ 187 h 205"/>
                  <a:gd name="T66" fmla="*/ 180 w 202"/>
                  <a:gd name="T67" fmla="*/ 182 h 205"/>
                  <a:gd name="T68" fmla="*/ 195 w 202"/>
                  <a:gd name="T69" fmla="*/ 171 h 205"/>
                  <a:gd name="T70" fmla="*/ 193 w 202"/>
                  <a:gd name="T71" fmla="*/ 164 h 205"/>
                  <a:gd name="T72" fmla="*/ 184 w 202"/>
                  <a:gd name="T73" fmla="*/ 152 h 205"/>
                  <a:gd name="T74" fmla="*/ 180 w 202"/>
                  <a:gd name="T75" fmla="*/ 146 h 205"/>
                  <a:gd name="T76" fmla="*/ 182 w 202"/>
                  <a:gd name="T77" fmla="*/ 128 h 205"/>
                  <a:gd name="T78" fmla="*/ 182 w 202"/>
                  <a:gd name="T79" fmla="*/ 123 h 205"/>
                  <a:gd name="T80" fmla="*/ 171 w 202"/>
                  <a:gd name="T81" fmla="*/ 118 h 205"/>
                  <a:gd name="T82" fmla="*/ 171 w 202"/>
                  <a:gd name="T83" fmla="*/ 109 h 205"/>
                  <a:gd name="T84" fmla="*/ 177 w 202"/>
                  <a:gd name="T85" fmla="*/ 102 h 205"/>
                  <a:gd name="T86" fmla="*/ 189 w 202"/>
                  <a:gd name="T87" fmla="*/ 87 h 205"/>
                  <a:gd name="T88" fmla="*/ 196 w 202"/>
                  <a:gd name="T89" fmla="*/ 62 h 205"/>
                  <a:gd name="T90" fmla="*/ 177 w 202"/>
                  <a:gd name="T91" fmla="*/ 43 h 205"/>
                  <a:gd name="T92" fmla="*/ 162 w 202"/>
                  <a:gd name="T93" fmla="*/ 37 h 205"/>
                  <a:gd name="T94" fmla="*/ 153 w 202"/>
                  <a:gd name="T95" fmla="*/ 32 h 205"/>
                  <a:gd name="T96" fmla="*/ 145 w 202"/>
                  <a:gd name="T97" fmla="*/ 28 h 205"/>
                  <a:gd name="T98" fmla="*/ 128 w 202"/>
                  <a:gd name="T99" fmla="*/ 14 h 205"/>
                  <a:gd name="T100" fmla="*/ 118 w 202"/>
                  <a:gd name="T101"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2" h="205">
                    <a:moveTo>
                      <a:pt x="118" y="0"/>
                    </a:moveTo>
                    <a:lnTo>
                      <a:pt x="116" y="2"/>
                    </a:lnTo>
                    <a:lnTo>
                      <a:pt x="103" y="5"/>
                    </a:lnTo>
                    <a:lnTo>
                      <a:pt x="100" y="19"/>
                    </a:lnTo>
                    <a:lnTo>
                      <a:pt x="102" y="21"/>
                    </a:lnTo>
                    <a:lnTo>
                      <a:pt x="100" y="23"/>
                    </a:lnTo>
                    <a:lnTo>
                      <a:pt x="93" y="28"/>
                    </a:lnTo>
                    <a:lnTo>
                      <a:pt x="84" y="32"/>
                    </a:lnTo>
                    <a:lnTo>
                      <a:pt x="80" y="36"/>
                    </a:lnTo>
                    <a:lnTo>
                      <a:pt x="77" y="39"/>
                    </a:lnTo>
                    <a:lnTo>
                      <a:pt x="78" y="41"/>
                    </a:lnTo>
                    <a:lnTo>
                      <a:pt x="82" y="41"/>
                    </a:lnTo>
                    <a:lnTo>
                      <a:pt x="84" y="41"/>
                    </a:lnTo>
                    <a:lnTo>
                      <a:pt x="84" y="43"/>
                    </a:lnTo>
                    <a:lnTo>
                      <a:pt x="77" y="43"/>
                    </a:lnTo>
                    <a:lnTo>
                      <a:pt x="75" y="44"/>
                    </a:lnTo>
                    <a:lnTo>
                      <a:pt x="68" y="44"/>
                    </a:lnTo>
                    <a:lnTo>
                      <a:pt x="61" y="44"/>
                    </a:lnTo>
                    <a:lnTo>
                      <a:pt x="59" y="44"/>
                    </a:lnTo>
                    <a:lnTo>
                      <a:pt x="55" y="39"/>
                    </a:lnTo>
                    <a:lnTo>
                      <a:pt x="55" y="37"/>
                    </a:lnTo>
                    <a:lnTo>
                      <a:pt x="53" y="36"/>
                    </a:lnTo>
                    <a:lnTo>
                      <a:pt x="48" y="36"/>
                    </a:lnTo>
                    <a:lnTo>
                      <a:pt x="45" y="36"/>
                    </a:lnTo>
                    <a:lnTo>
                      <a:pt x="46" y="44"/>
                    </a:lnTo>
                    <a:lnTo>
                      <a:pt x="48" y="44"/>
                    </a:lnTo>
                    <a:lnTo>
                      <a:pt x="52" y="59"/>
                    </a:lnTo>
                    <a:lnTo>
                      <a:pt x="53" y="61"/>
                    </a:lnTo>
                    <a:lnTo>
                      <a:pt x="52" y="62"/>
                    </a:lnTo>
                    <a:lnTo>
                      <a:pt x="48" y="62"/>
                    </a:lnTo>
                    <a:lnTo>
                      <a:pt x="46" y="61"/>
                    </a:lnTo>
                    <a:lnTo>
                      <a:pt x="46" y="61"/>
                    </a:lnTo>
                    <a:lnTo>
                      <a:pt x="41" y="62"/>
                    </a:lnTo>
                    <a:lnTo>
                      <a:pt x="39" y="61"/>
                    </a:lnTo>
                    <a:lnTo>
                      <a:pt x="34" y="62"/>
                    </a:lnTo>
                    <a:lnTo>
                      <a:pt x="27" y="57"/>
                    </a:lnTo>
                    <a:lnTo>
                      <a:pt x="21" y="57"/>
                    </a:lnTo>
                    <a:lnTo>
                      <a:pt x="20" y="57"/>
                    </a:lnTo>
                    <a:lnTo>
                      <a:pt x="18" y="57"/>
                    </a:lnTo>
                    <a:lnTo>
                      <a:pt x="18" y="59"/>
                    </a:lnTo>
                    <a:lnTo>
                      <a:pt x="0" y="64"/>
                    </a:lnTo>
                    <a:lnTo>
                      <a:pt x="0" y="68"/>
                    </a:lnTo>
                    <a:lnTo>
                      <a:pt x="0" y="69"/>
                    </a:lnTo>
                    <a:lnTo>
                      <a:pt x="5" y="68"/>
                    </a:lnTo>
                    <a:lnTo>
                      <a:pt x="5" y="69"/>
                    </a:lnTo>
                    <a:lnTo>
                      <a:pt x="3" y="69"/>
                    </a:lnTo>
                    <a:lnTo>
                      <a:pt x="2" y="71"/>
                    </a:lnTo>
                    <a:lnTo>
                      <a:pt x="2" y="73"/>
                    </a:lnTo>
                    <a:lnTo>
                      <a:pt x="7" y="73"/>
                    </a:lnTo>
                    <a:lnTo>
                      <a:pt x="7" y="75"/>
                    </a:lnTo>
                    <a:lnTo>
                      <a:pt x="0" y="77"/>
                    </a:lnTo>
                    <a:lnTo>
                      <a:pt x="2" y="77"/>
                    </a:lnTo>
                    <a:lnTo>
                      <a:pt x="5" y="78"/>
                    </a:lnTo>
                    <a:lnTo>
                      <a:pt x="5" y="82"/>
                    </a:lnTo>
                    <a:lnTo>
                      <a:pt x="9" y="82"/>
                    </a:lnTo>
                    <a:lnTo>
                      <a:pt x="9" y="80"/>
                    </a:lnTo>
                    <a:lnTo>
                      <a:pt x="12" y="80"/>
                    </a:lnTo>
                    <a:lnTo>
                      <a:pt x="23" y="86"/>
                    </a:lnTo>
                    <a:lnTo>
                      <a:pt x="25" y="87"/>
                    </a:lnTo>
                    <a:lnTo>
                      <a:pt x="27" y="87"/>
                    </a:lnTo>
                    <a:lnTo>
                      <a:pt x="30" y="86"/>
                    </a:lnTo>
                    <a:lnTo>
                      <a:pt x="32" y="87"/>
                    </a:lnTo>
                    <a:lnTo>
                      <a:pt x="30" y="87"/>
                    </a:lnTo>
                    <a:lnTo>
                      <a:pt x="34" y="89"/>
                    </a:lnTo>
                    <a:lnTo>
                      <a:pt x="36" y="87"/>
                    </a:lnTo>
                    <a:lnTo>
                      <a:pt x="36" y="89"/>
                    </a:lnTo>
                    <a:lnTo>
                      <a:pt x="36" y="93"/>
                    </a:lnTo>
                    <a:lnTo>
                      <a:pt x="39" y="94"/>
                    </a:lnTo>
                    <a:lnTo>
                      <a:pt x="45" y="93"/>
                    </a:lnTo>
                    <a:lnTo>
                      <a:pt x="48" y="94"/>
                    </a:lnTo>
                    <a:lnTo>
                      <a:pt x="43" y="96"/>
                    </a:lnTo>
                    <a:lnTo>
                      <a:pt x="43" y="98"/>
                    </a:lnTo>
                    <a:lnTo>
                      <a:pt x="45" y="100"/>
                    </a:lnTo>
                    <a:lnTo>
                      <a:pt x="43" y="102"/>
                    </a:lnTo>
                    <a:lnTo>
                      <a:pt x="41" y="100"/>
                    </a:lnTo>
                    <a:lnTo>
                      <a:pt x="41" y="103"/>
                    </a:lnTo>
                    <a:lnTo>
                      <a:pt x="46" y="109"/>
                    </a:lnTo>
                    <a:lnTo>
                      <a:pt x="46" y="112"/>
                    </a:lnTo>
                    <a:lnTo>
                      <a:pt x="53" y="116"/>
                    </a:lnTo>
                    <a:lnTo>
                      <a:pt x="59" y="118"/>
                    </a:lnTo>
                    <a:lnTo>
                      <a:pt x="57" y="119"/>
                    </a:lnTo>
                    <a:lnTo>
                      <a:pt x="59" y="121"/>
                    </a:lnTo>
                    <a:lnTo>
                      <a:pt x="59" y="125"/>
                    </a:lnTo>
                    <a:lnTo>
                      <a:pt x="57" y="128"/>
                    </a:lnTo>
                    <a:lnTo>
                      <a:pt x="59" y="132"/>
                    </a:lnTo>
                    <a:lnTo>
                      <a:pt x="61" y="134"/>
                    </a:lnTo>
                    <a:lnTo>
                      <a:pt x="64" y="137"/>
                    </a:lnTo>
                    <a:lnTo>
                      <a:pt x="64" y="141"/>
                    </a:lnTo>
                    <a:lnTo>
                      <a:pt x="59" y="134"/>
                    </a:lnTo>
                    <a:lnTo>
                      <a:pt x="59" y="137"/>
                    </a:lnTo>
                    <a:lnTo>
                      <a:pt x="57" y="153"/>
                    </a:lnTo>
                    <a:lnTo>
                      <a:pt x="59" y="152"/>
                    </a:lnTo>
                    <a:lnTo>
                      <a:pt x="59" y="153"/>
                    </a:lnTo>
                    <a:lnTo>
                      <a:pt x="57" y="157"/>
                    </a:lnTo>
                    <a:lnTo>
                      <a:pt x="52" y="180"/>
                    </a:lnTo>
                    <a:lnTo>
                      <a:pt x="50" y="182"/>
                    </a:lnTo>
                    <a:lnTo>
                      <a:pt x="46" y="182"/>
                    </a:lnTo>
                    <a:lnTo>
                      <a:pt x="46" y="184"/>
                    </a:lnTo>
                    <a:lnTo>
                      <a:pt x="55" y="191"/>
                    </a:lnTo>
                    <a:lnTo>
                      <a:pt x="59" y="191"/>
                    </a:lnTo>
                    <a:lnTo>
                      <a:pt x="64" y="194"/>
                    </a:lnTo>
                    <a:lnTo>
                      <a:pt x="82" y="198"/>
                    </a:lnTo>
                    <a:lnTo>
                      <a:pt x="84" y="198"/>
                    </a:lnTo>
                    <a:lnTo>
                      <a:pt x="87" y="196"/>
                    </a:lnTo>
                    <a:lnTo>
                      <a:pt x="89" y="196"/>
                    </a:lnTo>
                    <a:lnTo>
                      <a:pt x="96" y="200"/>
                    </a:lnTo>
                    <a:lnTo>
                      <a:pt x="100" y="200"/>
                    </a:lnTo>
                    <a:lnTo>
                      <a:pt x="105" y="203"/>
                    </a:lnTo>
                    <a:lnTo>
                      <a:pt x="107" y="205"/>
                    </a:lnTo>
                    <a:lnTo>
                      <a:pt x="125" y="203"/>
                    </a:lnTo>
                    <a:lnTo>
                      <a:pt x="125" y="194"/>
                    </a:lnTo>
                    <a:lnTo>
                      <a:pt x="123" y="194"/>
                    </a:lnTo>
                    <a:lnTo>
                      <a:pt x="123" y="189"/>
                    </a:lnTo>
                    <a:lnTo>
                      <a:pt x="125" y="187"/>
                    </a:lnTo>
                    <a:lnTo>
                      <a:pt x="134" y="182"/>
                    </a:lnTo>
                    <a:lnTo>
                      <a:pt x="136" y="180"/>
                    </a:lnTo>
                    <a:lnTo>
                      <a:pt x="139" y="178"/>
                    </a:lnTo>
                    <a:lnTo>
                      <a:pt x="141" y="178"/>
                    </a:lnTo>
                    <a:lnTo>
                      <a:pt x="141" y="180"/>
                    </a:lnTo>
                    <a:lnTo>
                      <a:pt x="146" y="180"/>
                    </a:lnTo>
                    <a:lnTo>
                      <a:pt x="146" y="182"/>
                    </a:lnTo>
                    <a:lnTo>
                      <a:pt x="148" y="182"/>
                    </a:lnTo>
                    <a:lnTo>
                      <a:pt x="152" y="184"/>
                    </a:lnTo>
                    <a:lnTo>
                      <a:pt x="153" y="182"/>
                    </a:lnTo>
                    <a:lnTo>
                      <a:pt x="155" y="182"/>
                    </a:lnTo>
                    <a:lnTo>
                      <a:pt x="157" y="182"/>
                    </a:lnTo>
                    <a:lnTo>
                      <a:pt x="159" y="182"/>
                    </a:lnTo>
                    <a:lnTo>
                      <a:pt x="161" y="184"/>
                    </a:lnTo>
                    <a:lnTo>
                      <a:pt x="161" y="186"/>
                    </a:lnTo>
                    <a:lnTo>
                      <a:pt x="162" y="186"/>
                    </a:lnTo>
                    <a:lnTo>
                      <a:pt x="166" y="186"/>
                    </a:lnTo>
                    <a:lnTo>
                      <a:pt x="168" y="187"/>
                    </a:lnTo>
                    <a:lnTo>
                      <a:pt x="173" y="189"/>
                    </a:lnTo>
                    <a:lnTo>
                      <a:pt x="178" y="186"/>
                    </a:lnTo>
                    <a:lnTo>
                      <a:pt x="180" y="184"/>
                    </a:lnTo>
                    <a:lnTo>
                      <a:pt x="180" y="182"/>
                    </a:lnTo>
                    <a:lnTo>
                      <a:pt x="187" y="177"/>
                    </a:lnTo>
                    <a:lnTo>
                      <a:pt x="189" y="175"/>
                    </a:lnTo>
                    <a:lnTo>
                      <a:pt x="195" y="173"/>
                    </a:lnTo>
                    <a:lnTo>
                      <a:pt x="195" y="171"/>
                    </a:lnTo>
                    <a:lnTo>
                      <a:pt x="195" y="171"/>
                    </a:lnTo>
                    <a:lnTo>
                      <a:pt x="195" y="169"/>
                    </a:lnTo>
                    <a:lnTo>
                      <a:pt x="195" y="166"/>
                    </a:lnTo>
                    <a:lnTo>
                      <a:pt x="193" y="164"/>
                    </a:lnTo>
                    <a:lnTo>
                      <a:pt x="186" y="164"/>
                    </a:lnTo>
                    <a:lnTo>
                      <a:pt x="184" y="161"/>
                    </a:lnTo>
                    <a:lnTo>
                      <a:pt x="184" y="155"/>
                    </a:lnTo>
                    <a:lnTo>
                      <a:pt x="184" y="152"/>
                    </a:lnTo>
                    <a:lnTo>
                      <a:pt x="184" y="150"/>
                    </a:lnTo>
                    <a:lnTo>
                      <a:pt x="182" y="148"/>
                    </a:lnTo>
                    <a:lnTo>
                      <a:pt x="180" y="148"/>
                    </a:lnTo>
                    <a:lnTo>
                      <a:pt x="180" y="146"/>
                    </a:lnTo>
                    <a:lnTo>
                      <a:pt x="182" y="143"/>
                    </a:lnTo>
                    <a:lnTo>
                      <a:pt x="182" y="141"/>
                    </a:lnTo>
                    <a:lnTo>
                      <a:pt x="186" y="139"/>
                    </a:lnTo>
                    <a:lnTo>
                      <a:pt x="182" y="128"/>
                    </a:lnTo>
                    <a:lnTo>
                      <a:pt x="182" y="127"/>
                    </a:lnTo>
                    <a:lnTo>
                      <a:pt x="186" y="127"/>
                    </a:lnTo>
                    <a:lnTo>
                      <a:pt x="184" y="123"/>
                    </a:lnTo>
                    <a:lnTo>
                      <a:pt x="182" y="123"/>
                    </a:lnTo>
                    <a:lnTo>
                      <a:pt x="182" y="114"/>
                    </a:lnTo>
                    <a:lnTo>
                      <a:pt x="180" y="114"/>
                    </a:lnTo>
                    <a:lnTo>
                      <a:pt x="175" y="114"/>
                    </a:lnTo>
                    <a:lnTo>
                      <a:pt x="171" y="118"/>
                    </a:lnTo>
                    <a:lnTo>
                      <a:pt x="170" y="119"/>
                    </a:lnTo>
                    <a:lnTo>
                      <a:pt x="170" y="119"/>
                    </a:lnTo>
                    <a:lnTo>
                      <a:pt x="171" y="109"/>
                    </a:lnTo>
                    <a:lnTo>
                      <a:pt x="171" y="109"/>
                    </a:lnTo>
                    <a:lnTo>
                      <a:pt x="173" y="105"/>
                    </a:lnTo>
                    <a:lnTo>
                      <a:pt x="175" y="105"/>
                    </a:lnTo>
                    <a:lnTo>
                      <a:pt x="175" y="103"/>
                    </a:lnTo>
                    <a:lnTo>
                      <a:pt x="177" y="102"/>
                    </a:lnTo>
                    <a:lnTo>
                      <a:pt x="184" y="91"/>
                    </a:lnTo>
                    <a:lnTo>
                      <a:pt x="184" y="89"/>
                    </a:lnTo>
                    <a:lnTo>
                      <a:pt x="184" y="87"/>
                    </a:lnTo>
                    <a:lnTo>
                      <a:pt x="189" y="87"/>
                    </a:lnTo>
                    <a:lnTo>
                      <a:pt x="195" y="86"/>
                    </a:lnTo>
                    <a:lnTo>
                      <a:pt x="193" y="84"/>
                    </a:lnTo>
                    <a:lnTo>
                      <a:pt x="193" y="73"/>
                    </a:lnTo>
                    <a:lnTo>
                      <a:pt x="196" y="62"/>
                    </a:lnTo>
                    <a:lnTo>
                      <a:pt x="202" y="57"/>
                    </a:lnTo>
                    <a:lnTo>
                      <a:pt x="202" y="53"/>
                    </a:lnTo>
                    <a:lnTo>
                      <a:pt x="180" y="46"/>
                    </a:lnTo>
                    <a:lnTo>
                      <a:pt x="177" y="43"/>
                    </a:lnTo>
                    <a:lnTo>
                      <a:pt x="173" y="39"/>
                    </a:lnTo>
                    <a:lnTo>
                      <a:pt x="170" y="39"/>
                    </a:lnTo>
                    <a:lnTo>
                      <a:pt x="164" y="37"/>
                    </a:lnTo>
                    <a:lnTo>
                      <a:pt x="162" y="37"/>
                    </a:lnTo>
                    <a:lnTo>
                      <a:pt x="159" y="37"/>
                    </a:lnTo>
                    <a:lnTo>
                      <a:pt x="153" y="34"/>
                    </a:lnTo>
                    <a:lnTo>
                      <a:pt x="153" y="32"/>
                    </a:lnTo>
                    <a:lnTo>
                      <a:pt x="153" y="32"/>
                    </a:lnTo>
                    <a:lnTo>
                      <a:pt x="153" y="25"/>
                    </a:lnTo>
                    <a:lnTo>
                      <a:pt x="152" y="25"/>
                    </a:lnTo>
                    <a:lnTo>
                      <a:pt x="148" y="28"/>
                    </a:lnTo>
                    <a:lnTo>
                      <a:pt x="145" y="28"/>
                    </a:lnTo>
                    <a:lnTo>
                      <a:pt x="141" y="28"/>
                    </a:lnTo>
                    <a:lnTo>
                      <a:pt x="141" y="21"/>
                    </a:lnTo>
                    <a:lnTo>
                      <a:pt x="139" y="19"/>
                    </a:lnTo>
                    <a:lnTo>
                      <a:pt x="128" y="14"/>
                    </a:lnTo>
                    <a:lnTo>
                      <a:pt x="125" y="9"/>
                    </a:lnTo>
                    <a:lnTo>
                      <a:pt x="123" y="9"/>
                    </a:lnTo>
                    <a:lnTo>
                      <a:pt x="120" y="7"/>
                    </a:lnTo>
                    <a:lnTo>
                      <a:pt x="118"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31" name="Freeform 2080"/>
              <p:cNvSpPr>
                <a:spLocks/>
              </p:cNvSpPr>
              <p:nvPr/>
            </p:nvSpPr>
            <p:spPr bwMode="auto">
              <a:xfrm>
                <a:off x="2548" y="1974"/>
                <a:ext cx="52" cy="103"/>
              </a:xfrm>
              <a:custGeom>
                <a:avLst/>
                <a:gdLst>
                  <a:gd name="T0" fmla="*/ 32 w 52"/>
                  <a:gd name="T1" fmla="*/ 100 h 103"/>
                  <a:gd name="T2" fmla="*/ 32 w 52"/>
                  <a:gd name="T3" fmla="*/ 92 h 103"/>
                  <a:gd name="T4" fmla="*/ 39 w 52"/>
                  <a:gd name="T5" fmla="*/ 83 h 103"/>
                  <a:gd name="T6" fmla="*/ 39 w 52"/>
                  <a:gd name="T7" fmla="*/ 80 h 103"/>
                  <a:gd name="T8" fmla="*/ 36 w 52"/>
                  <a:gd name="T9" fmla="*/ 76 h 103"/>
                  <a:gd name="T10" fmla="*/ 36 w 52"/>
                  <a:gd name="T11" fmla="*/ 73 h 103"/>
                  <a:gd name="T12" fmla="*/ 36 w 52"/>
                  <a:gd name="T13" fmla="*/ 69 h 103"/>
                  <a:gd name="T14" fmla="*/ 39 w 52"/>
                  <a:gd name="T15" fmla="*/ 62 h 103"/>
                  <a:gd name="T16" fmla="*/ 34 w 52"/>
                  <a:gd name="T17" fmla="*/ 57 h 103"/>
                  <a:gd name="T18" fmla="*/ 34 w 52"/>
                  <a:gd name="T19" fmla="*/ 51 h 103"/>
                  <a:gd name="T20" fmla="*/ 36 w 52"/>
                  <a:gd name="T21" fmla="*/ 50 h 103"/>
                  <a:gd name="T22" fmla="*/ 39 w 52"/>
                  <a:gd name="T23" fmla="*/ 48 h 103"/>
                  <a:gd name="T24" fmla="*/ 41 w 52"/>
                  <a:gd name="T25" fmla="*/ 46 h 103"/>
                  <a:gd name="T26" fmla="*/ 43 w 52"/>
                  <a:gd name="T27" fmla="*/ 42 h 103"/>
                  <a:gd name="T28" fmla="*/ 39 w 52"/>
                  <a:gd name="T29" fmla="*/ 39 h 103"/>
                  <a:gd name="T30" fmla="*/ 43 w 52"/>
                  <a:gd name="T31" fmla="*/ 23 h 103"/>
                  <a:gd name="T32" fmla="*/ 50 w 52"/>
                  <a:gd name="T33" fmla="*/ 16 h 103"/>
                  <a:gd name="T34" fmla="*/ 52 w 52"/>
                  <a:gd name="T35" fmla="*/ 12 h 103"/>
                  <a:gd name="T36" fmla="*/ 52 w 52"/>
                  <a:gd name="T37" fmla="*/ 8 h 103"/>
                  <a:gd name="T38" fmla="*/ 48 w 52"/>
                  <a:gd name="T39" fmla="*/ 3 h 103"/>
                  <a:gd name="T40" fmla="*/ 37 w 52"/>
                  <a:gd name="T41" fmla="*/ 3 h 103"/>
                  <a:gd name="T42" fmla="*/ 34 w 52"/>
                  <a:gd name="T43" fmla="*/ 5 h 103"/>
                  <a:gd name="T44" fmla="*/ 23 w 52"/>
                  <a:gd name="T45" fmla="*/ 5 h 103"/>
                  <a:gd name="T46" fmla="*/ 21 w 52"/>
                  <a:gd name="T47" fmla="*/ 3 h 103"/>
                  <a:gd name="T48" fmla="*/ 21 w 52"/>
                  <a:gd name="T49" fmla="*/ 0 h 103"/>
                  <a:gd name="T50" fmla="*/ 12 w 52"/>
                  <a:gd name="T51" fmla="*/ 1 h 103"/>
                  <a:gd name="T52" fmla="*/ 11 w 52"/>
                  <a:gd name="T53" fmla="*/ 5 h 103"/>
                  <a:gd name="T54" fmla="*/ 12 w 52"/>
                  <a:gd name="T55" fmla="*/ 21 h 103"/>
                  <a:gd name="T56" fmla="*/ 12 w 52"/>
                  <a:gd name="T57" fmla="*/ 23 h 103"/>
                  <a:gd name="T58" fmla="*/ 7 w 52"/>
                  <a:gd name="T59" fmla="*/ 50 h 103"/>
                  <a:gd name="T60" fmla="*/ 2 w 52"/>
                  <a:gd name="T61" fmla="*/ 58 h 103"/>
                  <a:gd name="T62" fmla="*/ 2 w 52"/>
                  <a:gd name="T63" fmla="*/ 64 h 103"/>
                  <a:gd name="T64" fmla="*/ 0 w 52"/>
                  <a:gd name="T65" fmla="*/ 67 h 103"/>
                  <a:gd name="T66" fmla="*/ 0 w 52"/>
                  <a:gd name="T67" fmla="*/ 69 h 103"/>
                  <a:gd name="T68" fmla="*/ 2 w 52"/>
                  <a:gd name="T69" fmla="*/ 71 h 103"/>
                  <a:gd name="T70" fmla="*/ 5 w 52"/>
                  <a:gd name="T71" fmla="*/ 75 h 103"/>
                  <a:gd name="T72" fmla="*/ 11 w 52"/>
                  <a:gd name="T73" fmla="*/ 73 h 103"/>
                  <a:gd name="T74" fmla="*/ 11 w 52"/>
                  <a:gd name="T75" fmla="*/ 75 h 103"/>
                  <a:gd name="T76" fmla="*/ 11 w 52"/>
                  <a:gd name="T77" fmla="*/ 76 h 103"/>
                  <a:gd name="T78" fmla="*/ 11 w 52"/>
                  <a:gd name="T79" fmla="*/ 92 h 103"/>
                  <a:gd name="T80" fmla="*/ 9 w 52"/>
                  <a:gd name="T81" fmla="*/ 100 h 103"/>
                  <a:gd name="T82" fmla="*/ 9 w 52"/>
                  <a:gd name="T83" fmla="*/ 101 h 103"/>
                  <a:gd name="T84" fmla="*/ 9 w 52"/>
                  <a:gd name="T85" fmla="*/ 103 h 103"/>
                  <a:gd name="T86" fmla="*/ 12 w 52"/>
                  <a:gd name="T87" fmla="*/ 101 h 103"/>
                  <a:gd name="T88" fmla="*/ 20 w 52"/>
                  <a:gd name="T89" fmla="*/ 103 h 103"/>
                  <a:gd name="T90" fmla="*/ 21 w 52"/>
                  <a:gd name="T91" fmla="*/ 103 h 103"/>
                  <a:gd name="T92" fmla="*/ 25 w 52"/>
                  <a:gd name="T93" fmla="*/ 103 h 103"/>
                  <a:gd name="T94" fmla="*/ 32 w 52"/>
                  <a:gd name="T95" fmla="*/ 10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 h="103">
                    <a:moveTo>
                      <a:pt x="32" y="100"/>
                    </a:moveTo>
                    <a:lnTo>
                      <a:pt x="32" y="92"/>
                    </a:lnTo>
                    <a:lnTo>
                      <a:pt x="39" y="83"/>
                    </a:lnTo>
                    <a:lnTo>
                      <a:pt x="39" y="80"/>
                    </a:lnTo>
                    <a:lnTo>
                      <a:pt x="36" y="76"/>
                    </a:lnTo>
                    <a:lnTo>
                      <a:pt x="36" y="73"/>
                    </a:lnTo>
                    <a:lnTo>
                      <a:pt x="36" y="69"/>
                    </a:lnTo>
                    <a:lnTo>
                      <a:pt x="39" y="62"/>
                    </a:lnTo>
                    <a:lnTo>
                      <a:pt x="34" y="57"/>
                    </a:lnTo>
                    <a:lnTo>
                      <a:pt x="34" y="51"/>
                    </a:lnTo>
                    <a:lnTo>
                      <a:pt x="36" y="50"/>
                    </a:lnTo>
                    <a:lnTo>
                      <a:pt x="39" y="48"/>
                    </a:lnTo>
                    <a:lnTo>
                      <a:pt x="41" y="46"/>
                    </a:lnTo>
                    <a:lnTo>
                      <a:pt x="43" y="42"/>
                    </a:lnTo>
                    <a:lnTo>
                      <a:pt x="39" y="39"/>
                    </a:lnTo>
                    <a:lnTo>
                      <a:pt x="43" y="23"/>
                    </a:lnTo>
                    <a:lnTo>
                      <a:pt x="50" y="16"/>
                    </a:lnTo>
                    <a:lnTo>
                      <a:pt x="52" y="12"/>
                    </a:lnTo>
                    <a:lnTo>
                      <a:pt x="52" y="8"/>
                    </a:lnTo>
                    <a:lnTo>
                      <a:pt x="48" y="3"/>
                    </a:lnTo>
                    <a:lnTo>
                      <a:pt x="37" y="3"/>
                    </a:lnTo>
                    <a:lnTo>
                      <a:pt x="34" y="5"/>
                    </a:lnTo>
                    <a:lnTo>
                      <a:pt x="23" y="5"/>
                    </a:lnTo>
                    <a:lnTo>
                      <a:pt x="21" y="3"/>
                    </a:lnTo>
                    <a:lnTo>
                      <a:pt x="21" y="0"/>
                    </a:lnTo>
                    <a:lnTo>
                      <a:pt x="12" y="1"/>
                    </a:lnTo>
                    <a:lnTo>
                      <a:pt x="11" y="5"/>
                    </a:lnTo>
                    <a:lnTo>
                      <a:pt x="12" y="21"/>
                    </a:lnTo>
                    <a:lnTo>
                      <a:pt x="12" y="23"/>
                    </a:lnTo>
                    <a:lnTo>
                      <a:pt x="7" y="50"/>
                    </a:lnTo>
                    <a:lnTo>
                      <a:pt x="2" y="58"/>
                    </a:lnTo>
                    <a:lnTo>
                      <a:pt x="2" y="64"/>
                    </a:lnTo>
                    <a:lnTo>
                      <a:pt x="0" y="67"/>
                    </a:lnTo>
                    <a:lnTo>
                      <a:pt x="0" y="69"/>
                    </a:lnTo>
                    <a:lnTo>
                      <a:pt x="2" y="71"/>
                    </a:lnTo>
                    <a:lnTo>
                      <a:pt x="5" y="75"/>
                    </a:lnTo>
                    <a:lnTo>
                      <a:pt x="11" y="73"/>
                    </a:lnTo>
                    <a:lnTo>
                      <a:pt x="11" y="75"/>
                    </a:lnTo>
                    <a:lnTo>
                      <a:pt x="11" y="76"/>
                    </a:lnTo>
                    <a:lnTo>
                      <a:pt x="11" y="92"/>
                    </a:lnTo>
                    <a:lnTo>
                      <a:pt x="9" y="100"/>
                    </a:lnTo>
                    <a:lnTo>
                      <a:pt x="9" y="101"/>
                    </a:lnTo>
                    <a:lnTo>
                      <a:pt x="9" y="103"/>
                    </a:lnTo>
                    <a:lnTo>
                      <a:pt x="12" y="101"/>
                    </a:lnTo>
                    <a:lnTo>
                      <a:pt x="20" y="103"/>
                    </a:lnTo>
                    <a:lnTo>
                      <a:pt x="21" y="103"/>
                    </a:lnTo>
                    <a:lnTo>
                      <a:pt x="25" y="103"/>
                    </a:lnTo>
                    <a:lnTo>
                      <a:pt x="32" y="10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32" name="Freeform 2081"/>
              <p:cNvSpPr>
                <a:spLocks/>
              </p:cNvSpPr>
              <p:nvPr/>
            </p:nvSpPr>
            <p:spPr bwMode="auto">
              <a:xfrm>
                <a:off x="2548" y="1974"/>
                <a:ext cx="52" cy="103"/>
              </a:xfrm>
              <a:custGeom>
                <a:avLst/>
                <a:gdLst>
                  <a:gd name="T0" fmla="*/ 32 w 52"/>
                  <a:gd name="T1" fmla="*/ 100 h 103"/>
                  <a:gd name="T2" fmla="*/ 32 w 52"/>
                  <a:gd name="T3" fmla="*/ 92 h 103"/>
                  <a:gd name="T4" fmla="*/ 39 w 52"/>
                  <a:gd name="T5" fmla="*/ 83 h 103"/>
                  <a:gd name="T6" fmla="*/ 39 w 52"/>
                  <a:gd name="T7" fmla="*/ 80 h 103"/>
                  <a:gd name="T8" fmla="*/ 36 w 52"/>
                  <a:gd name="T9" fmla="*/ 76 h 103"/>
                  <a:gd name="T10" fmla="*/ 36 w 52"/>
                  <a:gd name="T11" fmla="*/ 73 h 103"/>
                  <a:gd name="T12" fmla="*/ 36 w 52"/>
                  <a:gd name="T13" fmla="*/ 69 h 103"/>
                  <a:gd name="T14" fmla="*/ 39 w 52"/>
                  <a:gd name="T15" fmla="*/ 62 h 103"/>
                  <a:gd name="T16" fmla="*/ 34 w 52"/>
                  <a:gd name="T17" fmla="*/ 57 h 103"/>
                  <a:gd name="T18" fmla="*/ 34 w 52"/>
                  <a:gd name="T19" fmla="*/ 51 h 103"/>
                  <a:gd name="T20" fmla="*/ 36 w 52"/>
                  <a:gd name="T21" fmla="*/ 50 h 103"/>
                  <a:gd name="T22" fmla="*/ 39 w 52"/>
                  <a:gd name="T23" fmla="*/ 48 h 103"/>
                  <a:gd name="T24" fmla="*/ 41 w 52"/>
                  <a:gd name="T25" fmla="*/ 46 h 103"/>
                  <a:gd name="T26" fmla="*/ 43 w 52"/>
                  <a:gd name="T27" fmla="*/ 42 h 103"/>
                  <a:gd name="T28" fmla="*/ 39 w 52"/>
                  <a:gd name="T29" fmla="*/ 39 h 103"/>
                  <a:gd name="T30" fmla="*/ 43 w 52"/>
                  <a:gd name="T31" fmla="*/ 23 h 103"/>
                  <a:gd name="T32" fmla="*/ 50 w 52"/>
                  <a:gd name="T33" fmla="*/ 16 h 103"/>
                  <a:gd name="T34" fmla="*/ 52 w 52"/>
                  <a:gd name="T35" fmla="*/ 12 h 103"/>
                  <a:gd name="T36" fmla="*/ 52 w 52"/>
                  <a:gd name="T37" fmla="*/ 8 h 103"/>
                  <a:gd name="T38" fmla="*/ 48 w 52"/>
                  <a:gd name="T39" fmla="*/ 3 h 103"/>
                  <a:gd name="T40" fmla="*/ 37 w 52"/>
                  <a:gd name="T41" fmla="*/ 3 h 103"/>
                  <a:gd name="T42" fmla="*/ 34 w 52"/>
                  <a:gd name="T43" fmla="*/ 5 h 103"/>
                  <a:gd name="T44" fmla="*/ 23 w 52"/>
                  <a:gd name="T45" fmla="*/ 5 h 103"/>
                  <a:gd name="T46" fmla="*/ 21 w 52"/>
                  <a:gd name="T47" fmla="*/ 3 h 103"/>
                  <a:gd name="T48" fmla="*/ 21 w 52"/>
                  <a:gd name="T49" fmla="*/ 0 h 103"/>
                  <a:gd name="T50" fmla="*/ 12 w 52"/>
                  <a:gd name="T51" fmla="*/ 1 h 103"/>
                  <a:gd name="T52" fmla="*/ 11 w 52"/>
                  <a:gd name="T53" fmla="*/ 5 h 103"/>
                  <a:gd name="T54" fmla="*/ 12 w 52"/>
                  <a:gd name="T55" fmla="*/ 21 h 103"/>
                  <a:gd name="T56" fmla="*/ 12 w 52"/>
                  <a:gd name="T57" fmla="*/ 23 h 103"/>
                  <a:gd name="T58" fmla="*/ 7 w 52"/>
                  <a:gd name="T59" fmla="*/ 50 h 103"/>
                  <a:gd name="T60" fmla="*/ 2 w 52"/>
                  <a:gd name="T61" fmla="*/ 58 h 103"/>
                  <a:gd name="T62" fmla="*/ 2 w 52"/>
                  <a:gd name="T63" fmla="*/ 64 h 103"/>
                  <a:gd name="T64" fmla="*/ 0 w 52"/>
                  <a:gd name="T65" fmla="*/ 67 h 103"/>
                  <a:gd name="T66" fmla="*/ 0 w 52"/>
                  <a:gd name="T67" fmla="*/ 69 h 103"/>
                  <a:gd name="T68" fmla="*/ 2 w 52"/>
                  <a:gd name="T69" fmla="*/ 71 h 103"/>
                  <a:gd name="T70" fmla="*/ 5 w 52"/>
                  <a:gd name="T71" fmla="*/ 75 h 103"/>
                  <a:gd name="T72" fmla="*/ 11 w 52"/>
                  <a:gd name="T73" fmla="*/ 73 h 103"/>
                  <a:gd name="T74" fmla="*/ 11 w 52"/>
                  <a:gd name="T75" fmla="*/ 75 h 103"/>
                  <a:gd name="T76" fmla="*/ 11 w 52"/>
                  <a:gd name="T77" fmla="*/ 76 h 103"/>
                  <a:gd name="T78" fmla="*/ 11 w 52"/>
                  <a:gd name="T79" fmla="*/ 92 h 103"/>
                  <a:gd name="T80" fmla="*/ 9 w 52"/>
                  <a:gd name="T81" fmla="*/ 100 h 103"/>
                  <a:gd name="T82" fmla="*/ 9 w 52"/>
                  <a:gd name="T83" fmla="*/ 101 h 103"/>
                  <a:gd name="T84" fmla="*/ 9 w 52"/>
                  <a:gd name="T85" fmla="*/ 103 h 103"/>
                  <a:gd name="T86" fmla="*/ 12 w 52"/>
                  <a:gd name="T87" fmla="*/ 101 h 103"/>
                  <a:gd name="T88" fmla="*/ 20 w 52"/>
                  <a:gd name="T89" fmla="*/ 103 h 103"/>
                  <a:gd name="T90" fmla="*/ 21 w 52"/>
                  <a:gd name="T91" fmla="*/ 103 h 103"/>
                  <a:gd name="T92" fmla="*/ 25 w 52"/>
                  <a:gd name="T93" fmla="*/ 103 h 103"/>
                  <a:gd name="T94" fmla="*/ 32 w 52"/>
                  <a:gd name="T95" fmla="*/ 10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 h="103">
                    <a:moveTo>
                      <a:pt x="32" y="100"/>
                    </a:moveTo>
                    <a:lnTo>
                      <a:pt x="32" y="92"/>
                    </a:lnTo>
                    <a:lnTo>
                      <a:pt x="39" y="83"/>
                    </a:lnTo>
                    <a:lnTo>
                      <a:pt x="39" y="80"/>
                    </a:lnTo>
                    <a:lnTo>
                      <a:pt x="36" y="76"/>
                    </a:lnTo>
                    <a:lnTo>
                      <a:pt x="36" y="73"/>
                    </a:lnTo>
                    <a:lnTo>
                      <a:pt x="36" y="69"/>
                    </a:lnTo>
                    <a:lnTo>
                      <a:pt x="39" y="62"/>
                    </a:lnTo>
                    <a:lnTo>
                      <a:pt x="34" y="57"/>
                    </a:lnTo>
                    <a:lnTo>
                      <a:pt x="34" y="51"/>
                    </a:lnTo>
                    <a:lnTo>
                      <a:pt x="36" y="50"/>
                    </a:lnTo>
                    <a:lnTo>
                      <a:pt x="39" y="48"/>
                    </a:lnTo>
                    <a:lnTo>
                      <a:pt x="41" y="46"/>
                    </a:lnTo>
                    <a:lnTo>
                      <a:pt x="43" y="42"/>
                    </a:lnTo>
                    <a:lnTo>
                      <a:pt x="39" y="39"/>
                    </a:lnTo>
                    <a:lnTo>
                      <a:pt x="43" y="23"/>
                    </a:lnTo>
                    <a:lnTo>
                      <a:pt x="50" y="16"/>
                    </a:lnTo>
                    <a:lnTo>
                      <a:pt x="52" y="12"/>
                    </a:lnTo>
                    <a:lnTo>
                      <a:pt x="52" y="8"/>
                    </a:lnTo>
                    <a:lnTo>
                      <a:pt x="48" y="3"/>
                    </a:lnTo>
                    <a:lnTo>
                      <a:pt x="37" y="3"/>
                    </a:lnTo>
                    <a:lnTo>
                      <a:pt x="34" y="5"/>
                    </a:lnTo>
                    <a:lnTo>
                      <a:pt x="23" y="5"/>
                    </a:lnTo>
                    <a:lnTo>
                      <a:pt x="21" y="3"/>
                    </a:lnTo>
                    <a:lnTo>
                      <a:pt x="21" y="0"/>
                    </a:lnTo>
                    <a:lnTo>
                      <a:pt x="12" y="1"/>
                    </a:lnTo>
                    <a:lnTo>
                      <a:pt x="11" y="5"/>
                    </a:lnTo>
                    <a:lnTo>
                      <a:pt x="12" y="21"/>
                    </a:lnTo>
                    <a:lnTo>
                      <a:pt x="12" y="23"/>
                    </a:lnTo>
                    <a:lnTo>
                      <a:pt x="7" y="50"/>
                    </a:lnTo>
                    <a:lnTo>
                      <a:pt x="2" y="58"/>
                    </a:lnTo>
                    <a:lnTo>
                      <a:pt x="2" y="64"/>
                    </a:lnTo>
                    <a:lnTo>
                      <a:pt x="0" y="67"/>
                    </a:lnTo>
                    <a:lnTo>
                      <a:pt x="0" y="69"/>
                    </a:lnTo>
                    <a:lnTo>
                      <a:pt x="2" y="71"/>
                    </a:lnTo>
                    <a:lnTo>
                      <a:pt x="5" y="75"/>
                    </a:lnTo>
                    <a:lnTo>
                      <a:pt x="11" y="73"/>
                    </a:lnTo>
                    <a:lnTo>
                      <a:pt x="11" y="75"/>
                    </a:lnTo>
                    <a:lnTo>
                      <a:pt x="11" y="76"/>
                    </a:lnTo>
                    <a:lnTo>
                      <a:pt x="11" y="92"/>
                    </a:lnTo>
                    <a:lnTo>
                      <a:pt x="9" y="100"/>
                    </a:lnTo>
                    <a:lnTo>
                      <a:pt x="9" y="101"/>
                    </a:lnTo>
                    <a:lnTo>
                      <a:pt x="9" y="103"/>
                    </a:lnTo>
                    <a:lnTo>
                      <a:pt x="12" y="101"/>
                    </a:lnTo>
                    <a:lnTo>
                      <a:pt x="20" y="103"/>
                    </a:lnTo>
                    <a:lnTo>
                      <a:pt x="21" y="103"/>
                    </a:lnTo>
                    <a:lnTo>
                      <a:pt x="25" y="103"/>
                    </a:lnTo>
                    <a:lnTo>
                      <a:pt x="32" y="10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33" name="Freeform 2082"/>
              <p:cNvSpPr>
                <a:spLocks/>
              </p:cNvSpPr>
              <p:nvPr/>
            </p:nvSpPr>
            <p:spPr bwMode="auto">
              <a:xfrm>
                <a:off x="3535" y="1957"/>
                <a:ext cx="227" cy="156"/>
              </a:xfrm>
              <a:custGeom>
                <a:avLst/>
                <a:gdLst>
                  <a:gd name="T0" fmla="*/ 75 w 227"/>
                  <a:gd name="T1" fmla="*/ 33 h 156"/>
                  <a:gd name="T2" fmla="*/ 72 w 227"/>
                  <a:gd name="T3" fmla="*/ 20 h 156"/>
                  <a:gd name="T4" fmla="*/ 79 w 227"/>
                  <a:gd name="T5" fmla="*/ 13 h 156"/>
                  <a:gd name="T6" fmla="*/ 88 w 227"/>
                  <a:gd name="T7" fmla="*/ 9 h 156"/>
                  <a:gd name="T8" fmla="*/ 95 w 227"/>
                  <a:gd name="T9" fmla="*/ 9 h 156"/>
                  <a:gd name="T10" fmla="*/ 93 w 227"/>
                  <a:gd name="T11" fmla="*/ 4 h 156"/>
                  <a:gd name="T12" fmla="*/ 98 w 227"/>
                  <a:gd name="T13" fmla="*/ 2 h 156"/>
                  <a:gd name="T14" fmla="*/ 113 w 227"/>
                  <a:gd name="T15" fmla="*/ 11 h 156"/>
                  <a:gd name="T16" fmla="*/ 122 w 227"/>
                  <a:gd name="T17" fmla="*/ 13 h 156"/>
                  <a:gd name="T18" fmla="*/ 125 w 227"/>
                  <a:gd name="T19" fmla="*/ 20 h 156"/>
                  <a:gd name="T20" fmla="*/ 123 w 227"/>
                  <a:gd name="T21" fmla="*/ 25 h 156"/>
                  <a:gd name="T22" fmla="*/ 127 w 227"/>
                  <a:gd name="T23" fmla="*/ 33 h 156"/>
                  <a:gd name="T24" fmla="*/ 145 w 227"/>
                  <a:gd name="T25" fmla="*/ 33 h 156"/>
                  <a:gd name="T26" fmla="*/ 154 w 227"/>
                  <a:gd name="T27" fmla="*/ 40 h 156"/>
                  <a:gd name="T28" fmla="*/ 159 w 227"/>
                  <a:gd name="T29" fmla="*/ 49 h 156"/>
                  <a:gd name="T30" fmla="*/ 165 w 227"/>
                  <a:gd name="T31" fmla="*/ 63 h 156"/>
                  <a:gd name="T32" fmla="*/ 209 w 227"/>
                  <a:gd name="T33" fmla="*/ 95 h 156"/>
                  <a:gd name="T34" fmla="*/ 216 w 227"/>
                  <a:gd name="T35" fmla="*/ 93 h 156"/>
                  <a:gd name="T36" fmla="*/ 227 w 227"/>
                  <a:gd name="T37" fmla="*/ 100 h 156"/>
                  <a:gd name="T38" fmla="*/ 222 w 227"/>
                  <a:gd name="T39" fmla="*/ 113 h 156"/>
                  <a:gd name="T40" fmla="*/ 211 w 227"/>
                  <a:gd name="T41" fmla="*/ 111 h 156"/>
                  <a:gd name="T42" fmla="*/ 209 w 227"/>
                  <a:gd name="T43" fmla="*/ 115 h 156"/>
                  <a:gd name="T44" fmla="*/ 200 w 227"/>
                  <a:gd name="T45" fmla="*/ 117 h 156"/>
                  <a:gd name="T46" fmla="*/ 197 w 227"/>
                  <a:gd name="T47" fmla="*/ 120 h 156"/>
                  <a:gd name="T48" fmla="*/ 195 w 227"/>
                  <a:gd name="T49" fmla="*/ 127 h 156"/>
                  <a:gd name="T50" fmla="*/ 188 w 227"/>
                  <a:gd name="T51" fmla="*/ 138 h 156"/>
                  <a:gd name="T52" fmla="*/ 181 w 227"/>
                  <a:gd name="T53" fmla="*/ 142 h 156"/>
                  <a:gd name="T54" fmla="*/ 172 w 227"/>
                  <a:gd name="T55" fmla="*/ 145 h 156"/>
                  <a:gd name="T56" fmla="*/ 172 w 227"/>
                  <a:gd name="T57" fmla="*/ 149 h 156"/>
                  <a:gd name="T58" fmla="*/ 166 w 227"/>
                  <a:gd name="T59" fmla="*/ 154 h 156"/>
                  <a:gd name="T60" fmla="*/ 159 w 227"/>
                  <a:gd name="T61" fmla="*/ 156 h 156"/>
                  <a:gd name="T62" fmla="*/ 154 w 227"/>
                  <a:gd name="T63" fmla="*/ 152 h 156"/>
                  <a:gd name="T64" fmla="*/ 145 w 227"/>
                  <a:gd name="T65" fmla="*/ 152 h 156"/>
                  <a:gd name="T66" fmla="*/ 141 w 227"/>
                  <a:gd name="T67" fmla="*/ 143 h 156"/>
                  <a:gd name="T68" fmla="*/ 140 w 227"/>
                  <a:gd name="T69" fmla="*/ 129 h 156"/>
                  <a:gd name="T70" fmla="*/ 113 w 227"/>
                  <a:gd name="T71" fmla="*/ 113 h 156"/>
                  <a:gd name="T72" fmla="*/ 102 w 227"/>
                  <a:gd name="T73" fmla="*/ 106 h 156"/>
                  <a:gd name="T74" fmla="*/ 75 w 227"/>
                  <a:gd name="T75" fmla="*/ 93 h 156"/>
                  <a:gd name="T76" fmla="*/ 61 w 227"/>
                  <a:gd name="T77" fmla="*/ 99 h 156"/>
                  <a:gd name="T78" fmla="*/ 47 w 227"/>
                  <a:gd name="T79" fmla="*/ 99 h 156"/>
                  <a:gd name="T80" fmla="*/ 22 w 227"/>
                  <a:gd name="T81" fmla="*/ 90 h 156"/>
                  <a:gd name="T82" fmla="*/ 23 w 227"/>
                  <a:gd name="T83" fmla="*/ 79 h 156"/>
                  <a:gd name="T84" fmla="*/ 15 w 227"/>
                  <a:gd name="T85" fmla="*/ 72 h 156"/>
                  <a:gd name="T86" fmla="*/ 15 w 227"/>
                  <a:gd name="T87" fmla="*/ 63 h 156"/>
                  <a:gd name="T88" fmla="*/ 22 w 227"/>
                  <a:gd name="T89" fmla="*/ 59 h 156"/>
                  <a:gd name="T90" fmla="*/ 9 w 227"/>
                  <a:gd name="T91" fmla="*/ 61 h 156"/>
                  <a:gd name="T92" fmla="*/ 6 w 227"/>
                  <a:gd name="T93" fmla="*/ 49 h 156"/>
                  <a:gd name="T94" fmla="*/ 11 w 227"/>
                  <a:gd name="T95" fmla="*/ 43 h 156"/>
                  <a:gd name="T96" fmla="*/ 25 w 227"/>
                  <a:gd name="T97" fmla="*/ 45 h 156"/>
                  <a:gd name="T98" fmla="*/ 29 w 227"/>
                  <a:gd name="T99" fmla="*/ 45 h 156"/>
                  <a:gd name="T100" fmla="*/ 38 w 227"/>
                  <a:gd name="T101" fmla="*/ 36 h 156"/>
                  <a:gd name="T102" fmla="*/ 20 w 227"/>
                  <a:gd name="T103" fmla="*/ 17 h 156"/>
                  <a:gd name="T104" fmla="*/ 6 w 227"/>
                  <a:gd name="T105" fmla="*/ 24 h 156"/>
                  <a:gd name="T106" fmla="*/ 6 w 227"/>
                  <a:gd name="T107" fmla="*/ 34 h 156"/>
                  <a:gd name="T108" fmla="*/ 0 w 227"/>
                  <a:gd name="T109" fmla="*/ 22 h 156"/>
                  <a:gd name="T110" fmla="*/ 27 w 227"/>
                  <a:gd name="T111" fmla="*/ 9 h 156"/>
                  <a:gd name="T112" fmla="*/ 48 w 227"/>
                  <a:gd name="T113" fmla="*/ 3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 h="156">
                    <a:moveTo>
                      <a:pt x="57" y="31"/>
                    </a:moveTo>
                    <a:lnTo>
                      <a:pt x="73" y="33"/>
                    </a:lnTo>
                    <a:lnTo>
                      <a:pt x="75" y="33"/>
                    </a:lnTo>
                    <a:lnTo>
                      <a:pt x="73" y="27"/>
                    </a:lnTo>
                    <a:lnTo>
                      <a:pt x="73" y="25"/>
                    </a:lnTo>
                    <a:lnTo>
                      <a:pt x="72" y="20"/>
                    </a:lnTo>
                    <a:lnTo>
                      <a:pt x="73" y="18"/>
                    </a:lnTo>
                    <a:lnTo>
                      <a:pt x="75" y="17"/>
                    </a:lnTo>
                    <a:lnTo>
                      <a:pt x="79" y="13"/>
                    </a:lnTo>
                    <a:lnTo>
                      <a:pt x="86" y="13"/>
                    </a:lnTo>
                    <a:lnTo>
                      <a:pt x="88" y="11"/>
                    </a:lnTo>
                    <a:lnTo>
                      <a:pt x="88" y="9"/>
                    </a:lnTo>
                    <a:lnTo>
                      <a:pt x="88" y="8"/>
                    </a:lnTo>
                    <a:lnTo>
                      <a:pt x="90" y="6"/>
                    </a:lnTo>
                    <a:lnTo>
                      <a:pt x="95" y="9"/>
                    </a:lnTo>
                    <a:lnTo>
                      <a:pt x="97" y="9"/>
                    </a:lnTo>
                    <a:lnTo>
                      <a:pt x="95" y="6"/>
                    </a:lnTo>
                    <a:lnTo>
                      <a:pt x="93" y="4"/>
                    </a:lnTo>
                    <a:lnTo>
                      <a:pt x="95" y="2"/>
                    </a:lnTo>
                    <a:lnTo>
                      <a:pt x="97" y="2"/>
                    </a:lnTo>
                    <a:lnTo>
                      <a:pt x="98" y="2"/>
                    </a:lnTo>
                    <a:lnTo>
                      <a:pt x="98" y="0"/>
                    </a:lnTo>
                    <a:lnTo>
                      <a:pt x="111" y="9"/>
                    </a:lnTo>
                    <a:lnTo>
                      <a:pt x="113" y="11"/>
                    </a:lnTo>
                    <a:lnTo>
                      <a:pt x="115" y="11"/>
                    </a:lnTo>
                    <a:lnTo>
                      <a:pt x="120" y="11"/>
                    </a:lnTo>
                    <a:lnTo>
                      <a:pt x="122" y="13"/>
                    </a:lnTo>
                    <a:lnTo>
                      <a:pt x="120" y="17"/>
                    </a:lnTo>
                    <a:lnTo>
                      <a:pt x="122" y="18"/>
                    </a:lnTo>
                    <a:lnTo>
                      <a:pt x="125" y="20"/>
                    </a:lnTo>
                    <a:lnTo>
                      <a:pt x="122" y="22"/>
                    </a:lnTo>
                    <a:lnTo>
                      <a:pt x="122" y="24"/>
                    </a:lnTo>
                    <a:lnTo>
                      <a:pt x="123" y="25"/>
                    </a:lnTo>
                    <a:lnTo>
                      <a:pt x="122" y="29"/>
                    </a:lnTo>
                    <a:lnTo>
                      <a:pt x="123" y="31"/>
                    </a:lnTo>
                    <a:lnTo>
                      <a:pt x="127" y="33"/>
                    </a:lnTo>
                    <a:lnTo>
                      <a:pt x="141" y="34"/>
                    </a:lnTo>
                    <a:lnTo>
                      <a:pt x="145" y="34"/>
                    </a:lnTo>
                    <a:lnTo>
                      <a:pt x="145" y="33"/>
                    </a:lnTo>
                    <a:lnTo>
                      <a:pt x="147" y="31"/>
                    </a:lnTo>
                    <a:lnTo>
                      <a:pt x="154" y="36"/>
                    </a:lnTo>
                    <a:lnTo>
                      <a:pt x="154" y="40"/>
                    </a:lnTo>
                    <a:lnTo>
                      <a:pt x="154" y="43"/>
                    </a:lnTo>
                    <a:lnTo>
                      <a:pt x="156" y="47"/>
                    </a:lnTo>
                    <a:lnTo>
                      <a:pt x="159" y="49"/>
                    </a:lnTo>
                    <a:lnTo>
                      <a:pt x="161" y="54"/>
                    </a:lnTo>
                    <a:lnTo>
                      <a:pt x="161" y="56"/>
                    </a:lnTo>
                    <a:lnTo>
                      <a:pt x="165" y="63"/>
                    </a:lnTo>
                    <a:lnTo>
                      <a:pt x="186" y="79"/>
                    </a:lnTo>
                    <a:lnTo>
                      <a:pt x="191" y="81"/>
                    </a:lnTo>
                    <a:lnTo>
                      <a:pt x="209" y="95"/>
                    </a:lnTo>
                    <a:lnTo>
                      <a:pt x="211" y="95"/>
                    </a:lnTo>
                    <a:lnTo>
                      <a:pt x="213" y="95"/>
                    </a:lnTo>
                    <a:lnTo>
                      <a:pt x="216" y="93"/>
                    </a:lnTo>
                    <a:lnTo>
                      <a:pt x="222" y="97"/>
                    </a:lnTo>
                    <a:lnTo>
                      <a:pt x="223" y="99"/>
                    </a:lnTo>
                    <a:lnTo>
                      <a:pt x="227" y="100"/>
                    </a:lnTo>
                    <a:lnTo>
                      <a:pt x="225" y="106"/>
                    </a:lnTo>
                    <a:lnTo>
                      <a:pt x="225" y="115"/>
                    </a:lnTo>
                    <a:lnTo>
                      <a:pt x="222" y="113"/>
                    </a:lnTo>
                    <a:lnTo>
                      <a:pt x="215" y="111"/>
                    </a:lnTo>
                    <a:lnTo>
                      <a:pt x="211" y="111"/>
                    </a:lnTo>
                    <a:lnTo>
                      <a:pt x="211" y="111"/>
                    </a:lnTo>
                    <a:lnTo>
                      <a:pt x="211" y="113"/>
                    </a:lnTo>
                    <a:lnTo>
                      <a:pt x="209" y="115"/>
                    </a:lnTo>
                    <a:lnTo>
                      <a:pt x="209" y="115"/>
                    </a:lnTo>
                    <a:lnTo>
                      <a:pt x="204" y="117"/>
                    </a:lnTo>
                    <a:lnTo>
                      <a:pt x="204" y="115"/>
                    </a:lnTo>
                    <a:lnTo>
                      <a:pt x="200" y="117"/>
                    </a:lnTo>
                    <a:lnTo>
                      <a:pt x="198" y="118"/>
                    </a:lnTo>
                    <a:lnTo>
                      <a:pt x="198" y="118"/>
                    </a:lnTo>
                    <a:lnTo>
                      <a:pt x="197" y="120"/>
                    </a:lnTo>
                    <a:lnTo>
                      <a:pt x="197" y="122"/>
                    </a:lnTo>
                    <a:lnTo>
                      <a:pt x="197" y="125"/>
                    </a:lnTo>
                    <a:lnTo>
                      <a:pt x="195" y="127"/>
                    </a:lnTo>
                    <a:lnTo>
                      <a:pt x="193" y="134"/>
                    </a:lnTo>
                    <a:lnTo>
                      <a:pt x="190" y="138"/>
                    </a:lnTo>
                    <a:lnTo>
                      <a:pt x="188" y="138"/>
                    </a:lnTo>
                    <a:lnTo>
                      <a:pt x="186" y="140"/>
                    </a:lnTo>
                    <a:lnTo>
                      <a:pt x="184" y="140"/>
                    </a:lnTo>
                    <a:lnTo>
                      <a:pt x="181" y="142"/>
                    </a:lnTo>
                    <a:lnTo>
                      <a:pt x="173" y="143"/>
                    </a:lnTo>
                    <a:lnTo>
                      <a:pt x="172" y="143"/>
                    </a:lnTo>
                    <a:lnTo>
                      <a:pt x="172" y="145"/>
                    </a:lnTo>
                    <a:lnTo>
                      <a:pt x="173" y="147"/>
                    </a:lnTo>
                    <a:lnTo>
                      <a:pt x="173" y="149"/>
                    </a:lnTo>
                    <a:lnTo>
                      <a:pt x="172" y="149"/>
                    </a:lnTo>
                    <a:lnTo>
                      <a:pt x="172" y="152"/>
                    </a:lnTo>
                    <a:lnTo>
                      <a:pt x="170" y="152"/>
                    </a:lnTo>
                    <a:lnTo>
                      <a:pt x="166" y="154"/>
                    </a:lnTo>
                    <a:lnTo>
                      <a:pt x="165" y="156"/>
                    </a:lnTo>
                    <a:lnTo>
                      <a:pt x="161" y="156"/>
                    </a:lnTo>
                    <a:lnTo>
                      <a:pt x="159" y="156"/>
                    </a:lnTo>
                    <a:lnTo>
                      <a:pt x="157" y="156"/>
                    </a:lnTo>
                    <a:lnTo>
                      <a:pt x="156" y="154"/>
                    </a:lnTo>
                    <a:lnTo>
                      <a:pt x="154" y="152"/>
                    </a:lnTo>
                    <a:lnTo>
                      <a:pt x="152" y="152"/>
                    </a:lnTo>
                    <a:lnTo>
                      <a:pt x="148" y="152"/>
                    </a:lnTo>
                    <a:lnTo>
                      <a:pt x="145" y="152"/>
                    </a:lnTo>
                    <a:lnTo>
                      <a:pt x="145" y="150"/>
                    </a:lnTo>
                    <a:lnTo>
                      <a:pt x="141" y="147"/>
                    </a:lnTo>
                    <a:lnTo>
                      <a:pt x="141" y="143"/>
                    </a:lnTo>
                    <a:lnTo>
                      <a:pt x="141" y="140"/>
                    </a:lnTo>
                    <a:lnTo>
                      <a:pt x="141" y="129"/>
                    </a:lnTo>
                    <a:lnTo>
                      <a:pt x="140" y="129"/>
                    </a:lnTo>
                    <a:lnTo>
                      <a:pt x="132" y="129"/>
                    </a:lnTo>
                    <a:lnTo>
                      <a:pt x="113" y="117"/>
                    </a:lnTo>
                    <a:lnTo>
                      <a:pt x="113" y="113"/>
                    </a:lnTo>
                    <a:lnTo>
                      <a:pt x="109" y="109"/>
                    </a:lnTo>
                    <a:lnTo>
                      <a:pt x="107" y="108"/>
                    </a:lnTo>
                    <a:lnTo>
                      <a:pt x="102" y="106"/>
                    </a:lnTo>
                    <a:lnTo>
                      <a:pt x="100" y="108"/>
                    </a:lnTo>
                    <a:lnTo>
                      <a:pt x="81" y="100"/>
                    </a:lnTo>
                    <a:lnTo>
                      <a:pt x="75" y="93"/>
                    </a:lnTo>
                    <a:lnTo>
                      <a:pt x="65" y="93"/>
                    </a:lnTo>
                    <a:lnTo>
                      <a:pt x="63" y="97"/>
                    </a:lnTo>
                    <a:lnTo>
                      <a:pt x="61" y="99"/>
                    </a:lnTo>
                    <a:lnTo>
                      <a:pt x="59" y="99"/>
                    </a:lnTo>
                    <a:lnTo>
                      <a:pt x="56" y="97"/>
                    </a:lnTo>
                    <a:lnTo>
                      <a:pt x="47" y="99"/>
                    </a:lnTo>
                    <a:lnTo>
                      <a:pt x="32" y="109"/>
                    </a:lnTo>
                    <a:lnTo>
                      <a:pt x="23" y="111"/>
                    </a:lnTo>
                    <a:lnTo>
                      <a:pt x="22" y="90"/>
                    </a:lnTo>
                    <a:lnTo>
                      <a:pt x="23" y="84"/>
                    </a:lnTo>
                    <a:lnTo>
                      <a:pt x="25" y="79"/>
                    </a:lnTo>
                    <a:lnTo>
                      <a:pt x="23" y="79"/>
                    </a:lnTo>
                    <a:lnTo>
                      <a:pt x="18" y="74"/>
                    </a:lnTo>
                    <a:lnTo>
                      <a:pt x="15" y="72"/>
                    </a:lnTo>
                    <a:lnTo>
                      <a:pt x="15" y="72"/>
                    </a:lnTo>
                    <a:lnTo>
                      <a:pt x="23" y="68"/>
                    </a:lnTo>
                    <a:lnTo>
                      <a:pt x="18" y="65"/>
                    </a:lnTo>
                    <a:lnTo>
                      <a:pt x="15" y="63"/>
                    </a:lnTo>
                    <a:lnTo>
                      <a:pt x="18" y="61"/>
                    </a:lnTo>
                    <a:lnTo>
                      <a:pt x="23" y="63"/>
                    </a:lnTo>
                    <a:lnTo>
                      <a:pt x="22" y="59"/>
                    </a:lnTo>
                    <a:lnTo>
                      <a:pt x="16" y="58"/>
                    </a:lnTo>
                    <a:lnTo>
                      <a:pt x="11" y="59"/>
                    </a:lnTo>
                    <a:lnTo>
                      <a:pt x="9" y="61"/>
                    </a:lnTo>
                    <a:lnTo>
                      <a:pt x="7" y="61"/>
                    </a:lnTo>
                    <a:lnTo>
                      <a:pt x="6" y="52"/>
                    </a:lnTo>
                    <a:lnTo>
                      <a:pt x="6" y="49"/>
                    </a:lnTo>
                    <a:lnTo>
                      <a:pt x="7" y="45"/>
                    </a:lnTo>
                    <a:lnTo>
                      <a:pt x="7" y="36"/>
                    </a:lnTo>
                    <a:lnTo>
                      <a:pt x="11" y="43"/>
                    </a:lnTo>
                    <a:lnTo>
                      <a:pt x="16" y="43"/>
                    </a:lnTo>
                    <a:lnTo>
                      <a:pt x="22" y="45"/>
                    </a:lnTo>
                    <a:lnTo>
                      <a:pt x="25" y="45"/>
                    </a:lnTo>
                    <a:lnTo>
                      <a:pt x="29" y="47"/>
                    </a:lnTo>
                    <a:lnTo>
                      <a:pt x="32" y="45"/>
                    </a:lnTo>
                    <a:lnTo>
                      <a:pt x="29" y="45"/>
                    </a:lnTo>
                    <a:lnTo>
                      <a:pt x="29" y="43"/>
                    </a:lnTo>
                    <a:lnTo>
                      <a:pt x="34" y="42"/>
                    </a:lnTo>
                    <a:lnTo>
                      <a:pt x="38" y="36"/>
                    </a:lnTo>
                    <a:lnTo>
                      <a:pt x="25" y="25"/>
                    </a:lnTo>
                    <a:lnTo>
                      <a:pt x="23" y="22"/>
                    </a:lnTo>
                    <a:lnTo>
                      <a:pt x="20" y="17"/>
                    </a:lnTo>
                    <a:lnTo>
                      <a:pt x="16" y="17"/>
                    </a:lnTo>
                    <a:lnTo>
                      <a:pt x="7" y="20"/>
                    </a:lnTo>
                    <a:lnTo>
                      <a:pt x="6" y="24"/>
                    </a:lnTo>
                    <a:lnTo>
                      <a:pt x="6" y="25"/>
                    </a:lnTo>
                    <a:lnTo>
                      <a:pt x="6" y="27"/>
                    </a:lnTo>
                    <a:lnTo>
                      <a:pt x="6" y="34"/>
                    </a:lnTo>
                    <a:lnTo>
                      <a:pt x="6" y="34"/>
                    </a:lnTo>
                    <a:lnTo>
                      <a:pt x="2" y="25"/>
                    </a:lnTo>
                    <a:lnTo>
                      <a:pt x="0" y="22"/>
                    </a:lnTo>
                    <a:lnTo>
                      <a:pt x="9" y="13"/>
                    </a:lnTo>
                    <a:lnTo>
                      <a:pt x="25" y="9"/>
                    </a:lnTo>
                    <a:lnTo>
                      <a:pt x="27" y="9"/>
                    </a:lnTo>
                    <a:lnTo>
                      <a:pt x="36" y="13"/>
                    </a:lnTo>
                    <a:lnTo>
                      <a:pt x="45" y="31"/>
                    </a:lnTo>
                    <a:lnTo>
                      <a:pt x="48" y="33"/>
                    </a:lnTo>
                    <a:lnTo>
                      <a:pt x="54" y="33"/>
                    </a:lnTo>
                    <a:lnTo>
                      <a:pt x="57" y="3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34" name="Freeform 2083"/>
              <p:cNvSpPr>
                <a:spLocks/>
              </p:cNvSpPr>
              <p:nvPr/>
            </p:nvSpPr>
            <p:spPr bwMode="auto">
              <a:xfrm>
                <a:off x="3535" y="1957"/>
                <a:ext cx="227" cy="156"/>
              </a:xfrm>
              <a:custGeom>
                <a:avLst/>
                <a:gdLst>
                  <a:gd name="T0" fmla="*/ 75 w 227"/>
                  <a:gd name="T1" fmla="*/ 33 h 156"/>
                  <a:gd name="T2" fmla="*/ 72 w 227"/>
                  <a:gd name="T3" fmla="*/ 20 h 156"/>
                  <a:gd name="T4" fmla="*/ 79 w 227"/>
                  <a:gd name="T5" fmla="*/ 13 h 156"/>
                  <a:gd name="T6" fmla="*/ 88 w 227"/>
                  <a:gd name="T7" fmla="*/ 9 h 156"/>
                  <a:gd name="T8" fmla="*/ 95 w 227"/>
                  <a:gd name="T9" fmla="*/ 9 h 156"/>
                  <a:gd name="T10" fmla="*/ 93 w 227"/>
                  <a:gd name="T11" fmla="*/ 4 h 156"/>
                  <a:gd name="T12" fmla="*/ 98 w 227"/>
                  <a:gd name="T13" fmla="*/ 2 h 156"/>
                  <a:gd name="T14" fmla="*/ 113 w 227"/>
                  <a:gd name="T15" fmla="*/ 11 h 156"/>
                  <a:gd name="T16" fmla="*/ 122 w 227"/>
                  <a:gd name="T17" fmla="*/ 13 h 156"/>
                  <a:gd name="T18" fmla="*/ 125 w 227"/>
                  <a:gd name="T19" fmla="*/ 20 h 156"/>
                  <a:gd name="T20" fmla="*/ 123 w 227"/>
                  <a:gd name="T21" fmla="*/ 25 h 156"/>
                  <a:gd name="T22" fmla="*/ 127 w 227"/>
                  <a:gd name="T23" fmla="*/ 33 h 156"/>
                  <a:gd name="T24" fmla="*/ 145 w 227"/>
                  <a:gd name="T25" fmla="*/ 33 h 156"/>
                  <a:gd name="T26" fmla="*/ 154 w 227"/>
                  <a:gd name="T27" fmla="*/ 40 h 156"/>
                  <a:gd name="T28" fmla="*/ 159 w 227"/>
                  <a:gd name="T29" fmla="*/ 49 h 156"/>
                  <a:gd name="T30" fmla="*/ 165 w 227"/>
                  <a:gd name="T31" fmla="*/ 63 h 156"/>
                  <a:gd name="T32" fmla="*/ 209 w 227"/>
                  <a:gd name="T33" fmla="*/ 95 h 156"/>
                  <a:gd name="T34" fmla="*/ 216 w 227"/>
                  <a:gd name="T35" fmla="*/ 93 h 156"/>
                  <a:gd name="T36" fmla="*/ 227 w 227"/>
                  <a:gd name="T37" fmla="*/ 100 h 156"/>
                  <a:gd name="T38" fmla="*/ 222 w 227"/>
                  <a:gd name="T39" fmla="*/ 113 h 156"/>
                  <a:gd name="T40" fmla="*/ 211 w 227"/>
                  <a:gd name="T41" fmla="*/ 111 h 156"/>
                  <a:gd name="T42" fmla="*/ 209 w 227"/>
                  <a:gd name="T43" fmla="*/ 115 h 156"/>
                  <a:gd name="T44" fmla="*/ 200 w 227"/>
                  <a:gd name="T45" fmla="*/ 117 h 156"/>
                  <a:gd name="T46" fmla="*/ 197 w 227"/>
                  <a:gd name="T47" fmla="*/ 120 h 156"/>
                  <a:gd name="T48" fmla="*/ 195 w 227"/>
                  <a:gd name="T49" fmla="*/ 127 h 156"/>
                  <a:gd name="T50" fmla="*/ 188 w 227"/>
                  <a:gd name="T51" fmla="*/ 138 h 156"/>
                  <a:gd name="T52" fmla="*/ 181 w 227"/>
                  <a:gd name="T53" fmla="*/ 142 h 156"/>
                  <a:gd name="T54" fmla="*/ 172 w 227"/>
                  <a:gd name="T55" fmla="*/ 145 h 156"/>
                  <a:gd name="T56" fmla="*/ 172 w 227"/>
                  <a:gd name="T57" fmla="*/ 149 h 156"/>
                  <a:gd name="T58" fmla="*/ 166 w 227"/>
                  <a:gd name="T59" fmla="*/ 154 h 156"/>
                  <a:gd name="T60" fmla="*/ 159 w 227"/>
                  <a:gd name="T61" fmla="*/ 156 h 156"/>
                  <a:gd name="T62" fmla="*/ 154 w 227"/>
                  <a:gd name="T63" fmla="*/ 152 h 156"/>
                  <a:gd name="T64" fmla="*/ 145 w 227"/>
                  <a:gd name="T65" fmla="*/ 152 h 156"/>
                  <a:gd name="T66" fmla="*/ 141 w 227"/>
                  <a:gd name="T67" fmla="*/ 143 h 156"/>
                  <a:gd name="T68" fmla="*/ 140 w 227"/>
                  <a:gd name="T69" fmla="*/ 129 h 156"/>
                  <a:gd name="T70" fmla="*/ 113 w 227"/>
                  <a:gd name="T71" fmla="*/ 113 h 156"/>
                  <a:gd name="T72" fmla="*/ 102 w 227"/>
                  <a:gd name="T73" fmla="*/ 106 h 156"/>
                  <a:gd name="T74" fmla="*/ 75 w 227"/>
                  <a:gd name="T75" fmla="*/ 93 h 156"/>
                  <a:gd name="T76" fmla="*/ 61 w 227"/>
                  <a:gd name="T77" fmla="*/ 99 h 156"/>
                  <a:gd name="T78" fmla="*/ 47 w 227"/>
                  <a:gd name="T79" fmla="*/ 99 h 156"/>
                  <a:gd name="T80" fmla="*/ 22 w 227"/>
                  <a:gd name="T81" fmla="*/ 90 h 156"/>
                  <a:gd name="T82" fmla="*/ 23 w 227"/>
                  <a:gd name="T83" fmla="*/ 79 h 156"/>
                  <a:gd name="T84" fmla="*/ 15 w 227"/>
                  <a:gd name="T85" fmla="*/ 72 h 156"/>
                  <a:gd name="T86" fmla="*/ 15 w 227"/>
                  <a:gd name="T87" fmla="*/ 63 h 156"/>
                  <a:gd name="T88" fmla="*/ 22 w 227"/>
                  <a:gd name="T89" fmla="*/ 59 h 156"/>
                  <a:gd name="T90" fmla="*/ 9 w 227"/>
                  <a:gd name="T91" fmla="*/ 61 h 156"/>
                  <a:gd name="T92" fmla="*/ 6 w 227"/>
                  <a:gd name="T93" fmla="*/ 49 h 156"/>
                  <a:gd name="T94" fmla="*/ 11 w 227"/>
                  <a:gd name="T95" fmla="*/ 43 h 156"/>
                  <a:gd name="T96" fmla="*/ 25 w 227"/>
                  <a:gd name="T97" fmla="*/ 45 h 156"/>
                  <a:gd name="T98" fmla="*/ 29 w 227"/>
                  <a:gd name="T99" fmla="*/ 45 h 156"/>
                  <a:gd name="T100" fmla="*/ 38 w 227"/>
                  <a:gd name="T101" fmla="*/ 36 h 156"/>
                  <a:gd name="T102" fmla="*/ 20 w 227"/>
                  <a:gd name="T103" fmla="*/ 17 h 156"/>
                  <a:gd name="T104" fmla="*/ 6 w 227"/>
                  <a:gd name="T105" fmla="*/ 24 h 156"/>
                  <a:gd name="T106" fmla="*/ 6 w 227"/>
                  <a:gd name="T107" fmla="*/ 34 h 156"/>
                  <a:gd name="T108" fmla="*/ 0 w 227"/>
                  <a:gd name="T109" fmla="*/ 22 h 156"/>
                  <a:gd name="T110" fmla="*/ 27 w 227"/>
                  <a:gd name="T111" fmla="*/ 9 h 156"/>
                  <a:gd name="T112" fmla="*/ 48 w 227"/>
                  <a:gd name="T113" fmla="*/ 3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 h="156">
                    <a:moveTo>
                      <a:pt x="57" y="31"/>
                    </a:moveTo>
                    <a:lnTo>
                      <a:pt x="73" y="33"/>
                    </a:lnTo>
                    <a:lnTo>
                      <a:pt x="75" y="33"/>
                    </a:lnTo>
                    <a:lnTo>
                      <a:pt x="73" y="27"/>
                    </a:lnTo>
                    <a:lnTo>
                      <a:pt x="73" y="25"/>
                    </a:lnTo>
                    <a:lnTo>
                      <a:pt x="72" y="20"/>
                    </a:lnTo>
                    <a:lnTo>
                      <a:pt x="73" y="18"/>
                    </a:lnTo>
                    <a:lnTo>
                      <a:pt x="75" y="17"/>
                    </a:lnTo>
                    <a:lnTo>
                      <a:pt x="79" y="13"/>
                    </a:lnTo>
                    <a:lnTo>
                      <a:pt x="86" y="13"/>
                    </a:lnTo>
                    <a:lnTo>
                      <a:pt x="88" y="11"/>
                    </a:lnTo>
                    <a:lnTo>
                      <a:pt x="88" y="9"/>
                    </a:lnTo>
                    <a:lnTo>
                      <a:pt x="88" y="8"/>
                    </a:lnTo>
                    <a:lnTo>
                      <a:pt x="90" y="6"/>
                    </a:lnTo>
                    <a:lnTo>
                      <a:pt x="95" y="9"/>
                    </a:lnTo>
                    <a:lnTo>
                      <a:pt x="97" y="9"/>
                    </a:lnTo>
                    <a:lnTo>
                      <a:pt x="95" y="6"/>
                    </a:lnTo>
                    <a:lnTo>
                      <a:pt x="93" y="4"/>
                    </a:lnTo>
                    <a:lnTo>
                      <a:pt x="95" y="2"/>
                    </a:lnTo>
                    <a:lnTo>
                      <a:pt x="97" y="2"/>
                    </a:lnTo>
                    <a:lnTo>
                      <a:pt x="98" y="2"/>
                    </a:lnTo>
                    <a:lnTo>
                      <a:pt x="98" y="0"/>
                    </a:lnTo>
                    <a:lnTo>
                      <a:pt x="111" y="9"/>
                    </a:lnTo>
                    <a:lnTo>
                      <a:pt x="113" y="11"/>
                    </a:lnTo>
                    <a:lnTo>
                      <a:pt x="115" y="11"/>
                    </a:lnTo>
                    <a:lnTo>
                      <a:pt x="120" y="11"/>
                    </a:lnTo>
                    <a:lnTo>
                      <a:pt x="122" y="13"/>
                    </a:lnTo>
                    <a:lnTo>
                      <a:pt x="120" y="17"/>
                    </a:lnTo>
                    <a:lnTo>
                      <a:pt x="122" y="18"/>
                    </a:lnTo>
                    <a:lnTo>
                      <a:pt x="125" y="20"/>
                    </a:lnTo>
                    <a:lnTo>
                      <a:pt x="122" y="22"/>
                    </a:lnTo>
                    <a:lnTo>
                      <a:pt x="122" y="24"/>
                    </a:lnTo>
                    <a:lnTo>
                      <a:pt x="123" y="25"/>
                    </a:lnTo>
                    <a:lnTo>
                      <a:pt x="122" y="29"/>
                    </a:lnTo>
                    <a:lnTo>
                      <a:pt x="123" y="31"/>
                    </a:lnTo>
                    <a:lnTo>
                      <a:pt x="127" y="33"/>
                    </a:lnTo>
                    <a:lnTo>
                      <a:pt x="141" y="34"/>
                    </a:lnTo>
                    <a:lnTo>
                      <a:pt x="145" y="34"/>
                    </a:lnTo>
                    <a:lnTo>
                      <a:pt x="145" y="33"/>
                    </a:lnTo>
                    <a:lnTo>
                      <a:pt x="147" y="31"/>
                    </a:lnTo>
                    <a:lnTo>
                      <a:pt x="154" y="36"/>
                    </a:lnTo>
                    <a:lnTo>
                      <a:pt x="154" y="40"/>
                    </a:lnTo>
                    <a:lnTo>
                      <a:pt x="154" y="43"/>
                    </a:lnTo>
                    <a:lnTo>
                      <a:pt x="156" y="47"/>
                    </a:lnTo>
                    <a:lnTo>
                      <a:pt x="159" y="49"/>
                    </a:lnTo>
                    <a:lnTo>
                      <a:pt x="161" y="54"/>
                    </a:lnTo>
                    <a:lnTo>
                      <a:pt x="161" y="56"/>
                    </a:lnTo>
                    <a:lnTo>
                      <a:pt x="165" y="63"/>
                    </a:lnTo>
                    <a:lnTo>
                      <a:pt x="186" y="79"/>
                    </a:lnTo>
                    <a:lnTo>
                      <a:pt x="191" y="81"/>
                    </a:lnTo>
                    <a:lnTo>
                      <a:pt x="209" y="95"/>
                    </a:lnTo>
                    <a:lnTo>
                      <a:pt x="211" y="95"/>
                    </a:lnTo>
                    <a:lnTo>
                      <a:pt x="213" y="95"/>
                    </a:lnTo>
                    <a:lnTo>
                      <a:pt x="216" y="93"/>
                    </a:lnTo>
                    <a:lnTo>
                      <a:pt x="222" y="97"/>
                    </a:lnTo>
                    <a:lnTo>
                      <a:pt x="223" y="99"/>
                    </a:lnTo>
                    <a:lnTo>
                      <a:pt x="227" y="100"/>
                    </a:lnTo>
                    <a:lnTo>
                      <a:pt x="225" y="106"/>
                    </a:lnTo>
                    <a:lnTo>
                      <a:pt x="225" y="115"/>
                    </a:lnTo>
                    <a:lnTo>
                      <a:pt x="222" y="113"/>
                    </a:lnTo>
                    <a:lnTo>
                      <a:pt x="215" y="111"/>
                    </a:lnTo>
                    <a:lnTo>
                      <a:pt x="211" y="111"/>
                    </a:lnTo>
                    <a:lnTo>
                      <a:pt x="211" y="111"/>
                    </a:lnTo>
                    <a:lnTo>
                      <a:pt x="211" y="113"/>
                    </a:lnTo>
                    <a:lnTo>
                      <a:pt x="209" y="115"/>
                    </a:lnTo>
                    <a:lnTo>
                      <a:pt x="209" y="115"/>
                    </a:lnTo>
                    <a:lnTo>
                      <a:pt x="204" y="117"/>
                    </a:lnTo>
                    <a:lnTo>
                      <a:pt x="204" y="115"/>
                    </a:lnTo>
                    <a:lnTo>
                      <a:pt x="200" y="117"/>
                    </a:lnTo>
                    <a:lnTo>
                      <a:pt x="198" y="118"/>
                    </a:lnTo>
                    <a:lnTo>
                      <a:pt x="198" y="118"/>
                    </a:lnTo>
                    <a:lnTo>
                      <a:pt x="197" y="120"/>
                    </a:lnTo>
                    <a:lnTo>
                      <a:pt x="197" y="122"/>
                    </a:lnTo>
                    <a:lnTo>
                      <a:pt x="197" y="125"/>
                    </a:lnTo>
                    <a:lnTo>
                      <a:pt x="195" y="127"/>
                    </a:lnTo>
                    <a:lnTo>
                      <a:pt x="193" y="134"/>
                    </a:lnTo>
                    <a:lnTo>
                      <a:pt x="190" y="138"/>
                    </a:lnTo>
                    <a:lnTo>
                      <a:pt x="188" y="138"/>
                    </a:lnTo>
                    <a:lnTo>
                      <a:pt x="186" y="140"/>
                    </a:lnTo>
                    <a:lnTo>
                      <a:pt x="184" y="140"/>
                    </a:lnTo>
                    <a:lnTo>
                      <a:pt x="181" y="142"/>
                    </a:lnTo>
                    <a:lnTo>
                      <a:pt x="173" y="143"/>
                    </a:lnTo>
                    <a:lnTo>
                      <a:pt x="172" y="143"/>
                    </a:lnTo>
                    <a:lnTo>
                      <a:pt x="172" y="145"/>
                    </a:lnTo>
                    <a:lnTo>
                      <a:pt x="173" y="147"/>
                    </a:lnTo>
                    <a:lnTo>
                      <a:pt x="173" y="149"/>
                    </a:lnTo>
                    <a:lnTo>
                      <a:pt x="172" y="149"/>
                    </a:lnTo>
                    <a:lnTo>
                      <a:pt x="172" y="152"/>
                    </a:lnTo>
                    <a:lnTo>
                      <a:pt x="170" y="152"/>
                    </a:lnTo>
                    <a:lnTo>
                      <a:pt x="166" y="154"/>
                    </a:lnTo>
                    <a:lnTo>
                      <a:pt x="165" y="156"/>
                    </a:lnTo>
                    <a:lnTo>
                      <a:pt x="161" y="156"/>
                    </a:lnTo>
                    <a:lnTo>
                      <a:pt x="159" y="156"/>
                    </a:lnTo>
                    <a:lnTo>
                      <a:pt x="157" y="156"/>
                    </a:lnTo>
                    <a:lnTo>
                      <a:pt x="156" y="154"/>
                    </a:lnTo>
                    <a:lnTo>
                      <a:pt x="154" y="152"/>
                    </a:lnTo>
                    <a:lnTo>
                      <a:pt x="152" y="152"/>
                    </a:lnTo>
                    <a:lnTo>
                      <a:pt x="148" y="152"/>
                    </a:lnTo>
                    <a:lnTo>
                      <a:pt x="145" y="152"/>
                    </a:lnTo>
                    <a:lnTo>
                      <a:pt x="145" y="150"/>
                    </a:lnTo>
                    <a:lnTo>
                      <a:pt x="141" y="147"/>
                    </a:lnTo>
                    <a:lnTo>
                      <a:pt x="141" y="143"/>
                    </a:lnTo>
                    <a:lnTo>
                      <a:pt x="141" y="140"/>
                    </a:lnTo>
                    <a:lnTo>
                      <a:pt x="141" y="129"/>
                    </a:lnTo>
                    <a:lnTo>
                      <a:pt x="140" y="129"/>
                    </a:lnTo>
                    <a:lnTo>
                      <a:pt x="132" y="129"/>
                    </a:lnTo>
                    <a:lnTo>
                      <a:pt x="113" y="117"/>
                    </a:lnTo>
                    <a:lnTo>
                      <a:pt x="113" y="113"/>
                    </a:lnTo>
                    <a:lnTo>
                      <a:pt x="109" y="109"/>
                    </a:lnTo>
                    <a:lnTo>
                      <a:pt x="107" y="108"/>
                    </a:lnTo>
                    <a:lnTo>
                      <a:pt x="102" y="106"/>
                    </a:lnTo>
                    <a:lnTo>
                      <a:pt x="100" y="108"/>
                    </a:lnTo>
                    <a:lnTo>
                      <a:pt x="81" y="100"/>
                    </a:lnTo>
                    <a:lnTo>
                      <a:pt x="75" y="93"/>
                    </a:lnTo>
                    <a:lnTo>
                      <a:pt x="65" y="93"/>
                    </a:lnTo>
                    <a:lnTo>
                      <a:pt x="63" y="97"/>
                    </a:lnTo>
                    <a:lnTo>
                      <a:pt x="61" y="99"/>
                    </a:lnTo>
                    <a:lnTo>
                      <a:pt x="59" y="99"/>
                    </a:lnTo>
                    <a:lnTo>
                      <a:pt x="56" y="97"/>
                    </a:lnTo>
                    <a:lnTo>
                      <a:pt x="47" y="99"/>
                    </a:lnTo>
                    <a:lnTo>
                      <a:pt x="32" y="109"/>
                    </a:lnTo>
                    <a:lnTo>
                      <a:pt x="23" y="111"/>
                    </a:lnTo>
                    <a:lnTo>
                      <a:pt x="22" y="90"/>
                    </a:lnTo>
                    <a:lnTo>
                      <a:pt x="23" y="84"/>
                    </a:lnTo>
                    <a:lnTo>
                      <a:pt x="25" y="79"/>
                    </a:lnTo>
                    <a:lnTo>
                      <a:pt x="23" y="79"/>
                    </a:lnTo>
                    <a:lnTo>
                      <a:pt x="18" y="74"/>
                    </a:lnTo>
                    <a:lnTo>
                      <a:pt x="15" y="72"/>
                    </a:lnTo>
                    <a:lnTo>
                      <a:pt x="15" y="72"/>
                    </a:lnTo>
                    <a:lnTo>
                      <a:pt x="23" y="68"/>
                    </a:lnTo>
                    <a:lnTo>
                      <a:pt x="18" y="65"/>
                    </a:lnTo>
                    <a:lnTo>
                      <a:pt x="15" y="63"/>
                    </a:lnTo>
                    <a:lnTo>
                      <a:pt x="18" y="61"/>
                    </a:lnTo>
                    <a:lnTo>
                      <a:pt x="23" y="63"/>
                    </a:lnTo>
                    <a:lnTo>
                      <a:pt x="22" y="59"/>
                    </a:lnTo>
                    <a:lnTo>
                      <a:pt x="16" y="58"/>
                    </a:lnTo>
                    <a:lnTo>
                      <a:pt x="11" y="59"/>
                    </a:lnTo>
                    <a:lnTo>
                      <a:pt x="9" y="61"/>
                    </a:lnTo>
                    <a:lnTo>
                      <a:pt x="7" y="61"/>
                    </a:lnTo>
                    <a:lnTo>
                      <a:pt x="6" y="52"/>
                    </a:lnTo>
                    <a:lnTo>
                      <a:pt x="6" y="49"/>
                    </a:lnTo>
                    <a:lnTo>
                      <a:pt x="7" y="45"/>
                    </a:lnTo>
                    <a:lnTo>
                      <a:pt x="7" y="36"/>
                    </a:lnTo>
                    <a:lnTo>
                      <a:pt x="11" y="43"/>
                    </a:lnTo>
                    <a:lnTo>
                      <a:pt x="16" y="43"/>
                    </a:lnTo>
                    <a:lnTo>
                      <a:pt x="22" y="45"/>
                    </a:lnTo>
                    <a:lnTo>
                      <a:pt x="25" y="45"/>
                    </a:lnTo>
                    <a:lnTo>
                      <a:pt x="29" y="47"/>
                    </a:lnTo>
                    <a:lnTo>
                      <a:pt x="32" y="45"/>
                    </a:lnTo>
                    <a:lnTo>
                      <a:pt x="29" y="45"/>
                    </a:lnTo>
                    <a:lnTo>
                      <a:pt x="29" y="43"/>
                    </a:lnTo>
                    <a:lnTo>
                      <a:pt x="34" y="42"/>
                    </a:lnTo>
                    <a:lnTo>
                      <a:pt x="38" y="36"/>
                    </a:lnTo>
                    <a:lnTo>
                      <a:pt x="25" y="25"/>
                    </a:lnTo>
                    <a:lnTo>
                      <a:pt x="23" y="22"/>
                    </a:lnTo>
                    <a:lnTo>
                      <a:pt x="20" y="17"/>
                    </a:lnTo>
                    <a:lnTo>
                      <a:pt x="16" y="17"/>
                    </a:lnTo>
                    <a:lnTo>
                      <a:pt x="7" y="20"/>
                    </a:lnTo>
                    <a:lnTo>
                      <a:pt x="6" y="24"/>
                    </a:lnTo>
                    <a:lnTo>
                      <a:pt x="6" y="25"/>
                    </a:lnTo>
                    <a:lnTo>
                      <a:pt x="6" y="27"/>
                    </a:lnTo>
                    <a:lnTo>
                      <a:pt x="6" y="34"/>
                    </a:lnTo>
                    <a:lnTo>
                      <a:pt x="6" y="34"/>
                    </a:lnTo>
                    <a:lnTo>
                      <a:pt x="2" y="25"/>
                    </a:lnTo>
                    <a:lnTo>
                      <a:pt x="0" y="22"/>
                    </a:lnTo>
                    <a:lnTo>
                      <a:pt x="9" y="13"/>
                    </a:lnTo>
                    <a:lnTo>
                      <a:pt x="25" y="9"/>
                    </a:lnTo>
                    <a:lnTo>
                      <a:pt x="27" y="9"/>
                    </a:lnTo>
                    <a:lnTo>
                      <a:pt x="36" y="13"/>
                    </a:lnTo>
                    <a:lnTo>
                      <a:pt x="45" y="31"/>
                    </a:lnTo>
                    <a:lnTo>
                      <a:pt x="48" y="33"/>
                    </a:lnTo>
                    <a:lnTo>
                      <a:pt x="54" y="33"/>
                    </a:lnTo>
                    <a:lnTo>
                      <a:pt x="57" y="31"/>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35" name="Freeform 2084"/>
              <p:cNvSpPr>
                <a:spLocks/>
              </p:cNvSpPr>
              <p:nvPr/>
            </p:nvSpPr>
            <p:spPr bwMode="auto">
              <a:xfrm>
                <a:off x="3114" y="1974"/>
                <a:ext cx="48" cy="41"/>
              </a:xfrm>
              <a:custGeom>
                <a:avLst/>
                <a:gdLst>
                  <a:gd name="T0" fmla="*/ 30 w 48"/>
                  <a:gd name="T1" fmla="*/ 3 h 41"/>
                  <a:gd name="T2" fmla="*/ 28 w 48"/>
                  <a:gd name="T3" fmla="*/ 1 h 41"/>
                  <a:gd name="T4" fmla="*/ 21 w 48"/>
                  <a:gd name="T5" fmla="*/ 3 h 41"/>
                  <a:gd name="T6" fmla="*/ 16 w 48"/>
                  <a:gd name="T7" fmla="*/ 0 h 41"/>
                  <a:gd name="T8" fmla="*/ 7 w 48"/>
                  <a:gd name="T9" fmla="*/ 3 h 41"/>
                  <a:gd name="T10" fmla="*/ 3 w 48"/>
                  <a:gd name="T11" fmla="*/ 5 h 41"/>
                  <a:gd name="T12" fmla="*/ 5 w 48"/>
                  <a:gd name="T13" fmla="*/ 7 h 41"/>
                  <a:gd name="T14" fmla="*/ 7 w 48"/>
                  <a:gd name="T15" fmla="*/ 8 h 41"/>
                  <a:gd name="T16" fmla="*/ 7 w 48"/>
                  <a:gd name="T17" fmla="*/ 12 h 41"/>
                  <a:gd name="T18" fmla="*/ 3 w 48"/>
                  <a:gd name="T19" fmla="*/ 16 h 41"/>
                  <a:gd name="T20" fmla="*/ 2 w 48"/>
                  <a:gd name="T21" fmla="*/ 25 h 41"/>
                  <a:gd name="T22" fmla="*/ 0 w 48"/>
                  <a:gd name="T23" fmla="*/ 28 h 41"/>
                  <a:gd name="T24" fmla="*/ 0 w 48"/>
                  <a:gd name="T25" fmla="*/ 30 h 41"/>
                  <a:gd name="T26" fmla="*/ 2 w 48"/>
                  <a:gd name="T27" fmla="*/ 30 h 41"/>
                  <a:gd name="T28" fmla="*/ 12 w 48"/>
                  <a:gd name="T29" fmla="*/ 30 h 41"/>
                  <a:gd name="T30" fmla="*/ 9 w 48"/>
                  <a:gd name="T31" fmla="*/ 32 h 41"/>
                  <a:gd name="T32" fmla="*/ 2 w 48"/>
                  <a:gd name="T33" fmla="*/ 35 h 41"/>
                  <a:gd name="T34" fmla="*/ 2 w 48"/>
                  <a:gd name="T35" fmla="*/ 41 h 41"/>
                  <a:gd name="T36" fmla="*/ 3 w 48"/>
                  <a:gd name="T37" fmla="*/ 41 h 41"/>
                  <a:gd name="T38" fmla="*/ 5 w 48"/>
                  <a:gd name="T39" fmla="*/ 37 h 41"/>
                  <a:gd name="T40" fmla="*/ 25 w 48"/>
                  <a:gd name="T41" fmla="*/ 23 h 41"/>
                  <a:gd name="T42" fmla="*/ 39 w 48"/>
                  <a:gd name="T43" fmla="*/ 21 h 41"/>
                  <a:gd name="T44" fmla="*/ 41 w 48"/>
                  <a:gd name="T45" fmla="*/ 23 h 41"/>
                  <a:gd name="T46" fmla="*/ 46 w 48"/>
                  <a:gd name="T47" fmla="*/ 21 h 41"/>
                  <a:gd name="T48" fmla="*/ 48 w 48"/>
                  <a:gd name="T49" fmla="*/ 19 h 41"/>
                  <a:gd name="T50" fmla="*/ 48 w 48"/>
                  <a:gd name="T51" fmla="*/ 16 h 41"/>
                  <a:gd name="T52" fmla="*/ 45 w 48"/>
                  <a:gd name="T53" fmla="*/ 16 h 41"/>
                  <a:gd name="T54" fmla="*/ 36 w 48"/>
                  <a:gd name="T55" fmla="*/ 12 h 41"/>
                  <a:gd name="T56" fmla="*/ 32 w 48"/>
                  <a:gd name="T57" fmla="*/ 8 h 41"/>
                  <a:gd name="T58" fmla="*/ 30 w 48"/>
                  <a:gd name="T59" fmla="*/ 5 h 41"/>
                  <a:gd name="T60" fmla="*/ 30 w 48"/>
                  <a:gd name="T61"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 h="41">
                    <a:moveTo>
                      <a:pt x="30" y="3"/>
                    </a:moveTo>
                    <a:lnTo>
                      <a:pt x="28" y="1"/>
                    </a:lnTo>
                    <a:lnTo>
                      <a:pt x="21" y="3"/>
                    </a:lnTo>
                    <a:lnTo>
                      <a:pt x="16" y="0"/>
                    </a:lnTo>
                    <a:lnTo>
                      <a:pt x="7" y="3"/>
                    </a:lnTo>
                    <a:lnTo>
                      <a:pt x="3" y="5"/>
                    </a:lnTo>
                    <a:lnTo>
                      <a:pt x="5" y="7"/>
                    </a:lnTo>
                    <a:lnTo>
                      <a:pt x="7" y="8"/>
                    </a:lnTo>
                    <a:lnTo>
                      <a:pt x="7" y="12"/>
                    </a:lnTo>
                    <a:lnTo>
                      <a:pt x="3" y="16"/>
                    </a:lnTo>
                    <a:lnTo>
                      <a:pt x="2" y="25"/>
                    </a:lnTo>
                    <a:lnTo>
                      <a:pt x="0" y="28"/>
                    </a:lnTo>
                    <a:lnTo>
                      <a:pt x="0" y="30"/>
                    </a:lnTo>
                    <a:lnTo>
                      <a:pt x="2" y="30"/>
                    </a:lnTo>
                    <a:lnTo>
                      <a:pt x="12" y="30"/>
                    </a:lnTo>
                    <a:lnTo>
                      <a:pt x="9" y="32"/>
                    </a:lnTo>
                    <a:lnTo>
                      <a:pt x="2" y="35"/>
                    </a:lnTo>
                    <a:lnTo>
                      <a:pt x="2" y="41"/>
                    </a:lnTo>
                    <a:lnTo>
                      <a:pt x="3" y="41"/>
                    </a:lnTo>
                    <a:lnTo>
                      <a:pt x="5" y="37"/>
                    </a:lnTo>
                    <a:lnTo>
                      <a:pt x="25" y="23"/>
                    </a:lnTo>
                    <a:lnTo>
                      <a:pt x="39" y="21"/>
                    </a:lnTo>
                    <a:lnTo>
                      <a:pt x="41" y="23"/>
                    </a:lnTo>
                    <a:lnTo>
                      <a:pt x="46" y="21"/>
                    </a:lnTo>
                    <a:lnTo>
                      <a:pt x="48" y="19"/>
                    </a:lnTo>
                    <a:lnTo>
                      <a:pt x="48" y="16"/>
                    </a:lnTo>
                    <a:lnTo>
                      <a:pt x="45" y="16"/>
                    </a:lnTo>
                    <a:lnTo>
                      <a:pt x="36" y="12"/>
                    </a:lnTo>
                    <a:lnTo>
                      <a:pt x="32" y="8"/>
                    </a:lnTo>
                    <a:lnTo>
                      <a:pt x="30" y="5"/>
                    </a:lnTo>
                    <a:lnTo>
                      <a:pt x="30"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36" name="Freeform 2085"/>
              <p:cNvSpPr>
                <a:spLocks/>
              </p:cNvSpPr>
              <p:nvPr/>
            </p:nvSpPr>
            <p:spPr bwMode="auto">
              <a:xfrm>
                <a:off x="3114" y="1974"/>
                <a:ext cx="48" cy="41"/>
              </a:xfrm>
              <a:custGeom>
                <a:avLst/>
                <a:gdLst>
                  <a:gd name="T0" fmla="*/ 30 w 48"/>
                  <a:gd name="T1" fmla="*/ 3 h 41"/>
                  <a:gd name="T2" fmla="*/ 28 w 48"/>
                  <a:gd name="T3" fmla="*/ 1 h 41"/>
                  <a:gd name="T4" fmla="*/ 21 w 48"/>
                  <a:gd name="T5" fmla="*/ 3 h 41"/>
                  <a:gd name="T6" fmla="*/ 16 w 48"/>
                  <a:gd name="T7" fmla="*/ 0 h 41"/>
                  <a:gd name="T8" fmla="*/ 7 w 48"/>
                  <a:gd name="T9" fmla="*/ 3 h 41"/>
                  <a:gd name="T10" fmla="*/ 3 w 48"/>
                  <a:gd name="T11" fmla="*/ 5 h 41"/>
                  <a:gd name="T12" fmla="*/ 5 w 48"/>
                  <a:gd name="T13" fmla="*/ 7 h 41"/>
                  <a:gd name="T14" fmla="*/ 7 w 48"/>
                  <a:gd name="T15" fmla="*/ 8 h 41"/>
                  <a:gd name="T16" fmla="*/ 7 w 48"/>
                  <a:gd name="T17" fmla="*/ 12 h 41"/>
                  <a:gd name="T18" fmla="*/ 3 w 48"/>
                  <a:gd name="T19" fmla="*/ 16 h 41"/>
                  <a:gd name="T20" fmla="*/ 2 w 48"/>
                  <a:gd name="T21" fmla="*/ 25 h 41"/>
                  <a:gd name="T22" fmla="*/ 0 w 48"/>
                  <a:gd name="T23" fmla="*/ 28 h 41"/>
                  <a:gd name="T24" fmla="*/ 0 w 48"/>
                  <a:gd name="T25" fmla="*/ 30 h 41"/>
                  <a:gd name="T26" fmla="*/ 2 w 48"/>
                  <a:gd name="T27" fmla="*/ 30 h 41"/>
                  <a:gd name="T28" fmla="*/ 12 w 48"/>
                  <a:gd name="T29" fmla="*/ 30 h 41"/>
                  <a:gd name="T30" fmla="*/ 9 w 48"/>
                  <a:gd name="T31" fmla="*/ 32 h 41"/>
                  <a:gd name="T32" fmla="*/ 2 w 48"/>
                  <a:gd name="T33" fmla="*/ 35 h 41"/>
                  <a:gd name="T34" fmla="*/ 2 w 48"/>
                  <a:gd name="T35" fmla="*/ 41 h 41"/>
                  <a:gd name="T36" fmla="*/ 3 w 48"/>
                  <a:gd name="T37" fmla="*/ 41 h 41"/>
                  <a:gd name="T38" fmla="*/ 5 w 48"/>
                  <a:gd name="T39" fmla="*/ 37 h 41"/>
                  <a:gd name="T40" fmla="*/ 25 w 48"/>
                  <a:gd name="T41" fmla="*/ 23 h 41"/>
                  <a:gd name="T42" fmla="*/ 39 w 48"/>
                  <a:gd name="T43" fmla="*/ 21 h 41"/>
                  <a:gd name="T44" fmla="*/ 41 w 48"/>
                  <a:gd name="T45" fmla="*/ 23 h 41"/>
                  <a:gd name="T46" fmla="*/ 46 w 48"/>
                  <a:gd name="T47" fmla="*/ 21 h 41"/>
                  <a:gd name="T48" fmla="*/ 48 w 48"/>
                  <a:gd name="T49" fmla="*/ 19 h 41"/>
                  <a:gd name="T50" fmla="*/ 48 w 48"/>
                  <a:gd name="T51" fmla="*/ 16 h 41"/>
                  <a:gd name="T52" fmla="*/ 45 w 48"/>
                  <a:gd name="T53" fmla="*/ 16 h 41"/>
                  <a:gd name="T54" fmla="*/ 36 w 48"/>
                  <a:gd name="T55" fmla="*/ 12 h 41"/>
                  <a:gd name="T56" fmla="*/ 32 w 48"/>
                  <a:gd name="T57" fmla="*/ 8 h 41"/>
                  <a:gd name="T58" fmla="*/ 30 w 48"/>
                  <a:gd name="T59" fmla="*/ 5 h 41"/>
                  <a:gd name="T60" fmla="*/ 30 w 48"/>
                  <a:gd name="T61" fmla="*/ 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8" h="41">
                    <a:moveTo>
                      <a:pt x="30" y="3"/>
                    </a:moveTo>
                    <a:lnTo>
                      <a:pt x="28" y="1"/>
                    </a:lnTo>
                    <a:lnTo>
                      <a:pt x="21" y="3"/>
                    </a:lnTo>
                    <a:lnTo>
                      <a:pt x="16" y="0"/>
                    </a:lnTo>
                    <a:lnTo>
                      <a:pt x="7" y="3"/>
                    </a:lnTo>
                    <a:lnTo>
                      <a:pt x="3" y="5"/>
                    </a:lnTo>
                    <a:lnTo>
                      <a:pt x="5" y="7"/>
                    </a:lnTo>
                    <a:lnTo>
                      <a:pt x="7" y="8"/>
                    </a:lnTo>
                    <a:lnTo>
                      <a:pt x="7" y="12"/>
                    </a:lnTo>
                    <a:lnTo>
                      <a:pt x="3" y="16"/>
                    </a:lnTo>
                    <a:lnTo>
                      <a:pt x="2" y="25"/>
                    </a:lnTo>
                    <a:lnTo>
                      <a:pt x="0" y="28"/>
                    </a:lnTo>
                    <a:lnTo>
                      <a:pt x="0" y="30"/>
                    </a:lnTo>
                    <a:lnTo>
                      <a:pt x="2" y="30"/>
                    </a:lnTo>
                    <a:lnTo>
                      <a:pt x="12" y="30"/>
                    </a:lnTo>
                    <a:lnTo>
                      <a:pt x="9" y="32"/>
                    </a:lnTo>
                    <a:lnTo>
                      <a:pt x="2" y="35"/>
                    </a:lnTo>
                    <a:lnTo>
                      <a:pt x="2" y="41"/>
                    </a:lnTo>
                    <a:lnTo>
                      <a:pt x="3" y="41"/>
                    </a:lnTo>
                    <a:lnTo>
                      <a:pt x="5" y="37"/>
                    </a:lnTo>
                    <a:lnTo>
                      <a:pt x="25" y="23"/>
                    </a:lnTo>
                    <a:lnTo>
                      <a:pt x="39" y="21"/>
                    </a:lnTo>
                    <a:lnTo>
                      <a:pt x="41" y="23"/>
                    </a:lnTo>
                    <a:lnTo>
                      <a:pt x="46" y="21"/>
                    </a:lnTo>
                    <a:lnTo>
                      <a:pt x="48" y="19"/>
                    </a:lnTo>
                    <a:lnTo>
                      <a:pt x="48" y="16"/>
                    </a:lnTo>
                    <a:lnTo>
                      <a:pt x="45" y="16"/>
                    </a:lnTo>
                    <a:lnTo>
                      <a:pt x="36" y="12"/>
                    </a:lnTo>
                    <a:lnTo>
                      <a:pt x="32" y="8"/>
                    </a:lnTo>
                    <a:lnTo>
                      <a:pt x="30" y="5"/>
                    </a:lnTo>
                    <a:lnTo>
                      <a:pt x="30"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37" name="Freeform 2086"/>
              <p:cNvSpPr>
                <a:spLocks/>
              </p:cNvSpPr>
              <p:nvPr/>
            </p:nvSpPr>
            <p:spPr bwMode="auto">
              <a:xfrm>
                <a:off x="2926" y="2099"/>
                <a:ext cx="4" cy="3"/>
              </a:xfrm>
              <a:custGeom>
                <a:avLst/>
                <a:gdLst>
                  <a:gd name="T0" fmla="*/ 0 w 4"/>
                  <a:gd name="T1" fmla="*/ 0 h 3"/>
                  <a:gd name="T2" fmla="*/ 0 w 4"/>
                  <a:gd name="T3" fmla="*/ 0 h 3"/>
                  <a:gd name="T4" fmla="*/ 2 w 4"/>
                  <a:gd name="T5" fmla="*/ 1 h 3"/>
                  <a:gd name="T6" fmla="*/ 2 w 4"/>
                  <a:gd name="T7" fmla="*/ 1 h 3"/>
                  <a:gd name="T8" fmla="*/ 4 w 4"/>
                  <a:gd name="T9" fmla="*/ 1 h 3"/>
                  <a:gd name="T10" fmla="*/ 4 w 4"/>
                  <a:gd name="T11" fmla="*/ 3 h 3"/>
                  <a:gd name="T12" fmla="*/ 2 w 4"/>
                  <a:gd name="T13" fmla="*/ 3 h 3"/>
                  <a:gd name="T14" fmla="*/ 0 w 4"/>
                  <a:gd name="T15" fmla="*/ 1 h 3"/>
                  <a:gd name="T16" fmla="*/ 0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0" y="0"/>
                    </a:moveTo>
                    <a:lnTo>
                      <a:pt x="0" y="0"/>
                    </a:lnTo>
                    <a:lnTo>
                      <a:pt x="2" y="1"/>
                    </a:lnTo>
                    <a:lnTo>
                      <a:pt x="2" y="1"/>
                    </a:lnTo>
                    <a:lnTo>
                      <a:pt x="4" y="1"/>
                    </a:lnTo>
                    <a:lnTo>
                      <a:pt x="4" y="3"/>
                    </a:lnTo>
                    <a:lnTo>
                      <a:pt x="2" y="3"/>
                    </a:lnTo>
                    <a:lnTo>
                      <a:pt x="0" y="1"/>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38" name="Freeform 2087"/>
              <p:cNvSpPr>
                <a:spLocks/>
              </p:cNvSpPr>
              <p:nvPr/>
            </p:nvSpPr>
            <p:spPr bwMode="auto">
              <a:xfrm>
                <a:off x="2926" y="2099"/>
                <a:ext cx="4" cy="3"/>
              </a:xfrm>
              <a:custGeom>
                <a:avLst/>
                <a:gdLst>
                  <a:gd name="T0" fmla="*/ 0 w 4"/>
                  <a:gd name="T1" fmla="*/ 0 h 3"/>
                  <a:gd name="T2" fmla="*/ 0 w 4"/>
                  <a:gd name="T3" fmla="*/ 0 h 3"/>
                  <a:gd name="T4" fmla="*/ 2 w 4"/>
                  <a:gd name="T5" fmla="*/ 1 h 3"/>
                  <a:gd name="T6" fmla="*/ 2 w 4"/>
                  <a:gd name="T7" fmla="*/ 1 h 3"/>
                  <a:gd name="T8" fmla="*/ 4 w 4"/>
                  <a:gd name="T9" fmla="*/ 1 h 3"/>
                  <a:gd name="T10" fmla="*/ 4 w 4"/>
                  <a:gd name="T11" fmla="*/ 3 h 3"/>
                  <a:gd name="T12" fmla="*/ 2 w 4"/>
                  <a:gd name="T13" fmla="*/ 3 h 3"/>
                  <a:gd name="T14" fmla="*/ 0 w 4"/>
                  <a:gd name="T15" fmla="*/ 1 h 3"/>
                  <a:gd name="T16" fmla="*/ 0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0" y="0"/>
                    </a:moveTo>
                    <a:lnTo>
                      <a:pt x="0" y="0"/>
                    </a:lnTo>
                    <a:lnTo>
                      <a:pt x="2" y="1"/>
                    </a:lnTo>
                    <a:lnTo>
                      <a:pt x="2" y="1"/>
                    </a:lnTo>
                    <a:lnTo>
                      <a:pt x="4" y="1"/>
                    </a:lnTo>
                    <a:lnTo>
                      <a:pt x="4" y="3"/>
                    </a:lnTo>
                    <a:lnTo>
                      <a:pt x="2" y="3"/>
                    </a:lnTo>
                    <a:lnTo>
                      <a:pt x="0" y="1"/>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39" name="Freeform 2088"/>
              <p:cNvSpPr>
                <a:spLocks/>
              </p:cNvSpPr>
              <p:nvPr/>
            </p:nvSpPr>
            <p:spPr bwMode="auto">
              <a:xfrm>
                <a:off x="3798" y="3602"/>
                <a:ext cx="28" cy="25"/>
              </a:xfrm>
              <a:custGeom>
                <a:avLst/>
                <a:gdLst>
                  <a:gd name="T0" fmla="*/ 18 w 28"/>
                  <a:gd name="T1" fmla="*/ 13 h 25"/>
                  <a:gd name="T2" fmla="*/ 18 w 28"/>
                  <a:gd name="T3" fmla="*/ 14 h 25"/>
                  <a:gd name="T4" fmla="*/ 12 w 28"/>
                  <a:gd name="T5" fmla="*/ 16 h 25"/>
                  <a:gd name="T6" fmla="*/ 12 w 28"/>
                  <a:gd name="T7" fmla="*/ 13 h 25"/>
                  <a:gd name="T8" fmla="*/ 14 w 28"/>
                  <a:gd name="T9" fmla="*/ 11 h 25"/>
                  <a:gd name="T10" fmla="*/ 16 w 28"/>
                  <a:gd name="T11" fmla="*/ 9 h 25"/>
                  <a:gd name="T12" fmla="*/ 14 w 28"/>
                  <a:gd name="T13" fmla="*/ 7 h 25"/>
                  <a:gd name="T14" fmla="*/ 12 w 28"/>
                  <a:gd name="T15" fmla="*/ 9 h 25"/>
                  <a:gd name="T16" fmla="*/ 5 w 28"/>
                  <a:gd name="T17" fmla="*/ 9 h 25"/>
                  <a:gd name="T18" fmla="*/ 5 w 28"/>
                  <a:gd name="T19" fmla="*/ 7 h 25"/>
                  <a:gd name="T20" fmla="*/ 7 w 28"/>
                  <a:gd name="T21" fmla="*/ 5 h 25"/>
                  <a:gd name="T22" fmla="*/ 5 w 28"/>
                  <a:gd name="T23" fmla="*/ 4 h 25"/>
                  <a:gd name="T24" fmla="*/ 2 w 28"/>
                  <a:gd name="T25" fmla="*/ 0 h 25"/>
                  <a:gd name="T26" fmla="*/ 0 w 28"/>
                  <a:gd name="T27" fmla="*/ 4 h 25"/>
                  <a:gd name="T28" fmla="*/ 2 w 28"/>
                  <a:gd name="T29" fmla="*/ 9 h 25"/>
                  <a:gd name="T30" fmla="*/ 18 w 28"/>
                  <a:gd name="T31" fmla="*/ 13 h 25"/>
                  <a:gd name="T32" fmla="*/ 5 w 28"/>
                  <a:gd name="T33" fmla="*/ 16 h 25"/>
                  <a:gd name="T34" fmla="*/ 7 w 28"/>
                  <a:gd name="T35" fmla="*/ 16 h 25"/>
                  <a:gd name="T36" fmla="*/ 3 w 28"/>
                  <a:gd name="T37" fmla="*/ 22 h 25"/>
                  <a:gd name="T38" fmla="*/ 3 w 28"/>
                  <a:gd name="T39" fmla="*/ 23 h 25"/>
                  <a:gd name="T40" fmla="*/ 9 w 28"/>
                  <a:gd name="T41" fmla="*/ 22 h 25"/>
                  <a:gd name="T42" fmla="*/ 12 w 28"/>
                  <a:gd name="T43" fmla="*/ 25 h 25"/>
                  <a:gd name="T44" fmla="*/ 14 w 28"/>
                  <a:gd name="T45" fmla="*/ 22 h 25"/>
                  <a:gd name="T46" fmla="*/ 18 w 28"/>
                  <a:gd name="T47" fmla="*/ 22 h 25"/>
                  <a:gd name="T48" fmla="*/ 21 w 28"/>
                  <a:gd name="T49" fmla="*/ 25 h 25"/>
                  <a:gd name="T50" fmla="*/ 23 w 28"/>
                  <a:gd name="T51" fmla="*/ 23 h 25"/>
                  <a:gd name="T52" fmla="*/ 23 w 28"/>
                  <a:gd name="T53" fmla="*/ 22 h 25"/>
                  <a:gd name="T54" fmla="*/ 21 w 28"/>
                  <a:gd name="T55" fmla="*/ 23 h 25"/>
                  <a:gd name="T56" fmla="*/ 18 w 28"/>
                  <a:gd name="T57" fmla="*/ 18 h 25"/>
                  <a:gd name="T58" fmla="*/ 25 w 28"/>
                  <a:gd name="T59" fmla="*/ 18 h 25"/>
                  <a:gd name="T60" fmla="*/ 28 w 28"/>
                  <a:gd name="T61" fmla="*/ 11 h 25"/>
                  <a:gd name="T62" fmla="*/ 23 w 28"/>
                  <a:gd name="T63" fmla="*/ 11 h 25"/>
                  <a:gd name="T64" fmla="*/ 23 w 28"/>
                  <a:gd name="T65"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25">
                    <a:moveTo>
                      <a:pt x="19" y="13"/>
                    </a:moveTo>
                    <a:lnTo>
                      <a:pt x="18" y="13"/>
                    </a:lnTo>
                    <a:lnTo>
                      <a:pt x="18" y="14"/>
                    </a:lnTo>
                    <a:lnTo>
                      <a:pt x="18" y="14"/>
                    </a:lnTo>
                    <a:lnTo>
                      <a:pt x="16" y="16"/>
                    </a:lnTo>
                    <a:lnTo>
                      <a:pt x="12" y="16"/>
                    </a:lnTo>
                    <a:lnTo>
                      <a:pt x="12" y="14"/>
                    </a:lnTo>
                    <a:lnTo>
                      <a:pt x="12" y="13"/>
                    </a:lnTo>
                    <a:lnTo>
                      <a:pt x="10" y="11"/>
                    </a:lnTo>
                    <a:lnTo>
                      <a:pt x="14" y="11"/>
                    </a:lnTo>
                    <a:lnTo>
                      <a:pt x="14" y="11"/>
                    </a:lnTo>
                    <a:lnTo>
                      <a:pt x="16" y="9"/>
                    </a:lnTo>
                    <a:lnTo>
                      <a:pt x="14" y="9"/>
                    </a:lnTo>
                    <a:lnTo>
                      <a:pt x="14" y="7"/>
                    </a:lnTo>
                    <a:lnTo>
                      <a:pt x="12" y="7"/>
                    </a:lnTo>
                    <a:lnTo>
                      <a:pt x="12" y="9"/>
                    </a:lnTo>
                    <a:lnTo>
                      <a:pt x="9" y="9"/>
                    </a:lnTo>
                    <a:lnTo>
                      <a:pt x="5" y="9"/>
                    </a:lnTo>
                    <a:lnTo>
                      <a:pt x="3" y="9"/>
                    </a:lnTo>
                    <a:lnTo>
                      <a:pt x="5" y="7"/>
                    </a:lnTo>
                    <a:lnTo>
                      <a:pt x="5" y="5"/>
                    </a:lnTo>
                    <a:lnTo>
                      <a:pt x="7" y="5"/>
                    </a:lnTo>
                    <a:lnTo>
                      <a:pt x="7" y="2"/>
                    </a:lnTo>
                    <a:lnTo>
                      <a:pt x="5" y="4"/>
                    </a:lnTo>
                    <a:lnTo>
                      <a:pt x="5" y="0"/>
                    </a:lnTo>
                    <a:lnTo>
                      <a:pt x="2" y="0"/>
                    </a:lnTo>
                    <a:lnTo>
                      <a:pt x="2" y="0"/>
                    </a:lnTo>
                    <a:lnTo>
                      <a:pt x="0" y="4"/>
                    </a:lnTo>
                    <a:lnTo>
                      <a:pt x="2" y="7"/>
                    </a:lnTo>
                    <a:lnTo>
                      <a:pt x="2" y="9"/>
                    </a:lnTo>
                    <a:lnTo>
                      <a:pt x="2" y="11"/>
                    </a:lnTo>
                    <a:lnTo>
                      <a:pt x="18" y="13"/>
                    </a:lnTo>
                    <a:lnTo>
                      <a:pt x="3" y="16"/>
                    </a:lnTo>
                    <a:lnTo>
                      <a:pt x="5" y="16"/>
                    </a:lnTo>
                    <a:lnTo>
                      <a:pt x="7" y="13"/>
                    </a:lnTo>
                    <a:lnTo>
                      <a:pt x="7" y="16"/>
                    </a:lnTo>
                    <a:lnTo>
                      <a:pt x="5" y="16"/>
                    </a:lnTo>
                    <a:lnTo>
                      <a:pt x="3" y="22"/>
                    </a:lnTo>
                    <a:lnTo>
                      <a:pt x="5" y="25"/>
                    </a:lnTo>
                    <a:lnTo>
                      <a:pt x="3" y="23"/>
                    </a:lnTo>
                    <a:lnTo>
                      <a:pt x="7" y="23"/>
                    </a:lnTo>
                    <a:lnTo>
                      <a:pt x="9" y="22"/>
                    </a:lnTo>
                    <a:lnTo>
                      <a:pt x="12" y="22"/>
                    </a:lnTo>
                    <a:lnTo>
                      <a:pt x="12" y="25"/>
                    </a:lnTo>
                    <a:lnTo>
                      <a:pt x="14" y="25"/>
                    </a:lnTo>
                    <a:lnTo>
                      <a:pt x="14" y="22"/>
                    </a:lnTo>
                    <a:lnTo>
                      <a:pt x="16" y="22"/>
                    </a:lnTo>
                    <a:lnTo>
                      <a:pt x="18" y="22"/>
                    </a:lnTo>
                    <a:lnTo>
                      <a:pt x="18" y="25"/>
                    </a:lnTo>
                    <a:lnTo>
                      <a:pt x="21" y="25"/>
                    </a:lnTo>
                    <a:lnTo>
                      <a:pt x="25" y="25"/>
                    </a:lnTo>
                    <a:lnTo>
                      <a:pt x="23" y="23"/>
                    </a:lnTo>
                    <a:lnTo>
                      <a:pt x="25" y="22"/>
                    </a:lnTo>
                    <a:lnTo>
                      <a:pt x="23" y="22"/>
                    </a:lnTo>
                    <a:lnTo>
                      <a:pt x="21" y="22"/>
                    </a:lnTo>
                    <a:lnTo>
                      <a:pt x="21" y="23"/>
                    </a:lnTo>
                    <a:lnTo>
                      <a:pt x="18" y="22"/>
                    </a:lnTo>
                    <a:lnTo>
                      <a:pt x="18" y="18"/>
                    </a:lnTo>
                    <a:lnTo>
                      <a:pt x="23" y="16"/>
                    </a:lnTo>
                    <a:lnTo>
                      <a:pt x="25" y="18"/>
                    </a:lnTo>
                    <a:lnTo>
                      <a:pt x="27" y="16"/>
                    </a:lnTo>
                    <a:lnTo>
                      <a:pt x="28" y="11"/>
                    </a:lnTo>
                    <a:lnTo>
                      <a:pt x="27" y="9"/>
                    </a:lnTo>
                    <a:lnTo>
                      <a:pt x="23" y="11"/>
                    </a:lnTo>
                    <a:lnTo>
                      <a:pt x="23" y="13"/>
                    </a:lnTo>
                    <a:lnTo>
                      <a:pt x="23" y="11"/>
                    </a:lnTo>
                    <a:lnTo>
                      <a:pt x="19" y="1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40" name="Freeform 2089"/>
              <p:cNvSpPr>
                <a:spLocks/>
              </p:cNvSpPr>
              <p:nvPr/>
            </p:nvSpPr>
            <p:spPr bwMode="auto">
              <a:xfrm>
                <a:off x="3798" y="3602"/>
                <a:ext cx="28" cy="25"/>
              </a:xfrm>
              <a:custGeom>
                <a:avLst/>
                <a:gdLst>
                  <a:gd name="T0" fmla="*/ 18 w 28"/>
                  <a:gd name="T1" fmla="*/ 13 h 25"/>
                  <a:gd name="T2" fmla="*/ 18 w 28"/>
                  <a:gd name="T3" fmla="*/ 14 h 25"/>
                  <a:gd name="T4" fmla="*/ 12 w 28"/>
                  <a:gd name="T5" fmla="*/ 16 h 25"/>
                  <a:gd name="T6" fmla="*/ 12 w 28"/>
                  <a:gd name="T7" fmla="*/ 13 h 25"/>
                  <a:gd name="T8" fmla="*/ 14 w 28"/>
                  <a:gd name="T9" fmla="*/ 11 h 25"/>
                  <a:gd name="T10" fmla="*/ 16 w 28"/>
                  <a:gd name="T11" fmla="*/ 9 h 25"/>
                  <a:gd name="T12" fmla="*/ 14 w 28"/>
                  <a:gd name="T13" fmla="*/ 7 h 25"/>
                  <a:gd name="T14" fmla="*/ 12 w 28"/>
                  <a:gd name="T15" fmla="*/ 9 h 25"/>
                  <a:gd name="T16" fmla="*/ 5 w 28"/>
                  <a:gd name="T17" fmla="*/ 9 h 25"/>
                  <a:gd name="T18" fmla="*/ 5 w 28"/>
                  <a:gd name="T19" fmla="*/ 7 h 25"/>
                  <a:gd name="T20" fmla="*/ 7 w 28"/>
                  <a:gd name="T21" fmla="*/ 5 h 25"/>
                  <a:gd name="T22" fmla="*/ 5 w 28"/>
                  <a:gd name="T23" fmla="*/ 4 h 25"/>
                  <a:gd name="T24" fmla="*/ 2 w 28"/>
                  <a:gd name="T25" fmla="*/ 0 h 25"/>
                  <a:gd name="T26" fmla="*/ 0 w 28"/>
                  <a:gd name="T27" fmla="*/ 4 h 25"/>
                  <a:gd name="T28" fmla="*/ 2 w 28"/>
                  <a:gd name="T29" fmla="*/ 9 h 25"/>
                  <a:gd name="T30" fmla="*/ 18 w 28"/>
                  <a:gd name="T31" fmla="*/ 13 h 25"/>
                  <a:gd name="T32" fmla="*/ 5 w 28"/>
                  <a:gd name="T33" fmla="*/ 16 h 25"/>
                  <a:gd name="T34" fmla="*/ 7 w 28"/>
                  <a:gd name="T35" fmla="*/ 16 h 25"/>
                  <a:gd name="T36" fmla="*/ 3 w 28"/>
                  <a:gd name="T37" fmla="*/ 22 h 25"/>
                  <a:gd name="T38" fmla="*/ 3 w 28"/>
                  <a:gd name="T39" fmla="*/ 23 h 25"/>
                  <a:gd name="T40" fmla="*/ 9 w 28"/>
                  <a:gd name="T41" fmla="*/ 22 h 25"/>
                  <a:gd name="T42" fmla="*/ 12 w 28"/>
                  <a:gd name="T43" fmla="*/ 25 h 25"/>
                  <a:gd name="T44" fmla="*/ 14 w 28"/>
                  <a:gd name="T45" fmla="*/ 22 h 25"/>
                  <a:gd name="T46" fmla="*/ 18 w 28"/>
                  <a:gd name="T47" fmla="*/ 22 h 25"/>
                  <a:gd name="T48" fmla="*/ 21 w 28"/>
                  <a:gd name="T49" fmla="*/ 25 h 25"/>
                  <a:gd name="T50" fmla="*/ 23 w 28"/>
                  <a:gd name="T51" fmla="*/ 23 h 25"/>
                  <a:gd name="T52" fmla="*/ 23 w 28"/>
                  <a:gd name="T53" fmla="*/ 22 h 25"/>
                  <a:gd name="T54" fmla="*/ 21 w 28"/>
                  <a:gd name="T55" fmla="*/ 23 h 25"/>
                  <a:gd name="T56" fmla="*/ 18 w 28"/>
                  <a:gd name="T57" fmla="*/ 18 h 25"/>
                  <a:gd name="T58" fmla="*/ 25 w 28"/>
                  <a:gd name="T59" fmla="*/ 18 h 25"/>
                  <a:gd name="T60" fmla="*/ 28 w 28"/>
                  <a:gd name="T61" fmla="*/ 11 h 25"/>
                  <a:gd name="T62" fmla="*/ 23 w 28"/>
                  <a:gd name="T63" fmla="*/ 11 h 25"/>
                  <a:gd name="T64" fmla="*/ 23 w 28"/>
                  <a:gd name="T65" fmla="*/ 1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25">
                    <a:moveTo>
                      <a:pt x="19" y="13"/>
                    </a:moveTo>
                    <a:lnTo>
                      <a:pt x="18" y="13"/>
                    </a:lnTo>
                    <a:lnTo>
                      <a:pt x="18" y="14"/>
                    </a:lnTo>
                    <a:lnTo>
                      <a:pt x="18" y="14"/>
                    </a:lnTo>
                    <a:lnTo>
                      <a:pt x="16" y="16"/>
                    </a:lnTo>
                    <a:lnTo>
                      <a:pt x="12" y="16"/>
                    </a:lnTo>
                    <a:lnTo>
                      <a:pt x="12" y="14"/>
                    </a:lnTo>
                    <a:lnTo>
                      <a:pt x="12" y="13"/>
                    </a:lnTo>
                    <a:lnTo>
                      <a:pt x="10" y="11"/>
                    </a:lnTo>
                    <a:lnTo>
                      <a:pt x="14" y="11"/>
                    </a:lnTo>
                    <a:lnTo>
                      <a:pt x="14" y="11"/>
                    </a:lnTo>
                    <a:lnTo>
                      <a:pt x="16" y="9"/>
                    </a:lnTo>
                    <a:lnTo>
                      <a:pt x="14" y="9"/>
                    </a:lnTo>
                    <a:lnTo>
                      <a:pt x="14" y="7"/>
                    </a:lnTo>
                    <a:lnTo>
                      <a:pt x="12" y="7"/>
                    </a:lnTo>
                    <a:lnTo>
                      <a:pt x="12" y="9"/>
                    </a:lnTo>
                    <a:lnTo>
                      <a:pt x="9" y="9"/>
                    </a:lnTo>
                    <a:lnTo>
                      <a:pt x="5" y="9"/>
                    </a:lnTo>
                    <a:lnTo>
                      <a:pt x="3" y="9"/>
                    </a:lnTo>
                    <a:lnTo>
                      <a:pt x="5" y="7"/>
                    </a:lnTo>
                    <a:lnTo>
                      <a:pt x="5" y="5"/>
                    </a:lnTo>
                    <a:lnTo>
                      <a:pt x="7" y="5"/>
                    </a:lnTo>
                    <a:lnTo>
                      <a:pt x="7" y="2"/>
                    </a:lnTo>
                    <a:lnTo>
                      <a:pt x="5" y="4"/>
                    </a:lnTo>
                    <a:lnTo>
                      <a:pt x="5" y="0"/>
                    </a:lnTo>
                    <a:lnTo>
                      <a:pt x="2" y="0"/>
                    </a:lnTo>
                    <a:lnTo>
                      <a:pt x="2" y="0"/>
                    </a:lnTo>
                    <a:lnTo>
                      <a:pt x="0" y="4"/>
                    </a:lnTo>
                    <a:lnTo>
                      <a:pt x="2" y="7"/>
                    </a:lnTo>
                    <a:lnTo>
                      <a:pt x="2" y="9"/>
                    </a:lnTo>
                    <a:lnTo>
                      <a:pt x="2" y="11"/>
                    </a:lnTo>
                    <a:lnTo>
                      <a:pt x="18" y="13"/>
                    </a:lnTo>
                    <a:lnTo>
                      <a:pt x="3" y="16"/>
                    </a:lnTo>
                    <a:lnTo>
                      <a:pt x="5" y="16"/>
                    </a:lnTo>
                    <a:lnTo>
                      <a:pt x="7" y="13"/>
                    </a:lnTo>
                    <a:lnTo>
                      <a:pt x="7" y="16"/>
                    </a:lnTo>
                    <a:lnTo>
                      <a:pt x="5" y="16"/>
                    </a:lnTo>
                    <a:lnTo>
                      <a:pt x="3" y="22"/>
                    </a:lnTo>
                    <a:lnTo>
                      <a:pt x="5" y="25"/>
                    </a:lnTo>
                    <a:lnTo>
                      <a:pt x="3" y="23"/>
                    </a:lnTo>
                    <a:lnTo>
                      <a:pt x="7" y="23"/>
                    </a:lnTo>
                    <a:lnTo>
                      <a:pt x="9" y="22"/>
                    </a:lnTo>
                    <a:lnTo>
                      <a:pt x="12" y="22"/>
                    </a:lnTo>
                    <a:lnTo>
                      <a:pt x="12" y="25"/>
                    </a:lnTo>
                    <a:lnTo>
                      <a:pt x="14" y="25"/>
                    </a:lnTo>
                    <a:lnTo>
                      <a:pt x="14" y="22"/>
                    </a:lnTo>
                    <a:lnTo>
                      <a:pt x="16" y="22"/>
                    </a:lnTo>
                    <a:lnTo>
                      <a:pt x="18" y="22"/>
                    </a:lnTo>
                    <a:lnTo>
                      <a:pt x="18" y="25"/>
                    </a:lnTo>
                    <a:lnTo>
                      <a:pt x="21" y="25"/>
                    </a:lnTo>
                    <a:lnTo>
                      <a:pt x="25" y="25"/>
                    </a:lnTo>
                    <a:lnTo>
                      <a:pt x="23" y="23"/>
                    </a:lnTo>
                    <a:lnTo>
                      <a:pt x="25" y="22"/>
                    </a:lnTo>
                    <a:lnTo>
                      <a:pt x="23" y="22"/>
                    </a:lnTo>
                    <a:lnTo>
                      <a:pt x="21" y="22"/>
                    </a:lnTo>
                    <a:lnTo>
                      <a:pt x="21" y="23"/>
                    </a:lnTo>
                    <a:lnTo>
                      <a:pt x="18" y="22"/>
                    </a:lnTo>
                    <a:lnTo>
                      <a:pt x="18" y="18"/>
                    </a:lnTo>
                    <a:lnTo>
                      <a:pt x="23" y="16"/>
                    </a:lnTo>
                    <a:lnTo>
                      <a:pt x="25" y="18"/>
                    </a:lnTo>
                    <a:lnTo>
                      <a:pt x="27" y="16"/>
                    </a:lnTo>
                    <a:lnTo>
                      <a:pt x="28" y="11"/>
                    </a:lnTo>
                    <a:lnTo>
                      <a:pt x="27" y="9"/>
                    </a:lnTo>
                    <a:lnTo>
                      <a:pt x="23" y="11"/>
                    </a:lnTo>
                    <a:lnTo>
                      <a:pt x="23" y="13"/>
                    </a:lnTo>
                    <a:lnTo>
                      <a:pt x="23" y="11"/>
                    </a:lnTo>
                    <a:lnTo>
                      <a:pt x="19" y="1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41" name="Freeform 2090"/>
              <p:cNvSpPr>
                <a:spLocks/>
              </p:cNvSpPr>
              <p:nvPr/>
            </p:nvSpPr>
            <p:spPr bwMode="auto">
              <a:xfrm>
                <a:off x="1637" y="486"/>
                <a:ext cx="9" cy="4"/>
              </a:xfrm>
              <a:custGeom>
                <a:avLst/>
                <a:gdLst>
                  <a:gd name="T0" fmla="*/ 9 w 9"/>
                  <a:gd name="T1" fmla="*/ 0 h 4"/>
                  <a:gd name="T2" fmla="*/ 0 w 9"/>
                  <a:gd name="T3" fmla="*/ 0 h 4"/>
                  <a:gd name="T4" fmla="*/ 4 w 9"/>
                  <a:gd name="T5" fmla="*/ 4 h 4"/>
                  <a:gd name="T6" fmla="*/ 9 w 9"/>
                  <a:gd name="T7" fmla="*/ 0 h 4"/>
                  <a:gd name="T8" fmla="*/ 9 w 9"/>
                  <a:gd name="T9" fmla="*/ 0 h 4"/>
                </a:gdLst>
                <a:ahLst/>
                <a:cxnLst>
                  <a:cxn ang="0">
                    <a:pos x="T0" y="T1"/>
                  </a:cxn>
                  <a:cxn ang="0">
                    <a:pos x="T2" y="T3"/>
                  </a:cxn>
                  <a:cxn ang="0">
                    <a:pos x="T4" y="T5"/>
                  </a:cxn>
                  <a:cxn ang="0">
                    <a:pos x="T6" y="T7"/>
                  </a:cxn>
                  <a:cxn ang="0">
                    <a:pos x="T8" y="T9"/>
                  </a:cxn>
                </a:cxnLst>
                <a:rect l="0" t="0" r="r" b="b"/>
                <a:pathLst>
                  <a:path w="9" h="4">
                    <a:moveTo>
                      <a:pt x="9" y="0"/>
                    </a:moveTo>
                    <a:lnTo>
                      <a:pt x="0" y="0"/>
                    </a:lnTo>
                    <a:lnTo>
                      <a:pt x="4" y="4"/>
                    </a:lnTo>
                    <a:lnTo>
                      <a:pt x="9" y="0"/>
                    </a:lnTo>
                    <a:lnTo>
                      <a:pt x="9"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42" name="Freeform 2091"/>
              <p:cNvSpPr>
                <a:spLocks/>
              </p:cNvSpPr>
              <p:nvPr/>
            </p:nvSpPr>
            <p:spPr bwMode="auto">
              <a:xfrm>
                <a:off x="4155" y="486"/>
                <a:ext cx="39" cy="32"/>
              </a:xfrm>
              <a:custGeom>
                <a:avLst/>
                <a:gdLst>
                  <a:gd name="T0" fmla="*/ 0 w 39"/>
                  <a:gd name="T1" fmla="*/ 5 h 32"/>
                  <a:gd name="T2" fmla="*/ 3 w 39"/>
                  <a:gd name="T3" fmla="*/ 7 h 32"/>
                  <a:gd name="T4" fmla="*/ 5 w 39"/>
                  <a:gd name="T5" fmla="*/ 13 h 32"/>
                  <a:gd name="T6" fmla="*/ 2 w 39"/>
                  <a:gd name="T7" fmla="*/ 14 h 32"/>
                  <a:gd name="T8" fmla="*/ 12 w 39"/>
                  <a:gd name="T9" fmla="*/ 20 h 32"/>
                  <a:gd name="T10" fmla="*/ 18 w 39"/>
                  <a:gd name="T11" fmla="*/ 23 h 32"/>
                  <a:gd name="T12" fmla="*/ 16 w 39"/>
                  <a:gd name="T13" fmla="*/ 25 h 32"/>
                  <a:gd name="T14" fmla="*/ 12 w 39"/>
                  <a:gd name="T15" fmla="*/ 25 h 32"/>
                  <a:gd name="T16" fmla="*/ 11 w 39"/>
                  <a:gd name="T17" fmla="*/ 27 h 32"/>
                  <a:gd name="T18" fmla="*/ 7 w 39"/>
                  <a:gd name="T19" fmla="*/ 23 h 32"/>
                  <a:gd name="T20" fmla="*/ 3 w 39"/>
                  <a:gd name="T21" fmla="*/ 23 h 32"/>
                  <a:gd name="T22" fmla="*/ 2 w 39"/>
                  <a:gd name="T23" fmla="*/ 25 h 32"/>
                  <a:gd name="T24" fmla="*/ 9 w 39"/>
                  <a:gd name="T25" fmla="*/ 32 h 32"/>
                  <a:gd name="T26" fmla="*/ 16 w 39"/>
                  <a:gd name="T27" fmla="*/ 29 h 32"/>
                  <a:gd name="T28" fmla="*/ 18 w 39"/>
                  <a:gd name="T29" fmla="*/ 27 h 32"/>
                  <a:gd name="T30" fmla="*/ 21 w 39"/>
                  <a:gd name="T31" fmla="*/ 29 h 32"/>
                  <a:gd name="T32" fmla="*/ 27 w 39"/>
                  <a:gd name="T33" fmla="*/ 27 h 32"/>
                  <a:gd name="T34" fmla="*/ 36 w 39"/>
                  <a:gd name="T35" fmla="*/ 16 h 32"/>
                  <a:gd name="T36" fmla="*/ 37 w 39"/>
                  <a:gd name="T37" fmla="*/ 14 h 32"/>
                  <a:gd name="T38" fmla="*/ 39 w 39"/>
                  <a:gd name="T39" fmla="*/ 11 h 32"/>
                  <a:gd name="T40" fmla="*/ 39 w 39"/>
                  <a:gd name="T41" fmla="*/ 7 h 32"/>
                  <a:gd name="T42" fmla="*/ 30 w 39"/>
                  <a:gd name="T43" fmla="*/ 2 h 32"/>
                  <a:gd name="T44" fmla="*/ 2 w 39"/>
                  <a:gd name="T45" fmla="*/ 0 h 32"/>
                  <a:gd name="T46" fmla="*/ 0 w 39"/>
                  <a:gd name="T47" fmla="*/ 4 h 32"/>
                  <a:gd name="T48" fmla="*/ 0 w 39"/>
                  <a:gd name="T49" fmla="*/ 5 h 32"/>
                  <a:gd name="T50" fmla="*/ 0 w 39"/>
                  <a:gd name="T51"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9" h="32">
                    <a:moveTo>
                      <a:pt x="0" y="5"/>
                    </a:moveTo>
                    <a:lnTo>
                      <a:pt x="3" y="7"/>
                    </a:lnTo>
                    <a:lnTo>
                      <a:pt x="5" y="13"/>
                    </a:lnTo>
                    <a:lnTo>
                      <a:pt x="2" y="14"/>
                    </a:lnTo>
                    <a:lnTo>
                      <a:pt x="12" y="20"/>
                    </a:lnTo>
                    <a:lnTo>
                      <a:pt x="18" y="23"/>
                    </a:lnTo>
                    <a:lnTo>
                      <a:pt x="16" y="25"/>
                    </a:lnTo>
                    <a:lnTo>
                      <a:pt x="12" y="25"/>
                    </a:lnTo>
                    <a:lnTo>
                      <a:pt x="11" y="27"/>
                    </a:lnTo>
                    <a:lnTo>
                      <a:pt x="7" y="23"/>
                    </a:lnTo>
                    <a:lnTo>
                      <a:pt x="3" y="23"/>
                    </a:lnTo>
                    <a:lnTo>
                      <a:pt x="2" y="25"/>
                    </a:lnTo>
                    <a:lnTo>
                      <a:pt x="9" y="32"/>
                    </a:lnTo>
                    <a:lnTo>
                      <a:pt x="16" y="29"/>
                    </a:lnTo>
                    <a:lnTo>
                      <a:pt x="18" y="27"/>
                    </a:lnTo>
                    <a:lnTo>
                      <a:pt x="21" y="29"/>
                    </a:lnTo>
                    <a:lnTo>
                      <a:pt x="27" y="27"/>
                    </a:lnTo>
                    <a:lnTo>
                      <a:pt x="36" y="16"/>
                    </a:lnTo>
                    <a:lnTo>
                      <a:pt x="37" y="14"/>
                    </a:lnTo>
                    <a:lnTo>
                      <a:pt x="39" y="11"/>
                    </a:lnTo>
                    <a:lnTo>
                      <a:pt x="39" y="7"/>
                    </a:lnTo>
                    <a:lnTo>
                      <a:pt x="30" y="2"/>
                    </a:lnTo>
                    <a:lnTo>
                      <a:pt x="2" y="0"/>
                    </a:lnTo>
                    <a:lnTo>
                      <a:pt x="0" y="4"/>
                    </a:lnTo>
                    <a:lnTo>
                      <a:pt x="0" y="5"/>
                    </a:lnTo>
                    <a:lnTo>
                      <a:pt x="0"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43" name="Freeform 2092"/>
              <p:cNvSpPr>
                <a:spLocks/>
              </p:cNvSpPr>
              <p:nvPr/>
            </p:nvSpPr>
            <p:spPr bwMode="auto">
              <a:xfrm>
                <a:off x="4182" y="486"/>
                <a:ext cx="117" cy="107"/>
              </a:xfrm>
              <a:custGeom>
                <a:avLst/>
                <a:gdLst>
                  <a:gd name="T0" fmla="*/ 23 w 117"/>
                  <a:gd name="T1" fmla="*/ 13 h 107"/>
                  <a:gd name="T2" fmla="*/ 26 w 117"/>
                  <a:gd name="T3" fmla="*/ 18 h 107"/>
                  <a:gd name="T4" fmla="*/ 16 w 117"/>
                  <a:gd name="T5" fmla="*/ 21 h 107"/>
                  <a:gd name="T6" fmla="*/ 5 w 117"/>
                  <a:gd name="T7" fmla="*/ 41 h 107"/>
                  <a:gd name="T8" fmla="*/ 3 w 117"/>
                  <a:gd name="T9" fmla="*/ 43 h 107"/>
                  <a:gd name="T10" fmla="*/ 5 w 117"/>
                  <a:gd name="T11" fmla="*/ 46 h 107"/>
                  <a:gd name="T12" fmla="*/ 9 w 117"/>
                  <a:gd name="T13" fmla="*/ 41 h 107"/>
                  <a:gd name="T14" fmla="*/ 12 w 117"/>
                  <a:gd name="T15" fmla="*/ 45 h 107"/>
                  <a:gd name="T16" fmla="*/ 14 w 117"/>
                  <a:gd name="T17" fmla="*/ 48 h 107"/>
                  <a:gd name="T18" fmla="*/ 21 w 117"/>
                  <a:gd name="T19" fmla="*/ 46 h 107"/>
                  <a:gd name="T20" fmla="*/ 25 w 117"/>
                  <a:gd name="T21" fmla="*/ 71 h 107"/>
                  <a:gd name="T22" fmla="*/ 30 w 117"/>
                  <a:gd name="T23" fmla="*/ 80 h 107"/>
                  <a:gd name="T24" fmla="*/ 35 w 117"/>
                  <a:gd name="T25" fmla="*/ 88 h 107"/>
                  <a:gd name="T26" fmla="*/ 46 w 117"/>
                  <a:gd name="T27" fmla="*/ 86 h 107"/>
                  <a:gd name="T28" fmla="*/ 51 w 117"/>
                  <a:gd name="T29" fmla="*/ 88 h 107"/>
                  <a:gd name="T30" fmla="*/ 53 w 117"/>
                  <a:gd name="T31" fmla="*/ 91 h 107"/>
                  <a:gd name="T32" fmla="*/ 67 w 117"/>
                  <a:gd name="T33" fmla="*/ 98 h 107"/>
                  <a:gd name="T34" fmla="*/ 75 w 117"/>
                  <a:gd name="T35" fmla="*/ 102 h 107"/>
                  <a:gd name="T36" fmla="*/ 94 w 117"/>
                  <a:gd name="T37" fmla="*/ 107 h 107"/>
                  <a:gd name="T38" fmla="*/ 101 w 117"/>
                  <a:gd name="T39" fmla="*/ 105 h 107"/>
                  <a:gd name="T40" fmla="*/ 105 w 117"/>
                  <a:gd name="T41" fmla="*/ 100 h 107"/>
                  <a:gd name="T42" fmla="*/ 109 w 117"/>
                  <a:gd name="T43" fmla="*/ 93 h 107"/>
                  <a:gd name="T44" fmla="*/ 109 w 117"/>
                  <a:gd name="T45" fmla="*/ 86 h 107"/>
                  <a:gd name="T46" fmla="*/ 107 w 117"/>
                  <a:gd name="T47" fmla="*/ 75 h 107"/>
                  <a:gd name="T48" fmla="*/ 98 w 117"/>
                  <a:gd name="T49" fmla="*/ 68 h 107"/>
                  <a:gd name="T50" fmla="*/ 109 w 117"/>
                  <a:gd name="T51" fmla="*/ 66 h 107"/>
                  <a:gd name="T52" fmla="*/ 109 w 117"/>
                  <a:gd name="T53" fmla="*/ 46 h 107"/>
                  <a:gd name="T54" fmla="*/ 112 w 117"/>
                  <a:gd name="T55" fmla="*/ 32 h 107"/>
                  <a:gd name="T56" fmla="*/ 116 w 117"/>
                  <a:gd name="T57" fmla="*/ 29 h 107"/>
                  <a:gd name="T58" fmla="*/ 112 w 117"/>
                  <a:gd name="T59" fmla="*/ 25 h 107"/>
                  <a:gd name="T60" fmla="*/ 112 w 117"/>
                  <a:gd name="T61" fmla="*/ 18 h 107"/>
                  <a:gd name="T62" fmla="*/ 107 w 117"/>
                  <a:gd name="T63" fmla="*/ 4 h 107"/>
                  <a:gd name="T64" fmla="*/ 103 w 117"/>
                  <a:gd name="T65" fmla="*/ 0 h 107"/>
                  <a:gd name="T66" fmla="*/ 98 w 117"/>
                  <a:gd name="T67" fmla="*/ 0 h 107"/>
                  <a:gd name="T68" fmla="*/ 89 w 117"/>
                  <a:gd name="T69" fmla="*/ 0 h 107"/>
                  <a:gd name="T70" fmla="*/ 89 w 117"/>
                  <a:gd name="T71" fmla="*/ 9 h 107"/>
                  <a:gd name="T72" fmla="*/ 78 w 117"/>
                  <a:gd name="T73" fmla="*/ 21 h 107"/>
                  <a:gd name="T74" fmla="*/ 69 w 117"/>
                  <a:gd name="T75" fmla="*/ 27 h 107"/>
                  <a:gd name="T76" fmla="*/ 75 w 117"/>
                  <a:gd name="T77" fmla="*/ 18 h 107"/>
                  <a:gd name="T78" fmla="*/ 76 w 117"/>
                  <a:gd name="T79" fmla="*/ 13 h 107"/>
                  <a:gd name="T80" fmla="*/ 84 w 117"/>
                  <a:gd name="T81" fmla="*/ 0 h 107"/>
                  <a:gd name="T82" fmla="*/ 28 w 117"/>
                  <a:gd name="T83" fmla="*/ 0 h 107"/>
                  <a:gd name="T84" fmla="*/ 23 w 117"/>
                  <a:gd name="T85" fmla="*/ 9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7" h="107">
                    <a:moveTo>
                      <a:pt x="23" y="9"/>
                    </a:moveTo>
                    <a:lnTo>
                      <a:pt x="23" y="13"/>
                    </a:lnTo>
                    <a:lnTo>
                      <a:pt x="26" y="16"/>
                    </a:lnTo>
                    <a:lnTo>
                      <a:pt x="26" y="18"/>
                    </a:lnTo>
                    <a:lnTo>
                      <a:pt x="23" y="20"/>
                    </a:lnTo>
                    <a:lnTo>
                      <a:pt x="16" y="21"/>
                    </a:lnTo>
                    <a:lnTo>
                      <a:pt x="14" y="30"/>
                    </a:lnTo>
                    <a:lnTo>
                      <a:pt x="5" y="41"/>
                    </a:lnTo>
                    <a:lnTo>
                      <a:pt x="0" y="39"/>
                    </a:lnTo>
                    <a:lnTo>
                      <a:pt x="3" y="43"/>
                    </a:lnTo>
                    <a:lnTo>
                      <a:pt x="5" y="48"/>
                    </a:lnTo>
                    <a:lnTo>
                      <a:pt x="5" y="46"/>
                    </a:lnTo>
                    <a:lnTo>
                      <a:pt x="5" y="41"/>
                    </a:lnTo>
                    <a:lnTo>
                      <a:pt x="9" y="41"/>
                    </a:lnTo>
                    <a:lnTo>
                      <a:pt x="10" y="46"/>
                    </a:lnTo>
                    <a:lnTo>
                      <a:pt x="12" y="45"/>
                    </a:lnTo>
                    <a:lnTo>
                      <a:pt x="14" y="45"/>
                    </a:lnTo>
                    <a:lnTo>
                      <a:pt x="14" y="48"/>
                    </a:lnTo>
                    <a:lnTo>
                      <a:pt x="17" y="46"/>
                    </a:lnTo>
                    <a:lnTo>
                      <a:pt x="21" y="46"/>
                    </a:lnTo>
                    <a:lnTo>
                      <a:pt x="21" y="68"/>
                    </a:lnTo>
                    <a:lnTo>
                      <a:pt x="25" y="71"/>
                    </a:lnTo>
                    <a:lnTo>
                      <a:pt x="28" y="73"/>
                    </a:lnTo>
                    <a:lnTo>
                      <a:pt x="30" y="80"/>
                    </a:lnTo>
                    <a:lnTo>
                      <a:pt x="34" y="84"/>
                    </a:lnTo>
                    <a:lnTo>
                      <a:pt x="35" y="88"/>
                    </a:lnTo>
                    <a:lnTo>
                      <a:pt x="46" y="73"/>
                    </a:lnTo>
                    <a:lnTo>
                      <a:pt x="46" y="86"/>
                    </a:lnTo>
                    <a:lnTo>
                      <a:pt x="48" y="88"/>
                    </a:lnTo>
                    <a:lnTo>
                      <a:pt x="51" y="88"/>
                    </a:lnTo>
                    <a:lnTo>
                      <a:pt x="53" y="88"/>
                    </a:lnTo>
                    <a:lnTo>
                      <a:pt x="53" y="91"/>
                    </a:lnTo>
                    <a:lnTo>
                      <a:pt x="66" y="95"/>
                    </a:lnTo>
                    <a:lnTo>
                      <a:pt x="67" y="98"/>
                    </a:lnTo>
                    <a:lnTo>
                      <a:pt x="73" y="100"/>
                    </a:lnTo>
                    <a:lnTo>
                      <a:pt x="75" y="102"/>
                    </a:lnTo>
                    <a:lnTo>
                      <a:pt x="76" y="105"/>
                    </a:lnTo>
                    <a:lnTo>
                      <a:pt x="94" y="107"/>
                    </a:lnTo>
                    <a:lnTo>
                      <a:pt x="98" y="105"/>
                    </a:lnTo>
                    <a:lnTo>
                      <a:pt x="101" y="105"/>
                    </a:lnTo>
                    <a:lnTo>
                      <a:pt x="101" y="102"/>
                    </a:lnTo>
                    <a:lnTo>
                      <a:pt x="105" y="100"/>
                    </a:lnTo>
                    <a:lnTo>
                      <a:pt x="109" y="98"/>
                    </a:lnTo>
                    <a:lnTo>
                      <a:pt x="109" y="93"/>
                    </a:lnTo>
                    <a:lnTo>
                      <a:pt x="110" y="91"/>
                    </a:lnTo>
                    <a:lnTo>
                      <a:pt x="109" y="86"/>
                    </a:lnTo>
                    <a:lnTo>
                      <a:pt x="105" y="80"/>
                    </a:lnTo>
                    <a:lnTo>
                      <a:pt x="107" y="75"/>
                    </a:lnTo>
                    <a:lnTo>
                      <a:pt x="103" y="75"/>
                    </a:lnTo>
                    <a:lnTo>
                      <a:pt x="98" y="68"/>
                    </a:lnTo>
                    <a:lnTo>
                      <a:pt x="98" y="61"/>
                    </a:lnTo>
                    <a:lnTo>
                      <a:pt x="109" y="66"/>
                    </a:lnTo>
                    <a:lnTo>
                      <a:pt x="109" y="63"/>
                    </a:lnTo>
                    <a:lnTo>
                      <a:pt x="109" y="46"/>
                    </a:lnTo>
                    <a:lnTo>
                      <a:pt x="110" y="46"/>
                    </a:lnTo>
                    <a:lnTo>
                      <a:pt x="112" y="32"/>
                    </a:lnTo>
                    <a:lnTo>
                      <a:pt x="117" y="30"/>
                    </a:lnTo>
                    <a:lnTo>
                      <a:pt x="116" y="29"/>
                    </a:lnTo>
                    <a:lnTo>
                      <a:pt x="112" y="29"/>
                    </a:lnTo>
                    <a:lnTo>
                      <a:pt x="112" y="25"/>
                    </a:lnTo>
                    <a:lnTo>
                      <a:pt x="114" y="16"/>
                    </a:lnTo>
                    <a:lnTo>
                      <a:pt x="112" y="18"/>
                    </a:lnTo>
                    <a:lnTo>
                      <a:pt x="112" y="14"/>
                    </a:lnTo>
                    <a:lnTo>
                      <a:pt x="107" y="4"/>
                    </a:lnTo>
                    <a:lnTo>
                      <a:pt x="107" y="2"/>
                    </a:lnTo>
                    <a:lnTo>
                      <a:pt x="103" y="0"/>
                    </a:lnTo>
                    <a:lnTo>
                      <a:pt x="100" y="0"/>
                    </a:lnTo>
                    <a:lnTo>
                      <a:pt x="98" y="0"/>
                    </a:lnTo>
                    <a:lnTo>
                      <a:pt x="96" y="0"/>
                    </a:lnTo>
                    <a:lnTo>
                      <a:pt x="89" y="0"/>
                    </a:lnTo>
                    <a:lnTo>
                      <a:pt x="89" y="0"/>
                    </a:lnTo>
                    <a:lnTo>
                      <a:pt x="89" y="9"/>
                    </a:lnTo>
                    <a:lnTo>
                      <a:pt x="82" y="14"/>
                    </a:lnTo>
                    <a:lnTo>
                      <a:pt x="78" y="21"/>
                    </a:lnTo>
                    <a:lnTo>
                      <a:pt x="73" y="21"/>
                    </a:lnTo>
                    <a:lnTo>
                      <a:pt x="69" y="27"/>
                    </a:lnTo>
                    <a:lnTo>
                      <a:pt x="64" y="27"/>
                    </a:lnTo>
                    <a:lnTo>
                      <a:pt x="75" y="18"/>
                    </a:lnTo>
                    <a:lnTo>
                      <a:pt x="76" y="20"/>
                    </a:lnTo>
                    <a:lnTo>
                      <a:pt x="76" y="13"/>
                    </a:lnTo>
                    <a:lnTo>
                      <a:pt x="84" y="9"/>
                    </a:lnTo>
                    <a:lnTo>
                      <a:pt x="84" y="0"/>
                    </a:lnTo>
                    <a:lnTo>
                      <a:pt x="84" y="0"/>
                    </a:lnTo>
                    <a:lnTo>
                      <a:pt x="28" y="0"/>
                    </a:lnTo>
                    <a:lnTo>
                      <a:pt x="25" y="4"/>
                    </a:lnTo>
                    <a:lnTo>
                      <a:pt x="23" y="9"/>
                    </a:lnTo>
                    <a:lnTo>
                      <a:pt x="23"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44" name="Freeform 2093"/>
              <p:cNvSpPr>
                <a:spLocks/>
              </p:cNvSpPr>
              <p:nvPr/>
            </p:nvSpPr>
            <p:spPr bwMode="auto">
              <a:xfrm>
                <a:off x="3458" y="486"/>
                <a:ext cx="6" cy="4"/>
              </a:xfrm>
              <a:custGeom>
                <a:avLst/>
                <a:gdLst>
                  <a:gd name="T0" fmla="*/ 4 w 6"/>
                  <a:gd name="T1" fmla="*/ 0 h 4"/>
                  <a:gd name="T2" fmla="*/ 6 w 6"/>
                  <a:gd name="T3" fmla="*/ 0 h 4"/>
                  <a:gd name="T4" fmla="*/ 0 w 6"/>
                  <a:gd name="T5" fmla="*/ 0 h 4"/>
                  <a:gd name="T6" fmla="*/ 0 w 6"/>
                  <a:gd name="T7" fmla="*/ 4 h 4"/>
                  <a:gd name="T8" fmla="*/ 4 w 6"/>
                  <a:gd name="T9" fmla="*/ 0 h 4"/>
                  <a:gd name="T10" fmla="*/ 4 w 6"/>
                  <a:gd name="T11" fmla="*/ 0 h 4"/>
                </a:gdLst>
                <a:ahLst/>
                <a:cxnLst>
                  <a:cxn ang="0">
                    <a:pos x="T0" y="T1"/>
                  </a:cxn>
                  <a:cxn ang="0">
                    <a:pos x="T2" y="T3"/>
                  </a:cxn>
                  <a:cxn ang="0">
                    <a:pos x="T4" y="T5"/>
                  </a:cxn>
                  <a:cxn ang="0">
                    <a:pos x="T6" y="T7"/>
                  </a:cxn>
                  <a:cxn ang="0">
                    <a:pos x="T8" y="T9"/>
                  </a:cxn>
                  <a:cxn ang="0">
                    <a:pos x="T10" y="T11"/>
                  </a:cxn>
                </a:cxnLst>
                <a:rect l="0" t="0" r="r" b="b"/>
                <a:pathLst>
                  <a:path w="6" h="4">
                    <a:moveTo>
                      <a:pt x="4" y="0"/>
                    </a:moveTo>
                    <a:lnTo>
                      <a:pt x="6" y="0"/>
                    </a:lnTo>
                    <a:lnTo>
                      <a:pt x="0" y="0"/>
                    </a:lnTo>
                    <a:lnTo>
                      <a:pt x="0" y="4"/>
                    </a:lnTo>
                    <a:lnTo>
                      <a:pt x="4" y="0"/>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45" name="Freeform 2094"/>
              <p:cNvSpPr>
                <a:spLocks/>
              </p:cNvSpPr>
              <p:nvPr/>
            </p:nvSpPr>
            <p:spPr bwMode="auto">
              <a:xfrm>
                <a:off x="3633" y="486"/>
                <a:ext cx="18" cy="13"/>
              </a:xfrm>
              <a:custGeom>
                <a:avLst/>
                <a:gdLst>
                  <a:gd name="T0" fmla="*/ 0 w 18"/>
                  <a:gd name="T1" fmla="*/ 4 h 13"/>
                  <a:gd name="T2" fmla="*/ 4 w 18"/>
                  <a:gd name="T3" fmla="*/ 5 h 13"/>
                  <a:gd name="T4" fmla="*/ 2 w 18"/>
                  <a:gd name="T5" fmla="*/ 9 h 13"/>
                  <a:gd name="T6" fmla="*/ 4 w 18"/>
                  <a:gd name="T7" fmla="*/ 11 h 13"/>
                  <a:gd name="T8" fmla="*/ 6 w 18"/>
                  <a:gd name="T9" fmla="*/ 7 h 13"/>
                  <a:gd name="T10" fmla="*/ 8 w 18"/>
                  <a:gd name="T11" fmla="*/ 9 h 13"/>
                  <a:gd name="T12" fmla="*/ 8 w 18"/>
                  <a:gd name="T13" fmla="*/ 11 h 13"/>
                  <a:gd name="T14" fmla="*/ 8 w 18"/>
                  <a:gd name="T15" fmla="*/ 13 h 13"/>
                  <a:gd name="T16" fmla="*/ 9 w 18"/>
                  <a:gd name="T17" fmla="*/ 13 h 13"/>
                  <a:gd name="T18" fmla="*/ 15 w 18"/>
                  <a:gd name="T19" fmla="*/ 11 h 13"/>
                  <a:gd name="T20" fmla="*/ 15 w 18"/>
                  <a:gd name="T21" fmla="*/ 9 h 13"/>
                  <a:gd name="T22" fmla="*/ 18 w 18"/>
                  <a:gd name="T23" fmla="*/ 9 h 13"/>
                  <a:gd name="T24" fmla="*/ 18 w 18"/>
                  <a:gd name="T25" fmla="*/ 7 h 13"/>
                  <a:gd name="T26" fmla="*/ 18 w 18"/>
                  <a:gd name="T27" fmla="*/ 5 h 13"/>
                  <a:gd name="T28" fmla="*/ 18 w 18"/>
                  <a:gd name="T29" fmla="*/ 0 h 13"/>
                  <a:gd name="T30" fmla="*/ 17 w 18"/>
                  <a:gd name="T31" fmla="*/ 0 h 13"/>
                  <a:gd name="T32" fmla="*/ 2 w 18"/>
                  <a:gd name="T33" fmla="*/ 0 h 13"/>
                  <a:gd name="T34" fmla="*/ 0 w 18"/>
                  <a:gd name="T35" fmla="*/ 0 h 13"/>
                  <a:gd name="T36" fmla="*/ 0 w 18"/>
                  <a:gd name="T37" fmla="*/ 4 h 13"/>
                  <a:gd name="T38" fmla="*/ 0 w 18"/>
                  <a:gd name="T39"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3">
                    <a:moveTo>
                      <a:pt x="0" y="4"/>
                    </a:moveTo>
                    <a:lnTo>
                      <a:pt x="4" y="5"/>
                    </a:lnTo>
                    <a:lnTo>
                      <a:pt x="2" y="9"/>
                    </a:lnTo>
                    <a:lnTo>
                      <a:pt x="4" y="11"/>
                    </a:lnTo>
                    <a:lnTo>
                      <a:pt x="6" y="7"/>
                    </a:lnTo>
                    <a:lnTo>
                      <a:pt x="8" y="9"/>
                    </a:lnTo>
                    <a:lnTo>
                      <a:pt x="8" y="11"/>
                    </a:lnTo>
                    <a:lnTo>
                      <a:pt x="8" y="13"/>
                    </a:lnTo>
                    <a:lnTo>
                      <a:pt x="9" y="13"/>
                    </a:lnTo>
                    <a:lnTo>
                      <a:pt x="15" y="11"/>
                    </a:lnTo>
                    <a:lnTo>
                      <a:pt x="15" y="9"/>
                    </a:lnTo>
                    <a:lnTo>
                      <a:pt x="18" y="9"/>
                    </a:lnTo>
                    <a:lnTo>
                      <a:pt x="18" y="7"/>
                    </a:lnTo>
                    <a:lnTo>
                      <a:pt x="18" y="5"/>
                    </a:lnTo>
                    <a:lnTo>
                      <a:pt x="18" y="0"/>
                    </a:lnTo>
                    <a:lnTo>
                      <a:pt x="17" y="0"/>
                    </a:lnTo>
                    <a:lnTo>
                      <a:pt x="2" y="0"/>
                    </a:lnTo>
                    <a:lnTo>
                      <a:pt x="0" y="0"/>
                    </a:lnTo>
                    <a:lnTo>
                      <a:pt x="0" y="4"/>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46" name="Freeform 2095"/>
              <p:cNvSpPr>
                <a:spLocks/>
              </p:cNvSpPr>
              <p:nvPr/>
            </p:nvSpPr>
            <p:spPr bwMode="auto">
              <a:xfrm>
                <a:off x="2671" y="1490"/>
                <a:ext cx="9" cy="25"/>
              </a:xfrm>
              <a:custGeom>
                <a:avLst/>
                <a:gdLst>
                  <a:gd name="T0" fmla="*/ 5 w 9"/>
                  <a:gd name="T1" fmla="*/ 0 h 25"/>
                  <a:gd name="T2" fmla="*/ 5 w 9"/>
                  <a:gd name="T3" fmla="*/ 0 h 25"/>
                  <a:gd name="T4" fmla="*/ 4 w 9"/>
                  <a:gd name="T5" fmla="*/ 1 h 25"/>
                  <a:gd name="T6" fmla="*/ 2 w 9"/>
                  <a:gd name="T7" fmla="*/ 3 h 25"/>
                  <a:gd name="T8" fmla="*/ 2 w 9"/>
                  <a:gd name="T9" fmla="*/ 5 h 25"/>
                  <a:gd name="T10" fmla="*/ 2 w 9"/>
                  <a:gd name="T11" fmla="*/ 5 h 25"/>
                  <a:gd name="T12" fmla="*/ 4 w 9"/>
                  <a:gd name="T13" fmla="*/ 9 h 25"/>
                  <a:gd name="T14" fmla="*/ 4 w 9"/>
                  <a:gd name="T15" fmla="*/ 10 h 25"/>
                  <a:gd name="T16" fmla="*/ 0 w 9"/>
                  <a:gd name="T17" fmla="*/ 12 h 25"/>
                  <a:gd name="T18" fmla="*/ 2 w 9"/>
                  <a:gd name="T19" fmla="*/ 14 h 25"/>
                  <a:gd name="T20" fmla="*/ 4 w 9"/>
                  <a:gd name="T21" fmla="*/ 16 h 25"/>
                  <a:gd name="T22" fmla="*/ 5 w 9"/>
                  <a:gd name="T23" fmla="*/ 14 h 25"/>
                  <a:gd name="T24" fmla="*/ 5 w 9"/>
                  <a:gd name="T25" fmla="*/ 16 h 25"/>
                  <a:gd name="T26" fmla="*/ 4 w 9"/>
                  <a:gd name="T27" fmla="*/ 25 h 25"/>
                  <a:gd name="T28" fmla="*/ 7 w 9"/>
                  <a:gd name="T29" fmla="*/ 19 h 25"/>
                  <a:gd name="T30" fmla="*/ 9 w 9"/>
                  <a:gd name="T31" fmla="*/ 12 h 25"/>
                  <a:gd name="T32" fmla="*/ 9 w 9"/>
                  <a:gd name="T33" fmla="*/ 10 h 25"/>
                  <a:gd name="T34" fmla="*/ 9 w 9"/>
                  <a:gd name="T35" fmla="*/ 7 h 25"/>
                  <a:gd name="T36" fmla="*/ 5 w 9"/>
                  <a:gd name="T37" fmla="*/ 5 h 25"/>
                  <a:gd name="T38" fmla="*/ 5 w 9"/>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25">
                    <a:moveTo>
                      <a:pt x="5" y="0"/>
                    </a:moveTo>
                    <a:lnTo>
                      <a:pt x="5" y="0"/>
                    </a:lnTo>
                    <a:lnTo>
                      <a:pt x="4" y="1"/>
                    </a:lnTo>
                    <a:lnTo>
                      <a:pt x="2" y="3"/>
                    </a:lnTo>
                    <a:lnTo>
                      <a:pt x="2" y="5"/>
                    </a:lnTo>
                    <a:lnTo>
                      <a:pt x="2" y="5"/>
                    </a:lnTo>
                    <a:lnTo>
                      <a:pt x="4" y="9"/>
                    </a:lnTo>
                    <a:lnTo>
                      <a:pt x="4" y="10"/>
                    </a:lnTo>
                    <a:lnTo>
                      <a:pt x="0" y="12"/>
                    </a:lnTo>
                    <a:lnTo>
                      <a:pt x="2" y="14"/>
                    </a:lnTo>
                    <a:lnTo>
                      <a:pt x="4" y="16"/>
                    </a:lnTo>
                    <a:lnTo>
                      <a:pt x="5" y="14"/>
                    </a:lnTo>
                    <a:lnTo>
                      <a:pt x="5" y="16"/>
                    </a:lnTo>
                    <a:lnTo>
                      <a:pt x="4" y="25"/>
                    </a:lnTo>
                    <a:lnTo>
                      <a:pt x="7" y="19"/>
                    </a:lnTo>
                    <a:lnTo>
                      <a:pt x="9" y="12"/>
                    </a:lnTo>
                    <a:lnTo>
                      <a:pt x="9" y="10"/>
                    </a:lnTo>
                    <a:lnTo>
                      <a:pt x="9" y="7"/>
                    </a:lnTo>
                    <a:lnTo>
                      <a:pt x="5" y="5"/>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47" name="Freeform 2096"/>
              <p:cNvSpPr>
                <a:spLocks/>
              </p:cNvSpPr>
              <p:nvPr/>
            </p:nvSpPr>
            <p:spPr bwMode="auto">
              <a:xfrm>
                <a:off x="2671" y="1490"/>
                <a:ext cx="9" cy="25"/>
              </a:xfrm>
              <a:custGeom>
                <a:avLst/>
                <a:gdLst>
                  <a:gd name="T0" fmla="*/ 5 w 9"/>
                  <a:gd name="T1" fmla="*/ 0 h 25"/>
                  <a:gd name="T2" fmla="*/ 5 w 9"/>
                  <a:gd name="T3" fmla="*/ 0 h 25"/>
                  <a:gd name="T4" fmla="*/ 4 w 9"/>
                  <a:gd name="T5" fmla="*/ 1 h 25"/>
                  <a:gd name="T6" fmla="*/ 2 w 9"/>
                  <a:gd name="T7" fmla="*/ 3 h 25"/>
                  <a:gd name="T8" fmla="*/ 2 w 9"/>
                  <a:gd name="T9" fmla="*/ 5 h 25"/>
                  <a:gd name="T10" fmla="*/ 2 w 9"/>
                  <a:gd name="T11" fmla="*/ 5 h 25"/>
                  <a:gd name="T12" fmla="*/ 4 w 9"/>
                  <a:gd name="T13" fmla="*/ 9 h 25"/>
                  <a:gd name="T14" fmla="*/ 4 w 9"/>
                  <a:gd name="T15" fmla="*/ 10 h 25"/>
                  <a:gd name="T16" fmla="*/ 0 w 9"/>
                  <a:gd name="T17" fmla="*/ 12 h 25"/>
                  <a:gd name="T18" fmla="*/ 2 w 9"/>
                  <a:gd name="T19" fmla="*/ 14 h 25"/>
                  <a:gd name="T20" fmla="*/ 4 w 9"/>
                  <a:gd name="T21" fmla="*/ 16 h 25"/>
                  <a:gd name="T22" fmla="*/ 5 w 9"/>
                  <a:gd name="T23" fmla="*/ 14 h 25"/>
                  <a:gd name="T24" fmla="*/ 5 w 9"/>
                  <a:gd name="T25" fmla="*/ 16 h 25"/>
                  <a:gd name="T26" fmla="*/ 4 w 9"/>
                  <a:gd name="T27" fmla="*/ 25 h 25"/>
                  <a:gd name="T28" fmla="*/ 7 w 9"/>
                  <a:gd name="T29" fmla="*/ 19 h 25"/>
                  <a:gd name="T30" fmla="*/ 9 w 9"/>
                  <a:gd name="T31" fmla="*/ 12 h 25"/>
                  <a:gd name="T32" fmla="*/ 9 w 9"/>
                  <a:gd name="T33" fmla="*/ 10 h 25"/>
                  <a:gd name="T34" fmla="*/ 9 w 9"/>
                  <a:gd name="T35" fmla="*/ 7 h 25"/>
                  <a:gd name="T36" fmla="*/ 5 w 9"/>
                  <a:gd name="T37" fmla="*/ 5 h 25"/>
                  <a:gd name="T38" fmla="*/ 5 w 9"/>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25">
                    <a:moveTo>
                      <a:pt x="5" y="0"/>
                    </a:moveTo>
                    <a:lnTo>
                      <a:pt x="5" y="0"/>
                    </a:lnTo>
                    <a:lnTo>
                      <a:pt x="4" y="1"/>
                    </a:lnTo>
                    <a:lnTo>
                      <a:pt x="2" y="3"/>
                    </a:lnTo>
                    <a:lnTo>
                      <a:pt x="2" y="5"/>
                    </a:lnTo>
                    <a:lnTo>
                      <a:pt x="2" y="5"/>
                    </a:lnTo>
                    <a:lnTo>
                      <a:pt x="4" y="9"/>
                    </a:lnTo>
                    <a:lnTo>
                      <a:pt x="4" y="10"/>
                    </a:lnTo>
                    <a:lnTo>
                      <a:pt x="0" y="12"/>
                    </a:lnTo>
                    <a:lnTo>
                      <a:pt x="2" y="14"/>
                    </a:lnTo>
                    <a:lnTo>
                      <a:pt x="4" y="16"/>
                    </a:lnTo>
                    <a:lnTo>
                      <a:pt x="5" y="14"/>
                    </a:lnTo>
                    <a:lnTo>
                      <a:pt x="5" y="16"/>
                    </a:lnTo>
                    <a:lnTo>
                      <a:pt x="4" y="25"/>
                    </a:lnTo>
                    <a:lnTo>
                      <a:pt x="7" y="19"/>
                    </a:lnTo>
                    <a:lnTo>
                      <a:pt x="9" y="12"/>
                    </a:lnTo>
                    <a:lnTo>
                      <a:pt x="9" y="10"/>
                    </a:lnTo>
                    <a:lnTo>
                      <a:pt x="9" y="7"/>
                    </a:lnTo>
                    <a:lnTo>
                      <a:pt x="5" y="5"/>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48" name="Freeform 2097"/>
              <p:cNvSpPr>
                <a:spLocks/>
              </p:cNvSpPr>
              <p:nvPr/>
            </p:nvSpPr>
            <p:spPr bwMode="auto">
              <a:xfrm>
                <a:off x="2585" y="1559"/>
                <a:ext cx="15" cy="22"/>
              </a:xfrm>
              <a:custGeom>
                <a:avLst/>
                <a:gdLst>
                  <a:gd name="T0" fmla="*/ 13 w 15"/>
                  <a:gd name="T1" fmla="*/ 0 h 22"/>
                  <a:gd name="T2" fmla="*/ 11 w 15"/>
                  <a:gd name="T3" fmla="*/ 0 h 22"/>
                  <a:gd name="T4" fmla="*/ 4 w 15"/>
                  <a:gd name="T5" fmla="*/ 6 h 22"/>
                  <a:gd name="T6" fmla="*/ 4 w 15"/>
                  <a:gd name="T7" fmla="*/ 7 h 22"/>
                  <a:gd name="T8" fmla="*/ 4 w 15"/>
                  <a:gd name="T9" fmla="*/ 9 h 22"/>
                  <a:gd name="T10" fmla="*/ 2 w 15"/>
                  <a:gd name="T11" fmla="*/ 9 h 22"/>
                  <a:gd name="T12" fmla="*/ 0 w 15"/>
                  <a:gd name="T13" fmla="*/ 7 h 22"/>
                  <a:gd name="T14" fmla="*/ 0 w 15"/>
                  <a:gd name="T15" fmla="*/ 11 h 22"/>
                  <a:gd name="T16" fmla="*/ 0 w 15"/>
                  <a:gd name="T17" fmla="*/ 15 h 22"/>
                  <a:gd name="T18" fmla="*/ 2 w 15"/>
                  <a:gd name="T19" fmla="*/ 16 h 22"/>
                  <a:gd name="T20" fmla="*/ 0 w 15"/>
                  <a:gd name="T21" fmla="*/ 18 h 22"/>
                  <a:gd name="T22" fmla="*/ 0 w 15"/>
                  <a:gd name="T23" fmla="*/ 20 h 22"/>
                  <a:gd name="T24" fmla="*/ 0 w 15"/>
                  <a:gd name="T25" fmla="*/ 22 h 22"/>
                  <a:gd name="T26" fmla="*/ 4 w 15"/>
                  <a:gd name="T27" fmla="*/ 20 h 22"/>
                  <a:gd name="T28" fmla="*/ 4 w 15"/>
                  <a:gd name="T29" fmla="*/ 18 h 22"/>
                  <a:gd name="T30" fmla="*/ 6 w 15"/>
                  <a:gd name="T31" fmla="*/ 18 h 22"/>
                  <a:gd name="T32" fmla="*/ 6 w 15"/>
                  <a:gd name="T33" fmla="*/ 16 h 22"/>
                  <a:gd name="T34" fmla="*/ 8 w 15"/>
                  <a:gd name="T35" fmla="*/ 16 h 22"/>
                  <a:gd name="T36" fmla="*/ 11 w 15"/>
                  <a:gd name="T37" fmla="*/ 15 h 22"/>
                  <a:gd name="T38" fmla="*/ 11 w 15"/>
                  <a:gd name="T39" fmla="*/ 13 h 22"/>
                  <a:gd name="T40" fmla="*/ 9 w 15"/>
                  <a:gd name="T41" fmla="*/ 13 h 22"/>
                  <a:gd name="T42" fmla="*/ 9 w 15"/>
                  <a:gd name="T43" fmla="*/ 11 h 22"/>
                  <a:gd name="T44" fmla="*/ 11 w 15"/>
                  <a:gd name="T45" fmla="*/ 9 h 22"/>
                  <a:gd name="T46" fmla="*/ 13 w 15"/>
                  <a:gd name="T47" fmla="*/ 9 h 22"/>
                  <a:gd name="T48" fmla="*/ 15 w 15"/>
                  <a:gd name="T49" fmla="*/ 7 h 22"/>
                  <a:gd name="T50" fmla="*/ 13 w 15"/>
                  <a:gd name="T51" fmla="*/ 7 h 22"/>
                  <a:gd name="T52" fmla="*/ 13 w 15"/>
                  <a:gd name="T53" fmla="*/ 6 h 22"/>
                  <a:gd name="T54" fmla="*/ 13 w 15"/>
                  <a:gd name="T5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 h="22">
                    <a:moveTo>
                      <a:pt x="13" y="0"/>
                    </a:moveTo>
                    <a:lnTo>
                      <a:pt x="11" y="0"/>
                    </a:lnTo>
                    <a:lnTo>
                      <a:pt x="4" y="6"/>
                    </a:lnTo>
                    <a:lnTo>
                      <a:pt x="4" y="7"/>
                    </a:lnTo>
                    <a:lnTo>
                      <a:pt x="4" y="9"/>
                    </a:lnTo>
                    <a:lnTo>
                      <a:pt x="2" y="9"/>
                    </a:lnTo>
                    <a:lnTo>
                      <a:pt x="0" y="7"/>
                    </a:lnTo>
                    <a:lnTo>
                      <a:pt x="0" y="11"/>
                    </a:lnTo>
                    <a:lnTo>
                      <a:pt x="0" y="15"/>
                    </a:lnTo>
                    <a:lnTo>
                      <a:pt x="2" y="16"/>
                    </a:lnTo>
                    <a:lnTo>
                      <a:pt x="0" y="18"/>
                    </a:lnTo>
                    <a:lnTo>
                      <a:pt x="0" y="20"/>
                    </a:lnTo>
                    <a:lnTo>
                      <a:pt x="0" y="22"/>
                    </a:lnTo>
                    <a:lnTo>
                      <a:pt x="4" y="20"/>
                    </a:lnTo>
                    <a:lnTo>
                      <a:pt x="4" y="18"/>
                    </a:lnTo>
                    <a:lnTo>
                      <a:pt x="6" y="18"/>
                    </a:lnTo>
                    <a:lnTo>
                      <a:pt x="6" y="16"/>
                    </a:lnTo>
                    <a:lnTo>
                      <a:pt x="8" y="16"/>
                    </a:lnTo>
                    <a:lnTo>
                      <a:pt x="11" y="15"/>
                    </a:lnTo>
                    <a:lnTo>
                      <a:pt x="11" y="13"/>
                    </a:lnTo>
                    <a:lnTo>
                      <a:pt x="9" y="13"/>
                    </a:lnTo>
                    <a:lnTo>
                      <a:pt x="9" y="11"/>
                    </a:lnTo>
                    <a:lnTo>
                      <a:pt x="11" y="9"/>
                    </a:lnTo>
                    <a:lnTo>
                      <a:pt x="13" y="9"/>
                    </a:lnTo>
                    <a:lnTo>
                      <a:pt x="15" y="7"/>
                    </a:lnTo>
                    <a:lnTo>
                      <a:pt x="13" y="7"/>
                    </a:lnTo>
                    <a:lnTo>
                      <a:pt x="13" y="6"/>
                    </a:lnTo>
                    <a:lnTo>
                      <a:pt x="1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49" name="Freeform 2098"/>
              <p:cNvSpPr>
                <a:spLocks/>
              </p:cNvSpPr>
              <p:nvPr/>
            </p:nvSpPr>
            <p:spPr bwMode="auto">
              <a:xfrm>
                <a:off x="2585" y="1559"/>
                <a:ext cx="15" cy="22"/>
              </a:xfrm>
              <a:custGeom>
                <a:avLst/>
                <a:gdLst>
                  <a:gd name="T0" fmla="*/ 13 w 15"/>
                  <a:gd name="T1" fmla="*/ 0 h 22"/>
                  <a:gd name="T2" fmla="*/ 11 w 15"/>
                  <a:gd name="T3" fmla="*/ 0 h 22"/>
                  <a:gd name="T4" fmla="*/ 4 w 15"/>
                  <a:gd name="T5" fmla="*/ 6 h 22"/>
                  <a:gd name="T6" fmla="*/ 4 w 15"/>
                  <a:gd name="T7" fmla="*/ 7 h 22"/>
                  <a:gd name="T8" fmla="*/ 4 w 15"/>
                  <a:gd name="T9" fmla="*/ 9 h 22"/>
                  <a:gd name="T10" fmla="*/ 2 w 15"/>
                  <a:gd name="T11" fmla="*/ 9 h 22"/>
                  <a:gd name="T12" fmla="*/ 0 w 15"/>
                  <a:gd name="T13" fmla="*/ 7 h 22"/>
                  <a:gd name="T14" fmla="*/ 0 w 15"/>
                  <a:gd name="T15" fmla="*/ 11 h 22"/>
                  <a:gd name="T16" fmla="*/ 0 w 15"/>
                  <a:gd name="T17" fmla="*/ 15 h 22"/>
                  <a:gd name="T18" fmla="*/ 2 w 15"/>
                  <a:gd name="T19" fmla="*/ 16 h 22"/>
                  <a:gd name="T20" fmla="*/ 0 w 15"/>
                  <a:gd name="T21" fmla="*/ 18 h 22"/>
                  <a:gd name="T22" fmla="*/ 0 w 15"/>
                  <a:gd name="T23" fmla="*/ 20 h 22"/>
                  <a:gd name="T24" fmla="*/ 0 w 15"/>
                  <a:gd name="T25" fmla="*/ 22 h 22"/>
                  <a:gd name="T26" fmla="*/ 4 w 15"/>
                  <a:gd name="T27" fmla="*/ 20 h 22"/>
                  <a:gd name="T28" fmla="*/ 4 w 15"/>
                  <a:gd name="T29" fmla="*/ 18 h 22"/>
                  <a:gd name="T30" fmla="*/ 6 w 15"/>
                  <a:gd name="T31" fmla="*/ 18 h 22"/>
                  <a:gd name="T32" fmla="*/ 6 w 15"/>
                  <a:gd name="T33" fmla="*/ 16 h 22"/>
                  <a:gd name="T34" fmla="*/ 8 w 15"/>
                  <a:gd name="T35" fmla="*/ 16 h 22"/>
                  <a:gd name="T36" fmla="*/ 11 w 15"/>
                  <a:gd name="T37" fmla="*/ 15 h 22"/>
                  <a:gd name="T38" fmla="*/ 11 w 15"/>
                  <a:gd name="T39" fmla="*/ 13 h 22"/>
                  <a:gd name="T40" fmla="*/ 9 w 15"/>
                  <a:gd name="T41" fmla="*/ 13 h 22"/>
                  <a:gd name="T42" fmla="*/ 9 w 15"/>
                  <a:gd name="T43" fmla="*/ 11 h 22"/>
                  <a:gd name="T44" fmla="*/ 11 w 15"/>
                  <a:gd name="T45" fmla="*/ 9 h 22"/>
                  <a:gd name="T46" fmla="*/ 13 w 15"/>
                  <a:gd name="T47" fmla="*/ 9 h 22"/>
                  <a:gd name="T48" fmla="*/ 15 w 15"/>
                  <a:gd name="T49" fmla="*/ 7 h 22"/>
                  <a:gd name="T50" fmla="*/ 13 w 15"/>
                  <a:gd name="T51" fmla="*/ 7 h 22"/>
                  <a:gd name="T52" fmla="*/ 13 w 15"/>
                  <a:gd name="T53" fmla="*/ 6 h 22"/>
                  <a:gd name="T54" fmla="*/ 13 w 15"/>
                  <a:gd name="T5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 h="22">
                    <a:moveTo>
                      <a:pt x="13" y="0"/>
                    </a:moveTo>
                    <a:lnTo>
                      <a:pt x="11" y="0"/>
                    </a:lnTo>
                    <a:lnTo>
                      <a:pt x="4" y="6"/>
                    </a:lnTo>
                    <a:lnTo>
                      <a:pt x="4" y="7"/>
                    </a:lnTo>
                    <a:lnTo>
                      <a:pt x="4" y="9"/>
                    </a:lnTo>
                    <a:lnTo>
                      <a:pt x="2" y="9"/>
                    </a:lnTo>
                    <a:lnTo>
                      <a:pt x="0" y="7"/>
                    </a:lnTo>
                    <a:lnTo>
                      <a:pt x="0" y="11"/>
                    </a:lnTo>
                    <a:lnTo>
                      <a:pt x="0" y="15"/>
                    </a:lnTo>
                    <a:lnTo>
                      <a:pt x="2" y="16"/>
                    </a:lnTo>
                    <a:lnTo>
                      <a:pt x="0" y="18"/>
                    </a:lnTo>
                    <a:lnTo>
                      <a:pt x="0" y="20"/>
                    </a:lnTo>
                    <a:lnTo>
                      <a:pt x="0" y="22"/>
                    </a:lnTo>
                    <a:lnTo>
                      <a:pt x="4" y="20"/>
                    </a:lnTo>
                    <a:lnTo>
                      <a:pt x="4" y="18"/>
                    </a:lnTo>
                    <a:lnTo>
                      <a:pt x="6" y="18"/>
                    </a:lnTo>
                    <a:lnTo>
                      <a:pt x="6" y="16"/>
                    </a:lnTo>
                    <a:lnTo>
                      <a:pt x="8" y="16"/>
                    </a:lnTo>
                    <a:lnTo>
                      <a:pt x="11" y="15"/>
                    </a:lnTo>
                    <a:lnTo>
                      <a:pt x="11" y="13"/>
                    </a:lnTo>
                    <a:lnTo>
                      <a:pt x="9" y="13"/>
                    </a:lnTo>
                    <a:lnTo>
                      <a:pt x="9" y="11"/>
                    </a:lnTo>
                    <a:lnTo>
                      <a:pt x="11" y="9"/>
                    </a:lnTo>
                    <a:lnTo>
                      <a:pt x="13" y="9"/>
                    </a:lnTo>
                    <a:lnTo>
                      <a:pt x="15" y="7"/>
                    </a:lnTo>
                    <a:lnTo>
                      <a:pt x="13" y="7"/>
                    </a:lnTo>
                    <a:lnTo>
                      <a:pt x="13" y="6"/>
                    </a:lnTo>
                    <a:lnTo>
                      <a:pt x="1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50" name="Freeform 2099"/>
              <p:cNvSpPr>
                <a:spLocks/>
              </p:cNvSpPr>
              <p:nvPr/>
            </p:nvSpPr>
            <p:spPr bwMode="auto">
              <a:xfrm>
                <a:off x="2578" y="1582"/>
                <a:ext cx="7" cy="6"/>
              </a:xfrm>
              <a:custGeom>
                <a:avLst/>
                <a:gdLst>
                  <a:gd name="T0" fmla="*/ 6 w 7"/>
                  <a:gd name="T1" fmla="*/ 2 h 6"/>
                  <a:gd name="T2" fmla="*/ 7 w 7"/>
                  <a:gd name="T3" fmla="*/ 2 h 6"/>
                  <a:gd name="T4" fmla="*/ 6 w 7"/>
                  <a:gd name="T5" fmla="*/ 0 h 6"/>
                  <a:gd name="T6" fmla="*/ 0 w 7"/>
                  <a:gd name="T7" fmla="*/ 2 h 6"/>
                  <a:gd name="T8" fmla="*/ 0 w 7"/>
                  <a:gd name="T9" fmla="*/ 4 h 6"/>
                  <a:gd name="T10" fmla="*/ 2 w 7"/>
                  <a:gd name="T11" fmla="*/ 6 h 6"/>
                  <a:gd name="T12" fmla="*/ 6 w 7"/>
                  <a:gd name="T13" fmla="*/ 6 h 6"/>
                  <a:gd name="T14" fmla="*/ 6 w 7"/>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6" y="2"/>
                    </a:moveTo>
                    <a:lnTo>
                      <a:pt x="7" y="2"/>
                    </a:lnTo>
                    <a:lnTo>
                      <a:pt x="6" y="0"/>
                    </a:lnTo>
                    <a:lnTo>
                      <a:pt x="0" y="2"/>
                    </a:lnTo>
                    <a:lnTo>
                      <a:pt x="0" y="4"/>
                    </a:lnTo>
                    <a:lnTo>
                      <a:pt x="2" y="6"/>
                    </a:lnTo>
                    <a:lnTo>
                      <a:pt x="6" y="6"/>
                    </a:lnTo>
                    <a:lnTo>
                      <a:pt x="6"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51" name="Freeform 2100"/>
              <p:cNvSpPr>
                <a:spLocks/>
              </p:cNvSpPr>
              <p:nvPr/>
            </p:nvSpPr>
            <p:spPr bwMode="auto">
              <a:xfrm>
                <a:off x="2578" y="1582"/>
                <a:ext cx="7" cy="6"/>
              </a:xfrm>
              <a:custGeom>
                <a:avLst/>
                <a:gdLst>
                  <a:gd name="T0" fmla="*/ 6 w 7"/>
                  <a:gd name="T1" fmla="*/ 2 h 6"/>
                  <a:gd name="T2" fmla="*/ 7 w 7"/>
                  <a:gd name="T3" fmla="*/ 2 h 6"/>
                  <a:gd name="T4" fmla="*/ 6 w 7"/>
                  <a:gd name="T5" fmla="*/ 0 h 6"/>
                  <a:gd name="T6" fmla="*/ 0 w 7"/>
                  <a:gd name="T7" fmla="*/ 2 h 6"/>
                  <a:gd name="T8" fmla="*/ 0 w 7"/>
                  <a:gd name="T9" fmla="*/ 4 h 6"/>
                  <a:gd name="T10" fmla="*/ 2 w 7"/>
                  <a:gd name="T11" fmla="*/ 6 h 6"/>
                  <a:gd name="T12" fmla="*/ 6 w 7"/>
                  <a:gd name="T13" fmla="*/ 6 h 6"/>
                  <a:gd name="T14" fmla="*/ 6 w 7"/>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6" y="2"/>
                    </a:moveTo>
                    <a:lnTo>
                      <a:pt x="7" y="2"/>
                    </a:lnTo>
                    <a:lnTo>
                      <a:pt x="6" y="0"/>
                    </a:lnTo>
                    <a:lnTo>
                      <a:pt x="0" y="2"/>
                    </a:lnTo>
                    <a:lnTo>
                      <a:pt x="0" y="4"/>
                    </a:lnTo>
                    <a:lnTo>
                      <a:pt x="2" y="6"/>
                    </a:lnTo>
                    <a:lnTo>
                      <a:pt x="6" y="6"/>
                    </a:lnTo>
                    <a:lnTo>
                      <a:pt x="6"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52" name="Freeform 2101"/>
              <p:cNvSpPr>
                <a:spLocks/>
              </p:cNvSpPr>
              <p:nvPr/>
            </p:nvSpPr>
            <p:spPr bwMode="auto">
              <a:xfrm>
                <a:off x="2644" y="1538"/>
                <a:ext cx="11" cy="7"/>
              </a:xfrm>
              <a:custGeom>
                <a:avLst/>
                <a:gdLst>
                  <a:gd name="T0" fmla="*/ 11 w 11"/>
                  <a:gd name="T1" fmla="*/ 5 h 7"/>
                  <a:gd name="T2" fmla="*/ 11 w 11"/>
                  <a:gd name="T3" fmla="*/ 5 h 7"/>
                  <a:gd name="T4" fmla="*/ 9 w 11"/>
                  <a:gd name="T5" fmla="*/ 5 h 7"/>
                  <a:gd name="T6" fmla="*/ 4 w 11"/>
                  <a:gd name="T7" fmla="*/ 3 h 7"/>
                  <a:gd name="T8" fmla="*/ 4 w 11"/>
                  <a:gd name="T9" fmla="*/ 2 h 7"/>
                  <a:gd name="T10" fmla="*/ 2 w 11"/>
                  <a:gd name="T11" fmla="*/ 0 h 7"/>
                  <a:gd name="T12" fmla="*/ 2 w 11"/>
                  <a:gd name="T13" fmla="*/ 0 h 7"/>
                  <a:gd name="T14" fmla="*/ 0 w 11"/>
                  <a:gd name="T15" fmla="*/ 5 h 7"/>
                  <a:gd name="T16" fmla="*/ 2 w 11"/>
                  <a:gd name="T17" fmla="*/ 5 h 7"/>
                  <a:gd name="T18" fmla="*/ 6 w 11"/>
                  <a:gd name="T19" fmla="*/ 5 h 7"/>
                  <a:gd name="T20" fmla="*/ 9 w 11"/>
                  <a:gd name="T21" fmla="*/ 7 h 7"/>
                  <a:gd name="T22" fmla="*/ 11 w 11"/>
                  <a:gd name="T2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7">
                    <a:moveTo>
                      <a:pt x="11" y="5"/>
                    </a:moveTo>
                    <a:lnTo>
                      <a:pt x="11" y="5"/>
                    </a:lnTo>
                    <a:lnTo>
                      <a:pt x="9" y="5"/>
                    </a:lnTo>
                    <a:lnTo>
                      <a:pt x="4" y="3"/>
                    </a:lnTo>
                    <a:lnTo>
                      <a:pt x="4" y="2"/>
                    </a:lnTo>
                    <a:lnTo>
                      <a:pt x="2" y="0"/>
                    </a:lnTo>
                    <a:lnTo>
                      <a:pt x="2" y="0"/>
                    </a:lnTo>
                    <a:lnTo>
                      <a:pt x="0" y="5"/>
                    </a:lnTo>
                    <a:lnTo>
                      <a:pt x="2" y="5"/>
                    </a:lnTo>
                    <a:lnTo>
                      <a:pt x="6" y="5"/>
                    </a:lnTo>
                    <a:lnTo>
                      <a:pt x="9" y="7"/>
                    </a:lnTo>
                    <a:lnTo>
                      <a:pt x="11"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53" name="Freeform 2102"/>
              <p:cNvSpPr>
                <a:spLocks/>
              </p:cNvSpPr>
              <p:nvPr/>
            </p:nvSpPr>
            <p:spPr bwMode="auto">
              <a:xfrm>
                <a:off x="2644" y="1538"/>
                <a:ext cx="11" cy="7"/>
              </a:xfrm>
              <a:custGeom>
                <a:avLst/>
                <a:gdLst>
                  <a:gd name="T0" fmla="*/ 11 w 11"/>
                  <a:gd name="T1" fmla="*/ 5 h 7"/>
                  <a:gd name="T2" fmla="*/ 11 w 11"/>
                  <a:gd name="T3" fmla="*/ 5 h 7"/>
                  <a:gd name="T4" fmla="*/ 9 w 11"/>
                  <a:gd name="T5" fmla="*/ 5 h 7"/>
                  <a:gd name="T6" fmla="*/ 4 w 11"/>
                  <a:gd name="T7" fmla="*/ 3 h 7"/>
                  <a:gd name="T8" fmla="*/ 4 w 11"/>
                  <a:gd name="T9" fmla="*/ 2 h 7"/>
                  <a:gd name="T10" fmla="*/ 2 w 11"/>
                  <a:gd name="T11" fmla="*/ 0 h 7"/>
                  <a:gd name="T12" fmla="*/ 2 w 11"/>
                  <a:gd name="T13" fmla="*/ 0 h 7"/>
                  <a:gd name="T14" fmla="*/ 0 w 11"/>
                  <a:gd name="T15" fmla="*/ 5 h 7"/>
                  <a:gd name="T16" fmla="*/ 2 w 11"/>
                  <a:gd name="T17" fmla="*/ 5 h 7"/>
                  <a:gd name="T18" fmla="*/ 6 w 11"/>
                  <a:gd name="T19" fmla="*/ 5 h 7"/>
                  <a:gd name="T20" fmla="*/ 9 w 11"/>
                  <a:gd name="T21" fmla="*/ 7 h 7"/>
                  <a:gd name="T22" fmla="*/ 11 w 11"/>
                  <a:gd name="T2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7">
                    <a:moveTo>
                      <a:pt x="11" y="5"/>
                    </a:moveTo>
                    <a:lnTo>
                      <a:pt x="11" y="5"/>
                    </a:lnTo>
                    <a:lnTo>
                      <a:pt x="9" y="5"/>
                    </a:lnTo>
                    <a:lnTo>
                      <a:pt x="4" y="3"/>
                    </a:lnTo>
                    <a:lnTo>
                      <a:pt x="4" y="2"/>
                    </a:lnTo>
                    <a:lnTo>
                      <a:pt x="2" y="0"/>
                    </a:lnTo>
                    <a:lnTo>
                      <a:pt x="2" y="0"/>
                    </a:lnTo>
                    <a:lnTo>
                      <a:pt x="0" y="5"/>
                    </a:lnTo>
                    <a:lnTo>
                      <a:pt x="2" y="5"/>
                    </a:lnTo>
                    <a:lnTo>
                      <a:pt x="6" y="5"/>
                    </a:lnTo>
                    <a:lnTo>
                      <a:pt x="9" y="7"/>
                    </a:lnTo>
                    <a:lnTo>
                      <a:pt x="11"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54" name="Freeform 2103"/>
              <p:cNvSpPr>
                <a:spLocks/>
              </p:cNvSpPr>
              <p:nvPr/>
            </p:nvSpPr>
            <p:spPr bwMode="auto">
              <a:xfrm>
                <a:off x="2644" y="1545"/>
                <a:ext cx="2" cy="4"/>
              </a:xfrm>
              <a:custGeom>
                <a:avLst/>
                <a:gdLst>
                  <a:gd name="T0" fmla="*/ 2 w 2"/>
                  <a:gd name="T1" fmla="*/ 2 h 4"/>
                  <a:gd name="T2" fmla="*/ 2 w 2"/>
                  <a:gd name="T3" fmla="*/ 2 h 4"/>
                  <a:gd name="T4" fmla="*/ 0 w 2"/>
                  <a:gd name="T5" fmla="*/ 0 h 4"/>
                  <a:gd name="T6" fmla="*/ 0 w 2"/>
                  <a:gd name="T7" fmla="*/ 0 h 4"/>
                  <a:gd name="T8" fmla="*/ 0 w 2"/>
                  <a:gd name="T9" fmla="*/ 2 h 4"/>
                  <a:gd name="T10" fmla="*/ 0 w 2"/>
                  <a:gd name="T11" fmla="*/ 4 h 4"/>
                  <a:gd name="T12" fmla="*/ 2 w 2"/>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2"/>
                    </a:moveTo>
                    <a:lnTo>
                      <a:pt x="2" y="2"/>
                    </a:lnTo>
                    <a:lnTo>
                      <a:pt x="0" y="0"/>
                    </a:lnTo>
                    <a:lnTo>
                      <a:pt x="0" y="0"/>
                    </a:lnTo>
                    <a:lnTo>
                      <a:pt x="0" y="2"/>
                    </a:lnTo>
                    <a:lnTo>
                      <a:pt x="0" y="4"/>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55" name="Freeform 2104"/>
              <p:cNvSpPr>
                <a:spLocks/>
              </p:cNvSpPr>
              <p:nvPr/>
            </p:nvSpPr>
            <p:spPr bwMode="auto">
              <a:xfrm>
                <a:off x="2644" y="1545"/>
                <a:ext cx="2" cy="4"/>
              </a:xfrm>
              <a:custGeom>
                <a:avLst/>
                <a:gdLst>
                  <a:gd name="T0" fmla="*/ 2 w 2"/>
                  <a:gd name="T1" fmla="*/ 2 h 4"/>
                  <a:gd name="T2" fmla="*/ 2 w 2"/>
                  <a:gd name="T3" fmla="*/ 2 h 4"/>
                  <a:gd name="T4" fmla="*/ 0 w 2"/>
                  <a:gd name="T5" fmla="*/ 0 h 4"/>
                  <a:gd name="T6" fmla="*/ 0 w 2"/>
                  <a:gd name="T7" fmla="*/ 0 h 4"/>
                  <a:gd name="T8" fmla="*/ 0 w 2"/>
                  <a:gd name="T9" fmla="*/ 2 h 4"/>
                  <a:gd name="T10" fmla="*/ 0 w 2"/>
                  <a:gd name="T11" fmla="*/ 4 h 4"/>
                  <a:gd name="T12" fmla="*/ 2 w 2"/>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2"/>
                    </a:moveTo>
                    <a:lnTo>
                      <a:pt x="2" y="2"/>
                    </a:lnTo>
                    <a:lnTo>
                      <a:pt x="0" y="0"/>
                    </a:lnTo>
                    <a:lnTo>
                      <a:pt x="0" y="0"/>
                    </a:lnTo>
                    <a:lnTo>
                      <a:pt x="0" y="2"/>
                    </a:lnTo>
                    <a:lnTo>
                      <a:pt x="0" y="4"/>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56" name="Freeform 2105"/>
              <p:cNvSpPr>
                <a:spLocks/>
              </p:cNvSpPr>
              <p:nvPr/>
            </p:nvSpPr>
            <p:spPr bwMode="auto">
              <a:xfrm>
                <a:off x="2600" y="1554"/>
                <a:ext cx="125" cy="237"/>
              </a:xfrm>
              <a:custGeom>
                <a:avLst/>
                <a:gdLst>
                  <a:gd name="T0" fmla="*/ 66 w 125"/>
                  <a:gd name="T1" fmla="*/ 223 h 237"/>
                  <a:gd name="T2" fmla="*/ 76 w 125"/>
                  <a:gd name="T3" fmla="*/ 218 h 237"/>
                  <a:gd name="T4" fmla="*/ 84 w 125"/>
                  <a:gd name="T5" fmla="*/ 218 h 237"/>
                  <a:gd name="T6" fmla="*/ 114 w 125"/>
                  <a:gd name="T7" fmla="*/ 212 h 237"/>
                  <a:gd name="T8" fmla="*/ 109 w 125"/>
                  <a:gd name="T9" fmla="*/ 202 h 237"/>
                  <a:gd name="T10" fmla="*/ 112 w 125"/>
                  <a:gd name="T11" fmla="*/ 195 h 237"/>
                  <a:gd name="T12" fmla="*/ 118 w 125"/>
                  <a:gd name="T13" fmla="*/ 191 h 237"/>
                  <a:gd name="T14" fmla="*/ 123 w 125"/>
                  <a:gd name="T15" fmla="*/ 184 h 237"/>
                  <a:gd name="T16" fmla="*/ 107 w 125"/>
                  <a:gd name="T17" fmla="*/ 162 h 237"/>
                  <a:gd name="T18" fmla="*/ 103 w 125"/>
                  <a:gd name="T19" fmla="*/ 157 h 237"/>
                  <a:gd name="T20" fmla="*/ 93 w 125"/>
                  <a:gd name="T21" fmla="*/ 141 h 237"/>
                  <a:gd name="T22" fmla="*/ 100 w 125"/>
                  <a:gd name="T23" fmla="*/ 139 h 237"/>
                  <a:gd name="T24" fmla="*/ 80 w 125"/>
                  <a:gd name="T25" fmla="*/ 116 h 237"/>
                  <a:gd name="T26" fmla="*/ 57 w 125"/>
                  <a:gd name="T27" fmla="*/ 77 h 237"/>
                  <a:gd name="T28" fmla="*/ 46 w 125"/>
                  <a:gd name="T29" fmla="*/ 75 h 237"/>
                  <a:gd name="T30" fmla="*/ 51 w 125"/>
                  <a:gd name="T31" fmla="*/ 66 h 237"/>
                  <a:gd name="T32" fmla="*/ 57 w 125"/>
                  <a:gd name="T33" fmla="*/ 59 h 237"/>
                  <a:gd name="T34" fmla="*/ 68 w 125"/>
                  <a:gd name="T35" fmla="*/ 28 h 237"/>
                  <a:gd name="T36" fmla="*/ 32 w 125"/>
                  <a:gd name="T37" fmla="*/ 32 h 237"/>
                  <a:gd name="T38" fmla="*/ 34 w 125"/>
                  <a:gd name="T39" fmla="*/ 28 h 237"/>
                  <a:gd name="T40" fmla="*/ 35 w 125"/>
                  <a:gd name="T41" fmla="*/ 20 h 237"/>
                  <a:gd name="T42" fmla="*/ 44 w 125"/>
                  <a:gd name="T43" fmla="*/ 0 h 237"/>
                  <a:gd name="T44" fmla="*/ 16 w 125"/>
                  <a:gd name="T45" fmla="*/ 7 h 237"/>
                  <a:gd name="T46" fmla="*/ 12 w 125"/>
                  <a:gd name="T47" fmla="*/ 20 h 237"/>
                  <a:gd name="T48" fmla="*/ 7 w 125"/>
                  <a:gd name="T49" fmla="*/ 34 h 237"/>
                  <a:gd name="T50" fmla="*/ 10 w 125"/>
                  <a:gd name="T51" fmla="*/ 37 h 237"/>
                  <a:gd name="T52" fmla="*/ 9 w 125"/>
                  <a:gd name="T53" fmla="*/ 46 h 237"/>
                  <a:gd name="T54" fmla="*/ 5 w 125"/>
                  <a:gd name="T55" fmla="*/ 52 h 237"/>
                  <a:gd name="T56" fmla="*/ 3 w 125"/>
                  <a:gd name="T57" fmla="*/ 59 h 237"/>
                  <a:gd name="T58" fmla="*/ 14 w 125"/>
                  <a:gd name="T59" fmla="*/ 62 h 237"/>
                  <a:gd name="T60" fmla="*/ 10 w 125"/>
                  <a:gd name="T61" fmla="*/ 86 h 237"/>
                  <a:gd name="T62" fmla="*/ 12 w 125"/>
                  <a:gd name="T63" fmla="*/ 84 h 237"/>
                  <a:gd name="T64" fmla="*/ 14 w 125"/>
                  <a:gd name="T65" fmla="*/ 82 h 237"/>
                  <a:gd name="T66" fmla="*/ 18 w 125"/>
                  <a:gd name="T67" fmla="*/ 80 h 237"/>
                  <a:gd name="T68" fmla="*/ 21 w 125"/>
                  <a:gd name="T69" fmla="*/ 80 h 237"/>
                  <a:gd name="T70" fmla="*/ 23 w 125"/>
                  <a:gd name="T71" fmla="*/ 93 h 237"/>
                  <a:gd name="T72" fmla="*/ 18 w 125"/>
                  <a:gd name="T73" fmla="*/ 114 h 237"/>
                  <a:gd name="T74" fmla="*/ 21 w 125"/>
                  <a:gd name="T75" fmla="*/ 111 h 237"/>
                  <a:gd name="T76" fmla="*/ 39 w 125"/>
                  <a:gd name="T77" fmla="*/ 109 h 237"/>
                  <a:gd name="T78" fmla="*/ 46 w 125"/>
                  <a:gd name="T79" fmla="*/ 109 h 237"/>
                  <a:gd name="T80" fmla="*/ 43 w 125"/>
                  <a:gd name="T81" fmla="*/ 128 h 237"/>
                  <a:gd name="T82" fmla="*/ 53 w 125"/>
                  <a:gd name="T83" fmla="*/ 127 h 237"/>
                  <a:gd name="T84" fmla="*/ 50 w 125"/>
                  <a:gd name="T85" fmla="*/ 139 h 237"/>
                  <a:gd name="T86" fmla="*/ 51 w 125"/>
                  <a:gd name="T87" fmla="*/ 150 h 237"/>
                  <a:gd name="T88" fmla="*/ 25 w 125"/>
                  <a:gd name="T89" fmla="*/ 166 h 237"/>
                  <a:gd name="T90" fmla="*/ 32 w 125"/>
                  <a:gd name="T91" fmla="*/ 178 h 237"/>
                  <a:gd name="T92" fmla="*/ 19 w 125"/>
                  <a:gd name="T93" fmla="*/ 196 h 237"/>
                  <a:gd name="T94" fmla="*/ 28 w 125"/>
                  <a:gd name="T95" fmla="*/ 196 h 237"/>
                  <a:gd name="T96" fmla="*/ 37 w 125"/>
                  <a:gd name="T97" fmla="*/ 196 h 237"/>
                  <a:gd name="T98" fmla="*/ 48 w 125"/>
                  <a:gd name="T99" fmla="*/ 198 h 237"/>
                  <a:gd name="T100" fmla="*/ 50 w 125"/>
                  <a:gd name="T101" fmla="*/ 207 h 237"/>
                  <a:gd name="T102" fmla="*/ 9 w 125"/>
                  <a:gd name="T103" fmla="*/ 234 h 237"/>
                  <a:gd name="T104" fmla="*/ 14 w 125"/>
                  <a:gd name="T105" fmla="*/ 236 h 237"/>
                  <a:gd name="T106" fmla="*/ 21 w 125"/>
                  <a:gd name="T107" fmla="*/ 232 h 237"/>
                  <a:gd name="T108" fmla="*/ 41 w 125"/>
                  <a:gd name="T109" fmla="*/ 228 h 237"/>
                  <a:gd name="T110" fmla="*/ 59 w 125"/>
                  <a:gd name="T111" fmla="*/ 22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237">
                    <a:moveTo>
                      <a:pt x="59" y="223"/>
                    </a:moveTo>
                    <a:lnTo>
                      <a:pt x="59" y="225"/>
                    </a:lnTo>
                    <a:lnTo>
                      <a:pt x="59" y="223"/>
                    </a:lnTo>
                    <a:lnTo>
                      <a:pt x="62" y="221"/>
                    </a:lnTo>
                    <a:lnTo>
                      <a:pt x="66" y="223"/>
                    </a:lnTo>
                    <a:lnTo>
                      <a:pt x="66" y="221"/>
                    </a:lnTo>
                    <a:lnTo>
                      <a:pt x="66" y="220"/>
                    </a:lnTo>
                    <a:lnTo>
                      <a:pt x="73" y="220"/>
                    </a:lnTo>
                    <a:lnTo>
                      <a:pt x="75" y="220"/>
                    </a:lnTo>
                    <a:lnTo>
                      <a:pt x="76" y="218"/>
                    </a:lnTo>
                    <a:lnTo>
                      <a:pt x="76" y="214"/>
                    </a:lnTo>
                    <a:lnTo>
                      <a:pt x="78" y="216"/>
                    </a:lnTo>
                    <a:lnTo>
                      <a:pt x="80" y="216"/>
                    </a:lnTo>
                    <a:lnTo>
                      <a:pt x="82" y="216"/>
                    </a:lnTo>
                    <a:lnTo>
                      <a:pt x="84" y="218"/>
                    </a:lnTo>
                    <a:lnTo>
                      <a:pt x="85" y="218"/>
                    </a:lnTo>
                    <a:lnTo>
                      <a:pt x="96" y="216"/>
                    </a:lnTo>
                    <a:lnTo>
                      <a:pt x="100" y="218"/>
                    </a:lnTo>
                    <a:lnTo>
                      <a:pt x="114" y="214"/>
                    </a:lnTo>
                    <a:lnTo>
                      <a:pt x="114" y="212"/>
                    </a:lnTo>
                    <a:lnTo>
                      <a:pt x="119" y="209"/>
                    </a:lnTo>
                    <a:lnTo>
                      <a:pt x="121" y="205"/>
                    </a:lnTo>
                    <a:lnTo>
                      <a:pt x="119" y="203"/>
                    </a:lnTo>
                    <a:lnTo>
                      <a:pt x="109" y="203"/>
                    </a:lnTo>
                    <a:lnTo>
                      <a:pt x="109" y="202"/>
                    </a:lnTo>
                    <a:lnTo>
                      <a:pt x="107" y="198"/>
                    </a:lnTo>
                    <a:lnTo>
                      <a:pt x="110" y="198"/>
                    </a:lnTo>
                    <a:lnTo>
                      <a:pt x="110" y="196"/>
                    </a:lnTo>
                    <a:lnTo>
                      <a:pt x="112" y="195"/>
                    </a:lnTo>
                    <a:lnTo>
                      <a:pt x="112" y="195"/>
                    </a:lnTo>
                    <a:lnTo>
                      <a:pt x="110" y="193"/>
                    </a:lnTo>
                    <a:lnTo>
                      <a:pt x="112" y="193"/>
                    </a:lnTo>
                    <a:lnTo>
                      <a:pt x="114" y="191"/>
                    </a:lnTo>
                    <a:lnTo>
                      <a:pt x="116" y="193"/>
                    </a:lnTo>
                    <a:lnTo>
                      <a:pt x="118" y="191"/>
                    </a:lnTo>
                    <a:lnTo>
                      <a:pt x="118" y="189"/>
                    </a:lnTo>
                    <a:lnTo>
                      <a:pt x="118" y="187"/>
                    </a:lnTo>
                    <a:lnTo>
                      <a:pt x="119" y="187"/>
                    </a:lnTo>
                    <a:lnTo>
                      <a:pt x="121" y="186"/>
                    </a:lnTo>
                    <a:lnTo>
                      <a:pt x="123" y="184"/>
                    </a:lnTo>
                    <a:lnTo>
                      <a:pt x="125" y="173"/>
                    </a:lnTo>
                    <a:lnTo>
                      <a:pt x="125" y="168"/>
                    </a:lnTo>
                    <a:lnTo>
                      <a:pt x="121" y="164"/>
                    </a:lnTo>
                    <a:lnTo>
                      <a:pt x="118" y="162"/>
                    </a:lnTo>
                    <a:lnTo>
                      <a:pt x="107" y="162"/>
                    </a:lnTo>
                    <a:lnTo>
                      <a:pt x="103" y="166"/>
                    </a:lnTo>
                    <a:lnTo>
                      <a:pt x="101" y="166"/>
                    </a:lnTo>
                    <a:lnTo>
                      <a:pt x="98" y="164"/>
                    </a:lnTo>
                    <a:lnTo>
                      <a:pt x="100" y="162"/>
                    </a:lnTo>
                    <a:lnTo>
                      <a:pt x="103" y="157"/>
                    </a:lnTo>
                    <a:lnTo>
                      <a:pt x="103" y="155"/>
                    </a:lnTo>
                    <a:lnTo>
                      <a:pt x="103" y="153"/>
                    </a:lnTo>
                    <a:lnTo>
                      <a:pt x="98" y="146"/>
                    </a:lnTo>
                    <a:lnTo>
                      <a:pt x="96" y="145"/>
                    </a:lnTo>
                    <a:lnTo>
                      <a:pt x="93" y="141"/>
                    </a:lnTo>
                    <a:lnTo>
                      <a:pt x="94" y="141"/>
                    </a:lnTo>
                    <a:lnTo>
                      <a:pt x="96" y="143"/>
                    </a:lnTo>
                    <a:lnTo>
                      <a:pt x="100" y="145"/>
                    </a:lnTo>
                    <a:lnTo>
                      <a:pt x="101" y="145"/>
                    </a:lnTo>
                    <a:lnTo>
                      <a:pt x="100" y="139"/>
                    </a:lnTo>
                    <a:lnTo>
                      <a:pt x="94" y="134"/>
                    </a:lnTo>
                    <a:lnTo>
                      <a:pt x="94" y="130"/>
                    </a:lnTo>
                    <a:lnTo>
                      <a:pt x="87" y="120"/>
                    </a:lnTo>
                    <a:lnTo>
                      <a:pt x="80" y="118"/>
                    </a:lnTo>
                    <a:lnTo>
                      <a:pt x="80" y="116"/>
                    </a:lnTo>
                    <a:lnTo>
                      <a:pt x="73" y="102"/>
                    </a:lnTo>
                    <a:lnTo>
                      <a:pt x="73" y="91"/>
                    </a:lnTo>
                    <a:lnTo>
                      <a:pt x="66" y="86"/>
                    </a:lnTo>
                    <a:lnTo>
                      <a:pt x="64" y="82"/>
                    </a:lnTo>
                    <a:lnTo>
                      <a:pt x="57" y="77"/>
                    </a:lnTo>
                    <a:lnTo>
                      <a:pt x="55" y="77"/>
                    </a:lnTo>
                    <a:lnTo>
                      <a:pt x="50" y="78"/>
                    </a:lnTo>
                    <a:lnTo>
                      <a:pt x="46" y="78"/>
                    </a:lnTo>
                    <a:lnTo>
                      <a:pt x="46" y="77"/>
                    </a:lnTo>
                    <a:lnTo>
                      <a:pt x="46" y="75"/>
                    </a:lnTo>
                    <a:lnTo>
                      <a:pt x="48" y="73"/>
                    </a:lnTo>
                    <a:lnTo>
                      <a:pt x="53" y="73"/>
                    </a:lnTo>
                    <a:lnTo>
                      <a:pt x="55" y="71"/>
                    </a:lnTo>
                    <a:lnTo>
                      <a:pt x="53" y="68"/>
                    </a:lnTo>
                    <a:lnTo>
                      <a:pt x="51" y="66"/>
                    </a:lnTo>
                    <a:lnTo>
                      <a:pt x="51" y="64"/>
                    </a:lnTo>
                    <a:lnTo>
                      <a:pt x="53" y="64"/>
                    </a:lnTo>
                    <a:lnTo>
                      <a:pt x="55" y="64"/>
                    </a:lnTo>
                    <a:lnTo>
                      <a:pt x="57" y="61"/>
                    </a:lnTo>
                    <a:lnTo>
                      <a:pt x="57" y="59"/>
                    </a:lnTo>
                    <a:lnTo>
                      <a:pt x="62" y="53"/>
                    </a:lnTo>
                    <a:lnTo>
                      <a:pt x="64" y="43"/>
                    </a:lnTo>
                    <a:lnTo>
                      <a:pt x="68" y="37"/>
                    </a:lnTo>
                    <a:lnTo>
                      <a:pt x="68" y="32"/>
                    </a:lnTo>
                    <a:lnTo>
                      <a:pt x="68" y="28"/>
                    </a:lnTo>
                    <a:lnTo>
                      <a:pt x="48" y="28"/>
                    </a:lnTo>
                    <a:lnTo>
                      <a:pt x="44" y="28"/>
                    </a:lnTo>
                    <a:lnTo>
                      <a:pt x="34" y="32"/>
                    </a:lnTo>
                    <a:lnTo>
                      <a:pt x="32" y="34"/>
                    </a:lnTo>
                    <a:lnTo>
                      <a:pt x="32" y="32"/>
                    </a:lnTo>
                    <a:lnTo>
                      <a:pt x="32" y="30"/>
                    </a:lnTo>
                    <a:lnTo>
                      <a:pt x="32" y="30"/>
                    </a:lnTo>
                    <a:lnTo>
                      <a:pt x="30" y="30"/>
                    </a:lnTo>
                    <a:lnTo>
                      <a:pt x="30" y="28"/>
                    </a:lnTo>
                    <a:lnTo>
                      <a:pt x="34" y="28"/>
                    </a:lnTo>
                    <a:lnTo>
                      <a:pt x="35" y="25"/>
                    </a:lnTo>
                    <a:lnTo>
                      <a:pt x="32" y="25"/>
                    </a:lnTo>
                    <a:lnTo>
                      <a:pt x="32" y="21"/>
                    </a:lnTo>
                    <a:lnTo>
                      <a:pt x="32" y="23"/>
                    </a:lnTo>
                    <a:lnTo>
                      <a:pt x="35" y="20"/>
                    </a:lnTo>
                    <a:lnTo>
                      <a:pt x="41" y="16"/>
                    </a:lnTo>
                    <a:lnTo>
                      <a:pt x="43" y="11"/>
                    </a:lnTo>
                    <a:lnTo>
                      <a:pt x="46" y="9"/>
                    </a:lnTo>
                    <a:lnTo>
                      <a:pt x="48" y="2"/>
                    </a:lnTo>
                    <a:lnTo>
                      <a:pt x="44" y="0"/>
                    </a:lnTo>
                    <a:lnTo>
                      <a:pt x="28" y="3"/>
                    </a:lnTo>
                    <a:lnTo>
                      <a:pt x="28" y="3"/>
                    </a:lnTo>
                    <a:lnTo>
                      <a:pt x="21" y="2"/>
                    </a:lnTo>
                    <a:lnTo>
                      <a:pt x="19" y="2"/>
                    </a:lnTo>
                    <a:lnTo>
                      <a:pt x="16" y="7"/>
                    </a:lnTo>
                    <a:lnTo>
                      <a:pt x="16" y="12"/>
                    </a:lnTo>
                    <a:lnTo>
                      <a:pt x="12" y="12"/>
                    </a:lnTo>
                    <a:lnTo>
                      <a:pt x="12" y="16"/>
                    </a:lnTo>
                    <a:lnTo>
                      <a:pt x="10" y="18"/>
                    </a:lnTo>
                    <a:lnTo>
                      <a:pt x="12" y="20"/>
                    </a:lnTo>
                    <a:lnTo>
                      <a:pt x="14" y="21"/>
                    </a:lnTo>
                    <a:lnTo>
                      <a:pt x="5" y="25"/>
                    </a:lnTo>
                    <a:lnTo>
                      <a:pt x="7" y="32"/>
                    </a:lnTo>
                    <a:lnTo>
                      <a:pt x="9" y="32"/>
                    </a:lnTo>
                    <a:lnTo>
                      <a:pt x="7" y="34"/>
                    </a:lnTo>
                    <a:lnTo>
                      <a:pt x="5" y="32"/>
                    </a:lnTo>
                    <a:lnTo>
                      <a:pt x="5" y="34"/>
                    </a:lnTo>
                    <a:lnTo>
                      <a:pt x="5" y="37"/>
                    </a:lnTo>
                    <a:lnTo>
                      <a:pt x="7" y="37"/>
                    </a:lnTo>
                    <a:lnTo>
                      <a:pt x="10" y="37"/>
                    </a:lnTo>
                    <a:lnTo>
                      <a:pt x="10" y="39"/>
                    </a:lnTo>
                    <a:lnTo>
                      <a:pt x="9" y="39"/>
                    </a:lnTo>
                    <a:lnTo>
                      <a:pt x="10" y="41"/>
                    </a:lnTo>
                    <a:lnTo>
                      <a:pt x="9" y="45"/>
                    </a:lnTo>
                    <a:lnTo>
                      <a:pt x="9" y="46"/>
                    </a:lnTo>
                    <a:lnTo>
                      <a:pt x="7" y="46"/>
                    </a:lnTo>
                    <a:lnTo>
                      <a:pt x="7" y="48"/>
                    </a:lnTo>
                    <a:lnTo>
                      <a:pt x="7" y="48"/>
                    </a:lnTo>
                    <a:lnTo>
                      <a:pt x="5" y="50"/>
                    </a:lnTo>
                    <a:lnTo>
                      <a:pt x="5" y="52"/>
                    </a:lnTo>
                    <a:lnTo>
                      <a:pt x="5" y="55"/>
                    </a:lnTo>
                    <a:lnTo>
                      <a:pt x="1" y="57"/>
                    </a:lnTo>
                    <a:lnTo>
                      <a:pt x="0" y="57"/>
                    </a:lnTo>
                    <a:lnTo>
                      <a:pt x="0" y="59"/>
                    </a:lnTo>
                    <a:lnTo>
                      <a:pt x="3" y="59"/>
                    </a:lnTo>
                    <a:lnTo>
                      <a:pt x="3" y="61"/>
                    </a:lnTo>
                    <a:lnTo>
                      <a:pt x="7" y="64"/>
                    </a:lnTo>
                    <a:lnTo>
                      <a:pt x="12" y="59"/>
                    </a:lnTo>
                    <a:lnTo>
                      <a:pt x="14" y="61"/>
                    </a:lnTo>
                    <a:lnTo>
                      <a:pt x="14" y="62"/>
                    </a:lnTo>
                    <a:lnTo>
                      <a:pt x="9" y="80"/>
                    </a:lnTo>
                    <a:lnTo>
                      <a:pt x="9" y="82"/>
                    </a:lnTo>
                    <a:lnTo>
                      <a:pt x="9" y="82"/>
                    </a:lnTo>
                    <a:lnTo>
                      <a:pt x="10" y="84"/>
                    </a:lnTo>
                    <a:lnTo>
                      <a:pt x="10" y="86"/>
                    </a:lnTo>
                    <a:lnTo>
                      <a:pt x="7" y="89"/>
                    </a:lnTo>
                    <a:lnTo>
                      <a:pt x="5" y="98"/>
                    </a:lnTo>
                    <a:lnTo>
                      <a:pt x="7" y="98"/>
                    </a:lnTo>
                    <a:lnTo>
                      <a:pt x="9" y="96"/>
                    </a:lnTo>
                    <a:lnTo>
                      <a:pt x="12" y="84"/>
                    </a:lnTo>
                    <a:lnTo>
                      <a:pt x="10" y="77"/>
                    </a:lnTo>
                    <a:lnTo>
                      <a:pt x="16" y="71"/>
                    </a:lnTo>
                    <a:lnTo>
                      <a:pt x="16" y="73"/>
                    </a:lnTo>
                    <a:lnTo>
                      <a:pt x="14" y="78"/>
                    </a:lnTo>
                    <a:lnTo>
                      <a:pt x="14" y="82"/>
                    </a:lnTo>
                    <a:lnTo>
                      <a:pt x="14" y="80"/>
                    </a:lnTo>
                    <a:lnTo>
                      <a:pt x="16" y="80"/>
                    </a:lnTo>
                    <a:lnTo>
                      <a:pt x="16" y="80"/>
                    </a:lnTo>
                    <a:lnTo>
                      <a:pt x="16" y="78"/>
                    </a:lnTo>
                    <a:lnTo>
                      <a:pt x="18" y="80"/>
                    </a:lnTo>
                    <a:lnTo>
                      <a:pt x="19" y="80"/>
                    </a:lnTo>
                    <a:lnTo>
                      <a:pt x="19" y="77"/>
                    </a:lnTo>
                    <a:lnTo>
                      <a:pt x="21" y="77"/>
                    </a:lnTo>
                    <a:lnTo>
                      <a:pt x="23" y="78"/>
                    </a:lnTo>
                    <a:lnTo>
                      <a:pt x="21" y="80"/>
                    </a:lnTo>
                    <a:lnTo>
                      <a:pt x="21" y="82"/>
                    </a:lnTo>
                    <a:lnTo>
                      <a:pt x="19" y="87"/>
                    </a:lnTo>
                    <a:lnTo>
                      <a:pt x="21" y="89"/>
                    </a:lnTo>
                    <a:lnTo>
                      <a:pt x="23" y="89"/>
                    </a:lnTo>
                    <a:lnTo>
                      <a:pt x="23" y="93"/>
                    </a:lnTo>
                    <a:lnTo>
                      <a:pt x="18" y="105"/>
                    </a:lnTo>
                    <a:lnTo>
                      <a:pt x="18" y="109"/>
                    </a:lnTo>
                    <a:lnTo>
                      <a:pt x="16" y="107"/>
                    </a:lnTo>
                    <a:lnTo>
                      <a:pt x="16" y="109"/>
                    </a:lnTo>
                    <a:lnTo>
                      <a:pt x="18" y="114"/>
                    </a:lnTo>
                    <a:lnTo>
                      <a:pt x="19" y="116"/>
                    </a:lnTo>
                    <a:lnTo>
                      <a:pt x="19" y="116"/>
                    </a:lnTo>
                    <a:lnTo>
                      <a:pt x="19" y="112"/>
                    </a:lnTo>
                    <a:lnTo>
                      <a:pt x="19" y="111"/>
                    </a:lnTo>
                    <a:lnTo>
                      <a:pt x="21" y="111"/>
                    </a:lnTo>
                    <a:lnTo>
                      <a:pt x="26" y="114"/>
                    </a:lnTo>
                    <a:lnTo>
                      <a:pt x="28" y="112"/>
                    </a:lnTo>
                    <a:lnTo>
                      <a:pt x="28" y="111"/>
                    </a:lnTo>
                    <a:lnTo>
                      <a:pt x="35" y="112"/>
                    </a:lnTo>
                    <a:lnTo>
                      <a:pt x="39" y="109"/>
                    </a:lnTo>
                    <a:lnTo>
                      <a:pt x="41" y="109"/>
                    </a:lnTo>
                    <a:lnTo>
                      <a:pt x="43" y="107"/>
                    </a:lnTo>
                    <a:lnTo>
                      <a:pt x="48" y="107"/>
                    </a:lnTo>
                    <a:lnTo>
                      <a:pt x="48" y="109"/>
                    </a:lnTo>
                    <a:lnTo>
                      <a:pt x="46" y="109"/>
                    </a:lnTo>
                    <a:lnTo>
                      <a:pt x="44" y="111"/>
                    </a:lnTo>
                    <a:lnTo>
                      <a:pt x="39" y="121"/>
                    </a:lnTo>
                    <a:lnTo>
                      <a:pt x="41" y="123"/>
                    </a:lnTo>
                    <a:lnTo>
                      <a:pt x="43" y="125"/>
                    </a:lnTo>
                    <a:lnTo>
                      <a:pt x="43" y="128"/>
                    </a:lnTo>
                    <a:lnTo>
                      <a:pt x="44" y="128"/>
                    </a:lnTo>
                    <a:lnTo>
                      <a:pt x="44" y="127"/>
                    </a:lnTo>
                    <a:lnTo>
                      <a:pt x="46" y="130"/>
                    </a:lnTo>
                    <a:lnTo>
                      <a:pt x="50" y="130"/>
                    </a:lnTo>
                    <a:lnTo>
                      <a:pt x="53" y="127"/>
                    </a:lnTo>
                    <a:lnTo>
                      <a:pt x="53" y="128"/>
                    </a:lnTo>
                    <a:lnTo>
                      <a:pt x="53" y="130"/>
                    </a:lnTo>
                    <a:lnTo>
                      <a:pt x="51" y="134"/>
                    </a:lnTo>
                    <a:lnTo>
                      <a:pt x="51" y="136"/>
                    </a:lnTo>
                    <a:lnTo>
                      <a:pt x="50" y="139"/>
                    </a:lnTo>
                    <a:lnTo>
                      <a:pt x="53" y="141"/>
                    </a:lnTo>
                    <a:lnTo>
                      <a:pt x="51" y="143"/>
                    </a:lnTo>
                    <a:lnTo>
                      <a:pt x="50" y="148"/>
                    </a:lnTo>
                    <a:lnTo>
                      <a:pt x="50" y="148"/>
                    </a:lnTo>
                    <a:lnTo>
                      <a:pt x="51" y="150"/>
                    </a:lnTo>
                    <a:lnTo>
                      <a:pt x="50" y="150"/>
                    </a:lnTo>
                    <a:lnTo>
                      <a:pt x="50" y="152"/>
                    </a:lnTo>
                    <a:lnTo>
                      <a:pt x="37" y="152"/>
                    </a:lnTo>
                    <a:lnTo>
                      <a:pt x="23" y="164"/>
                    </a:lnTo>
                    <a:lnTo>
                      <a:pt x="25" y="166"/>
                    </a:lnTo>
                    <a:lnTo>
                      <a:pt x="28" y="162"/>
                    </a:lnTo>
                    <a:lnTo>
                      <a:pt x="32" y="162"/>
                    </a:lnTo>
                    <a:lnTo>
                      <a:pt x="34" y="171"/>
                    </a:lnTo>
                    <a:lnTo>
                      <a:pt x="35" y="173"/>
                    </a:lnTo>
                    <a:lnTo>
                      <a:pt x="32" y="178"/>
                    </a:lnTo>
                    <a:lnTo>
                      <a:pt x="14" y="189"/>
                    </a:lnTo>
                    <a:lnTo>
                      <a:pt x="14" y="191"/>
                    </a:lnTo>
                    <a:lnTo>
                      <a:pt x="18" y="196"/>
                    </a:lnTo>
                    <a:lnTo>
                      <a:pt x="18" y="196"/>
                    </a:lnTo>
                    <a:lnTo>
                      <a:pt x="19" y="196"/>
                    </a:lnTo>
                    <a:lnTo>
                      <a:pt x="21" y="196"/>
                    </a:lnTo>
                    <a:lnTo>
                      <a:pt x="25" y="193"/>
                    </a:lnTo>
                    <a:lnTo>
                      <a:pt x="26" y="193"/>
                    </a:lnTo>
                    <a:lnTo>
                      <a:pt x="28" y="193"/>
                    </a:lnTo>
                    <a:lnTo>
                      <a:pt x="28" y="196"/>
                    </a:lnTo>
                    <a:lnTo>
                      <a:pt x="30" y="198"/>
                    </a:lnTo>
                    <a:lnTo>
                      <a:pt x="34" y="198"/>
                    </a:lnTo>
                    <a:lnTo>
                      <a:pt x="35" y="196"/>
                    </a:lnTo>
                    <a:lnTo>
                      <a:pt x="35" y="196"/>
                    </a:lnTo>
                    <a:lnTo>
                      <a:pt x="37" y="196"/>
                    </a:lnTo>
                    <a:lnTo>
                      <a:pt x="41" y="202"/>
                    </a:lnTo>
                    <a:lnTo>
                      <a:pt x="43" y="202"/>
                    </a:lnTo>
                    <a:lnTo>
                      <a:pt x="46" y="202"/>
                    </a:lnTo>
                    <a:lnTo>
                      <a:pt x="48" y="202"/>
                    </a:lnTo>
                    <a:lnTo>
                      <a:pt x="48" y="198"/>
                    </a:lnTo>
                    <a:lnTo>
                      <a:pt x="57" y="193"/>
                    </a:lnTo>
                    <a:lnTo>
                      <a:pt x="57" y="195"/>
                    </a:lnTo>
                    <a:lnTo>
                      <a:pt x="51" y="203"/>
                    </a:lnTo>
                    <a:lnTo>
                      <a:pt x="50" y="205"/>
                    </a:lnTo>
                    <a:lnTo>
                      <a:pt x="50" y="207"/>
                    </a:lnTo>
                    <a:lnTo>
                      <a:pt x="32" y="209"/>
                    </a:lnTo>
                    <a:lnTo>
                      <a:pt x="30" y="211"/>
                    </a:lnTo>
                    <a:lnTo>
                      <a:pt x="28" y="212"/>
                    </a:lnTo>
                    <a:lnTo>
                      <a:pt x="26" y="218"/>
                    </a:lnTo>
                    <a:lnTo>
                      <a:pt x="9" y="234"/>
                    </a:lnTo>
                    <a:lnTo>
                      <a:pt x="9" y="236"/>
                    </a:lnTo>
                    <a:lnTo>
                      <a:pt x="9" y="237"/>
                    </a:lnTo>
                    <a:lnTo>
                      <a:pt x="9" y="236"/>
                    </a:lnTo>
                    <a:lnTo>
                      <a:pt x="10" y="234"/>
                    </a:lnTo>
                    <a:lnTo>
                      <a:pt x="14" y="236"/>
                    </a:lnTo>
                    <a:lnTo>
                      <a:pt x="14" y="236"/>
                    </a:lnTo>
                    <a:lnTo>
                      <a:pt x="16" y="237"/>
                    </a:lnTo>
                    <a:lnTo>
                      <a:pt x="18" y="236"/>
                    </a:lnTo>
                    <a:lnTo>
                      <a:pt x="18" y="234"/>
                    </a:lnTo>
                    <a:lnTo>
                      <a:pt x="21" y="232"/>
                    </a:lnTo>
                    <a:lnTo>
                      <a:pt x="23" y="228"/>
                    </a:lnTo>
                    <a:lnTo>
                      <a:pt x="32" y="228"/>
                    </a:lnTo>
                    <a:lnTo>
                      <a:pt x="37" y="230"/>
                    </a:lnTo>
                    <a:lnTo>
                      <a:pt x="39" y="230"/>
                    </a:lnTo>
                    <a:lnTo>
                      <a:pt x="41" y="228"/>
                    </a:lnTo>
                    <a:lnTo>
                      <a:pt x="43" y="221"/>
                    </a:lnTo>
                    <a:lnTo>
                      <a:pt x="43" y="221"/>
                    </a:lnTo>
                    <a:lnTo>
                      <a:pt x="46" y="221"/>
                    </a:lnTo>
                    <a:lnTo>
                      <a:pt x="53" y="218"/>
                    </a:lnTo>
                    <a:lnTo>
                      <a:pt x="59" y="22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57" name="Freeform 2106"/>
              <p:cNvSpPr>
                <a:spLocks/>
              </p:cNvSpPr>
              <p:nvPr/>
            </p:nvSpPr>
            <p:spPr bwMode="auto">
              <a:xfrm>
                <a:off x="2600" y="1554"/>
                <a:ext cx="125" cy="237"/>
              </a:xfrm>
              <a:custGeom>
                <a:avLst/>
                <a:gdLst>
                  <a:gd name="T0" fmla="*/ 66 w 125"/>
                  <a:gd name="T1" fmla="*/ 223 h 237"/>
                  <a:gd name="T2" fmla="*/ 76 w 125"/>
                  <a:gd name="T3" fmla="*/ 218 h 237"/>
                  <a:gd name="T4" fmla="*/ 84 w 125"/>
                  <a:gd name="T5" fmla="*/ 218 h 237"/>
                  <a:gd name="T6" fmla="*/ 114 w 125"/>
                  <a:gd name="T7" fmla="*/ 212 h 237"/>
                  <a:gd name="T8" fmla="*/ 109 w 125"/>
                  <a:gd name="T9" fmla="*/ 202 h 237"/>
                  <a:gd name="T10" fmla="*/ 112 w 125"/>
                  <a:gd name="T11" fmla="*/ 195 h 237"/>
                  <a:gd name="T12" fmla="*/ 118 w 125"/>
                  <a:gd name="T13" fmla="*/ 191 h 237"/>
                  <a:gd name="T14" fmla="*/ 123 w 125"/>
                  <a:gd name="T15" fmla="*/ 184 h 237"/>
                  <a:gd name="T16" fmla="*/ 107 w 125"/>
                  <a:gd name="T17" fmla="*/ 162 h 237"/>
                  <a:gd name="T18" fmla="*/ 103 w 125"/>
                  <a:gd name="T19" fmla="*/ 157 h 237"/>
                  <a:gd name="T20" fmla="*/ 93 w 125"/>
                  <a:gd name="T21" fmla="*/ 141 h 237"/>
                  <a:gd name="T22" fmla="*/ 100 w 125"/>
                  <a:gd name="T23" fmla="*/ 139 h 237"/>
                  <a:gd name="T24" fmla="*/ 80 w 125"/>
                  <a:gd name="T25" fmla="*/ 116 h 237"/>
                  <a:gd name="T26" fmla="*/ 57 w 125"/>
                  <a:gd name="T27" fmla="*/ 77 h 237"/>
                  <a:gd name="T28" fmla="*/ 46 w 125"/>
                  <a:gd name="T29" fmla="*/ 75 h 237"/>
                  <a:gd name="T30" fmla="*/ 51 w 125"/>
                  <a:gd name="T31" fmla="*/ 66 h 237"/>
                  <a:gd name="T32" fmla="*/ 57 w 125"/>
                  <a:gd name="T33" fmla="*/ 59 h 237"/>
                  <a:gd name="T34" fmla="*/ 68 w 125"/>
                  <a:gd name="T35" fmla="*/ 28 h 237"/>
                  <a:gd name="T36" fmla="*/ 32 w 125"/>
                  <a:gd name="T37" fmla="*/ 32 h 237"/>
                  <a:gd name="T38" fmla="*/ 34 w 125"/>
                  <a:gd name="T39" fmla="*/ 28 h 237"/>
                  <a:gd name="T40" fmla="*/ 35 w 125"/>
                  <a:gd name="T41" fmla="*/ 20 h 237"/>
                  <a:gd name="T42" fmla="*/ 44 w 125"/>
                  <a:gd name="T43" fmla="*/ 0 h 237"/>
                  <a:gd name="T44" fmla="*/ 16 w 125"/>
                  <a:gd name="T45" fmla="*/ 7 h 237"/>
                  <a:gd name="T46" fmla="*/ 12 w 125"/>
                  <a:gd name="T47" fmla="*/ 20 h 237"/>
                  <a:gd name="T48" fmla="*/ 7 w 125"/>
                  <a:gd name="T49" fmla="*/ 34 h 237"/>
                  <a:gd name="T50" fmla="*/ 10 w 125"/>
                  <a:gd name="T51" fmla="*/ 37 h 237"/>
                  <a:gd name="T52" fmla="*/ 9 w 125"/>
                  <a:gd name="T53" fmla="*/ 46 h 237"/>
                  <a:gd name="T54" fmla="*/ 5 w 125"/>
                  <a:gd name="T55" fmla="*/ 52 h 237"/>
                  <a:gd name="T56" fmla="*/ 3 w 125"/>
                  <a:gd name="T57" fmla="*/ 59 h 237"/>
                  <a:gd name="T58" fmla="*/ 14 w 125"/>
                  <a:gd name="T59" fmla="*/ 62 h 237"/>
                  <a:gd name="T60" fmla="*/ 10 w 125"/>
                  <a:gd name="T61" fmla="*/ 86 h 237"/>
                  <a:gd name="T62" fmla="*/ 12 w 125"/>
                  <a:gd name="T63" fmla="*/ 84 h 237"/>
                  <a:gd name="T64" fmla="*/ 14 w 125"/>
                  <a:gd name="T65" fmla="*/ 82 h 237"/>
                  <a:gd name="T66" fmla="*/ 18 w 125"/>
                  <a:gd name="T67" fmla="*/ 80 h 237"/>
                  <a:gd name="T68" fmla="*/ 21 w 125"/>
                  <a:gd name="T69" fmla="*/ 80 h 237"/>
                  <a:gd name="T70" fmla="*/ 23 w 125"/>
                  <a:gd name="T71" fmla="*/ 93 h 237"/>
                  <a:gd name="T72" fmla="*/ 18 w 125"/>
                  <a:gd name="T73" fmla="*/ 114 h 237"/>
                  <a:gd name="T74" fmla="*/ 21 w 125"/>
                  <a:gd name="T75" fmla="*/ 111 h 237"/>
                  <a:gd name="T76" fmla="*/ 39 w 125"/>
                  <a:gd name="T77" fmla="*/ 109 h 237"/>
                  <a:gd name="T78" fmla="*/ 46 w 125"/>
                  <a:gd name="T79" fmla="*/ 109 h 237"/>
                  <a:gd name="T80" fmla="*/ 43 w 125"/>
                  <a:gd name="T81" fmla="*/ 128 h 237"/>
                  <a:gd name="T82" fmla="*/ 53 w 125"/>
                  <a:gd name="T83" fmla="*/ 127 h 237"/>
                  <a:gd name="T84" fmla="*/ 50 w 125"/>
                  <a:gd name="T85" fmla="*/ 139 h 237"/>
                  <a:gd name="T86" fmla="*/ 51 w 125"/>
                  <a:gd name="T87" fmla="*/ 150 h 237"/>
                  <a:gd name="T88" fmla="*/ 25 w 125"/>
                  <a:gd name="T89" fmla="*/ 166 h 237"/>
                  <a:gd name="T90" fmla="*/ 32 w 125"/>
                  <a:gd name="T91" fmla="*/ 178 h 237"/>
                  <a:gd name="T92" fmla="*/ 19 w 125"/>
                  <a:gd name="T93" fmla="*/ 196 h 237"/>
                  <a:gd name="T94" fmla="*/ 28 w 125"/>
                  <a:gd name="T95" fmla="*/ 196 h 237"/>
                  <a:gd name="T96" fmla="*/ 37 w 125"/>
                  <a:gd name="T97" fmla="*/ 196 h 237"/>
                  <a:gd name="T98" fmla="*/ 48 w 125"/>
                  <a:gd name="T99" fmla="*/ 198 h 237"/>
                  <a:gd name="T100" fmla="*/ 50 w 125"/>
                  <a:gd name="T101" fmla="*/ 207 h 237"/>
                  <a:gd name="T102" fmla="*/ 9 w 125"/>
                  <a:gd name="T103" fmla="*/ 234 h 237"/>
                  <a:gd name="T104" fmla="*/ 14 w 125"/>
                  <a:gd name="T105" fmla="*/ 236 h 237"/>
                  <a:gd name="T106" fmla="*/ 21 w 125"/>
                  <a:gd name="T107" fmla="*/ 232 h 237"/>
                  <a:gd name="T108" fmla="*/ 41 w 125"/>
                  <a:gd name="T109" fmla="*/ 228 h 237"/>
                  <a:gd name="T110" fmla="*/ 59 w 125"/>
                  <a:gd name="T111" fmla="*/ 223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237">
                    <a:moveTo>
                      <a:pt x="59" y="223"/>
                    </a:moveTo>
                    <a:lnTo>
                      <a:pt x="59" y="225"/>
                    </a:lnTo>
                    <a:lnTo>
                      <a:pt x="59" y="223"/>
                    </a:lnTo>
                    <a:lnTo>
                      <a:pt x="62" y="221"/>
                    </a:lnTo>
                    <a:lnTo>
                      <a:pt x="66" y="223"/>
                    </a:lnTo>
                    <a:lnTo>
                      <a:pt x="66" y="221"/>
                    </a:lnTo>
                    <a:lnTo>
                      <a:pt x="66" y="220"/>
                    </a:lnTo>
                    <a:lnTo>
                      <a:pt x="73" y="220"/>
                    </a:lnTo>
                    <a:lnTo>
                      <a:pt x="75" y="220"/>
                    </a:lnTo>
                    <a:lnTo>
                      <a:pt x="76" y="218"/>
                    </a:lnTo>
                    <a:lnTo>
                      <a:pt x="76" y="214"/>
                    </a:lnTo>
                    <a:lnTo>
                      <a:pt x="78" y="216"/>
                    </a:lnTo>
                    <a:lnTo>
                      <a:pt x="80" y="216"/>
                    </a:lnTo>
                    <a:lnTo>
                      <a:pt x="82" y="216"/>
                    </a:lnTo>
                    <a:lnTo>
                      <a:pt x="84" y="218"/>
                    </a:lnTo>
                    <a:lnTo>
                      <a:pt x="85" y="218"/>
                    </a:lnTo>
                    <a:lnTo>
                      <a:pt x="96" y="216"/>
                    </a:lnTo>
                    <a:lnTo>
                      <a:pt x="100" y="218"/>
                    </a:lnTo>
                    <a:lnTo>
                      <a:pt x="114" y="214"/>
                    </a:lnTo>
                    <a:lnTo>
                      <a:pt x="114" y="212"/>
                    </a:lnTo>
                    <a:lnTo>
                      <a:pt x="119" y="209"/>
                    </a:lnTo>
                    <a:lnTo>
                      <a:pt x="121" y="205"/>
                    </a:lnTo>
                    <a:lnTo>
                      <a:pt x="119" y="203"/>
                    </a:lnTo>
                    <a:lnTo>
                      <a:pt x="109" y="203"/>
                    </a:lnTo>
                    <a:lnTo>
                      <a:pt x="109" y="202"/>
                    </a:lnTo>
                    <a:lnTo>
                      <a:pt x="107" y="198"/>
                    </a:lnTo>
                    <a:lnTo>
                      <a:pt x="110" y="198"/>
                    </a:lnTo>
                    <a:lnTo>
                      <a:pt x="110" y="196"/>
                    </a:lnTo>
                    <a:lnTo>
                      <a:pt x="112" y="195"/>
                    </a:lnTo>
                    <a:lnTo>
                      <a:pt x="112" y="195"/>
                    </a:lnTo>
                    <a:lnTo>
                      <a:pt x="110" y="193"/>
                    </a:lnTo>
                    <a:lnTo>
                      <a:pt x="112" y="193"/>
                    </a:lnTo>
                    <a:lnTo>
                      <a:pt x="114" y="191"/>
                    </a:lnTo>
                    <a:lnTo>
                      <a:pt x="116" y="193"/>
                    </a:lnTo>
                    <a:lnTo>
                      <a:pt x="118" y="191"/>
                    </a:lnTo>
                    <a:lnTo>
                      <a:pt x="118" y="189"/>
                    </a:lnTo>
                    <a:lnTo>
                      <a:pt x="118" y="187"/>
                    </a:lnTo>
                    <a:lnTo>
                      <a:pt x="119" y="187"/>
                    </a:lnTo>
                    <a:lnTo>
                      <a:pt x="121" y="186"/>
                    </a:lnTo>
                    <a:lnTo>
                      <a:pt x="123" y="184"/>
                    </a:lnTo>
                    <a:lnTo>
                      <a:pt x="125" y="173"/>
                    </a:lnTo>
                    <a:lnTo>
                      <a:pt x="125" y="168"/>
                    </a:lnTo>
                    <a:lnTo>
                      <a:pt x="121" y="164"/>
                    </a:lnTo>
                    <a:lnTo>
                      <a:pt x="118" y="162"/>
                    </a:lnTo>
                    <a:lnTo>
                      <a:pt x="107" y="162"/>
                    </a:lnTo>
                    <a:lnTo>
                      <a:pt x="103" y="166"/>
                    </a:lnTo>
                    <a:lnTo>
                      <a:pt x="101" y="166"/>
                    </a:lnTo>
                    <a:lnTo>
                      <a:pt x="98" y="164"/>
                    </a:lnTo>
                    <a:lnTo>
                      <a:pt x="100" y="162"/>
                    </a:lnTo>
                    <a:lnTo>
                      <a:pt x="103" y="157"/>
                    </a:lnTo>
                    <a:lnTo>
                      <a:pt x="103" y="155"/>
                    </a:lnTo>
                    <a:lnTo>
                      <a:pt x="103" y="153"/>
                    </a:lnTo>
                    <a:lnTo>
                      <a:pt x="98" y="146"/>
                    </a:lnTo>
                    <a:lnTo>
                      <a:pt x="96" y="145"/>
                    </a:lnTo>
                    <a:lnTo>
                      <a:pt x="93" y="141"/>
                    </a:lnTo>
                    <a:lnTo>
                      <a:pt x="94" y="141"/>
                    </a:lnTo>
                    <a:lnTo>
                      <a:pt x="96" y="143"/>
                    </a:lnTo>
                    <a:lnTo>
                      <a:pt x="100" y="145"/>
                    </a:lnTo>
                    <a:lnTo>
                      <a:pt x="101" y="145"/>
                    </a:lnTo>
                    <a:lnTo>
                      <a:pt x="100" y="139"/>
                    </a:lnTo>
                    <a:lnTo>
                      <a:pt x="94" y="134"/>
                    </a:lnTo>
                    <a:lnTo>
                      <a:pt x="94" y="130"/>
                    </a:lnTo>
                    <a:lnTo>
                      <a:pt x="87" y="120"/>
                    </a:lnTo>
                    <a:lnTo>
                      <a:pt x="80" y="118"/>
                    </a:lnTo>
                    <a:lnTo>
                      <a:pt x="80" y="116"/>
                    </a:lnTo>
                    <a:lnTo>
                      <a:pt x="73" y="102"/>
                    </a:lnTo>
                    <a:lnTo>
                      <a:pt x="73" y="91"/>
                    </a:lnTo>
                    <a:lnTo>
                      <a:pt x="66" y="86"/>
                    </a:lnTo>
                    <a:lnTo>
                      <a:pt x="64" y="82"/>
                    </a:lnTo>
                    <a:lnTo>
                      <a:pt x="57" y="77"/>
                    </a:lnTo>
                    <a:lnTo>
                      <a:pt x="55" y="77"/>
                    </a:lnTo>
                    <a:lnTo>
                      <a:pt x="50" y="78"/>
                    </a:lnTo>
                    <a:lnTo>
                      <a:pt x="46" y="78"/>
                    </a:lnTo>
                    <a:lnTo>
                      <a:pt x="46" y="77"/>
                    </a:lnTo>
                    <a:lnTo>
                      <a:pt x="46" y="75"/>
                    </a:lnTo>
                    <a:lnTo>
                      <a:pt x="48" y="73"/>
                    </a:lnTo>
                    <a:lnTo>
                      <a:pt x="53" y="73"/>
                    </a:lnTo>
                    <a:lnTo>
                      <a:pt x="55" y="71"/>
                    </a:lnTo>
                    <a:lnTo>
                      <a:pt x="53" y="68"/>
                    </a:lnTo>
                    <a:lnTo>
                      <a:pt x="51" y="66"/>
                    </a:lnTo>
                    <a:lnTo>
                      <a:pt x="51" y="64"/>
                    </a:lnTo>
                    <a:lnTo>
                      <a:pt x="53" y="64"/>
                    </a:lnTo>
                    <a:lnTo>
                      <a:pt x="55" y="64"/>
                    </a:lnTo>
                    <a:lnTo>
                      <a:pt x="57" y="61"/>
                    </a:lnTo>
                    <a:lnTo>
                      <a:pt x="57" y="59"/>
                    </a:lnTo>
                    <a:lnTo>
                      <a:pt x="62" y="53"/>
                    </a:lnTo>
                    <a:lnTo>
                      <a:pt x="64" y="43"/>
                    </a:lnTo>
                    <a:lnTo>
                      <a:pt x="68" y="37"/>
                    </a:lnTo>
                    <a:lnTo>
                      <a:pt x="68" y="32"/>
                    </a:lnTo>
                    <a:lnTo>
                      <a:pt x="68" y="28"/>
                    </a:lnTo>
                    <a:lnTo>
                      <a:pt x="48" y="28"/>
                    </a:lnTo>
                    <a:lnTo>
                      <a:pt x="44" y="28"/>
                    </a:lnTo>
                    <a:lnTo>
                      <a:pt x="34" y="32"/>
                    </a:lnTo>
                    <a:lnTo>
                      <a:pt x="32" y="34"/>
                    </a:lnTo>
                    <a:lnTo>
                      <a:pt x="32" y="32"/>
                    </a:lnTo>
                    <a:lnTo>
                      <a:pt x="32" y="30"/>
                    </a:lnTo>
                    <a:lnTo>
                      <a:pt x="32" y="30"/>
                    </a:lnTo>
                    <a:lnTo>
                      <a:pt x="30" y="30"/>
                    </a:lnTo>
                    <a:lnTo>
                      <a:pt x="30" y="28"/>
                    </a:lnTo>
                    <a:lnTo>
                      <a:pt x="34" y="28"/>
                    </a:lnTo>
                    <a:lnTo>
                      <a:pt x="35" y="25"/>
                    </a:lnTo>
                    <a:lnTo>
                      <a:pt x="32" y="25"/>
                    </a:lnTo>
                    <a:lnTo>
                      <a:pt x="32" y="21"/>
                    </a:lnTo>
                    <a:lnTo>
                      <a:pt x="32" y="23"/>
                    </a:lnTo>
                    <a:lnTo>
                      <a:pt x="35" y="20"/>
                    </a:lnTo>
                    <a:lnTo>
                      <a:pt x="41" y="16"/>
                    </a:lnTo>
                    <a:lnTo>
                      <a:pt x="43" y="11"/>
                    </a:lnTo>
                    <a:lnTo>
                      <a:pt x="46" y="9"/>
                    </a:lnTo>
                    <a:lnTo>
                      <a:pt x="48" y="2"/>
                    </a:lnTo>
                    <a:lnTo>
                      <a:pt x="44" y="0"/>
                    </a:lnTo>
                    <a:lnTo>
                      <a:pt x="28" y="3"/>
                    </a:lnTo>
                    <a:lnTo>
                      <a:pt x="28" y="3"/>
                    </a:lnTo>
                    <a:lnTo>
                      <a:pt x="21" y="2"/>
                    </a:lnTo>
                    <a:lnTo>
                      <a:pt x="19" y="2"/>
                    </a:lnTo>
                    <a:lnTo>
                      <a:pt x="16" y="7"/>
                    </a:lnTo>
                    <a:lnTo>
                      <a:pt x="16" y="12"/>
                    </a:lnTo>
                    <a:lnTo>
                      <a:pt x="12" y="12"/>
                    </a:lnTo>
                    <a:lnTo>
                      <a:pt x="12" y="16"/>
                    </a:lnTo>
                    <a:lnTo>
                      <a:pt x="10" y="18"/>
                    </a:lnTo>
                    <a:lnTo>
                      <a:pt x="12" y="20"/>
                    </a:lnTo>
                    <a:lnTo>
                      <a:pt x="14" y="21"/>
                    </a:lnTo>
                    <a:lnTo>
                      <a:pt x="5" y="25"/>
                    </a:lnTo>
                    <a:lnTo>
                      <a:pt x="7" y="32"/>
                    </a:lnTo>
                    <a:lnTo>
                      <a:pt x="9" y="32"/>
                    </a:lnTo>
                    <a:lnTo>
                      <a:pt x="7" y="34"/>
                    </a:lnTo>
                    <a:lnTo>
                      <a:pt x="5" y="32"/>
                    </a:lnTo>
                    <a:lnTo>
                      <a:pt x="5" y="34"/>
                    </a:lnTo>
                    <a:lnTo>
                      <a:pt x="5" y="37"/>
                    </a:lnTo>
                    <a:lnTo>
                      <a:pt x="7" y="37"/>
                    </a:lnTo>
                    <a:lnTo>
                      <a:pt x="10" y="37"/>
                    </a:lnTo>
                    <a:lnTo>
                      <a:pt x="10" y="39"/>
                    </a:lnTo>
                    <a:lnTo>
                      <a:pt x="9" y="39"/>
                    </a:lnTo>
                    <a:lnTo>
                      <a:pt x="10" y="41"/>
                    </a:lnTo>
                    <a:lnTo>
                      <a:pt x="9" y="45"/>
                    </a:lnTo>
                    <a:lnTo>
                      <a:pt x="9" y="46"/>
                    </a:lnTo>
                    <a:lnTo>
                      <a:pt x="7" y="46"/>
                    </a:lnTo>
                    <a:lnTo>
                      <a:pt x="7" y="48"/>
                    </a:lnTo>
                    <a:lnTo>
                      <a:pt x="7" y="48"/>
                    </a:lnTo>
                    <a:lnTo>
                      <a:pt x="5" y="50"/>
                    </a:lnTo>
                    <a:lnTo>
                      <a:pt x="5" y="52"/>
                    </a:lnTo>
                    <a:lnTo>
                      <a:pt x="5" y="55"/>
                    </a:lnTo>
                    <a:lnTo>
                      <a:pt x="1" y="57"/>
                    </a:lnTo>
                    <a:lnTo>
                      <a:pt x="0" y="57"/>
                    </a:lnTo>
                    <a:lnTo>
                      <a:pt x="0" y="59"/>
                    </a:lnTo>
                    <a:lnTo>
                      <a:pt x="3" y="59"/>
                    </a:lnTo>
                    <a:lnTo>
                      <a:pt x="3" y="61"/>
                    </a:lnTo>
                    <a:lnTo>
                      <a:pt x="7" y="64"/>
                    </a:lnTo>
                    <a:lnTo>
                      <a:pt x="12" y="59"/>
                    </a:lnTo>
                    <a:lnTo>
                      <a:pt x="14" y="61"/>
                    </a:lnTo>
                    <a:lnTo>
                      <a:pt x="14" y="62"/>
                    </a:lnTo>
                    <a:lnTo>
                      <a:pt x="9" y="80"/>
                    </a:lnTo>
                    <a:lnTo>
                      <a:pt x="9" y="82"/>
                    </a:lnTo>
                    <a:lnTo>
                      <a:pt x="9" y="82"/>
                    </a:lnTo>
                    <a:lnTo>
                      <a:pt x="10" y="84"/>
                    </a:lnTo>
                    <a:lnTo>
                      <a:pt x="10" y="86"/>
                    </a:lnTo>
                    <a:lnTo>
                      <a:pt x="7" y="89"/>
                    </a:lnTo>
                    <a:lnTo>
                      <a:pt x="5" y="98"/>
                    </a:lnTo>
                    <a:lnTo>
                      <a:pt x="7" y="98"/>
                    </a:lnTo>
                    <a:lnTo>
                      <a:pt x="9" y="96"/>
                    </a:lnTo>
                    <a:lnTo>
                      <a:pt x="12" y="84"/>
                    </a:lnTo>
                    <a:lnTo>
                      <a:pt x="10" y="77"/>
                    </a:lnTo>
                    <a:lnTo>
                      <a:pt x="16" y="71"/>
                    </a:lnTo>
                    <a:lnTo>
                      <a:pt x="16" y="73"/>
                    </a:lnTo>
                    <a:lnTo>
                      <a:pt x="14" y="78"/>
                    </a:lnTo>
                    <a:lnTo>
                      <a:pt x="14" y="82"/>
                    </a:lnTo>
                    <a:lnTo>
                      <a:pt x="14" y="80"/>
                    </a:lnTo>
                    <a:lnTo>
                      <a:pt x="16" y="80"/>
                    </a:lnTo>
                    <a:lnTo>
                      <a:pt x="16" y="80"/>
                    </a:lnTo>
                    <a:lnTo>
                      <a:pt x="16" y="78"/>
                    </a:lnTo>
                    <a:lnTo>
                      <a:pt x="18" y="80"/>
                    </a:lnTo>
                    <a:lnTo>
                      <a:pt x="19" y="80"/>
                    </a:lnTo>
                    <a:lnTo>
                      <a:pt x="19" y="77"/>
                    </a:lnTo>
                    <a:lnTo>
                      <a:pt x="21" y="77"/>
                    </a:lnTo>
                    <a:lnTo>
                      <a:pt x="23" y="78"/>
                    </a:lnTo>
                    <a:lnTo>
                      <a:pt x="21" y="80"/>
                    </a:lnTo>
                    <a:lnTo>
                      <a:pt x="21" y="82"/>
                    </a:lnTo>
                    <a:lnTo>
                      <a:pt x="19" y="87"/>
                    </a:lnTo>
                    <a:lnTo>
                      <a:pt x="21" y="89"/>
                    </a:lnTo>
                    <a:lnTo>
                      <a:pt x="23" y="89"/>
                    </a:lnTo>
                    <a:lnTo>
                      <a:pt x="23" y="93"/>
                    </a:lnTo>
                    <a:lnTo>
                      <a:pt x="18" y="105"/>
                    </a:lnTo>
                    <a:lnTo>
                      <a:pt x="18" y="109"/>
                    </a:lnTo>
                    <a:lnTo>
                      <a:pt x="16" y="107"/>
                    </a:lnTo>
                    <a:lnTo>
                      <a:pt x="16" y="109"/>
                    </a:lnTo>
                    <a:lnTo>
                      <a:pt x="18" y="114"/>
                    </a:lnTo>
                    <a:lnTo>
                      <a:pt x="19" y="116"/>
                    </a:lnTo>
                    <a:lnTo>
                      <a:pt x="19" y="116"/>
                    </a:lnTo>
                    <a:lnTo>
                      <a:pt x="19" y="112"/>
                    </a:lnTo>
                    <a:lnTo>
                      <a:pt x="19" y="111"/>
                    </a:lnTo>
                    <a:lnTo>
                      <a:pt x="21" y="111"/>
                    </a:lnTo>
                    <a:lnTo>
                      <a:pt x="26" y="114"/>
                    </a:lnTo>
                    <a:lnTo>
                      <a:pt x="28" y="112"/>
                    </a:lnTo>
                    <a:lnTo>
                      <a:pt x="28" y="111"/>
                    </a:lnTo>
                    <a:lnTo>
                      <a:pt x="35" y="112"/>
                    </a:lnTo>
                    <a:lnTo>
                      <a:pt x="39" y="109"/>
                    </a:lnTo>
                    <a:lnTo>
                      <a:pt x="41" y="109"/>
                    </a:lnTo>
                    <a:lnTo>
                      <a:pt x="43" y="107"/>
                    </a:lnTo>
                    <a:lnTo>
                      <a:pt x="48" y="107"/>
                    </a:lnTo>
                    <a:lnTo>
                      <a:pt x="48" y="109"/>
                    </a:lnTo>
                    <a:lnTo>
                      <a:pt x="46" y="109"/>
                    </a:lnTo>
                    <a:lnTo>
                      <a:pt x="44" y="111"/>
                    </a:lnTo>
                    <a:lnTo>
                      <a:pt x="39" y="121"/>
                    </a:lnTo>
                    <a:lnTo>
                      <a:pt x="41" y="123"/>
                    </a:lnTo>
                    <a:lnTo>
                      <a:pt x="43" y="125"/>
                    </a:lnTo>
                    <a:lnTo>
                      <a:pt x="43" y="128"/>
                    </a:lnTo>
                    <a:lnTo>
                      <a:pt x="44" y="128"/>
                    </a:lnTo>
                    <a:lnTo>
                      <a:pt x="44" y="127"/>
                    </a:lnTo>
                    <a:lnTo>
                      <a:pt x="46" y="130"/>
                    </a:lnTo>
                    <a:lnTo>
                      <a:pt x="50" y="130"/>
                    </a:lnTo>
                    <a:lnTo>
                      <a:pt x="53" y="127"/>
                    </a:lnTo>
                    <a:lnTo>
                      <a:pt x="53" y="128"/>
                    </a:lnTo>
                    <a:lnTo>
                      <a:pt x="53" y="130"/>
                    </a:lnTo>
                    <a:lnTo>
                      <a:pt x="51" y="134"/>
                    </a:lnTo>
                    <a:lnTo>
                      <a:pt x="51" y="136"/>
                    </a:lnTo>
                    <a:lnTo>
                      <a:pt x="50" y="139"/>
                    </a:lnTo>
                    <a:lnTo>
                      <a:pt x="53" y="141"/>
                    </a:lnTo>
                    <a:lnTo>
                      <a:pt x="51" y="143"/>
                    </a:lnTo>
                    <a:lnTo>
                      <a:pt x="50" y="148"/>
                    </a:lnTo>
                    <a:lnTo>
                      <a:pt x="50" y="148"/>
                    </a:lnTo>
                    <a:lnTo>
                      <a:pt x="51" y="150"/>
                    </a:lnTo>
                    <a:lnTo>
                      <a:pt x="50" y="150"/>
                    </a:lnTo>
                    <a:lnTo>
                      <a:pt x="50" y="152"/>
                    </a:lnTo>
                    <a:lnTo>
                      <a:pt x="37" y="152"/>
                    </a:lnTo>
                    <a:lnTo>
                      <a:pt x="23" y="164"/>
                    </a:lnTo>
                    <a:lnTo>
                      <a:pt x="25" y="166"/>
                    </a:lnTo>
                    <a:lnTo>
                      <a:pt x="28" y="162"/>
                    </a:lnTo>
                    <a:lnTo>
                      <a:pt x="32" y="162"/>
                    </a:lnTo>
                    <a:lnTo>
                      <a:pt x="34" y="171"/>
                    </a:lnTo>
                    <a:lnTo>
                      <a:pt x="35" y="173"/>
                    </a:lnTo>
                    <a:lnTo>
                      <a:pt x="32" y="178"/>
                    </a:lnTo>
                    <a:lnTo>
                      <a:pt x="14" y="189"/>
                    </a:lnTo>
                    <a:lnTo>
                      <a:pt x="14" y="191"/>
                    </a:lnTo>
                    <a:lnTo>
                      <a:pt x="18" y="196"/>
                    </a:lnTo>
                    <a:lnTo>
                      <a:pt x="18" y="196"/>
                    </a:lnTo>
                    <a:lnTo>
                      <a:pt x="19" y="196"/>
                    </a:lnTo>
                    <a:lnTo>
                      <a:pt x="21" y="196"/>
                    </a:lnTo>
                    <a:lnTo>
                      <a:pt x="25" y="193"/>
                    </a:lnTo>
                    <a:lnTo>
                      <a:pt x="26" y="193"/>
                    </a:lnTo>
                    <a:lnTo>
                      <a:pt x="28" y="193"/>
                    </a:lnTo>
                    <a:lnTo>
                      <a:pt x="28" y="196"/>
                    </a:lnTo>
                    <a:lnTo>
                      <a:pt x="30" y="198"/>
                    </a:lnTo>
                    <a:lnTo>
                      <a:pt x="34" y="198"/>
                    </a:lnTo>
                    <a:lnTo>
                      <a:pt x="35" y="196"/>
                    </a:lnTo>
                    <a:lnTo>
                      <a:pt x="35" y="196"/>
                    </a:lnTo>
                    <a:lnTo>
                      <a:pt x="37" y="196"/>
                    </a:lnTo>
                    <a:lnTo>
                      <a:pt x="41" y="202"/>
                    </a:lnTo>
                    <a:lnTo>
                      <a:pt x="43" y="202"/>
                    </a:lnTo>
                    <a:lnTo>
                      <a:pt x="46" y="202"/>
                    </a:lnTo>
                    <a:lnTo>
                      <a:pt x="48" y="202"/>
                    </a:lnTo>
                    <a:lnTo>
                      <a:pt x="48" y="198"/>
                    </a:lnTo>
                    <a:lnTo>
                      <a:pt x="57" y="193"/>
                    </a:lnTo>
                    <a:lnTo>
                      <a:pt x="57" y="195"/>
                    </a:lnTo>
                    <a:lnTo>
                      <a:pt x="51" y="203"/>
                    </a:lnTo>
                    <a:lnTo>
                      <a:pt x="50" y="205"/>
                    </a:lnTo>
                    <a:lnTo>
                      <a:pt x="50" y="207"/>
                    </a:lnTo>
                    <a:lnTo>
                      <a:pt x="32" y="209"/>
                    </a:lnTo>
                    <a:lnTo>
                      <a:pt x="30" y="211"/>
                    </a:lnTo>
                    <a:lnTo>
                      <a:pt x="28" y="212"/>
                    </a:lnTo>
                    <a:lnTo>
                      <a:pt x="26" y="218"/>
                    </a:lnTo>
                    <a:lnTo>
                      <a:pt x="9" y="234"/>
                    </a:lnTo>
                    <a:lnTo>
                      <a:pt x="9" y="236"/>
                    </a:lnTo>
                    <a:lnTo>
                      <a:pt x="9" y="237"/>
                    </a:lnTo>
                    <a:lnTo>
                      <a:pt x="9" y="236"/>
                    </a:lnTo>
                    <a:lnTo>
                      <a:pt x="10" y="234"/>
                    </a:lnTo>
                    <a:lnTo>
                      <a:pt x="14" y="236"/>
                    </a:lnTo>
                    <a:lnTo>
                      <a:pt x="14" y="236"/>
                    </a:lnTo>
                    <a:lnTo>
                      <a:pt x="16" y="237"/>
                    </a:lnTo>
                    <a:lnTo>
                      <a:pt x="18" y="236"/>
                    </a:lnTo>
                    <a:lnTo>
                      <a:pt x="18" y="234"/>
                    </a:lnTo>
                    <a:lnTo>
                      <a:pt x="21" y="232"/>
                    </a:lnTo>
                    <a:lnTo>
                      <a:pt x="23" y="228"/>
                    </a:lnTo>
                    <a:lnTo>
                      <a:pt x="32" y="228"/>
                    </a:lnTo>
                    <a:lnTo>
                      <a:pt x="37" y="230"/>
                    </a:lnTo>
                    <a:lnTo>
                      <a:pt x="39" y="230"/>
                    </a:lnTo>
                    <a:lnTo>
                      <a:pt x="41" y="228"/>
                    </a:lnTo>
                    <a:lnTo>
                      <a:pt x="43" y="221"/>
                    </a:lnTo>
                    <a:lnTo>
                      <a:pt x="43" y="221"/>
                    </a:lnTo>
                    <a:lnTo>
                      <a:pt x="46" y="221"/>
                    </a:lnTo>
                    <a:lnTo>
                      <a:pt x="53" y="218"/>
                    </a:lnTo>
                    <a:lnTo>
                      <a:pt x="59" y="22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58" name="Freeform 2107"/>
              <p:cNvSpPr>
                <a:spLocks/>
              </p:cNvSpPr>
              <p:nvPr/>
            </p:nvSpPr>
            <p:spPr bwMode="auto">
              <a:xfrm>
                <a:off x="2675" y="1774"/>
                <a:ext cx="5" cy="3"/>
              </a:xfrm>
              <a:custGeom>
                <a:avLst/>
                <a:gdLst>
                  <a:gd name="T0" fmla="*/ 3 w 5"/>
                  <a:gd name="T1" fmla="*/ 0 h 3"/>
                  <a:gd name="T2" fmla="*/ 3 w 5"/>
                  <a:gd name="T3" fmla="*/ 0 h 3"/>
                  <a:gd name="T4" fmla="*/ 1 w 5"/>
                  <a:gd name="T5" fmla="*/ 0 h 3"/>
                  <a:gd name="T6" fmla="*/ 0 w 5"/>
                  <a:gd name="T7" fmla="*/ 0 h 3"/>
                  <a:gd name="T8" fmla="*/ 0 w 5"/>
                  <a:gd name="T9" fmla="*/ 1 h 3"/>
                  <a:gd name="T10" fmla="*/ 0 w 5"/>
                  <a:gd name="T11" fmla="*/ 1 h 3"/>
                  <a:gd name="T12" fmla="*/ 3 w 5"/>
                  <a:gd name="T13" fmla="*/ 3 h 3"/>
                  <a:gd name="T14" fmla="*/ 5 w 5"/>
                  <a:gd name="T15" fmla="*/ 1 h 3"/>
                  <a:gd name="T16" fmla="*/ 5 w 5"/>
                  <a:gd name="T17" fmla="*/ 1 h 3"/>
                  <a:gd name="T18" fmla="*/ 5 w 5"/>
                  <a:gd name="T19" fmla="*/ 0 h 3"/>
                  <a:gd name="T20" fmla="*/ 3 w 5"/>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3">
                    <a:moveTo>
                      <a:pt x="3" y="0"/>
                    </a:moveTo>
                    <a:lnTo>
                      <a:pt x="3" y="0"/>
                    </a:lnTo>
                    <a:lnTo>
                      <a:pt x="1" y="0"/>
                    </a:lnTo>
                    <a:lnTo>
                      <a:pt x="0" y="0"/>
                    </a:lnTo>
                    <a:lnTo>
                      <a:pt x="0" y="1"/>
                    </a:lnTo>
                    <a:lnTo>
                      <a:pt x="0" y="1"/>
                    </a:lnTo>
                    <a:lnTo>
                      <a:pt x="3" y="3"/>
                    </a:lnTo>
                    <a:lnTo>
                      <a:pt x="5" y="1"/>
                    </a:lnTo>
                    <a:lnTo>
                      <a:pt x="5" y="1"/>
                    </a:lnTo>
                    <a:lnTo>
                      <a:pt x="5" y="0"/>
                    </a:lnTo>
                    <a:lnTo>
                      <a:pt x="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59" name="Freeform 2108"/>
              <p:cNvSpPr>
                <a:spLocks/>
              </p:cNvSpPr>
              <p:nvPr/>
            </p:nvSpPr>
            <p:spPr bwMode="auto">
              <a:xfrm>
                <a:off x="2675" y="1774"/>
                <a:ext cx="5" cy="3"/>
              </a:xfrm>
              <a:custGeom>
                <a:avLst/>
                <a:gdLst>
                  <a:gd name="T0" fmla="*/ 3 w 5"/>
                  <a:gd name="T1" fmla="*/ 0 h 3"/>
                  <a:gd name="T2" fmla="*/ 3 w 5"/>
                  <a:gd name="T3" fmla="*/ 0 h 3"/>
                  <a:gd name="T4" fmla="*/ 1 w 5"/>
                  <a:gd name="T5" fmla="*/ 0 h 3"/>
                  <a:gd name="T6" fmla="*/ 0 w 5"/>
                  <a:gd name="T7" fmla="*/ 0 h 3"/>
                  <a:gd name="T8" fmla="*/ 0 w 5"/>
                  <a:gd name="T9" fmla="*/ 1 h 3"/>
                  <a:gd name="T10" fmla="*/ 0 w 5"/>
                  <a:gd name="T11" fmla="*/ 1 h 3"/>
                  <a:gd name="T12" fmla="*/ 3 w 5"/>
                  <a:gd name="T13" fmla="*/ 3 h 3"/>
                  <a:gd name="T14" fmla="*/ 5 w 5"/>
                  <a:gd name="T15" fmla="*/ 1 h 3"/>
                  <a:gd name="T16" fmla="*/ 5 w 5"/>
                  <a:gd name="T17" fmla="*/ 1 h 3"/>
                  <a:gd name="T18" fmla="*/ 5 w 5"/>
                  <a:gd name="T19" fmla="*/ 0 h 3"/>
                  <a:gd name="T20" fmla="*/ 3 w 5"/>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3">
                    <a:moveTo>
                      <a:pt x="3" y="0"/>
                    </a:moveTo>
                    <a:lnTo>
                      <a:pt x="3" y="0"/>
                    </a:lnTo>
                    <a:lnTo>
                      <a:pt x="1" y="0"/>
                    </a:lnTo>
                    <a:lnTo>
                      <a:pt x="0" y="0"/>
                    </a:lnTo>
                    <a:lnTo>
                      <a:pt x="0" y="1"/>
                    </a:lnTo>
                    <a:lnTo>
                      <a:pt x="0" y="1"/>
                    </a:lnTo>
                    <a:lnTo>
                      <a:pt x="3" y="3"/>
                    </a:lnTo>
                    <a:lnTo>
                      <a:pt x="5" y="1"/>
                    </a:lnTo>
                    <a:lnTo>
                      <a:pt x="5" y="1"/>
                    </a:lnTo>
                    <a:lnTo>
                      <a:pt x="5" y="0"/>
                    </a:lnTo>
                    <a:lnTo>
                      <a:pt x="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60" name="Freeform 2109"/>
              <p:cNvSpPr>
                <a:spLocks/>
              </p:cNvSpPr>
              <p:nvPr/>
            </p:nvSpPr>
            <p:spPr bwMode="auto">
              <a:xfrm>
                <a:off x="2628" y="1704"/>
                <a:ext cx="4" cy="3"/>
              </a:xfrm>
              <a:custGeom>
                <a:avLst/>
                <a:gdLst>
                  <a:gd name="T0" fmla="*/ 2 w 4"/>
                  <a:gd name="T1" fmla="*/ 3 h 3"/>
                  <a:gd name="T2" fmla="*/ 4 w 4"/>
                  <a:gd name="T3" fmla="*/ 2 h 3"/>
                  <a:gd name="T4" fmla="*/ 0 w 4"/>
                  <a:gd name="T5" fmla="*/ 0 h 3"/>
                  <a:gd name="T6" fmla="*/ 0 w 4"/>
                  <a:gd name="T7" fmla="*/ 0 h 3"/>
                  <a:gd name="T8" fmla="*/ 2 w 4"/>
                  <a:gd name="T9" fmla="*/ 3 h 3"/>
                </a:gdLst>
                <a:ahLst/>
                <a:cxnLst>
                  <a:cxn ang="0">
                    <a:pos x="T0" y="T1"/>
                  </a:cxn>
                  <a:cxn ang="0">
                    <a:pos x="T2" y="T3"/>
                  </a:cxn>
                  <a:cxn ang="0">
                    <a:pos x="T4" y="T5"/>
                  </a:cxn>
                  <a:cxn ang="0">
                    <a:pos x="T6" y="T7"/>
                  </a:cxn>
                  <a:cxn ang="0">
                    <a:pos x="T8" y="T9"/>
                  </a:cxn>
                </a:cxnLst>
                <a:rect l="0" t="0" r="r" b="b"/>
                <a:pathLst>
                  <a:path w="4" h="3">
                    <a:moveTo>
                      <a:pt x="2" y="3"/>
                    </a:moveTo>
                    <a:lnTo>
                      <a:pt x="4" y="2"/>
                    </a:lnTo>
                    <a:lnTo>
                      <a:pt x="0" y="0"/>
                    </a:lnTo>
                    <a:lnTo>
                      <a:pt x="0" y="0"/>
                    </a:lnTo>
                    <a:lnTo>
                      <a:pt x="2"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61" name="Freeform 2110"/>
              <p:cNvSpPr>
                <a:spLocks/>
              </p:cNvSpPr>
              <p:nvPr/>
            </p:nvSpPr>
            <p:spPr bwMode="auto">
              <a:xfrm>
                <a:off x="2628" y="1704"/>
                <a:ext cx="4" cy="3"/>
              </a:xfrm>
              <a:custGeom>
                <a:avLst/>
                <a:gdLst>
                  <a:gd name="T0" fmla="*/ 2 w 4"/>
                  <a:gd name="T1" fmla="*/ 3 h 3"/>
                  <a:gd name="T2" fmla="*/ 4 w 4"/>
                  <a:gd name="T3" fmla="*/ 2 h 3"/>
                  <a:gd name="T4" fmla="*/ 0 w 4"/>
                  <a:gd name="T5" fmla="*/ 0 h 3"/>
                  <a:gd name="T6" fmla="*/ 0 w 4"/>
                  <a:gd name="T7" fmla="*/ 0 h 3"/>
                  <a:gd name="T8" fmla="*/ 2 w 4"/>
                  <a:gd name="T9" fmla="*/ 3 h 3"/>
                </a:gdLst>
                <a:ahLst/>
                <a:cxnLst>
                  <a:cxn ang="0">
                    <a:pos x="T0" y="T1"/>
                  </a:cxn>
                  <a:cxn ang="0">
                    <a:pos x="T2" y="T3"/>
                  </a:cxn>
                  <a:cxn ang="0">
                    <a:pos x="T4" y="T5"/>
                  </a:cxn>
                  <a:cxn ang="0">
                    <a:pos x="T6" y="T7"/>
                  </a:cxn>
                  <a:cxn ang="0">
                    <a:pos x="T8" y="T9"/>
                  </a:cxn>
                </a:cxnLst>
                <a:rect l="0" t="0" r="r" b="b"/>
                <a:pathLst>
                  <a:path w="4" h="3">
                    <a:moveTo>
                      <a:pt x="2" y="3"/>
                    </a:moveTo>
                    <a:lnTo>
                      <a:pt x="4" y="2"/>
                    </a:lnTo>
                    <a:lnTo>
                      <a:pt x="0" y="0"/>
                    </a:lnTo>
                    <a:lnTo>
                      <a:pt x="0" y="0"/>
                    </a:lnTo>
                    <a:lnTo>
                      <a:pt x="2"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62" name="Freeform 2111"/>
              <p:cNvSpPr>
                <a:spLocks/>
              </p:cNvSpPr>
              <p:nvPr/>
            </p:nvSpPr>
            <p:spPr bwMode="auto">
              <a:xfrm>
                <a:off x="2621" y="1677"/>
                <a:ext cx="7" cy="9"/>
              </a:xfrm>
              <a:custGeom>
                <a:avLst/>
                <a:gdLst>
                  <a:gd name="T0" fmla="*/ 7 w 7"/>
                  <a:gd name="T1" fmla="*/ 0 h 9"/>
                  <a:gd name="T2" fmla="*/ 0 w 7"/>
                  <a:gd name="T3" fmla="*/ 9 h 9"/>
                  <a:gd name="T4" fmla="*/ 4 w 7"/>
                  <a:gd name="T5" fmla="*/ 9 h 9"/>
                  <a:gd name="T6" fmla="*/ 5 w 7"/>
                  <a:gd name="T7" fmla="*/ 7 h 9"/>
                  <a:gd name="T8" fmla="*/ 7 w 7"/>
                  <a:gd name="T9" fmla="*/ 4 h 9"/>
                  <a:gd name="T10" fmla="*/ 7 w 7"/>
                  <a:gd name="T11" fmla="*/ 0 h 9"/>
                  <a:gd name="T12" fmla="*/ 7 w 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 h="9">
                    <a:moveTo>
                      <a:pt x="7" y="0"/>
                    </a:moveTo>
                    <a:lnTo>
                      <a:pt x="0" y="9"/>
                    </a:lnTo>
                    <a:lnTo>
                      <a:pt x="4" y="9"/>
                    </a:lnTo>
                    <a:lnTo>
                      <a:pt x="5" y="7"/>
                    </a:lnTo>
                    <a:lnTo>
                      <a:pt x="7" y="4"/>
                    </a:lnTo>
                    <a:lnTo>
                      <a:pt x="7" y="0"/>
                    </a:lnTo>
                    <a:lnTo>
                      <a:pt x="7"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63" name="Freeform 2112"/>
              <p:cNvSpPr>
                <a:spLocks/>
              </p:cNvSpPr>
              <p:nvPr/>
            </p:nvSpPr>
            <p:spPr bwMode="auto">
              <a:xfrm>
                <a:off x="2621" y="1677"/>
                <a:ext cx="7" cy="9"/>
              </a:xfrm>
              <a:custGeom>
                <a:avLst/>
                <a:gdLst>
                  <a:gd name="T0" fmla="*/ 7 w 7"/>
                  <a:gd name="T1" fmla="*/ 0 h 9"/>
                  <a:gd name="T2" fmla="*/ 0 w 7"/>
                  <a:gd name="T3" fmla="*/ 9 h 9"/>
                  <a:gd name="T4" fmla="*/ 4 w 7"/>
                  <a:gd name="T5" fmla="*/ 9 h 9"/>
                  <a:gd name="T6" fmla="*/ 5 w 7"/>
                  <a:gd name="T7" fmla="*/ 7 h 9"/>
                  <a:gd name="T8" fmla="*/ 7 w 7"/>
                  <a:gd name="T9" fmla="*/ 4 h 9"/>
                  <a:gd name="T10" fmla="*/ 7 w 7"/>
                  <a:gd name="T11" fmla="*/ 0 h 9"/>
                  <a:gd name="T12" fmla="*/ 7 w 7"/>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7" h="9">
                    <a:moveTo>
                      <a:pt x="7" y="0"/>
                    </a:moveTo>
                    <a:lnTo>
                      <a:pt x="0" y="9"/>
                    </a:lnTo>
                    <a:lnTo>
                      <a:pt x="4" y="9"/>
                    </a:lnTo>
                    <a:lnTo>
                      <a:pt x="5" y="7"/>
                    </a:lnTo>
                    <a:lnTo>
                      <a:pt x="7" y="4"/>
                    </a:lnTo>
                    <a:lnTo>
                      <a:pt x="7" y="0"/>
                    </a:lnTo>
                    <a:lnTo>
                      <a:pt x="7"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64" name="Freeform 2113"/>
              <p:cNvSpPr>
                <a:spLocks/>
              </p:cNvSpPr>
              <p:nvPr/>
            </p:nvSpPr>
            <p:spPr bwMode="auto">
              <a:xfrm>
                <a:off x="2612" y="1641"/>
                <a:ext cx="4" cy="8"/>
              </a:xfrm>
              <a:custGeom>
                <a:avLst/>
                <a:gdLst>
                  <a:gd name="T0" fmla="*/ 0 w 4"/>
                  <a:gd name="T1" fmla="*/ 0 h 8"/>
                  <a:gd name="T2" fmla="*/ 0 w 4"/>
                  <a:gd name="T3" fmla="*/ 0 h 8"/>
                  <a:gd name="T4" fmla="*/ 0 w 4"/>
                  <a:gd name="T5" fmla="*/ 6 h 8"/>
                  <a:gd name="T6" fmla="*/ 2 w 4"/>
                  <a:gd name="T7" fmla="*/ 8 h 8"/>
                  <a:gd name="T8" fmla="*/ 4 w 4"/>
                  <a:gd name="T9" fmla="*/ 8 h 8"/>
                  <a:gd name="T10" fmla="*/ 4 w 4"/>
                  <a:gd name="T11" fmla="*/ 2 h 8"/>
                  <a:gd name="T12" fmla="*/ 4 w 4"/>
                  <a:gd name="T13" fmla="*/ 0 h 8"/>
                  <a:gd name="T14" fmla="*/ 0 w 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0"/>
                    </a:moveTo>
                    <a:lnTo>
                      <a:pt x="0" y="0"/>
                    </a:lnTo>
                    <a:lnTo>
                      <a:pt x="0" y="6"/>
                    </a:lnTo>
                    <a:lnTo>
                      <a:pt x="2" y="8"/>
                    </a:lnTo>
                    <a:lnTo>
                      <a:pt x="4" y="8"/>
                    </a:lnTo>
                    <a:lnTo>
                      <a:pt x="4" y="2"/>
                    </a:lnTo>
                    <a:lnTo>
                      <a:pt x="4"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65" name="Freeform 2114"/>
              <p:cNvSpPr>
                <a:spLocks/>
              </p:cNvSpPr>
              <p:nvPr/>
            </p:nvSpPr>
            <p:spPr bwMode="auto">
              <a:xfrm>
                <a:off x="2612" y="1641"/>
                <a:ext cx="4" cy="8"/>
              </a:xfrm>
              <a:custGeom>
                <a:avLst/>
                <a:gdLst>
                  <a:gd name="T0" fmla="*/ 0 w 4"/>
                  <a:gd name="T1" fmla="*/ 0 h 8"/>
                  <a:gd name="T2" fmla="*/ 0 w 4"/>
                  <a:gd name="T3" fmla="*/ 0 h 8"/>
                  <a:gd name="T4" fmla="*/ 0 w 4"/>
                  <a:gd name="T5" fmla="*/ 6 h 8"/>
                  <a:gd name="T6" fmla="*/ 2 w 4"/>
                  <a:gd name="T7" fmla="*/ 8 h 8"/>
                  <a:gd name="T8" fmla="*/ 4 w 4"/>
                  <a:gd name="T9" fmla="*/ 8 h 8"/>
                  <a:gd name="T10" fmla="*/ 4 w 4"/>
                  <a:gd name="T11" fmla="*/ 2 h 8"/>
                  <a:gd name="T12" fmla="*/ 4 w 4"/>
                  <a:gd name="T13" fmla="*/ 0 h 8"/>
                  <a:gd name="T14" fmla="*/ 0 w 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0"/>
                    </a:moveTo>
                    <a:lnTo>
                      <a:pt x="0" y="0"/>
                    </a:lnTo>
                    <a:lnTo>
                      <a:pt x="0" y="6"/>
                    </a:lnTo>
                    <a:lnTo>
                      <a:pt x="2" y="8"/>
                    </a:lnTo>
                    <a:lnTo>
                      <a:pt x="4" y="8"/>
                    </a:lnTo>
                    <a:lnTo>
                      <a:pt x="4" y="2"/>
                    </a:lnTo>
                    <a:lnTo>
                      <a:pt x="4"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66" name="Freeform 2115"/>
              <p:cNvSpPr>
                <a:spLocks/>
              </p:cNvSpPr>
              <p:nvPr/>
            </p:nvSpPr>
            <p:spPr bwMode="auto">
              <a:xfrm>
                <a:off x="2594" y="1634"/>
                <a:ext cx="6" cy="9"/>
              </a:xfrm>
              <a:custGeom>
                <a:avLst/>
                <a:gdLst>
                  <a:gd name="T0" fmla="*/ 6 w 6"/>
                  <a:gd name="T1" fmla="*/ 2 h 9"/>
                  <a:gd name="T2" fmla="*/ 6 w 6"/>
                  <a:gd name="T3" fmla="*/ 0 h 9"/>
                  <a:gd name="T4" fmla="*/ 4 w 6"/>
                  <a:gd name="T5" fmla="*/ 2 h 9"/>
                  <a:gd name="T6" fmla="*/ 0 w 6"/>
                  <a:gd name="T7" fmla="*/ 2 h 9"/>
                  <a:gd name="T8" fmla="*/ 0 w 6"/>
                  <a:gd name="T9" fmla="*/ 6 h 9"/>
                  <a:gd name="T10" fmla="*/ 0 w 6"/>
                  <a:gd name="T11" fmla="*/ 7 h 9"/>
                  <a:gd name="T12" fmla="*/ 2 w 6"/>
                  <a:gd name="T13" fmla="*/ 4 h 9"/>
                  <a:gd name="T14" fmla="*/ 4 w 6"/>
                  <a:gd name="T15" fmla="*/ 9 h 9"/>
                  <a:gd name="T16" fmla="*/ 6 w 6"/>
                  <a:gd name="T17" fmla="*/ 7 h 9"/>
                  <a:gd name="T18" fmla="*/ 6 w 6"/>
                  <a:gd name="T19" fmla="*/ 6 h 9"/>
                  <a:gd name="T20" fmla="*/ 6 w 6"/>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6" y="2"/>
                    </a:moveTo>
                    <a:lnTo>
                      <a:pt x="6" y="0"/>
                    </a:lnTo>
                    <a:lnTo>
                      <a:pt x="4" y="2"/>
                    </a:lnTo>
                    <a:lnTo>
                      <a:pt x="0" y="2"/>
                    </a:lnTo>
                    <a:lnTo>
                      <a:pt x="0" y="6"/>
                    </a:lnTo>
                    <a:lnTo>
                      <a:pt x="0" y="7"/>
                    </a:lnTo>
                    <a:lnTo>
                      <a:pt x="2" y="4"/>
                    </a:lnTo>
                    <a:lnTo>
                      <a:pt x="4" y="9"/>
                    </a:lnTo>
                    <a:lnTo>
                      <a:pt x="6" y="7"/>
                    </a:lnTo>
                    <a:lnTo>
                      <a:pt x="6" y="6"/>
                    </a:lnTo>
                    <a:lnTo>
                      <a:pt x="6"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67" name="Freeform 2116"/>
              <p:cNvSpPr>
                <a:spLocks/>
              </p:cNvSpPr>
              <p:nvPr/>
            </p:nvSpPr>
            <p:spPr bwMode="auto">
              <a:xfrm>
                <a:off x="2594" y="1634"/>
                <a:ext cx="6" cy="9"/>
              </a:xfrm>
              <a:custGeom>
                <a:avLst/>
                <a:gdLst>
                  <a:gd name="T0" fmla="*/ 6 w 6"/>
                  <a:gd name="T1" fmla="*/ 2 h 9"/>
                  <a:gd name="T2" fmla="*/ 6 w 6"/>
                  <a:gd name="T3" fmla="*/ 0 h 9"/>
                  <a:gd name="T4" fmla="*/ 4 w 6"/>
                  <a:gd name="T5" fmla="*/ 2 h 9"/>
                  <a:gd name="T6" fmla="*/ 0 w 6"/>
                  <a:gd name="T7" fmla="*/ 2 h 9"/>
                  <a:gd name="T8" fmla="*/ 0 w 6"/>
                  <a:gd name="T9" fmla="*/ 6 h 9"/>
                  <a:gd name="T10" fmla="*/ 0 w 6"/>
                  <a:gd name="T11" fmla="*/ 7 h 9"/>
                  <a:gd name="T12" fmla="*/ 2 w 6"/>
                  <a:gd name="T13" fmla="*/ 4 h 9"/>
                  <a:gd name="T14" fmla="*/ 4 w 6"/>
                  <a:gd name="T15" fmla="*/ 9 h 9"/>
                  <a:gd name="T16" fmla="*/ 6 w 6"/>
                  <a:gd name="T17" fmla="*/ 7 h 9"/>
                  <a:gd name="T18" fmla="*/ 6 w 6"/>
                  <a:gd name="T19" fmla="*/ 6 h 9"/>
                  <a:gd name="T20" fmla="*/ 6 w 6"/>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9">
                    <a:moveTo>
                      <a:pt x="6" y="2"/>
                    </a:moveTo>
                    <a:lnTo>
                      <a:pt x="6" y="0"/>
                    </a:lnTo>
                    <a:lnTo>
                      <a:pt x="4" y="2"/>
                    </a:lnTo>
                    <a:lnTo>
                      <a:pt x="0" y="2"/>
                    </a:lnTo>
                    <a:lnTo>
                      <a:pt x="0" y="6"/>
                    </a:lnTo>
                    <a:lnTo>
                      <a:pt x="0" y="7"/>
                    </a:lnTo>
                    <a:lnTo>
                      <a:pt x="2" y="4"/>
                    </a:lnTo>
                    <a:lnTo>
                      <a:pt x="4" y="9"/>
                    </a:lnTo>
                    <a:lnTo>
                      <a:pt x="6" y="7"/>
                    </a:lnTo>
                    <a:lnTo>
                      <a:pt x="6" y="6"/>
                    </a:lnTo>
                    <a:lnTo>
                      <a:pt x="6"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68" name="Freeform 2117"/>
              <p:cNvSpPr>
                <a:spLocks/>
              </p:cNvSpPr>
              <p:nvPr/>
            </p:nvSpPr>
            <p:spPr bwMode="auto">
              <a:xfrm>
                <a:off x="2601" y="1629"/>
                <a:ext cx="6" cy="9"/>
              </a:xfrm>
              <a:custGeom>
                <a:avLst/>
                <a:gdLst>
                  <a:gd name="T0" fmla="*/ 6 w 6"/>
                  <a:gd name="T1" fmla="*/ 0 h 9"/>
                  <a:gd name="T2" fmla="*/ 2 w 6"/>
                  <a:gd name="T3" fmla="*/ 2 h 9"/>
                  <a:gd name="T4" fmla="*/ 2 w 6"/>
                  <a:gd name="T5" fmla="*/ 3 h 9"/>
                  <a:gd name="T6" fmla="*/ 2 w 6"/>
                  <a:gd name="T7" fmla="*/ 5 h 9"/>
                  <a:gd name="T8" fmla="*/ 0 w 6"/>
                  <a:gd name="T9" fmla="*/ 7 h 9"/>
                  <a:gd name="T10" fmla="*/ 0 w 6"/>
                  <a:gd name="T11" fmla="*/ 9 h 9"/>
                  <a:gd name="T12" fmla="*/ 2 w 6"/>
                  <a:gd name="T13" fmla="*/ 9 h 9"/>
                  <a:gd name="T14" fmla="*/ 6 w 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6" y="0"/>
                    </a:moveTo>
                    <a:lnTo>
                      <a:pt x="2" y="2"/>
                    </a:lnTo>
                    <a:lnTo>
                      <a:pt x="2" y="3"/>
                    </a:lnTo>
                    <a:lnTo>
                      <a:pt x="2" y="5"/>
                    </a:lnTo>
                    <a:lnTo>
                      <a:pt x="0" y="7"/>
                    </a:lnTo>
                    <a:lnTo>
                      <a:pt x="0" y="9"/>
                    </a:lnTo>
                    <a:lnTo>
                      <a:pt x="2" y="9"/>
                    </a:lnTo>
                    <a:lnTo>
                      <a:pt x="6"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69" name="Freeform 2118"/>
              <p:cNvSpPr>
                <a:spLocks/>
              </p:cNvSpPr>
              <p:nvPr/>
            </p:nvSpPr>
            <p:spPr bwMode="auto">
              <a:xfrm>
                <a:off x="2601" y="1629"/>
                <a:ext cx="6" cy="9"/>
              </a:xfrm>
              <a:custGeom>
                <a:avLst/>
                <a:gdLst>
                  <a:gd name="T0" fmla="*/ 6 w 6"/>
                  <a:gd name="T1" fmla="*/ 0 h 9"/>
                  <a:gd name="T2" fmla="*/ 2 w 6"/>
                  <a:gd name="T3" fmla="*/ 2 h 9"/>
                  <a:gd name="T4" fmla="*/ 2 w 6"/>
                  <a:gd name="T5" fmla="*/ 3 h 9"/>
                  <a:gd name="T6" fmla="*/ 2 w 6"/>
                  <a:gd name="T7" fmla="*/ 5 h 9"/>
                  <a:gd name="T8" fmla="*/ 0 w 6"/>
                  <a:gd name="T9" fmla="*/ 7 h 9"/>
                  <a:gd name="T10" fmla="*/ 0 w 6"/>
                  <a:gd name="T11" fmla="*/ 9 h 9"/>
                  <a:gd name="T12" fmla="*/ 2 w 6"/>
                  <a:gd name="T13" fmla="*/ 9 h 9"/>
                  <a:gd name="T14" fmla="*/ 6 w 6"/>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9">
                    <a:moveTo>
                      <a:pt x="6" y="0"/>
                    </a:moveTo>
                    <a:lnTo>
                      <a:pt x="2" y="2"/>
                    </a:lnTo>
                    <a:lnTo>
                      <a:pt x="2" y="3"/>
                    </a:lnTo>
                    <a:lnTo>
                      <a:pt x="2" y="5"/>
                    </a:lnTo>
                    <a:lnTo>
                      <a:pt x="0" y="7"/>
                    </a:lnTo>
                    <a:lnTo>
                      <a:pt x="0" y="9"/>
                    </a:lnTo>
                    <a:lnTo>
                      <a:pt x="2" y="9"/>
                    </a:lnTo>
                    <a:lnTo>
                      <a:pt x="6"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70" name="Freeform 2119"/>
              <p:cNvSpPr>
                <a:spLocks/>
              </p:cNvSpPr>
              <p:nvPr/>
            </p:nvSpPr>
            <p:spPr bwMode="auto">
              <a:xfrm>
                <a:off x="2596" y="1615"/>
                <a:ext cx="11" cy="10"/>
              </a:xfrm>
              <a:custGeom>
                <a:avLst/>
                <a:gdLst>
                  <a:gd name="T0" fmla="*/ 0 w 11"/>
                  <a:gd name="T1" fmla="*/ 9 h 10"/>
                  <a:gd name="T2" fmla="*/ 0 w 11"/>
                  <a:gd name="T3" fmla="*/ 7 h 10"/>
                  <a:gd name="T4" fmla="*/ 0 w 11"/>
                  <a:gd name="T5" fmla="*/ 9 h 10"/>
                  <a:gd name="T6" fmla="*/ 2 w 11"/>
                  <a:gd name="T7" fmla="*/ 10 h 10"/>
                  <a:gd name="T8" fmla="*/ 5 w 11"/>
                  <a:gd name="T9" fmla="*/ 10 h 10"/>
                  <a:gd name="T10" fmla="*/ 7 w 11"/>
                  <a:gd name="T11" fmla="*/ 7 h 10"/>
                  <a:gd name="T12" fmla="*/ 11 w 11"/>
                  <a:gd name="T13" fmla="*/ 7 h 10"/>
                  <a:gd name="T14" fmla="*/ 9 w 11"/>
                  <a:gd name="T15" fmla="*/ 5 h 10"/>
                  <a:gd name="T16" fmla="*/ 5 w 11"/>
                  <a:gd name="T17" fmla="*/ 0 h 10"/>
                  <a:gd name="T18" fmla="*/ 4 w 11"/>
                  <a:gd name="T19" fmla="*/ 0 h 10"/>
                  <a:gd name="T20" fmla="*/ 2 w 11"/>
                  <a:gd name="T21" fmla="*/ 0 h 10"/>
                  <a:gd name="T22" fmla="*/ 2 w 11"/>
                  <a:gd name="T23" fmla="*/ 1 h 10"/>
                  <a:gd name="T24" fmla="*/ 2 w 11"/>
                  <a:gd name="T25" fmla="*/ 3 h 10"/>
                  <a:gd name="T26" fmla="*/ 4 w 11"/>
                  <a:gd name="T27" fmla="*/ 3 h 10"/>
                  <a:gd name="T28" fmla="*/ 4 w 11"/>
                  <a:gd name="T29" fmla="*/ 7 h 10"/>
                  <a:gd name="T30" fmla="*/ 4 w 11"/>
                  <a:gd name="T31" fmla="*/ 7 h 10"/>
                  <a:gd name="T32" fmla="*/ 4 w 11"/>
                  <a:gd name="T33" fmla="*/ 7 h 10"/>
                  <a:gd name="T34" fmla="*/ 2 w 11"/>
                  <a:gd name="T35" fmla="*/ 9 h 10"/>
                  <a:gd name="T36" fmla="*/ 0 w 11"/>
                  <a:gd name="T3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10">
                    <a:moveTo>
                      <a:pt x="0" y="9"/>
                    </a:moveTo>
                    <a:lnTo>
                      <a:pt x="0" y="7"/>
                    </a:lnTo>
                    <a:lnTo>
                      <a:pt x="0" y="9"/>
                    </a:lnTo>
                    <a:lnTo>
                      <a:pt x="2" y="10"/>
                    </a:lnTo>
                    <a:lnTo>
                      <a:pt x="5" y="10"/>
                    </a:lnTo>
                    <a:lnTo>
                      <a:pt x="7" y="7"/>
                    </a:lnTo>
                    <a:lnTo>
                      <a:pt x="11" y="7"/>
                    </a:lnTo>
                    <a:lnTo>
                      <a:pt x="9" y="5"/>
                    </a:lnTo>
                    <a:lnTo>
                      <a:pt x="5" y="0"/>
                    </a:lnTo>
                    <a:lnTo>
                      <a:pt x="4" y="0"/>
                    </a:lnTo>
                    <a:lnTo>
                      <a:pt x="2" y="0"/>
                    </a:lnTo>
                    <a:lnTo>
                      <a:pt x="2" y="1"/>
                    </a:lnTo>
                    <a:lnTo>
                      <a:pt x="2" y="3"/>
                    </a:lnTo>
                    <a:lnTo>
                      <a:pt x="4" y="3"/>
                    </a:lnTo>
                    <a:lnTo>
                      <a:pt x="4" y="7"/>
                    </a:lnTo>
                    <a:lnTo>
                      <a:pt x="4" y="7"/>
                    </a:lnTo>
                    <a:lnTo>
                      <a:pt x="4" y="7"/>
                    </a:lnTo>
                    <a:lnTo>
                      <a:pt x="2" y="9"/>
                    </a:lnTo>
                    <a:lnTo>
                      <a:pt x="0"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71" name="Freeform 2120"/>
              <p:cNvSpPr>
                <a:spLocks/>
              </p:cNvSpPr>
              <p:nvPr/>
            </p:nvSpPr>
            <p:spPr bwMode="auto">
              <a:xfrm>
                <a:off x="2596" y="1615"/>
                <a:ext cx="11" cy="10"/>
              </a:xfrm>
              <a:custGeom>
                <a:avLst/>
                <a:gdLst>
                  <a:gd name="T0" fmla="*/ 0 w 11"/>
                  <a:gd name="T1" fmla="*/ 9 h 10"/>
                  <a:gd name="T2" fmla="*/ 0 w 11"/>
                  <a:gd name="T3" fmla="*/ 7 h 10"/>
                  <a:gd name="T4" fmla="*/ 0 w 11"/>
                  <a:gd name="T5" fmla="*/ 9 h 10"/>
                  <a:gd name="T6" fmla="*/ 2 w 11"/>
                  <a:gd name="T7" fmla="*/ 10 h 10"/>
                  <a:gd name="T8" fmla="*/ 5 w 11"/>
                  <a:gd name="T9" fmla="*/ 10 h 10"/>
                  <a:gd name="T10" fmla="*/ 7 w 11"/>
                  <a:gd name="T11" fmla="*/ 7 h 10"/>
                  <a:gd name="T12" fmla="*/ 11 w 11"/>
                  <a:gd name="T13" fmla="*/ 7 h 10"/>
                  <a:gd name="T14" fmla="*/ 9 w 11"/>
                  <a:gd name="T15" fmla="*/ 5 h 10"/>
                  <a:gd name="T16" fmla="*/ 5 w 11"/>
                  <a:gd name="T17" fmla="*/ 0 h 10"/>
                  <a:gd name="T18" fmla="*/ 4 w 11"/>
                  <a:gd name="T19" fmla="*/ 0 h 10"/>
                  <a:gd name="T20" fmla="*/ 2 w 11"/>
                  <a:gd name="T21" fmla="*/ 0 h 10"/>
                  <a:gd name="T22" fmla="*/ 2 w 11"/>
                  <a:gd name="T23" fmla="*/ 1 h 10"/>
                  <a:gd name="T24" fmla="*/ 2 w 11"/>
                  <a:gd name="T25" fmla="*/ 3 h 10"/>
                  <a:gd name="T26" fmla="*/ 4 w 11"/>
                  <a:gd name="T27" fmla="*/ 3 h 10"/>
                  <a:gd name="T28" fmla="*/ 4 w 11"/>
                  <a:gd name="T29" fmla="*/ 7 h 10"/>
                  <a:gd name="T30" fmla="*/ 4 w 11"/>
                  <a:gd name="T31" fmla="*/ 7 h 10"/>
                  <a:gd name="T32" fmla="*/ 4 w 11"/>
                  <a:gd name="T33" fmla="*/ 7 h 10"/>
                  <a:gd name="T34" fmla="*/ 2 w 11"/>
                  <a:gd name="T35" fmla="*/ 9 h 10"/>
                  <a:gd name="T36" fmla="*/ 0 w 11"/>
                  <a:gd name="T37"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10">
                    <a:moveTo>
                      <a:pt x="0" y="9"/>
                    </a:moveTo>
                    <a:lnTo>
                      <a:pt x="0" y="7"/>
                    </a:lnTo>
                    <a:lnTo>
                      <a:pt x="0" y="9"/>
                    </a:lnTo>
                    <a:lnTo>
                      <a:pt x="2" y="10"/>
                    </a:lnTo>
                    <a:lnTo>
                      <a:pt x="5" y="10"/>
                    </a:lnTo>
                    <a:lnTo>
                      <a:pt x="7" y="7"/>
                    </a:lnTo>
                    <a:lnTo>
                      <a:pt x="11" y="7"/>
                    </a:lnTo>
                    <a:lnTo>
                      <a:pt x="9" y="5"/>
                    </a:lnTo>
                    <a:lnTo>
                      <a:pt x="5" y="0"/>
                    </a:lnTo>
                    <a:lnTo>
                      <a:pt x="4" y="0"/>
                    </a:lnTo>
                    <a:lnTo>
                      <a:pt x="2" y="0"/>
                    </a:lnTo>
                    <a:lnTo>
                      <a:pt x="2" y="1"/>
                    </a:lnTo>
                    <a:lnTo>
                      <a:pt x="2" y="3"/>
                    </a:lnTo>
                    <a:lnTo>
                      <a:pt x="4" y="3"/>
                    </a:lnTo>
                    <a:lnTo>
                      <a:pt x="4" y="7"/>
                    </a:lnTo>
                    <a:lnTo>
                      <a:pt x="4" y="7"/>
                    </a:lnTo>
                    <a:lnTo>
                      <a:pt x="4" y="7"/>
                    </a:lnTo>
                    <a:lnTo>
                      <a:pt x="2" y="9"/>
                    </a:lnTo>
                    <a:lnTo>
                      <a:pt x="0"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72" name="Freeform 2121"/>
              <p:cNvSpPr>
                <a:spLocks/>
              </p:cNvSpPr>
              <p:nvPr/>
            </p:nvSpPr>
            <p:spPr bwMode="auto">
              <a:xfrm>
                <a:off x="2591" y="1582"/>
                <a:ext cx="16" cy="20"/>
              </a:xfrm>
              <a:custGeom>
                <a:avLst/>
                <a:gdLst>
                  <a:gd name="T0" fmla="*/ 5 w 16"/>
                  <a:gd name="T1" fmla="*/ 0 h 20"/>
                  <a:gd name="T2" fmla="*/ 5 w 16"/>
                  <a:gd name="T3" fmla="*/ 0 h 20"/>
                  <a:gd name="T4" fmla="*/ 3 w 16"/>
                  <a:gd name="T5" fmla="*/ 6 h 20"/>
                  <a:gd name="T6" fmla="*/ 2 w 16"/>
                  <a:gd name="T7" fmla="*/ 4 h 20"/>
                  <a:gd name="T8" fmla="*/ 0 w 16"/>
                  <a:gd name="T9" fmla="*/ 6 h 20"/>
                  <a:gd name="T10" fmla="*/ 0 w 16"/>
                  <a:gd name="T11" fmla="*/ 9 h 20"/>
                  <a:gd name="T12" fmla="*/ 0 w 16"/>
                  <a:gd name="T13" fmla="*/ 9 h 20"/>
                  <a:gd name="T14" fmla="*/ 3 w 16"/>
                  <a:gd name="T15" fmla="*/ 9 h 20"/>
                  <a:gd name="T16" fmla="*/ 3 w 16"/>
                  <a:gd name="T17" fmla="*/ 13 h 20"/>
                  <a:gd name="T18" fmla="*/ 5 w 16"/>
                  <a:gd name="T19" fmla="*/ 15 h 20"/>
                  <a:gd name="T20" fmla="*/ 5 w 16"/>
                  <a:gd name="T21" fmla="*/ 17 h 20"/>
                  <a:gd name="T22" fmla="*/ 10 w 16"/>
                  <a:gd name="T23" fmla="*/ 17 h 20"/>
                  <a:gd name="T24" fmla="*/ 12 w 16"/>
                  <a:gd name="T25" fmla="*/ 20 h 20"/>
                  <a:gd name="T26" fmla="*/ 14 w 16"/>
                  <a:gd name="T27" fmla="*/ 18 h 20"/>
                  <a:gd name="T28" fmla="*/ 16 w 16"/>
                  <a:gd name="T29" fmla="*/ 15 h 20"/>
                  <a:gd name="T30" fmla="*/ 10 w 16"/>
                  <a:gd name="T31" fmla="*/ 13 h 20"/>
                  <a:gd name="T32" fmla="*/ 10 w 16"/>
                  <a:gd name="T33" fmla="*/ 13 h 20"/>
                  <a:gd name="T34" fmla="*/ 10 w 16"/>
                  <a:gd name="T35" fmla="*/ 9 h 20"/>
                  <a:gd name="T36" fmla="*/ 9 w 16"/>
                  <a:gd name="T37" fmla="*/ 8 h 20"/>
                  <a:gd name="T38" fmla="*/ 7 w 16"/>
                  <a:gd name="T39" fmla="*/ 2 h 20"/>
                  <a:gd name="T40" fmla="*/ 5 w 16"/>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0">
                    <a:moveTo>
                      <a:pt x="5" y="0"/>
                    </a:moveTo>
                    <a:lnTo>
                      <a:pt x="5" y="0"/>
                    </a:lnTo>
                    <a:lnTo>
                      <a:pt x="3" y="6"/>
                    </a:lnTo>
                    <a:lnTo>
                      <a:pt x="2" y="4"/>
                    </a:lnTo>
                    <a:lnTo>
                      <a:pt x="0" y="6"/>
                    </a:lnTo>
                    <a:lnTo>
                      <a:pt x="0" y="9"/>
                    </a:lnTo>
                    <a:lnTo>
                      <a:pt x="0" y="9"/>
                    </a:lnTo>
                    <a:lnTo>
                      <a:pt x="3" y="9"/>
                    </a:lnTo>
                    <a:lnTo>
                      <a:pt x="3" y="13"/>
                    </a:lnTo>
                    <a:lnTo>
                      <a:pt x="5" y="15"/>
                    </a:lnTo>
                    <a:lnTo>
                      <a:pt x="5" y="17"/>
                    </a:lnTo>
                    <a:lnTo>
                      <a:pt x="10" y="17"/>
                    </a:lnTo>
                    <a:lnTo>
                      <a:pt x="12" y="20"/>
                    </a:lnTo>
                    <a:lnTo>
                      <a:pt x="14" y="18"/>
                    </a:lnTo>
                    <a:lnTo>
                      <a:pt x="16" y="15"/>
                    </a:lnTo>
                    <a:lnTo>
                      <a:pt x="10" y="13"/>
                    </a:lnTo>
                    <a:lnTo>
                      <a:pt x="10" y="13"/>
                    </a:lnTo>
                    <a:lnTo>
                      <a:pt x="10" y="9"/>
                    </a:lnTo>
                    <a:lnTo>
                      <a:pt x="9" y="8"/>
                    </a:lnTo>
                    <a:lnTo>
                      <a:pt x="7" y="2"/>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73" name="Freeform 2122"/>
              <p:cNvSpPr>
                <a:spLocks/>
              </p:cNvSpPr>
              <p:nvPr/>
            </p:nvSpPr>
            <p:spPr bwMode="auto">
              <a:xfrm>
                <a:off x="2591" y="1582"/>
                <a:ext cx="16" cy="20"/>
              </a:xfrm>
              <a:custGeom>
                <a:avLst/>
                <a:gdLst>
                  <a:gd name="T0" fmla="*/ 5 w 16"/>
                  <a:gd name="T1" fmla="*/ 0 h 20"/>
                  <a:gd name="T2" fmla="*/ 5 w 16"/>
                  <a:gd name="T3" fmla="*/ 0 h 20"/>
                  <a:gd name="T4" fmla="*/ 3 w 16"/>
                  <a:gd name="T5" fmla="*/ 6 h 20"/>
                  <a:gd name="T6" fmla="*/ 2 w 16"/>
                  <a:gd name="T7" fmla="*/ 4 h 20"/>
                  <a:gd name="T8" fmla="*/ 0 w 16"/>
                  <a:gd name="T9" fmla="*/ 6 h 20"/>
                  <a:gd name="T10" fmla="*/ 0 w 16"/>
                  <a:gd name="T11" fmla="*/ 9 h 20"/>
                  <a:gd name="T12" fmla="*/ 0 w 16"/>
                  <a:gd name="T13" fmla="*/ 9 h 20"/>
                  <a:gd name="T14" fmla="*/ 3 w 16"/>
                  <a:gd name="T15" fmla="*/ 9 h 20"/>
                  <a:gd name="T16" fmla="*/ 3 w 16"/>
                  <a:gd name="T17" fmla="*/ 13 h 20"/>
                  <a:gd name="T18" fmla="*/ 5 w 16"/>
                  <a:gd name="T19" fmla="*/ 15 h 20"/>
                  <a:gd name="T20" fmla="*/ 5 w 16"/>
                  <a:gd name="T21" fmla="*/ 17 h 20"/>
                  <a:gd name="T22" fmla="*/ 10 w 16"/>
                  <a:gd name="T23" fmla="*/ 17 h 20"/>
                  <a:gd name="T24" fmla="*/ 12 w 16"/>
                  <a:gd name="T25" fmla="*/ 20 h 20"/>
                  <a:gd name="T26" fmla="*/ 14 w 16"/>
                  <a:gd name="T27" fmla="*/ 18 h 20"/>
                  <a:gd name="T28" fmla="*/ 16 w 16"/>
                  <a:gd name="T29" fmla="*/ 15 h 20"/>
                  <a:gd name="T30" fmla="*/ 10 w 16"/>
                  <a:gd name="T31" fmla="*/ 13 h 20"/>
                  <a:gd name="T32" fmla="*/ 10 w 16"/>
                  <a:gd name="T33" fmla="*/ 13 h 20"/>
                  <a:gd name="T34" fmla="*/ 10 w 16"/>
                  <a:gd name="T35" fmla="*/ 9 h 20"/>
                  <a:gd name="T36" fmla="*/ 9 w 16"/>
                  <a:gd name="T37" fmla="*/ 8 h 20"/>
                  <a:gd name="T38" fmla="*/ 7 w 16"/>
                  <a:gd name="T39" fmla="*/ 2 h 20"/>
                  <a:gd name="T40" fmla="*/ 5 w 16"/>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20">
                    <a:moveTo>
                      <a:pt x="5" y="0"/>
                    </a:moveTo>
                    <a:lnTo>
                      <a:pt x="5" y="0"/>
                    </a:lnTo>
                    <a:lnTo>
                      <a:pt x="3" y="6"/>
                    </a:lnTo>
                    <a:lnTo>
                      <a:pt x="2" y="4"/>
                    </a:lnTo>
                    <a:lnTo>
                      <a:pt x="0" y="6"/>
                    </a:lnTo>
                    <a:lnTo>
                      <a:pt x="0" y="9"/>
                    </a:lnTo>
                    <a:lnTo>
                      <a:pt x="0" y="9"/>
                    </a:lnTo>
                    <a:lnTo>
                      <a:pt x="3" y="9"/>
                    </a:lnTo>
                    <a:lnTo>
                      <a:pt x="3" y="13"/>
                    </a:lnTo>
                    <a:lnTo>
                      <a:pt x="5" y="15"/>
                    </a:lnTo>
                    <a:lnTo>
                      <a:pt x="5" y="17"/>
                    </a:lnTo>
                    <a:lnTo>
                      <a:pt x="10" y="17"/>
                    </a:lnTo>
                    <a:lnTo>
                      <a:pt x="12" y="20"/>
                    </a:lnTo>
                    <a:lnTo>
                      <a:pt x="14" y="18"/>
                    </a:lnTo>
                    <a:lnTo>
                      <a:pt x="16" y="15"/>
                    </a:lnTo>
                    <a:lnTo>
                      <a:pt x="10" y="13"/>
                    </a:lnTo>
                    <a:lnTo>
                      <a:pt x="10" y="13"/>
                    </a:lnTo>
                    <a:lnTo>
                      <a:pt x="10" y="9"/>
                    </a:lnTo>
                    <a:lnTo>
                      <a:pt x="9" y="8"/>
                    </a:lnTo>
                    <a:lnTo>
                      <a:pt x="7" y="2"/>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74" name="Freeform 2123"/>
              <p:cNvSpPr>
                <a:spLocks/>
              </p:cNvSpPr>
              <p:nvPr/>
            </p:nvSpPr>
            <p:spPr bwMode="auto">
              <a:xfrm>
                <a:off x="2966" y="1147"/>
                <a:ext cx="18" cy="25"/>
              </a:xfrm>
              <a:custGeom>
                <a:avLst/>
                <a:gdLst>
                  <a:gd name="T0" fmla="*/ 1 w 18"/>
                  <a:gd name="T1" fmla="*/ 18 h 25"/>
                  <a:gd name="T2" fmla="*/ 0 w 18"/>
                  <a:gd name="T3" fmla="*/ 16 h 25"/>
                  <a:gd name="T4" fmla="*/ 1 w 18"/>
                  <a:gd name="T5" fmla="*/ 16 h 25"/>
                  <a:gd name="T6" fmla="*/ 1 w 18"/>
                  <a:gd name="T7" fmla="*/ 16 h 25"/>
                  <a:gd name="T8" fmla="*/ 3 w 18"/>
                  <a:gd name="T9" fmla="*/ 14 h 25"/>
                  <a:gd name="T10" fmla="*/ 0 w 18"/>
                  <a:gd name="T11" fmla="*/ 12 h 25"/>
                  <a:gd name="T12" fmla="*/ 1 w 18"/>
                  <a:gd name="T13" fmla="*/ 12 h 25"/>
                  <a:gd name="T14" fmla="*/ 1 w 18"/>
                  <a:gd name="T15" fmla="*/ 10 h 25"/>
                  <a:gd name="T16" fmla="*/ 3 w 18"/>
                  <a:gd name="T17" fmla="*/ 9 h 25"/>
                  <a:gd name="T18" fmla="*/ 5 w 18"/>
                  <a:gd name="T19" fmla="*/ 10 h 25"/>
                  <a:gd name="T20" fmla="*/ 7 w 18"/>
                  <a:gd name="T21" fmla="*/ 7 h 25"/>
                  <a:gd name="T22" fmla="*/ 5 w 18"/>
                  <a:gd name="T23" fmla="*/ 5 h 25"/>
                  <a:gd name="T24" fmla="*/ 7 w 18"/>
                  <a:gd name="T25" fmla="*/ 5 h 25"/>
                  <a:gd name="T26" fmla="*/ 10 w 18"/>
                  <a:gd name="T27" fmla="*/ 5 h 25"/>
                  <a:gd name="T28" fmla="*/ 10 w 18"/>
                  <a:gd name="T29" fmla="*/ 5 h 25"/>
                  <a:gd name="T30" fmla="*/ 10 w 18"/>
                  <a:gd name="T31" fmla="*/ 0 h 25"/>
                  <a:gd name="T32" fmla="*/ 12 w 18"/>
                  <a:gd name="T33" fmla="*/ 3 h 25"/>
                  <a:gd name="T34" fmla="*/ 12 w 18"/>
                  <a:gd name="T35" fmla="*/ 2 h 25"/>
                  <a:gd name="T36" fmla="*/ 14 w 18"/>
                  <a:gd name="T37" fmla="*/ 2 h 25"/>
                  <a:gd name="T38" fmla="*/ 16 w 18"/>
                  <a:gd name="T39" fmla="*/ 5 h 25"/>
                  <a:gd name="T40" fmla="*/ 18 w 18"/>
                  <a:gd name="T41" fmla="*/ 7 h 25"/>
                  <a:gd name="T42" fmla="*/ 18 w 18"/>
                  <a:gd name="T43" fmla="*/ 10 h 25"/>
                  <a:gd name="T44" fmla="*/ 16 w 18"/>
                  <a:gd name="T45" fmla="*/ 12 h 25"/>
                  <a:gd name="T46" fmla="*/ 16 w 18"/>
                  <a:gd name="T47" fmla="*/ 19 h 25"/>
                  <a:gd name="T48" fmla="*/ 10 w 18"/>
                  <a:gd name="T49" fmla="*/ 19 h 25"/>
                  <a:gd name="T50" fmla="*/ 10 w 18"/>
                  <a:gd name="T51" fmla="*/ 18 h 25"/>
                  <a:gd name="T52" fmla="*/ 9 w 18"/>
                  <a:gd name="T53" fmla="*/ 18 h 25"/>
                  <a:gd name="T54" fmla="*/ 7 w 18"/>
                  <a:gd name="T55" fmla="*/ 23 h 25"/>
                  <a:gd name="T56" fmla="*/ 1 w 18"/>
                  <a:gd name="T57" fmla="*/ 23 h 25"/>
                  <a:gd name="T58" fmla="*/ 0 w 18"/>
                  <a:gd name="T59" fmla="*/ 25 h 25"/>
                  <a:gd name="T60" fmla="*/ 0 w 18"/>
                  <a:gd name="T61" fmla="*/ 23 h 25"/>
                  <a:gd name="T62" fmla="*/ 1 w 18"/>
                  <a:gd name="T63" fmla="*/ 19 h 25"/>
                  <a:gd name="T64" fmla="*/ 3 w 18"/>
                  <a:gd name="T65" fmla="*/ 19 h 25"/>
                  <a:gd name="T66" fmla="*/ 1 w 18"/>
                  <a:gd name="T6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25">
                    <a:moveTo>
                      <a:pt x="1" y="18"/>
                    </a:moveTo>
                    <a:lnTo>
                      <a:pt x="0" y="16"/>
                    </a:lnTo>
                    <a:lnTo>
                      <a:pt x="1" y="16"/>
                    </a:lnTo>
                    <a:lnTo>
                      <a:pt x="1" y="16"/>
                    </a:lnTo>
                    <a:lnTo>
                      <a:pt x="3" y="14"/>
                    </a:lnTo>
                    <a:lnTo>
                      <a:pt x="0" y="12"/>
                    </a:lnTo>
                    <a:lnTo>
                      <a:pt x="1" y="12"/>
                    </a:lnTo>
                    <a:lnTo>
                      <a:pt x="1" y="10"/>
                    </a:lnTo>
                    <a:lnTo>
                      <a:pt x="3" y="9"/>
                    </a:lnTo>
                    <a:lnTo>
                      <a:pt x="5" y="10"/>
                    </a:lnTo>
                    <a:lnTo>
                      <a:pt x="7" y="7"/>
                    </a:lnTo>
                    <a:lnTo>
                      <a:pt x="5" y="5"/>
                    </a:lnTo>
                    <a:lnTo>
                      <a:pt x="7" y="5"/>
                    </a:lnTo>
                    <a:lnTo>
                      <a:pt x="10" y="5"/>
                    </a:lnTo>
                    <a:lnTo>
                      <a:pt x="10" y="5"/>
                    </a:lnTo>
                    <a:lnTo>
                      <a:pt x="10" y="0"/>
                    </a:lnTo>
                    <a:lnTo>
                      <a:pt x="12" y="3"/>
                    </a:lnTo>
                    <a:lnTo>
                      <a:pt x="12" y="2"/>
                    </a:lnTo>
                    <a:lnTo>
                      <a:pt x="14" y="2"/>
                    </a:lnTo>
                    <a:lnTo>
                      <a:pt x="16" y="5"/>
                    </a:lnTo>
                    <a:lnTo>
                      <a:pt x="18" y="7"/>
                    </a:lnTo>
                    <a:lnTo>
                      <a:pt x="18" y="10"/>
                    </a:lnTo>
                    <a:lnTo>
                      <a:pt x="16" y="12"/>
                    </a:lnTo>
                    <a:lnTo>
                      <a:pt x="16" y="19"/>
                    </a:lnTo>
                    <a:lnTo>
                      <a:pt x="10" y="19"/>
                    </a:lnTo>
                    <a:lnTo>
                      <a:pt x="10" y="18"/>
                    </a:lnTo>
                    <a:lnTo>
                      <a:pt x="9" y="18"/>
                    </a:lnTo>
                    <a:lnTo>
                      <a:pt x="7" y="23"/>
                    </a:lnTo>
                    <a:lnTo>
                      <a:pt x="1" y="23"/>
                    </a:lnTo>
                    <a:lnTo>
                      <a:pt x="0" y="25"/>
                    </a:lnTo>
                    <a:lnTo>
                      <a:pt x="0" y="23"/>
                    </a:lnTo>
                    <a:lnTo>
                      <a:pt x="1" y="19"/>
                    </a:lnTo>
                    <a:lnTo>
                      <a:pt x="3" y="19"/>
                    </a:lnTo>
                    <a:lnTo>
                      <a:pt x="1" y="1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75" name="Freeform 2124"/>
              <p:cNvSpPr>
                <a:spLocks/>
              </p:cNvSpPr>
              <p:nvPr/>
            </p:nvSpPr>
            <p:spPr bwMode="auto">
              <a:xfrm>
                <a:off x="2966" y="1147"/>
                <a:ext cx="18" cy="25"/>
              </a:xfrm>
              <a:custGeom>
                <a:avLst/>
                <a:gdLst>
                  <a:gd name="T0" fmla="*/ 1 w 18"/>
                  <a:gd name="T1" fmla="*/ 18 h 25"/>
                  <a:gd name="T2" fmla="*/ 0 w 18"/>
                  <a:gd name="T3" fmla="*/ 16 h 25"/>
                  <a:gd name="T4" fmla="*/ 1 w 18"/>
                  <a:gd name="T5" fmla="*/ 16 h 25"/>
                  <a:gd name="T6" fmla="*/ 1 w 18"/>
                  <a:gd name="T7" fmla="*/ 16 h 25"/>
                  <a:gd name="T8" fmla="*/ 3 w 18"/>
                  <a:gd name="T9" fmla="*/ 14 h 25"/>
                  <a:gd name="T10" fmla="*/ 0 w 18"/>
                  <a:gd name="T11" fmla="*/ 12 h 25"/>
                  <a:gd name="T12" fmla="*/ 1 w 18"/>
                  <a:gd name="T13" fmla="*/ 12 h 25"/>
                  <a:gd name="T14" fmla="*/ 1 w 18"/>
                  <a:gd name="T15" fmla="*/ 10 h 25"/>
                  <a:gd name="T16" fmla="*/ 3 w 18"/>
                  <a:gd name="T17" fmla="*/ 9 h 25"/>
                  <a:gd name="T18" fmla="*/ 5 w 18"/>
                  <a:gd name="T19" fmla="*/ 10 h 25"/>
                  <a:gd name="T20" fmla="*/ 7 w 18"/>
                  <a:gd name="T21" fmla="*/ 7 h 25"/>
                  <a:gd name="T22" fmla="*/ 5 w 18"/>
                  <a:gd name="T23" fmla="*/ 5 h 25"/>
                  <a:gd name="T24" fmla="*/ 7 w 18"/>
                  <a:gd name="T25" fmla="*/ 5 h 25"/>
                  <a:gd name="T26" fmla="*/ 10 w 18"/>
                  <a:gd name="T27" fmla="*/ 5 h 25"/>
                  <a:gd name="T28" fmla="*/ 10 w 18"/>
                  <a:gd name="T29" fmla="*/ 5 h 25"/>
                  <a:gd name="T30" fmla="*/ 10 w 18"/>
                  <a:gd name="T31" fmla="*/ 0 h 25"/>
                  <a:gd name="T32" fmla="*/ 12 w 18"/>
                  <a:gd name="T33" fmla="*/ 3 h 25"/>
                  <a:gd name="T34" fmla="*/ 12 w 18"/>
                  <a:gd name="T35" fmla="*/ 2 h 25"/>
                  <a:gd name="T36" fmla="*/ 14 w 18"/>
                  <a:gd name="T37" fmla="*/ 2 h 25"/>
                  <a:gd name="T38" fmla="*/ 16 w 18"/>
                  <a:gd name="T39" fmla="*/ 5 h 25"/>
                  <a:gd name="T40" fmla="*/ 18 w 18"/>
                  <a:gd name="T41" fmla="*/ 7 h 25"/>
                  <a:gd name="T42" fmla="*/ 18 w 18"/>
                  <a:gd name="T43" fmla="*/ 10 h 25"/>
                  <a:gd name="T44" fmla="*/ 16 w 18"/>
                  <a:gd name="T45" fmla="*/ 12 h 25"/>
                  <a:gd name="T46" fmla="*/ 16 w 18"/>
                  <a:gd name="T47" fmla="*/ 19 h 25"/>
                  <a:gd name="T48" fmla="*/ 10 w 18"/>
                  <a:gd name="T49" fmla="*/ 19 h 25"/>
                  <a:gd name="T50" fmla="*/ 10 w 18"/>
                  <a:gd name="T51" fmla="*/ 18 h 25"/>
                  <a:gd name="T52" fmla="*/ 9 w 18"/>
                  <a:gd name="T53" fmla="*/ 18 h 25"/>
                  <a:gd name="T54" fmla="*/ 7 w 18"/>
                  <a:gd name="T55" fmla="*/ 23 h 25"/>
                  <a:gd name="T56" fmla="*/ 1 w 18"/>
                  <a:gd name="T57" fmla="*/ 23 h 25"/>
                  <a:gd name="T58" fmla="*/ 0 w 18"/>
                  <a:gd name="T59" fmla="*/ 25 h 25"/>
                  <a:gd name="T60" fmla="*/ 0 w 18"/>
                  <a:gd name="T61" fmla="*/ 23 h 25"/>
                  <a:gd name="T62" fmla="*/ 1 w 18"/>
                  <a:gd name="T63" fmla="*/ 19 h 25"/>
                  <a:gd name="T64" fmla="*/ 3 w 18"/>
                  <a:gd name="T65" fmla="*/ 19 h 25"/>
                  <a:gd name="T66" fmla="*/ 1 w 18"/>
                  <a:gd name="T6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25">
                    <a:moveTo>
                      <a:pt x="1" y="18"/>
                    </a:moveTo>
                    <a:lnTo>
                      <a:pt x="0" y="16"/>
                    </a:lnTo>
                    <a:lnTo>
                      <a:pt x="1" y="16"/>
                    </a:lnTo>
                    <a:lnTo>
                      <a:pt x="1" y="16"/>
                    </a:lnTo>
                    <a:lnTo>
                      <a:pt x="3" y="14"/>
                    </a:lnTo>
                    <a:lnTo>
                      <a:pt x="0" y="12"/>
                    </a:lnTo>
                    <a:lnTo>
                      <a:pt x="1" y="12"/>
                    </a:lnTo>
                    <a:lnTo>
                      <a:pt x="1" y="10"/>
                    </a:lnTo>
                    <a:lnTo>
                      <a:pt x="3" y="9"/>
                    </a:lnTo>
                    <a:lnTo>
                      <a:pt x="5" y="10"/>
                    </a:lnTo>
                    <a:lnTo>
                      <a:pt x="7" y="7"/>
                    </a:lnTo>
                    <a:lnTo>
                      <a:pt x="5" y="5"/>
                    </a:lnTo>
                    <a:lnTo>
                      <a:pt x="7" y="5"/>
                    </a:lnTo>
                    <a:lnTo>
                      <a:pt x="10" y="5"/>
                    </a:lnTo>
                    <a:lnTo>
                      <a:pt x="10" y="5"/>
                    </a:lnTo>
                    <a:lnTo>
                      <a:pt x="10" y="0"/>
                    </a:lnTo>
                    <a:lnTo>
                      <a:pt x="12" y="3"/>
                    </a:lnTo>
                    <a:lnTo>
                      <a:pt x="12" y="2"/>
                    </a:lnTo>
                    <a:lnTo>
                      <a:pt x="14" y="2"/>
                    </a:lnTo>
                    <a:lnTo>
                      <a:pt x="16" y="5"/>
                    </a:lnTo>
                    <a:lnTo>
                      <a:pt x="18" y="7"/>
                    </a:lnTo>
                    <a:lnTo>
                      <a:pt x="18" y="10"/>
                    </a:lnTo>
                    <a:lnTo>
                      <a:pt x="16" y="12"/>
                    </a:lnTo>
                    <a:lnTo>
                      <a:pt x="16" y="19"/>
                    </a:lnTo>
                    <a:lnTo>
                      <a:pt x="10" y="19"/>
                    </a:lnTo>
                    <a:lnTo>
                      <a:pt x="10" y="18"/>
                    </a:lnTo>
                    <a:lnTo>
                      <a:pt x="9" y="18"/>
                    </a:lnTo>
                    <a:lnTo>
                      <a:pt x="7" y="23"/>
                    </a:lnTo>
                    <a:lnTo>
                      <a:pt x="1" y="23"/>
                    </a:lnTo>
                    <a:lnTo>
                      <a:pt x="0" y="25"/>
                    </a:lnTo>
                    <a:lnTo>
                      <a:pt x="0" y="23"/>
                    </a:lnTo>
                    <a:lnTo>
                      <a:pt x="1" y="19"/>
                    </a:lnTo>
                    <a:lnTo>
                      <a:pt x="3" y="19"/>
                    </a:lnTo>
                    <a:lnTo>
                      <a:pt x="1" y="1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76" name="Freeform 2125"/>
              <p:cNvSpPr>
                <a:spLocks/>
              </p:cNvSpPr>
              <p:nvPr/>
            </p:nvSpPr>
            <p:spPr bwMode="auto">
              <a:xfrm>
                <a:off x="2985" y="1134"/>
                <a:ext cx="15" cy="15"/>
              </a:xfrm>
              <a:custGeom>
                <a:avLst/>
                <a:gdLst>
                  <a:gd name="T0" fmla="*/ 4 w 15"/>
                  <a:gd name="T1" fmla="*/ 7 h 15"/>
                  <a:gd name="T2" fmla="*/ 7 w 15"/>
                  <a:gd name="T3" fmla="*/ 7 h 15"/>
                  <a:gd name="T4" fmla="*/ 7 w 15"/>
                  <a:gd name="T5" fmla="*/ 7 h 15"/>
                  <a:gd name="T6" fmla="*/ 7 w 15"/>
                  <a:gd name="T7" fmla="*/ 4 h 15"/>
                  <a:gd name="T8" fmla="*/ 9 w 15"/>
                  <a:gd name="T9" fmla="*/ 6 h 15"/>
                  <a:gd name="T10" fmla="*/ 11 w 15"/>
                  <a:gd name="T11" fmla="*/ 6 h 15"/>
                  <a:gd name="T12" fmla="*/ 11 w 15"/>
                  <a:gd name="T13" fmla="*/ 2 h 15"/>
                  <a:gd name="T14" fmla="*/ 11 w 15"/>
                  <a:gd name="T15" fmla="*/ 0 h 15"/>
                  <a:gd name="T16" fmla="*/ 15 w 15"/>
                  <a:gd name="T17" fmla="*/ 2 h 15"/>
                  <a:gd name="T18" fmla="*/ 15 w 15"/>
                  <a:gd name="T19" fmla="*/ 4 h 15"/>
                  <a:gd name="T20" fmla="*/ 13 w 15"/>
                  <a:gd name="T21" fmla="*/ 9 h 15"/>
                  <a:gd name="T22" fmla="*/ 13 w 15"/>
                  <a:gd name="T23" fmla="*/ 13 h 15"/>
                  <a:gd name="T24" fmla="*/ 6 w 15"/>
                  <a:gd name="T25" fmla="*/ 15 h 15"/>
                  <a:gd name="T26" fmla="*/ 0 w 15"/>
                  <a:gd name="T27" fmla="*/ 13 h 15"/>
                  <a:gd name="T28" fmla="*/ 0 w 15"/>
                  <a:gd name="T29" fmla="*/ 13 h 15"/>
                  <a:gd name="T30" fmla="*/ 2 w 15"/>
                  <a:gd name="T31" fmla="*/ 13 h 15"/>
                  <a:gd name="T32" fmla="*/ 4 w 15"/>
                  <a:gd name="T33" fmla="*/ 11 h 15"/>
                  <a:gd name="T34" fmla="*/ 4 w 15"/>
                  <a:gd name="T35"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15">
                    <a:moveTo>
                      <a:pt x="4" y="7"/>
                    </a:moveTo>
                    <a:lnTo>
                      <a:pt x="7" y="7"/>
                    </a:lnTo>
                    <a:lnTo>
                      <a:pt x="7" y="7"/>
                    </a:lnTo>
                    <a:lnTo>
                      <a:pt x="7" y="4"/>
                    </a:lnTo>
                    <a:lnTo>
                      <a:pt x="9" y="6"/>
                    </a:lnTo>
                    <a:lnTo>
                      <a:pt x="11" y="6"/>
                    </a:lnTo>
                    <a:lnTo>
                      <a:pt x="11" y="2"/>
                    </a:lnTo>
                    <a:lnTo>
                      <a:pt x="11" y="0"/>
                    </a:lnTo>
                    <a:lnTo>
                      <a:pt x="15" y="2"/>
                    </a:lnTo>
                    <a:lnTo>
                      <a:pt x="15" y="4"/>
                    </a:lnTo>
                    <a:lnTo>
                      <a:pt x="13" y="9"/>
                    </a:lnTo>
                    <a:lnTo>
                      <a:pt x="13" y="13"/>
                    </a:lnTo>
                    <a:lnTo>
                      <a:pt x="6" y="15"/>
                    </a:lnTo>
                    <a:lnTo>
                      <a:pt x="0" y="13"/>
                    </a:lnTo>
                    <a:lnTo>
                      <a:pt x="0" y="13"/>
                    </a:lnTo>
                    <a:lnTo>
                      <a:pt x="2" y="13"/>
                    </a:lnTo>
                    <a:lnTo>
                      <a:pt x="4" y="11"/>
                    </a:lnTo>
                    <a:lnTo>
                      <a:pt x="4"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77" name="Freeform 2126"/>
              <p:cNvSpPr>
                <a:spLocks/>
              </p:cNvSpPr>
              <p:nvPr/>
            </p:nvSpPr>
            <p:spPr bwMode="auto">
              <a:xfrm>
                <a:off x="2985" y="1134"/>
                <a:ext cx="15" cy="15"/>
              </a:xfrm>
              <a:custGeom>
                <a:avLst/>
                <a:gdLst>
                  <a:gd name="T0" fmla="*/ 4 w 15"/>
                  <a:gd name="T1" fmla="*/ 7 h 15"/>
                  <a:gd name="T2" fmla="*/ 7 w 15"/>
                  <a:gd name="T3" fmla="*/ 7 h 15"/>
                  <a:gd name="T4" fmla="*/ 7 w 15"/>
                  <a:gd name="T5" fmla="*/ 7 h 15"/>
                  <a:gd name="T6" fmla="*/ 7 w 15"/>
                  <a:gd name="T7" fmla="*/ 4 h 15"/>
                  <a:gd name="T8" fmla="*/ 9 w 15"/>
                  <a:gd name="T9" fmla="*/ 6 h 15"/>
                  <a:gd name="T10" fmla="*/ 11 w 15"/>
                  <a:gd name="T11" fmla="*/ 6 h 15"/>
                  <a:gd name="T12" fmla="*/ 11 w 15"/>
                  <a:gd name="T13" fmla="*/ 2 h 15"/>
                  <a:gd name="T14" fmla="*/ 11 w 15"/>
                  <a:gd name="T15" fmla="*/ 0 h 15"/>
                  <a:gd name="T16" fmla="*/ 15 w 15"/>
                  <a:gd name="T17" fmla="*/ 2 h 15"/>
                  <a:gd name="T18" fmla="*/ 15 w 15"/>
                  <a:gd name="T19" fmla="*/ 4 h 15"/>
                  <a:gd name="T20" fmla="*/ 13 w 15"/>
                  <a:gd name="T21" fmla="*/ 9 h 15"/>
                  <a:gd name="T22" fmla="*/ 13 w 15"/>
                  <a:gd name="T23" fmla="*/ 13 h 15"/>
                  <a:gd name="T24" fmla="*/ 6 w 15"/>
                  <a:gd name="T25" fmla="*/ 15 h 15"/>
                  <a:gd name="T26" fmla="*/ 0 w 15"/>
                  <a:gd name="T27" fmla="*/ 13 h 15"/>
                  <a:gd name="T28" fmla="*/ 0 w 15"/>
                  <a:gd name="T29" fmla="*/ 13 h 15"/>
                  <a:gd name="T30" fmla="*/ 2 w 15"/>
                  <a:gd name="T31" fmla="*/ 13 h 15"/>
                  <a:gd name="T32" fmla="*/ 4 w 15"/>
                  <a:gd name="T33" fmla="*/ 11 h 15"/>
                  <a:gd name="T34" fmla="*/ 4 w 15"/>
                  <a:gd name="T35"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15">
                    <a:moveTo>
                      <a:pt x="4" y="7"/>
                    </a:moveTo>
                    <a:lnTo>
                      <a:pt x="7" y="7"/>
                    </a:lnTo>
                    <a:lnTo>
                      <a:pt x="7" y="7"/>
                    </a:lnTo>
                    <a:lnTo>
                      <a:pt x="7" y="4"/>
                    </a:lnTo>
                    <a:lnTo>
                      <a:pt x="9" y="6"/>
                    </a:lnTo>
                    <a:lnTo>
                      <a:pt x="11" y="6"/>
                    </a:lnTo>
                    <a:lnTo>
                      <a:pt x="11" y="2"/>
                    </a:lnTo>
                    <a:lnTo>
                      <a:pt x="11" y="0"/>
                    </a:lnTo>
                    <a:lnTo>
                      <a:pt x="15" y="2"/>
                    </a:lnTo>
                    <a:lnTo>
                      <a:pt x="15" y="4"/>
                    </a:lnTo>
                    <a:lnTo>
                      <a:pt x="13" y="9"/>
                    </a:lnTo>
                    <a:lnTo>
                      <a:pt x="13" y="13"/>
                    </a:lnTo>
                    <a:lnTo>
                      <a:pt x="6" y="15"/>
                    </a:lnTo>
                    <a:lnTo>
                      <a:pt x="0" y="13"/>
                    </a:lnTo>
                    <a:lnTo>
                      <a:pt x="0" y="13"/>
                    </a:lnTo>
                    <a:lnTo>
                      <a:pt x="2" y="13"/>
                    </a:lnTo>
                    <a:lnTo>
                      <a:pt x="4" y="11"/>
                    </a:lnTo>
                    <a:lnTo>
                      <a:pt x="4"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78" name="Freeform 2127"/>
              <p:cNvSpPr>
                <a:spLocks/>
              </p:cNvSpPr>
              <p:nvPr/>
            </p:nvSpPr>
            <p:spPr bwMode="auto">
              <a:xfrm>
                <a:off x="2996" y="1124"/>
                <a:ext cx="13" cy="12"/>
              </a:xfrm>
              <a:custGeom>
                <a:avLst/>
                <a:gdLst>
                  <a:gd name="T0" fmla="*/ 2 w 13"/>
                  <a:gd name="T1" fmla="*/ 3 h 12"/>
                  <a:gd name="T2" fmla="*/ 0 w 13"/>
                  <a:gd name="T3" fmla="*/ 3 h 12"/>
                  <a:gd name="T4" fmla="*/ 0 w 13"/>
                  <a:gd name="T5" fmla="*/ 3 h 12"/>
                  <a:gd name="T6" fmla="*/ 0 w 13"/>
                  <a:gd name="T7" fmla="*/ 1 h 12"/>
                  <a:gd name="T8" fmla="*/ 0 w 13"/>
                  <a:gd name="T9" fmla="*/ 0 h 12"/>
                  <a:gd name="T10" fmla="*/ 2 w 13"/>
                  <a:gd name="T11" fmla="*/ 1 h 12"/>
                  <a:gd name="T12" fmla="*/ 5 w 13"/>
                  <a:gd name="T13" fmla="*/ 1 h 12"/>
                  <a:gd name="T14" fmla="*/ 5 w 13"/>
                  <a:gd name="T15" fmla="*/ 1 h 12"/>
                  <a:gd name="T16" fmla="*/ 7 w 13"/>
                  <a:gd name="T17" fmla="*/ 1 h 12"/>
                  <a:gd name="T18" fmla="*/ 5 w 13"/>
                  <a:gd name="T19" fmla="*/ 7 h 12"/>
                  <a:gd name="T20" fmla="*/ 7 w 13"/>
                  <a:gd name="T21" fmla="*/ 7 h 12"/>
                  <a:gd name="T22" fmla="*/ 7 w 13"/>
                  <a:gd name="T23" fmla="*/ 5 h 12"/>
                  <a:gd name="T24" fmla="*/ 9 w 13"/>
                  <a:gd name="T25" fmla="*/ 3 h 12"/>
                  <a:gd name="T26" fmla="*/ 13 w 13"/>
                  <a:gd name="T27" fmla="*/ 5 h 12"/>
                  <a:gd name="T28" fmla="*/ 9 w 13"/>
                  <a:gd name="T29" fmla="*/ 12 h 12"/>
                  <a:gd name="T30" fmla="*/ 7 w 13"/>
                  <a:gd name="T31" fmla="*/ 12 h 12"/>
                  <a:gd name="T32" fmla="*/ 2 w 13"/>
                  <a:gd name="T33" fmla="*/ 8 h 12"/>
                  <a:gd name="T34" fmla="*/ 2 w 13"/>
                  <a:gd name="T35" fmla="*/ 7 h 12"/>
                  <a:gd name="T36" fmla="*/ 2 w 13"/>
                  <a:gd name="T37" fmla="*/ 7 h 12"/>
                  <a:gd name="T38" fmla="*/ 4 w 13"/>
                  <a:gd name="T39" fmla="*/ 3 h 12"/>
                  <a:gd name="T40" fmla="*/ 2 w 13"/>
                  <a:gd name="T4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12">
                    <a:moveTo>
                      <a:pt x="2" y="3"/>
                    </a:moveTo>
                    <a:lnTo>
                      <a:pt x="0" y="3"/>
                    </a:lnTo>
                    <a:lnTo>
                      <a:pt x="0" y="3"/>
                    </a:lnTo>
                    <a:lnTo>
                      <a:pt x="0" y="1"/>
                    </a:lnTo>
                    <a:lnTo>
                      <a:pt x="0" y="0"/>
                    </a:lnTo>
                    <a:lnTo>
                      <a:pt x="2" y="1"/>
                    </a:lnTo>
                    <a:lnTo>
                      <a:pt x="5" y="1"/>
                    </a:lnTo>
                    <a:lnTo>
                      <a:pt x="5" y="1"/>
                    </a:lnTo>
                    <a:lnTo>
                      <a:pt x="7" y="1"/>
                    </a:lnTo>
                    <a:lnTo>
                      <a:pt x="5" y="7"/>
                    </a:lnTo>
                    <a:lnTo>
                      <a:pt x="7" y="7"/>
                    </a:lnTo>
                    <a:lnTo>
                      <a:pt x="7" y="5"/>
                    </a:lnTo>
                    <a:lnTo>
                      <a:pt x="9" y="3"/>
                    </a:lnTo>
                    <a:lnTo>
                      <a:pt x="13" y="5"/>
                    </a:lnTo>
                    <a:lnTo>
                      <a:pt x="9" y="12"/>
                    </a:lnTo>
                    <a:lnTo>
                      <a:pt x="7" y="12"/>
                    </a:lnTo>
                    <a:lnTo>
                      <a:pt x="2" y="8"/>
                    </a:lnTo>
                    <a:lnTo>
                      <a:pt x="2" y="7"/>
                    </a:lnTo>
                    <a:lnTo>
                      <a:pt x="2" y="7"/>
                    </a:lnTo>
                    <a:lnTo>
                      <a:pt x="4" y="3"/>
                    </a:lnTo>
                    <a:lnTo>
                      <a:pt x="2"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79" name="Freeform 2128"/>
              <p:cNvSpPr>
                <a:spLocks/>
              </p:cNvSpPr>
              <p:nvPr/>
            </p:nvSpPr>
            <p:spPr bwMode="auto">
              <a:xfrm>
                <a:off x="2996" y="1124"/>
                <a:ext cx="13" cy="12"/>
              </a:xfrm>
              <a:custGeom>
                <a:avLst/>
                <a:gdLst>
                  <a:gd name="T0" fmla="*/ 2 w 13"/>
                  <a:gd name="T1" fmla="*/ 3 h 12"/>
                  <a:gd name="T2" fmla="*/ 0 w 13"/>
                  <a:gd name="T3" fmla="*/ 3 h 12"/>
                  <a:gd name="T4" fmla="*/ 0 w 13"/>
                  <a:gd name="T5" fmla="*/ 3 h 12"/>
                  <a:gd name="T6" fmla="*/ 0 w 13"/>
                  <a:gd name="T7" fmla="*/ 1 h 12"/>
                  <a:gd name="T8" fmla="*/ 0 w 13"/>
                  <a:gd name="T9" fmla="*/ 0 h 12"/>
                  <a:gd name="T10" fmla="*/ 2 w 13"/>
                  <a:gd name="T11" fmla="*/ 1 h 12"/>
                  <a:gd name="T12" fmla="*/ 5 w 13"/>
                  <a:gd name="T13" fmla="*/ 1 h 12"/>
                  <a:gd name="T14" fmla="*/ 5 w 13"/>
                  <a:gd name="T15" fmla="*/ 1 h 12"/>
                  <a:gd name="T16" fmla="*/ 7 w 13"/>
                  <a:gd name="T17" fmla="*/ 1 h 12"/>
                  <a:gd name="T18" fmla="*/ 5 w 13"/>
                  <a:gd name="T19" fmla="*/ 7 h 12"/>
                  <a:gd name="T20" fmla="*/ 7 w 13"/>
                  <a:gd name="T21" fmla="*/ 7 h 12"/>
                  <a:gd name="T22" fmla="*/ 7 w 13"/>
                  <a:gd name="T23" fmla="*/ 5 h 12"/>
                  <a:gd name="T24" fmla="*/ 9 w 13"/>
                  <a:gd name="T25" fmla="*/ 3 h 12"/>
                  <a:gd name="T26" fmla="*/ 13 w 13"/>
                  <a:gd name="T27" fmla="*/ 5 h 12"/>
                  <a:gd name="T28" fmla="*/ 9 w 13"/>
                  <a:gd name="T29" fmla="*/ 12 h 12"/>
                  <a:gd name="T30" fmla="*/ 7 w 13"/>
                  <a:gd name="T31" fmla="*/ 12 h 12"/>
                  <a:gd name="T32" fmla="*/ 2 w 13"/>
                  <a:gd name="T33" fmla="*/ 8 h 12"/>
                  <a:gd name="T34" fmla="*/ 2 w 13"/>
                  <a:gd name="T35" fmla="*/ 7 h 12"/>
                  <a:gd name="T36" fmla="*/ 2 w 13"/>
                  <a:gd name="T37" fmla="*/ 7 h 12"/>
                  <a:gd name="T38" fmla="*/ 4 w 13"/>
                  <a:gd name="T39" fmla="*/ 3 h 12"/>
                  <a:gd name="T40" fmla="*/ 2 w 13"/>
                  <a:gd name="T41"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12">
                    <a:moveTo>
                      <a:pt x="2" y="3"/>
                    </a:moveTo>
                    <a:lnTo>
                      <a:pt x="0" y="3"/>
                    </a:lnTo>
                    <a:lnTo>
                      <a:pt x="0" y="3"/>
                    </a:lnTo>
                    <a:lnTo>
                      <a:pt x="0" y="1"/>
                    </a:lnTo>
                    <a:lnTo>
                      <a:pt x="0" y="0"/>
                    </a:lnTo>
                    <a:lnTo>
                      <a:pt x="2" y="1"/>
                    </a:lnTo>
                    <a:lnTo>
                      <a:pt x="5" y="1"/>
                    </a:lnTo>
                    <a:lnTo>
                      <a:pt x="5" y="1"/>
                    </a:lnTo>
                    <a:lnTo>
                      <a:pt x="7" y="1"/>
                    </a:lnTo>
                    <a:lnTo>
                      <a:pt x="5" y="7"/>
                    </a:lnTo>
                    <a:lnTo>
                      <a:pt x="7" y="7"/>
                    </a:lnTo>
                    <a:lnTo>
                      <a:pt x="7" y="5"/>
                    </a:lnTo>
                    <a:lnTo>
                      <a:pt x="9" y="3"/>
                    </a:lnTo>
                    <a:lnTo>
                      <a:pt x="13" y="5"/>
                    </a:lnTo>
                    <a:lnTo>
                      <a:pt x="9" y="12"/>
                    </a:lnTo>
                    <a:lnTo>
                      <a:pt x="7" y="12"/>
                    </a:lnTo>
                    <a:lnTo>
                      <a:pt x="2" y="8"/>
                    </a:lnTo>
                    <a:lnTo>
                      <a:pt x="2" y="7"/>
                    </a:lnTo>
                    <a:lnTo>
                      <a:pt x="2" y="7"/>
                    </a:lnTo>
                    <a:lnTo>
                      <a:pt x="4" y="3"/>
                    </a:lnTo>
                    <a:lnTo>
                      <a:pt x="2"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80" name="Freeform 2129"/>
              <p:cNvSpPr>
                <a:spLocks/>
              </p:cNvSpPr>
              <p:nvPr/>
            </p:nvSpPr>
            <p:spPr bwMode="auto">
              <a:xfrm>
                <a:off x="3009" y="1116"/>
                <a:ext cx="8" cy="11"/>
              </a:xfrm>
              <a:custGeom>
                <a:avLst/>
                <a:gdLst>
                  <a:gd name="T0" fmla="*/ 5 w 8"/>
                  <a:gd name="T1" fmla="*/ 4 h 11"/>
                  <a:gd name="T2" fmla="*/ 5 w 8"/>
                  <a:gd name="T3" fmla="*/ 4 h 11"/>
                  <a:gd name="T4" fmla="*/ 5 w 8"/>
                  <a:gd name="T5" fmla="*/ 6 h 11"/>
                  <a:gd name="T6" fmla="*/ 7 w 8"/>
                  <a:gd name="T7" fmla="*/ 6 h 11"/>
                  <a:gd name="T8" fmla="*/ 8 w 8"/>
                  <a:gd name="T9" fmla="*/ 8 h 11"/>
                  <a:gd name="T10" fmla="*/ 7 w 8"/>
                  <a:gd name="T11" fmla="*/ 11 h 11"/>
                  <a:gd name="T12" fmla="*/ 3 w 8"/>
                  <a:gd name="T13" fmla="*/ 9 h 11"/>
                  <a:gd name="T14" fmla="*/ 0 w 8"/>
                  <a:gd name="T15" fmla="*/ 0 h 11"/>
                  <a:gd name="T16" fmla="*/ 1 w 8"/>
                  <a:gd name="T17" fmla="*/ 0 h 11"/>
                  <a:gd name="T18" fmla="*/ 3 w 8"/>
                  <a:gd name="T19" fmla="*/ 0 h 11"/>
                  <a:gd name="T20" fmla="*/ 3 w 8"/>
                  <a:gd name="T21" fmla="*/ 6 h 11"/>
                  <a:gd name="T22" fmla="*/ 5 w 8"/>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1">
                    <a:moveTo>
                      <a:pt x="5" y="4"/>
                    </a:moveTo>
                    <a:lnTo>
                      <a:pt x="5" y="4"/>
                    </a:lnTo>
                    <a:lnTo>
                      <a:pt x="5" y="6"/>
                    </a:lnTo>
                    <a:lnTo>
                      <a:pt x="7" y="6"/>
                    </a:lnTo>
                    <a:lnTo>
                      <a:pt x="8" y="8"/>
                    </a:lnTo>
                    <a:lnTo>
                      <a:pt x="7" y="11"/>
                    </a:lnTo>
                    <a:lnTo>
                      <a:pt x="3" y="9"/>
                    </a:lnTo>
                    <a:lnTo>
                      <a:pt x="0" y="0"/>
                    </a:lnTo>
                    <a:lnTo>
                      <a:pt x="1" y="0"/>
                    </a:lnTo>
                    <a:lnTo>
                      <a:pt x="3" y="0"/>
                    </a:lnTo>
                    <a:lnTo>
                      <a:pt x="3" y="6"/>
                    </a:lnTo>
                    <a:lnTo>
                      <a:pt x="5"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81" name="Freeform 2130"/>
              <p:cNvSpPr>
                <a:spLocks/>
              </p:cNvSpPr>
              <p:nvPr/>
            </p:nvSpPr>
            <p:spPr bwMode="auto">
              <a:xfrm>
                <a:off x="3009" y="1116"/>
                <a:ext cx="8" cy="11"/>
              </a:xfrm>
              <a:custGeom>
                <a:avLst/>
                <a:gdLst>
                  <a:gd name="T0" fmla="*/ 5 w 8"/>
                  <a:gd name="T1" fmla="*/ 4 h 11"/>
                  <a:gd name="T2" fmla="*/ 5 w 8"/>
                  <a:gd name="T3" fmla="*/ 4 h 11"/>
                  <a:gd name="T4" fmla="*/ 5 w 8"/>
                  <a:gd name="T5" fmla="*/ 6 h 11"/>
                  <a:gd name="T6" fmla="*/ 7 w 8"/>
                  <a:gd name="T7" fmla="*/ 6 h 11"/>
                  <a:gd name="T8" fmla="*/ 8 w 8"/>
                  <a:gd name="T9" fmla="*/ 8 h 11"/>
                  <a:gd name="T10" fmla="*/ 7 w 8"/>
                  <a:gd name="T11" fmla="*/ 11 h 11"/>
                  <a:gd name="T12" fmla="*/ 3 w 8"/>
                  <a:gd name="T13" fmla="*/ 9 h 11"/>
                  <a:gd name="T14" fmla="*/ 0 w 8"/>
                  <a:gd name="T15" fmla="*/ 0 h 11"/>
                  <a:gd name="T16" fmla="*/ 1 w 8"/>
                  <a:gd name="T17" fmla="*/ 0 h 11"/>
                  <a:gd name="T18" fmla="*/ 3 w 8"/>
                  <a:gd name="T19" fmla="*/ 0 h 11"/>
                  <a:gd name="T20" fmla="*/ 3 w 8"/>
                  <a:gd name="T21" fmla="*/ 6 h 11"/>
                  <a:gd name="T22" fmla="*/ 5 w 8"/>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1">
                    <a:moveTo>
                      <a:pt x="5" y="4"/>
                    </a:moveTo>
                    <a:lnTo>
                      <a:pt x="5" y="4"/>
                    </a:lnTo>
                    <a:lnTo>
                      <a:pt x="5" y="6"/>
                    </a:lnTo>
                    <a:lnTo>
                      <a:pt x="7" y="6"/>
                    </a:lnTo>
                    <a:lnTo>
                      <a:pt x="8" y="8"/>
                    </a:lnTo>
                    <a:lnTo>
                      <a:pt x="7" y="11"/>
                    </a:lnTo>
                    <a:lnTo>
                      <a:pt x="3" y="9"/>
                    </a:lnTo>
                    <a:lnTo>
                      <a:pt x="0" y="0"/>
                    </a:lnTo>
                    <a:lnTo>
                      <a:pt x="1" y="0"/>
                    </a:lnTo>
                    <a:lnTo>
                      <a:pt x="3" y="0"/>
                    </a:lnTo>
                    <a:lnTo>
                      <a:pt x="3" y="6"/>
                    </a:lnTo>
                    <a:lnTo>
                      <a:pt x="5"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82" name="Freeform 2131"/>
              <p:cNvSpPr>
                <a:spLocks/>
              </p:cNvSpPr>
              <p:nvPr/>
            </p:nvSpPr>
            <p:spPr bwMode="auto">
              <a:xfrm>
                <a:off x="3025" y="1116"/>
                <a:ext cx="3" cy="11"/>
              </a:xfrm>
              <a:custGeom>
                <a:avLst/>
                <a:gdLst>
                  <a:gd name="T0" fmla="*/ 1 w 3"/>
                  <a:gd name="T1" fmla="*/ 2 h 11"/>
                  <a:gd name="T2" fmla="*/ 3 w 3"/>
                  <a:gd name="T3" fmla="*/ 0 h 11"/>
                  <a:gd name="T4" fmla="*/ 3 w 3"/>
                  <a:gd name="T5" fmla="*/ 4 h 11"/>
                  <a:gd name="T6" fmla="*/ 3 w 3"/>
                  <a:gd name="T7" fmla="*/ 9 h 11"/>
                  <a:gd name="T8" fmla="*/ 3 w 3"/>
                  <a:gd name="T9" fmla="*/ 11 h 11"/>
                  <a:gd name="T10" fmla="*/ 1 w 3"/>
                  <a:gd name="T11" fmla="*/ 9 h 11"/>
                  <a:gd name="T12" fmla="*/ 1 w 3"/>
                  <a:gd name="T13" fmla="*/ 8 h 11"/>
                  <a:gd name="T14" fmla="*/ 0 w 3"/>
                  <a:gd name="T15" fmla="*/ 9 h 11"/>
                  <a:gd name="T16" fmla="*/ 0 w 3"/>
                  <a:gd name="T17" fmla="*/ 8 h 11"/>
                  <a:gd name="T18" fmla="*/ 0 w 3"/>
                  <a:gd name="T19" fmla="*/ 4 h 11"/>
                  <a:gd name="T20" fmla="*/ 0 w 3"/>
                  <a:gd name="T21" fmla="*/ 2 h 11"/>
                  <a:gd name="T22" fmla="*/ 1 w 3"/>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11">
                    <a:moveTo>
                      <a:pt x="1" y="2"/>
                    </a:moveTo>
                    <a:lnTo>
                      <a:pt x="3" y="0"/>
                    </a:lnTo>
                    <a:lnTo>
                      <a:pt x="3" y="4"/>
                    </a:lnTo>
                    <a:lnTo>
                      <a:pt x="3" y="9"/>
                    </a:lnTo>
                    <a:lnTo>
                      <a:pt x="3" y="11"/>
                    </a:lnTo>
                    <a:lnTo>
                      <a:pt x="1" y="9"/>
                    </a:lnTo>
                    <a:lnTo>
                      <a:pt x="1" y="8"/>
                    </a:lnTo>
                    <a:lnTo>
                      <a:pt x="0" y="9"/>
                    </a:lnTo>
                    <a:lnTo>
                      <a:pt x="0" y="8"/>
                    </a:lnTo>
                    <a:lnTo>
                      <a:pt x="0" y="4"/>
                    </a:lnTo>
                    <a:lnTo>
                      <a:pt x="0" y="2"/>
                    </a:lnTo>
                    <a:lnTo>
                      <a:pt x="1"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83" name="Freeform 2132"/>
              <p:cNvSpPr>
                <a:spLocks/>
              </p:cNvSpPr>
              <p:nvPr/>
            </p:nvSpPr>
            <p:spPr bwMode="auto">
              <a:xfrm>
                <a:off x="3025" y="1116"/>
                <a:ext cx="3" cy="11"/>
              </a:xfrm>
              <a:custGeom>
                <a:avLst/>
                <a:gdLst>
                  <a:gd name="T0" fmla="*/ 1 w 3"/>
                  <a:gd name="T1" fmla="*/ 2 h 11"/>
                  <a:gd name="T2" fmla="*/ 3 w 3"/>
                  <a:gd name="T3" fmla="*/ 0 h 11"/>
                  <a:gd name="T4" fmla="*/ 3 w 3"/>
                  <a:gd name="T5" fmla="*/ 4 h 11"/>
                  <a:gd name="T6" fmla="*/ 3 w 3"/>
                  <a:gd name="T7" fmla="*/ 9 h 11"/>
                  <a:gd name="T8" fmla="*/ 3 w 3"/>
                  <a:gd name="T9" fmla="*/ 11 h 11"/>
                  <a:gd name="T10" fmla="*/ 1 w 3"/>
                  <a:gd name="T11" fmla="*/ 9 h 11"/>
                  <a:gd name="T12" fmla="*/ 1 w 3"/>
                  <a:gd name="T13" fmla="*/ 8 h 11"/>
                  <a:gd name="T14" fmla="*/ 0 w 3"/>
                  <a:gd name="T15" fmla="*/ 9 h 11"/>
                  <a:gd name="T16" fmla="*/ 0 w 3"/>
                  <a:gd name="T17" fmla="*/ 8 h 11"/>
                  <a:gd name="T18" fmla="*/ 0 w 3"/>
                  <a:gd name="T19" fmla="*/ 4 h 11"/>
                  <a:gd name="T20" fmla="*/ 0 w 3"/>
                  <a:gd name="T21" fmla="*/ 2 h 11"/>
                  <a:gd name="T22" fmla="*/ 1 w 3"/>
                  <a:gd name="T2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11">
                    <a:moveTo>
                      <a:pt x="1" y="2"/>
                    </a:moveTo>
                    <a:lnTo>
                      <a:pt x="3" y="0"/>
                    </a:lnTo>
                    <a:lnTo>
                      <a:pt x="3" y="4"/>
                    </a:lnTo>
                    <a:lnTo>
                      <a:pt x="3" y="9"/>
                    </a:lnTo>
                    <a:lnTo>
                      <a:pt x="3" y="11"/>
                    </a:lnTo>
                    <a:lnTo>
                      <a:pt x="1" y="9"/>
                    </a:lnTo>
                    <a:lnTo>
                      <a:pt x="1" y="8"/>
                    </a:lnTo>
                    <a:lnTo>
                      <a:pt x="0" y="9"/>
                    </a:lnTo>
                    <a:lnTo>
                      <a:pt x="0" y="8"/>
                    </a:lnTo>
                    <a:lnTo>
                      <a:pt x="0" y="4"/>
                    </a:lnTo>
                    <a:lnTo>
                      <a:pt x="0" y="2"/>
                    </a:lnTo>
                    <a:lnTo>
                      <a:pt x="1"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84" name="Freeform 2133"/>
              <p:cNvSpPr>
                <a:spLocks/>
              </p:cNvSpPr>
              <p:nvPr/>
            </p:nvSpPr>
            <p:spPr bwMode="auto">
              <a:xfrm>
                <a:off x="3055" y="1111"/>
                <a:ext cx="9" cy="5"/>
              </a:xfrm>
              <a:custGeom>
                <a:avLst/>
                <a:gdLst>
                  <a:gd name="T0" fmla="*/ 5 w 9"/>
                  <a:gd name="T1" fmla="*/ 5 h 5"/>
                  <a:gd name="T2" fmla="*/ 0 w 9"/>
                  <a:gd name="T3" fmla="*/ 4 h 5"/>
                  <a:gd name="T4" fmla="*/ 0 w 9"/>
                  <a:gd name="T5" fmla="*/ 2 h 5"/>
                  <a:gd name="T6" fmla="*/ 2 w 9"/>
                  <a:gd name="T7" fmla="*/ 0 h 5"/>
                  <a:gd name="T8" fmla="*/ 7 w 9"/>
                  <a:gd name="T9" fmla="*/ 2 h 5"/>
                  <a:gd name="T10" fmla="*/ 7 w 9"/>
                  <a:gd name="T11" fmla="*/ 4 h 5"/>
                  <a:gd name="T12" fmla="*/ 9 w 9"/>
                  <a:gd name="T13" fmla="*/ 5 h 5"/>
                  <a:gd name="T14" fmla="*/ 5 w 9"/>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5" y="5"/>
                    </a:moveTo>
                    <a:lnTo>
                      <a:pt x="0" y="4"/>
                    </a:lnTo>
                    <a:lnTo>
                      <a:pt x="0" y="2"/>
                    </a:lnTo>
                    <a:lnTo>
                      <a:pt x="2" y="0"/>
                    </a:lnTo>
                    <a:lnTo>
                      <a:pt x="7" y="2"/>
                    </a:lnTo>
                    <a:lnTo>
                      <a:pt x="7" y="4"/>
                    </a:lnTo>
                    <a:lnTo>
                      <a:pt x="9" y="5"/>
                    </a:lnTo>
                    <a:lnTo>
                      <a:pt x="5"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85" name="Freeform 2134"/>
              <p:cNvSpPr>
                <a:spLocks/>
              </p:cNvSpPr>
              <p:nvPr/>
            </p:nvSpPr>
            <p:spPr bwMode="auto">
              <a:xfrm>
                <a:off x="3055" y="1111"/>
                <a:ext cx="9" cy="5"/>
              </a:xfrm>
              <a:custGeom>
                <a:avLst/>
                <a:gdLst>
                  <a:gd name="T0" fmla="*/ 5 w 9"/>
                  <a:gd name="T1" fmla="*/ 5 h 5"/>
                  <a:gd name="T2" fmla="*/ 0 w 9"/>
                  <a:gd name="T3" fmla="*/ 4 h 5"/>
                  <a:gd name="T4" fmla="*/ 0 w 9"/>
                  <a:gd name="T5" fmla="*/ 2 h 5"/>
                  <a:gd name="T6" fmla="*/ 2 w 9"/>
                  <a:gd name="T7" fmla="*/ 0 h 5"/>
                  <a:gd name="T8" fmla="*/ 7 w 9"/>
                  <a:gd name="T9" fmla="*/ 2 h 5"/>
                  <a:gd name="T10" fmla="*/ 7 w 9"/>
                  <a:gd name="T11" fmla="*/ 4 h 5"/>
                  <a:gd name="T12" fmla="*/ 9 w 9"/>
                  <a:gd name="T13" fmla="*/ 5 h 5"/>
                  <a:gd name="T14" fmla="*/ 5 w 9"/>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5" y="5"/>
                    </a:moveTo>
                    <a:lnTo>
                      <a:pt x="0" y="4"/>
                    </a:lnTo>
                    <a:lnTo>
                      <a:pt x="0" y="2"/>
                    </a:lnTo>
                    <a:lnTo>
                      <a:pt x="2" y="0"/>
                    </a:lnTo>
                    <a:lnTo>
                      <a:pt x="7" y="2"/>
                    </a:lnTo>
                    <a:lnTo>
                      <a:pt x="7" y="4"/>
                    </a:lnTo>
                    <a:lnTo>
                      <a:pt x="9" y="5"/>
                    </a:lnTo>
                    <a:lnTo>
                      <a:pt x="5"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86" name="Freeform 2135"/>
              <p:cNvSpPr>
                <a:spLocks/>
              </p:cNvSpPr>
              <p:nvPr/>
            </p:nvSpPr>
            <p:spPr bwMode="auto">
              <a:xfrm>
                <a:off x="3050" y="1093"/>
                <a:ext cx="16" cy="13"/>
              </a:xfrm>
              <a:custGeom>
                <a:avLst/>
                <a:gdLst>
                  <a:gd name="T0" fmla="*/ 3 w 16"/>
                  <a:gd name="T1" fmla="*/ 4 h 13"/>
                  <a:gd name="T2" fmla="*/ 5 w 16"/>
                  <a:gd name="T3" fmla="*/ 4 h 13"/>
                  <a:gd name="T4" fmla="*/ 5 w 16"/>
                  <a:gd name="T5" fmla="*/ 2 h 13"/>
                  <a:gd name="T6" fmla="*/ 7 w 16"/>
                  <a:gd name="T7" fmla="*/ 2 h 13"/>
                  <a:gd name="T8" fmla="*/ 7 w 16"/>
                  <a:gd name="T9" fmla="*/ 2 h 13"/>
                  <a:gd name="T10" fmla="*/ 7 w 16"/>
                  <a:gd name="T11" fmla="*/ 2 h 13"/>
                  <a:gd name="T12" fmla="*/ 7 w 16"/>
                  <a:gd name="T13" fmla="*/ 6 h 13"/>
                  <a:gd name="T14" fmla="*/ 10 w 16"/>
                  <a:gd name="T15" fmla="*/ 4 h 13"/>
                  <a:gd name="T16" fmla="*/ 10 w 16"/>
                  <a:gd name="T17" fmla="*/ 0 h 13"/>
                  <a:gd name="T18" fmla="*/ 12 w 16"/>
                  <a:gd name="T19" fmla="*/ 0 h 13"/>
                  <a:gd name="T20" fmla="*/ 12 w 16"/>
                  <a:gd name="T21" fmla="*/ 2 h 13"/>
                  <a:gd name="T22" fmla="*/ 16 w 16"/>
                  <a:gd name="T23" fmla="*/ 4 h 13"/>
                  <a:gd name="T24" fmla="*/ 16 w 16"/>
                  <a:gd name="T25" fmla="*/ 6 h 13"/>
                  <a:gd name="T26" fmla="*/ 16 w 16"/>
                  <a:gd name="T27" fmla="*/ 7 h 13"/>
                  <a:gd name="T28" fmla="*/ 14 w 16"/>
                  <a:gd name="T29" fmla="*/ 7 h 13"/>
                  <a:gd name="T30" fmla="*/ 14 w 16"/>
                  <a:gd name="T31" fmla="*/ 9 h 13"/>
                  <a:gd name="T32" fmla="*/ 12 w 16"/>
                  <a:gd name="T33" fmla="*/ 11 h 13"/>
                  <a:gd name="T34" fmla="*/ 10 w 16"/>
                  <a:gd name="T35" fmla="*/ 9 h 13"/>
                  <a:gd name="T36" fmla="*/ 9 w 16"/>
                  <a:gd name="T37" fmla="*/ 11 h 13"/>
                  <a:gd name="T38" fmla="*/ 7 w 16"/>
                  <a:gd name="T39" fmla="*/ 11 h 13"/>
                  <a:gd name="T40" fmla="*/ 7 w 16"/>
                  <a:gd name="T41" fmla="*/ 11 h 13"/>
                  <a:gd name="T42" fmla="*/ 3 w 16"/>
                  <a:gd name="T43" fmla="*/ 11 h 13"/>
                  <a:gd name="T44" fmla="*/ 3 w 16"/>
                  <a:gd name="T45" fmla="*/ 9 h 13"/>
                  <a:gd name="T46" fmla="*/ 1 w 16"/>
                  <a:gd name="T47" fmla="*/ 13 h 13"/>
                  <a:gd name="T48" fmla="*/ 1 w 16"/>
                  <a:gd name="T49" fmla="*/ 7 h 13"/>
                  <a:gd name="T50" fmla="*/ 0 w 16"/>
                  <a:gd name="T51" fmla="*/ 7 h 13"/>
                  <a:gd name="T52" fmla="*/ 1 w 16"/>
                  <a:gd name="T53" fmla="*/ 4 h 13"/>
                  <a:gd name="T54" fmla="*/ 3 w 16"/>
                  <a:gd name="T55" fmla="*/ 6 h 13"/>
                  <a:gd name="T56" fmla="*/ 3 w 16"/>
                  <a:gd name="T5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13">
                    <a:moveTo>
                      <a:pt x="3" y="4"/>
                    </a:moveTo>
                    <a:lnTo>
                      <a:pt x="5" y="4"/>
                    </a:lnTo>
                    <a:lnTo>
                      <a:pt x="5" y="2"/>
                    </a:lnTo>
                    <a:lnTo>
                      <a:pt x="7" y="2"/>
                    </a:lnTo>
                    <a:lnTo>
                      <a:pt x="7" y="2"/>
                    </a:lnTo>
                    <a:lnTo>
                      <a:pt x="7" y="2"/>
                    </a:lnTo>
                    <a:lnTo>
                      <a:pt x="7" y="6"/>
                    </a:lnTo>
                    <a:lnTo>
                      <a:pt x="10" y="4"/>
                    </a:lnTo>
                    <a:lnTo>
                      <a:pt x="10" y="0"/>
                    </a:lnTo>
                    <a:lnTo>
                      <a:pt x="12" y="0"/>
                    </a:lnTo>
                    <a:lnTo>
                      <a:pt x="12" y="2"/>
                    </a:lnTo>
                    <a:lnTo>
                      <a:pt x="16" y="4"/>
                    </a:lnTo>
                    <a:lnTo>
                      <a:pt x="16" y="6"/>
                    </a:lnTo>
                    <a:lnTo>
                      <a:pt x="16" y="7"/>
                    </a:lnTo>
                    <a:lnTo>
                      <a:pt x="14" y="7"/>
                    </a:lnTo>
                    <a:lnTo>
                      <a:pt x="14" y="9"/>
                    </a:lnTo>
                    <a:lnTo>
                      <a:pt x="12" y="11"/>
                    </a:lnTo>
                    <a:lnTo>
                      <a:pt x="10" y="9"/>
                    </a:lnTo>
                    <a:lnTo>
                      <a:pt x="9" y="11"/>
                    </a:lnTo>
                    <a:lnTo>
                      <a:pt x="7" y="11"/>
                    </a:lnTo>
                    <a:lnTo>
                      <a:pt x="7" y="11"/>
                    </a:lnTo>
                    <a:lnTo>
                      <a:pt x="3" y="11"/>
                    </a:lnTo>
                    <a:lnTo>
                      <a:pt x="3" y="9"/>
                    </a:lnTo>
                    <a:lnTo>
                      <a:pt x="1" y="13"/>
                    </a:lnTo>
                    <a:lnTo>
                      <a:pt x="1" y="7"/>
                    </a:lnTo>
                    <a:lnTo>
                      <a:pt x="0" y="7"/>
                    </a:lnTo>
                    <a:lnTo>
                      <a:pt x="1" y="4"/>
                    </a:lnTo>
                    <a:lnTo>
                      <a:pt x="3" y="6"/>
                    </a:lnTo>
                    <a:lnTo>
                      <a:pt x="3"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87" name="Freeform 2136"/>
              <p:cNvSpPr>
                <a:spLocks/>
              </p:cNvSpPr>
              <p:nvPr/>
            </p:nvSpPr>
            <p:spPr bwMode="auto">
              <a:xfrm>
                <a:off x="3050" y="1093"/>
                <a:ext cx="16" cy="13"/>
              </a:xfrm>
              <a:custGeom>
                <a:avLst/>
                <a:gdLst>
                  <a:gd name="T0" fmla="*/ 3 w 16"/>
                  <a:gd name="T1" fmla="*/ 4 h 13"/>
                  <a:gd name="T2" fmla="*/ 5 w 16"/>
                  <a:gd name="T3" fmla="*/ 4 h 13"/>
                  <a:gd name="T4" fmla="*/ 5 w 16"/>
                  <a:gd name="T5" fmla="*/ 2 h 13"/>
                  <a:gd name="T6" fmla="*/ 7 w 16"/>
                  <a:gd name="T7" fmla="*/ 2 h 13"/>
                  <a:gd name="T8" fmla="*/ 7 w 16"/>
                  <a:gd name="T9" fmla="*/ 2 h 13"/>
                  <a:gd name="T10" fmla="*/ 7 w 16"/>
                  <a:gd name="T11" fmla="*/ 2 h 13"/>
                  <a:gd name="T12" fmla="*/ 7 w 16"/>
                  <a:gd name="T13" fmla="*/ 6 h 13"/>
                  <a:gd name="T14" fmla="*/ 10 w 16"/>
                  <a:gd name="T15" fmla="*/ 4 h 13"/>
                  <a:gd name="T16" fmla="*/ 10 w 16"/>
                  <a:gd name="T17" fmla="*/ 0 h 13"/>
                  <a:gd name="T18" fmla="*/ 12 w 16"/>
                  <a:gd name="T19" fmla="*/ 0 h 13"/>
                  <a:gd name="T20" fmla="*/ 12 w 16"/>
                  <a:gd name="T21" fmla="*/ 2 h 13"/>
                  <a:gd name="T22" fmla="*/ 16 w 16"/>
                  <a:gd name="T23" fmla="*/ 4 h 13"/>
                  <a:gd name="T24" fmla="*/ 16 w 16"/>
                  <a:gd name="T25" fmla="*/ 6 h 13"/>
                  <a:gd name="T26" fmla="*/ 16 w 16"/>
                  <a:gd name="T27" fmla="*/ 7 h 13"/>
                  <a:gd name="T28" fmla="*/ 14 w 16"/>
                  <a:gd name="T29" fmla="*/ 7 h 13"/>
                  <a:gd name="T30" fmla="*/ 14 w 16"/>
                  <a:gd name="T31" fmla="*/ 9 h 13"/>
                  <a:gd name="T32" fmla="*/ 12 w 16"/>
                  <a:gd name="T33" fmla="*/ 11 h 13"/>
                  <a:gd name="T34" fmla="*/ 10 w 16"/>
                  <a:gd name="T35" fmla="*/ 9 h 13"/>
                  <a:gd name="T36" fmla="*/ 9 w 16"/>
                  <a:gd name="T37" fmla="*/ 11 h 13"/>
                  <a:gd name="T38" fmla="*/ 7 w 16"/>
                  <a:gd name="T39" fmla="*/ 11 h 13"/>
                  <a:gd name="T40" fmla="*/ 7 w 16"/>
                  <a:gd name="T41" fmla="*/ 11 h 13"/>
                  <a:gd name="T42" fmla="*/ 3 w 16"/>
                  <a:gd name="T43" fmla="*/ 11 h 13"/>
                  <a:gd name="T44" fmla="*/ 3 w 16"/>
                  <a:gd name="T45" fmla="*/ 9 h 13"/>
                  <a:gd name="T46" fmla="*/ 1 w 16"/>
                  <a:gd name="T47" fmla="*/ 13 h 13"/>
                  <a:gd name="T48" fmla="*/ 1 w 16"/>
                  <a:gd name="T49" fmla="*/ 7 h 13"/>
                  <a:gd name="T50" fmla="*/ 0 w 16"/>
                  <a:gd name="T51" fmla="*/ 7 h 13"/>
                  <a:gd name="T52" fmla="*/ 1 w 16"/>
                  <a:gd name="T53" fmla="*/ 4 h 13"/>
                  <a:gd name="T54" fmla="*/ 3 w 16"/>
                  <a:gd name="T55" fmla="*/ 6 h 13"/>
                  <a:gd name="T56" fmla="*/ 3 w 16"/>
                  <a:gd name="T5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13">
                    <a:moveTo>
                      <a:pt x="3" y="4"/>
                    </a:moveTo>
                    <a:lnTo>
                      <a:pt x="5" y="4"/>
                    </a:lnTo>
                    <a:lnTo>
                      <a:pt x="5" y="2"/>
                    </a:lnTo>
                    <a:lnTo>
                      <a:pt x="7" y="2"/>
                    </a:lnTo>
                    <a:lnTo>
                      <a:pt x="7" y="2"/>
                    </a:lnTo>
                    <a:lnTo>
                      <a:pt x="7" y="2"/>
                    </a:lnTo>
                    <a:lnTo>
                      <a:pt x="7" y="6"/>
                    </a:lnTo>
                    <a:lnTo>
                      <a:pt x="10" y="4"/>
                    </a:lnTo>
                    <a:lnTo>
                      <a:pt x="10" y="0"/>
                    </a:lnTo>
                    <a:lnTo>
                      <a:pt x="12" y="0"/>
                    </a:lnTo>
                    <a:lnTo>
                      <a:pt x="12" y="2"/>
                    </a:lnTo>
                    <a:lnTo>
                      <a:pt x="16" y="4"/>
                    </a:lnTo>
                    <a:lnTo>
                      <a:pt x="16" y="6"/>
                    </a:lnTo>
                    <a:lnTo>
                      <a:pt x="16" y="7"/>
                    </a:lnTo>
                    <a:lnTo>
                      <a:pt x="14" y="7"/>
                    </a:lnTo>
                    <a:lnTo>
                      <a:pt x="14" y="9"/>
                    </a:lnTo>
                    <a:lnTo>
                      <a:pt x="12" y="11"/>
                    </a:lnTo>
                    <a:lnTo>
                      <a:pt x="10" y="9"/>
                    </a:lnTo>
                    <a:lnTo>
                      <a:pt x="9" y="11"/>
                    </a:lnTo>
                    <a:lnTo>
                      <a:pt x="7" y="11"/>
                    </a:lnTo>
                    <a:lnTo>
                      <a:pt x="7" y="11"/>
                    </a:lnTo>
                    <a:lnTo>
                      <a:pt x="3" y="11"/>
                    </a:lnTo>
                    <a:lnTo>
                      <a:pt x="3" y="9"/>
                    </a:lnTo>
                    <a:lnTo>
                      <a:pt x="1" y="13"/>
                    </a:lnTo>
                    <a:lnTo>
                      <a:pt x="1" y="7"/>
                    </a:lnTo>
                    <a:lnTo>
                      <a:pt x="0" y="7"/>
                    </a:lnTo>
                    <a:lnTo>
                      <a:pt x="1" y="4"/>
                    </a:lnTo>
                    <a:lnTo>
                      <a:pt x="3" y="6"/>
                    </a:lnTo>
                    <a:lnTo>
                      <a:pt x="3"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88" name="Freeform 2137"/>
              <p:cNvSpPr>
                <a:spLocks/>
              </p:cNvSpPr>
              <p:nvPr/>
            </p:nvSpPr>
            <p:spPr bwMode="auto">
              <a:xfrm>
                <a:off x="3064" y="1100"/>
                <a:ext cx="9" cy="15"/>
              </a:xfrm>
              <a:custGeom>
                <a:avLst/>
                <a:gdLst>
                  <a:gd name="T0" fmla="*/ 7 w 9"/>
                  <a:gd name="T1" fmla="*/ 13 h 15"/>
                  <a:gd name="T2" fmla="*/ 5 w 9"/>
                  <a:gd name="T3" fmla="*/ 11 h 15"/>
                  <a:gd name="T4" fmla="*/ 5 w 9"/>
                  <a:gd name="T5" fmla="*/ 13 h 15"/>
                  <a:gd name="T6" fmla="*/ 3 w 9"/>
                  <a:gd name="T7" fmla="*/ 15 h 15"/>
                  <a:gd name="T8" fmla="*/ 2 w 9"/>
                  <a:gd name="T9" fmla="*/ 13 h 15"/>
                  <a:gd name="T10" fmla="*/ 0 w 9"/>
                  <a:gd name="T11" fmla="*/ 11 h 15"/>
                  <a:gd name="T12" fmla="*/ 0 w 9"/>
                  <a:gd name="T13" fmla="*/ 11 h 15"/>
                  <a:gd name="T14" fmla="*/ 0 w 9"/>
                  <a:gd name="T15" fmla="*/ 9 h 15"/>
                  <a:gd name="T16" fmla="*/ 0 w 9"/>
                  <a:gd name="T17" fmla="*/ 6 h 15"/>
                  <a:gd name="T18" fmla="*/ 0 w 9"/>
                  <a:gd name="T19" fmla="*/ 4 h 15"/>
                  <a:gd name="T20" fmla="*/ 2 w 9"/>
                  <a:gd name="T21" fmla="*/ 6 h 15"/>
                  <a:gd name="T22" fmla="*/ 3 w 9"/>
                  <a:gd name="T23" fmla="*/ 2 h 15"/>
                  <a:gd name="T24" fmla="*/ 5 w 9"/>
                  <a:gd name="T25" fmla="*/ 4 h 15"/>
                  <a:gd name="T26" fmla="*/ 7 w 9"/>
                  <a:gd name="T27" fmla="*/ 0 h 15"/>
                  <a:gd name="T28" fmla="*/ 9 w 9"/>
                  <a:gd name="T29" fmla="*/ 4 h 15"/>
                  <a:gd name="T30" fmla="*/ 9 w 9"/>
                  <a:gd name="T31" fmla="*/ 6 h 15"/>
                  <a:gd name="T32" fmla="*/ 7 w 9"/>
                  <a:gd name="T33"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15">
                    <a:moveTo>
                      <a:pt x="7" y="13"/>
                    </a:moveTo>
                    <a:lnTo>
                      <a:pt x="5" y="11"/>
                    </a:lnTo>
                    <a:lnTo>
                      <a:pt x="5" y="13"/>
                    </a:lnTo>
                    <a:lnTo>
                      <a:pt x="3" y="15"/>
                    </a:lnTo>
                    <a:lnTo>
                      <a:pt x="2" y="13"/>
                    </a:lnTo>
                    <a:lnTo>
                      <a:pt x="0" y="11"/>
                    </a:lnTo>
                    <a:lnTo>
                      <a:pt x="0" y="11"/>
                    </a:lnTo>
                    <a:lnTo>
                      <a:pt x="0" y="9"/>
                    </a:lnTo>
                    <a:lnTo>
                      <a:pt x="0" y="6"/>
                    </a:lnTo>
                    <a:lnTo>
                      <a:pt x="0" y="4"/>
                    </a:lnTo>
                    <a:lnTo>
                      <a:pt x="2" y="6"/>
                    </a:lnTo>
                    <a:lnTo>
                      <a:pt x="3" y="2"/>
                    </a:lnTo>
                    <a:lnTo>
                      <a:pt x="5" y="4"/>
                    </a:lnTo>
                    <a:lnTo>
                      <a:pt x="7" y="0"/>
                    </a:lnTo>
                    <a:lnTo>
                      <a:pt x="9" y="4"/>
                    </a:lnTo>
                    <a:lnTo>
                      <a:pt x="9" y="6"/>
                    </a:lnTo>
                    <a:lnTo>
                      <a:pt x="7" y="1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89" name="Freeform 2138"/>
              <p:cNvSpPr>
                <a:spLocks/>
              </p:cNvSpPr>
              <p:nvPr/>
            </p:nvSpPr>
            <p:spPr bwMode="auto">
              <a:xfrm>
                <a:off x="3064" y="1100"/>
                <a:ext cx="9" cy="15"/>
              </a:xfrm>
              <a:custGeom>
                <a:avLst/>
                <a:gdLst>
                  <a:gd name="T0" fmla="*/ 7 w 9"/>
                  <a:gd name="T1" fmla="*/ 13 h 15"/>
                  <a:gd name="T2" fmla="*/ 5 w 9"/>
                  <a:gd name="T3" fmla="*/ 11 h 15"/>
                  <a:gd name="T4" fmla="*/ 5 w 9"/>
                  <a:gd name="T5" fmla="*/ 13 h 15"/>
                  <a:gd name="T6" fmla="*/ 3 w 9"/>
                  <a:gd name="T7" fmla="*/ 15 h 15"/>
                  <a:gd name="T8" fmla="*/ 2 w 9"/>
                  <a:gd name="T9" fmla="*/ 13 h 15"/>
                  <a:gd name="T10" fmla="*/ 0 w 9"/>
                  <a:gd name="T11" fmla="*/ 11 h 15"/>
                  <a:gd name="T12" fmla="*/ 0 w 9"/>
                  <a:gd name="T13" fmla="*/ 11 h 15"/>
                  <a:gd name="T14" fmla="*/ 0 w 9"/>
                  <a:gd name="T15" fmla="*/ 9 h 15"/>
                  <a:gd name="T16" fmla="*/ 0 w 9"/>
                  <a:gd name="T17" fmla="*/ 6 h 15"/>
                  <a:gd name="T18" fmla="*/ 0 w 9"/>
                  <a:gd name="T19" fmla="*/ 4 h 15"/>
                  <a:gd name="T20" fmla="*/ 2 w 9"/>
                  <a:gd name="T21" fmla="*/ 6 h 15"/>
                  <a:gd name="T22" fmla="*/ 3 w 9"/>
                  <a:gd name="T23" fmla="*/ 2 h 15"/>
                  <a:gd name="T24" fmla="*/ 5 w 9"/>
                  <a:gd name="T25" fmla="*/ 4 h 15"/>
                  <a:gd name="T26" fmla="*/ 7 w 9"/>
                  <a:gd name="T27" fmla="*/ 0 h 15"/>
                  <a:gd name="T28" fmla="*/ 9 w 9"/>
                  <a:gd name="T29" fmla="*/ 4 h 15"/>
                  <a:gd name="T30" fmla="*/ 9 w 9"/>
                  <a:gd name="T31" fmla="*/ 6 h 15"/>
                  <a:gd name="T32" fmla="*/ 7 w 9"/>
                  <a:gd name="T33"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15">
                    <a:moveTo>
                      <a:pt x="7" y="13"/>
                    </a:moveTo>
                    <a:lnTo>
                      <a:pt x="5" y="11"/>
                    </a:lnTo>
                    <a:lnTo>
                      <a:pt x="5" y="13"/>
                    </a:lnTo>
                    <a:lnTo>
                      <a:pt x="3" y="15"/>
                    </a:lnTo>
                    <a:lnTo>
                      <a:pt x="2" y="13"/>
                    </a:lnTo>
                    <a:lnTo>
                      <a:pt x="0" y="11"/>
                    </a:lnTo>
                    <a:lnTo>
                      <a:pt x="0" y="11"/>
                    </a:lnTo>
                    <a:lnTo>
                      <a:pt x="0" y="9"/>
                    </a:lnTo>
                    <a:lnTo>
                      <a:pt x="0" y="6"/>
                    </a:lnTo>
                    <a:lnTo>
                      <a:pt x="0" y="4"/>
                    </a:lnTo>
                    <a:lnTo>
                      <a:pt x="2" y="6"/>
                    </a:lnTo>
                    <a:lnTo>
                      <a:pt x="3" y="2"/>
                    </a:lnTo>
                    <a:lnTo>
                      <a:pt x="5" y="4"/>
                    </a:lnTo>
                    <a:lnTo>
                      <a:pt x="7" y="0"/>
                    </a:lnTo>
                    <a:lnTo>
                      <a:pt x="9" y="4"/>
                    </a:lnTo>
                    <a:lnTo>
                      <a:pt x="9" y="6"/>
                    </a:lnTo>
                    <a:lnTo>
                      <a:pt x="7" y="1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grpSp>
        <p:grpSp>
          <p:nvGrpSpPr>
            <p:cNvPr id="141" name="Group 2340"/>
            <p:cNvGrpSpPr>
              <a:grpSpLocks/>
            </p:cNvGrpSpPr>
            <p:nvPr/>
          </p:nvGrpSpPr>
          <p:grpSpPr bwMode="auto">
            <a:xfrm>
              <a:off x="999515" y="1102454"/>
              <a:ext cx="8494250" cy="3921910"/>
              <a:chOff x="484" y="486"/>
              <a:chExt cx="5276" cy="2436"/>
            </a:xfrm>
            <a:solidFill>
              <a:srgbClr val="D9D9D9"/>
            </a:solidFill>
          </p:grpSpPr>
          <p:sp>
            <p:nvSpPr>
              <p:cNvPr id="1290" name="Freeform 2140"/>
              <p:cNvSpPr>
                <a:spLocks/>
              </p:cNvSpPr>
              <p:nvPr/>
            </p:nvSpPr>
            <p:spPr bwMode="auto">
              <a:xfrm>
                <a:off x="3075" y="1093"/>
                <a:ext cx="7" cy="11"/>
              </a:xfrm>
              <a:custGeom>
                <a:avLst/>
                <a:gdLst>
                  <a:gd name="T0" fmla="*/ 5 w 7"/>
                  <a:gd name="T1" fmla="*/ 9 h 11"/>
                  <a:gd name="T2" fmla="*/ 3 w 7"/>
                  <a:gd name="T3" fmla="*/ 11 h 11"/>
                  <a:gd name="T4" fmla="*/ 0 w 7"/>
                  <a:gd name="T5" fmla="*/ 2 h 11"/>
                  <a:gd name="T6" fmla="*/ 1 w 7"/>
                  <a:gd name="T7" fmla="*/ 0 h 11"/>
                  <a:gd name="T8" fmla="*/ 1 w 7"/>
                  <a:gd name="T9" fmla="*/ 2 h 11"/>
                  <a:gd name="T10" fmla="*/ 3 w 7"/>
                  <a:gd name="T11" fmla="*/ 2 h 11"/>
                  <a:gd name="T12" fmla="*/ 5 w 7"/>
                  <a:gd name="T13" fmla="*/ 4 h 11"/>
                  <a:gd name="T14" fmla="*/ 7 w 7"/>
                  <a:gd name="T15" fmla="*/ 7 h 11"/>
                  <a:gd name="T16" fmla="*/ 7 w 7"/>
                  <a:gd name="T17" fmla="*/ 9 h 11"/>
                  <a:gd name="T18" fmla="*/ 5 w 7"/>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1">
                    <a:moveTo>
                      <a:pt x="5" y="9"/>
                    </a:moveTo>
                    <a:lnTo>
                      <a:pt x="3" y="11"/>
                    </a:lnTo>
                    <a:lnTo>
                      <a:pt x="0" y="2"/>
                    </a:lnTo>
                    <a:lnTo>
                      <a:pt x="1" y="0"/>
                    </a:lnTo>
                    <a:lnTo>
                      <a:pt x="1" y="2"/>
                    </a:lnTo>
                    <a:lnTo>
                      <a:pt x="3" y="2"/>
                    </a:lnTo>
                    <a:lnTo>
                      <a:pt x="5" y="4"/>
                    </a:lnTo>
                    <a:lnTo>
                      <a:pt x="7" y="7"/>
                    </a:lnTo>
                    <a:lnTo>
                      <a:pt x="7" y="9"/>
                    </a:lnTo>
                    <a:lnTo>
                      <a:pt x="5"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91" name="Freeform 2141"/>
              <p:cNvSpPr>
                <a:spLocks/>
              </p:cNvSpPr>
              <p:nvPr/>
            </p:nvSpPr>
            <p:spPr bwMode="auto">
              <a:xfrm>
                <a:off x="3075" y="1093"/>
                <a:ext cx="7" cy="11"/>
              </a:xfrm>
              <a:custGeom>
                <a:avLst/>
                <a:gdLst>
                  <a:gd name="T0" fmla="*/ 5 w 7"/>
                  <a:gd name="T1" fmla="*/ 9 h 11"/>
                  <a:gd name="T2" fmla="*/ 3 w 7"/>
                  <a:gd name="T3" fmla="*/ 11 h 11"/>
                  <a:gd name="T4" fmla="*/ 0 w 7"/>
                  <a:gd name="T5" fmla="*/ 2 h 11"/>
                  <a:gd name="T6" fmla="*/ 1 w 7"/>
                  <a:gd name="T7" fmla="*/ 0 h 11"/>
                  <a:gd name="T8" fmla="*/ 1 w 7"/>
                  <a:gd name="T9" fmla="*/ 2 h 11"/>
                  <a:gd name="T10" fmla="*/ 3 w 7"/>
                  <a:gd name="T11" fmla="*/ 2 h 11"/>
                  <a:gd name="T12" fmla="*/ 5 w 7"/>
                  <a:gd name="T13" fmla="*/ 4 h 11"/>
                  <a:gd name="T14" fmla="*/ 7 w 7"/>
                  <a:gd name="T15" fmla="*/ 7 h 11"/>
                  <a:gd name="T16" fmla="*/ 7 w 7"/>
                  <a:gd name="T17" fmla="*/ 9 h 11"/>
                  <a:gd name="T18" fmla="*/ 5 w 7"/>
                  <a:gd name="T19"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1">
                    <a:moveTo>
                      <a:pt x="5" y="9"/>
                    </a:moveTo>
                    <a:lnTo>
                      <a:pt x="3" y="11"/>
                    </a:lnTo>
                    <a:lnTo>
                      <a:pt x="0" y="2"/>
                    </a:lnTo>
                    <a:lnTo>
                      <a:pt x="1" y="0"/>
                    </a:lnTo>
                    <a:lnTo>
                      <a:pt x="1" y="2"/>
                    </a:lnTo>
                    <a:lnTo>
                      <a:pt x="3" y="2"/>
                    </a:lnTo>
                    <a:lnTo>
                      <a:pt x="5" y="4"/>
                    </a:lnTo>
                    <a:lnTo>
                      <a:pt x="7" y="7"/>
                    </a:lnTo>
                    <a:lnTo>
                      <a:pt x="7" y="9"/>
                    </a:lnTo>
                    <a:lnTo>
                      <a:pt x="5"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92" name="Freeform 2142"/>
              <p:cNvSpPr>
                <a:spLocks/>
              </p:cNvSpPr>
              <p:nvPr/>
            </p:nvSpPr>
            <p:spPr bwMode="auto">
              <a:xfrm>
                <a:off x="3101" y="1074"/>
                <a:ext cx="11" cy="10"/>
              </a:xfrm>
              <a:custGeom>
                <a:avLst/>
                <a:gdLst>
                  <a:gd name="T0" fmla="*/ 9 w 11"/>
                  <a:gd name="T1" fmla="*/ 3 h 10"/>
                  <a:gd name="T2" fmla="*/ 11 w 11"/>
                  <a:gd name="T3" fmla="*/ 7 h 10"/>
                  <a:gd name="T4" fmla="*/ 11 w 11"/>
                  <a:gd name="T5" fmla="*/ 8 h 10"/>
                  <a:gd name="T6" fmla="*/ 9 w 11"/>
                  <a:gd name="T7" fmla="*/ 8 h 10"/>
                  <a:gd name="T8" fmla="*/ 8 w 11"/>
                  <a:gd name="T9" fmla="*/ 10 h 10"/>
                  <a:gd name="T10" fmla="*/ 6 w 11"/>
                  <a:gd name="T11" fmla="*/ 8 h 10"/>
                  <a:gd name="T12" fmla="*/ 2 w 11"/>
                  <a:gd name="T13" fmla="*/ 8 h 10"/>
                  <a:gd name="T14" fmla="*/ 2 w 11"/>
                  <a:gd name="T15" fmla="*/ 8 h 10"/>
                  <a:gd name="T16" fmla="*/ 4 w 11"/>
                  <a:gd name="T17" fmla="*/ 7 h 10"/>
                  <a:gd name="T18" fmla="*/ 4 w 11"/>
                  <a:gd name="T19" fmla="*/ 5 h 10"/>
                  <a:gd name="T20" fmla="*/ 0 w 11"/>
                  <a:gd name="T21" fmla="*/ 5 h 10"/>
                  <a:gd name="T22" fmla="*/ 0 w 11"/>
                  <a:gd name="T23" fmla="*/ 3 h 10"/>
                  <a:gd name="T24" fmla="*/ 2 w 11"/>
                  <a:gd name="T25" fmla="*/ 3 h 10"/>
                  <a:gd name="T26" fmla="*/ 6 w 11"/>
                  <a:gd name="T27" fmla="*/ 3 h 10"/>
                  <a:gd name="T28" fmla="*/ 6 w 11"/>
                  <a:gd name="T29" fmla="*/ 1 h 10"/>
                  <a:gd name="T30" fmla="*/ 6 w 11"/>
                  <a:gd name="T31" fmla="*/ 0 h 10"/>
                  <a:gd name="T32" fmla="*/ 9 w 11"/>
                  <a:gd name="T3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0">
                    <a:moveTo>
                      <a:pt x="9" y="3"/>
                    </a:moveTo>
                    <a:lnTo>
                      <a:pt x="11" y="7"/>
                    </a:lnTo>
                    <a:lnTo>
                      <a:pt x="11" y="8"/>
                    </a:lnTo>
                    <a:lnTo>
                      <a:pt x="9" y="8"/>
                    </a:lnTo>
                    <a:lnTo>
                      <a:pt x="8" y="10"/>
                    </a:lnTo>
                    <a:lnTo>
                      <a:pt x="6" y="8"/>
                    </a:lnTo>
                    <a:lnTo>
                      <a:pt x="2" y="8"/>
                    </a:lnTo>
                    <a:lnTo>
                      <a:pt x="2" y="8"/>
                    </a:lnTo>
                    <a:lnTo>
                      <a:pt x="4" y="7"/>
                    </a:lnTo>
                    <a:lnTo>
                      <a:pt x="4" y="5"/>
                    </a:lnTo>
                    <a:lnTo>
                      <a:pt x="0" y="5"/>
                    </a:lnTo>
                    <a:lnTo>
                      <a:pt x="0" y="3"/>
                    </a:lnTo>
                    <a:lnTo>
                      <a:pt x="2" y="3"/>
                    </a:lnTo>
                    <a:lnTo>
                      <a:pt x="6" y="3"/>
                    </a:lnTo>
                    <a:lnTo>
                      <a:pt x="6" y="1"/>
                    </a:lnTo>
                    <a:lnTo>
                      <a:pt x="6" y="0"/>
                    </a:lnTo>
                    <a:lnTo>
                      <a:pt x="9"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93" name="Freeform 2143"/>
              <p:cNvSpPr>
                <a:spLocks/>
              </p:cNvSpPr>
              <p:nvPr/>
            </p:nvSpPr>
            <p:spPr bwMode="auto">
              <a:xfrm>
                <a:off x="3101" y="1074"/>
                <a:ext cx="11" cy="10"/>
              </a:xfrm>
              <a:custGeom>
                <a:avLst/>
                <a:gdLst>
                  <a:gd name="T0" fmla="*/ 9 w 11"/>
                  <a:gd name="T1" fmla="*/ 3 h 10"/>
                  <a:gd name="T2" fmla="*/ 11 w 11"/>
                  <a:gd name="T3" fmla="*/ 7 h 10"/>
                  <a:gd name="T4" fmla="*/ 11 w 11"/>
                  <a:gd name="T5" fmla="*/ 8 h 10"/>
                  <a:gd name="T6" fmla="*/ 9 w 11"/>
                  <a:gd name="T7" fmla="*/ 8 h 10"/>
                  <a:gd name="T8" fmla="*/ 8 w 11"/>
                  <a:gd name="T9" fmla="*/ 10 h 10"/>
                  <a:gd name="T10" fmla="*/ 6 w 11"/>
                  <a:gd name="T11" fmla="*/ 8 h 10"/>
                  <a:gd name="T12" fmla="*/ 2 w 11"/>
                  <a:gd name="T13" fmla="*/ 8 h 10"/>
                  <a:gd name="T14" fmla="*/ 2 w 11"/>
                  <a:gd name="T15" fmla="*/ 8 h 10"/>
                  <a:gd name="T16" fmla="*/ 4 w 11"/>
                  <a:gd name="T17" fmla="*/ 7 h 10"/>
                  <a:gd name="T18" fmla="*/ 4 w 11"/>
                  <a:gd name="T19" fmla="*/ 5 h 10"/>
                  <a:gd name="T20" fmla="*/ 0 w 11"/>
                  <a:gd name="T21" fmla="*/ 5 h 10"/>
                  <a:gd name="T22" fmla="*/ 0 w 11"/>
                  <a:gd name="T23" fmla="*/ 3 h 10"/>
                  <a:gd name="T24" fmla="*/ 2 w 11"/>
                  <a:gd name="T25" fmla="*/ 3 h 10"/>
                  <a:gd name="T26" fmla="*/ 6 w 11"/>
                  <a:gd name="T27" fmla="*/ 3 h 10"/>
                  <a:gd name="T28" fmla="*/ 6 w 11"/>
                  <a:gd name="T29" fmla="*/ 1 h 10"/>
                  <a:gd name="T30" fmla="*/ 6 w 11"/>
                  <a:gd name="T31" fmla="*/ 0 h 10"/>
                  <a:gd name="T32" fmla="*/ 9 w 11"/>
                  <a:gd name="T3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0">
                    <a:moveTo>
                      <a:pt x="9" y="3"/>
                    </a:moveTo>
                    <a:lnTo>
                      <a:pt x="11" y="7"/>
                    </a:lnTo>
                    <a:lnTo>
                      <a:pt x="11" y="8"/>
                    </a:lnTo>
                    <a:lnTo>
                      <a:pt x="9" y="8"/>
                    </a:lnTo>
                    <a:lnTo>
                      <a:pt x="8" y="10"/>
                    </a:lnTo>
                    <a:lnTo>
                      <a:pt x="6" y="8"/>
                    </a:lnTo>
                    <a:lnTo>
                      <a:pt x="2" y="8"/>
                    </a:lnTo>
                    <a:lnTo>
                      <a:pt x="2" y="8"/>
                    </a:lnTo>
                    <a:lnTo>
                      <a:pt x="4" y="7"/>
                    </a:lnTo>
                    <a:lnTo>
                      <a:pt x="4" y="5"/>
                    </a:lnTo>
                    <a:lnTo>
                      <a:pt x="0" y="5"/>
                    </a:lnTo>
                    <a:lnTo>
                      <a:pt x="0" y="3"/>
                    </a:lnTo>
                    <a:lnTo>
                      <a:pt x="2" y="3"/>
                    </a:lnTo>
                    <a:lnTo>
                      <a:pt x="6" y="3"/>
                    </a:lnTo>
                    <a:lnTo>
                      <a:pt x="6" y="1"/>
                    </a:lnTo>
                    <a:lnTo>
                      <a:pt x="6" y="0"/>
                    </a:lnTo>
                    <a:lnTo>
                      <a:pt x="9"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94" name="Freeform 2144"/>
              <p:cNvSpPr>
                <a:spLocks/>
              </p:cNvSpPr>
              <p:nvPr/>
            </p:nvSpPr>
            <p:spPr bwMode="auto">
              <a:xfrm>
                <a:off x="2718" y="2036"/>
                <a:ext cx="5" cy="5"/>
              </a:xfrm>
              <a:custGeom>
                <a:avLst/>
                <a:gdLst>
                  <a:gd name="T0" fmla="*/ 3 w 5"/>
                  <a:gd name="T1" fmla="*/ 0 h 5"/>
                  <a:gd name="T2" fmla="*/ 5 w 5"/>
                  <a:gd name="T3" fmla="*/ 0 h 5"/>
                  <a:gd name="T4" fmla="*/ 5 w 5"/>
                  <a:gd name="T5" fmla="*/ 0 h 5"/>
                  <a:gd name="T6" fmla="*/ 5 w 5"/>
                  <a:gd name="T7" fmla="*/ 2 h 5"/>
                  <a:gd name="T8" fmla="*/ 1 w 5"/>
                  <a:gd name="T9" fmla="*/ 5 h 5"/>
                  <a:gd name="T10" fmla="*/ 0 w 5"/>
                  <a:gd name="T11" fmla="*/ 4 h 5"/>
                  <a:gd name="T12" fmla="*/ 1 w 5"/>
                  <a:gd name="T13" fmla="*/ 2 h 5"/>
                  <a:gd name="T14" fmla="*/ 3 w 5"/>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3" y="0"/>
                    </a:moveTo>
                    <a:lnTo>
                      <a:pt x="5" y="0"/>
                    </a:lnTo>
                    <a:lnTo>
                      <a:pt x="5" y="0"/>
                    </a:lnTo>
                    <a:lnTo>
                      <a:pt x="5" y="2"/>
                    </a:lnTo>
                    <a:lnTo>
                      <a:pt x="1" y="5"/>
                    </a:lnTo>
                    <a:lnTo>
                      <a:pt x="0" y="4"/>
                    </a:lnTo>
                    <a:lnTo>
                      <a:pt x="1" y="2"/>
                    </a:lnTo>
                    <a:lnTo>
                      <a:pt x="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95" name="Freeform 2145"/>
              <p:cNvSpPr>
                <a:spLocks/>
              </p:cNvSpPr>
              <p:nvPr/>
            </p:nvSpPr>
            <p:spPr bwMode="auto">
              <a:xfrm>
                <a:off x="2718" y="2036"/>
                <a:ext cx="5" cy="5"/>
              </a:xfrm>
              <a:custGeom>
                <a:avLst/>
                <a:gdLst>
                  <a:gd name="T0" fmla="*/ 3 w 5"/>
                  <a:gd name="T1" fmla="*/ 0 h 5"/>
                  <a:gd name="T2" fmla="*/ 5 w 5"/>
                  <a:gd name="T3" fmla="*/ 0 h 5"/>
                  <a:gd name="T4" fmla="*/ 5 w 5"/>
                  <a:gd name="T5" fmla="*/ 0 h 5"/>
                  <a:gd name="T6" fmla="*/ 5 w 5"/>
                  <a:gd name="T7" fmla="*/ 2 h 5"/>
                  <a:gd name="T8" fmla="*/ 1 w 5"/>
                  <a:gd name="T9" fmla="*/ 5 h 5"/>
                  <a:gd name="T10" fmla="*/ 0 w 5"/>
                  <a:gd name="T11" fmla="*/ 4 h 5"/>
                  <a:gd name="T12" fmla="*/ 1 w 5"/>
                  <a:gd name="T13" fmla="*/ 2 h 5"/>
                  <a:gd name="T14" fmla="*/ 3 w 5"/>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3" y="0"/>
                    </a:moveTo>
                    <a:lnTo>
                      <a:pt x="5" y="0"/>
                    </a:lnTo>
                    <a:lnTo>
                      <a:pt x="5" y="0"/>
                    </a:lnTo>
                    <a:lnTo>
                      <a:pt x="5" y="2"/>
                    </a:lnTo>
                    <a:lnTo>
                      <a:pt x="1" y="5"/>
                    </a:lnTo>
                    <a:lnTo>
                      <a:pt x="0" y="4"/>
                    </a:lnTo>
                    <a:lnTo>
                      <a:pt x="1" y="2"/>
                    </a:lnTo>
                    <a:lnTo>
                      <a:pt x="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96" name="Freeform 2146"/>
              <p:cNvSpPr>
                <a:spLocks/>
              </p:cNvSpPr>
              <p:nvPr/>
            </p:nvSpPr>
            <p:spPr bwMode="auto">
              <a:xfrm>
                <a:off x="2737" y="2018"/>
                <a:ext cx="16" cy="14"/>
              </a:xfrm>
              <a:custGeom>
                <a:avLst/>
                <a:gdLst>
                  <a:gd name="T0" fmla="*/ 13 w 16"/>
                  <a:gd name="T1" fmla="*/ 0 h 14"/>
                  <a:gd name="T2" fmla="*/ 11 w 16"/>
                  <a:gd name="T3" fmla="*/ 4 h 14"/>
                  <a:gd name="T4" fmla="*/ 11 w 16"/>
                  <a:gd name="T5" fmla="*/ 4 h 14"/>
                  <a:gd name="T6" fmla="*/ 14 w 16"/>
                  <a:gd name="T7" fmla="*/ 4 h 14"/>
                  <a:gd name="T8" fmla="*/ 16 w 16"/>
                  <a:gd name="T9" fmla="*/ 6 h 14"/>
                  <a:gd name="T10" fmla="*/ 14 w 16"/>
                  <a:gd name="T11" fmla="*/ 11 h 14"/>
                  <a:gd name="T12" fmla="*/ 11 w 16"/>
                  <a:gd name="T13" fmla="*/ 14 h 14"/>
                  <a:gd name="T14" fmla="*/ 6 w 16"/>
                  <a:gd name="T15" fmla="*/ 11 h 14"/>
                  <a:gd name="T16" fmla="*/ 6 w 16"/>
                  <a:gd name="T17" fmla="*/ 9 h 14"/>
                  <a:gd name="T18" fmla="*/ 2 w 16"/>
                  <a:gd name="T19" fmla="*/ 9 h 14"/>
                  <a:gd name="T20" fmla="*/ 2 w 16"/>
                  <a:gd name="T21" fmla="*/ 9 h 14"/>
                  <a:gd name="T22" fmla="*/ 0 w 16"/>
                  <a:gd name="T23" fmla="*/ 7 h 14"/>
                  <a:gd name="T24" fmla="*/ 2 w 16"/>
                  <a:gd name="T25" fmla="*/ 4 h 14"/>
                  <a:gd name="T26" fmla="*/ 13 w 16"/>
                  <a:gd name="T27" fmla="*/ 0 h 14"/>
                  <a:gd name="T28" fmla="*/ 13 w 16"/>
                  <a:gd name="T29" fmla="*/ 0 h 14"/>
                  <a:gd name="T30" fmla="*/ 13 w 16"/>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4">
                    <a:moveTo>
                      <a:pt x="13" y="0"/>
                    </a:moveTo>
                    <a:lnTo>
                      <a:pt x="11" y="4"/>
                    </a:lnTo>
                    <a:lnTo>
                      <a:pt x="11" y="4"/>
                    </a:lnTo>
                    <a:lnTo>
                      <a:pt x="14" y="4"/>
                    </a:lnTo>
                    <a:lnTo>
                      <a:pt x="16" y="6"/>
                    </a:lnTo>
                    <a:lnTo>
                      <a:pt x="14" y="11"/>
                    </a:lnTo>
                    <a:lnTo>
                      <a:pt x="11" y="14"/>
                    </a:lnTo>
                    <a:lnTo>
                      <a:pt x="6" y="11"/>
                    </a:lnTo>
                    <a:lnTo>
                      <a:pt x="6" y="9"/>
                    </a:lnTo>
                    <a:lnTo>
                      <a:pt x="2" y="9"/>
                    </a:lnTo>
                    <a:lnTo>
                      <a:pt x="2" y="9"/>
                    </a:lnTo>
                    <a:lnTo>
                      <a:pt x="0" y="7"/>
                    </a:lnTo>
                    <a:lnTo>
                      <a:pt x="2" y="4"/>
                    </a:lnTo>
                    <a:lnTo>
                      <a:pt x="13" y="0"/>
                    </a:lnTo>
                    <a:lnTo>
                      <a:pt x="13" y="0"/>
                    </a:lnTo>
                    <a:lnTo>
                      <a:pt x="1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97" name="Freeform 2147"/>
              <p:cNvSpPr>
                <a:spLocks/>
              </p:cNvSpPr>
              <p:nvPr/>
            </p:nvSpPr>
            <p:spPr bwMode="auto">
              <a:xfrm>
                <a:off x="2737" y="2018"/>
                <a:ext cx="16" cy="14"/>
              </a:xfrm>
              <a:custGeom>
                <a:avLst/>
                <a:gdLst>
                  <a:gd name="T0" fmla="*/ 13 w 16"/>
                  <a:gd name="T1" fmla="*/ 0 h 14"/>
                  <a:gd name="T2" fmla="*/ 11 w 16"/>
                  <a:gd name="T3" fmla="*/ 4 h 14"/>
                  <a:gd name="T4" fmla="*/ 11 w 16"/>
                  <a:gd name="T5" fmla="*/ 4 h 14"/>
                  <a:gd name="T6" fmla="*/ 14 w 16"/>
                  <a:gd name="T7" fmla="*/ 4 h 14"/>
                  <a:gd name="T8" fmla="*/ 16 w 16"/>
                  <a:gd name="T9" fmla="*/ 6 h 14"/>
                  <a:gd name="T10" fmla="*/ 14 w 16"/>
                  <a:gd name="T11" fmla="*/ 11 h 14"/>
                  <a:gd name="T12" fmla="*/ 11 w 16"/>
                  <a:gd name="T13" fmla="*/ 14 h 14"/>
                  <a:gd name="T14" fmla="*/ 6 w 16"/>
                  <a:gd name="T15" fmla="*/ 11 h 14"/>
                  <a:gd name="T16" fmla="*/ 6 w 16"/>
                  <a:gd name="T17" fmla="*/ 9 h 14"/>
                  <a:gd name="T18" fmla="*/ 2 w 16"/>
                  <a:gd name="T19" fmla="*/ 9 h 14"/>
                  <a:gd name="T20" fmla="*/ 2 w 16"/>
                  <a:gd name="T21" fmla="*/ 9 h 14"/>
                  <a:gd name="T22" fmla="*/ 0 w 16"/>
                  <a:gd name="T23" fmla="*/ 7 h 14"/>
                  <a:gd name="T24" fmla="*/ 2 w 16"/>
                  <a:gd name="T25" fmla="*/ 4 h 14"/>
                  <a:gd name="T26" fmla="*/ 13 w 16"/>
                  <a:gd name="T27" fmla="*/ 0 h 14"/>
                  <a:gd name="T28" fmla="*/ 13 w 16"/>
                  <a:gd name="T29" fmla="*/ 0 h 14"/>
                  <a:gd name="T30" fmla="*/ 13 w 16"/>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4">
                    <a:moveTo>
                      <a:pt x="13" y="0"/>
                    </a:moveTo>
                    <a:lnTo>
                      <a:pt x="11" y="4"/>
                    </a:lnTo>
                    <a:lnTo>
                      <a:pt x="11" y="4"/>
                    </a:lnTo>
                    <a:lnTo>
                      <a:pt x="14" y="4"/>
                    </a:lnTo>
                    <a:lnTo>
                      <a:pt x="16" y="6"/>
                    </a:lnTo>
                    <a:lnTo>
                      <a:pt x="14" y="11"/>
                    </a:lnTo>
                    <a:lnTo>
                      <a:pt x="11" y="14"/>
                    </a:lnTo>
                    <a:lnTo>
                      <a:pt x="6" y="11"/>
                    </a:lnTo>
                    <a:lnTo>
                      <a:pt x="6" y="9"/>
                    </a:lnTo>
                    <a:lnTo>
                      <a:pt x="2" y="9"/>
                    </a:lnTo>
                    <a:lnTo>
                      <a:pt x="2" y="9"/>
                    </a:lnTo>
                    <a:lnTo>
                      <a:pt x="0" y="7"/>
                    </a:lnTo>
                    <a:lnTo>
                      <a:pt x="2" y="4"/>
                    </a:lnTo>
                    <a:lnTo>
                      <a:pt x="13" y="0"/>
                    </a:lnTo>
                    <a:lnTo>
                      <a:pt x="13" y="0"/>
                    </a:lnTo>
                    <a:lnTo>
                      <a:pt x="1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98" name="Freeform 2148"/>
              <p:cNvSpPr>
                <a:spLocks/>
              </p:cNvSpPr>
              <p:nvPr/>
            </p:nvSpPr>
            <p:spPr bwMode="auto">
              <a:xfrm>
                <a:off x="2760" y="2016"/>
                <a:ext cx="6" cy="4"/>
              </a:xfrm>
              <a:custGeom>
                <a:avLst/>
                <a:gdLst>
                  <a:gd name="T0" fmla="*/ 6 w 6"/>
                  <a:gd name="T1" fmla="*/ 0 h 4"/>
                  <a:gd name="T2" fmla="*/ 6 w 6"/>
                  <a:gd name="T3" fmla="*/ 0 h 4"/>
                  <a:gd name="T4" fmla="*/ 6 w 6"/>
                  <a:gd name="T5" fmla="*/ 4 h 4"/>
                  <a:gd name="T6" fmla="*/ 4 w 6"/>
                  <a:gd name="T7" fmla="*/ 4 h 4"/>
                  <a:gd name="T8" fmla="*/ 2 w 6"/>
                  <a:gd name="T9" fmla="*/ 4 h 4"/>
                  <a:gd name="T10" fmla="*/ 0 w 6"/>
                  <a:gd name="T11" fmla="*/ 0 h 4"/>
                  <a:gd name="T12" fmla="*/ 0 w 6"/>
                  <a:gd name="T13" fmla="*/ 0 h 4"/>
                  <a:gd name="T14" fmla="*/ 4 w 6"/>
                  <a:gd name="T15" fmla="*/ 0 h 4"/>
                  <a:gd name="T16" fmla="*/ 4 w 6"/>
                  <a:gd name="T17" fmla="*/ 0 h 4"/>
                  <a:gd name="T18" fmla="*/ 6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6" y="0"/>
                    </a:moveTo>
                    <a:lnTo>
                      <a:pt x="6" y="0"/>
                    </a:lnTo>
                    <a:lnTo>
                      <a:pt x="6" y="4"/>
                    </a:lnTo>
                    <a:lnTo>
                      <a:pt x="4" y="4"/>
                    </a:lnTo>
                    <a:lnTo>
                      <a:pt x="2" y="4"/>
                    </a:lnTo>
                    <a:lnTo>
                      <a:pt x="0" y="0"/>
                    </a:lnTo>
                    <a:lnTo>
                      <a:pt x="0" y="0"/>
                    </a:lnTo>
                    <a:lnTo>
                      <a:pt x="4" y="0"/>
                    </a:lnTo>
                    <a:lnTo>
                      <a:pt x="4" y="0"/>
                    </a:lnTo>
                    <a:lnTo>
                      <a:pt x="6"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99" name="Freeform 2149"/>
              <p:cNvSpPr>
                <a:spLocks/>
              </p:cNvSpPr>
              <p:nvPr/>
            </p:nvSpPr>
            <p:spPr bwMode="auto">
              <a:xfrm>
                <a:off x="2760" y="2016"/>
                <a:ext cx="6" cy="4"/>
              </a:xfrm>
              <a:custGeom>
                <a:avLst/>
                <a:gdLst>
                  <a:gd name="T0" fmla="*/ 6 w 6"/>
                  <a:gd name="T1" fmla="*/ 0 h 4"/>
                  <a:gd name="T2" fmla="*/ 6 w 6"/>
                  <a:gd name="T3" fmla="*/ 0 h 4"/>
                  <a:gd name="T4" fmla="*/ 6 w 6"/>
                  <a:gd name="T5" fmla="*/ 4 h 4"/>
                  <a:gd name="T6" fmla="*/ 4 w 6"/>
                  <a:gd name="T7" fmla="*/ 4 h 4"/>
                  <a:gd name="T8" fmla="*/ 2 w 6"/>
                  <a:gd name="T9" fmla="*/ 4 h 4"/>
                  <a:gd name="T10" fmla="*/ 0 w 6"/>
                  <a:gd name="T11" fmla="*/ 0 h 4"/>
                  <a:gd name="T12" fmla="*/ 0 w 6"/>
                  <a:gd name="T13" fmla="*/ 0 h 4"/>
                  <a:gd name="T14" fmla="*/ 4 w 6"/>
                  <a:gd name="T15" fmla="*/ 0 h 4"/>
                  <a:gd name="T16" fmla="*/ 4 w 6"/>
                  <a:gd name="T17" fmla="*/ 0 h 4"/>
                  <a:gd name="T18" fmla="*/ 6 w 6"/>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6" y="0"/>
                    </a:moveTo>
                    <a:lnTo>
                      <a:pt x="6" y="0"/>
                    </a:lnTo>
                    <a:lnTo>
                      <a:pt x="6" y="4"/>
                    </a:lnTo>
                    <a:lnTo>
                      <a:pt x="4" y="4"/>
                    </a:lnTo>
                    <a:lnTo>
                      <a:pt x="2" y="4"/>
                    </a:lnTo>
                    <a:lnTo>
                      <a:pt x="0" y="0"/>
                    </a:lnTo>
                    <a:lnTo>
                      <a:pt x="0" y="0"/>
                    </a:lnTo>
                    <a:lnTo>
                      <a:pt x="4" y="0"/>
                    </a:lnTo>
                    <a:lnTo>
                      <a:pt x="4" y="0"/>
                    </a:lnTo>
                    <a:lnTo>
                      <a:pt x="6"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00" name="Freeform 2150"/>
              <p:cNvSpPr>
                <a:spLocks/>
              </p:cNvSpPr>
              <p:nvPr/>
            </p:nvSpPr>
            <p:spPr bwMode="auto">
              <a:xfrm>
                <a:off x="2866" y="2140"/>
                <a:ext cx="3" cy="3"/>
              </a:xfrm>
              <a:custGeom>
                <a:avLst/>
                <a:gdLst>
                  <a:gd name="T0" fmla="*/ 3 w 3"/>
                  <a:gd name="T1" fmla="*/ 0 h 3"/>
                  <a:gd name="T2" fmla="*/ 2 w 3"/>
                  <a:gd name="T3" fmla="*/ 0 h 3"/>
                  <a:gd name="T4" fmla="*/ 3 w 3"/>
                  <a:gd name="T5" fmla="*/ 1 h 3"/>
                  <a:gd name="T6" fmla="*/ 3 w 3"/>
                  <a:gd name="T7" fmla="*/ 3 h 3"/>
                  <a:gd name="T8" fmla="*/ 0 w 3"/>
                  <a:gd name="T9" fmla="*/ 3 h 3"/>
                  <a:gd name="T10" fmla="*/ 0 w 3"/>
                  <a:gd name="T11" fmla="*/ 0 h 3"/>
                  <a:gd name="T12" fmla="*/ 2 w 3"/>
                  <a:gd name="T13" fmla="*/ 0 h 3"/>
                  <a:gd name="T14" fmla="*/ 3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0"/>
                    </a:moveTo>
                    <a:lnTo>
                      <a:pt x="2" y="0"/>
                    </a:lnTo>
                    <a:lnTo>
                      <a:pt x="3" y="1"/>
                    </a:lnTo>
                    <a:lnTo>
                      <a:pt x="3" y="3"/>
                    </a:lnTo>
                    <a:lnTo>
                      <a:pt x="0" y="3"/>
                    </a:lnTo>
                    <a:lnTo>
                      <a:pt x="0" y="0"/>
                    </a:lnTo>
                    <a:lnTo>
                      <a:pt x="2" y="0"/>
                    </a:lnTo>
                    <a:lnTo>
                      <a:pt x="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01" name="Freeform 2151"/>
              <p:cNvSpPr>
                <a:spLocks/>
              </p:cNvSpPr>
              <p:nvPr/>
            </p:nvSpPr>
            <p:spPr bwMode="auto">
              <a:xfrm>
                <a:off x="2866" y="2140"/>
                <a:ext cx="3" cy="3"/>
              </a:xfrm>
              <a:custGeom>
                <a:avLst/>
                <a:gdLst>
                  <a:gd name="T0" fmla="*/ 3 w 3"/>
                  <a:gd name="T1" fmla="*/ 0 h 3"/>
                  <a:gd name="T2" fmla="*/ 2 w 3"/>
                  <a:gd name="T3" fmla="*/ 0 h 3"/>
                  <a:gd name="T4" fmla="*/ 3 w 3"/>
                  <a:gd name="T5" fmla="*/ 1 h 3"/>
                  <a:gd name="T6" fmla="*/ 3 w 3"/>
                  <a:gd name="T7" fmla="*/ 3 h 3"/>
                  <a:gd name="T8" fmla="*/ 0 w 3"/>
                  <a:gd name="T9" fmla="*/ 3 h 3"/>
                  <a:gd name="T10" fmla="*/ 0 w 3"/>
                  <a:gd name="T11" fmla="*/ 0 h 3"/>
                  <a:gd name="T12" fmla="*/ 2 w 3"/>
                  <a:gd name="T13" fmla="*/ 0 h 3"/>
                  <a:gd name="T14" fmla="*/ 3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0"/>
                    </a:moveTo>
                    <a:lnTo>
                      <a:pt x="2" y="0"/>
                    </a:lnTo>
                    <a:lnTo>
                      <a:pt x="3" y="1"/>
                    </a:lnTo>
                    <a:lnTo>
                      <a:pt x="3" y="3"/>
                    </a:lnTo>
                    <a:lnTo>
                      <a:pt x="0" y="3"/>
                    </a:lnTo>
                    <a:lnTo>
                      <a:pt x="0" y="0"/>
                    </a:lnTo>
                    <a:lnTo>
                      <a:pt x="2" y="0"/>
                    </a:lnTo>
                    <a:lnTo>
                      <a:pt x="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02" name="Freeform 2152"/>
              <p:cNvSpPr>
                <a:spLocks/>
              </p:cNvSpPr>
              <p:nvPr/>
            </p:nvSpPr>
            <p:spPr bwMode="auto">
              <a:xfrm>
                <a:off x="5451" y="1713"/>
                <a:ext cx="14" cy="7"/>
              </a:xfrm>
              <a:custGeom>
                <a:avLst/>
                <a:gdLst>
                  <a:gd name="T0" fmla="*/ 2 w 14"/>
                  <a:gd name="T1" fmla="*/ 3 h 7"/>
                  <a:gd name="T2" fmla="*/ 0 w 14"/>
                  <a:gd name="T3" fmla="*/ 3 h 7"/>
                  <a:gd name="T4" fmla="*/ 4 w 14"/>
                  <a:gd name="T5" fmla="*/ 2 h 7"/>
                  <a:gd name="T6" fmla="*/ 4 w 14"/>
                  <a:gd name="T7" fmla="*/ 0 h 7"/>
                  <a:gd name="T8" fmla="*/ 7 w 14"/>
                  <a:gd name="T9" fmla="*/ 2 h 7"/>
                  <a:gd name="T10" fmla="*/ 9 w 14"/>
                  <a:gd name="T11" fmla="*/ 2 h 7"/>
                  <a:gd name="T12" fmla="*/ 13 w 14"/>
                  <a:gd name="T13" fmla="*/ 2 h 7"/>
                  <a:gd name="T14" fmla="*/ 13 w 14"/>
                  <a:gd name="T15" fmla="*/ 3 h 7"/>
                  <a:gd name="T16" fmla="*/ 14 w 14"/>
                  <a:gd name="T17" fmla="*/ 3 h 7"/>
                  <a:gd name="T18" fmla="*/ 14 w 14"/>
                  <a:gd name="T19" fmla="*/ 5 h 7"/>
                  <a:gd name="T20" fmla="*/ 13 w 14"/>
                  <a:gd name="T21" fmla="*/ 7 h 7"/>
                  <a:gd name="T22" fmla="*/ 11 w 14"/>
                  <a:gd name="T23" fmla="*/ 7 h 7"/>
                  <a:gd name="T24" fmla="*/ 9 w 14"/>
                  <a:gd name="T25" fmla="*/ 7 h 7"/>
                  <a:gd name="T26" fmla="*/ 7 w 14"/>
                  <a:gd name="T27" fmla="*/ 7 h 7"/>
                  <a:gd name="T28" fmla="*/ 7 w 14"/>
                  <a:gd name="T29" fmla="*/ 5 h 7"/>
                  <a:gd name="T30" fmla="*/ 7 w 14"/>
                  <a:gd name="T31" fmla="*/ 3 h 7"/>
                  <a:gd name="T32" fmla="*/ 5 w 14"/>
                  <a:gd name="T33" fmla="*/ 5 h 7"/>
                  <a:gd name="T34" fmla="*/ 2 w 14"/>
                  <a:gd name="T35" fmla="*/ 3 h 7"/>
                  <a:gd name="T36" fmla="*/ 2 w 14"/>
                  <a:gd name="T3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7">
                    <a:moveTo>
                      <a:pt x="2" y="3"/>
                    </a:moveTo>
                    <a:lnTo>
                      <a:pt x="0" y="3"/>
                    </a:lnTo>
                    <a:lnTo>
                      <a:pt x="4" y="2"/>
                    </a:lnTo>
                    <a:lnTo>
                      <a:pt x="4" y="0"/>
                    </a:lnTo>
                    <a:lnTo>
                      <a:pt x="7" y="2"/>
                    </a:lnTo>
                    <a:lnTo>
                      <a:pt x="9" y="2"/>
                    </a:lnTo>
                    <a:lnTo>
                      <a:pt x="13" y="2"/>
                    </a:lnTo>
                    <a:lnTo>
                      <a:pt x="13" y="3"/>
                    </a:lnTo>
                    <a:lnTo>
                      <a:pt x="14" y="3"/>
                    </a:lnTo>
                    <a:lnTo>
                      <a:pt x="14" y="5"/>
                    </a:lnTo>
                    <a:lnTo>
                      <a:pt x="13" y="7"/>
                    </a:lnTo>
                    <a:lnTo>
                      <a:pt x="11" y="7"/>
                    </a:lnTo>
                    <a:lnTo>
                      <a:pt x="9" y="7"/>
                    </a:lnTo>
                    <a:lnTo>
                      <a:pt x="7" y="7"/>
                    </a:lnTo>
                    <a:lnTo>
                      <a:pt x="7" y="5"/>
                    </a:lnTo>
                    <a:lnTo>
                      <a:pt x="7" y="3"/>
                    </a:lnTo>
                    <a:lnTo>
                      <a:pt x="5" y="5"/>
                    </a:lnTo>
                    <a:lnTo>
                      <a:pt x="2" y="3"/>
                    </a:lnTo>
                    <a:lnTo>
                      <a:pt x="2"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03" name="Freeform 2153"/>
              <p:cNvSpPr>
                <a:spLocks/>
              </p:cNvSpPr>
              <p:nvPr/>
            </p:nvSpPr>
            <p:spPr bwMode="auto">
              <a:xfrm>
                <a:off x="5451" y="1713"/>
                <a:ext cx="14" cy="7"/>
              </a:xfrm>
              <a:custGeom>
                <a:avLst/>
                <a:gdLst>
                  <a:gd name="T0" fmla="*/ 2 w 14"/>
                  <a:gd name="T1" fmla="*/ 3 h 7"/>
                  <a:gd name="T2" fmla="*/ 0 w 14"/>
                  <a:gd name="T3" fmla="*/ 3 h 7"/>
                  <a:gd name="T4" fmla="*/ 4 w 14"/>
                  <a:gd name="T5" fmla="*/ 2 h 7"/>
                  <a:gd name="T6" fmla="*/ 4 w 14"/>
                  <a:gd name="T7" fmla="*/ 0 h 7"/>
                  <a:gd name="T8" fmla="*/ 7 w 14"/>
                  <a:gd name="T9" fmla="*/ 2 h 7"/>
                  <a:gd name="T10" fmla="*/ 9 w 14"/>
                  <a:gd name="T11" fmla="*/ 2 h 7"/>
                  <a:gd name="T12" fmla="*/ 13 w 14"/>
                  <a:gd name="T13" fmla="*/ 2 h 7"/>
                  <a:gd name="T14" fmla="*/ 13 w 14"/>
                  <a:gd name="T15" fmla="*/ 3 h 7"/>
                  <a:gd name="T16" fmla="*/ 14 w 14"/>
                  <a:gd name="T17" fmla="*/ 3 h 7"/>
                  <a:gd name="T18" fmla="*/ 14 w 14"/>
                  <a:gd name="T19" fmla="*/ 5 h 7"/>
                  <a:gd name="T20" fmla="*/ 13 w 14"/>
                  <a:gd name="T21" fmla="*/ 7 h 7"/>
                  <a:gd name="T22" fmla="*/ 11 w 14"/>
                  <a:gd name="T23" fmla="*/ 7 h 7"/>
                  <a:gd name="T24" fmla="*/ 9 w 14"/>
                  <a:gd name="T25" fmla="*/ 7 h 7"/>
                  <a:gd name="T26" fmla="*/ 7 w 14"/>
                  <a:gd name="T27" fmla="*/ 7 h 7"/>
                  <a:gd name="T28" fmla="*/ 7 w 14"/>
                  <a:gd name="T29" fmla="*/ 5 h 7"/>
                  <a:gd name="T30" fmla="*/ 7 w 14"/>
                  <a:gd name="T31" fmla="*/ 3 h 7"/>
                  <a:gd name="T32" fmla="*/ 5 w 14"/>
                  <a:gd name="T33" fmla="*/ 5 h 7"/>
                  <a:gd name="T34" fmla="*/ 2 w 14"/>
                  <a:gd name="T35" fmla="*/ 3 h 7"/>
                  <a:gd name="T36" fmla="*/ 2 w 14"/>
                  <a:gd name="T3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7">
                    <a:moveTo>
                      <a:pt x="2" y="3"/>
                    </a:moveTo>
                    <a:lnTo>
                      <a:pt x="0" y="3"/>
                    </a:lnTo>
                    <a:lnTo>
                      <a:pt x="4" y="2"/>
                    </a:lnTo>
                    <a:lnTo>
                      <a:pt x="4" y="0"/>
                    </a:lnTo>
                    <a:lnTo>
                      <a:pt x="7" y="2"/>
                    </a:lnTo>
                    <a:lnTo>
                      <a:pt x="9" y="2"/>
                    </a:lnTo>
                    <a:lnTo>
                      <a:pt x="13" y="2"/>
                    </a:lnTo>
                    <a:lnTo>
                      <a:pt x="13" y="3"/>
                    </a:lnTo>
                    <a:lnTo>
                      <a:pt x="14" y="3"/>
                    </a:lnTo>
                    <a:lnTo>
                      <a:pt x="14" y="5"/>
                    </a:lnTo>
                    <a:lnTo>
                      <a:pt x="13" y="7"/>
                    </a:lnTo>
                    <a:lnTo>
                      <a:pt x="11" y="7"/>
                    </a:lnTo>
                    <a:lnTo>
                      <a:pt x="9" y="7"/>
                    </a:lnTo>
                    <a:lnTo>
                      <a:pt x="7" y="7"/>
                    </a:lnTo>
                    <a:lnTo>
                      <a:pt x="7" y="5"/>
                    </a:lnTo>
                    <a:lnTo>
                      <a:pt x="7" y="3"/>
                    </a:lnTo>
                    <a:lnTo>
                      <a:pt x="5" y="5"/>
                    </a:lnTo>
                    <a:lnTo>
                      <a:pt x="2" y="3"/>
                    </a:lnTo>
                    <a:lnTo>
                      <a:pt x="2"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04" name="Freeform 2154"/>
              <p:cNvSpPr>
                <a:spLocks/>
              </p:cNvSpPr>
              <p:nvPr/>
            </p:nvSpPr>
            <p:spPr bwMode="auto">
              <a:xfrm>
                <a:off x="5530" y="1734"/>
                <a:ext cx="5" cy="11"/>
              </a:xfrm>
              <a:custGeom>
                <a:avLst/>
                <a:gdLst>
                  <a:gd name="T0" fmla="*/ 5 w 5"/>
                  <a:gd name="T1" fmla="*/ 2 h 11"/>
                  <a:gd name="T2" fmla="*/ 5 w 5"/>
                  <a:gd name="T3" fmla="*/ 0 h 11"/>
                  <a:gd name="T4" fmla="*/ 5 w 5"/>
                  <a:gd name="T5" fmla="*/ 4 h 11"/>
                  <a:gd name="T6" fmla="*/ 5 w 5"/>
                  <a:gd name="T7" fmla="*/ 6 h 11"/>
                  <a:gd name="T8" fmla="*/ 5 w 5"/>
                  <a:gd name="T9" fmla="*/ 7 h 11"/>
                  <a:gd name="T10" fmla="*/ 1 w 5"/>
                  <a:gd name="T11" fmla="*/ 7 h 11"/>
                  <a:gd name="T12" fmla="*/ 0 w 5"/>
                  <a:gd name="T13" fmla="*/ 11 h 11"/>
                  <a:gd name="T14" fmla="*/ 0 w 5"/>
                  <a:gd name="T15" fmla="*/ 9 h 11"/>
                  <a:gd name="T16" fmla="*/ 3 w 5"/>
                  <a:gd name="T17" fmla="*/ 6 h 11"/>
                  <a:gd name="T18" fmla="*/ 5 w 5"/>
                  <a:gd name="T19"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1">
                    <a:moveTo>
                      <a:pt x="5" y="2"/>
                    </a:moveTo>
                    <a:lnTo>
                      <a:pt x="5" y="0"/>
                    </a:lnTo>
                    <a:lnTo>
                      <a:pt x="5" y="4"/>
                    </a:lnTo>
                    <a:lnTo>
                      <a:pt x="5" y="6"/>
                    </a:lnTo>
                    <a:lnTo>
                      <a:pt x="5" y="7"/>
                    </a:lnTo>
                    <a:lnTo>
                      <a:pt x="1" y="7"/>
                    </a:lnTo>
                    <a:lnTo>
                      <a:pt x="0" y="11"/>
                    </a:lnTo>
                    <a:lnTo>
                      <a:pt x="0" y="9"/>
                    </a:lnTo>
                    <a:lnTo>
                      <a:pt x="3" y="6"/>
                    </a:lnTo>
                    <a:lnTo>
                      <a:pt x="5"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05" name="Freeform 2155"/>
              <p:cNvSpPr>
                <a:spLocks/>
              </p:cNvSpPr>
              <p:nvPr/>
            </p:nvSpPr>
            <p:spPr bwMode="auto">
              <a:xfrm>
                <a:off x="5530" y="1734"/>
                <a:ext cx="5" cy="11"/>
              </a:xfrm>
              <a:custGeom>
                <a:avLst/>
                <a:gdLst>
                  <a:gd name="T0" fmla="*/ 5 w 5"/>
                  <a:gd name="T1" fmla="*/ 2 h 11"/>
                  <a:gd name="T2" fmla="*/ 5 w 5"/>
                  <a:gd name="T3" fmla="*/ 0 h 11"/>
                  <a:gd name="T4" fmla="*/ 5 w 5"/>
                  <a:gd name="T5" fmla="*/ 4 h 11"/>
                  <a:gd name="T6" fmla="*/ 5 w 5"/>
                  <a:gd name="T7" fmla="*/ 6 h 11"/>
                  <a:gd name="T8" fmla="*/ 5 w 5"/>
                  <a:gd name="T9" fmla="*/ 7 h 11"/>
                  <a:gd name="T10" fmla="*/ 1 w 5"/>
                  <a:gd name="T11" fmla="*/ 7 h 11"/>
                  <a:gd name="T12" fmla="*/ 0 w 5"/>
                  <a:gd name="T13" fmla="*/ 11 h 11"/>
                  <a:gd name="T14" fmla="*/ 0 w 5"/>
                  <a:gd name="T15" fmla="*/ 9 h 11"/>
                  <a:gd name="T16" fmla="*/ 3 w 5"/>
                  <a:gd name="T17" fmla="*/ 6 h 11"/>
                  <a:gd name="T18" fmla="*/ 5 w 5"/>
                  <a:gd name="T19"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1">
                    <a:moveTo>
                      <a:pt x="5" y="2"/>
                    </a:moveTo>
                    <a:lnTo>
                      <a:pt x="5" y="0"/>
                    </a:lnTo>
                    <a:lnTo>
                      <a:pt x="5" y="4"/>
                    </a:lnTo>
                    <a:lnTo>
                      <a:pt x="5" y="6"/>
                    </a:lnTo>
                    <a:lnTo>
                      <a:pt x="5" y="7"/>
                    </a:lnTo>
                    <a:lnTo>
                      <a:pt x="1" y="7"/>
                    </a:lnTo>
                    <a:lnTo>
                      <a:pt x="0" y="11"/>
                    </a:lnTo>
                    <a:lnTo>
                      <a:pt x="0" y="9"/>
                    </a:lnTo>
                    <a:lnTo>
                      <a:pt x="3" y="6"/>
                    </a:lnTo>
                    <a:lnTo>
                      <a:pt x="5"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06" name="Freeform 2156"/>
              <p:cNvSpPr>
                <a:spLocks/>
              </p:cNvSpPr>
              <p:nvPr/>
            </p:nvSpPr>
            <p:spPr bwMode="auto">
              <a:xfrm>
                <a:off x="5553" y="1749"/>
                <a:ext cx="11" cy="7"/>
              </a:xfrm>
              <a:custGeom>
                <a:avLst/>
                <a:gdLst>
                  <a:gd name="T0" fmla="*/ 0 w 11"/>
                  <a:gd name="T1" fmla="*/ 0 h 7"/>
                  <a:gd name="T2" fmla="*/ 0 w 11"/>
                  <a:gd name="T3" fmla="*/ 0 h 7"/>
                  <a:gd name="T4" fmla="*/ 2 w 11"/>
                  <a:gd name="T5" fmla="*/ 0 h 7"/>
                  <a:gd name="T6" fmla="*/ 7 w 11"/>
                  <a:gd name="T7" fmla="*/ 5 h 7"/>
                  <a:gd name="T8" fmla="*/ 11 w 11"/>
                  <a:gd name="T9" fmla="*/ 5 h 7"/>
                  <a:gd name="T10" fmla="*/ 11 w 11"/>
                  <a:gd name="T11" fmla="*/ 7 h 7"/>
                  <a:gd name="T12" fmla="*/ 9 w 11"/>
                  <a:gd name="T13" fmla="*/ 7 h 7"/>
                  <a:gd name="T14" fmla="*/ 7 w 11"/>
                  <a:gd name="T15" fmla="*/ 7 h 7"/>
                  <a:gd name="T16" fmla="*/ 0 w 11"/>
                  <a:gd name="T17" fmla="*/ 1 h 7"/>
                  <a:gd name="T18" fmla="*/ 0 w 11"/>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0" y="0"/>
                    </a:moveTo>
                    <a:lnTo>
                      <a:pt x="0" y="0"/>
                    </a:lnTo>
                    <a:lnTo>
                      <a:pt x="2" y="0"/>
                    </a:lnTo>
                    <a:lnTo>
                      <a:pt x="7" y="5"/>
                    </a:lnTo>
                    <a:lnTo>
                      <a:pt x="11" y="5"/>
                    </a:lnTo>
                    <a:lnTo>
                      <a:pt x="11" y="7"/>
                    </a:lnTo>
                    <a:lnTo>
                      <a:pt x="9" y="7"/>
                    </a:lnTo>
                    <a:lnTo>
                      <a:pt x="7" y="7"/>
                    </a:lnTo>
                    <a:lnTo>
                      <a:pt x="0" y="1"/>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07" name="Freeform 2157"/>
              <p:cNvSpPr>
                <a:spLocks/>
              </p:cNvSpPr>
              <p:nvPr/>
            </p:nvSpPr>
            <p:spPr bwMode="auto">
              <a:xfrm>
                <a:off x="5553" y="1749"/>
                <a:ext cx="11" cy="7"/>
              </a:xfrm>
              <a:custGeom>
                <a:avLst/>
                <a:gdLst>
                  <a:gd name="T0" fmla="*/ 0 w 11"/>
                  <a:gd name="T1" fmla="*/ 0 h 7"/>
                  <a:gd name="T2" fmla="*/ 0 w 11"/>
                  <a:gd name="T3" fmla="*/ 0 h 7"/>
                  <a:gd name="T4" fmla="*/ 2 w 11"/>
                  <a:gd name="T5" fmla="*/ 0 h 7"/>
                  <a:gd name="T6" fmla="*/ 7 w 11"/>
                  <a:gd name="T7" fmla="*/ 5 h 7"/>
                  <a:gd name="T8" fmla="*/ 11 w 11"/>
                  <a:gd name="T9" fmla="*/ 5 h 7"/>
                  <a:gd name="T10" fmla="*/ 11 w 11"/>
                  <a:gd name="T11" fmla="*/ 7 h 7"/>
                  <a:gd name="T12" fmla="*/ 9 w 11"/>
                  <a:gd name="T13" fmla="*/ 7 h 7"/>
                  <a:gd name="T14" fmla="*/ 7 w 11"/>
                  <a:gd name="T15" fmla="*/ 7 h 7"/>
                  <a:gd name="T16" fmla="*/ 0 w 11"/>
                  <a:gd name="T17" fmla="*/ 1 h 7"/>
                  <a:gd name="T18" fmla="*/ 0 w 11"/>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7">
                    <a:moveTo>
                      <a:pt x="0" y="0"/>
                    </a:moveTo>
                    <a:lnTo>
                      <a:pt x="0" y="0"/>
                    </a:lnTo>
                    <a:lnTo>
                      <a:pt x="2" y="0"/>
                    </a:lnTo>
                    <a:lnTo>
                      <a:pt x="7" y="5"/>
                    </a:lnTo>
                    <a:lnTo>
                      <a:pt x="11" y="5"/>
                    </a:lnTo>
                    <a:lnTo>
                      <a:pt x="11" y="7"/>
                    </a:lnTo>
                    <a:lnTo>
                      <a:pt x="9" y="7"/>
                    </a:lnTo>
                    <a:lnTo>
                      <a:pt x="7" y="7"/>
                    </a:lnTo>
                    <a:lnTo>
                      <a:pt x="0" y="1"/>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08" name="Freeform 2158"/>
              <p:cNvSpPr>
                <a:spLocks/>
              </p:cNvSpPr>
              <p:nvPr/>
            </p:nvSpPr>
            <p:spPr bwMode="auto">
              <a:xfrm>
                <a:off x="5565" y="1740"/>
                <a:ext cx="4" cy="3"/>
              </a:xfrm>
              <a:custGeom>
                <a:avLst/>
                <a:gdLst>
                  <a:gd name="T0" fmla="*/ 2 w 4"/>
                  <a:gd name="T1" fmla="*/ 0 h 3"/>
                  <a:gd name="T2" fmla="*/ 4 w 4"/>
                  <a:gd name="T3" fmla="*/ 0 h 3"/>
                  <a:gd name="T4" fmla="*/ 4 w 4"/>
                  <a:gd name="T5" fmla="*/ 1 h 3"/>
                  <a:gd name="T6" fmla="*/ 4 w 4"/>
                  <a:gd name="T7" fmla="*/ 3 h 3"/>
                  <a:gd name="T8" fmla="*/ 0 w 4"/>
                  <a:gd name="T9" fmla="*/ 3 h 3"/>
                  <a:gd name="T10" fmla="*/ 0 w 4"/>
                  <a:gd name="T11" fmla="*/ 1 h 3"/>
                  <a:gd name="T12" fmla="*/ 2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2" y="0"/>
                    </a:moveTo>
                    <a:lnTo>
                      <a:pt x="4" y="0"/>
                    </a:lnTo>
                    <a:lnTo>
                      <a:pt x="4" y="1"/>
                    </a:lnTo>
                    <a:lnTo>
                      <a:pt x="4" y="3"/>
                    </a:lnTo>
                    <a:lnTo>
                      <a:pt x="0" y="3"/>
                    </a:lnTo>
                    <a:lnTo>
                      <a:pt x="0" y="1"/>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09" name="Freeform 2159"/>
              <p:cNvSpPr>
                <a:spLocks/>
              </p:cNvSpPr>
              <p:nvPr/>
            </p:nvSpPr>
            <p:spPr bwMode="auto">
              <a:xfrm>
                <a:off x="5565" y="1740"/>
                <a:ext cx="4" cy="3"/>
              </a:xfrm>
              <a:custGeom>
                <a:avLst/>
                <a:gdLst>
                  <a:gd name="T0" fmla="*/ 2 w 4"/>
                  <a:gd name="T1" fmla="*/ 0 h 3"/>
                  <a:gd name="T2" fmla="*/ 4 w 4"/>
                  <a:gd name="T3" fmla="*/ 0 h 3"/>
                  <a:gd name="T4" fmla="*/ 4 w 4"/>
                  <a:gd name="T5" fmla="*/ 1 h 3"/>
                  <a:gd name="T6" fmla="*/ 4 w 4"/>
                  <a:gd name="T7" fmla="*/ 3 h 3"/>
                  <a:gd name="T8" fmla="*/ 0 w 4"/>
                  <a:gd name="T9" fmla="*/ 3 h 3"/>
                  <a:gd name="T10" fmla="*/ 0 w 4"/>
                  <a:gd name="T11" fmla="*/ 1 h 3"/>
                  <a:gd name="T12" fmla="*/ 2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2" y="0"/>
                    </a:moveTo>
                    <a:lnTo>
                      <a:pt x="4" y="0"/>
                    </a:lnTo>
                    <a:lnTo>
                      <a:pt x="4" y="1"/>
                    </a:lnTo>
                    <a:lnTo>
                      <a:pt x="4" y="3"/>
                    </a:lnTo>
                    <a:lnTo>
                      <a:pt x="0" y="3"/>
                    </a:lnTo>
                    <a:lnTo>
                      <a:pt x="0" y="1"/>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10" name="Freeform 2160"/>
              <p:cNvSpPr>
                <a:spLocks/>
              </p:cNvSpPr>
              <p:nvPr/>
            </p:nvSpPr>
            <p:spPr bwMode="auto">
              <a:xfrm>
                <a:off x="2998" y="890"/>
                <a:ext cx="7" cy="10"/>
              </a:xfrm>
              <a:custGeom>
                <a:avLst/>
                <a:gdLst>
                  <a:gd name="T0" fmla="*/ 0 w 7"/>
                  <a:gd name="T1" fmla="*/ 3 h 10"/>
                  <a:gd name="T2" fmla="*/ 2 w 7"/>
                  <a:gd name="T3" fmla="*/ 5 h 10"/>
                  <a:gd name="T4" fmla="*/ 3 w 7"/>
                  <a:gd name="T5" fmla="*/ 7 h 10"/>
                  <a:gd name="T6" fmla="*/ 2 w 7"/>
                  <a:gd name="T7" fmla="*/ 9 h 10"/>
                  <a:gd name="T8" fmla="*/ 3 w 7"/>
                  <a:gd name="T9" fmla="*/ 10 h 10"/>
                  <a:gd name="T10" fmla="*/ 5 w 7"/>
                  <a:gd name="T11" fmla="*/ 9 h 10"/>
                  <a:gd name="T12" fmla="*/ 7 w 7"/>
                  <a:gd name="T13" fmla="*/ 1 h 10"/>
                  <a:gd name="T14" fmla="*/ 3 w 7"/>
                  <a:gd name="T15" fmla="*/ 0 h 10"/>
                  <a:gd name="T16" fmla="*/ 3 w 7"/>
                  <a:gd name="T17" fmla="*/ 1 h 10"/>
                  <a:gd name="T18" fmla="*/ 0 w 7"/>
                  <a:gd name="T19" fmla="*/ 1 h 10"/>
                  <a:gd name="T20" fmla="*/ 0 w 7"/>
                  <a:gd name="T2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0">
                    <a:moveTo>
                      <a:pt x="0" y="3"/>
                    </a:moveTo>
                    <a:lnTo>
                      <a:pt x="2" y="5"/>
                    </a:lnTo>
                    <a:lnTo>
                      <a:pt x="3" y="7"/>
                    </a:lnTo>
                    <a:lnTo>
                      <a:pt x="2" y="9"/>
                    </a:lnTo>
                    <a:lnTo>
                      <a:pt x="3" y="10"/>
                    </a:lnTo>
                    <a:lnTo>
                      <a:pt x="5" y="9"/>
                    </a:lnTo>
                    <a:lnTo>
                      <a:pt x="7" y="1"/>
                    </a:lnTo>
                    <a:lnTo>
                      <a:pt x="3" y="0"/>
                    </a:lnTo>
                    <a:lnTo>
                      <a:pt x="3" y="1"/>
                    </a:lnTo>
                    <a:lnTo>
                      <a:pt x="0" y="1"/>
                    </a:lnTo>
                    <a:lnTo>
                      <a:pt x="0"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11" name="Freeform 2161"/>
              <p:cNvSpPr>
                <a:spLocks/>
              </p:cNvSpPr>
              <p:nvPr/>
            </p:nvSpPr>
            <p:spPr bwMode="auto">
              <a:xfrm>
                <a:off x="2998" y="890"/>
                <a:ext cx="7" cy="10"/>
              </a:xfrm>
              <a:custGeom>
                <a:avLst/>
                <a:gdLst>
                  <a:gd name="T0" fmla="*/ 0 w 7"/>
                  <a:gd name="T1" fmla="*/ 3 h 10"/>
                  <a:gd name="T2" fmla="*/ 2 w 7"/>
                  <a:gd name="T3" fmla="*/ 5 h 10"/>
                  <a:gd name="T4" fmla="*/ 3 w 7"/>
                  <a:gd name="T5" fmla="*/ 7 h 10"/>
                  <a:gd name="T6" fmla="*/ 2 w 7"/>
                  <a:gd name="T7" fmla="*/ 9 h 10"/>
                  <a:gd name="T8" fmla="*/ 3 w 7"/>
                  <a:gd name="T9" fmla="*/ 10 h 10"/>
                  <a:gd name="T10" fmla="*/ 5 w 7"/>
                  <a:gd name="T11" fmla="*/ 9 h 10"/>
                  <a:gd name="T12" fmla="*/ 7 w 7"/>
                  <a:gd name="T13" fmla="*/ 1 h 10"/>
                  <a:gd name="T14" fmla="*/ 3 w 7"/>
                  <a:gd name="T15" fmla="*/ 0 h 10"/>
                  <a:gd name="T16" fmla="*/ 3 w 7"/>
                  <a:gd name="T17" fmla="*/ 1 h 10"/>
                  <a:gd name="T18" fmla="*/ 0 w 7"/>
                  <a:gd name="T19" fmla="*/ 1 h 10"/>
                  <a:gd name="T20" fmla="*/ 0 w 7"/>
                  <a:gd name="T2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0">
                    <a:moveTo>
                      <a:pt x="0" y="3"/>
                    </a:moveTo>
                    <a:lnTo>
                      <a:pt x="2" y="5"/>
                    </a:lnTo>
                    <a:lnTo>
                      <a:pt x="3" y="7"/>
                    </a:lnTo>
                    <a:lnTo>
                      <a:pt x="2" y="9"/>
                    </a:lnTo>
                    <a:lnTo>
                      <a:pt x="3" y="10"/>
                    </a:lnTo>
                    <a:lnTo>
                      <a:pt x="5" y="9"/>
                    </a:lnTo>
                    <a:lnTo>
                      <a:pt x="7" y="1"/>
                    </a:lnTo>
                    <a:lnTo>
                      <a:pt x="3" y="0"/>
                    </a:lnTo>
                    <a:lnTo>
                      <a:pt x="3" y="1"/>
                    </a:lnTo>
                    <a:lnTo>
                      <a:pt x="0" y="1"/>
                    </a:lnTo>
                    <a:lnTo>
                      <a:pt x="0"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12" name="Freeform 2162"/>
              <p:cNvSpPr>
                <a:spLocks/>
              </p:cNvSpPr>
              <p:nvPr/>
            </p:nvSpPr>
            <p:spPr bwMode="auto">
              <a:xfrm>
                <a:off x="2569" y="1650"/>
                <a:ext cx="41" cy="38"/>
              </a:xfrm>
              <a:custGeom>
                <a:avLst/>
                <a:gdLst>
                  <a:gd name="T0" fmla="*/ 7 w 41"/>
                  <a:gd name="T1" fmla="*/ 11 h 38"/>
                  <a:gd name="T2" fmla="*/ 7 w 41"/>
                  <a:gd name="T3" fmla="*/ 15 h 38"/>
                  <a:gd name="T4" fmla="*/ 6 w 41"/>
                  <a:gd name="T5" fmla="*/ 18 h 38"/>
                  <a:gd name="T6" fmla="*/ 4 w 41"/>
                  <a:gd name="T7" fmla="*/ 18 h 38"/>
                  <a:gd name="T8" fmla="*/ 4 w 41"/>
                  <a:gd name="T9" fmla="*/ 22 h 38"/>
                  <a:gd name="T10" fmla="*/ 0 w 41"/>
                  <a:gd name="T11" fmla="*/ 24 h 38"/>
                  <a:gd name="T12" fmla="*/ 4 w 41"/>
                  <a:gd name="T13" fmla="*/ 27 h 38"/>
                  <a:gd name="T14" fmla="*/ 6 w 41"/>
                  <a:gd name="T15" fmla="*/ 32 h 38"/>
                  <a:gd name="T16" fmla="*/ 9 w 41"/>
                  <a:gd name="T17" fmla="*/ 34 h 38"/>
                  <a:gd name="T18" fmla="*/ 13 w 41"/>
                  <a:gd name="T19" fmla="*/ 31 h 38"/>
                  <a:gd name="T20" fmla="*/ 15 w 41"/>
                  <a:gd name="T21" fmla="*/ 27 h 38"/>
                  <a:gd name="T22" fmla="*/ 24 w 41"/>
                  <a:gd name="T23" fmla="*/ 25 h 38"/>
                  <a:gd name="T24" fmla="*/ 29 w 41"/>
                  <a:gd name="T25" fmla="*/ 29 h 38"/>
                  <a:gd name="T26" fmla="*/ 29 w 41"/>
                  <a:gd name="T27" fmla="*/ 36 h 38"/>
                  <a:gd name="T28" fmla="*/ 29 w 41"/>
                  <a:gd name="T29" fmla="*/ 38 h 38"/>
                  <a:gd name="T30" fmla="*/ 31 w 41"/>
                  <a:gd name="T31" fmla="*/ 38 h 38"/>
                  <a:gd name="T32" fmla="*/ 34 w 41"/>
                  <a:gd name="T33" fmla="*/ 34 h 38"/>
                  <a:gd name="T34" fmla="*/ 34 w 41"/>
                  <a:gd name="T35" fmla="*/ 32 h 38"/>
                  <a:gd name="T36" fmla="*/ 38 w 41"/>
                  <a:gd name="T37" fmla="*/ 31 h 38"/>
                  <a:gd name="T38" fmla="*/ 40 w 41"/>
                  <a:gd name="T39" fmla="*/ 29 h 38"/>
                  <a:gd name="T40" fmla="*/ 38 w 41"/>
                  <a:gd name="T41" fmla="*/ 24 h 38"/>
                  <a:gd name="T42" fmla="*/ 40 w 41"/>
                  <a:gd name="T43" fmla="*/ 27 h 38"/>
                  <a:gd name="T44" fmla="*/ 41 w 41"/>
                  <a:gd name="T45" fmla="*/ 24 h 38"/>
                  <a:gd name="T46" fmla="*/ 40 w 41"/>
                  <a:gd name="T47" fmla="*/ 20 h 38"/>
                  <a:gd name="T48" fmla="*/ 38 w 41"/>
                  <a:gd name="T49" fmla="*/ 20 h 38"/>
                  <a:gd name="T50" fmla="*/ 34 w 41"/>
                  <a:gd name="T51" fmla="*/ 20 h 38"/>
                  <a:gd name="T52" fmla="*/ 36 w 41"/>
                  <a:gd name="T53" fmla="*/ 18 h 38"/>
                  <a:gd name="T54" fmla="*/ 36 w 41"/>
                  <a:gd name="T55" fmla="*/ 13 h 38"/>
                  <a:gd name="T56" fmla="*/ 31 w 41"/>
                  <a:gd name="T57" fmla="*/ 6 h 38"/>
                  <a:gd name="T58" fmla="*/ 25 w 41"/>
                  <a:gd name="T59" fmla="*/ 4 h 38"/>
                  <a:gd name="T60" fmla="*/ 18 w 41"/>
                  <a:gd name="T61" fmla="*/ 6 h 38"/>
                  <a:gd name="T62" fmla="*/ 16 w 41"/>
                  <a:gd name="T63" fmla="*/ 7 h 38"/>
                  <a:gd name="T64" fmla="*/ 15 w 41"/>
                  <a:gd name="T65" fmla="*/ 9 h 38"/>
                  <a:gd name="T66" fmla="*/ 15 w 41"/>
                  <a:gd name="T67" fmla="*/ 7 h 38"/>
                  <a:gd name="T68" fmla="*/ 16 w 41"/>
                  <a:gd name="T69" fmla="*/ 4 h 38"/>
                  <a:gd name="T70" fmla="*/ 16 w 41"/>
                  <a:gd name="T71" fmla="*/ 2 h 38"/>
                  <a:gd name="T72" fmla="*/ 15 w 41"/>
                  <a:gd name="T73" fmla="*/ 2 h 38"/>
                  <a:gd name="T74" fmla="*/ 11 w 41"/>
                  <a:gd name="T75" fmla="*/ 0 h 38"/>
                  <a:gd name="T76" fmla="*/ 11 w 41"/>
                  <a:gd name="T77" fmla="*/ 2 h 38"/>
                  <a:gd name="T78" fmla="*/ 11 w 41"/>
                  <a:gd name="T79" fmla="*/ 2 h 38"/>
                  <a:gd name="T80" fmla="*/ 9 w 41"/>
                  <a:gd name="T81" fmla="*/ 4 h 38"/>
                  <a:gd name="T82" fmla="*/ 9 w 41"/>
                  <a:gd name="T83" fmla="*/ 9 h 38"/>
                  <a:gd name="T84" fmla="*/ 9 w 41"/>
                  <a:gd name="T85" fmla="*/ 11 h 38"/>
                  <a:gd name="T86" fmla="*/ 7 w 41"/>
                  <a:gd name="T87" fmla="*/ 1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 h="38">
                    <a:moveTo>
                      <a:pt x="7" y="11"/>
                    </a:moveTo>
                    <a:lnTo>
                      <a:pt x="7" y="15"/>
                    </a:lnTo>
                    <a:lnTo>
                      <a:pt x="6" y="18"/>
                    </a:lnTo>
                    <a:lnTo>
                      <a:pt x="4" y="18"/>
                    </a:lnTo>
                    <a:lnTo>
                      <a:pt x="4" y="22"/>
                    </a:lnTo>
                    <a:lnTo>
                      <a:pt x="0" y="24"/>
                    </a:lnTo>
                    <a:lnTo>
                      <a:pt x="4" y="27"/>
                    </a:lnTo>
                    <a:lnTo>
                      <a:pt x="6" y="32"/>
                    </a:lnTo>
                    <a:lnTo>
                      <a:pt x="9" y="34"/>
                    </a:lnTo>
                    <a:lnTo>
                      <a:pt x="13" y="31"/>
                    </a:lnTo>
                    <a:lnTo>
                      <a:pt x="15" y="27"/>
                    </a:lnTo>
                    <a:lnTo>
                      <a:pt x="24" y="25"/>
                    </a:lnTo>
                    <a:lnTo>
                      <a:pt x="29" y="29"/>
                    </a:lnTo>
                    <a:lnTo>
                      <a:pt x="29" y="36"/>
                    </a:lnTo>
                    <a:lnTo>
                      <a:pt x="29" y="38"/>
                    </a:lnTo>
                    <a:lnTo>
                      <a:pt x="31" y="38"/>
                    </a:lnTo>
                    <a:lnTo>
                      <a:pt x="34" y="34"/>
                    </a:lnTo>
                    <a:lnTo>
                      <a:pt x="34" y="32"/>
                    </a:lnTo>
                    <a:lnTo>
                      <a:pt x="38" y="31"/>
                    </a:lnTo>
                    <a:lnTo>
                      <a:pt x="40" y="29"/>
                    </a:lnTo>
                    <a:lnTo>
                      <a:pt x="38" y="24"/>
                    </a:lnTo>
                    <a:lnTo>
                      <a:pt x="40" y="27"/>
                    </a:lnTo>
                    <a:lnTo>
                      <a:pt x="41" y="24"/>
                    </a:lnTo>
                    <a:lnTo>
                      <a:pt x="40" y="20"/>
                    </a:lnTo>
                    <a:lnTo>
                      <a:pt x="38" y="20"/>
                    </a:lnTo>
                    <a:lnTo>
                      <a:pt x="34" y="20"/>
                    </a:lnTo>
                    <a:lnTo>
                      <a:pt x="36" y="18"/>
                    </a:lnTo>
                    <a:lnTo>
                      <a:pt x="36" y="13"/>
                    </a:lnTo>
                    <a:lnTo>
                      <a:pt x="31" y="6"/>
                    </a:lnTo>
                    <a:lnTo>
                      <a:pt x="25" y="4"/>
                    </a:lnTo>
                    <a:lnTo>
                      <a:pt x="18" y="6"/>
                    </a:lnTo>
                    <a:lnTo>
                      <a:pt x="16" y="7"/>
                    </a:lnTo>
                    <a:lnTo>
                      <a:pt x="15" y="9"/>
                    </a:lnTo>
                    <a:lnTo>
                      <a:pt x="15" y="7"/>
                    </a:lnTo>
                    <a:lnTo>
                      <a:pt x="16" y="4"/>
                    </a:lnTo>
                    <a:lnTo>
                      <a:pt x="16" y="2"/>
                    </a:lnTo>
                    <a:lnTo>
                      <a:pt x="15" y="2"/>
                    </a:lnTo>
                    <a:lnTo>
                      <a:pt x="11" y="0"/>
                    </a:lnTo>
                    <a:lnTo>
                      <a:pt x="11" y="2"/>
                    </a:lnTo>
                    <a:lnTo>
                      <a:pt x="11" y="2"/>
                    </a:lnTo>
                    <a:lnTo>
                      <a:pt x="9" y="4"/>
                    </a:lnTo>
                    <a:lnTo>
                      <a:pt x="9" y="9"/>
                    </a:lnTo>
                    <a:lnTo>
                      <a:pt x="9" y="11"/>
                    </a:lnTo>
                    <a:lnTo>
                      <a:pt x="7"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13" name="Freeform 2163"/>
              <p:cNvSpPr>
                <a:spLocks/>
              </p:cNvSpPr>
              <p:nvPr/>
            </p:nvSpPr>
            <p:spPr bwMode="auto">
              <a:xfrm>
                <a:off x="2569" y="1650"/>
                <a:ext cx="41" cy="38"/>
              </a:xfrm>
              <a:custGeom>
                <a:avLst/>
                <a:gdLst>
                  <a:gd name="T0" fmla="*/ 7 w 41"/>
                  <a:gd name="T1" fmla="*/ 11 h 38"/>
                  <a:gd name="T2" fmla="*/ 7 w 41"/>
                  <a:gd name="T3" fmla="*/ 15 h 38"/>
                  <a:gd name="T4" fmla="*/ 6 w 41"/>
                  <a:gd name="T5" fmla="*/ 18 h 38"/>
                  <a:gd name="T6" fmla="*/ 4 w 41"/>
                  <a:gd name="T7" fmla="*/ 18 h 38"/>
                  <a:gd name="T8" fmla="*/ 4 w 41"/>
                  <a:gd name="T9" fmla="*/ 22 h 38"/>
                  <a:gd name="T10" fmla="*/ 0 w 41"/>
                  <a:gd name="T11" fmla="*/ 24 h 38"/>
                  <a:gd name="T12" fmla="*/ 4 w 41"/>
                  <a:gd name="T13" fmla="*/ 27 h 38"/>
                  <a:gd name="T14" fmla="*/ 6 w 41"/>
                  <a:gd name="T15" fmla="*/ 32 h 38"/>
                  <a:gd name="T16" fmla="*/ 9 w 41"/>
                  <a:gd name="T17" fmla="*/ 34 h 38"/>
                  <a:gd name="T18" fmla="*/ 13 w 41"/>
                  <a:gd name="T19" fmla="*/ 31 h 38"/>
                  <a:gd name="T20" fmla="*/ 15 w 41"/>
                  <a:gd name="T21" fmla="*/ 27 h 38"/>
                  <a:gd name="T22" fmla="*/ 24 w 41"/>
                  <a:gd name="T23" fmla="*/ 25 h 38"/>
                  <a:gd name="T24" fmla="*/ 29 w 41"/>
                  <a:gd name="T25" fmla="*/ 29 h 38"/>
                  <a:gd name="T26" fmla="*/ 29 w 41"/>
                  <a:gd name="T27" fmla="*/ 36 h 38"/>
                  <a:gd name="T28" fmla="*/ 29 w 41"/>
                  <a:gd name="T29" fmla="*/ 38 h 38"/>
                  <a:gd name="T30" fmla="*/ 31 w 41"/>
                  <a:gd name="T31" fmla="*/ 38 h 38"/>
                  <a:gd name="T32" fmla="*/ 34 w 41"/>
                  <a:gd name="T33" fmla="*/ 34 h 38"/>
                  <a:gd name="T34" fmla="*/ 34 w 41"/>
                  <a:gd name="T35" fmla="*/ 32 h 38"/>
                  <a:gd name="T36" fmla="*/ 38 w 41"/>
                  <a:gd name="T37" fmla="*/ 31 h 38"/>
                  <a:gd name="T38" fmla="*/ 40 w 41"/>
                  <a:gd name="T39" fmla="*/ 29 h 38"/>
                  <a:gd name="T40" fmla="*/ 38 w 41"/>
                  <a:gd name="T41" fmla="*/ 24 h 38"/>
                  <a:gd name="T42" fmla="*/ 40 w 41"/>
                  <a:gd name="T43" fmla="*/ 27 h 38"/>
                  <a:gd name="T44" fmla="*/ 41 w 41"/>
                  <a:gd name="T45" fmla="*/ 24 h 38"/>
                  <a:gd name="T46" fmla="*/ 40 w 41"/>
                  <a:gd name="T47" fmla="*/ 20 h 38"/>
                  <a:gd name="T48" fmla="*/ 38 w 41"/>
                  <a:gd name="T49" fmla="*/ 20 h 38"/>
                  <a:gd name="T50" fmla="*/ 34 w 41"/>
                  <a:gd name="T51" fmla="*/ 20 h 38"/>
                  <a:gd name="T52" fmla="*/ 36 w 41"/>
                  <a:gd name="T53" fmla="*/ 18 h 38"/>
                  <a:gd name="T54" fmla="*/ 36 w 41"/>
                  <a:gd name="T55" fmla="*/ 13 h 38"/>
                  <a:gd name="T56" fmla="*/ 31 w 41"/>
                  <a:gd name="T57" fmla="*/ 6 h 38"/>
                  <a:gd name="T58" fmla="*/ 25 w 41"/>
                  <a:gd name="T59" fmla="*/ 4 h 38"/>
                  <a:gd name="T60" fmla="*/ 18 w 41"/>
                  <a:gd name="T61" fmla="*/ 6 h 38"/>
                  <a:gd name="T62" fmla="*/ 16 w 41"/>
                  <a:gd name="T63" fmla="*/ 7 h 38"/>
                  <a:gd name="T64" fmla="*/ 15 w 41"/>
                  <a:gd name="T65" fmla="*/ 9 h 38"/>
                  <a:gd name="T66" fmla="*/ 15 w 41"/>
                  <a:gd name="T67" fmla="*/ 7 h 38"/>
                  <a:gd name="T68" fmla="*/ 16 w 41"/>
                  <a:gd name="T69" fmla="*/ 4 h 38"/>
                  <a:gd name="T70" fmla="*/ 16 w 41"/>
                  <a:gd name="T71" fmla="*/ 2 h 38"/>
                  <a:gd name="T72" fmla="*/ 15 w 41"/>
                  <a:gd name="T73" fmla="*/ 2 h 38"/>
                  <a:gd name="T74" fmla="*/ 11 w 41"/>
                  <a:gd name="T75" fmla="*/ 0 h 38"/>
                  <a:gd name="T76" fmla="*/ 11 w 41"/>
                  <a:gd name="T77" fmla="*/ 2 h 38"/>
                  <a:gd name="T78" fmla="*/ 11 w 41"/>
                  <a:gd name="T79" fmla="*/ 2 h 38"/>
                  <a:gd name="T80" fmla="*/ 9 w 41"/>
                  <a:gd name="T81" fmla="*/ 4 h 38"/>
                  <a:gd name="T82" fmla="*/ 9 w 41"/>
                  <a:gd name="T83" fmla="*/ 9 h 38"/>
                  <a:gd name="T84" fmla="*/ 9 w 41"/>
                  <a:gd name="T85" fmla="*/ 11 h 38"/>
                  <a:gd name="T86" fmla="*/ 7 w 41"/>
                  <a:gd name="T87" fmla="*/ 1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1" h="38">
                    <a:moveTo>
                      <a:pt x="7" y="11"/>
                    </a:moveTo>
                    <a:lnTo>
                      <a:pt x="7" y="15"/>
                    </a:lnTo>
                    <a:lnTo>
                      <a:pt x="6" y="18"/>
                    </a:lnTo>
                    <a:lnTo>
                      <a:pt x="4" y="18"/>
                    </a:lnTo>
                    <a:lnTo>
                      <a:pt x="4" y="22"/>
                    </a:lnTo>
                    <a:lnTo>
                      <a:pt x="0" y="24"/>
                    </a:lnTo>
                    <a:lnTo>
                      <a:pt x="4" y="27"/>
                    </a:lnTo>
                    <a:lnTo>
                      <a:pt x="6" y="32"/>
                    </a:lnTo>
                    <a:lnTo>
                      <a:pt x="9" y="34"/>
                    </a:lnTo>
                    <a:lnTo>
                      <a:pt x="13" y="31"/>
                    </a:lnTo>
                    <a:lnTo>
                      <a:pt x="15" y="27"/>
                    </a:lnTo>
                    <a:lnTo>
                      <a:pt x="24" y="25"/>
                    </a:lnTo>
                    <a:lnTo>
                      <a:pt x="29" y="29"/>
                    </a:lnTo>
                    <a:lnTo>
                      <a:pt x="29" y="36"/>
                    </a:lnTo>
                    <a:lnTo>
                      <a:pt x="29" y="38"/>
                    </a:lnTo>
                    <a:lnTo>
                      <a:pt x="31" y="38"/>
                    </a:lnTo>
                    <a:lnTo>
                      <a:pt x="34" y="34"/>
                    </a:lnTo>
                    <a:lnTo>
                      <a:pt x="34" y="32"/>
                    </a:lnTo>
                    <a:lnTo>
                      <a:pt x="38" y="31"/>
                    </a:lnTo>
                    <a:lnTo>
                      <a:pt x="40" y="29"/>
                    </a:lnTo>
                    <a:lnTo>
                      <a:pt x="38" y="24"/>
                    </a:lnTo>
                    <a:lnTo>
                      <a:pt x="40" y="27"/>
                    </a:lnTo>
                    <a:lnTo>
                      <a:pt x="41" y="24"/>
                    </a:lnTo>
                    <a:lnTo>
                      <a:pt x="40" y="20"/>
                    </a:lnTo>
                    <a:lnTo>
                      <a:pt x="38" y="20"/>
                    </a:lnTo>
                    <a:lnTo>
                      <a:pt x="34" y="20"/>
                    </a:lnTo>
                    <a:lnTo>
                      <a:pt x="36" y="18"/>
                    </a:lnTo>
                    <a:lnTo>
                      <a:pt x="36" y="13"/>
                    </a:lnTo>
                    <a:lnTo>
                      <a:pt x="31" y="6"/>
                    </a:lnTo>
                    <a:lnTo>
                      <a:pt x="25" y="4"/>
                    </a:lnTo>
                    <a:lnTo>
                      <a:pt x="18" y="6"/>
                    </a:lnTo>
                    <a:lnTo>
                      <a:pt x="16" y="7"/>
                    </a:lnTo>
                    <a:lnTo>
                      <a:pt x="15" y="9"/>
                    </a:lnTo>
                    <a:lnTo>
                      <a:pt x="15" y="7"/>
                    </a:lnTo>
                    <a:lnTo>
                      <a:pt x="16" y="4"/>
                    </a:lnTo>
                    <a:lnTo>
                      <a:pt x="16" y="2"/>
                    </a:lnTo>
                    <a:lnTo>
                      <a:pt x="15" y="2"/>
                    </a:lnTo>
                    <a:lnTo>
                      <a:pt x="11" y="0"/>
                    </a:lnTo>
                    <a:lnTo>
                      <a:pt x="11" y="2"/>
                    </a:lnTo>
                    <a:lnTo>
                      <a:pt x="11" y="2"/>
                    </a:lnTo>
                    <a:lnTo>
                      <a:pt x="9" y="4"/>
                    </a:lnTo>
                    <a:lnTo>
                      <a:pt x="9" y="9"/>
                    </a:lnTo>
                    <a:lnTo>
                      <a:pt x="9" y="11"/>
                    </a:lnTo>
                    <a:lnTo>
                      <a:pt x="7"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14" name="Freeform 2164"/>
              <p:cNvSpPr>
                <a:spLocks/>
              </p:cNvSpPr>
              <p:nvPr/>
            </p:nvSpPr>
            <p:spPr bwMode="auto">
              <a:xfrm>
                <a:off x="2776" y="1075"/>
                <a:ext cx="416" cy="497"/>
              </a:xfrm>
              <a:custGeom>
                <a:avLst/>
                <a:gdLst>
                  <a:gd name="T0" fmla="*/ 395 w 416"/>
                  <a:gd name="T1" fmla="*/ 65 h 497"/>
                  <a:gd name="T2" fmla="*/ 379 w 416"/>
                  <a:gd name="T3" fmla="*/ 45 h 497"/>
                  <a:gd name="T4" fmla="*/ 400 w 416"/>
                  <a:gd name="T5" fmla="*/ 18 h 497"/>
                  <a:gd name="T6" fmla="*/ 383 w 416"/>
                  <a:gd name="T7" fmla="*/ 13 h 497"/>
                  <a:gd name="T8" fmla="*/ 368 w 416"/>
                  <a:gd name="T9" fmla="*/ 20 h 497"/>
                  <a:gd name="T10" fmla="*/ 356 w 416"/>
                  <a:gd name="T11" fmla="*/ 24 h 497"/>
                  <a:gd name="T12" fmla="*/ 327 w 416"/>
                  <a:gd name="T13" fmla="*/ 40 h 497"/>
                  <a:gd name="T14" fmla="*/ 324 w 416"/>
                  <a:gd name="T15" fmla="*/ 11 h 497"/>
                  <a:gd name="T16" fmla="*/ 308 w 416"/>
                  <a:gd name="T17" fmla="*/ 27 h 497"/>
                  <a:gd name="T18" fmla="*/ 286 w 416"/>
                  <a:gd name="T19" fmla="*/ 49 h 497"/>
                  <a:gd name="T20" fmla="*/ 268 w 416"/>
                  <a:gd name="T21" fmla="*/ 41 h 497"/>
                  <a:gd name="T22" fmla="*/ 259 w 416"/>
                  <a:gd name="T23" fmla="*/ 61 h 497"/>
                  <a:gd name="T24" fmla="*/ 241 w 416"/>
                  <a:gd name="T25" fmla="*/ 84 h 497"/>
                  <a:gd name="T26" fmla="*/ 233 w 416"/>
                  <a:gd name="T27" fmla="*/ 90 h 497"/>
                  <a:gd name="T28" fmla="*/ 213 w 416"/>
                  <a:gd name="T29" fmla="*/ 82 h 497"/>
                  <a:gd name="T30" fmla="*/ 204 w 416"/>
                  <a:gd name="T31" fmla="*/ 109 h 497"/>
                  <a:gd name="T32" fmla="*/ 190 w 416"/>
                  <a:gd name="T33" fmla="*/ 120 h 497"/>
                  <a:gd name="T34" fmla="*/ 181 w 416"/>
                  <a:gd name="T35" fmla="*/ 125 h 497"/>
                  <a:gd name="T36" fmla="*/ 172 w 416"/>
                  <a:gd name="T37" fmla="*/ 138 h 497"/>
                  <a:gd name="T38" fmla="*/ 165 w 416"/>
                  <a:gd name="T39" fmla="*/ 159 h 497"/>
                  <a:gd name="T40" fmla="*/ 150 w 416"/>
                  <a:gd name="T41" fmla="*/ 174 h 497"/>
                  <a:gd name="T42" fmla="*/ 133 w 416"/>
                  <a:gd name="T43" fmla="*/ 195 h 497"/>
                  <a:gd name="T44" fmla="*/ 129 w 416"/>
                  <a:gd name="T45" fmla="*/ 213 h 497"/>
                  <a:gd name="T46" fmla="*/ 125 w 416"/>
                  <a:gd name="T47" fmla="*/ 231 h 497"/>
                  <a:gd name="T48" fmla="*/ 116 w 416"/>
                  <a:gd name="T49" fmla="*/ 245 h 497"/>
                  <a:gd name="T50" fmla="*/ 109 w 416"/>
                  <a:gd name="T51" fmla="*/ 256 h 497"/>
                  <a:gd name="T52" fmla="*/ 100 w 416"/>
                  <a:gd name="T53" fmla="*/ 281 h 497"/>
                  <a:gd name="T54" fmla="*/ 79 w 416"/>
                  <a:gd name="T55" fmla="*/ 311 h 497"/>
                  <a:gd name="T56" fmla="*/ 83 w 416"/>
                  <a:gd name="T57" fmla="*/ 318 h 497"/>
                  <a:gd name="T58" fmla="*/ 70 w 416"/>
                  <a:gd name="T59" fmla="*/ 320 h 497"/>
                  <a:gd name="T60" fmla="*/ 50 w 416"/>
                  <a:gd name="T61" fmla="*/ 327 h 497"/>
                  <a:gd name="T62" fmla="*/ 34 w 416"/>
                  <a:gd name="T63" fmla="*/ 343 h 497"/>
                  <a:gd name="T64" fmla="*/ 22 w 416"/>
                  <a:gd name="T65" fmla="*/ 352 h 497"/>
                  <a:gd name="T66" fmla="*/ 18 w 416"/>
                  <a:gd name="T67" fmla="*/ 366 h 497"/>
                  <a:gd name="T68" fmla="*/ 20 w 416"/>
                  <a:gd name="T69" fmla="*/ 370 h 497"/>
                  <a:gd name="T70" fmla="*/ 0 w 416"/>
                  <a:gd name="T71" fmla="*/ 381 h 497"/>
                  <a:gd name="T72" fmla="*/ 22 w 416"/>
                  <a:gd name="T73" fmla="*/ 399 h 497"/>
                  <a:gd name="T74" fmla="*/ 38 w 416"/>
                  <a:gd name="T75" fmla="*/ 397 h 497"/>
                  <a:gd name="T76" fmla="*/ 20 w 416"/>
                  <a:gd name="T77" fmla="*/ 400 h 497"/>
                  <a:gd name="T78" fmla="*/ 0 w 416"/>
                  <a:gd name="T79" fmla="*/ 411 h 497"/>
                  <a:gd name="T80" fmla="*/ 6 w 416"/>
                  <a:gd name="T81" fmla="*/ 431 h 497"/>
                  <a:gd name="T82" fmla="*/ 22 w 416"/>
                  <a:gd name="T83" fmla="*/ 418 h 497"/>
                  <a:gd name="T84" fmla="*/ 18 w 416"/>
                  <a:gd name="T85" fmla="*/ 432 h 497"/>
                  <a:gd name="T86" fmla="*/ 4 w 416"/>
                  <a:gd name="T87" fmla="*/ 456 h 497"/>
                  <a:gd name="T88" fmla="*/ 17 w 416"/>
                  <a:gd name="T89" fmla="*/ 456 h 497"/>
                  <a:gd name="T90" fmla="*/ 27 w 416"/>
                  <a:gd name="T91" fmla="*/ 486 h 497"/>
                  <a:gd name="T92" fmla="*/ 61 w 416"/>
                  <a:gd name="T93" fmla="*/ 481 h 497"/>
                  <a:gd name="T94" fmla="*/ 84 w 416"/>
                  <a:gd name="T95" fmla="*/ 452 h 497"/>
                  <a:gd name="T96" fmla="*/ 88 w 416"/>
                  <a:gd name="T97" fmla="*/ 440 h 497"/>
                  <a:gd name="T98" fmla="*/ 104 w 416"/>
                  <a:gd name="T99" fmla="*/ 468 h 497"/>
                  <a:gd name="T100" fmla="*/ 118 w 416"/>
                  <a:gd name="T101" fmla="*/ 400 h 497"/>
                  <a:gd name="T102" fmla="*/ 111 w 416"/>
                  <a:gd name="T103" fmla="*/ 322 h 497"/>
                  <a:gd name="T104" fmla="*/ 158 w 416"/>
                  <a:gd name="T105" fmla="*/ 220 h 497"/>
                  <a:gd name="T106" fmla="*/ 206 w 416"/>
                  <a:gd name="T107" fmla="*/ 143 h 497"/>
                  <a:gd name="T108" fmla="*/ 243 w 416"/>
                  <a:gd name="T109" fmla="*/ 106 h 497"/>
                  <a:gd name="T110" fmla="*/ 265 w 416"/>
                  <a:gd name="T111" fmla="*/ 84 h 497"/>
                  <a:gd name="T112" fmla="*/ 324 w 416"/>
                  <a:gd name="T113" fmla="*/ 104 h 497"/>
                  <a:gd name="T114" fmla="*/ 383 w 416"/>
                  <a:gd name="T115" fmla="*/ 90 h 497"/>
                  <a:gd name="T116" fmla="*/ 415 w 416"/>
                  <a:gd name="T117" fmla="*/ 68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6" h="497">
                    <a:moveTo>
                      <a:pt x="415" y="65"/>
                    </a:moveTo>
                    <a:lnTo>
                      <a:pt x="408" y="63"/>
                    </a:lnTo>
                    <a:lnTo>
                      <a:pt x="408" y="68"/>
                    </a:lnTo>
                    <a:lnTo>
                      <a:pt x="406" y="68"/>
                    </a:lnTo>
                    <a:lnTo>
                      <a:pt x="406" y="68"/>
                    </a:lnTo>
                    <a:lnTo>
                      <a:pt x="402" y="66"/>
                    </a:lnTo>
                    <a:lnTo>
                      <a:pt x="402" y="65"/>
                    </a:lnTo>
                    <a:lnTo>
                      <a:pt x="402" y="68"/>
                    </a:lnTo>
                    <a:lnTo>
                      <a:pt x="402" y="70"/>
                    </a:lnTo>
                    <a:lnTo>
                      <a:pt x="400" y="66"/>
                    </a:lnTo>
                    <a:lnTo>
                      <a:pt x="397" y="66"/>
                    </a:lnTo>
                    <a:lnTo>
                      <a:pt x="393" y="68"/>
                    </a:lnTo>
                    <a:lnTo>
                      <a:pt x="395" y="65"/>
                    </a:lnTo>
                    <a:lnTo>
                      <a:pt x="397" y="63"/>
                    </a:lnTo>
                    <a:lnTo>
                      <a:pt x="399" y="63"/>
                    </a:lnTo>
                    <a:lnTo>
                      <a:pt x="399" y="61"/>
                    </a:lnTo>
                    <a:lnTo>
                      <a:pt x="399" y="59"/>
                    </a:lnTo>
                    <a:lnTo>
                      <a:pt x="397" y="57"/>
                    </a:lnTo>
                    <a:lnTo>
                      <a:pt x="391" y="57"/>
                    </a:lnTo>
                    <a:lnTo>
                      <a:pt x="393" y="56"/>
                    </a:lnTo>
                    <a:lnTo>
                      <a:pt x="391" y="54"/>
                    </a:lnTo>
                    <a:lnTo>
                      <a:pt x="388" y="52"/>
                    </a:lnTo>
                    <a:lnTo>
                      <a:pt x="384" y="49"/>
                    </a:lnTo>
                    <a:lnTo>
                      <a:pt x="379" y="49"/>
                    </a:lnTo>
                    <a:lnTo>
                      <a:pt x="379" y="47"/>
                    </a:lnTo>
                    <a:lnTo>
                      <a:pt x="379" y="45"/>
                    </a:lnTo>
                    <a:lnTo>
                      <a:pt x="379" y="45"/>
                    </a:lnTo>
                    <a:lnTo>
                      <a:pt x="400" y="49"/>
                    </a:lnTo>
                    <a:lnTo>
                      <a:pt x="411" y="41"/>
                    </a:lnTo>
                    <a:lnTo>
                      <a:pt x="415" y="40"/>
                    </a:lnTo>
                    <a:lnTo>
                      <a:pt x="416" y="38"/>
                    </a:lnTo>
                    <a:lnTo>
                      <a:pt x="416" y="34"/>
                    </a:lnTo>
                    <a:lnTo>
                      <a:pt x="413" y="32"/>
                    </a:lnTo>
                    <a:lnTo>
                      <a:pt x="409" y="27"/>
                    </a:lnTo>
                    <a:lnTo>
                      <a:pt x="406" y="27"/>
                    </a:lnTo>
                    <a:lnTo>
                      <a:pt x="402" y="25"/>
                    </a:lnTo>
                    <a:lnTo>
                      <a:pt x="406" y="25"/>
                    </a:lnTo>
                    <a:lnTo>
                      <a:pt x="400" y="22"/>
                    </a:lnTo>
                    <a:lnTo>
                      <a:pt x="400" y="18"/>
                    </a:lnTo>
                    <a:lnTo>
                      <a:pt x="397" y="22"/>
                    </a:lnTo>
                    <a:lnTo>
                      <a:pt x="395" y="24"/>
                    </a:lnTo>
                    <a:lnTo>
                      <a:pt x="395" y="20"/>
                    </a:lnTo>
                    <a:lnTo>
                      <a:pt x="395" y="18"/>
                    </a:lnTo>
                    <a:lnTo>
                      <a:pt x="390" y="22"/>
                    </a:lnTo>
                    <a:lnTo>
                      <a:pt x="390" y="20"/>
                    </a:lnTo>
                    <a:lnTo>
                      <a:pt x="388" y="20"/>
                    </a:lnTo>
                    <a:lnTo>
                      <a:pt x="390" y="18"/>
                    </a:lnTo>
                    <a:lnTo>
                      <a:pt x="390" y="15"/>
                    </a:lnTo>
                    <a:lnTo>
                      <a:pt x="388" y="15"/>
                    </a:lnTo>
                    <a:lnTo>
                      <a:pt x="386" y="13"/>
                    </a:lnTo>
                    <a:lnTo>
                      <a:pt x="384" y="13"/>
                    </a:lnTo>
                    <a:lnTo>
                      <a:pt x="383" y="13"/>
                    </a:lnTo>
                    <a:lnTo>
                      <a:pt x="381" y="13"/>
                    </a:lnTo>
                    <a:lnTo>
                      <a:pt x="377" y="16"/>
                    </a:lnTo>
                    <a:lnTo>
                      <a:pt x="377" y="31"/>
                    </a:lnTo>
                    <a:lnTo>
                      <a:pt x="374" y="32"/>
                    </a:lnTo>
                    <a:lnTo>
                      <a:pt x="372" y="31"/>
                    </a:lnTo>
                    <a:lnTo>
                      <a:pt x="368" y="31"/>
                    </a:lnTo>
                    <a:lnTo>
                      <a:pt x="366" y="31"/>
                    </a:lnTo>
                    <a:lnTo>
                      <a:pt x="370" y="27"/>
                    </a:lnTo>
                    <a:lnTo>
                      <a:pt x="372" y="24"/>
                    </a:lnTo>
                    <a:lnTo>
                      <a:pt x="372" y="20"/>
                    </a:lnTo>
                    <a:lnTo>
                      <a:pt x="366" y="24"/>
                    </a:lnTo>
                    <a:lnTo>
                      <a:pt x="365" y="24"/>
                    </a:lnTo>
                    <a:lnTo>
                      <a:pt x="368" y="20"/>
                    </a:lnTo>
                    <a:lnTo>
                      <a:pt x="366" y="16"/>
                    </a:lnTo>
                    <a:lnTo>
                      <a:pt x="368" y="15"/>
                    </a:lnTo>
                    <a:lnTo>
                      <a:pt x="374" y="15"/>
                    </a:lnTo>
                    <a:lnTo>
                      <a:pt x="375" y="11"/>
                    </a:lnTo>
                    <a:lnTo>
                      <a:pt x="375" y="6"/>
                    </a:lnTo>
                    <a:lnTo>
                      <a:pt x="372" y="6"/>
                    </a:lnTo>
                    <a:lnTo>
                      <a:pt x="372" y="4"/>
                    </a:lnTo>
                    <a:lnTo>
                      <a:pt x="370" y="2"/>
                    </a:lnTo>
                    <a:lnTo>
                      <a:pt x="368" y="2"/>
                    </a:lnTo>
                    <a:lnTo>
                      <a:pt x="365" y="4"/>
                    </a:lnTo>
                    <a:lnTo>
                      <a:pt x="361" y="0"/>
                    </a:lnTo>
                    <a:lnTo>
                      <a:pt x="356" y="20"/>
                    </a:lnTo>
                    <a:lnTo>
                      <a:pt x="356" y="24"/>
                    </a:lnTo>
                    <a:lnTo>
                      <a:pt x="354" y="24"/>
                    </a:lnTo>
                    <a:lnTo>
                      <a:pt x="352" y="27"/>
                    </a:lnTo>
                    <a:lnTo>
                      <a:pt x="352" y="31"/>
                    </a:lnTo>
                    <a:lnTo>
                      <a:pt x="349" y="31"/>
                    </a:lnTo>
                    <a:lnTo>
                      <a:pt x="345" y="36"/>
                    </a:lnTo>
                    <a:lnTo>
                      <a:pt x="347" y="25"/>
                    </a:lnTo>
                    <a:lnTo>
                      <a:pt x="343" y="22"/>
                    </a:lnTo>
                    <a:lnTo>
                      <a:pt x="347" y="18"/>
                    </a:lnTo>
                    <a:lnTo>
                      <a:pt x="347" y="9"/>
                    </a:lnTo>
                    <a:lnTo>
                      <a:pt x="345" y="9"/>
                    </a:lnTo>
                    <a:lnTo>
                      <a:pt x="343" y="9"/>
                    </a:lnTo>
                    <a:lnTo>
                      <a:pt x="325" y="41"/>
                    </a:lnTo>
                    <a:lnTo>
                      <a:pt x="327" y="40"/>
                    </a:lnTo>
                    <a:lnTo>
                      <a:pt x="322" y="50"/>
                    </a:lnTo>
                    <a:lnTo>
                      <a:pt x="318" y="50"/>
                    </a:lnTo>
                    <a:lnTo>
                      <a:pt x="318" y="43"/>
                    </a:lnTo>
                    <a:lnTo>
                      <a:pt x="320" y="41"/>
                    </a:lnTo>
                    <a:lnTo>
                      <a:pt x="322" y="41"/>
                    </a:lnTo>
                    <a:lnTo>
                      <a:pt x="322" y="38"/>
                    </a:lnTo>
                    <a:lnTo>
                      <a:pt x="324" y="34"/>
                    </a:lnTo>
                    <a:lnTo>
                      <a:pt x="322" y="31"/>
                    </a:lnTo>
                    <a:lnTo>
                      <a:pt x="333" y="13"/>
                    </a:lnTo>
                    <a:lnTo>
                      <a:pt x="331" y="11"/>
                    </a:lnTo>
                    <a:lnTo>
                      <a:pt x="325" y="15"/>
                    </a:lnTo>
                    <a:lnTo>
                      <a:pt x="324" y="16"/>
                    </a:lnTo>
                    <a:lnTo>
                      <a:pt x="324" y="11"/>
                    </a:lnTo>
                    <a:lnTo>
                      <a:pt x="322" y="11"/>
                    </a:lnTo>
                    <a:lnTo>
                      <a:pt x="320" y="9"/>
                    </a:lnTo>
                    <a:lnTo>
                      <a:pt x="320" y="7"/>
                    </a:lnTo>
                    <a:lnTo>
                      <a:pt x="316" y="11"/>
                    </a:lnTo>
                    <a:lnTo>
                      <a:pt x="316" y="9"/>
                    </a:lnTo>
                    <a:lnTo>
                      <a:pt x="315" y="9"/>
                    </a:lnTo>
                    <a:lnTo>
                      <a:pt x="313" y="16"/>
                    </a:lnTo>
                    <a:lnTo>
                      <a:pt x="309" y="15"/>
                    </a:lnTo>
                    <a:lnTo>
                      <a:pt x="311" y="18"/>
                    </a:lnTo>
                    <a:lnTo>
                      <a:pt x="313" y="20"/>
                    </a:lnTo>
                    <a:lnTo>
                      <a:pt x="315" y="22"/>
                    </a:lnTo>
                    <a:lnTo>
                      <a:pt x="309" y="24"/>
                    </a:lnTo>
                    <a:lnTo>
                      <a:pt x="308" y="27"/>
                    </a:lnTo>
                    <a:lnTo>
                      <a:pt x="309" y="31"/>
                    </a:lnTo>
                    <a:lnTo>
                      <a:pt x="302" y="31"/>
                    </a:lnTo>
                    <a:lnTo>
                      <a:pt x="299" y="36"/>
                    </a:lnTo>
                    <a:lnTo>
                      <a:pt x="297" y="38"/>
                    </a:lnTo>
                    <a:lnTo>
                      <a:pt x="293" y="43"/>
                    </a:lnTo>
                    <a:lnTo>
                      <a:pt x="291" y="45"/>
                    </a:lnTo>
                    <a:lnTo>
                      <a:pt x="293" y="47"/>
                    </a:lnTo>
                    <a:lnTo>
                      <a:pt x="291" y="54"/>
                    </a:lnTo>
                    <a:lnTo>
                      <a:pt x="290" y="56"/>
                    </a:lnTo>
                    <a:lnTo>
                      <a:pt x="288" y="52"/>
                    </a:lnTo>
                    <a:lnTo>
                      <a:pt x="288" y="50"/>
                    </a:lnTo>
                    <a:lnTo>
                      <a:pt x="290" y="49"/>
                    </a:lnTo>
                    <a:lnTo>
                      <a:pt x="286" y="49"/>
                    </a:lnTo>
                    <a:lnTo>
                      <a:pt x="288" y="45"/>
                    </a:lnTo>
                    <a:lnTo>
                      <a:pt x="288" y="45"/>
                    </a:lnTo>
                    <a:lnTo>
                      <a:pt x="279" y="43"/>
                    </a:lnTo>
                    <a:lnTo>
                      <a:pt x="279" y="47"/>
                    </a:lnTo>
                    <a:lnTo>
                      <a:pt x="277" y="47"/>
                    </a:lnTo>
                    <a:lnTo>
                      <a:pt x="275" y="47"/>
                    </a:lnTo>
                    <a:lnTo>
                      <a:pt x="275" y="45"/>
                    </a:lnTo>
                    <a:lnTo>
                      <a:pt x="275" y="41"/>
                    </a:lnTo>
                    <a:lnTo>
                      <a:pt x="274" y="43"/>
                    </a:lnTo>
                    <a:lnTo>
                      <a:pt x="274" y="40"/>
                    </a:lnTo>
                    <a:lnTo>
                      <a:pt x="272" y="41"/>
                    </a:lnTo>
                    <a:lnTo>
                      <a:pt x="270" y="40"/>
                    </a:lnTo>
                    <a:lnTo>
                      <a:pt x="268" y="41"/>
                    </a:lnTo>
                    <a:lnTo>
                      <a:pt x="268" y="47"/>
                    </a:lnTo>
                    <a:lnTo>
                      <a:pt x="266" y="40"/>
                    </a:lnTo>
                    <a:lnTo>
                      <a:pt x="265" y="40"/>
                    </a:lnTo>
                    <a:lnTo>
                      <a:pt x="265" y="47"/>
                    </a:lnTo>
                    <a:lnTo>
                      <a:pt x="270" y="50"/>
                    </a:lnTo>
                    <a:lnTo>
                      <a:pt x="272" y="50"/>
                    </a:lnTo>
                    <a:lnTo>
                      <a:pt x="272" y="59"/>
                    </a:lnTo>
                    <a:lnTo>
                      <a:pt x="272" y="63"/>
                    </a:lnTo>
                    <a:lnTo>
                      <a:pt x="272" y="66"/>
                    </a:lnTo>
                    <a:lnTo>
                      <a:pt x="261" y="52"/>
                    </a:lnTo>
                    <a:lnTo>
                      <a:pt x="261" y="57"/>
                    </a:lnTo>
                    <a:lnTo>
                      <a:pt x="259" y="57"/>
                    </a:lnTo>
                    <a:lnTo>
                      <a:pt x="259" y="61"/>
                    </a:lnTo>
                    <a:lnTo>
                      <a:pt x="258" y="61"/>
                    </a:lnTo>
                    <a:lnTo>
                      <a:pt x="256" y="63"/>
                    </a:lnTo>
                    <a:lnTo>
                      <a:pt x="256" y="61"/>
                    </a:lnTo>
                    <a:lnTo>
                      <a:pt x="256" y="59"/>
                    </a:lnTo>
                    <a:lnTo>
                      <a:pt x="256" y="56"/>
                    </a:lnTo>
                    <a:lnTo>
                      <a:pt x="254" y="57"/>
                    </a:lnTo>
                    <a:lnTo>
                      <a:pt x="252" y="61"/>
                    </a:lnTo>
                    <a:lnTo>
                      <a:pt x="250" y="65"/>
                    </a:lnTo>
                    <a:lnTo>
                      <a:pt x="249" y="65"/>
                    </a:lnTo>
                    <a:lnTo>
                      <a:pt x="250" y="72"/>
                    </a:lnTo>
                    <a:lnTo>
                      <a:pt x="245" y="75"/>
                    </a:lnTo>
                    <a:lnTo>
                      <a:pt x="243" y="81"/>
                    </a:lnTo>
                    <a:lnTo>
                      <a:pt x="241" y="84"/>
                    </a:lnTo>
                    <a:lnTo>
                      <a:pt x="245" y="77"/>
                    </a:lnTo>
                    <a:lnTo>
                      <a:pt x="245" y="56"/>
                    </a:lnTo>
                    <a:lnTo>
                      <a:pt x="241" y="57"/>
                    </a:lnTo>
                    <a:lnTo>
                      <a:pt x="238" y="66"/>
                    </a:lnTo>
                    <a:lnTo>
                      <a:pt x="234" y="79"/>
                    </a:lnTo>
                    <a:lnTo>
                      <a:pt x="234" y="63"/>
                    </a:lnTo>
                    <a:lnTo>
                      <a:pt x="227" y="65"/>
                    </a:lnTo>
                    <a:lnTo>
                      <a:pt x="224" y="70"/>
                    </a:lnTo>
                    <a:lnTo>
                      <a:pt x="225" y="77"/>
                    </a:lnTo>
                    <a:lnTo>
                      <a:pt x="227" y="81"/>
                    </a:lnTo>
                    <a:lnTo>
                      <a:pt x="231" y="82"/>
                    </a:lnTo>
                    <a:lnTo>
                      <a:pt x="233" y="86"/>
                    </a:lnTo>
                    <a:lnTo>
                      <a:pt x="233" y="90"/>
                    </a:lnTo>
                    <a:lnTo>
                      <a:pt x="229" y="88"/>
                    </a:lnTo>
                    <a:lnTo>
                      <a:pt x="227" y="84"/>
                    </a:lnTo>
                    <a:lnTo>
                      <a:pt x="224" y="82"/>
                    </a:lnTo>
                    <a:lnTo>
                      <a:pt x="220" y="74"/>
                    </a:lnTo>
                    <a:lnTo>
                      <a:pt x="216" y="75"/>
                    </a:lnTo>
                    <a:lnTo>
                      <a:pt x="218" y="81"/>
                    </a:lnTo>
                    <a:lnTo>
                      <a:pt x="222" y="84"/>
                    </a:lnTo>
                    <a:lnTo>
                      <a:pt x="218" y="86"/>
                    </a:lnTo>
                    <a:lnTo>
                      <a:pt x="216" y="84"/>
                    </a:lnTo>
                    <a:lnTo>
                      <a:pt x="215" y="86"/>
                    </a:lnTo>
                    <a:lnTo>
                      <a:pt x="215" y="82"/>
                    </a:lnTo>
                    <a:lnTo>
                      <a:pt x="213" y="84"/>
                    </a:lnTo>
                    <a:lnTo>
                      <a:pt x="213" y="82"/>
                    </a:lnTo>
                    <a:lnTo>
                      <a:pt x="213" y="79"/>
                    </a:lnTo>
                    <a:lnTo>
                      <a:pt x="211" y="77"/>
                    </a:lnTo>
                    <a:lnTo>
                      <a:pt x="209" y="86"/>
                    </a:lnTo>
                    <a:lnTo>
                      <a:pt x="209" y="88"/>
                    </a:lnTo>
                    <a:lnTo>
                      <a:pt x="211" y="90"/>
                    </a:lnTo>
                    <a:lnTo>
                      <a:pt x="202" y="95"/>
                    </a:lnTo>
                    <a:lnTo>
                      <a:pt x="200" y="100"/>
                    </a:lnTo>
                    <a:lnTo>
                      <a:pt x="202" y="104"/>
                    </a:lnTo>
                    <a:lnTo>
                      <a:pt x="204" y="102"/>
                    </a:lnTo>
                    <a:lnTo>
                      <a:pt x="206" y="104"/>
                    </a:lnTo>
                    <a:lnTo>
                      <a:pt x="202" y="104"/>
                    </a:lnTo>
                    <a:lnTo>
                      <a:pt x="204" y="107"/>
                    </a:lnTo>
                    <a:lnTo>
                      <a:pt x="204" y="109"/>
                    </a:lnTo>
                    <a:lnTo>
                      <a:pt x="200" y="107"/>
                    </a:lnTo>
                    <a:lnTo>
                      <a:pt x="199" y="109"/>
                    </a:lnTo>
                    <a:lnTo>
                      <a:pt x="200" y="111"/>
                    </a:lnTo>
                    <a:lnTo>
                      <a:pt x="199" y="113"/>
                    </a:lnTo>
                    <a:lnTo>
                      <a:pt x="195" y="111"/>
                    </a:lnTo>
                    <a:lnTo>
                      <a:pt x="195" y="113"/>
                    </a:lnTo>
                    <a:lnTo>
                      <a:pt x="193" y="113"/>
                    </a:lnTo>
                    <a:lnTo>
                      <a:pt x="188" y="115"/>
                    </a:lnTo>
                    <a:lnTo>
                      <a:pt x="186" y="116"/>
                    </a:lnTo>
                    <a:lnTo>
                      <a:pt x="184" y="118"/>
                    </a:lnTo>
                    <a:lnTo>
                      <a:pt x="184" y="120"/>
                    </a:lnTo>
                    <a:lnTo>
                      <a:pt x="188" y="122"/>
                    </a:lnTo>
                    <a:lnTo>
                      <a:pt x="190" y="120"/>
                    </a:lnTo>
                    <a:lnTo>
                      <a:pt x="191" y="118"/>
                    </a:lnTo>
                    <a:lnTo>
                      <a:pt x="197" y="122"/>
                    </a:lnTo>
                    <a:lnTo>
                      <a:pt x="200" y="120"/>
                    </a:lnTo>
                    <a:lnTo>
                      <a:pt x="200" y="120"/>
                    </a:lnTo>
                    <a:lnTo>
                      <a:pt x="202" y="124"/>
                    </a:lnTo>
                    <a:lnTo>
                      <a:pt x="199" y="124"/>
                    </a:lnTo>
                    <a:lnTo>
                      <a:pt x="197" y="125"/>
                    </a:lnTo>
                    <a:lnTo>
                      <a:pt x="197" y="129"/>
                    </a:lnTo>
                    <a:lnTo>
                      <a:pt x="193" y="127"/>
                    </a:lnTo>
                    <a:lnTo>
                      <a:pt x="190" y="125"/>
                    </a:lnTo>
                    <a:lnTo>
                      <a:pt x="188" y="125"/>
                    </a:lnTo>
                    <a:lnTo>
                      <a:pt x="184" y="124"/>
                    </a:lnTo>
                    <a:lnTo>
                      <a:pt x="181" y="125"/>
                    </a:lnTo>
                    <a:lnTo>
                      <a:pt x="181" y="129"/>
                    </a:lnTo>
                    <a:lnTo>
                      <a:pt x="183" y="132"/>
                    </a:lnTo>
                    <a:lnTo>
                      <a:pt x="183" y="136"/>
                    </a:lnTo>
                    <a:lnTo>
                      <a:pt x="181" y="136"/>
                    </a:lnTo>
                    <a:lnTo>
                      <a:pt x="183" y="140"/>
                    </a:lnTo>
                    <a:lnTo>
                      <a:pt x="183" y="143"/>
                    </a:lnTo>
                    <a:lnTo>
                      <a:pt x="181" y="141"/>
                    </a:lnTo>
                    <a:lnTo>
                      <a:pt x="181" y="145"/>
                    </a:lnTo>
                    <a:lnTo>
                      <a:pt x="179" y="145"/>
                    </a:lnTo>
                    <a:lnTo>
                      <a:pt x="177" y="134"/>
                    </a:lnTo>
                    <a:lnTo>
                      <a:pt x="174" y="134"/>
                    </a:lnTo>
                    <a:lnTo>
                      <a:pt x="174" y="140"/>
                    </a:lnTo>
                    <a:lnTo>
                      <a:pt x="172" y="138"/>
                    </a:lnTo>
                    <a:lnTo>
                      <a:pt x="170" y="140"/>
                    </a:lnTo>
                    <a:lnTo>
                      <a:pt x="174" y="141"/>
                    </a:lnTo>
                    <a:lnTo>
                      <a:pt x="172" y="141"/>
                    </a:lnTo>
                    <a:lnTo>
                      <a:pt x="170" y="143"/>
                    </a:lnTo>
                    <a:lnTo>
                      <a:pt x="168" y="143"/>
                    </a:lnTo>
                    <a:lnTo>
                      <a:pt x="166" y="147"/>
                    </a:lnTo>
                    <a:lnTo>
                      <a:pt x="168" y="149"/>
                    </a:lnTo>
                    <a:lnTo>
                      <a:pt x="170" y="152"/>
                    </a:lnTo>
                    <a:lnTo>
                      <a:pt x="168" y="152"/>
                    </a:lnTo>
                    <a:lnTo>
                      <a:pt x="170" y="154"/>
                    </a:lnTo>
                    <a:lnTo>
                      <a:pt x="168" y="156"/>
                    </a:lnTo>
                    <a:lnTo>
                      <a:pt x="166" y="157"/>
                    </a:lnTo>
                    <a:lnTo>
                      <a:pt x="165" y="159"/>
                    </a:lnTo>
                    <a:lnTo>
                      <a:pt x="165" y="159"/>
                    </a:lnTo>
                    <a:lnTo>
                      <a:pt x="165" y="159"/>
                    </a:lnTo>
                    <a:lnTo>
                      <a:pt x="166" y="161"/>
                    </a:lnTo>
                    <a:lnTo>
                      <a:pt x="172" y="159"/>
                    </a:lnTo>
                    <a:lnTo>
                      <a:pt x="166" y="165"/>
                    </a:lnTo>
                    <a:lnTo>
                      <a:pt x="161" y="163"/>
                    </a:lnTo>
                    <a:lnTo>
                      <a:pt x="161" y="163"/>
                    </a:lnTo>
                    <a:lnTo>
                      <a:pt x="159" y="161"/>
                    </a:lnTo>
                    <a:lnTo>
                      <a:pt x="158" y="161"/>
                    </a:lnTo>
                    <a:lnTo>
                      <a:pt x="154" y="163"/>
                    </a:lnTo>
                    <a:lnTo>
                      <a:pt x="152" y="168"/>
                    </a:lnTo>
                    <a:lnTo>
                      <a:pt x="150" y="170"/>
                    </a:lnTo>
                    <a:lnTo>
                      <a:pt x="150" y="174"/>
                    </a:lnTo>
                    <a:lnTo>
                      <a:pt x="152" y="174"/>
                    </a:lnTo>
                    <a:lnTo>
                      <a:pt x="150" y="177"/>
                    </a:lnTo>
                    <a:lnTo>
                      <a:pt x="149" y="177"/>
                    </a:lnTo>
                    <a:lnTo>
                      <a:pt x="147" y="184"/>
                    </a:lnTo>
                    <a:lnTo>
                      <a:pt x="145" y="182"/>
                    </a:lnTo>
                    <a:lnTo>
                      <a:pt x="143" y="184"/>
                    </a:lnTo>
                    <a:lnTo>
                      <a:pt x="141" y="184"/>
                    </a:lnTo>
                    <a:lnTo>
                      <a:pt x="140" y="188"/>
                    </a:lnTo>
                    <a:lnTo>
                      <a:pt x="141" y="190"/>
                    </a:lnTo>
                    <a:lnTo>
                      <a:pt x="140" y="191"/>
                    </a:lnTo>
                    <a:lnTo>
                      <a:pt x="136" y="191"/>
                    </a:lnTo>
                    <a:lnTo>
                      <a:pt x="136" y="195"/>
                    </a:lnTo>
                    <a:lnTo>
                      <a:pt x="133" y="195"/>
                    </a:lnTo>
                    <a:lnTo>
                      <a:pt x="134" y="197"/>
                    </a:lnTo>
                    <a:lnTo>
                      <a:pt x="133" y="199"/>
                    </a:lnTo>
                    <a:lnTo>
                      <a:pt x="133" y="200"/>
                    </a:lnTo>
                    <a:lnTo>
                      <a:pt x="136" y="202"/>
                    </a:lnTo>
                    <a:lnTo>
                      <a:pt x="134" y="204"/>
                    </a:lnTo>
                    <a:lnTo>
                      <a:pt x="133" y="206"/>
                    </a:lnTo>
                    <a:lnTo>
                      <a:pt x="131" y="204"/>
                    </a:lnTo>
                    <a:lnTo>
                      <a:pt x="131" y="209"/>
                    </a:lnTo>
                    <a:lnTo>
                      <a:pt x="133" y="211"/>
                    </a:lnTo>
                    <a:lnTo>
                      <a:pt x="134" y="209"/>
                    </a:lnTo>
                    <a:lnTo>
                      <a:pt x="136" y="209"/>
                    </a:lnTo>
                    <a:lnTo>
                      <a:pt x="134" y="213"/>
                    </a:lnTo>
                    <a:lnTo>
                      <a:pt x="129" y="213"/>
                    </a:lnTo>
                    <a:lnTo>
                      <a:pt x="127" y="215"/>
                    </a:lnTo>
                    <a:lnTo>
                      <a:pt x="127" y="220"/>
                    </a:lnTo>
                    <a:lnTo>
                      <a:pt x="125" y="222"/>
                    </a:lnTo>
                    <a:lnTo>
                      <a:pt x="122" y="222"/>
                    </a:lnTo>
                    <a:lnTo>
                      <a:pt x="120" y="225"/>
                    </a:lnTo>
                    <a:lnTo>
                      <a:pt x="124" y="225"/>
                    </a:lnTo>
                    <a:lnTo>
                      <a:pt x="125" y="224"/>
                    </a:lnTo>
                    <a:lnTo>
                      <a:pt x="129" y="222"/>
                    </a:lnTo>
                    <a:lnTo>
                      <a:pt x="129" y="225"/>
                    </a:lnTo>
                    <a:lnTo>
                      <a:pt x="131" y="229"/>
                    </a:lnTo>
                    <a:lnTo>
                      <a:pt x="125" y="225"/>
                    </a:lnTo>
                    <a:lnTo>
                      <a:pt x="124" y="229"/>
                    </a:lnTo>
                    <a:lnTo>
                      <a:pt x="125" y="231"/>
                    </a:lnTo>
                    <a:lnTo>
                      <a:pt x="124" y="231"/>
                    </a:lnTo>
                    <a:lnTo>
                      <a:pt x="124" y="232"/>
                    </a:lnTo>
                    <a:lnTo>
                      <a:pt x="124" y="236"/>
                    </a:lnTo>
                    <a:lnTo>
                      <a:pt x="122" y="236"/>
                    </a:lnTo>
                    <a:lnTo>
                      <a:pt x="120" y="236"/>
                    </a:lnTo>
                    <a:lnTo>
                      <a:pt x="120" y="238"/>
                    </a:lnTo>
                    <a:lnTo>
                      <a:pt x="120" y="240"/>
                    </a:lnTo>
                    <a:lnTo>
                      <a:pt x="122" y="241"/>
                    </a:lnTo>
                    <a:lnTo>
                      <a:pt x="124" y="247"/>
                    </a:lnTo>
                    <a:lnTo>
                      <a:pt x="120" y="245"/>
                    </a:lnTo>
                    <a:lnTo>
                      <a:pt x="118" y="245"/>
                    </a:lnTo>
                    <a:lnTo>
                      <a:pt x="116" y="240"/>
                    </a:lnTo>
                    <a:lnTo>
                      <a:pt x="116" y="245"/>
                    </a:lnTo>
                    <a:lnTo>
                      <a:pt x="116" y="247"/>
                    </a:lnTo>
                    <a:lnTo>
                      <a:pt x="115" y="249"/>
                    </a:lnTo>
                    <a:lnTo>
                      <a:pt x="113" y="250"/>
                    </a:lnTo>
                    <a:lnTo>
                      <a:pt x="115" y="252"/>
                    </a:lnTo>
                    <a:lnTo>
                      <a:pt x="116" y="250"/>
                    </a:lnTo>
                    <a:lnTo>
                      <a:pt x="118" y="249"/>
                    </a:lnTo>
                    <a:lnTo>
                      <a:pt x="118" y="249"/>
                    </a:lnTo>
                    <a:lnTo>
                      <a:pt x="118" y="252"/>
                    </a:lnTo>
                    <a:lnTo>
                      <a:pt x="118" y="256"/>
                    </a:lnTo>
                    <a:lnTo>
                      <a:pt x="116" y="257"/>
                    </a:lnTo>
                    <a:lnTo>
                      <a:pt x="113" y="256"/>
                    </a:lnTo>
                    <a:lnTo>
                      <a:pt x="111" y="257"/>
                    </a:lnTo>
                    <a:lnTo>
                      <a:pt x="109" y="256"/>
                    </a:lnTo>
                    <a:lnTo>
                      <a:pt x="108" y="259"/>
                    </a:lnTo>
                    <a:lnTo>
                      <a:pt x="108" y="263"/>
                    </a:lnTo>
                    <a:lnTo>
                      <a:pt x="106" y="265"/>
                    </a:lnTo>
                    <a:lnTo>
                      <a:pt x="102" y="265"/>
                    </a:lnTo>
                    <a:lnTo>
                      <a:pt x="102" y="270"/>
                    </a:lnTo>
                    <a:lnTo>
                      <a:pt x="104" y="270"/>
                    </a:lnTo>
                    <a:lnTo>
                      <a:pt x="108" y="268"/>
                    </a:lnTo>
                    <a:lnTo>
                      <a:pt x="108" y="270"/>
                    </a:lnTo>
                    <a:lnTo>
                      <a:pt x="104" y="272"/>
                    </a:lnTo>
                    <a:lnTo>
                      <a:pt x="102" y="274"/>
                    </a:lnTo>
                    <a:lnTo>
                      <a:pt x="104" y="277"/>
                    </a:lnTo>
                    <a:lnTo>
                      <a:pt x="102" y="279"/>
                    </a:lnTo>
                    <a:lnTo>
                      <a:pt x="100" y="281"/>
                    </a:lnTo>
                    <a:lnTo>
                      <a:pt x="95" y="277"/>
                    </a:lnTo>
                    <a:lnTo>
                      <a:pt x="95" y="277"/>
                    </a:lnTo>
                    <a:lnTo>
                      <a:pt x="92" y="281"/>
                    </a:lnTo>
                    <a:lnTo>
                      <a:pt x="90" y="284"/>
                    </a:lnTo>
                    <a:lnTo>
                      <a:pt x="90" y="286"/>
                    </a:lnTo>
                    <a:lnTo>
                      <a:pt x="81" y="297"/>
                    </a:lnTo>
                    <a:lnTo>
                      <a:pt x="83" y="299"/>
                    </a:lnTo>
                    <a:lnTo>
                      <a:pt x="83" y="300"/>
                    </a:lnTo>
                    <a:lnTo>
                      <a:pt x="75" y="304"/>
                    </a:lnTo>
                    <a:lnTo>
                      <a:pt x="75" y="307"/>
                    </a:lnTo>
                    <a:lnTo>
                      <a:pt x="77" y="307"/>
                    </a:lnTo>
                    <a:lnTo>
                      <a:pt x="81" y="307"/>
                    </a:lnTo>
                    <a:lnTo>
                      <a:pt x="79" y="311"/>
                    </a:lnTo>
                    <a:lnTo>
                      <a:pt x="81" y="315"/>
                    </a:lnTo>
                    <a:lnTo>
                      <a:pt x="83" y="316"/>
                    </a:lnTo>
                    <a:lnTo>
                      <a:pt x="100" y="306"/>
                    </a:lnTo>
                    <a:lnTo>
                      <a:pt x="102" y="302"/>
                    </a:lnTo>
                    <a:lnTo>
                      <a:pt x="102" y="304"/>
                    </a:lnTo>
                    <a:lnTo>
                      <a:pt x="102" y="306"/>
                    </a:lnTo>
                    <a:lnTo>
                      <a:pt x="99" y="307"/>
                    </a:lnTo>
                    <a:lnTo>
                      <a:pt x="95" y="307"/>
                    </a:lnTo>
                    <a:lnTo>
                      <a:pt x="90" y="313"/>
                    </a:lnTo>
                    <a:lnTo>
                      <a:pt x="92" y="315"/>
                    </a:lnTo>
                    <a:lnTo>
                      <a:pt x="92" y="316"/>
                    </a:lnTo>
                    <a:lnTo>
                      <a:pt x="86" y="318"/>
                    </a:lnTo>
                    <a:lnTo>
                      <a:pt x="83" y="318"/>
                    </a:lnTo>
                    <a:lnTo>
                      <a:pt x="83" y="318"/>
                    </a:lnTo>
                    <a:lnTo>
                      <a:pt x="83" y="320"/>
                    </a:lnTo>
                    <a:lnTo>
                      <a:pt x="83" y="322"/>
                    </a:lnTo>
                    <a:lnTo>
                      <a:pt x="79" y="320"/>
                    </a:lnTo>
                    <a:lnTo>
                      <a:pt x="79" y="318"/>
                    </a:lnTo>
                    <a:lnTo>
                      <a:pt x="77" y="313"/>
                    </a:lnTo>
                    <a:lnTo>
                      <a:pt x="75" y="313"/>
                    </a:lnTo>
                    <a:lnTo>
                      <a:pt x="74" y="313"/>
                    </a:lnTo>
                    <a:lnTo>
                      <a:pt x="74" y="313"/>
                    </a:lnTo>
                    <a:lnTo>
                      <a:pt x="72" y="315"/>
                    </a:lnTo>
                    <a:lnTo>
                      <a:pt x="70" y="316"/>
                    </a:lnTo>
                    <a:lnTo>
                      <a:pt x="68" y="318"/>
                    </a:lnTo>
                    <a:lnTo>
                      <a:pt x="70" y="320"/>
                    </a:lnTo>
                    <a:lnTo>
                      <a:pt x="72" y="322"/>
                    </a:lnTo>
                    <a:lnTo>
                      <a:pt x="68" y="324"/>
                    </a:lnTo>
                    <a:lnTo>
                      <a:pt x="67" y="322"/>
                    </a:lnTo>
                    <a:lnTo>
                      <a:pt x="67" y="318"/>
                    </a:lnTo>
                    <a:lnTo>
                      <a:pt x="67" y="316"/>
                    </a:lnTo>
                    <a:lnTo>
                      <a:pt x="58" y="320"/>
                    </a:lnTo>
                    <a:lnTo>
                      <a:pt x="58" y="322"/>
                    </a:lnTo>
                    <a:lnTo>
                      <a:pt x="56" y="325"/>
                    </a:lnTo>
                    <a:lnTo>
                      <a:pt x="54" y="324"/>
                    </a:lnTo>
                    <a:lnTo>
                      <a:pt x="54" y="327"/>
                    </a:lnTo>
                    <a:lnTo>
                      <a:pt x="54" y="327"/>
                    </a:lnTo>
                    <a:lnTo>
                      <a:pt x="50" y="327"/>
                    </a:lnTo>
                    <a:lnTo>
                      <a:pt x="50" y="327"/>
                    </a:lnTo>
                    <a:lnTo>
                      <a:pt x="50" y="325"/>
                    </a:lnTo>
                    <a:lnTo>
                      <a:pt x="50" y="325"/>
                    </a:lnTo>
                    <a:lnTo>
                      <a:pt x="49" y="327"/>
                    </a:lnTo>
                    <a:lnTo>
                      <a:pt x="49" y="329"/>
                    </a:lnTo>
                    <a:lnTo>
                      <a:pt x="49" y="329"/>
                    </a:lnTo>
                    <a:lnTo>
                      <a:pt x="45" y="329"/>
                    </a:lnTo>
                    <a:lnTo>
                      <a:pt x="42" y="331"/>
                    </a:lnTo>
                    <a:lnTo>
                      <a:pt x="40" y="338"/>
                    </a:lnTo>
                    <a:lnTo>
                      <a:pt x="38" y="336"/>
                    </a:lnTo>
                    <a:lnTo>
                      <a:pt x="34" y="336"/>
                    </a:lnTo>
                    <a:lnTo>
                      <a:pt x="33" y="338"/>
                    </a:lnTo>
                    <a:lnTo>
                      <a:pt x="31" y="340"/>
                    </a:lnTo>
                    <a:lnTo>
                      <a:pt x="34" y="343"/>
                    </a:lnTo>
                    <a:lnTo>
                      <a:pt x="33" y="345"/>
                    </a:lnTo>
                    <a:lnTo>
                      <a:pt x="36" y="345"/>
                    </a:lnTo>
                    <a:lnTo>
                      <a:pt x="38" y="343"/>
                    </a:lnTo>
                    <a:lnTo>
                      <a:pt x="40" y="345"/>
                    </a:lnTo>
                    <a:lnTo>
                      <a:pt x="42" y="347"/>
                    </a:lnTo>
                    <a:lnTo>
                      <a:pt x="40" y="349"/>
                    </a:lnTo>
                    <a:lnTo>
                      <a:pt x="40" y="350"/>
                    </a:lnTo>
                    <a:lnTo>
                      <a:pt x="38" y="350"/>
                    </a:lnTo>
                    <a:lnTo>
                      <a:pt x="27" y="349"/>
                    </a:lnTo>
                    <a:lnTo>
                      <a:pt x="25" y="350"/>
                    </a:lnTo>
                    <a:lnTo>
                      <a:pt x="24" y="350"/>
                    </a:lnTo>
                    <a:lnTo>
                      <a:pt x="22" y="350"/>
                    </a:lnTo>
                    <a:lnTo>
                      <a:pt x="22" y="352"/>
                    </a:lnTo>
                    <a:lnTo>
                      <a:pt x="24" y="352"/>
                    </a:lnTo>
                    <a:lnTo>
                      <a:pt x="22" y="354"/>
                    </a:lnTo>
                    <a:lnTo>
                      <a:pt x="22" y="356"/>
                    </a:lnTo>
                    <a:lnTo>
                      <a:pt x="24" y="354"/>
                    </a:lnTo>
                    <a:lnTo>
                      <a:pt x="25" y="354"/>
                    </a:lnTo>
                    <a:lnTo>
                      <a:pt x="24" y="357"/>
                    </a:lnTo>
                    <a:lnTo>
                      <a:pt x="25" y="363"/>
                    </a:lnTo>
                    <a:lnTo>
                      <a:pt x="24" y="365"/>
                    </a:lnTo>
                    <a:lnTo>
                      <a:pt x="24" y="359"/>
                    </a:lnTo>
                    <a:lnTo>
                      <a:pt x="22" y="357"/>
                    </a:lnTo>
                    <a:lnTo>
                      <a:pt x="18" y="359"/>
                    </a:lnTo>
                    <a:lnTo>
                      <a:pt x="17" y="365"/>
                    </a:lnTo>
                    <a:lnTo>
                      <a:pt x="18" y="366"/>
                    </a:lnTo>
                    <a:lnTo>
                      <a:pt x="18" y="368"/>
                    </a:lnTo>
                    <a:lnTo>
                      <a:pt x="17" y="366"/>
                    </a:lnTo>
                    <a:lnTo>
                      <a:pt x="15" y="365"/>
                    </a:lnTo>
                    <a:lnTo>
                      <a:pt x="13" y="365"/>
                    </a:lnTo>
                    <a:lnTo>
                      <a:pt x="8" y="365"/>
                    </a:lnTo>
                    <a:lnTo>
                      <a:pt x="8" y="366"/>
                    </a:lnTo>
                    <a:lnTo>
                      <a:pt x="9" y="368"/>
                    </a:lnTo>
                    <a:lnTo>
                      <a:pt x="4" y="365"/>
                    </a:lnTo>
                    <a:lnTo>
                      <a:pt x="2" y="366"/>
                    </a:lnTo>
                    <a:lnTo>
                      <a:pt x="4" y="370"/>
                    </a:lnTo>
                    <a:lnTo>
                      <a:pt x="4" y="372"/>
                    </a:lnTo>
                    <a:lnTo>
                      <a:pt x="4" y="372"/>
                    </a:lnTo>
                    <a:lnTo>
                      <a:pt x="20" y="370"/>
                    </a:lnTo>
                    <a:lnTo>
                      <a:pt x="15" y="374"/>
                    </a:lnTo>
                    <a:lnTo>
                      <a:pt x="17" y="374"/>
                    </a:lnTo>
                    <a:lnTo>
                      <a:pt x="22" y="374"/>
                    </a:lnTo>
                    <a:lnTo>
                      <a:pt x="22" y="374"/>
                    </a:lnTo>
                    <a:lnTo>
                      <a:pt x="20" y="375"/>
                    </a:lnTo>
                    <a:lnTo>
                      <a:pt x="11" y="375"/>
                    </a:lnTo>
                    <a:lnTo>
                      <a:pt x="9" y="375"/>
                    </a:lnTo>
                    <a:lnTo>
                      <a:pt x="8" y="375"/>
                    </a:lnTo>
                    <a:lnTo>
                      <a:pt x="4" y="377"/>
                    </a:lnTo>
                    <a:lnTo>
                      <a:pt x="4" y="379"/>
                    </a:lnTo>
                    <a:lnTo>
                      <a:pt x="2" y="379"/>
                    </a:lnTo>
                    <a:lnTo>
                      <a:pt x="0" y="379"/>
                    </a:lnTo>
                    <a:lnTo>
                      <a:pt x="0" y="381"/>
                    </a:lnTo>
                    <a:lnTo>
                      <a:pt x="4" y="382"/>
                    </a:lnTo>
                    <a:lnTo>
                      <a:pt x="4" y="384"/>
                    </a:lnTo>
                    <a:lnTo>
                      <a:pt x="4" y="386"/>
                    </a:lnTo>
                    <a:lnTo>
                      <a:pt x="0" y="391"/>
                    </a:lnTo>
                    <a:lnTo>
                      <a:pt x="2" y="393"/>
                    </a:lnTo>
                    <a:lnTo>
                      <a:pt x="0" y="393"/>
                    </a:lnTo>
                    <a:lnTo>
                      <a:pt x="0" y="397"/>
                    </a:lnTo>
                    <a:lnTo>
                      <a:pt x="2" y="397"/>
                    </a:lnTo>
                    <a:lnTo>
                      <a:pt x="2" y="399"/>
                    </a:lnTo>
                    <a:lnTo>
                      <a:pt x="8" y="400"/>
                    </a:lnTo>
                    <a:lnTo>
                      <a:pt x="17" y="397"/>
                    </a:lnTo>
                    <a:lnTo>
                      <a:pt x="18" y="399"/>
                    </a:lnTo>
                    <a:lnTo>
                      <a:pt x="22" y="399"/>
                    </a:lnTo>
                    <a:lnTo>
                      <a:pt x="24" y="390"/>
                    </a:lnTo>
                    <a:lnTo>
                      <a:pt x="25" y="393"/>
                    </a:lnTo>
                    <a:lnTo>
                      <a:pt x="24" y="397"/>
                    </a:lnTo>
                    <a:lnTo>
                      <a:pt x="25" y="397"/>
                    </a:lnTo>
                    <a:lnTo>
                      <a:pt x="29" y="397"/>
                    </a:lnTo>
                    <a:lnTo>
                      <a:pt x="31" y="397"/>
                    </a:lnTo>
                    <a:lnTo>
                      <a:pt x="33" y="399"/>
                    </a:lnTo>
                    <a:lnTo>
                      <a:pt x="36" y="395"/>
                    </a:lnTo>
                    <a:lnTo>
                      <a:pt x="36" y="388"/>
                    </a:lnTo>
                    <a:lnTo>
                      <a:pt x="40" y="386"/>
                    </a:lnTo>
                    <a:lnTo>
                      <a:pt x="42" y="386"/>
                    </a:lnTo>
                    <a:lnTo>
                      <a:pt x="38" y="391"/>
                    </a:lnTo>
                    <a:lnTo>
                      <a:pt x="38" y="397"/>
                    </a:lnTo>
                    <a:lnTo>
                      <a:pt x="40" y="395"/>
                    </a:lnTo>
                    <a:lnTo>
                      <a:pt x="42" y="395"/>
                    </a:lnTo>
                    <a:lnTo>
                      <a:pt x="43" y="395"/>
                    </a:lnTo>
                    <a:lnTo>
                      <a:pt x="38" y="399"/>
                    </a:lnTo>
                    <a:lnTo>
                      <a:pt x="33" y="400"/>
                    </a:lnTo>
                    <a:lnTo>
                      <a:pt x="33" y="402"/>
                    </a:lnTo>
                    <a:lnTo>
                      <a:pt x="34" y="406"/>
                    </a:lnTo>
                    <a:lnTo>
                      <a:pt x="31" y="407"/>
                    </a:lnTo>
                    <a:lnTo>
                      <a:pt x="31" y="404"/>
                    </a:lnTo>
                    <a:lnTo>
                      <a:pt x="29" y="402"/>
                    </a:lnTo>
                    <a:lnTo>
                      <a:pt x="27" y="400"/>
                    </a:lnTo>
                    <a:lnTo>
                      <a:pt x="24" y="400"/>
                    </a:lnTo>
                    <a:lnTo>
                      <a:pt x="20" y="400"/>
                    </a:lnTo>
                    <a:lnTo>
                      <a:pt x="17" y="400"/>
                    </a:lnTo>
                    <a:lnTo>
                      <a:pt x="15" y="400"/>
                    </a:lnTo>
                    <a:lnTo>
                      <a:pt x="11" y="400"/>
                    </a:lnTo>
                    <a:lnTo>
                      <a:pt x="9" y="402"/>
                    </a:lnTo>
                    <a:lnTo>
                      <a:pt x="4" y="402"/>
                    </a:lnTo>
                    <a:lnTo>
                      <a:pt x="2" y="406"/>
                    </a:lnTo>
                    <a:lnTo>
                      <a:pt x="2" y="407"/>
                    </a:lnTo>
                    <a:lnTo>
                      <a:pt x="4" y="409"/>
                    </a:lnTo>
                    <a:lnTo>
                      <a:pt x="6" y="407"/>
                    </a:lnTo>
                    <a:lnTo>
                      <a:pt x="6" y="413"/>
                    </a:lnTo>
                    <a:lnTo>
                      <a:pt x="2" y="411"/>
                    </a:lnTo>
                    <a:lnTo>
                      <a:pt x="0" y="409"/>
                    </a:lnTo>
                    <a:lnTo>
                      <a:pt x="0" y="411"/>
                    </a:lnTo>
                    <a:lnTo>
                      <a:pt x="0" y="411"/>
                    </a:lnTo>
                    <a:lnTo>
                      <a:pt x="0" y="411"/>
                    </a:lnTo>
                    <a:lnTo>
                      <a:pt x="4" y="416"/>
                    </a:lnTo>
                    <a:lnTo>
                      <a:pt x="6" y="416"/>
                    </a:lnTo>
                    <a:lnTo>
                      <a:pt x="9" y="415"/>
                    </a:lnTo>
                    <a:lnTo>
                      <a:pt x="11" y="415"/>
                    </a:lnTo>
                    <a:lnTo>
                      <a:pt x="6" y="420"/>
                    </a:lnTo>
                    <a:lnTo>
                      <a:pt x="8" y="422"/>
                    </a:lnTo>
                    <a:lnTo>
                      <a:pt x="4" y="424"/>
                    </a:lnTo>
                    <a:lnTo>
                      <a:pt x="2" y="425"/>
                    </a:lnTo>
                    <a:lnTo>
                      <a:pt x="4" y="427"/>
                    </a:lnTo>
                    <a:lnTo>
                      <a:pt x="4" y="429"/>
                    </a:lnTo>
                    <a:lnTo>
                      <a:pt x="6" y="431"/>
                    </a:lnTo>
                    <a:lnTo>
                      <a:pt x="8" y="429"/>
                    </a:lnTo>
                    <a:lnTo>
                      <a:pt x="9" y="427"/>
                    </a:lnTo>
                    <a:lnTo>
                      <a:pt x="9" y="429"/>
                    </a:lnTo>
                    <a:lnTo>
                      <a:pt x="11" y="434"/>
                    </a:lnTo>
                    <a:lnTo>
                      <a:pt x="9" y="434"/>
                    </a:lnTo>
                    <a:lnTo>
                      <a:pt x="8" y="436"/>
                    </a:lnTo>
                    <a:lnTo>
                      <a:pt x="8" y="438"/>
                    </a:lnTo>
                    <a:lnTo>
                      <a:pt x="8" y="438"/>
                    </a:lnTo>
                    <a:lnTo>
                      <a:pt x="11" y="436"/>
                    </a:lnTo>
                    <a:lnTo>
                      <a:pt x="13" y="432"/>
                    </a:lnTo>
                    <a:lnTo>
                      <a:pt x="13" y="429"/>
                    </a:lnTo>
                    <a:lnTo>
                      <a:pt x="17" y="427"/>
                    </a:lnTo>
                    <a:lnTo>
                      <a:pt x="22" y="418"/>
                    </a:lnTo>
                    <a:lnTo>
                      <a:pt x="24" y="416"/>
                    </a:lnTo>
                    <a:lnTo>
                      <a:pt x="25" y="418"/>
                    </a:lnTo>
                    <a:lnTo>
                      <a:pt x="25" y="418"/>
                    </a:lnTo>
                    <a:lnTo>
                      <a:pt x="29" y="418"/>
                    </a:lnTo>
                    <a:lnTo>
                      <a:pt x="33" y="418"/>
                    </a:lnTo>
                    <a:lnTo>
                      <a:pt x="27" y="420"/>
                    </a:lnTo>
                    <a:lnTo>
                      <a:pt x="25" y="425"/>
                    </a:lnTo>
                    <a:lnTo>
                      <a:pt x="25" y="422"/>
                    </a:lnTo>
                    <a:lnTo>
                      <a:pt x="24" y="422"/>
                    </a:lnTo>
                    <a:lnTo>
                      <a:pt x="18" y="429"/>
                    </a:lnTo>
                    <a:lnTo>
                      <a:pt x="20" y="431"/>
                    </a:lnTo>
                    <a:lnTo>
                      <a:pt x="20" y="431"/>
                    </a:lnTo>
                    <a:lnTo>
                      <a:pt x="18" y="432"/>
                    </a:lnTo>
                    <a:lnTo>
                      <a:pt x="11" y="440"/>
                    </a:lnTo>
                    <a:lnTo>
                      <a:pt x="15" y="441"/>
                    </a:lnTo>
                    <a:lnTo>
                      <a:pt x="20" y="441"/>
                    </a:lnTo>
                    <a:lnTo>
                      <a:pt x="22" y="440"/>
                    </a:lnTo>
                    <a:lnTo>
                      <a:pt x="22" y="441"/>
                    </a:lnTo>
                    <a:lnTo>
                      <a:pt x="17" y="443"/>
                    </a:lnTo>
                    <a:lnTo>
                      <a:pt x="15" y="445"/>
                    </a:lnTo>
                    <a:lnTo>
                      <a:pt x="15" y="447"/>
                    </a:lnTo>
                    <a:lnTo>
                      <a:pt x="11" y="447"/>
                    </a:lnTo>
                    <a:lnTo>
                      <a:pt x="9" y="447"/>
                    </a:lnTo>
                    <a:lnTo>
                      <a:pt x="8" y="447"/>
                    </a:lnTo>
                    <a:lnTo>
                      <a:pt x="4" y="452"/>
                    </a:lnTo>
                    <a:lnTo>
                      <a:pt x="4" y="456"/>
                    </a:lnTo>
                    <a:lnTo>
                      <a:pt x="6" y="456"/>
                    </a:lnTo>
                    <a:lnTo>
                      <a:pt x="6" y="457"/>
                    </a:lnTo>
                    <a:lnTo>
                      <a:pt x="8" y="457"/>
                    </a:lnTo>
                    <a:lnTo>
                      <a:pt x="9" y="454"/>
                    </a:lnTo>
                    <a:lnTo>
                      <a:pt x="9" y="457"/>
                    </a:lnTo>
                    <a:lnTo>
                      <a:pt x="11" y="457"/>
                    </a:lnTo>
                    <a:lnTo>
                      <a:pt x="13" y="456"/>
                    </a:lnTo>
                    <a:lnTo>
                      <a:pt x="13" y="454"/>
                    </a:lnTo>
                    <a:lnTo>
                      <a:pt x="15" y="454"/>
                    </a:lnTo>
                    <a:lnTo>
                      <a:pt x="18" y="452"/>
                    </a:lnTo>
                    <a:lnTo>
                      <a:pt x="20" y="450"/>
                    </a:lnTo>
                    <a:lnTo>
                      <a:pt x="22" y="452"/>
                    </a:lnTo>
                    <a:lnTo>
                      <a:pt x="17" y="456"/>
                    </a:lnTo>
                    <a:lnTo>
                      <a:pt x="18" y="456"/>
                    </a:lnTo>
                    <a:lnTo>
                      <a:pt x="18" y="459"/>
                    </a:lnTo>
                    <a:lnTo>
                      <a:pt x="17" y="465"/>
                    </a:lnTo>
                    <a:lnTo>
                      <a:pt x="15" y="466"/>
                    </a:lnTo>
                    <a:lnTo>
                      <a:pt x="15" y="468"/>
                    </a:lnTo>
                    <a:lnTo>
                      <a:pt x="13" y="468"/>
                    </a:lnTo>
                    <a:lnTo>
                      <a:pt x="11" y="470"/>
                    </a:lnTo>
                    <a:lnTo>
                      <a:pt x="11" y="466"/>
                    </a:lnTo>
                    <a:lnTo>
                      <a:pt x="9" y="466"/>
                    </a:lnTo>
                    <a:lnTo>
                      <a:pt x="8" y="477"/>
                    </a:lnTo>
                    <a:lnTo>
                      <a:pt x="22" y="490"/>
                    </a:lnTo>
                    <a:lnTo>
                      <a:pt x="25" y="490"/>
                    </a:lnTo>
                    <a:lnTo>
                      <a:pt x="27" y="486"/>
                    </a:lnTo>
                    <a:lnTo>
                      <a:pt x="27" y="495"/>
                    </a:lnTo>
                    <a:lnTo>
                      <a:pt x="29" y="493"/>
                    </a:lnTo>
                    <a:lnTo>
                      <a:pt x="31" y="495"/>
                    </a:lnTo>
                    <a:lnTo>
                      <a:pt x="33" y="493"/>
                    </a:lnTo>
                    <a:lnTo>
                      <a:pt x="36" y="493"/>
                    </a:lnTo>
                    <a:lnTo>
                      <a:pt x="34" y="495"/>
                    </a:lnTo>
                    <a:lnTo>
                      <a:pt x="40" y="497"/>
                    </a:lnTo>
                    <a:lnTo>
                      <a:pt x="43" y="497"/>
                    </a:lnTo>
                    <a:lnTo>
                      <a:pt x="47" y="493"/>
                    </a:lnTo>
                    <a:lnTo>
                      <a:pt x="49" y="490"/>
                    </a:lnTo>
                    <a:lnTo>
                      <a:pt x="50" y="491"/>
                    </a:lnTo>
                    <a:lnTo>
                      <a:pt x="56" y="488"/>
                    </a:lnTo>
                    <a:lnTo>
                      <a:pt x="61" y="481"/>
                    </a:lnTo>
                    <a:lnTo>
                      <a:pt x="65" y="479"/>
                    </a:lnTo>
                    <a:lnTo>
                      <a:pt x="67" y="475"/>
                    </a:lnTo>
                    <a:lnTo>
                      <a:pt x="68" y="474"/>
                    </a:lnTo>
                    <a:lnTo>
                      <a:pt x="68" y="472"/>
                    </a:lnTo>
                    <a:lnTo>
                      <a:pt x="74" y="466"/>
                    </a:lnTo>
                    <a:lnTo>
                      <a:pt x="72" y="465"/>
                    </a:lnTo>
                    <a:lnTo>
                      <a:pt x="77" y="466"/>
                    </a:lnTo>
                    <a:lnTo>
                      <a:pt x="81" y="466"/>
                    </a:lnTo>
                    <a:lnTo>
                      <a:pt x="83" y="466"/>
                    </a:lnTo>
                    <a:lnTo>
                      <a:pt x="84" y="459"/>
                    </a:lnTo>
                    <a:lnTo>
                      <a:pt x="86" y="457"/>
                    </a:lnTo>
                    <a:lnTo>
                      <a:pt x="86" y="456"/>
                    </a:lnTo>
                    <a:lnTo>
                      <a:pt x="84" y="452"/>
                    </a:lnTo>
                    <a:lnTo>
                      <a:pt x="83" y="450"/>
                    </a:lnTo>
                    <a:lnTo>
                      <a:pt x="84" y="450"/>
                    </a:lnTo>
                    <a:lnTo>
                      <a:pt x="84" y="449"/>
                    </a:lnTo>
                    <a:lnTo>
                      <a:pt x="83" y="445"/>
                    </a:lnTo>
                    <a:lnTo>
                      <a:pt x="84" y="447"/>
                    </a:lnTo>
                    <a:lnTo>
                      <a:pt x="86" y="449"/>
                    </a:lnTo>
                    <a:lnTo>
                      <a:pt x="86" y="450"/>
                    </a:lnTo>
                    <a:lnTo>
                      <a:pt x="88" y="450"/>
                    </a:lnTo>
                    <a:lnTo>
                      <a:pt x="88" y="449"/>
                    </a:lnTo>
                    <a:lnTo>
                      <a:pt x="86" y="445"/>
                    </a:lnTo>
                    <a:lnTo>
                      <a:pt x="86" y="441"/>
                    </a:lnTo>
                    <a:lnTo>
                      <a:pt x="86" y="440"/>
                    </a:lnTo>
                    <a:lnTo>
                      <a:pt x="88" y="440"/>
                    </a:lnTo>
                    <a:lnTo>
                      <a:pt x="90" y="440"/>
                    </a:lnTo>
                    <a:lnTo>
                      <a:pt x="92" y="440"/>
                    </a:lnTo>
                    <a:lnTo>
                      <a:pt x="92" y="441"/>
                    </a:lnTo>
                    <a:lnTo>
                      <a:pt x="88" y="443"/>
                    </a:lnTo>
                    <a:lnTo>
                      <a:pt x="92" y="461"/>
                    </a:lnTo>
                    <a:lnTo>
                      <a:pt x="93" y="459"/>
                    </a:lnTo>
                    <a:lnTo>
                      <a:pt x="95" y="463"/>
                    </a:lnTo>
                    <a:lnTo>
                      <a:pt x="97" y="463"/>
                    </a:lnTo>
                    <a:lnTo>
                      <a:pt x="99" y="465"/>
                    </a:lnTo>
                    <a:lnTo>
                      <a:pt x="99" y="472"/>
                    </a:lnTo>
                    <a:lnTo>
                      <a:pt x="100" y="468"/>
                    </a:lnTo>
                    <a:lnTo>
                      <a:pt x="102" y="470"/>
                    </a:lnTo>
                    <a:lnTo>
                      <a:pt x="104" y="468"/>
                    </a:lnTo>
                    <a:lnTo>
                      <a:pt x="106" y="457"/>
                    </a:lnTo>
                    <a:lnTo>
                      <a:pt x="104" y="450"/>
                    </a:lnTo>
                    <a:lnTo>
                      <a:pt x="108" y="443"/>
                    </a:lnTo>
                    <a:lnTo>
                      <a:pt x="108" y="440"/>
                    </a:lnTo>
                    <a:lnTo>
                      <a:pt x="116" y="436"/>
                    </a:lnTo>
                    <a:lnTo>
                      <a:pt x="118" y="432"/>
                    </a:lnTo>
                    <a:lnTo>
                      <a:pt x="118" y="429"/>
                    </a:lnTo>
                    <a:lnTo>
                      <a:pt x="116" y="425"/>
                    </a:lnTo>
                    <a:lnTo>
                      <a:pt x="120" y="418"/>
                    </a:lnTo>
                    <a:lnTo>
                      <a:pt x="116" y="407"/>
                    </a:lnTo>
                    <a:lnTo>
                      <a:pt x="115" y="404"/>
                    </a:lnTo>
                    <a:lnTo>
                      <a:pt x="115" y="402"/>
                    </a:lnTo>
                    <a:lnTo>
                      <a:pt x="118" y="400"/>
                    </a:lnTo>
                    <a:lnTo>
                      <a:pt x="122" y="397"/>
                    </a:lnTo>
                    <a:lnTo>
                      <a:pt x="124" y="391"/>
                    </a:lnTo>
                    <a:lnTo>
                      <a:pt x="124" y="386"/>
                    </a:lnTo>
                    <a:lnTo>
                      <a:pt x="116" y="381"/>
                    </a:lnTo>
                    <a:lnTo>
                      <a:pt x="115" y="377"/>
                    </a:lnTo>
                    <a:lnTo>
                      <a:pt x="115" y="357"/>
                    </a:lnTo>
                    <a:lnTo>
                      <a:pt x="113" y="354"/>
                    </a:lnTo>
                    <a:lnTo>
                      <a:pt x="113" y="352"/>
                    </a:lnTo>
                    <a:lnTo>
                      <a:pt x="115" y="334"/>
                    </a:lnTo>
                    <a:lnTo>
                      <a:pt x="116" y="332"/>
                    </a:lnTo>
                    <a:lnTo>
                      <a:pt x="115" y="331"/>
                    </a:lnTo>
                    <a:lnTo>
                      <a:pt x="113" y="327"/>
                    </a:lnTo>
                    <a:lnTo>
                      <a:pt x="111" y="322"/>
                    </a:lnTo>
                    <a:lnTo>
                      <a:pt x="115" y="311"/>
                    </a:lnTo>
                    <a:lnTo>
                      <a:pt x="122" y="302"/>
                    </a:lnTo>
                    <a:lnTo>
                      <a:pt x="127" y="299"/>
                    </a:lnTo>
                    <a:lnTo>
                      <a:pt x="133" y="297"/>
                    </a:lnTo>
                    <a:lnTo>
                      <a:pt x="143" y="299"/>
                    </a:lnTo>
                    <a:lnTo>
                      <a:pt x="145" y="295"/>
                    </a:lnTo>
                    <a:lnTo>
                      <a:pt x="147" y="286"/>
                    </a:lnTo>
                    <a:lnTo>
                      <a:pt x="140" y="277"/>
                    </a:lnTo>
                    <a:lnTo>
                      <a:pt x="140" y="275"/>
                    </a:lnTo>
                    <a:lnTo>
                      <a:pt x="150" y="254"/>
                    </a:lnTo>
                    <a:lnTo>
                      <a:pt x="152" y="222"/>
                    </a:lnTo>
                    <a:lnTo>
                      <a:pt x="156" y="220"/>
                    </a:lnTo>
                    <a:lnTo>
                      <a:pt x="158" y="220"/>
                    </a:lnTo>
                    <a:lnTo>
                      <a:pt x="163" y="216"/>
                    </a:lnTo>
                    <a:lnTo>
                      <a:pt x="166" y="202"/>
                    </a:lnTo>
                    <a:lnTo>
                      <a:pt x="183" y="179"/>
                    </a:lnTo>
                    <a:lnTo>
                      <a:pt x="183" y="175"/>
                    </a:lnTo>
                    <a:lnTo>
                      <a:pt x="179" y="168"/>
                    </a:lnTo>
                    <a:lnTo>
                      <a:pt x="179" y="165"/>
                    </a:lnTo>
                    <a:lnTo>
                      <a:pt x="184" y="156"/>
                    </a:lnTo>
                    <a:lnTo>
                      <a:pt x="186" y="147"/>
                    </a:lnTo>
                    <a:lnTo>
                      <a:pt x="195" y="138"/>
                    </a:lnTo>
                    <a:lnTo>
                      <a:pt x="199" y="138"/>
                    </a:lnTo>
                    <a:lnTo>
                      <a:pt x="202" y="140"/>
                    </a:lnTo>
                    <a:lnTo>
                      <a:pt x="204" y="143"/>
                    </a:lnTo>
                    <a:lnTo>
                      <a:pt x="206" y="143"/>
                    </a:lnTo>
                    <a:lnTo>
                      <a:pt x="211" y="131"/>
                    </a:lnTo>
                    <a:lnTo>
                      <a:pt x="209" y="124"/>
                    </a:lnTo>
                    <a:lnTo>
                      <a:pt x="211" y="120"/>
                    </a:lnTo>
                    <a:lnTo>
                      <a:pt x="213" y="118"/>
                    </a:lnTo>
                    <a:lnTo>
                      <a:pt x="216" y="118"/>
                    </a:lnTo>
                    <a:lnTo>
                      <a:pt x="238" y="124"/>
                    </a:lnTo>
                    <a:lnTo>
                      <a:pt x="240" y="124"/>
                    </a:lnTo>
                    <a:lnTo>
                      <a:pt x="241" y="122"/>
                    </a:lnTo>
                    <a:lnTo>
                      <a:pt x="240" y="118"/>
                    </a:lnTo>
                    <a:lnTo>
                      <a:pt x="238" y="115"/>
                    </a:lnTo>
                    <a:lnTo>
                      <a:pt x="240" y="113"/>
                    </a:lnTo>
                    <a:lnTo>
                      <a:pt x="241" y="107"/>
                    </a:lnTo>
                    <a:lnTo>
                      <a:pt x="243" y="106"/>
                    </a:lnTo>
                    <a:lnTo>
                      <a:pt x="243" y="104"/>
                    </a:lnTo>
                    <a:lnTo>
                      <a:pt x="243" y="100"/>
                    </a:lnTo>
                    <a:lnTo>
                      <a:pt x="241" y="99"/>
                    </a:lnTo>
                    <a:lnTo>
                      <a:pt x="241" y="97"/>
                    </a:lnTo>
                    <a:lnTo>
                      <a:pt x="243" y="95"/>
                    </a:lnTo>
                    <a:lnTo>
                      <a:pt x="249" y="95"/>
                    </a:lnTo>
                    <a:lnTo>
                      <a:pt x="250" y="93"/>
                    </a:lnTo>
                    <a:lnTo>
                      <a:pt x="252" y="91"/>
                    </a:lnTo>
                    <a:lnTo>
                      <a:pt x="256" y="93"/>
                    </a:lnTo>
                    <a:lnTo>
                      <a:pt x="258" y="93"/>
                    </a:lnTo>
                    <a:lnTo>
                      <a:pt x="258" y="86"/>
                    </a:lnTo>
                    <a:lnTo>
                      <a:pt x="261" y="82"/>
                    </a:lnTo>
                    <a:lnTo>
                      <a:pt x="265" y="84"/>
                    </a:lnTo>
                    <a:lnTo>
                      <a:pt x="277" y="102"/>
                    </a:lnTo>
                    <a:lnTo>
                      <a:pt x="277" y="107"/>
                    </a:lnTo>
                    <a:lnTo>
                      <a:pt x="279" y="109"/>
                    </a:lnTo>
                    <a:lnTo>
                      <a:pt x="286" y="111"/>
                    </a:lnTo>
                    <a:lnTo>
                      <a:pt x="291" y="113"/>
                    </a:lnTo>
                    <a:lnTo>
                      <a:pt x="295" y="113"/>
                    </a:lnTo>
                    <a:lnTo>
                      <a:pt x="299" y="109"/>
                    </a:lnTo>
                    <a:lnTo>
                      <a:pt x="304" y="104"/>
                    </a:lnTo>
                    <a:lnTo>
                      <a:pt x="308" y="106"/>
                    </a:lnTo>
                    <a:lnTo>
                      <a:pt x="311" y="113"/>
                    </a:lnTo>
                    <a:lnTo>
                      <a:pt x="315" y="113"/>
                    </a:lnTo>
                    <a:lnTo>
                      <a:pt x="322" y="107"/>
                    </a:lnTo>
                    <a:lnTo>
                      <a:pt x="324" y="104"/>
                    </a:lnTo>
                    <a:lnTo>
                      <a:pt x="333" y="99"/>
                    </a:lnTo>
                    <a:lnTo>
                      <a:pt x="333" y="72"/>
                    </a:lnTo>
                    <a:lnTo>
                      <a:pt x="336" y="63"/>
                    </a:lnTo>
                    <a:lnTo>
                      <a:pt x="340" y="59"/>
                    </a:lnTo>
                    <a:lnTo>
                      <a:pt x="368" y="50"/>
                    </a:lnTo>
                    <a:lnTo>
                      <a:pt x="370" y="50"/>
                    </a:lnTo>
                    <a:lnTo>
                      <a:pt x="374" y="57"/>
                    </a:lnTo>
                    <a:lnTo>
                      <a:pt x="377" y="59"/>
                    </a:lnTo>
                    <a:lnTo>
                      <a:pt x="381" y="61"/>
                    </a:lnTo>
                    <a:lnTo>
                      <a:pt x="386" y="66"/>
                    </a:lnTo>
                    <a:lnTo>
                      <a:pt x="390" y="79"/>
                    </a:lnTo>
                    <a:lnTo>
                      <a:pt x="384" y="86"/>
                    </a:lnTo>
                    <a:lnTo>
                      <a:pt x="383" y="90"/>
                    </a:lnTo>
                    <a:lnTo>
                      <a:pt x="383" y="93"/>
                    </a:lnTo>
                    <a:lnTo>
                      <a:pt x="386" y="95"/>
                    </a:lnTo>
                    <a:lnTo>
                      <a:pt x="386" y="95"/>
                    </a:lnTo>
                    <a:lnTo>
                      <a:pt x="390" y="93"/>
                    </a:lnTo>
                    <a:lnTo>
                      <a:pt x="390" y="91"/>
                    </a:lnTo>
                    <a:lnTo>
                      <a:pt x="390" y="88"/>
                    </a:lnTo>
                    <a:lnTo>
                      <a:pt x="390" y="86"/>
                    </a:lnTo>
                    <a:lnTo>
                      <a:pt x="400" y="81"/>
                    </a:lnTo>
                    <a:lnTo>
                      <a:pt x="402" y="79"/>
                    </a:lnTo>
                    <a:lnTo>
                      <a:pt x="404" y="70"/>
                    </a:lnTo>
                    <a:lnTo>
                      <a:pt x="409" y="75"/>
                    </a:lnTo>
                    <a:lnTo>
                      <a:pt x="413" y="74"/>
                    </a:lnTo>
                    <a:lnTo>
                      <a:pt x="415" y="68"/>
                    </a:lnTo>
                    <a:lnTo>
                      <a:pt x="415" y="65"/>
                    </a:lnTo>
                    <a:lnTo>
                      <a:pt x="415" y="6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15" name="Freeform 2165"/>
              <p:cNvSpPr>
                <a:spLocks/>
              </p:cNvSpPr>
              <p:nvPr/>
            </p:nvSpPr>
            <p:spPr bwMode="auto">
              <a:xfrm>
                <a:off x="2776" y="1075"/>
                <a:ext cx="416" cy="497"/>
              </a:xfrm>
              <a:custGeom>
                <a:avLst/>
                <a:gdLst>
                  <a:gd name="T0" fmla="*/ 395 w 416"/>
                  <a:gd name="T1" fmla="*/ 65 h 497"/>
                  <a:gd name="T2" fmla="*/ 379 w 416"/>
                  <a:gd name="T3" fmla="*/ 45 h 497"/>
                  <a:gd name="T4" fmla="*/ 400 w 416"/>
                  <a:gd name="T5" fmla="*/ 18 h 497"/>
                  <a:gd name="T6" fmla="*/ 383 w 416"/>
                  <a:gd name="T7" fmla="*/ 13 h 497"/>
                  <a:gd name="T8" fmla="*/ 368 w 416"/>
                  <a:gd name="T9" fmla="*/ 20 h 497"/>
                  <a:gd name="T10" fmla="*/ 356 w 416"/>
                  <a:gd name="T11" fmla="*/ 24 h 497"/>
                  <a:gd name="T12" fmla="*/ 327 w 416"/>
                  <a:gd name="T13" fmla="*/ 40 h 497"/>
                  <a:gd name="T14" fmla="*/ 324 w 416"/>
                  <a:gd name="T15" fmla="*/ 11 h 497"/>
                  <a:gd name="T16" fmla="*/ 308 w 416"/>
                  <a:gd name="T17" fmla="*/ 27 h 497"/>
                  <a:gd name="T18" fmla="*/ 286 w 416"/>
                  <a:gd name="T19" fmla="*/ 49 h 497"/>
                  <a:gd name="T20" fmla="*/ 268 w 416"/>
                  <a:gd name="T21" fmla="*/ 41 h 497"/>
                  <a:gd name="T22" fmla="*/ 259 w 416"/>
                  <a:gd name="T23" fmla="*/ 61 h 497"/>
                  <a:gd name="T24" fmla="*/ 241 w 416"/>
                  <a:gd name="T25" fmla="*/ 84 h 497"/>
                  <a:gd name="T26" fmla="*/ 233 w 416"/>
                  <a:gd name="T27" fmla="*/ 90 h 497"/>
                  <a:gd name="T28" fmla="*/ 213 w 416"/>
                  <a:gd name="T29" fmla="*/ 82 h 497"/>
                  <a:gd name="T30" fmla="*/ 204 w 416"/>
                  <a:gd name="T31" fmla="*/ 109 h 497"/>
                  <a:gd name="T32" fmla="*/ 190 w 416"/>
                  <a:gd name="T33" fmla="*/ 120 h 497"/>
                  <a:gd name="T34" fmla="*/ 181 w 416"/>
                  <a:gd name="T35" fmla="*/ 125 h 497"/>
                  <a:gd name="T36" fmla="*/ 172 w 416"/>
                  <a:gd name="T37" fmla="*/ 138 h 497"/>
                  <a:gd name="T38" fmla="*/ 165 w 416"/>
                  <a:gd name="T39" fmla="*/ 159 h 497"/>
                  <a:gd name="T40" fmla="*/ 150 w 416"/>
                  <a:gd name="T41" fmla="*/ 174 h 497"/>
                  <a:gd name="T42" fmla="*/ 133 w 416"/>
                  <a:gd name="T43" fmla="*/ 195 h 497"/>
                  <a:gd name="T44" fmla="*/ 129 w 416"/>
                  <a:gd name="T45" fmla="*/ 213 h 497"/>
                  <a:gd name="T46" fmla="*/ 125 w 416"/>
                  <a:gd name="T47" fmla="*/ 231 h 497"/>
                  <a:gd name="T48" fmla="*/ 116 w 416"/>
                  <a:gd name="T49" fmla="*/ 245 h 497"/>
                  <a:gd name="T50" fmla="*/ 109 w 416"/>
                  <a:gd name="T51" fmla="*/ 256 h 497"/>
                  <a:gd name="T52" fmla="*/ 100 w 416"/>
                  <a:gd name="T53" fmla="*/ 281 h 497"/>
                  <a:gd name="T54" fmla="*/ 79 w 416"/>
                  <a:gd name="T55" fmla="*/ 311 h 497"/>
                  <a:gd name="T56" fmla="*/ 83 w 416"/>
                  <a:gd name="T57" fmla="*/ 318 h 497"/>
                  <a:gd name="T58" fmla="*/ 70 w 416"/>
                  <a:gd name="T59" fmla="*/ 320 h 497"/>
                  <a:gd name="T60" fmla="*/ 50 w 416"/>
                  <a:gd name="T61" fmla="*/ 327 h 497"/>
                  <a:gd name="T62" fmla="*/ 34 w 416"/>
                  <a:gd name="T63" fmla="*/ 343 h 497"/>
                  <a:gd name="T64" fmla="*/ 22 w 416"/>
                  <a:gd name="T65" fmla="*/ 352 h 497"/>
                  <a:gd name="T66" fmla="*/ 18 w 416"/>
                  <a:gd name="T67" fmla="*/ 366 h 497"/>
                  <a:gd name="T68" fmla="*/ 20 w 416"/>
                  <a:gd name="T69" fmla="*/ 370 h 497"/>
                  <a:gd name="T70" fmla="*/ 0 w 416"/>
                  <a:gd name="T71" fmla="*/ 381 h 497"/>
                  <a:gd name="T72" fmla="*/ 22 w 416"/>
                  <a:gd name="T73" fmla="*/ 399 h 497"/>
                  <a:gd name="T74" fmla="*/ 38 w 416"/>
                  <a:gd name="T75" fmla="*/ 397 h 497"/>
                  <a:gd name="T76" fmla="*/ 20 w 416"/>
                  <a:gd name="T77" fmla="*/ 400 h 497"/>
                  <a:gd name="T78" fmla="*/ 0 w 416"/>
                  <a:gd name="T79" fmla="*/ 411 h 497"/>
                  <a:gd name="T80" fmla="*/ 6 w 416"/>
                  <a:gd name="T81" fmla="*/ 431 h 497"/>
                  <a:gd name="T82" fmla="*/ 22 w 416"/>
                  <a:gd name="T83" fmla="*/ 418 h 497"/>
                  <a:gd name="T84" fmla="*/ 18 w 416"/>
                  <a:gd name="T85" fmla="*/ 432 h 497"/>
                  <a:gd name="T86" fmla="*/ 4 w 416"/>
                  <a:gd name="T87" fmla="*/ 456 h 497"/>
                  <a:gd name="T88" fmla="*/ 17 w 416"/>
                  <a:gd name="T89" fmla="*/ 456 h 497"/>
                  <a:gd name="T90" fmla="*/ 27 w 416"/>
                  <a:gd name="T91" fmla="*/ 486 h 497"/>
                  <a:gd name="T92" fmla="*/ 61 w 416"/>
                  <a:gd name="T93" fmla="*/ 481 h 497"/>
                  <a:gd name="T94" fmla="*/ 84 w 416"/>
                  <a:gd name="T95" fmla="*/ 452 h 497"/>
                  <a:gd name="T96" fmla="*/ 88 w 416"/>
                  <a:gd name="T97" fmla="*/ 440 h 497"/>
                  <a:gd name="T98" fmla="*/ 104 w 416"/>
                  <a:gd name="T99" fmla="*/ 468 h 497"/>
                  <a:gd name="T100" fmla="*/ 118 w 416"/>
                  <a:gd name="T101" fmla="*/ 400 h 497"/>
                  <a:gd name="T102" fmla="*/ 111 w 416"/>
                  <a:gd name="T103" fmla="*/ 322 h 497"/>
                  <a:gd name="T104" fmla="*/ 158 w 416"/>
                  <a:gd name="T105" fmla="*/ 220 h 497"/>
                  <a:gd name="T106" fmla="*/ 206 w 416"/>
                  <a:gd name="T107" fmla="*/ 143 h 497"/>
                  <a:gd name="T108" fmla="*/ 243 w 416"/>
                  <a:gd name="T109" fmla="*/ 106 h 497"/>
                  <a:gd name="T110" fmla="*/ 265 w 416"/>
                  <a:gd name="T111" fmla="*/ 84 h 497"/>
                  <a:gd name="T112" fmla="*/ 324 w 416"/>
                  <a:gd name="T113" fmla="*/ 104 h 497"/>
                  <a:gd name="T114" fmla="*/ 383 w 416"/>
                  <a:gd name="T115" fmla="*/ 90 h 497"/>
                  <a:gd name="T116" fmla="*/ 415 w 416"/>
                  <a:gd name="T117" fmla="*/ 68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6" h="497">
                    <a:moveTo>
                      <a:pt x="415" y="65"/>
                    </a:moveTo>
                    <a:lnTo>
                      <a:pt x="408" y="63"/>
                    </a:lnTo>
                    <a:lnTo>
                      <a:pt x="408" y="68"/>
                    </a:lnTo>
                    <a:lnTo>
                      <a:pt x="406" y="68"/>
                    </a:lnTo>
                    <a:lnTo>
                      <a:pt x="406" y="68"/>
                    </a:lnTo>
                    <a:lnTo>
                      <a:pt x="402" y="66"/>
                    </a:lnTo>
                    <a:lnTo>
                      <a:pt x="402" y="65"/>
                    </a:lnTo>
                    <a:lnTo>
                      <a:pt x="402" y="68"/>
                    </a:lnTo>
                    <a:lnTo>
                      <a:pt x="402" y="70"/>
                    </a:lnTo>
                    <a:lnTo>
                      <a:pt x="400" y="66"/>
                    </a:lnTo>
                    <a:lnTo>
                      <a:pt x="397" y="66"/>
                    </a:lnTo>
                    <a:lnTo>
                      <a:pt x="393" y="68"/>
                    </a:lnTo>
                    <a:lnTo>
                      <a:pt x="395" y="65"/>
                    </a:lnTo>
                    <a:lnTo>
                      <a:pt x="397" y="63"/>
                    </a:lnTo>
                    <a:lnTo>
                      <a:pt x="399" y="63"/>
                    </a:lnTo>
                    <a:lnTo>
                      <a:pt x="399" y="61"/>
                    </a:lnTo>
                    <a:lnTo>
                      <a:pt x="399" y="59"/>
                    </a:lnTo>
                    <a:lnTo>
                      <a:pt x="397" y="57"/>
                    </a:lnTo>
                    <a:lnTo>
                      <a:pt x="391" y="57"/>
                    </a:lnTo>
                    <a:lnTo>
                      <a:pt x="393" y="56"/>
                    </a:lnTo>
                    <a:lnTo>
                      <a:pt x="391" y="54"/>
                    </a:lnTo>
                    <a:lnTo>
                      <a:pt x="388" y="52"/>
                    </a:lnTo>
                    <a:lnTo>
                      <a:pt x="384" y="49"/>
                    </a:lnTo>
                    <a:lnTo>
                      <a:pt x="379" y="49"/>
                    </a:lnTo>
                    <a:lnTo>
                      <a:pt x="379" y="47"/>
                    </a:lnTo>
                    <a:lnTo>
                      <a:pt x="379" y="45"/>
                    </a:lnTo>
                    <a:lnTo>
                      <a:pt x="379" y="45"/>
                    </a:lnTo>
                    <a:lnTo>
                      <a:pt x="400" y="49"/>
                    </a:lnTo>
                    <a:lnTo>
                      <a:pt x="411" y="41"/>
                    </a:lnTo>
                    <a:lnTo>
                      <a:pt x="415" y="40"/>
                    </a:lnTo>
                    <a:lnTo>
                      <a:pt x="416" y="38"/>
                    </a:lnTo>
                    <a:lnTo>
                      <a:pt x="416" y="34"/>
                    </a:lnTo>
                    <a:lnTo>
                      <a:pt x="413" y="32"/>
                    </a:lnTo>
                    <a:lnTo>
                      <a:pt x="409" y="27"/>
                    </a:lnTo>
                    <a:lnTo>
                      <a:pt x="406" y="27"/>
                    </a:lnTo>
                    <a:lnTo>
                      <a:pt x="402" y="25"/>
                    </a:lnTo>
                    <a:lnTo>
                      <a:pt x="406" y="25"/>
                    </a:lnTo>
                    <a:lnTo>
                      <a:pt x="400" y="22"/>
                    </a:lnTo>
                    <a:lnTo>
                      <a:pt x="400" y="18"/>
                    </a:lnTo>
                    <a:lnTo>
                      <a:pt x="397" y="22"/>
                    </a:lnTo>
                    <a:lnTo>
                      <a:pt x="395" y="24"/>
                    </a:lnTo>
                    <a:lnTo>
                      <a:pt x="395" y="20"/>
                    </a:lnTo>
                    <a:lnTo>
                      <a:pt x="395" y="18"/>
                    </a:lnTo>
                    <a:lnTo>
                      <a:pt x="390" y="22"/>
                    </a:lnTo>
                    <a:lnTo>
                      <a:pt x="390" y="20"/>
                    </a:lnTo>
                    <a:lnTo>
                      <a:pt x="388" y="20"/>
                    </a:lnTo>
                    <a:lnTo>
                      <a:pt x="390" y="18"/>
                    </a:lnTo>
                    <a:lnTo>
                      <a:pt x="390" y="15"/>
                    </a:lnTo>
                    <a:lnTo>
                      <a:pt x="388" y="15"/>
                    </a:lnTo>
                    <a:lnTo>
                      <a:pt x="386" y="13"/>
                    </a:lnTo>
                    <a:lnTo>
                      <a:pt x="384" y="13"/>
                    </a:lnTo>
                    <a:lnTo>
                      <a:pt x="383" y="13"/>
                    </a:lnTo>
                    <a:lnTo>
                      <a:pt x="381" y="13"/>
                    </a:lnTo>
                    <a:lnTo>
                      <a:pt x="377" y="16"/>
                    </a:lnTo>
                    <a:lnTo>
                      <a:pt x="377" y="31"/>
                    </a:lnTo>
                    <a:lnTo>
                      <a:pt x="374" y="32"/>
                    </a:lnTo>
                    <a:lnTo>
                      <a:pt x="372" y="31"/>
                    </a:lnTo>
                    <a:lnTo>
                      <a:pt x="368" y="31"/>
                    </a:lnTo>
                    <a:lnTo>
                      <a:pt x="366" y="31"/>
                    </a:lnTo>
                    <a:lnTo>
                      <a:pt x="370" y="27"/>
                    </a:lnTo>
                    <a:lnTo>
                      <a:pt x="372" y="24"/>
                    </a:lnTo>
                    <a:lnTo>
                      <a:pt x="372" y="20"/>
                    </a:lnTo>
                    <a:lnTo>
                      <a:pt x="366" y="24"/>
                    </a:lnTo>
                    <a:lnTo>
                      <a:pt x="365" y="24"/>
                    </a:lnTo>
                    <a:lnTo>
                      <a:pt x="368" y="20"/>
                    </a:lnTo>
                    <a:lnTo>
                      <a:pt x="366" y="16"/>
                    </a:lnTo>
                    <a:lnTo>
                      <a:pt x="368" y="15"/>
                    </a:lnTo>
                    <a:lnTo>
                      <a:pt x="374" y="15"/>
                    </a:lnTo>
                    <a:lnTo>
                      <a:pt x="375" y="11"/>
                    </a:lnTo>
                    <a:lnTo>
                      <a:pt x="375" y="6"/>
                    </a:lnTo>
                    <a:lnTo>
                      <a:pt x="372" y="6"/>
                    </a:lnTo>
                    <a:lnTo>
                      <a:pt x="372" y="4"/>
                    </a:lnTo>
                    <a:lnTo>
                      <a:pt x="370" y="2"/>
                    </a:lnTo>
                    <a:lnTo>
                      <a:pt x="368" y="2"/>
                    </a:lnTo>
                    <a:lnTo>
                      <a:pt x="365" y="4"/>
                    </a:lnTo>
                    <a:lnTo>
                      <a:pt x="361" y="0"/>
                    </a:lnTo>
                    <a:lnTo>
                      <a:pt x="356" y="20"/>
                    </a:lnTo>
                    <a:lnTo>
                      <a:pt x="356" y="24"/>
                    </a:lnTo>
                    <a:lnTo>
                      <a:pt x="354" y="24"/>
                    </a:lnTo>
                    <a:lnTo>
                      <a:pt x="352" y="27"/>
                    </a:lnTo>
                    <a:lnTo>
                      <a:pt x="352" y="31"/>
                    </a:lnTo>
                    <a:lnTo>
                      <a:pt x="349" y="31"/>
                    </a:lnTo>
                    <a:lnTo>
                      <a:pt x="345" y="36"/>
                    </a:lnTo>
                    <a:lnTo>
                      <a:pt x="347" y="25"/>
                    </a:lnTo>
                    <a:lnTo>
                      <a:pt x="343" y="22"/>
                    </a:lnTo>
                    <a:lnTo>
                      <a:pt x="347" y="18"/>
                    </a:lnTo>
                    <a:lnTo>
                      <a:pt x="347" y="9"/>
                    </a:lnTo>
                    <a:lnTo>
                      <a:pt x="345" y="9"/>
                    </a:lnTo>
                    <a:lnTo>
                      <a:pt x="343" y="9"/>
                    </a:lnTo>
                    <a:lnTo>
                      <a:pt x="325" y="41"/>
                    </a:lnTo>
                    <a:lnTo>
                      <a:pt x="327" y="40"/>
                    </a:lnTo>
                    <a:lnTo>
                      <a:pt x="322" y="50"/>
                    </a:lnTo>
                    <a:lnTo>
                      <a:pt x="318" y="50"/>
                    </a:lnTo>
                    <a:lnTo>
                      <a:pt x="318" y="43"/>
                    </a:lnTo>
                    <a:lnTo>
                      <a:pt x="320" y="41"/>
                    </a:lnTo>
                    <a:lnTo>
                      <a:pt x="322" y="41"/>
                    </a:lnTo>
                    <a:lnTo>
                      <a:pt x="322" y="38"/>
                    </a:lnTo>
                    <a:lnTo>
                      <a:pt x="324" y="34"/>
                    </a:lnTo>
                    <a:lnTo>
                      <a:pt x="322" y="31"/>
                    </a:lnTo>
                    <a:lnTo>
                      <a:pt x="333" y="13"/>
                    </a:lnTo>
                    <a:lnTo>
                      <a:pt x="331" y="11"/>
                    </a:lnTo>
                    <a:lnTo>
                      <a:pt x="325" y="15"/>
                    </a:lnTo>
                    <a:lnTo>
                      <a:pt x="324" y="16"/>
                    </a:lnTo>
                    <a:lnTo>
                      <a:pt x="324" y="11"/>
                    </a:lnTo>
                    <a:lnTo>
                      <a:pt x="322" y="11"/>
                    </a:lnTo>
                    <a:lnTo>
                      <a:pt x="320" y="9"/>
                    </a:lnTo>
                    <a:lnTo>
                      <a:pt x="320" y="7"/>
                    </a:lnTo>
                    <a:lnTo>
                      <a:pt x="316" y="11"/>
                    </a:lnTo>
                    <a:lnTo>
                      <a:pt x="316" y="9"/>
                    </a:lnTo>
                    <a:lnTo>
                      <a:pt x="315" y="9"/>
                    </a:lnTo>
                    <a:lnTo>
                      <a:pt x="313" y="16"/>
                    </a:lnTo>
                    <a:lnTo>
                      <a:pt x="309" y="15"/>
                    </a:lnTo>
                    <a:lnTo>
                      <a:pt x="311" y="18"/>
                    </a:lnTo>
                    <a:lnTo>
                      <a:pt x="313" y="20"/>
                    </a:lnTo>
                    <a:lnTo>
                      <a:pt x="315" y="22"/>
                    </a:lnTo>
                    <a:lnTo>
                      <a:pt x="309" y="24"/>
                    </a:lnTo>
                    <a:lnTo>
                      <a:pt x="308" y="27"/>
                    </a:lnTo>
                    <a:lnTo>
                      <a:pt x="309" y="31"/>
                    </a:lnTo>
                    <a:lnTo>
                      <a:pt x="302" y="31"/>
                    </a:lnTo>
                    <a:lnTo>
                      <a:pt x="299" y="36"/>
                    </a:lnTo>
                    <a:lnTo>
                      <a:pt x="297" y="38"/>
                    </a:lnTo>
                    <a:lnTo>
                      <a:pt x="293" y="43"/>
                    </a:lnTo>
                    <a:lnTo>
                      <a:pt x="291" y="45"/>
                    </a:lnTo>
                    <a:lnTo>
                      <a:pt x="293" y="47"/>
                    </a:lnTo>
                    <a:lnTo>
                      <a:pt x="291" y="54"/>
                    </a:lnTo>
                    <a:lnTo>
                      <a:pt x="290" y="56"/>
                    </a:lnTo>
                    <a:lnTo>
                      <a:pt x="288" y="52"/>
                    </a:lnTo>
                    <a:lnTo>
                      <a:pt x="288" y="50"/>
                    </a:lnTo>
                    <a:lnTo>
                      <a:pt x="290" y="49"/>
                    </a:lnTo>
                    <a:lnTo>
                      <a:pt x="286" y="49"/>
                    </a:lnTo>
                    <a:lnTo>
                      <a:pt x="288" y="45"/>
                    </a:lnTo>
                    <a:lnTo>
                      <a:pt x="288" y="45"/>
                    </a:lnTo>
                    <a:lnTo>
                      <a:pt x="279" y="43"/>
                    </a:lnTo>
                    <a:lnTo>
                      <a:pt x="279" y="47"/>
                    </a:lnTo>
                    <a:lnTo>
                      <a:pt x="277" y="47"/>
                    </a:lnTo>
                    <a:lnTo>
                      <a:pt x="275" y="47"/>
                    </a:lnTo>
                    <a:lnTo>
                      <a:pt x="275" y="45"/>
                    </a:lnTo>
                    <a:lnTo>
                      <a:pt x="275" y="41"/>
                    </a:lnTo>
                    <a:lnTo>
                      <a:pt x="274" y="43"/>
                    </a:lnTo>
                    <a:lnTo>
                      <a:pt x="274" y="40"/>
                    </a:lnTo>
                    <a:lnTo>
                      <a:pt x="272" y="41"/>
                    </a:lnTo>
                    <a:lnTo>
                      <a:pt x="270" y="40"/>
                    </a:lnTo>
                    <a:lnTo>
                      <a:pt x="268" y="41"/>
                    </a:lnTo>
                    <a:lnTo>
                      <a:pt x="268" y="47"/>
                    </a:lnTo>
                    <a:lnTo>
                      <a:pt x="266" y="40"/>
                    </a:lnTo>
                    <a:lnTo>
                      <a:pt x="265" y="40"/>
                    </a:lnTo>
                    <a:lnTo>
                      <a:pt x="265" y="47"/>
                    </a:lnTo>
                    <a:lnTo>
                      <a:pt x="270" y="50"/>
                    </a:lnTo>
                    <a:lnTo>
                      <a:pt x="272" y="50"/>
                    </a:lnTo>
                    <a:lnTo>
                      <a:pt x="272" y="59"/>
                    </a:lnTo>
                    <a:lnTo>
                      <a:pt x="272" y="63"/>
                    </a:lnTo>
                    <a:lnTo>
                      <a:pt x="272" y="66"/>
                    </a:lnTo>
                    <a:lnTo>
                      <a:pt x="261" y="52"/>
                    </a:lnTo>
                    <a:lnTo>
                      <a:pt x="261" y="57"/>
                    </a:lnTo>
                    <a:lnTo>
                      <a:pt x="259" y="57"/>
                    </a:lnTo>
                    <a:lnTo>
                      <a:pt x="259" y="61"/>
                    </a:lnTo>
                    <a:lnTo>
                      <a:pt x="258" y="61"/>
                    </a:lnTo>
                    <a:lnTo>
                      <a:pt x="256" y="63"/>
                    </a:lnTo>
                    <a:lnTo>
                      <a:pt x="256" y="61"/>
                    </a:lnTo>
                    <a:lnTo>
                      <a:pt x="256" y="59"/>
                    </a:lnTo>
                    <a:lnTo>
                      <a:pt x="256" y="56"/>
                    </a:lnTo>
                    <a:lnTo>
                      <a:pt x="254" y="57"/>
                    </a:lnTo>
                    <a:lnTo>
                      <a:pt x="252" y="61"/>
                    </a:lnTo>
                    <a:lnTo>
                      <a:pt x="250" y="65"/>
                    </a:lnTo>
                    <a:lnTo>
                      <a:pt x="249" y="65"/>
                    </a:lnTo>
                    <a:lnTo>
                      <a:pt x="250" y="72"/>
                    </a:lnTo>
                    <a:lnTo>
                      <a:pt x="245" y="75"/>
                    </a:lnTo>
                    <a:lnTo>
                      <a:pt x="243" y="81"/>
                    </a:lnTo>
                    <a:lnTo>
                      <a:pt x="241" y="84"/>
                    </a:lnTo>
                    <a:lnTo>
                      <a:pt x="245" y="77"/>
                    </a:lnTo>
                    <a:lnTo>
                      <a:pt x="245" y="56"/>
                    </a:lnTo>
                    <a:lnTo>
                      <a:pt x="241" y="57"/>
                    </a:lnTo>
                    <a:lnTo>
                      <a:pt x="238" y="66"/>
                    </a:lnTo>
                    <a:lnTo>
                      <a:pt x="234" y="79"/>
                    </a:lnTo>
                    <a:lnTo>
                      <a:pt x="234" y="63"/>
                    </a:lnTo>
                    <a:lnTo>
                      <a:pt x="227" y="65"/>
                    </a:lnTo>
                    <a:lnTo>
                      <a:pt x="224" y="70"/>
                    </a:lnTo>
                    <a:lnTo>
                      <a:pt x="225" y="77"/>
                    </a:lnTo>
                    <a:lnTo>
                      <a:pt x="227" y="81"/>
                    </a:lnTo>
                    <a:lnTo>
                      <a:pt x="231" y="82"/>
                    </a:lnTo>
                    <a:lnTo>
                      <a:pt x="233" y="86"/>
                    </a:lnTo>
                    <a:lnTo>
                      <a:pt x="233" y="90"/>
                    </a:lnTo>
                    <a:lnTo>
                      <a:pt x="229" y="88"/>
                    </a:lnTo>
                    <a:lnTo>
                      <a:pt x="227" y="84"/>
                    </a:lnTo>
                    <a:lnTo>
                      <a:pt x="224" y="82"/>
                    </a:lnTo>
                    <a:lnTo>
                      <a:pt x="220" y="74"/>
                    </a:lnTo>
                    <a:lnTo>
                      <a:pt x="216" y="75"/>
                    </a:lnTo>
                    <a:lnTo>
                      <a:pt x="218" y="81"/>
                    </a:lnTo>
                    <a:lnTo>
                      <a:pt x="222" y="84"/>
                    </a:lnTo>
                    <a:lnTo>
                      <a:pt x="218" y="86"/>
                    </a:lnTo>
                    <a:lnTo>
                      <a:pt x="216" y="84"/>
                    </a:lnTo>
                    <a:lnTo>
                      <a:pt x="215" y="86"/>
                    </a:lnTo>
                    <a:lnTo>
                      <a:pt x="215" y="82"/>
                    </a:lnTo>
                    <a:lnTo>
                      <a:pt x="213" y="84"/>
                    </a:lnTo>
                    <a:lnTo>
                      <a:pt x="213" y="82"/>
                    </a:lnTo>
                    <a:lnTo>
                      <a:pt x="213" y="79"/>
                    </a:lnTo>
                    <a:lnTo>
                      <a:pt x="211" y="77"/>
                    </a:lnTo>
                    <a:lnTo>
                      <a:pt x="209" y="86"/>
                    </a:lnTo>
                    <a:lnTo>
                      <a:pt x="209" y="88"/>
                    </a:lnTo>
                    <a:lnTo>
                      <a:pt x="211" y="90"/>
                    </a:lnTo>
                    <a:lnTo>
                      <a:pt x="202" y="95"/>
                    </a:lnTo>
                    <a:lnTo>
                      <a:pt x="200" y="100"/>
                    </a:lnTo>
                    <a:lnTo>
                      <a:pt x="202" y="104"/>
                    </a:lnTo>
                    <a:lnTo>
                      <a:pt x="204" y="102"/>
                    </a:lnTo>
                    <a:lnTo>
                      <a:pt x="206" y="104"/>
                    </a:lnTo>
                    <a:lnTo>
                      <a:pt x="202" y="104"/>
                    </a:lnTo>
                    <a:lnTo>
                      <a:pt x="204" y="107"/>
                    </a:lnTo>
                    <a:lnTo>
                      <a:pt x="204" y="109"/>
                    </a:lnTo>
                    <a:lnTo>
                      <a:pt x="200" y="107"/>
                    </a:lnTo>
                    <a:lnTo>
                      <a:pt x="199" y="109"/>
                    </a:lnTo>
                    <a:lnTo>
                      <a:pt x="200" y="111"/>
                    </a:lnTo>
                    <a:lnTo>
                      <a:pt x="199" y="113"/>
                    </a:lnTo>
                    <a:lnTo>
                      <a:pt x="195" y="111"/>
                    </a:lnTo>
                    <a:lnTo>
                      <a:pt x="195" y="113"/>
                    </a:lnTo>
                    <a:lnTo>
                      <a:pt x="193" y="113"/>
                    </a:lnTo>
                    <a:lnTo>
                      <a:pt x="188" y="115"/>
                    </a:lnTo>
                    <a:lnTo>
                      <a:pt x="186" y="116"/>
                    </a:lnTo>
                    <a:lnTo>
                      <a:pt x="184" y="118"/>
                    </a:lnTo>
                    <a:lnTo>
                      <a:pt x="184" y="120"/>
                    </a:lnTo>
                    <a:lnTo>
                      <a:pt x="188" y="122"/>
                    </a:lnTo>
                    <a:lnTo>
                      <a:pt x="190" y="120"/>
                    </a:lnTo>
                    <a:lnTo>
                      <a:pt x="191" y="118"/>
                    </a:lnTo>
                    <a:lnTo>
                      <a:pt x="197" y="122"/>
                    </a:lnTo>
                    <a:lnTo>
                      <a:pt x="200" y="120"/>
                    </a:lnTo>
                    <a:lnTo>
                      <a:pt x="200" y="120"/>
                    </a:lnTo>
                    <a:lnTo>
                      <a:pt x="202" y="124"/>
                    </a:lnTo>
                    <a:lnTo>
                      <a:pt x="199" y="124"/>
                    </a:lnTo>
                    <a:lnTo>
                      <a:pt x="197" y="125"/>
                    </a:lnTo>
                    <a:lnTo>
                      <a:pt x="197" y="129"/>
                    </a:lnTo>
                    <a:lnTo>
                      <a:pt x="193" y="127"/>
                    </a:lnTo>
                    <a:lnTo>
                      <a:pt x="190" y="125"/>
                    </a:lnTo>
                    <a:lnTo>
                      <a:pt x="188" y="125"/>
                    </a:lnTo>
                    <a:lnTo>
                      <a:pt x="184" y="124"/>
                    </a:lnTo>
                    <a:lnTo>
                      <a:pt x="181" y="125"/>
                    </a:lnTo>
                    <a:lnTo>
                      <a:pt x="181" y="129"/>
                    </a:lnTo>
                    <a:lnTo>
                      <a:pt x="183" y="132"/>
                    </a:lnTo>
                    <a:lnTo>
                      <a:pt x="183" y="136"/>
                    </a:lnTo>
                    <a:lnTo>
                      <a:pt x="181" y="136"/>
                    </a:lnTo>
                    <a:lnTo>
                      <a:pt x="183" y="140"/>
                    </a:lnTo>
                    <a:lnTo>
                      <a:pt x="183" y="143"/>
                    </a:lnTo>
                    <a:lnTo>
                      <a:pt x="181" y="141"/>
                    </a:lnTo>
                    <a:lnTo>
                      <a:pt x="181" y="145"/>
                    </a:lnTo>
                    <a:lnTo>
                      <a:pt x="179" y="145"/>
                    </a:lnTo>
                    <a:lnTo>
                      <a:pt x="177" y="134"/>
                    </a:lnTo>
                    <a:lnTo>
                      <a:pt x="174" y="134"/>
                    </a:lnTo>
                    <a:lnTo>
                      <a:pt x="174" y="140"/>
                    </a:lnTo>
                    <a:lnTo>
                      <a:pt x="172" y="138"/>
                    </a:lnTo>
                    <a:lnTo>
                      <a:pt x="170" y="140"/>
                    </a:lnTo>
                    <a:lnTo>
                      <a:pt x="174" y="141"/>
                    </a:lnTo>
                    <a:lnTo>
                      <a:pt x="172" y="141"/>
                    </a:lnTo>
                    <a:lnTo>
                      <a:pt x="170" y="143"/>
                    </a:lnTo>
                    <a:lnTo>
                      <a:pt x="168" y="143"/>
                    </a:lnTo>
                    <a:lnTo>
                      <a:pt x="166" y="147"/>
                    </a:lnTo>
                    <a:lnTo>
                      <a:pt x="168" y="149"/>
                    </a:lnTo>
                    <a:lnTo>
                      <a:pt x="170" y="152"/>
                    </a:lnTo>
                    <a:lnTo>
                      <a:pt x="168" y="152"/>
                    </a:lnTo>
                    <a:lnTo>
                      <a:pt x="170" y="154"/>
                    </a:lnTo>
                    <a:lnTo>
                      <a:pt x="168" y="156"/>
                    </a:lnTo>
                    <a:lnTo>
                      <a:pt x="166" y="157"/>
                    </a:lnTo>
                    <a:lnTo>
                      <a:pt x="165" y="159"/>
                    </a:lnTo>
                    <a:lnTo>
                      <a:pt x="165" y="159"/>
                    </a:lnTo>
                    <a:lnTo>
                      <a:pt x="165" y="159"/>
                    </a:lnTo>
                    <a:lnTo>
                      <a:pt x="166" y="161"/>
                    </a:lnTo>
                    <a:lnTo>
                      <a:pt x="172" y="159"/>
                    </a:lnTo>
                    <a:lnTo>
                      <a:pt x="166" y="165"/>
                    </a:lnTo>
                    <a:lnTo>
                      <a:pt x="161" y="163"/>
                    </a:lnTo>
                    <a:lnTo>
                      <a:pt x="161" y="163"/>
                    </a:lnTo>
                    <a:lnTo>
                      <a:pt x="159" y="161"/>
                    </a:lnTo>
                    <a:lnTo>
                      <a:pt x="158" y="161"/>
                    </a:lnTo>
                    <a:lnTo>
                      <a:pt x="154" y="163"/>
                    </a:lnTo>
                    <a:lnTo>
                      <a:pt x="152" y="168"/>
                    </a:lnTo>
                    <a:lnTo>
                      <a:pt x="150" y="170"/>
                    </a:lnTo>
                    <a:lnTo>
                      <a:pt x="150" y="174"/>
                    </a:lnTo>
                    <a:lnTo>
                      <a:pt x="152" y="174"/>
                    </a:lnTo>
                    <a:lnTo>
                      <a:pt x="150" y="177"/>
                    </a:lnTo>
                    <a:lnTo>
                      <a:pt x="149" y="177"/>
                    </a:lnTo>
                    <a:lnTo>
                      <a:pt x="147" y="184"/>
                    </a:lnTo>
                    <a:lnTo>
                      <a:pt x="145" y="182"/>
                    </a:lnTo>
                    <a:lnTo>
                      <a:pt x="143" y="184"/>
                    </a:lnTo>
                    <a:lnTo>
                      <a:pt x="141" y="184"/>
                    </a:lnTo>
                    <a:lnTo>
                      <a:pt x="140" y="188"/>
                    </a:lnTo>
                    <a:lnTo>
                      <a:pt x="141" y="190"/>
                    </a:lnTo>
                    <a:lnTo>
                      <a:pt x="140" y="191"/>
                    </a:lnTo>
                    <a:lnTo>
                      <a:pt x="136" y="191"/>
                    </a:lnTo>
                    <a:lnTo>
                      <a:pt x="136" y="195"/>
                    </a:lnTo>
                    <a:lnTo>
                      <a:pt x="133" y="195"/>
                    </a:lnTo>
                    <a:lnTo>
                      <a:pt x="134" y="197"/>
                    </a:lnTo>
                    <a:lnTo>
                      <a:pt x="133" y="199"/>
                    </a:lnTo>
                    <a:lnTo>
                      <a:pt x="133" y="200"/>
                    </a:lnTo>
                    <a:lnTo>
                      <a:pt x="136" y="202"/>
                    </a:lnTo>
                    <a:lnTo>
                      <a:pt x="134" y="204"/>
                    </a:lnTo>
                    <a:lnTo>
                      <a:pt x="133" y="206"/>
                    </a:lnTo>
                    <a:lnTo>
                      <a:pt x="131" y="204"/>
                    </a:lnTo>
                    <a:lnTo>
                      <a:pt x="131" y="209"/>
                    </a:lnTo>
                    <a:lnTo>
                      <a:pt x="133" y="211"/>
                    </a:lnTo>
                    <a:lnTo>
                      <a:pt x="134" y="209"/>
                    </a:lnTo>
                    <a:lnTo>
                      <a:pt x="136" y="209"/>
                    </a:lnTo>
                    <a:lnTo>
                      <a:pt x="134" y="213"/>
                    </a:lnTo>
                    <a:lnTo>
                      <a:pt x="129" y="213"/>
                    </a:lnTo>
                    <a:lnTo>
                      <a:pt x="127" y="215"/>
                    </a:lnTo>
                    <a:lnTo>
                      <a:pt x="127" y="220"/>
                    </a:lnTo>
                    <a:lnTo>
                      <a:pt x="125" y="222"/>
                    </a:lnTo>
                    <a:lnTo>
                      <a:pt x="122" y="222"/>
                    </a:lnTo>
                    <a:lnTo>
                      <a:pt x="120" y="225"/>
                    </a:lnTo>
                    <a:lnTo>
                      <a:pt x="124" y="225"/>
                    </a:lnTo>
                    <a:lnTo>
                      <a:pt x="125" y="224"/>
                    </a:lnTo>
                    <a:lnTo>
                      <a:pt x="129" y="222"/>
                    </a:lnTo>
                    <a:lnTo>
                      <a:pt x="129" y="225"/>
                    </a:lnTo>
                    <a:lnTo>
                      <a:pt x="131" y="229"/>
                    </a:lnTo>
                    <a:lnTo>
                      <a:pt x="125" y="225"/>
                    </a:lnTo>
                    <a:lnTo>
                      <a:pt x="124" y="229"/>
                    </a:lnTo>
                    <a:lnTo>
                      <a:pt x="125" y="231"/>
                    </a:lnTo>
                    <a:lnTo>
                      <a:pt x="124" y="231"/>
                    </a:lnTo>
                    <a:lnTo>
                      <a:pt x="124" y="232"/>
                    </a:lnTo>
                    <a:lnTo>
                      <a:pt x="124" y="236"/>
                    </a:lnTo>
                    <a:lnTo>
                      <a:pt x="122" y="236"/>
                    </a:lnTo>
                    <a:lnTo>
                      <a:pt x="120" y="236"/>
                    </a:lnTo>
                    <a:lnTo>
                      <a:pt x="120" y="238"/>
                    </a:lnTo>
                    <a:lnTo>
                      <a:pt x="120" y="240"/>
                    </a:lnTo>
                    <a:lnTo>
                      <a:pt x="122" y="241"/>
                    </a:lnTo>
                    <a:lnTo>
                      <a:pt x="124" y="247"/>
                    </a:lnTo>
                    <a:lnTo>
                      <a:pt x="120" y="245"/>
                    </a:lnTo>
                    <a:lnTo>
                      <a:pt x="118" y="245"/>
                    </a:lnTo>
                    <a:lnTo>
                      <a:pt x="116" y="240"/>
                    </a:lnTo>
                    <a:lnTo>
                      <a:pt x="116" y="245"/>
                    </a:lnTo>
                    <a:lnTo>
                      <a:pt x="116" y="247"/>
                    </a:lnTo>
                    <a:lnTo>
                      <a:pt x="115" y="249"/>
                    </a:lnTo>
                    <a:lnTo>
                      <a:pt x="113" y="250"/>
                    </a:lnTo>
                    <a:lnTo>
                      <a:pt x="115" y="252"/>
                    </a:lnTo>
                    <a:lnTo>
                      <a:pt x="116" y="250"/>
                    </a:lnTo>
                    <a:lnTo>
                      <a:pt x="118" y="249"/>
                    </a:lnTo>
                    <a:lnTo>
                      <a:pt x="118" y="249"/>
                    </a:lnTo>
                    <a:lnTo>
                      <a:pt x="118" y="252"/>
                    </a:lnTo>
                    <a:lnTo>
                      <a:pt x="118" y="256"/>
                    </a:lnTo>
                    <a:lnTo>
                      <a:pt x="116" y="257"/>
                    </a:lnTo>
                    <a:lnTo>
                      <a:pt x="113" y="256"/>
                    </a:lnTo>
                    <a:lnTo>
                      <a:pt x="111" y="257"/>
                    </a:lnTo>
                    <a:lnTo>
                      <a:pt x="109" y="256"/>
                    </a:lnTo>
                    <a:lnTo>
                      <a:pt x="108" y="259"/>
                    </a:lnTo>
                    <a:lnTo>
                      <a:pt x="108" y="263"/>
                    </a:lnTo>
                    <a:lnTo>
                      <a:pt x="106" y="265"/>
                    </a:lnTo>
                    <a:lnTo>
                      <a:pt x="102" y="265"/>
                    </a:lnTo>
                    <a:lnTo>
                      <a:pt x="102" y="270"/>
                    </a:lnTo>
                    <a:lnTo>
                      <a:pt x="104" y="270"/>
                    </a:lnTo>
                    <a:lnTo>
                      <a:pt x="108" y="268"/>
                    </a:lnTo>
                    <a:lnTo>
                      <a:pt x="108" y="270"/>
                    </a:lnTo>
                    <a:lnTo>
                      <a:pt x="104" y="272"/>
                    </a:lnTo>
                    <a:lnTo>
                      <a:pt x="102" y="274"/>
                    </a:lnTo>
                    <a:lnTo>
                      <a:pt x="104" y="277"/>
                    </a:lnTo>
                    <a:lnTo>
                      <a:pt x="102" y="279"/>
                    </a:lnTo>
                    <a:lnTo>
                      <a:pt x="100" y="281"/>
                    </a:lnTo>
                    <a:lnTo>
                      <a:pt x="95" y="277"/>
                    </a:lnTo>
                    <a:lnTo>
                      <a:pt x="95" y="277"/>
                    </a:lnTo>
                    <a:lnTo>
                      <a:pt x="92" y="281"/>
                    </a:lnTo>
                    <a:lnTo>
                      <a:pt x="90" y="284"/>
                    </a:lnTo>
                    <a:lnTo>
                      <a:pt x="90" y="286"/>
                    </a:lnTo>
                    <a:lnTo>
                      <a:pt x="81" y="297"/>
                    </a:lnTo>
                    <a:lnTo>
                      <a:pt x="83" y="299"/>
                    </a:lnTo>
                    <a:lnTo>
                      <a:pt x="83" y="300"/>
                    </a:lnTo>
                    <a:lnTo>
                      <a:pt x="75" y="304"/>
                    </a:lnTo>
                    <a:lnTo>
                      <a:pt x="75" y="307"/>
                    </a:lnTo>
                    <a:lnTo>
                      <a:pt x="77" y="307"/>
                    </a:lnTo>
                    <a:lnTo>
                      <a:pt x="81" y="307"/>
                    </a:lnTo>
                    <a:lnTo>
                      <a:pt x="79" y="311"/>
                    </a:lnTo>
                    <a:lnTo>
                      <a:pt x="81" y="315"/>
                    </a:lnTo>
                    <a:lnTo>
                      <a:pt x="83" y="316"/>
                    </a:lnTo>
                    <a:lnTo>
                      <a:pt x="100" y="306"/>
                    </a:lnTo>
                    <a:lnTo>
                      <a:pt x="102" y="302"/>
                    </a:lnTo>
                    <a:lnTo>
                      <a:pt x="102" y="304"/>
                    </a:lnTo>
                    <a:lnTo>
                      <a:pt x="102" y="306"/>
                    </a:lnTo>
                    <a:lnTo>
                      <a:pt x="99" y="307"/>
                    </a:lnTo>
                    <a:lnTo>
                      <a:pt x="95" y="307"/>
                    </a:lnTo>
                    <a:lnTo>
                      <a:pt x="90" y="313"/>
                    </a:lnTo>
                    <a:lnTo>
                      <a:pt x="92" y="315"/>
                    </a:lnTo>
                    <a:lnTo>
                      <a:pt x="92" y="316"/>
                    </a:lnTo>
                    <a:lnTo>
                      <a:pt x="86" y="318"/>
                    </a:lnTo>
                    <a:lnTo>
                      <a:pt x="83" y="318"/>
                    </a:lnTo>
                    <a:lnTo>
                      <a:pt x="83" y="318"/>
                    </a:lnTo>
                    <a:lnTo>
                      <a:pt x="83" y="320"/>
                    </a:lnTo>
                    <a:lnTo>
                      <a:pt x="83" y="322"/>
                    </a:lnTo>
                    <a:lnTo>
                      <a:pt x="79" y="320"/>
                    </a:lnTo>
                    <a:lnTo>
                      <a:pt x="79" y="318"/>
                    </a:lnTo>
                    <a:lnTo>
                      <a:pt x="77" y="313"/>
                    </a:lnTo>
                    <a:lnTo>
                      <a:pt x="75" y="313"/>
                    </a:lnTo>
                    <a:lnTo>
                      <a:pt x="74" y="313"/>
                    </a:lnTo>
                    <a:lnTo>
                      <a:pt x="74" y="313"/>
                    </a:lnTo>
                    <a:lnTo>
                      <a:pt x="72" y="315"/>
                    </a:lnTo>
                    <a:lnTo>
                      <a:pt x="70" y="316"/>
                    </a:lnTo>
                    <a:lnTo>
                      <a:pt x="68" y="318"/>
                    </a:lnTo>
                    <a:lnTo>
                      <a:pt x="70" y="320"/>
                    </a:lnTo>
                    <a:lnTo>
                      <a:pt x="72" y="322"/>
                    </a:lnTo>
                    <a:lnTo>
                      <a:pt x="68" y="324"/>
                    </a:lnTo>
                    <a:lnTo>
                      <a:pt x="67" y="322"/>
                    </a:lnTo>
                    <a:lnTo>
                      <a:pt x="67" y="318"/>
                    </a:lnTo>
                    <a:lnTo>
                      <a:pt x="67" y="316"/>
                    </a:lnTo>
                    <a:lnTo>
                      <a:pt x="58" y="320"/>
                    </a:lnTo>
                    <a:lnTo>
                      <a:pt x="58" y="322"/>
                    </a:lnTo>
                    <a:lnTo>
                      <a:pt x="56" y="325"/>
                    </a:lnTo>
                    <a:lnTo>
                      <a:pt x="54" y="324"/>
                    </a:lnTo>
                    <a:lnTo>
                      <a:pt x="54" y="327"/>
                    </a:lnTo>
                    <a:lnTo>
                      <a:pt x="54" y="327"/>
                    </a:lnTo>
                    <a:lnTo>
                      <a:pt x="50" y="327"/>
                    </a:lnTo>
                    <a:lnTo>
                      <a:pt x="50" y="327"/>
                    </a:lnTo>
                    <a:lnTo>
                      <a:pt x="50" y="325"/>
                    </a:lnTo>
                    <a:lnTo>
                      <a:pt x="50" y="325"/>
                    </a:lnTo>
                    <a:lnTo>
                      <a:pt x="49" y="327"/>
                    </a:lnTo>
                    <a:lnTo>
                      <a:pt x="49" y="329"/>
                    </a:lnTo>
                    <a:lnTo>
                      <a:pt x="49" y="329"/>
                    </a:lnTo>
                    <a:lnTo>
                      <a:pt x="45" y="329"/>
                    </a:lnTo>
                    <a:lnTo>
                      <a:pt x="42" y="331"/>
                    </a:lnTo>
                    <a:lnTo>
                      <a:pt x="40" y="338"/>
                    </a:lnTo>
                    <a:lnTo>
                      <a:pt x="38" y="336"/>
                    </a:lnTo>
                    <a:lnTo>
                      <a:pt x="34" y="336"/>
                    </a:lnTo>
                    <a:lnTo>
                      <a:pt x="33" y="338"/>
                    </a:lnTo>
                    <a:lnTo>
                      <a:pt x="31" y="340"/>
                    </a:lnTo>
                    <a:lnTo>
                      <a:pt x="34" y="343"/>
                    </a:lnTo>
                    <a:lnTo>
                      <a:pt x="33" y="345"/>
                    </a:lnTo>
                    <a:lnTo>
                      <a:pt x="36" y="345"/>
                    </a:lnTo>
                    <a:lnTo>
                      <a:pt x="38" y="343"/>
                    </a:lnTo>
                    <a:lnTo>
                      <a:pt x="40" y="345"/>
                    </a:lnTo>
                    <a:lnTo>
                      <a:pt x="42" y="347"/>
                    </a:lnTo>
                    <a:lnTo>
                      <a:pt x="40" y="349"/>
                    </a:lnTo>
                    <a:lnTo>
                      <a:pt x="40" y="350"/>
                    </a:lnTo>
                    <a:lnTo>
                      <a:pt x="38" y="350"/>
                    </a:lnTo>
                    <a:lnTo>
                      <a:pt x="27" y="349"/>
                    </a:lnTo>
                    <a:lnTo>
                      <a:pt x="25" y="350"/>
                    </a:lnTo>
                    <a:lnTo>
                      <a:pt x="24" y="350"/>
                    </a:lnTo>
                    <a:lnTo>
                      <a:pt x="22" y="350"/>
                    </a:lnTo>
                    <a:lnTo>
                      <a:pt x="22" y="352"/>
                    </a:lnTo>
                    <a:lnTo>
                      <a:pt x="24" y="352"/>
                    </a:lnTo>
                    <a:lnTo>
                      <a:pt x="22" y="354"/>
                    </a:lnTo>
                    <a:lnTo>
                      <a:pt x="22" y="356"/>
                    </a:lnTo>
                    <a:lnTo>
                      <a:pt x="24" y="354"/>
                    </a:lnTo>
                    <a:lnTo>
                      <a:pt x="25" y="354"/>
                    </a:lnTo>
                    <a:lnTo>
                      <a:pt x="24" y="357"/>
                    </a:lnTo>
                    <a:lnTo>
                      <a:pt x="25" y="363"/>
                    </a:lnTo>
                    <a:lnTo>
                      <a:pt x="24" y="365"/>
                    </a:lnTo>
                    <a:lnTo>
                      <a:pt x="24" y="359"/>
                    </a:lnTo>
                    <a:lnTo>
                      <a:pt x="22" y="357"/>
                    </a:lnTo>
                    <a:lnTo>
                      <a:pt x="18" y="359"/>
                    </a:lnTo>
                    <a:lnTo>
                      <a:pt x="17" y="365"/>
                    </a:lnTo>
                    <a:lnTo>
                      <a:pt x="18" y="366"/>
                    </a:lnTo>
                    <a:lnTo>
                      <a:pt x="18" y="368"/>
                    </a:lnTo>
                    <a:lnTo>
                      <a:pt x="17" y="366"/>
                    </a:lnTo>
                    <a:lnTo>
                      <a:pt x="15" y="365"/>
                    </a:lnTo>
                    <a:lnTo>
                      <a:pt x="13" y="365"/>
                    </a:lnTo>
                    <a:lnTo>
                      <a:pt x="8" y="365"/>
                    </a:lnTo>
                    <a:lnTo>
                      <a:pt x="8" y="366"/>
                    </a:lnTo>
                    <a:lnTo>
                      <a:pt x="9" y="368"/>
                    </a:lnTo>
                    <a:lnTo>
                      <a:pt x="4" y="365"/>
                    </a:lnTo>
                    <a:lnTo>
                      <a:pt x="2" y="366"/>
                    </a:lnTo>
                    <a:lnTo>
                      <a:pt x="4" y="370"/>
                    </a:lnTo>
                    <a:lnTo>
                      <a:pt x="4" y="372"/>
                    </a:lnTo>
                    <a:lnTo>
                      <a:pt x="4" y="372"/>
                    </a:lnTo>
                    <a:lnTo>
                      <a:pt x="20" y="370"/>
                    </a:lnTo>
                    <a:lnTo>
                      <a:pt x="15" y="374"/>
                    </a:lnTo>
                    <a:lnTo>
                      <a:pt x="17" y="374"/>
                    </a:lnTo>
                    <a:lnTo>
                      <a:pt x="22" y="374"/>
                    </a:lnTo>
                    <a:lnTo>
                      <a:pt x="22" y="374"/>
                    </a:lnTo>
                    <a:lnTo>
                      <a:pt x="20" y="375"/>
                    </a:lnTo>
                    <a:lnTo>
                      <a:pt x="11" y="375"/>
                    </a:lnTo>
                    <a:lnTo>
                      <a:pt x="9" y="375"/>
                    </a:lnTo>
                    <a:lnTo>
                      <a:pt x="8" y="375"/>
                    </a:lnTo>
                    <a:lnTo>
                      <a:pt x="4" y="377"/>
                    </a:lnTo>
                    <a:lnTo>
                      <a:pt x="4" y="379"/>
                    </a:lnTo>
                    <a:lnTo>
                      <a:pt x="2" y="379"/>
                    </a:lnTo>
                    <a:lnTo>
                      <a:pt x="0" y="379"/>
                    </a:lnTo>
                    <a:lnTo>
                      <a:pt x="0" y="381"/>
                    </a:lnTo>
                    <a:lnTo>
                      <a:pt x="4" y="382"/>
                    </a:lnTo>
                    <a:lnTo>
                      <a:pt x="4" y="384"/>
                    </a:lnTo>
                    <a:lnTo>
                      <a:pt x="4" y="386"/>
                    </a:lnTo>
                    <a:lnTo>
                      <a:pt x="0" y="391"/>
                    </a:lnTo>
                    <a:lnTo>
                      <a:pt x="2" y="393"/>
                    </a:lnTo>
                    <a:lnTo>
                      <a:pt x="0" y="393"/>
                    </a:lnTo>
                    <a:lnTo>
                      <a:pt x="0" y="397"/>
                    </a:lnTo>
                    <a:lnTo>
                      <a:pt x="2" y="397"/>
                    </a:lnTo>
                    <a:lnTo>
                      <a:pt x="2" y="399"/>
                    </a:lnTo>
                    <a:lnTo>
                      <a:pt x="8" y="400"/>
                    </a:lnTo>
                    <a:lnTo>
                      <a:pt x="17" y="397"/>
                    </a:lnTo>
                    <a:lnTo>
                      <a:pt x="18" y="399"/>
                    </a:lnTo>
                    <a:lnTo>
                      <a:pt x="22" y="399"/>
                    </a:lnTo>
                    <a:lnTo>
                      <a:pt x="24" y="390"/>
                    </a:lnTo>
                    <a:lnTo>
                      <a:pt x="25" y="393"/>
                    </a:lnTo>
                    <a:lnTo>
                      <a:pt x="24" y="397"/>
                    </a:lnTo>
                    <a:lnTo>
                      <a:pt x="25" y="397"/>
                    </a:lnTo>
                    <a:lnTo>
                      <a:pt x="29" y="397"/>
                    </a:lnTo>
                    <a:lnTo>
                      <a:pt x="31" y="397"/>
                    </a:lnTo>
                    <a:lnTo>
                      <a:pt x="33" y="399"/>
                    </a:lnTo>
                    <a:lnTo>
                      <a:pt x="36" y="395"/>
                    </a:lnTo>
                    <a:lnTo>
                      <a:pt x="36" y="388"/>
                    </a:lnTo>
                    <a:lnTo>
                      <a:pt x="40" y="386"/>
                    </a:lnTo>
                    <a:lnTo>
                      <a:pt x="42" y="386"/>
                    </a:lnTo>
                    <a:lnTo>
                      <a:pt x="38" y="391"/>
                    </a:lnTo>
                    <a:lnTo>
                      <a:pt x="38" y="397"/>
                    </a:lnTo>
                    <a:lnTo>
                      <a:pt x="40" y="395"/>
                    </a:lnTo>
                    <a:lnTo>
                      <a:pt x="42" y="395"/>
                    </a:lnTo>
                    <a:lnTo>
                      <a:pt x="43" y="395"/>
                    </a:lnTo>
                    <a:lnTo>
                      <a:pt x="38" y="399"/>
                    </a:lnTo>
                    <a:lnTo>
                      <a:pt x="33" y="400"/>
                    </a:lnTo>
                    <a:lnTo>
                      <a:pt x="33" y="402"/>
                    </a:lnTo>
                    <a:lnTo>
                      <a:pt x="34" y="406"/>
                    </a:lnTo>
                    <a:lnTo>
                      <a:pt x="31" y="407"/>
                    </a:lnTo>
                    <a:lnTo>
                      <a:pt x="31" y="404"/>
                    </a:lnTo>
                    <a:lnTo>
                      <a:pt x="29" y="402"/>
                    </a:lnTo>
                    <a:lnTo>
                      <a:pt x="27" y="400"/>
                    </a:lnTo>
                    <a:lnTo>
                      <a:pt x="24" y="400"/>
                    </a:lnTo>
                    <a:lnTo>
                      <a:pt x="20" y="400"/>
                    </a:lnTo>
                    <a:lnTo>
                      <a:pt x="17" y="400"/>
                    </a:lnTo>
                    <a:lnTo>
                      <a:pt x="15" y="400"/>
                    </a:lnTo>
                    <a:lnTo>
                      <a:pt x="11" y="400"/>
                    </a:lnTo>
                    <a:lnTo>
                      <a:pt x="9" y="402"/>
                    </a:lnTo>
                    <a:lnTo>
                      <a:pt x="4" y="402"/>
                    </a:lnTo>
                    <a:lnTo>
                      <a:pt x="2" y="406"/>
                    </a:lnTo>
                    <a:lnTo>
                      <a:pt x="2" y="407"/>
                    </a:lnTo>
                    <a:lnTo>
                      <a:pt x="4" y="409"/>
                    </a:lnTo>
                    <a:lnTo>
                      <a:pt x="6" y="407"/>
                    </a:lnTo>
                    <a:lnTo>
                      <a:pt x="6" y="413"/>
                    </a:lnTo>
                    <a:lnTo>
                      <a:pt x="2" y="411"/>
                    </a:lnTo>
                    <a:lnTo>
                      <a:pt x="0" y="409"/>
                    </a:lnTo>
                    <a:lnTo>
                      <a:pt x="0" y="411"/>
                    </a:lnTo>
                    <a:lnTo>
                      <a:pt x="0" y="411"/>
                    </a:lnTo>
                    <a:lnTo>
                      <a:pt x="0" y="411"/>
                    </a:lnTo>
                    <a:lnTo>
                      <a:pt x="4" y="416"/>
                    </a:lnTo>
                    <a:lnTo>
                      <a:pt x="6" y="416"/>
                    </a:lnTo>
                    <a:lnTo>
                      <a:pt x="9" y="415"/>
                    </a:lnTo>
                    <a:lnTo>
                      <a:pt x="11" y="415"/>
                    </a:lnTo>
                    <a:lnTo>
                      <a:pt x="6" y="420"/>
                    </a:lnTo>
                    <a:lnTo>
                      <a:pt x="8" y="422"/>
                    </a:lnTo>
                    <a:lnTo>
                      <a:pt x="4" y="424"/>
                    </a:lnTo>
                    <a:lnTo>
                      <a:pt x="2" y="425"/>
                    </a:lnTo>
                    <a:lnTo>
                      <a:pt x="4" y="427"/>
                    </a:lnTo>
                    <a:lnTo>
                      <a:pt x="4" y="429"/>
                    </a:lnTo>
                    <a:lnTo>
                      <a:pt x="6" y="431"/>
                    </a:lnTo>
                    <a:lnTo>
                      <a:pt x="8" y="429"/>
                    </a:lnTo>
                    <a:lnTo>
                      <a:pt x="9" y="427"/>
                    </a:lnTo>
                    <a:lnTo>
                      <a:pt x="9" y="429"/>
                    </a:lnTo>
                    <a:lnTo>
                      <a:pt x="11" y="434"/>
                    </a:lnTo>
                    <a:lnTo>
                      <a:pt x="9" y="434"/>
                    </a:lnTo>
                    <a:lnTo>
                      <a:pt x="8" y="436"/>
                    </a:lnTo>
                    <a:lnTo>
                      <a:pt x="8" y="438"/>
                    </a:lnTo>
                    <a:lnTo>
                      <a:pt x="8" y="438"/>
                    </a:lnTo>
                    <a:lnTo>
                      <a:pt x="11" y="436"/>
                    </a:lnTo>
                    <a:lnTo>
                      <a:pt x="13" y="432"/>
                    </a:lnTo>
                    <a:lnTo>
                      <a:pt x="13" y="429"/>
                    </a:lnTo>
                    <a:lnTo>
                      <a:pt x="17" y="427"/>
                    </a:lnTo>
                    <a:lnTo>
                      <a:pt x="22" y="418"/>
                    </a:lnTo>
                    <a:lnTo>
                      <a:pt x="24" y="416"/>
                    </a:lnTo>
                    <a:lnTo>
                      <a:pt x="25" y="418"/>
                    </a:lnTo>
                    <a:lnTo>
                      <a:pt x="25" y="418"/>
                    </a:lnTo>
                    <a:lnTo>
                      <a:pt x="29" y="418"/>
                    </a:lnTo>
                    <a:lnTo>
                      <a:pt x="33" y="418"/>
                    </a:lnTo>
                    <a:lnTo>
                      <a:pt x="27" y="420"/>
                    </a:lnTo>
                    <a:lnTo>
                      <a:pt x="25" y="425"/>
                    </a:lnTo>
                    <a:lnTo>
                      <a:pt x="25" y="422"/>
                    </a:lnTo>
                    <a:lnTo>
                      <a:pt x="24" y="422"/>
                    </a:lnTo>
                    <a:lnTo>
                      <a:pt x="18" y="429"/>
                    </a:lnTo>
                    <a:lnTo>
                      <a:pt x="20" y="431"/>
                    </a:lnTo>
                    <a:lnTo>
                      <a:pt x="20" y="431"/>
                    </a:lnTo>
                    <a:lnTo>
                      <a:pt x="18" y="432"/>
                    </a:lnTo>
                    <a:lnTo>
                      <a:pt x="11" y="440"/>
                    </a:lnTo>
                    <a:lnTo>
                      <a:pt x="15" y="441"/>
                    </a:lnTo>
                    <a:lnTo>
                      <a:pt x="20" y="441"/>
                    </a:lnTo>
                    <a:lnTo>
                      <a:pt x="22" y="440"/>
                    </a:lnTo>
                    <a:lnTo>
                      <a:pt x="22" y="441"/>
                    </a:lnTo>
                    <a:lnTo>
                      <a:pt x="17" y="443"/>
                    </a:lnTo>
                    <a:lnTo>
                      <a:pt x="15" y="445"/>
                    </a:lnTo>
                    <a:lnTo>
                      <a:pt x="15" y="447"/>
                    </a:lnTo>
                    <a:lnTo>
                      <a:pt x="11" y="447"/>
                    </a:lnTo>
                    <a:lnTo>
                      <a:pt x="9" y="447"/>
                    </a:lnTo>
                    <a:lnTo>
                      <a:pt x="8" y="447"/>
                    </a:lnTo>
                    <a:lnTo>
                      <a:pt x="4" y="452"/>
                    </a:lnTo>
                    <a:lnTo>
                      <a:pt x="4" y="456"/>
                    </a:lnTo>
                    <a:lnTo>
                      <a:pt x="6" y="456"/>
                    </a:lnTo>
                    <a:lnTo>
                      <a:pt x="6" y="457"/>
                    </a:lnTo>
                    <a:lnTo>
                      <a:pt x="8" y="457"/>
                    </a:lnTo>
                    <a:lnTo>
                      <a:pt x="9" y="454"/>
                    </a:lnTo>
                    <a:lnTo>
                      <a:pt x="9" y="457"/>
                    </a:lnTo>
                    <a:lnTo>
                      <a:pt x="11" y="457"/>
                    </a:lnTo>
                    <a:lnTo>
                      <a:pt x="13" y="456"/>
                    </a:lnTo>
                    <a:lnTo>
                      <a:pt x="13" y="454"/>
                    </a:lnTo>
                    <a:lnTo>
                      <a:pt x="15" y="454"/>
                    </a:lnTo>
                    <a:lnTo>
                      <a:pt x="18" y="452"/>
                    </a:lnTo>
                    <a:lnTo>
                      <a:pt x="20" y="450"/>
                    </a:lnTo>
                    <a:lnTo>
                      <a:pt x="22" y="452"/>
                    </a:lnTo>
                    <a:lnTo>
                      <a:pt x="17" y="456"/>
                    </a:lnTo>
                    <a:lnTo>
                      <a:pt x="18" y="456"/>
                    </a:lnTo>
                    <a:lnTo>
                      <a:pt x="18" y="459"/>
                    </a:lnTo>
                    <a:lnTo>
                      <a:pt x="17" y="465"/>
                    </a:lnTo>
                    <a:lnTo>
                      <a:pt x="15" y="466"/>
                    </a:lnTo>
                    <a:lnTo>
                      <a:pt x="15" y="468"/>
                    </a:lnTo>
                    <a:lnTo>
                      <a:pt x="13" y="468"/>
                    </a:lnTo>
                    <a:lnTo>
                      <a:pt x="11" y="470"/>
                    </a:lnTo>
                    <a:lnTo>
                      <a:pt x="11" y="466"/>
                    </a:lnTo>
                    <a:lnTo>
                      <a:pt x="9" y="466"/>
                    </a:lnTo>
                    <a:lnTo>
                      <a:pt x="8" y="477"/>
                    </a:lnTo>
                    <a:lnTo>
                      <a:pt x="22" y="490"/>
                    </a:lnTo>
                    <a:lnTo>
                      <a:pt x="25" y="490"/>
                    </a:lnTo>
                    <a:lnTo>
                      <a:pt x="27" y="486"/>
                    </a:lnTo>
                    <a:lnTo>
                      <a:pt x="27" y="495"/>
                    </a:lnTo>
                    <a:lnTo>
                      <a:pt x="29" y="493"/>
                    </a:lnTo>
                    <a:lnTo>
                      <a:pt x="31" y="495"/>
                    </a:lnTo>
                    <a:lnTo>
                      <a:pt x="33" y="493"/>
                    </a:lnTo>
                    <a:lnTo>
                      <a:pt x="36" y="493"/>
                    </a:lnTo>
                    <a:lnTo>
                      <a:pt x="34" y="495"/>
                    </a:lnTo>
                    <a:lnTo>
                      <a:pt x="40" y="497"/>
                    </a:lnTo>
                    <a:lnTo>
                      <a:pt x="43" y="497"/>
                    </a:lnTo>
                    <a:lnTo>
                      <a:pt x="47" y="493"/>
                    </a:lnTo>
                    <a:lnTo>
                      <a:pt x="49" y="490"/>
                    </a:lnTo>
                    <a:lnTo>
                      <a:pt x="50" y="491"/>
                    </a:lnTo>
                    <a:lnTo>
                      <a:pt x="56" y="488"/>
                    </a:lnTo>
                    <a:lnTo>
                      <a:pt x="61" y="481"/>
                    </a:lnTo>
                    <a:lnTo>
                      <a:pt x="65" y="479"/>
                    </a:lnTo>
                    <a:lnTo>
                      <a:pt x="67" y="475"/>
                    </a:lnTo>
                    <a:lnTo>
                      <a:pt x="68" y="474"/>
                    </a:lnTo>
                    <a:lnTo>
                      <a:pt x="68" y="472"/>
                    </a:lnTo>
                    <a:lnTo>
                      <a:pt x="74" y="466"/>
                    </a:lnTo>
                    <a:lnTo>
                      <a:pt x="72" y="465"/>
                    </a:lnTo>
                    <a:lnTo>
                      <a:pt x="77" y="466"/>
                    </a:lnTo>
                    <a:lnTo>
                      <a:pt x="81" y="466"/>
                    </a:lnTo>
                    <a:lnTo>
                      <a:pt x="83" y="466"/>
                    </a:lnTo>
                    <a:lnTo>
                      <a:pt x="84" y="459"/>
                    </a:lnTo>
                    <a:lnTo>
                      <a:pt x="86" y="457"/>
                    </a:lnTo>
                    <a:lnTo>
                      <a:pt x="86" y="456"/>
                    </a:lnTo>
                    <a:lnTo>
                      <a:pt x="84" y="452"/>
                    </a:lnTo>
                    <a:lnTo>
                      <a:pt x="83" y="450"/>
                    </a:lnTo>
                    <a:lnTo>
                      <a:pt x="84" y="450"/>
                    </a:lnTo>
                    <a:lnTo>
                      <a:pt x="84" y="449"/>
                    </a:lnTo>
                    <a:lnTo>
                      <a:pt x="83" y="445"/>
                    </a:lnTo>
                    <a:lnTo>
                      <a:pt x="84" y="447"/>
                    </a:lnTo>
                    <a:lnTo>
                      <a:pt x="86" y="449"/>
                    </a:lnTo>
                    <a:lnTo>
                      <a:pt x="86" y="450"/>
                    </a:lnTo>
                    <a:lnTo>
                      <a:pt x="88" y="450"/>
                    </a:lnTo>
                    <a:lnTo>
                      <a:pt x="88" y="449"/>
                    </a:lnTo>
                    <a:lnTo>
                      <a:pt x="86" y="445"/>
                    </a:lnTo>
                    <a:lnTo>
                      <a:pt x="86" y="441"/>
                    </a:lnTo>
                    <a:lnTo>
                      <a:pt x="86" y="440"/>
                    </a:lnTo>
                    <a:lnTo>
                      <a:pt x="88" y="440"/>
                    </a:lnTo>
                    <a:lnTo>
                      <a:pt x="90" y="440"/>
                    </a:lnTo>
                    <a:lnTo>
                      <a:pt x="92" y="440"/>
                    </a:lnTo>
                    <a:lnTo>
                      <a:pt x="92" y="441"/>
                    </a:lnTo>
                    <a:lnTo>
                      <a:pt x="88" y="443"/>
                    </a:lnTo>
                    <a:lnTo>
                      <a:pt x="92" y="461"/>
                    </a:lnTo>
                    <a:lnTo>
                      <a:pt x="93" y="459"/>
                    </a:lnTo>
                    <a:lnTo>
                      <a:pt x="95" y="463"/>
                    </a:lnTo>
                    <a:lnTo>
                      <a:pt x="97" y="463"/>
                    </a:lnTo>
                    <a:lnTo>
                      <a:pt x="99" y="465"/>
                    </a:lnTo>
                    <a:lnTo>
                      <a:pt x="99" y="472"/>
                    </a:lnTo>
                    <a:lnTo>
                      <a:pt x="100" y="468"/>
                    </a:lnTo>
                    <a:lnTo>
                      <a:pt x="102" y="470"/>
                    </a:lnTo>
                    <a:lnTo>
                      <a:pt x="104" y="468"/>
                    </a:lnTo>
                    <a:lnTo>
                      <a:pt x="106" y="457"/>
                    </a:lnTo>
                    <a:lnTo>
                      <a:pt x="104" y="450"/>
                    </a:lnTo>
                    <a:lnTo>
                      <a:pt x="108" y="443"/>
                    </a:lnTo>
                    <a:lnTo>
                      <a:pt x="108" y="440"/>
                    </a:lnTo>
                    <a:lnTo>
                      <a:pt x="116" y="436"/>
                    </a:lnTo>
                    <a:lnTo>
                      <a:pt x="118" y="432"/>
                    </a:lnTo>
                    <a:lnTo>
                      <a:pt x="118" y="429"/>
                    </a:lnTo>
                    <a:lnTo>
                      <a:pt x="116" y="425"/>
                    </a:lnTo>
                    <a:lnTo>
                      <a:pt x="120" y="418"/>
                    </a:lnTo>
                    <a:lnTo>
                      <a:pt x="116" y="407"/>
                    </a:lnTo>
                    <a:lnTo>
                      <a:pt x="115" y="404"/>
                    </a:lnTo>
                    <a:lnTo>
                      <a:pt x="115" y="402"/>
                    </a:lnTo>
                    <a:lnTo>
                      <a:pt x="118" y="400"/>
                    </a:lnTo>
                    <a:lnTo>
                      <a:pt x="122" y="397"/>
                    </a:lnTo>
                    <a:lnTo>
                      <a:pt x="124" y="391"/>
                    </a:lnTo>
                    <a:lnTo>
                      <a:pt x="124" y="386"/>
                    </a:lnTo>
                    <a:lnTo>
                      <a:pt x="116" y="381"/>
                    </a:lnTo>
                    <a:lnTo>
                      <a:pt x="115" y="377"/>
                    </a:lnTo>
                    <a:lnTo>
                      <a:pt x="115" y="357"/>
                    </a:lnTo>
                    <a:lnTo>
                      <a:pt x="113" y="354"/>
                    </a:lnTo>
                    <a:lnTo>
                      <a:pt x="113" y="352"/>
                    </a:lnTo>
                    <a:lnTo>
                      <a:pt x="115" y="334"/>
                    </a:lnTo>
                    <a:lnTo>
                      <a:pt x="116" y="332"/>
                    </a:lnTo>
                    <a:lnTo>
                      <a:pt x="115" y="331"/>
                    </a:lnTo>
                    <a:lnTo>
                      <a:pt x="113" y="327"/>
                    </a:lnTo>
                    <a:lnTo>
                      <a:pt x="111" y="322"/>
                    </a:lnTo>
                    <a:lnTo>
                      <a:pt x="115" y="311"/>
                    </a:lnTo>
                    <a:lnTo>
                      <a:pt x="122" y="302"/>
                    </a:lnTo>
                    <a:lnTo>
                      <a:pt x="127" y="299"/>
                    </a:lnTo>
                    <a:lnTo>
                      <a:pt x="133" y="297"/>
                    </a:lnTo>
                    <a:lnTo>
                      <a:pt x="143" y="299"/>
                    </a:lnTo>
                    <a:lnTo>
                      <a:pt x="145" y="295"/>
                    </a:lnTo>
                    <a:lnTo>
                      <a:pt x="147" y="286"/>
                    </a:lnTo>
                    <a:lnTo>
                      <a:pt x="140" y="277"/>
                    </a:lnTo>
                    <a:lnTo>
                      <a:pt x="140" y="275"/>
                    </a:lnTo>
                    <a:lnTo>
                      <a:pt x="150" y="254"/>
                    </a:lnTo>
                    <a:lnTo>
                      <a:pt x="152" y="222"/>
                    </a:lnTo>
                    <a:lnTo>
                      <a:pt x="156" y="220"/>
                    </a:lnTo>
                    <a:lnTo>
                      <a:pt x="158" y="220"/>
                    </a:lnTo>
                    <a:lnTo>
                      <a:pt x="163" y="216"/>
                    </a:lnTo>
                    <a:lnTo>
                      <a:pt x="166" y="202"/>
                    </a:lnTo>
                    <a:lnTo>
                      <a:pt x="183" y="179"/>
                    </a:lnTo>
                    <a:lnTo>
                      <a:pt x="183" y="175"/>
                    </a:lnTo>
                    <a:lnTo>
                      <a:pt x="179" y="168"/>
                    </a:lnTo>
                    <a:lnTo>
                      <a:pt x="179" y="165"/>
                    </a:lnTo>
                    <a:lnTo>
                      <a:pt x="184" y="156"/>
                    </a:lnTo>
                    <a:lnTo>
                      <a:pt x="186" y="147"/>
                    </a:lnTo>
                    <a:lnTo>
                      <a:pt x="195" y="138"/>
                    </a:lnTo>
                    <a:lnTo>
                      <a:pt x="199" y="138"/>
                    </a:lnTo>
                    <a:lnTo>
                      <a:pt x="202" y="140"/>
                    </a:lnTo>
                    <a:lnTo>
                      <a:pt x="204" y="143"/>
                    </a:lnTo>
                    <a:lnTo>
                      <a:pt x="206" y="143"/>
                    </a:lnTo>
                    <a:lnTo>
                      <a:pt x="211" y="131"/>
                    </a:lnTo>
                    <a:lnTo>
                      <a:pt x="209" y="124"/>
                    </a:lnTo>
                    <a:lnTo>
                      <a:pt x="211" y="120"/>
                    </a:lnTo>
                    <a:lnTo>
                      <a:pt x="213" y="118"/>
                    </a:lnTo>
                    <a:lnTo>
                      <a:pt x="216" y="118"/>
                    </a:lnTo>
                    <a:lnTo>
                      <a:pt x="238" y="124"/>
                    </a:lnTo>
                    <a:lnTo>
                      <a:pt x="240" y="124"/>
                    </a:lnTo>
                    <a:lnTo>
                      <a:pt x="241" y="122"/>
                    </a:lnTo>
                    <a:lnTo>
                      <a:pt x="240" y="118"/>
                    </a:lnTo>
                    <a:lnTo>
                      <a:pt x="238" y="115"/>
                    </a:lnTo>
                    <a:lnTo>
                      <a:pt x="240" y="113"/>
                    </a:lnTo>
                    <a:lnTo>
                      <a:pt x="241" y="107"/>
                    </a:lnTo>
                    <a:lnTo>
                      <a:pt x="243" y="106"/>
                    </a:lnTo>
                    <a:lnTo>
                      <a:pt x="243" y="104"/>
                    </a:lnTo>
                    <a:lnTo>
                      <a:pt x="243" y="100"/>
                    </a:lnTo>
                    <a:lnTo>
                      <a:pt x="241" y="99"/>
                    </a:lnTo>
                    <a:lnTo>
                      <a:pt x="241" y="97"/>
                    </a:lnTo>
                    <a:lnTo>
                      <a:pt x="243" y="95"/>
                    </a:lnTo>
                    <a:lnTo>
                      <a:pt x="249" y="95"/>
                    </a:lnTo>
                    <a:lnTo>
                      <a:pt x="250" y="93"/>
                    </a:lnTo>
                    <a:lnTo>
                      <a:pt x="252" y="91"/>
                    </a:lnTo>
                    <a:lnTo>
                      <a:pt x="256" y="93"/>
                    </a:lnTo>
                    <a:lnTo>
                      <a:pt x="258" y="93"/>
                    </a:lnTo>
                    <a:lnTo>
                      <a:pt x="258" y="86"/>
                    </a:lnTo>
                    <a:lnTo>
                      <a:pt x="261" y="82"/>
                    </a:lnTo>
                    <a:lnTo>
                      <a:pt x="265" y="84"/>
                    </a:lnTo>
                    <a:lnTo>
                      <a:pt x="277" y="102"/>
                    </a:lnTo>
                    <a:lnTo>
                      <a:pt x="277" y="107"/>
                    </a:lnTo>
                    <a:lnTo>
                      <a:pt x="279" y="109"/>
                    </a:lnTo>
                    <a:lnTo>
                      <a:pt x="286" y="111"/>
                    </a:lnTo>
                    <a:lnTo>
                      <a:pt x="291" y="113"/>
                    </a:lnTo>
                    <a:lnTo>
                      <a:pt x="295" y="113"/>
                    </a:lnTo>
                    <a:lnTo>
                      <a:pt x="299" y="109"/>
                    </a:lnTo>
                    <a:lnTo>
                      <a:pt x="304" y="104"/>
                    </a:lnTo>
                    <a:lnTo>
                      <a:pt x="308" y="106"/>
                    </a:lnTo>
                    <a:lnTo>
                      <a:pt x="311" y="113"/>
                    </a:lnTo>
                    <a:lnTo>
                      <a:pt x="315" y="113"/>
                    </a:lnTo>
                    <a:lnTo>
                      <a:pt x="322" y="107"/>
                    </a:lnTo>
                    <a:lnTo>
                      <a:pt x="324" y="104"/>
                    </a:lnTo>
                    <a:lnTo>
                      <a:pt x="333" y="99"/>
                    </a:lnTo>
                    <a:lnTo>
                      <a:pt x="333" y="72"/>
                    </a:lnTo>
                    <a:lnTo>
                      <a:pt x="336" y="63"/>
                    </a:lnTo>
                    <a:lnTo>
                      <a:pt x="340" y="59"/>
                    </a:lnTo>
                    <a:lnTo>
                      <a:pt x="368" y="50"/>
                    </a:lnTo>
                    <a:lnTo>
                      <a:pt x="370" y="50"/>
                    </a:lnTo>
                    <a:lnTo>
                      <a:pt x="374" y="57"/>
                    </a:lnTo>
                    <a:lnTo>
                      <a:pt x="377" y="59"/>
                    </a:lnTo>
                    <a:lnTo>
                      <a:pt x="381" y="61"/>
                    </a:lnTo>
                    <a:lnTo>
                      <a:pt x="386" y="66"/>
                    </a:lnTo>
                    <a:lnTo>
                      <a:pt x="390" y="79"/>
                    </a:lnTo>
                    <a:lnTo>
                      <a:pt x="384" y="86"/>
                    </a:lnTo>
                    <a:lnTo>
                      <a:pt x="383" y="90"/>
                    </a:lnTo>
                    <a:lnTo>
                      <a:pt x="383" y="93"/>
                    </a:lnTo>
                    <a:lnTo>
                      <a:pt x="386" y="95"/>
                    </a:lnTo>
                    <a:lnTo>
                      <a:pt x="386" y="95"/>
                    </a:lnTo>
                    <a:lnTo>
                      <a:pt x="390" y="93"/>
                    </a:lnTo>
                    <a:lnTo>
                      <a:pt x="390" y="91"/>
                    </a:lnTo>
                    <a:lnTo>
                      <a:pt x="390" y="88"/>
                    </a:lnTo>
                    <a:lnTo>
                      <a:pt x="390" y="86"/>
                    </a:lnTo>
                    <a:lnTo>
                      <a:pt x="400" y="81"/>
                    </a:lnTo>
                    <a:lnTo>
                      <a:pt x="402" y="79"/>
                    </a:lnTo>
                    <a:lnTo>
                      <a:pt x="404" y="70"/>
                    </a:lnTo>
                    <a:lnTo>
                      <a:pt x="409" y="75"/>
                    </a:lnTo>
                    <a:lnTo>
                      <a:pt x="413" y="74"/>
                    </a:lnTo>
                    <a:lnTo>
                      <a:pt x="415" y="68"/>
                    </a:lnTo>
                    <a:lnTo>
                      <a:pt x="415" y="65"/>
                    </a:lnTo>
                    <a:lnTo>
                      <a:pt x="415" y="6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16" name="Freeform 2166"/>
              <p:cNvSpPr>
                <a:spLocks/>
              </p:cNvSpPr>
              <p:nvPr/>
            </p:nvSpPr>
            <p:spPr bwMode="auto">
              <a:xfrm>
                <a:off x="2887" y="1763"/>
                <a:ext cx="111" cy="64"/>
              </a:xfrm>
              <a:custGeom>
                <a:avLst/>
                <a:gdLst>
                  <a:gd name="T0" fmla="*/ 107 w 111"/>
                  <a:gd name="T1" fmla="*/ 41 h 64"/>
                  <a:gd name="T2" fmla="*/ 102 w 111"/>
                  <a:gd name="T3" fmla="*/ 44 h 64"/>
                  <a:gd name="T4" fmla="*/ 98 w 111"/>
                  <a:gd name="T5" fmla="*/ 46 h 64"/>
                  <a:gd name="T6" fmla="*/ 97 w 111"/>
                  <a:gd name="T7" fmla="*/ 53 h 64"/>
                  <a:gd name="T8" fmla="*/ 95 w 111"/>
                  <a:gd name="T9" fmla="*/ 55 h 64"/>
                  <a:gd name="T10" fmla="*/ 86 w 111"/>
                  <a:gd name="T11" fmla="*/ 59 h 64"/>
                  <a:gd name="T12" fmla="*/ 82 w 111"/>
                  <a:gd name="T13" fmla="*/ 57 h 64"/>
                  <a:gd name="T14" fmla="*/ 79 w 111"/>
                  <a:gd name="T15" fmla="*/ 61 h 64"/>
                  <a:gd name="T16" fmla="*/ 66 w 111"/>
                  <a:gd name="T17" fmla="*/ 57 h 64"/>
                  <a:gd name="T18" fmla="*/ 50 w 111"/>
                  <a:gd name="T19" fmla="*/ 52 h 64"/>
                  <a:gd name="T20" fmla="*/ 45 w 111"/>
                  <a:gd name="T21" fmla="*/ 61 h 64"/>
                  <a:gd name="T22" fmla="*/ 36 w 111"/>
                  <a:gd name="T23" fmla="*/ 61 h 64"/>
                  <a:gd name="T24" fmla="*/ 29 w 111"/>
                  <a:gd name="T25" fmla="*/ 59 h 64"/>
                  <a:gd name="T26" fmla="*/ 5 w 111"/>
                  <a:gd name="T27" fmla="*/ 28 h 64"/>
                  <a:gd name="T28" fmla="*/ 0 w 111"/>
                  <a:gd name="T29" fmla="*/ 23 h 64"/>
                  <a:gd name="T30" fmla="*/ 0 w 111"/>
                  <a:gd name="T31" fmla="*/ 19 h 64"/>
                  <a:gd name="T32" fmla="*/ 5 w 111"/>
                  <a:gd name="T33" fmla="*/ 23 h 64"/>
                  <a:gd name="T34" fmla="*/ 22 w 111"/>
                  <a:gd name="T35" fmla="*/ 12 h 64"/>
                  <a:gd name="T36" fmla="*/ 34 w 111"/>
                  <a:gd name="T37" fmla="*/ 5 h 64"/>
                  <a:gd name="T38" fmla="*/ 38 w 111"/>
                  <a:gd name="T39" fmla="*/ 0 h 64"/>
                  <a:gd name="T40" fmla="*/ 45 w 111"/>
                  <a:gd name="T41" fmla="*/ 7 h 64"/>
                  <a:gd name="T42" fmla="*/ 50 w 111"/>
                  <a:gd name="T43" fmla="*/ 3 h 64"/>
                  <a:gd name="T44" fmla="*/ 55 w 111"/>
                  <a:gd name="T45" fmla="*/ 7 h 64"/>
                  <a:gd name="T46" fmla="*/ 64 w 111"/>
                  <a:gd name="T47" fmla="*/ 9 h 64"/>
                  <a:gd name="T48" fmla="*/ 70 w 111"/>
                  <a:gd name="T49" fmla="*/ 12 h 64"/>
                  <a:gd name="T50" fmla="*/ 70 w 111"/>
                  <a:gd name="T51" fmla="*/ 14 h 64"/>
                  <a:gd name="T52" fmla="*/ 75 w 111"/>
                  <a:gd name="T53" fmla="*/ 21 h 64"/>
                  <a:gd name="T54" fmla="*/ 80 w 111"/>
                  <a:gd name="T55" fmla="*/ 21 h 64"/>
                  <a:gd name="T56" fmla="*/ 79 w 111"/>
                  <a:gd name="T57" fmla="*/ 18 h 64"/>
                  <a:gd name="T58" fmla="*/ 93 w 111"/>
                  <a:gd name="T59" fmla="*/ 25 h 64"/>
                  <a:gd name="T60" fmla="*/ 97 w 111"/>
                  <a:gd name="T61" fmla="*/ 27 h 64"/>
                  <a:gd name="T62" fmla="*/ 105 w 111"/>
                  <a:gd name="T63"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 h="64">
                    <a:moveTo>
                      <a:pt x="111" y="39"/>
                    </a:moveTo>
                    <a:lnTo>
                      <a:pt x="107" y="41"/>
                    </a:lnTo>
                    <a:lnTo>
                      <a:pt x="105" y="41"/>
                    </a:lnTo>
                    <a:lnTo>
                      <a:pt x="102" y="44"/>
                    </a:lnTo>
                    <a:lnTo>
                      <a:pt x="100" y="46"/>
                    </a:lnTo>
                    <a:lnTo>
                      <a:pt x="98" y="46"/>
                    </a:lnTo>
                    <a:lnTo>
                      <a:pt x="98" y="50"/>
                    </a:lnTo>
                    <a:lnTo>
                      <a:pt x="97" y="53"/>
                    </a:lnTo>
                    <a:lnTo>
                      <a:pt x="95" y="53"/>
                    </a:lnTo>
                    <a:lnTo>
                      <a:pt x="95" y="55"/>
                    </a:lnTo>
                    <a:lnTo>
                      <a:pt x="91" y="59"/>
                    </a:lnTo>
                    <a:lnTo>
                      <a:pt x="86" y="59"/>
                    </a:lnTo>
                    <a:lnTo>
                      <a:pt x="84" y="57"/>
                    </a:lnTo>
                    <a:lnTo>
                      <a:pt x="82" y="57"/>
                    </a:lnTo>
                    <a:lnTo>
                      <a:pt x="79" y="64"/>
                    </a:lnTo>
                    <a:lnTo>
                      <a:pt x="79" y="61"/>
                    </a:lnTo>
                    <a:lnTo>
                      <a:pt x="77" y="57"/>
                    </a:lnTo>
                    <a:lnTo>
                      <a:pt x="66" y="57"/>
                    </a:lnTo>
                    <a:lnTo>
                      <a:pt x="59" y="53"/>
                    </a:lnTo>
                    <a:lnTo>
                      <a:pt x="50" y="52"/>
                    </a:lnTo>
                    <a:lnTo>
                      <a:pt x="47" y="57"/>
                    </a:lnTo>
                    <a:lnTo>
                      <a:pt x="45" y="61"/>
                    </a:lnTo>
                    <a:lnTo>
                      <a:pt x="41" y="61"/>
                    </a:lnTo>
                    <a:lnTo>
                      <a:pt x="36" y="61"/>
                    </a:lnTo>
                    <a:lnTo>
                      <a:pt x="32" y="59"/>
                    </a:lnTo>
                    <a:lnTo>
                      <a:pt x="29" y="59"/>
                    </a:lnTo>
                    <a:lnTo>
                      <a:pt x="7" y="36"/>
                    </a:lnTo>
                    <a:lnTo>
                      <a:pt x="5" y="28"/>
                    </a:lnTo>
                    <a:lnTo>
                      <a:pt x="2" y="27"/>
                    </a:lnTo>
                    <a:lnTo>
                      <a:pt x="0" y="23"/>
                    </a:lnTo>
                    <a:lnTo>
                      <a:pt x="0" y="21"/>
                    </a:lnTo>
                    <a:lnTo>
                      <a:pt x="0" y="19"/>
                    </a:lnTo>
                    <a:lnTo>
                      <a:pt x="5" y="23"/>
                    </a:lnTo>
                    <a:lnTo>
                      <a:pt x="5" y="23"/>
                    </a:lnTo>
                    <a:lnTo>
                      <a:pt x="7" y="19"/>
                    </a:lnTo>
                    <a:lnTo>
                      <a:pt x="22" y="12"/>
                    </a:lnTo>
                    <a:lnTo>
                      <a:pt x="23" y="11"/>
                    </a:lnTo>
                    <a:lnTo>
                      <a:pt x="34" y="5"/>
                    </a:lnTo>
                    <a:lnTo>
                      <a:pt x="36" y="0"/>
                    </a:lnTo>
                    <a:lnTo>
                      <a:pt x="38" y="0"/>
                    </a:lnTo>
                    <a:lnTo>
                      <a:pt x="43" y="7"/>
                    </a:lnTo>
                    <a:lnTo>
                      <a:pt x="45" y="7"/>
                    </a:lnTo>
                    <a:lnTo>
                      <a:pt x="47" y="7"/>
                    </a:lnTo>
                    <a:lnTo>
                      <a:pt x="50" y="3"/>
                    </a:lnTo>
                    <a:lnTo>
                      <a:pt x="54" y="5"/>
                    </a:lnTo>
                    <a:lnTo>
                      <a:pt x="55" y="7"/>
                    </a:lnTo>
                    <a:lnTo>
                      <a:pt x="57" y="7"/>
                    </a:lnTo>
                    <a:lnTo>
                      <a:pt x="64" y="9"/>
                    </a:lnTo>
                    <a:lnTo>
                      <a:pt x="66" y="12"/>
                    </a:lnTo>
                    <a:lnTo>
                      <a:pt x="70" y="12"/>
                    </a:lnTo>
                    <a:lnTo>
                      <a:pt x="70" y="12"/>
                    </a:lnTo>
                    <a:lnTo>
                      <a:pt x="70" y="14"/>
                    </a:lnTo>
                    <a:lnTo>
                      <a:pt x="68" y="18"/>
                    </a:lnTo>
                    <a:lnTo>
                      <a:pt x="75" y="21"/>
                    </a:lnTo>
                    <a:lnTo>
                      <a:pt x="77" y="23"/>
                    </a:lnTo>
                    <a:lnTo>
                      <a:pt x="80" y="21"/>
                    </a:lnTo>
                    <a:lnTo>
                      <a:pt x="79" y="19"/>
                    </a:lnTo>
                    <a:lnTo>
                      <a:pt x="79" y="18"/>
                    </a:lnTo>
                    <a:lnTo>
                      <a:pt x="93" y="21"/>
                    </a:lnTo>
                    <a:lnTo>
                      <a:pt x="93" y="25"/>
                    </a:lnTo>
                    <a:lnTo>
                      <a:pt x="95" y="27"/>
                    </a:lnTo>
                    <a:lnTo>
                      <a:pt x="97" y="27"/>
                    </a:lnTo>
                    <a:lnTo>
                      <a:pt x="98" y="28"/>
                    </a:lnTo>
                    <a:lnTo>
                      <a:pt x="105" y="36"/>
                    </a:lnTo>
                    <a:lnTo>
                      <a:pt x="111" y="3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17" name="Freeform 2167"/>
              <p:cNvSpPr>
                <a:spLocks/>
              </p:cNvSpPr>
              <p:nvPr/>
            </p:nvSpPr>
            <p:spPr bwMode="auto">
              <a:xfrm>
                <a:off x="2887" y="1763"/>
                <a:ext cx="111" cy="64"/>
              </a:xfrm>
              <a:custGeom>
                <a:avLst/>
                <a:gdLst>
                  <a:gd name="T0" fmla="*/ 107 w 111"/>
                  <a:gd name="T1" fmla="*/ 41 h 64"/>
                  <a:gd name="T2" fmla="*/ 102 w 111"/>
                  <a:gd name="T3" fmla="*/ 44 h 64"/>
                  <a:gd name="T4" fmla="*/ 98 w 111"/>
                  <a:gd name="T5" fmla="*/ 46 h 64"/>
                  <a:gd name="T6" fmla="*/ 97 w 111"/>
                  <a:gd name="T7" fmla="*/ 53 h 64"/>
                  <a:gd name="T8" fmla="*/ 95 w 111"/>
                  <a:gd name="T9" fmla="*/ 55 h 64"/>
                  <a:gd name="T10" fmla="*/ 86 w 111"/>
                  <a:gd name="T11" fmla="*/ 59 h 64"/>
                  <a:gd name="T12" fmla="*/ 82 w 111"/>
                  <a:gd name="T13" fmla="*/ 57 h 64"/>
                  <a:gd name="T14" fmla="*/ 79 w 111"/>
                  <a:gd name="T15" fmla="*/ 61 h 64"/>
                  <a:gd name="T16" fmla="*/ 66 w 111"/>
                  <a:gd name="T17" fmla="*/ 57 h 64"/>
                  <a:gd name="T18" fmla="*/ 50 w 111"/>
                  <a:gd name="T19" fmla="*/ 52 h 64"/>
                  <a:gd name="T20" fmla="*/ 45 w 111"/>
                  <a:gd name="T21" fmla="*/ 61 h 64"/>
                  <a:gd name="T22" fmla="*/ 36 w 111"/>
                  <a:gd name="T23" fmla="*/ 61 h 64"/>
                  <a:gd name="T24" fmla="*/ 29 w 111"/>
                  <a:gd name="T25" fmla="*/ 59 h 64"/>
                  <a:gd name="T26" fmla="*/ 5 w 111"/>
                  <a:gd name="T27" fmla="*/ 28 h 64"/>
                  <a:gd name="T28" fmla="*/ 0 w 111"/>
                  <a:gd name="T29" fmla="*/ 23 h 64"/>
                  <a:gd name="T30" fmla="*/ 0 w 111"/>
                  <a:gd name="T31" fmla="*/ 19 h 64"/>
                  <a:gd name="T32" fmla="*/ 5 w 111"/>
                  <a:gd name="T33" fmla="*/ 23 h 64"/>
                  <a:gd name="T34" fmla="*/ 22 w 111"/>
                  <a:gd name="T35" fmla="*/ 12 h 64"/>
                  <a:gd name="T36" fmla="*/ 34 w 111"/>
                  <a:gd name="T37" fmla="*/ 5 h 64"/>
                  <a:gd name="T38" fmla="*/ 38 w 111"/>
                  <a:gd name="T39" fmla="*/ 0 h 64"/>
                  <a:gd name="T40" fmla="*/ 45 w 111"/>
                  <a:gd name="T41" fmla="*/ 7 h 64"/>
                  <a:gd name="T42" fmla="*/ 50 w 111"/>
                  <a:gd name="T43" fmla="*/ 3 h 64"/>
                  <a:gd name="T44" fmla="*/ 55 w 111"/>
                  <a:gd name="T45" fmla="*/ 7 h 64"/>
                  <a:gd name="T46" fmla="*/ 64 w 111"/>
                  <a:gd name="T47" fmla="*/ 9 h 64"/>
                  <a:gd name="T48" fmla="*/ 70 w 111"/>
                  <a:gd name="T49" fmla="*/ 12 h 64"/>
                  <a:gd name="T50" fmla="*/ 70 w 111"/>
                  <a:gd name="T51" fmla="*/ 14 h 64"/>
                  <a:gd name="T52" fmla="*/ 75 w 111"/>
                  <a:gd name="T53" fmla="*/ 21 h 64"/>
                  <a:gd name="T54" fmla="*/ 80 w 111"/>
                  <a:gd name="T55" fmla="*/ 21 h 64"/>
                  <a:gd name="T56" fmla="*/ 79 w 111"/>
                  <a:gd name="T57" fmla="*/ 18 h 64"/>
                  <a:gd name="T58" fmla="*/ 93 w 111"/>
                  <a:gd name="T59" fmla="*/ 25 h 64"/>
                  <a:gd name="T60" fmla="*/ 97 w 111"/>
                  <a:gd name="T61" fmla="*/ 27 h 64"/>
                  <a:gd name="T62" fmla="*/ 105 w 111"/>
                  <a:gd name="T63"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1" h="64">
                    <a:moveTo>
                      <a:pt x="111" y="39"/>
                    </a:moveTo>
                    <a:lnTo>
                      <a:pt x="107" y="41"/>
                    </a:lnTo>
                    <a:lnTo>
                      <a:pt x="105" y="41"/>
                    </a:lnTo>
                    <a:lnTo>
                      <a:pt x="102" y="44"/>
                    </a:lnTo>
                    <a:lnTo>
                      <a:pt x="100" y="46"/>
                    </a:lnTo>
                    <a:lnTo>
                      <a:pt x="98" y="46"/>
                    </a:lnTo>
                    <a:lnTo>
                      <a:pt x="98" y="50"/>
                    </a:lnTo>
                    <a:lnTo>
                      <a:pt x="97" y="53"/>
                    </a:lnTo>
                    <a:lnTo>
                      <a:pt x="95" y="53"/>
                    </a:lnTo>
                    <a:lnTo>
                      <a:pt x="95" y="55"/>
                    </a:lnTo>
                    <a:lnTo>
                      <a:pt x="91" y="59"/>
                    </a:lnTo>
                    <a:lnTo>
                      <a:pt x="86" y="59"/>
                    </a:lnTo>
                    <a:lnTo>
                      <a:pt x="84" y="57"/>
                    </a:lnTo>
                    <a:lnTo>
                      <a:pt x="82" y="57"/>
                    </a:lnTo>
                    <a:lnTo>
                      <a:pt x="79" y="64"/>
                    </a:lnTo>
                    <a:lnTo>
                      <a:pt x="79" y="61"/>
                    </a:lnTo>
                    <a:lnTo>
                      <a:pt x="77" y="57"/>
                    </a:lnTo>
                    <a:lnTo>
                      <a:pt x="66" y="57"/>
                    </a:lnTo>
                    <a:lnTo>
                      <a:pt x="59" y="53"/>
                    </a:lnTo>
                    <a:lnTo>
                      <a:pt x="50" y="52"/>
                    </a:lnTo>
                    <a:lnTo>
                      <a:pt x="47" y="57"/>
                    </a:lnTo>
                    <a:lnTo>
                      <a:pt x="45" y="61"/>
                    </a:lnTo>
                    <a:lnTo>
                      <a:pt x="41" y="61"/>
                    </a:lnTo>
                    <a:lnTo>
                      <a:pt x="36" y="61"/>
                    </a:lnTo>
                    <a:lnTo>
                      <a:pt x="32" y="59"/>
                    </a:lnTo>
                    <a:lnTo>
                      <a:pt x="29" y="59"/>
                    </a:lnTo>
                    <a:lnTo>
                      <a:pt x="7" y="36"/>
                    </a:lnTo>
                    <a:lnTo>
                      <a:pt x="5" y="28"/>
                    </a:lnTo>
                    <a:lnTo>
                      <a:pt x="2" y="27"/>
                    </a:lnTo>
                    <a:lnTo>
                      <a:pt x="0" y="23"/>
                    </a:lnTo>
                    <a:lnTo>
                      <a:pt x="0" y="21"/>
                    </a:lnTo>
                    <a:lnTo>
                      <a:pt x="0" y="19"/>
                    </a:lnTo>
                    <a:lnTo>
                      <a:pt x="5" y="23"/>
                    </a:lnTo>
                    <a:lnTo>
                      <a:pt x="5" y="23"/>
                    </a:lnTo>
                    <a:lnTo>
                      <a:pt x="7" y="19"/>
                    </a:lnTo>
                    <a:lnTo>
                      <a:pt x="22" y="12"/>
                    </a:lnTo>
                    <a:lnTo>
                      <a:pt x="23" y="11"/>
                    </a:lnTo>
                    <a:lnTo>
                      <a:pt x="34" y="5"/>
                    </a:lnTo>
                    <a:lnTo>
                      <a:pt x="36" y="0"/>
                    </a:lnTo>
                    <a:lnTo>
                      <a:pt x="38" y="0"/>
                    </a:lnTo>
                    <a:lnTo>
                      <a:pt x="43" y="7"/>
                    </a:lnTo>
                    <a:lnTo>
                      <a:pt x="45" y="7"/>
                    </a:lnTo>
                    <a:lnTo>
                      <a:pt x="47" y="7"/>
                    </a:lnTo>
                    <a:lnTo>
                      <a:pt x="50" y="3"/>
                    </a:lnTo>
                    <a:lnTo>
                      <a:pt x="54" y="5"/>
                    </a:lnTo>
                    <a:lnTo>
                      <a:pt x="55" y="7"/>
                    </a:lnTo>
                    <a:lnTo>
                      <a:pt x="57" y="7"/>
                    </a:lnTo>
                    <a:lnTo>
                      <a:pt x="64" y="9"/>
                    </a:lnTo>
                    <a:lnTo>
                      <a:pt x="66" y="12"/>
                    </a:lnTo>
                    <a:lnTo>
                      <a:pt x="70" y="12"/>
                    </a:lnTo>
                    <a:lnTo>
                      <a:pt x="70" y="12"/>
                    </a:lnTo>
                    <a:lnTo>
                      <a:pt x="70" y="14"/>
                    </a:lnTo>
                    <a:lnTo>
                      <a:pt x="68" y="18"/>
                    </a:lnTo>
                    <a:lnTo>
                      <a:pt x="75" y="21"/>
                    </a:lnTo>
                    <a:lnTo>
                      <a:pt x="77" y="23"/>
                    </a:lnTo>
                    <a:lnTo>
                      <a:pt x="80" y="21"/>
                    </a:lnTo>
                    <a:lnTo>
                      <a:pt x="79" y="19"/>
                    </a:lnTo>
                    <a:lnTo>
                      <a:pt x="79" y="18"/>
                    </a:lnTo>
                    <a:lnTo>
                      <a:pt x="93" y="21"/>
                    </a:lnTo>
                    <a:lnTo>
                      <a:pt x="93" y="25"/>
                    </a:lnTo>
                    <a:lnTo>
                      <a:pt x="95" y="27"/>
                    </a:lnTo>
                    <a:lnTo>
                      <a:pt x="97" y="27"/>
                    </a:lnTo>
                    <a:lnTo>
                      <a:pt x="98" y="28"/>
                    </a:lnTo>
                    <a:lnTo>
                      <a:pt x="105" y="36"/>
                    </a:lnTo>
                    <a:lnTo>
                      <a:pt x="111" y="3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18" name="Freeform 2168"/>
              <p:cNvSpPr>
                <a:spLocks/>
              </p:cNvSpPr>
              <p:nvPr/>
            </p:nvSpPr>
            <p:spPr bwMode="auto">
              <a:xfrm>
                <a:off x="2793" y="1847"/>
                <a:ext cx="69" cy="43"/>
              </a:xfrm>
              <a:custGeom>
                <a:avLst/>
                <a:gdLst>
                  <a:gd name="T0" fmla="*/ 16 w 69"/>
                  <a:gd name="T1" fmla="*/ 43 h 43"/>
                  <a:gd name="T2" fmla="*/ 14 w 69"/>
                  <a:gd name="T3" fmla="*/ 39 h 43"/>
                  <a:gd name="T4" fmla="*/ 12 w 69"/>
                  <a:gd name="T5" fmla="*/ 39 h 43"/>
                  <a:gd name="T6" fmla="*/ 12 w 69"/>
                  <a:gd name="T7" fmla="*/ 30 h 43"/>
                  <a:gd name="T8" fmla="*/ 10 w 69"/>
                  <a:gd name="T9" fmla="*/ 30 h 43"/>
                  <a:gd name="T10" fmla="*/ 5 w 69"/>
                  <a:gd name="T11" fmla="*/ 30 h 43"/>
                  <a:gd name="T12" fmla="*/ 1 w 69"/>
                  <a:gd name="T13" fmla="*/ 34 h 43"/>
                  <a:gd name="T14" fmla="*/ 0 w 69"/>
                  <a:gd name="T15" fmla="*/ 35 h 43"/>
                  <a:gd name="T16" fmla="*/ 0 w 69"/>
                  <a:gd name="T17" fmla="*/ 35 h 43"/>
                  <a:gd name="T18" fmla="*/ 1 w 69"/>
                  <a:gd name="T19" fmla="*/ 25 h 43"/>
                  <a:gd name="T20" fmla="*/ 1 w 69"/>
                  <a:gd name="T21" fmla="*/ 25 h 43"/>
                  <a:gd name="T22" fmla="*/ 3 w 69"/>
                  <a:gd name="T23" fmla="*/ 23 h 43"/>
                  <a:gd name="T24" fmla="*/ 5 w 69"/>
                  <a:gd name="T25" fmla="*/ 21 h 43"/>
                  <a:gd name="T26" fmla="*/ 5 w 69"/>
                  <a:gd name="T27" fmla="*/ 19 h 43"/>
                  <a:gd name="T28" fmla="*/ 7 w 69"/>
                  <a:gd name="T29" fmla="*/ 18 h 43"/>
                  <a:gd name="T30" fmla="*/ 14 w 69"/>
                  <a:gd name="T31" fmla="*/ 7 h 43"/>
                  <a:gd name="T32" fmla="*/ 14 w 69"/>
                  <a:gd name="T33" fmla="*/ 5 h 43"/>
                  <a:gd name="T34" fmla="*/ 14 w 69"/>
                  <a:gd name="T35" fmla="*/ 3 h 43"/>
                  <a:gd name="T36" fmla="*/ 19 w 69"/>
                  <a:gd name="T37" fmla="*/ 3 h 43"/>
                  <a:gd name="T38" fmla="*/ 21 w 69"/>
                  <a:gd name="T39" fmla="*/ 3 h 43"/>
                  <a:gd name="T40" fmla="*/ 25 w 69"/>
                  <a:gd name="T41" fmla="*/ 2 h 43"/>
                  <a:gd name="T42" fmla="*/ 26 w 69"/>
                  <a:gd name="T43" fmla="*/ 3 h 43"/>
                  <a:gd name="T44" fmla="*/ 44 w 69"/>
                  <a:gd name="T45" fmla="*/ 0 h 43"/>
                  <a:gd name="T46" fmla="*/ 55 w 69"/>
                  <a:gd name="T47" fmla="*/ 5 h 43"/>
                  <a:gd name="T48" fmla="*/ 57 w 69"/>
                  <a:gd name="T49" fmla="*/ 7 h 43"/>
                  <a:gd name="T50" fmla="*/ 55 w 69"/>
                  <a:gd name="T51" fmla="*/ 12 h 43"/>
                  <a:gd name="T52" fmla="*/ 58 w 69"/>
                  <a:gd name="T53" fmla="*/ 16 h 43"/>
                  <a:gd name="T54" fmla="*/ 62 w 69"/>
                  <a:gd name="T55" fmla="*/ 18 h 43"/>
                  <a:gd name="T56" fmla="*/ 66 w 69"/>
                  <a:gd name="T57" fmla="*/ 19 h 43"/>
                  <a:gd name="T58" fmla="*/ 67 w 69"/>
                  <a:gd name="T59" fmla="*/ 18 h 43"/>
                  <a:gd name="T60" fmla="*/ 69 w 69"/>
                  <a:gd name="T61" fmla="*/ 19 h 43"/>
                  <a:gd name="T62" fmla="*/ 69 w 69"/>
                  <a:gd name="T63" fmla="*/ 23 h 43"/>
                  <a:gd name="T64" fmla="*/ 69 w 69"/>
                  <a:gd name="T65" fmla="*/ 25 h 43"/>
                  <a:gd name="T66" fmla="*/ 67 w 69"/>
                  <a:gd name="T67" fmla="*/ 25 h 43"/>
                  <a:gd name="T68" fmla="*/ 64 w 69"/>
                  <a:gd name="T69" fmla="*/ 25 h 43"/>
                  <a:gd name="T70" fmla="*/ 64 w 69"/>
                  <a:gd name="T71" fmla="*/ 27 h 43"/>
                  <a:gd name="T72" fmla="*/ 64 w 69"/>
                  <a:gd name="T73" fmla="*/ 30 h 43"/>
                  <a:gd name="T74" fmla="*/ 66 w 69"/>
                  <a:gd name="T75" fmla="*/ 30 h 43"/>
                  <a:gd name="T76" fmla="*/ 64 w 69"/>
                  <a:gd name="T77" fmla="*/ 32 h 43"/>
                  <a:gd name="T78" fmla="*/ 55 w 69"/>
                  <a:gd name="T79" fmla="*/ 30 h 43"/>
                  <a:gd name="T80" fmla="*/ 53 w 69"/>
                  <a:gd name="T81" fmla="*/ 30 h 43"/>
                  <a:gd name="T82" fmla="*/ 51 w 69"/>
                  <a:gd name="T83" fmla="*/ 28 h 43"/>
                  <a:gd name="T84" fmla="*/ 51 w 69"/>
                  <a:gd name="T85" fmla="*/ 32 h 43"/>
                  <a:gd name="T86" fmla="*/ 48 w 69"/>
                  <a:gd name="T87" fmla="*/ 37 h 43"/>
                  <a:gd name="T88" fmla="*/ 48 w 69"/>
                  <a:gd name="T89" fmla="*/ 39 h 43"/>
                  <a:gd name="T90" fmla="*/ 46 w 69"/>
                  <a:gd name="T91" fmla="*/ 41 h 43"/>
                  <a:gd name="T92" fmla="*/ 44 w 69"/>
                  <a:gd name="T93" fmla="*/ 39 h 43"/>
                  <a:gd name="T94" fmla="*/ 42 w 69"/>
                  <a:gd name="T95" fmla="*/ 37 h 43"/>
                  <a:gd name="T96" fmla="*/ 39 w 69"/>
                  <a:gd name="T97" fmla="*/ 35 h 43"/>
                  <a:gd name="T98" fmla="*/ 37 w 69"/>
                  <a:gd name="T99" fmla="*/ 30 h 43"/>
                  <a:gd name="T100" fmla="*/ 33 w 69"/>
                  <a:gd name="T101" fmla="*/ 32 h 43"/>
                  <a:gd name="T102" fmla="*/ 33 w 69"/>
                  <a:gd name="T103" fmla="*/ 34 h 43"/>
                  <a:gd name="T104" fmla="*/ 33 w 69"/>
                  <a:gd name="T105" fmla="*/ 35 h 43"/>
                  <a:gd name="T106" fmla="*/ 28 w 69"/>
                  <a:gd name="T107" fmla="*/ 41 h 43"/>
                  <a:gd name="T108" fmla="*/ 16 w 69"/>
                  <a:gd name="T10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43">
                    <a:moveTo>
                      <a:pt x="16" y="43"/>
                    </a:moveTo>
                    <a:lnTo>
                      <a:pt x="14" y="39"/>
                    </a:lnTo>
                    <a:lnTo>
                      <a:pt x="12" y="39"/>
                    </a:lnTo>
                    <a:lnTo>
                      <a:pt x="12" y="30"/>
                    </a:lnTo>
                    <a:lnTo>
                      <a:pt x="10" y="30"/>
                    </a:lnTo>
                    <a:lnTo>
                      <a:pt x="5" y="30"/>
                    </a:lnTo>
                    <a:lnTo>
                      <a:pt x="1" y="34"/>
                    </a:lnTo>
                    <a:lnTo>
                      <a:pt x="0" y="35"/>
                    </a:lnTo>
                    <a:lnTo>
                      <a:pt x="0" y="35"/>
                    </a:lnTo>
                    <a:lnTo>
                      <a:pt x="1" y="25"/>
                    </a:lnTo>
                    <a:lnTo>
                      <a:pt x="1" y="25"/>
                    </a:lnTo>
                    <a:lnTo>
                      <a:pt x="3" y="23"/>
                    </a:lnTo>
                    <a:lnTo>
                      <a:pt x="5" y="21"/>
                    </a:lnTo>
                    <a:lnTo>
                      <a:pt x="5" y="19"/>
                    </a:lnTo>
                    <a:lnTo>
                      <a:pt x="7" y="18"/>
                    </a:lnTo>
                    <a:lnTo>
                      <a:pt x="14" y="7"/>
                    </a:lnTo>
                    <a:lnTo>
                      <a:pt x="14" y="5"/>
                    </a:lnTo>
                    <a:lnTo>
                      <a:pt x="14" y="3"/>
                    </a:lnTo>
                    <a:lnTo>
                      <a:pt x="19" y="3"/>
                    </a:lnTo>
                    <a:lnTo>
                      <a:pt x="21" y="3"/>
                    </a:lnTo>
                    <a:lnTo>
                      <a:pt x="25" y="2"/>
                    </a:lnTo>
                    <a:lnTo>
                      <a:pt x="26" y="3"/>
                    </a:lnTo>
                    <a:lnTo>
                      <a:pt x="44" y="0"/>
                    </a:lnTo>
                    <a:lnTo>
                      <a:pt x="55" y="5"/>
                    </a:lnTo>
                    <a:lnTo>
                      <a:pt x="57" y="7"/>
                    </a:lnTo>
                    <a:lnTo>
                      <a:pt x="55" y="12"/>
                    </a:lnTo>
                    <a:lnTo>
                      <a:pt x="58" y="16"/>
                    </a:lnTo>
                    <a:lnTo>
                      <a:pt x="62" y="18"/>
                    </a:lnTo>
                    <a:lnTo>
                      <a:pt x="66" y="19"/>
                    </a:lnTo>
                    <a:lnTo>
                      <a:pt x="67" y="18"/>
                    </a:lnTo>
                    <a:lnTo>
                      <a:pt x="69" y="19"/>
                    </a:lnTo>
                    <a:lnTo>
                      <a:pt x="69" y="23"/>
                    </a:lnTo>
                    <a:lnTo>
                      <a:pt x="69" y="25"/>
                    </a:lnTo>
                    <a:lnTo>
                      <a:pt x="67" y="25"/>
                    </a:lnTo>
                    <a:lnTo>
                      <a:pt x="64" y="25"/>
                    </a:lnTo>
                    <a:lnTo>
                      <a:pt x="64" y="27"/>
                    </a:lnTo>
                    <a:lnTo>
                      <a:pt x="64" y="30"/>
                    </a:lnTo>
                    <a:lnTo>
                      <a:pt x="66" y="30"/>
                    </a:lnTo>
                    <a:lnTo>
                      <a:pt x="64" y="32"/>
                    </a:lnTo>
                    <a:lnTo>
                      <a:pt x="55" y="30"/>
                    </a:lnTo>
                    <a:lnTo>
                      <a:pt x="53" y="30"/>
                    </a:lnTo>
                    <a:lnTo>
                      <a:pt x="51" y="28"/>
                    </a:lnTo>
                    <a:lnTo>
                      <a:pt x="51" y="32"/>
                    </a:lnTo>
                    <a:lnTo>
                      <a:pt x="48" y="37"/>
                    </a:lnTo>
                    <a:lnTo>
                      <a:pt x="48" y="39"/>
                    </a:lnTo>
                    <a:lnTo>
                      <a:pt x="46" y="41"/>
                    </a:lnTo>
                    <a:lnTo>
                      <a:pt x="44" y="39"/>
                    </a:lnTo>
                    <a:lnTo>
                      <a:pt x="42" y="37"/>
                    </a:lnTo>
                    <a:lnTo>
                      <a:pt x="39" y="35"/>
                    </a:lnTo>
                    <a:lnTo>
                      <a:pt x="37" y="30"/>
                    </a:lnTo>
                    <a:lnTo>
                      <a:pt x="33" y="32"/>
                    </a:lnTo>
                    <a:lnTo>
                      <a:pt x="33" y="34"/>
                    </a:lnTo>
                    <a:lnTo>
                      <a:pt x="33" y="35"/>
                    </a:lnTo>
                    <a:lnTo>
                      <a:pt x="28" y="41"/>
                    </a:lnTo>
                    <a:lnTo>
                      <a:pt x="16" y="4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19" name="Freeform 2169"/>
              <p:cNvSpPr>
                <a:spLocks/>
              </p:cNvSpPr>
              <p:nvPr/>
            </p:nvSpPr>
            <p:spPr bwMode="auto">
              <a:xfrm>
                <a:off x="2793" y="1847"/>
                <a:ext cx="69" cy="43"/>
              </a:xfrm>
              <a:custGeom>
                <a:avLst/>
                <a:gdLst>
                  <a:gd name="T0" fmla="*/ 16 w 69"/>
                  <a:gd name="T1" fmla="*/ 43 h 43"/>
                  <a:gd name="T2" fmla="*/ 14 w 69"/>
                  <a:gd name="T3" fmla="*/ 39 h 43"/>
                  <a:gd name="T4" fmla="*/ 12 w 69"/>
                  <a:gd name="T5" fmla="*/ 39 h 43"/>
                  <a:gd name="T6" fmla="*/ 12 w 69"/>
                  <a:gd name="T7" fmla="*/ 30 h 43"/>
                  <a:gd name="T8" fmla="*/ 10 w 69"/>
                  <a:gd name="T9" fmla="*/ 30 h 43"/>
                  <a:gd name="T10" fmla="*/ 5 w 69"/>
                  <a:gd name="T11" fmla="*/ 30 h 43"/>
                  <a:gd name="T12" fmla="*/ 1 w 69"/>
                  <a:gd name="T13" fmla="*/ 34 h 43"/>
                  <a:gd name="T14" fmla="*/ 0 w 69"/>
                  <a:gd name="T15" fmla="*/ 35 h 43"/>
                  <a:gd name="T16" fmla="*/ 0 w 69"/>
                  <a:gd name="T17" fmla="*/ 35 h 43"/>
                  <a:gd name="T18" fmla="*/ 1 w 69"/>
                  <a:gd name="T19" fmla="*/ 25 h 43"/>
                  <a:gd name="T20" fmla="*/ 1 w 69"/>
                  <a:gd name="T21" fmla="*/ 25 h 43"/>
                  <a:gd name="T22" fmla="*/ 3 w 69"/>
                  <a:gd name="T23" fmla="*/ 23 h 43"/>
                  <a:gd name="T24" fmla="*/ 5 w 69"/>
                  <a:gd name="T25" fmla="*/ 21 h 43"/>
                  <a:gd name="T26" fmla="*/ 5 w 69"/>
                  <a:gd name="T27" fmla="*/ 19 h 43"/>
                  <a:gd name="T28" fmla="*/ 7 w 69"/>
                  <a:gd name="T29" fmla="*/ 18 h 43"/>
                  <a:gd name="T30" fmla="*/ 14 w 69"/>
                  <a:gd name="T31" fmla="*/ 7 h 43"/>
                  <a:gd name="T32" fmla="*/ 14 w 69"/>
                  <a:gd name="T33" fmla="*/ 5 h 43"/>
                  <a:gd name="T34" fmla="*/ 14 w 69"/>
                  <a:gd name="T35" fmla="*/ 3 h 43"/>
                  <a:gd name="T36" fmla="*/ 19 w 69"/>
                  <a:gd name="T37" fmla="*/ 3 h 43"/>
                  <a:gd name="T38" fmla="*/ 21 w 69"/>
                  <a:gd name="T39" fmla="*/ 3 h 43"/>
                  <a:gd name="T40" fmla="*/ 25 w 69"/>
                  <a:gd name="T41" fmla="*/ 2 h 43"/>
                  <a:gd name="T42" fmla="*/ 26 w 69"/>
                  <a:gd name="T43" fmla="*/ 3 h 43"/>
                  <a:gd name="T44" fmla="*/ 44 w 69"/>
                  <a:gd name="T45" fmla="*/ 0 h 43"/>
                  <a:gd name="T46" fmla="*/ 55 w 69"/>
                  <a:gd name="T47" fmla="*/ 5 h 43"/>
                  <a:gd name="T48" fmla="*/ 57 w 69"/>
                  <a:gd name="T49" fmla="*/ 7 h 43"/>
                  <a:gd name="T50" fmla="*/ 55 w 69"/>
                  <a:gd name="T51" fmla="*/ 12 h 43"/>
                  <a:gd name="T52" fmla="*/ 58 w 69"/>
                  <a:gd name="T53" fmla="*/ 16 h 43"/>
                  <a:gd name="T54" fmla="*/ 62 w 69"/>
                  <a:gd name="T55" fmla="*/ 18 h 43"/>
                  <a:gd name="T56" fmla="*/ 66 w 69"/>
                  <a:gd name="T57" fmla="*/ 19 h 43"/>
                  <a:gd name="T58" fmla="*/ 67 w 69"/>
                  <a:gd name="T59" fmla="*/ 18 h 43"/>
                  <a:gd name="T60" fmla="*/ 69 w 69"/>
                  <a:gd name="T61" fmla="*/ 19 h 43"/>
                  <a:gd name="T62" fmla="*/ 69 w 69"/>
                  <a:gd name="T63" fmla="*/ 23 h 43"/>
                  <a:gd name="T64" fmla="*/ 69 w 69"/>
                  <a:gd name="T65" fmla="*/ 25 h 43"/>
                  <a:gd name="T66" fmla="*/ 67 w 69"/>
                  <a:gd name="T67" fmla="*/ 25 h 43"/>
                  <a:gd name="T68" fmla="*/ 64 w 69"/>
                  <a:gd name="T69" fmla="*/ 25 h 43"/>
                  <a:gd name="T70" fmla="*/ 64 w 69"/>
                  <a:gd name="T71" fmla="*/ 27 h 43"/>
                  <a:gd name="T72" fmla="*/ 64 w 69"/>
                  <a:gd name="T73" fmla="*/ 30 h 43"/>
                  <a:gd name="T74" fmla="*/ 66 w 69"/>
                  <a:gd name="T75" fmla="*/ 30 h 43"/>
                  <a:gd name="T76" fmla="*/ 64 w 69"/>
                  <a:gd name="T77" fmla="*/ 32 h 43"/>
                  <a:gd name="T78" fmla="*/ 55 w 69"/>
                  <a:gd name="T79" fmla="*/ 30 h 43"/>
                  <a:gd name="T80" fmla="*/ 53 w 69"/>
                  <a:gd name="T81" fmla="*/ 30 h 43"/>
                  <a:gd name="T82" fmla="*/ 51 w 69"/>
                  <a:gd name="T83" fmla="*/ 28 h 43"/>
                  <a:gd name="T84" fmla="*/ 51 w 69"/>
                  <a:gd name="T85" fmla="*/ 32 h 43"/>
                  <a:gd name="T86" fmla="*/ 48 w 69"/>
                  <a:gd name="T87" fmla="*/ 37 h 43"/>
                  <a:gd name="T88" fmla="*/ 48 w 69"/>
                  <a:gd name="T89" fmla="*/ 39 h 43"/>
                  <a:gd name="T90" fmla="*/ 46 w 69"/>
                  <a:gd name="T91" fmla="*/ 41 h 43"/>
                  <a:gd name="T92" fmla="*/ 44 w 69"/>
                  <a:gd name="T93" fmla="*/ 39 h 43"/>
                  <a:gd name="T94" fmla="*/ 42 w 69"/>
                  <a:gd name="T95" fmla="*/ 37 h 43"/>
                  <a:gd name="T96" fmla="*/ 39 w 69"/>
                  <a:gd name="T97" fmla="*/ 35 h 43"/>
                  <a:gd name="T98" fmla="*/ 37 w 69"/>
                  <a:gd name="T99" fmla="*/ 30 h 43"/>
                  <a:gd name="T100" fmla="*/ 33 w 69"/>
                  <a:gd name="T101" fmla="*/ 32 h 43"/>
                  <a:gd name="T102" fmla="*/ 33 w 69"/>
                  <a:gd name="T103" fmla="*/ 34 h 43"/>
                  <a:gd name="T104" fmla="*/ 33 w 69"/>
                  <a:gd name="T105" fmla="*/ 35 h 43"/>
                  <a:gd name="T106" fmla="*/ 28 w 69"/>
                  <a:gd name="T107" fmla="*/ 41 h 43"/>
                  <a:gd name="T108" fmla="*/ 16 w 69"/>
                  <a:gd name="T10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9" h="43">
                    <a:moveTo>
                      <a:pt x="16" y="43"/>
                    </a:moveTo>
                    <a:lnTo>
                      <a:pt x="14" y="39"/>
                    </a:lnTo>
                    <a:lnTo>
                      <a:pt x="12" y="39"/>
                    </a:lnTo>
                    <a:lnTo>
                      <a:pt x="12" y="30"/>
                    </a:lnTo>
                    <a:lnTo>
                      <a:pt x="10" y="30"/>
                    </a:lnTo>
                    <a:lnTo>
                      <a:pt x="5" y="30"/>
                    </a:lnTo>
                    <a:lnTo>
                      <a:pt x="1" y="34"/>
                    </a:lnTo>
                    <a:lnTo>
                      <a:pt x="0" y="35"/>
                    </a:lnTo>
                    <a:lnTo>
                      <a:pt x="0" y="35"/>
                    </a:lnTo>
                    <a:lnTo>
                      <a:pt x="1" y="25"/>
                    </a:lnTo>
                    <a:lnTo>
                      <a:pt x="1" y="25"/>
                    </a:lnTo>
                    <a:lnTo>
                      <a:pt x="3" y="23"/>
                    </a:lnTo>
                    <a:lnTo>
                      <a:pt x="5" y="21"/>
                    </a:lnTo>
                    <a:lnTo>
                      <a:pt x="5" y="19"/>
                    </a:lnTo>
                    <a:lnTo>
                      <a:pt x="7" y="18"/>
                    </a:lnTo>
                    <a:lnTo>
                      <a:pt x="14" y="7"/>
                    </a:lnTo>
                    <a:lnTo>
                      <a:pt x="14" y="5"/>
                    </a:lnTo>
                    <a:lnTo>
                      <a:pt x="14" y="3"/>
                    </a:lnTo>
                    <a:lnTo>
                      <a:pt x="19" y="3"/>
                    </a:lnTo>
                    <a:lnTo>
                      <a:pt x="21" y="3"/>
                    </a:lnTo>
                    <a:lnTo>
                      <a:pt x="25" y="2"/>
                    </a:lnTo>
                    <a:lnTo>
                      <a:pt x="26" y="3"/>
                    </a:lnTo>
                    <a:lnTo>
                      <a:pt x="44" y="0"/>
                    </a:lnTo>
                    <a:lnTo>
                      <a:pt x="55" y="5"/>
                    </a:lnTo>
                    <a:lnTo>
                      <a:pt x="57" y="7"/>
                    </a:lnTo>
                    <a:lnTo>
                      <a:pt x="55" y="12"/>
                    </a:lnTo>
                    <a:lnTo>
                      <a:pt x="58" y="16"/>
                    </a:lnTo>
                    <a:lnTo>
                      <a:pt x="62" y="18"/>
                    </a:lnTo>
                    <a:lnTo>
                      <a:pt x="66" y="19"/>
                    </a:lnTo>
                    <a:lnTo>
                      <a:pt x="67" y="18"/>
                    </a:lnTo>
                    <a:lnTo>
                      <a:pt x="69" y="19"/>
                    </a:lnTo>
                    <a:lnTo>
                      <a:pt x="69" y="23"/>
                    </a:lnTo>
                    <a:lnTo>
                      <a:pt x="69" y="25"/>
                    </a:lnTo>
                    <a:lnTo>
                      <a:pt x="67" y="25"/>
                    </a:lnTo>
                    <a:lnTo>
                      <a:pt x="64" y="25"/>
                    </a:lnTo>
                    <a:lnTo>
                      <a:pt x="64" y="27"/>
                    </a:lnTo>
                    <a:lnTo>
                      <a:pt x="64" y="30"/>
                    </a:lnTo>
                    <a:lnTo>
                      <a:pt x="66" y="30"/>
                    </a:lnTo>
                    <a:lnTo>
                      <a:pt x="64" y="32"/>
                    </a:lnTo>
                    <a:lnTo>
                      <a:pt x="55" y="30"/>
                    </a:lnTo>
                    <a:lnTo>
                      <a:pt x="53" y="30"/>
                    </a:lnTo>
                    <a:lnTo>
                      <a:pt x="51" y="28"/>
                    </a:lnTo>
                    <a:lnTo>
                      <a:pt x="51" y="32"/>
                    </a:lnTo>
                    <a:lnTo>
                      <a:pt x="48" y="37"/>
                    </a:lnTo>
                    <a:lnTo>
                      <a:pt x="48" y="39"/>
                    </a:lnTo>
                    <a:lnTo>
                      <a:pt x="46" y="41"/>
                    </a:lnTo>
                    <a:lnTo>
                      <a:pt x="44" y="39"/>
                    </a:lnTo>
                    <a:lnTo>
                      <a:pt x="42" y="37"/>
                    </a:lnTo>
                    <a:lnTo>
                      <a:pt x="39" y="35"/>
                    </a:lnTo>
                    <a:lnTo>
                      <a:pt x="37" y="30"/>
                    </a:lnTo>
                    <a:lnTo>
                      <a:pt x="33" y="32"/>
                    </a:lnTo>
                    <a:lnTo>
                      <a:pt x="33" y="34"/>
                    </a:lnTo>
                    <a:lnTo>
                      <a:pt x="33" y="35"/>
                    </a:lnTo>
                    <a:lnTo>
                      <a:pt x="28" y="41"/>
                    </a:lnTo>
                    <a:lnTo>
                      <a:pt x="16" y="4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20" name="Freeform 2170"/>
              <p:cNvSpPr>
                <a:spLocks/>
              </p:cNvSpPr>
              <p:nvPr/>
            </p:nvSpPr>
            <p:spPr bwMode="auto">
              <a:xfrm>
                <a:off x="2741" y="1754"/>
                <a:ext cx="55" cy="46"/>
              </a:xfrm>
              <a:custGeom>
                <a:avLst/>
                <a:gdLst>
                  <a:gd name="T0" fmla="*/ 46 w 55"/>
                  <a:gd name="T1" fmla="*/ 46 h 46"/>
                  <a:gd name="T2" fmla="*/ 44 w 55"/>
                  <a:gd name="T3" fmla="*/ 46 h 46"/>
                  <a:gd name="T4" fmla="*/ 41 w 55"/>
                  <a:gd name="T5" fmla="*/ 46 h 46"/>
                  <a:gd name="T6" fmla="*/ 35 w 55"/>
                  <a:gd name="T7" fmla="*/ 43 h 46"/>
                  <a:gd name="T8" fmla="*/ 35 w 55"/>
                  <a:gd name="T9" fmla="*/ 41 h 46"/>
                  <a:gd name="T10" fmla="*/ 35 w 55"/>
                  <a:gd name="T11" fmla="*/ 41 h 46"/>
                  <a:gd name="T12" fmla="*/ 35 w 55"/>
                  <a:gd name="T13" fmla="*/ 34 h 46"/>
                  <a:gd name="T14" fmla="*/ 34 w 55"/>
                  <a:gd name="T15" fmla="*/ 34 h 46"/>
                  <a:gd name="T16" fmla="*/ 30 w 55"/>
                  <a:gd name="T17" fmla="*/ 37 h 46"/>
                  <a:gd name="T18" fmla="*/ 27 w 55"/>
                  <a:gd name="T19" fmla="*/ 37 h 46"/>
                  <a:gd name="T20" fmla="*/ 23 w 55"/>
                  <a:gd name="T21" fmla="*/ 37 h 46"/>
                  <a:gd name="T22" fmla="*/ 23 w 55"/>
                  <a:gd name="T23" fmla="*/ 30 h 46"/>
                  <a:gd name="T24" fmla="*/ 21 w 55"/>
                  <a:gd name="T25" fmla="*/ 28 h 46"/>
                  <a:gd name="T26" fmla="*/ 10 w 55"/>
                  <a:gd name="T27" fmla="*/ 23 h 46"/>
                  <a:gd name="T28" fmla="*/ 7 w 55"/>
                  <a:gd name="T29" fmla="*/ 18 h 46"/>
                  <a:gd name="T30" fmla="*/ 5 w 55"/>
                  <a:gd name="T31" fmla="*/ 18 h 46"/>
                  <a:gd name="T32" fmla="*/ 2 w 55"/>
                  <a:gd name="T33" fmla="*/ 16 h 46"/>
                  <a:gd name="T34" fmla="*/ 0 w 55"/>
                  <a:gd name="T35" fmla="*/ 14 h 46"/>
                  <a:gd name="T36" fmla="*/ 0 w 55"/>
                  <a:gd name="T37" fmla="*/ 9 h 46"/>
                  <a:gd name="T38" fmla="*/ 10 w 55"/>
                  <a:gd name="T39" fmla="*/ 3 h 46"/>
                  <a:gd name="T40" fmla="*/ 12 w 55"/>
                  <a:gd name="T41" fmla="*/ 3 h 46"/>
                  <a:gd name="T42" fmla="*/ 12 w 55"/>
                  <a:gd name="T43" fmla="*/ 3 h 46"/>
                  <a:gd name="T44" fmla="*/ 18 w 55"/>
                  <a:gd name="T45" fmla="*/ 5 h 46"/>
                  <a:gd name="T46" fmla="*/ 27 w 55"/>
                  <a:gd name="T47" fmla="*/ 2 h 46"/>
                  <a:gd name="T48" fmla="*/ 35 w 55"/>
                  <a:gd name="T49" fmla="*/ 0 h 46"/>
                  <a:gd name="T50" fmla="*/ 37 w 55"/>
                  <a:gd name="T51" fmla="*/ 2 h 46"/>
                  <a:gd name="T52" fmla="*/ 37 w 55"/>
                  <a:gd name="T53" fmla="*/ 2 h 46"/>
                  <a:gd name="T54" fmla="*/ 37 w 55"/>
                  <a:gd name="T55" fmla="*/ 3 h 46"/>
                  <a:gd name="T56" fmla="*/ 41 w 55"/>
                  <a:gd name="T57" fmla="*/ 5 h 46"/>
                  <a:gd name="T58" fmla="*/ 43 w 55"/>
                  <a:gd name="T59" fmla="*/ 5 h 46"/>
                  <a:gd name="T60" fmla="*/ 46 w 55"/>
                  <a:gd name="T61" fmla="*/ 7 h 46"/>
                  <a:gd name="T62" fmla="*/ 46 w 55"/>
                  <a:gd name="T63" fmla="*/ 16 h 46"/>
                  <a:gd name="T64" fmla="*/ 48 w 55"/>
                  <a:gd name="T65" fmla="*/ 18 h 46"/>
                  <a:gd name="T66" fmla="*/ 52 w 55"/>
                  <a:gd name="T67" fmla="*/ 18 h 46"/>
                  <a:gd name="T68" fmla="*/ 53 w 55"/>
                  <a:gd name="T69" fmla="*/ 20 h 46"/>
                  <a:gd name="T70" fmla="*/ 53 w 55"/>
                  <a:gd name="T71" fmla="*/ 23 h 46"/>
                  <a:gd name="T72" fmla="*/ 55 w 55"/>
                  <a:gd name="T73" fmla="*/ 25 h 46"/>
                  <a:gd name="T74" fmla="*/ 55 w 55"/>
                  <a:gd name="T75" fmla="*/ 28 h 46"/>
                  <a:gd name="T76" fmla="*/ 52 w 55"/>
                  <a:gd name="T77" fmla="*/ 32 h 46"/>
                  <a:gd name="T78" fmla="*/ 50 w 55"/>
                  <a:gd name="T79" fmla="*/ 32 h 46"/>
                  <a:gd name="T80" fmla="*/ 48 w 55"/>
                  <a:gd name="T81" fmla="*/ 36 h 46"/>
                  <a:gd name="T82" fmla="*/ 46 w 55"/>
                  <a:gd name="T83" fmla="*/ 39 h 46"/>
                  <a:gd name="T84" fmla="*/ 46 w 55"/>
                  <a:gd name="T85" fmla="*/ 43 h 46"/>
                  <a:gd name="T86" fmla="*/ 46 w 55"/>
                  <a:gd name="T8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 h="46">
                    <a:moveTo>
                      <a:pt x="46" y="46"/>
                    </a:moveTo>
                    <a:lnTo>
                      <a:pt x="44" y="46"/>
                    </a:lnTo>
                    <a:lnTo>
                      <a:pt x="41" y="46"/>
                    </a:lnTo>
                    <a:lnTo>
                      <a:pt x="35" y="43"/>
                    </a:lnTo>
                    <a:lnTo>
                      <a:pt x="35" y="41"/>
                    </a:lnTo>
                    <a:lnTo>
                      <a:pt x="35" y="41"/>
                    </a:lnTo>
                    <a:lnTo>
                      <a:pt x="35" y="34"/>
                    </a:lnTo>
                    <a:lnTo>
                      <a:pt x="34" y="34"/>
                    </a:lnTo>
                    <a:lnTo>
                      <a:pt x="30" y="37"/>
                    </a:lnTo>
                    <a:lnTo>
                      <a:pt x="27" y="37"/>
                    </a:lnTo>
                    <a:lnTo>
                      <a:pt x="23" y="37"/>
                    </a:lnTo>
                    <a:lnTo>
                      <a:pt x="23" y="30"/>
                    </a:lnTo>
                    <a:lnTo>
                      <a:pt x="21" y="28"/>
                    </a:lnTo>
                    <a:lnTo>
                      <a:pt x="10" y="23"/>
                    </a:lnTo>
                    <a:lnTo>
                      <a:pt x="7" y="18"/>
                    </a:lnTo>
                    <a:lnTo>
                      <a:pt x="5" y="18"/>
                    </a:lnTo>
                    <a:lnTo>
                      <a:pt x="2" y="16"/>
                    </a:lnTo>
                    <a:lnTo>
                      <a:pt x="0" y="14"/>
                    </a:lnTo>
                    <a:lnTo>
                      <a:pt x="0" y="9"/>
                    </a:lnTo>
                    <a:lnTo>
                      <a:pt x="10" y="3"/>
                    </a:lnTo>
                    <a:lnTo>
                      <a:pt x="12" y="3"/>
                    </a:lnTo>
                    <a:lnTo>
                      <a:pt x="12" y="3"/>
                    </a:lnTo>
                    <a:lnTo>
                      <a:pt x="18" y="5"/>
                    </a:lnTo>
                    <a:lnTo>
                      <a:pt x="27" y="2"/>
                    </a:lnTo>
                    <a:lnTo>
                      <a:pt x="35" y="0"/>
                    </a:lnTo>
                    <a:lnTo>
                      <a:pt x="37" y="2"/>
                    </a:lnTo>
                    <a:lnTo>
                      <a:pt x="37" y="2"/>
                    </a:lnTo>
                    <a:lnTo>
                      <a:pt x="37" y="3"/>
                    </a:lnTo>
                    <a:lnTo>
                      <a:pt x="41" y="5"/>
                    </a:lnTo>
                    <a:lnTo>
                      <a:pt x="43" y="5"/>
                    </a:lnTo>
                    <a:lnTo>
                      <a:pt x="46" y="7"/>
                    </a:lnTo>
                    <a:lnTo>
                      <a:pt x="46" y="16"/>
                    </a:lnTo>
                    <a:lnTo>
                      <a:pt x="48" y="18"/>
                    </a:lnTo>
                    <a:lnTo>
                      <a:pt x="52" y="18"/>
                    </a:lnTo>
                    <a:lnTo>
                      <a:pt x="53" y="20"/>
                    </a:lnTo>
                    <a:lnTo>
                      <a:pt x="53" y="23"/>
                    </a:lnTo>
                    <a:lnTo>
                      <a:pt x="55" y="25"/>
                    </a:lnTo>
                    <a:lnTo>
                      <a:pt x="55" y="28"/>
                    </a:lnTo>
                    <a:lnTo>
                      <a:pt x="52" y="32"/>
                    </a:lnTo>
                    <a:lnTo>
                      <a:pt x="50" y="32"/>
                    </a:lnTo>
                    <a:lnTo>
                      <a:pt x="48" y="36"/>
                    </a:lnTo>
                    <a:lnTo>
                      <a:pt x="46" y="39"/>
                    </a:lnTo>
                    <a:lnTo>
                      <a:pt x="46" y="43"/>
                    </a:lnTo>
                    <a:lnTo>
                      <a:pt x="46" y="4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21" name="Freeform 2171"/>
              <p:cNvSpPr>
                <a:spLocks/>
              </p:cNvSpPr>
              <p:nvPr/>
            </p:nvSpPr>
            <p:spPr bwMode="auto">
              <a:xfrm>
                <a:off x="2741" y="1754"/>
                <a:ext cx="55" cy="46"/>
              </a:xfrm>
              <a:custGeom>
                <a:avLst/>
                <a:gdLst>
                  <a:gd name="T0" fmla="*/ 46 w 55"/>
                  <a:gd name="T1" fmla="*/ 46 h 46"/>
                  <a:gd name="T2" fmla="*/ 44 w 55"/>
                  <a:gd name="T3" fmla="*/ 46 h 46"/>
                  <a:gd name="T4" fmla="*/ 41 w 55"/>
                  <a:gd name="T5" fmla="*/ 46 h 46"/>
                  <a:gd name="T6" fmla="*/ 35 w 55"/>
                  <a:gd name="T7" fmla="*/ 43 h 46"/>
                  <a:gd name="T8" fmla="*/ 35 w 55"/>
                  <a:gd name="T9" fmla="*/ 41 h 46"/>
                  <a:gd name="T10" fmla="*/ 35 w 55"/>
                  <a:gd name="T11" fmla="*/ 41 h 46"/>
                  <a:gd name="T12" fmla="*/ 35 w 55"/>
                  <a:gd name="T13" fmla="*/ 34 h 46"/>
                  <a:gd name="T14" fmla="*/ 34 w 55"/>
                  <a:gd name="T15" fmla="*/ 34 h 46"/>
                  <a:gd name="T16" fmla="*/ 30 w 55"/>
                  <a:gd name="T17" fmla="*/ 37 h 46"/>
                  <a:gd name="T18" fmla="*/ 27 w 55"/>
                  <a:gd name="T19" fmla="*/ 37 h 46"/>
                  <a:gd name="T20" fmla="*/ 23 w 55"/>
                  <a:gd name="T21" fmla="*/ 37 h 46"/>
                  <a:gd name="T22" fmla="*/ 23 w 55"/>
                  <a:gd name="T23" fmla="*/ 30 h 46"/>
                  <a:gd name="T24" fmla="*/ 21 w 55"/>
                  <a:gd name="T25" fmla="*/ 28 h 46"/>
                  <a:gd name="T26" fmla="*/ 10 w 55"/>
                  <a:gd name="T27" fmla="*/ 23 h 46"/>
                  <a:gd name="T28" fmla="*/ 7 w 55"/>
                  <a:gd name="T29" fmla="*/ 18 h 46"/>
                  <a:gd name="T30" fmla="*/ 5 w 55"/>
                  <a:gd name="T31" fmla="*/ 18 h 46"/>
                  <a:gd name="T32" fmla="*/ 2 w 55"/>
                  <a:gd name="T33" fmla="*/ 16 h 46"/>
                  <a:gd name="T34" fmla="*/ 0 w 55"/>
                  <a:gd name="T35" fmla="*/ 14 h 46"/>
                  <a:gd name="T36" fmla="*/ 0 w 55"/>
                  <a:gd name="T37" fmla="*/ 9 h 46"/>
                  <a:gd name="T38" fmla="*/ 10 w 55"/>
                  <a:gd name="T39" fmla="*/ 3 h 46"/>
                  <a:gd name="T40" fmla="*/ 12 w 55"/>
                  <a:gd name="T41" fmla="*/ 3 h 46"/>
                  <a:gd name="T42" fmla="*/ 12 w 55"/>
                  <a:gd name="T43" fmla="*/ 3 h 46"/>
                  <a:gd name="T44" fmla="*/ 18 w 55"/>
                  <a:gd name="T45" fmla="*/ 5 h 46"/>
                  <a:gd name="T46" fmla="*/ 27 w 55"/>
                  <a:gd name="T47" fmla="*/ 2 h 46"/>
                  <a:gd name="T48" fmla="*/ 35 w 55"/>
                  <a:gd name="T49" fmla="*/ 0 h 46"/>
                  <a:gd name="T50" fmla="*/ 37 w 55"/>
                  <a:gd name="T51" fmla="*/ 2 h 46"/>
                  <a:gd name="T52" fmla="*/ 37 w 55"/>
                  <a:gd name="T53" fmla="*/ 2 h 46"/>
                  <a:gd name="T54" fmla="*/ 37 w 55"/>
                  <a:gd name="T55" fmla="*/ 3 h 46"/>
                  <a:gd name="T56" fmla="*/ 41 w 55"/>
                  <a:gd name="T57" fmla="*/ 5 h 46"/>
                  <a:gd name="T58" fmla="*/ 43 w 55"/>
                  <a:gd name="T59" fmla="*/ 5 h 46"/>
                  <a:gd name="T60" fmla="*/ 46 w 55"/>
                  <a:gd name="T61" fmla="*/ 7 h 46"/>
                  <a:gd name="T62" fmla="*/ 46 w 55"/>
                  <a:gd name="T63" fmla="*/ 16 h 46"/>
                  <a:gd name="T64" fmla="*/ 48 w 55"/>
                  <a:gd name="T65" fmla="*/ 18 h 46"/>
                  <a:gd name="T66" fmla="*/ 52 w 55"/>
                  <a:gd name="T67" fmla="*/ 18 h 46"/>
                  <a:gd name="T68" fmla="*/ 53 w 55"/>
                  <a:gd name="T69" fmla="*/ 20 h 46"/>
                  <a:gd name="T70" fmla="*/ 53 w 55"/>
                  <a:gd name="T71" fmla="*/ 23 h 46"/>
                  <a:gd name="T72" fmla="*/ 55 w 55"/>
                  <a:gd name="T73" fmla="*/ 25 h 46"/>
                  <a:gd name="T74" fmla="*/ 55 w 55"/>
                  <a:gd name="T75" fmla="*/ 28 h 46"/>
                  <a:gd name="T76" fmla="*/ 52 w 55"/>
                  <a:gd name="T77" fmla="*/ 32 h 46"/>
                  <a:gd name="T78" fmla="*/ 50 w 55"/>
                  <a:gd name="T79" fmla="*/ 32 h 46"/>
                  <a:gd name="T80" fmla="*/ 48 w 55"/>
                  <a:gd name="T81" fmla="*/ 36 h 46"/>
                  <a:gd name="T82" fmla="*/ 46 w 55"/>
                  <a:gd name="T83" fmla="*/ 39 h 46"/>
                  <a:gd name="T84" fmla="*/ 46 w 55"/>
                  <a:gd name="T85" fmla="*/ 43 h 46"/>
                  <a:gd name="T86" fmla="*/ 46 w 55"/>
                  <a:gd name="T87"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5" h="46">
                    <a:moveTo>
                      <a:pt x="46" y="46"/>
                    </a:moveTo>
                    <a:lnTo>
                      <a:pt x="44" y="46"/>
                    </a:lnTo>
                    <a:lnTo>
                      <a:pt x="41" y="46"/>
                    </a:lnTo>
                    <a:lnTo>
                      <a:pt x="35" y="43"/>
                    </a:lnTo>
                    <a:lnTo>
                      <a:pt x="35" y="41"/>
                    </a:lnTo>
                    <a:lnTo>
                      <a:pt x="35" y="41"/>
                    </a:lnTo>
                    <a:lnTo>
                      <a:pt x="35" y="34"/>
                    </a:lnTo>
                    <a:lnTo>
                      <a:pt x="34" y="34"/>
                    </a:lnTo>
                    <a:lnTo>
                      <a:pt x="30" y="37"/>
                    </a:lnTo>
                    <a:lnTo>
                      <a:pt x="27" y="37"/>
                    </a:lnTo>
                    <a:lnTo>
                      <a:pt x="23" y="37"/>
                    </a:lnTo>
                    <a:lnTo>
                      <a:pt x="23" y="30"/>
                    </a:lnTo>
                    <a:lnTo>
                      <a:pt x="21" y="28"/>
                    </a:lnTo>
                    <a:lnTo>
                      <a:pt x="10" y="23"/>
                    </a:lnTo>
                    <a:lnTo>
                      <a:pt x="7" y="18"/>
                    </a:lnTo>
                    <a:lnTo>
                      <a:pt x="5" y="18"/>
                    </a:lnTo>
                    <a:lnTo>
                      <a:pt x="2" y="16"/>
                    </a:lnTo>
                    <a:lnTo>
                      <a:pt x="0" y="14"/>
                    </a:lnTo>
                    <a:lnTo>
                      <a:pt x="0" y="9"/>
                    </a:lnTo>
                    <a:lnTo>
                      <a:pt x="10" y="3"/>
                    </a:lnTo>
                    <a:lnTo>
                      <a:pt x="12" y="3"/>
                    </a:lnTo>
                    <a:lnTo>
                      <a:pt x="12" y="3"/>
                    </a:lnTo>
                    <a:lnTo>
                      <a:pt x="18" y="5"/>
                    </a:lnTo>
                    <a:lnTo>
                      <a:pt x="27" y="2"/>
                    </a:lnTo>
                    <a:lnTo>
                      <a:pt x="35" y="0"/>
                    </a:lnTo>
                    <a:lnTo>
                      <a:pt x="37" y="2"/>
                    </a:lnTo>
                    <a:lnTo>
                      <a:pt x="37" y="2"/>
                    </a:lnTo>
                    <a:lnTo>
                      <a:pt x="37" y="3"/>
                    </a:lnTo>
                    <a:lnTo>
                      <a:pt x="41" y="5"/>
                    </a:lnTo>
                    <a:lnTo>
                      <a:pt x="43" y="5"/>
                    </a:lnTo>
                    <a:lnTo>
                      <a:pt x="46" y="7"/>
                    </a:lnTo>
                    <a:lnTo>
                      <a:pt x="46" y="16"/>
                    </a:lnTo>
                    <a:lnTo>
                      <a:pt x="48" y="18"/>
                    </a:lnTo>
                    <a:lnTo>
                      <a:pt x="52" y="18"/>
                    </a:lnTo>
                    <a:lnTo>
                      <a:pt x="53" y="20"/>
                    </a:lnTo>
                    <a:lnTo>
                      <a:pt x="53" y="23"/>
                    </a:lnTo>
                    <a:lnTo>
                      <a:pt x="55" y="25"/>
                    </a:lnTo>
                    <a:lnTo>
                      <a:pt x="55" y="28"/>
                    </a:lnTo>
                    <a:lnTo>
                      <a:pt x="52" y="32"/>
                    </a:lnTo>
                    <a:lnTo>
                      <a:pt x="50" y="32"/>
                    </a:lnTo>
                    <a:lnTo>
                      <a:pt x="48" y="36"/>
                    </a:lnTo>
                    <a:lnTo>
                      <a:pt x="46" y="39"/>
                    </a:lnTo>
                    <a:lnTo>
                      <a:pt x="46" y="43"/>
                    </a:lnTo>
                    <a:lnTo>
                      <a:pt x="46" y="4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22" name="Freeform 2172"/>
              <p:cNvSpPr>
                <a:spLocks/>
              </p:cNvSpPr>
              <p:nvPr/>
            </p:nvSpPr>
            <p:spPr bwMode="auto">
              <a:xfrm>
                <a:off x="2550" y="1938"/>
                <a:ext cx="201" cy="159"/>
              </a:xfrm>
              <a:custGeom>
                <a:avLst/>
                <a:gdLst>
                  <a:gd name="T0" fmla="*/ 30 w 201"/>
                  <a:gd name="T1" fmla="*/ 128 h 159"/>
                  <a:gd name="T2" fmla="*/ 37 w 201"/>
                  <a:gd name="T3" fmla="*/ 116 h 159"/>
                  <a:gd name="T4" fmla="*/ 34 w 201"/>
                  <a:gd name="T5" fmla="*/ 109 h 159"/>
                  <a:gd name="T6" fmla="*/ 37 w 201"/>
                  <a:gd name="T7" fmla="*/ 98 h 159"/>
                  <a:gd name="T8" fmla="*/ 32 w 201"/>
                  <a:gd name="T9" fmla="*/ 87 h 159"/>
                  <a:gd name="T10" fmla="*/ 37 w 201"/>
                  <a:gd name="T11" fmla="*/ 84 h 159"/>
                  <a:gd name="T12" fmla="*/ 41 w 201"/>
                  <a:gd name="T13" fmla="*/ 78 h 159"/>
                  <a:gd name="T14" fmla="*/ 41 w 201"/>
                  <a:gd name="T15" fmla="*/ 59 h 159"/>
                  <a:gd name="T16" fmla="*/ 50 w 201"/>
                  <a:gd name="T17" fmla="*/ 44 h 159"/>
                  <a:gd name="T18" fmla="*/ 35 w 201"/>
                  <a:gd name="T19" fmla="*/ 39 h 159"/>
                  <a:gd name="T20" fmla="*/ 21 w 201"/>
                  <a:gd name="T21" fmla="*/ 41 h 159"/>
                  <a:gd name="T22" fmla="*/ 19 w 201"/>
                  <a:gd name="T23" fmla="*/ 36 h 159"/>
                  <a:gd name="T24" fmla="*/ 9 w 201"/>
                  <a:gd name="T25" fmla="*/ 41 h 159"/>
                  <a:gd name="T26" fmla="*/ 7 w 201"/>
                  <a:gd name="T27" fmla="*/ 37 h 159"/>
                  <a:gd name="T28" fmla="*/ 10 w 201"/>
                  <a:gd name="T29" fmla="*/ 30 h 159"/>
                  <a:gd name="T30" fmla="*/ 9 w 201"/>
                  <a:gd name="T31" fmla="*/ 28 h 159"/>
                  <a:gd name="T32" fmla="*/ 9 w 201"/>
                  <a:gd name="T33" fmla="*/ 23 h 159"/>
                  <a:gd name="T34" fmla="*/ 5 w 201"/>
                  <a:gd name="T35" fmla="*/ 23 h 159"/>
                  <a:gd name="T36" fmla="*/ 0 w 201"/>
                  <a:gd name="T37" fmla="*/ 16 h 159"/>
                  <a:gd name="T38" fmla="*/ 5 w 201"/>
                  <a:gd name="T39" fmla="*/ 11 h 159"/>
                  <a:gd name="T40" fmla="*/ 14 w 201"/>
                  <a:gd name="T41" fmla="*/ 9 h 159"/>
                  <a:gd name="T42" fmla="*/ 16 w 201"/>
                  <a:gd name="T43" fmla="*/ 3 h 159"/>
                  <a:gd name="T44" fmla="*/ 25 w 201"/>
                  <a:gd name="T45" fmla="*/ 0 h 159"/>
                  <a:gd name="T46" fmla="*/ 50 w 201"/>
                  <a:gd name="T47" fmla="*/ 3 h 159"/>
                  <a:gd name="T48" fmla="*/ 119 w 201"/>
                  <a:gd name="T49" fmla="*/ 7 h 159"/>
                  <a:gd name="T50" fmla="*/ 128 w 201"/>
                  <a:gd name="T51" fmla="*/ 16 h 159"/>
                  <a:gd name="T52" fmla="*/ 137 w 201"/>
                  <a:gd name="T53" fmla="*/ 19 h 159"/>
                  <a:gd name="T54" fmla="*/ 157 w 201"/>
                  <a:gd name="T55" fmla="*/ 23 h 159"/>
                  <a:gd name="T56" fmla="*/ 162 w 201"/>
                  <a:gd name="T57" fmla="*/ 21 h 159"/>
                  <a:gd name="T58" fmla="*/ 171 w 201"/>
                  <a:gd name="T59" fmla="*/ 28 h 159"/>
                  <a:gd name="T60" fmla="*/ 175 w 201"/>
                  <a:gd name="T61" fmla="*/ 28 h 159"/>
                  <a:gd name="T62" fmla="*/ 178 w 201"/>
                  <a:gd name="T63" fmla="*/ 28 h 159"/>
                  <a:gd name="T64" fmla="*/ 198 w 201"/>
                  <a:gd name="T65" fmla="*/ 28 h 159"/>
                  <a:gd name="T66" fmla="*/ 201 w 201"/>
                  <a:gd name="T67" fmla="*/ 32 h 159"/>
                  <a:gd name="T68" fmla="*/ 198 w 201"/>
                  <a:gd name="T69" fmla="*/ 36 h 159"/>
                  <a:gd name="T70" fmla="*/ 196 w 201"/>
                  <a:gd name="T71" fmla="*/ 41 h 159"/>
                  <a:gd name="T72" fmla="*/ 164 w 201"/>
                  <a:gd name="T73" fmla="*/ 59 h 159"/>
                  <a:gd name="T74" fmla="*/ 160 w 201"/>
                  <a:gd name="T75" fmla="*/ 64 h 159"/>
                  <a:gd name="T76" fmla="*/ 143 w 201"/>
                  <a:gd name="T77" fmla="*/ 93 h 159"/>
                  <a:gd name="T78" fmla="*/ 144 w 201"/>
                  <a:gd name="T79" fmla="*/ 94 h 159"/>
                  <a:gd name="T80" fmla="*/ 146 w 201"/>
                  <a:gd name="T81" fmla="*/ 102 h 159"/>
                  <a:gd name="T82" fmla="*/ 150 w 201"/>
                  <a:gd name="T83" fmla="*/ 103 h 159"/>
                  <a:gd name="T84" fmla="*/ 150 w 201"/>
                  <a:gd name="T85" fmla="*/ 107 h 159"/>
                  <a:gd name="T86" fmla="*/ 135 w 201"/>
                  <a:gd name="T87" fmla="*/ 127 h 159"/>
                  <a:gd name="T88" fmla="*/ 126 w 201"/>
                  <a:gd name="T89" fmla="*/ 130 h 159"/>
                  <a:gd name="T90" fmla="*/ 118 w 201"/>
                  <a:gd name="T91" fmla="*/ 143 h 159"/>
                  <a:gd name="T92" fmla="*/ 114 w 201"/>
                  <a:gd name="T93" fmla="*/ 144 h 159"/>
                  <a:gd name="T94" fmla="*/ 107 w 201"/>
                  <a:gd name="T95" fmla="*/ 146 h 159"/>
                  <a:gd name="T96" fmla="*/ 93 w 201"/>
                  <a:gd name="T97" fmla="*/ 144 h 159"/>
                  <a:gd name="T98" fmla="*/ 78 w 201"/>
                  <a:gd name="T99" fmla="*/ 146 h 159"/>
                  <a:gd name="T100" fmla="*/ 71 w 201"/>
                  <a:gd name="T101" fmla="*/ 150 h 159"/>
                  <a:gd name="T102" fmla="*/ 66 w 201"/>
                  <a:gd name="T103" fmla="*/ 153 h 159"/>
                  <a:gd name="T104" fmla="*/ 64 w 201"/>
                  <a:gd name="T105" fmla="*/ 157 h 159"/>
                  <a:gd name="T106" fmla="*/ 57 w 201"/>
                  <a:gd name="T107" fmla="*/ 157 h 159"/>
                  <a:gd name="T108" fmla="*/ 50 w 201"/>
                  <a:gd name="T109" fmla="*/ 150 h 159"/>
                  <a:gd name="T110" fmla="*/ 48 w 201"/>
                  <a:gd name="T111" fmla="*/ 146 h 159"/>
                  <a:gd name="T112" fmla="*/ 43 w 201"/>
                  <a:gd name="T113" fmla="*/ 139 h 159"/>
                  <a:gd name="T114" fmla="*/ 37 w 201"/>
                  <a:gd name="T115" fmla="*/ 13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 h="159">
                    <a:moveTo>
                      <a:pt x="30" y="136"/>
                    </a:moveTo>
                    <a:lnTo>
                      <a:pt x="30" y="128"/>
                    </a:lnTo>
                    <a:lnTo>
                      <a:pt x="37" y="119"/>
                    </a:lnTo>
                    <a:lnTo>
                      <a:pt x="37" y="116"/>
                    </a:lnTo>
                    <a:lnTo>
                      <a:pt x="34" y="112"/>
                    </a:lnTo>
                    <a:lnTo>
                      <a:pt x="34" y="109"/>
                    </a:lnTo>
                    <a:lnTo>
                      <a:pt x="34" y="105"/>
                    </a:lnTo>
                    <a:lnTo>
                      <a:pt x="37" y="98"/>
                    </a:lnTo>
                    <a:lnTo>
                      <a:pt x="32" y="93"/>
                    </a:lnTo>
                    <a:lnTo>
                      <a:pt x="32" y="87"/>
                    </a:lnTo>
                    <a:lnTo>
                      <a:pt x="34" y="86"/>
                    </a:lnTo>
                    <a:lnTo>
                      <a:pt x="37" y="84"/>
                    </a:lnTo>
                    <a:lnTo>
                      <a:pt x="39" y="82"/>
                    </a:lnTo>
                    <a:lnTo>
                      <a:pt x="41" y="78"/>
                    </a:lnTo>
                    <a:lnTo>
                      <a:pt x="37" y="75"/>
                    </a:lnTo>
                    <a:lnTo>
                      <a:pt x="41" y="59"/>
                    </a:lnTo>
                    <a:lnTo>
                      <a:pt x="50" y="48"/>
                    </a:lnTo>
                    <a:lnTo>
                      <a:pt x="50" y="44"/>
                    </a:lnTo>
                    <a:lnTo>
                      <a:pt x="46" y="39"/>
                    </a:lnTo>
                    <a:lnTo>
                      <a:pt x="35" y="39"/>
                    </a:lnTo>
                    <a:lnTo>
                      <a:pt x="32" y="41"/>
                    </a:lnTo>
                    <a:lnTo>
                      <a:pt x="21" y="41"/>
                    </a:lnTo>
                    <a:lnTo>
                      <a:pt x="19" y="39"/>
                    </a:lnTo>
                    <a:lnTo>
                      <a:pt x="19" y="36"/>
                    </a:lnTo>
                    <a:lnTo>
                      <a:pt x="10" y="37"/>
                    </a:lnTo>
                    <a:lnTo>
                      <a:pt x="9" y="41"/>
                    </a:lnTo>
                    <a:lnTo>
                      <a:pt x="7" y="39"/>
                    </a:lnTo>
                    <a:lnTo>
                      <a:pt x="7" y="37"/>
                    </a:lnTo>
                    <a:lnTo>
                      <a:pt x="9" y="34"/>
                    </a:lnTo>
                    <a:lnTo>
                      <a:pt x="10" y="30"/>
                    </a:lnTo>
                    <a:lnTo>
                      <a:pt x="9" y="30"/>
                    </a:lnTo>
                    <a:lnTo>
                      <a:pt x="9" y="28"/>
                    </a:lnTo>
                    <a:lnTo>
                      <a:pt x="7" y="27"/>
                    </a:lnTo>
                    <a:lnTo>
                      <a:pt x="9" y="23"/>
                    </a:lnTo>
                    <a:lnTo>
                      <a:pt x="7" y="23"/>
                    </a:lnTo>
                    <a:lnTo>
                      <a:pt x="5" y="23"/>
                    </a:lnTo>
                    <a:lnTo>
                      <a:pt x="5" y="19"/>
                    </a:lnTo>
                    <a:lnTo>
                      <a:pt x="0" y="16"/>
                    </a:lnTo>
                    <a:lnTo>
                      <a:pt x="1" y="12"/>
                    </a:lnTo>
                    <a:lnTo>
                      <a:pt x="5" y="11"/>
                    </a:lnTo>
                    <a:lnTo>
                      <a:pt x="9" y="9"/>
                    </a:lnTo>
                    <a:lnTo>
                      <a:pt x="14" y="9"/>
                    </a:lnTo>
                    <a:lnTo>
                      <a:pt x="16" y="7"/>
                    </a:lnTo>
                    <a:lnTo>
                      <a:pt x="16" y="3"/>
                    </a:lnTo>
                    <a:lnTo>
                      <a:pt x="18" y="2"/>
                    </a:lnTo>
                    <a:lnTo>
                      <a:pt x="25" y="0"/>
                    </a:lnTo>
                    <a:lnTo>
                      <a:pt x="32" y="2"/>
                    </a:lnTo>
                    <a:lnTo>
                      <a:pt x="50" y="3"/>
                    </a:lnTo>
                    <a:lnTo>
                      <a:pt x="53" y="2"/>
                    </a:lnTo>
                    <a:lnTo>
                      <a:pt x="119" y="7"/>
                    </a:lnTo>
                    <a:lnTo>
                      <a:pt x="119" y="9"/>
                    </a:lnTo>
                    <a:lnTo>
                      <a:pt x="128" y="16"/>
                    </a:lnTo>
                    <a:lnTo>
                      <a:pt x="132" y="16"/>
                    </a:lnTo>
                    <a:lnTo>
                      <a:pt x="137" y="19"/>
                    </a:lnTo>
                    <a:lnTo>
                      <a:pt x="155" y="23"/>
                    </a:lnTo>
                    <a:lnTo>
                      <a:pt x="157" y="23"/>
                    </a:lnTo>
                    <a:lnTo>
                      <a:pt x="160" y="21"/>
                    </a:lnTo>
                    <a:lnTo>
                      <a:pt x="162" y="21"/>
                    </a:lnTo>
                    <a:lnTo>
                      <a:pt x="171" y="27"/>
                    </a:lnTo>
                    <a:lnTo>
                      <a:pt x="171" y="28"/>
                    </a:lnTo>
                    <a:lnTo>
                      <a:pt x="173" y="28"/>
                    </a:lnTo>
                    <a:lnTo>
                      <a:pt x="175" y="28"/>
                    </a:lnTo>
                    <a:lnTo>
                      <a:pt x="175" y="27"/>
                    </a:lnTo>
                    <a:lnTo>
                      <a:pt x="178" y="28"/>
                    </a:lnTo>
                    <a:lnTo>
                      <a:pt x="180" y="30"/>
                    </a:lnTo>
                    <a:lnTo>
                      <a:pt x="198" y="28"/>
                    </a:lnTo>
                    <a:lnTo>
                      <a:pt x="200" y="30"/>
                    </a:lnTo>
                    <a:lnTo>
                      <a:pt x="201" y="32"/>
                    </a:lnTo>
                    <a:lnTo>
                      <a:pt x="198" y="32"/>
                    </a:lnTo>
                    <a:lnTo>
                      <a:pt x="198" y="36"/>
                    </a:lnTo>
                    <a:lnTo>
                      <a:pt x="200" y="37"/>
                    </a:lnTo>
                    <a:lnTo>
                      <a:pt x="196" y="41"/>
                    </a:lnTo>
                    <a:lnTo>
                      <a:pt x="182" y="52"/>
                    </a:lnTo>
                    <a:lnTo>
                      <a:pt x="164" y="59"/>
                    </a:lnTo>
                    <a:lnTo>
                      <a:pt x="160" y="62"/>
                    </a:lnTo>
                    <a:lnTo>
                      <a:pt x="160" y="64"/>
                    </a:lnTo>
                    <a:lnTo>
                      <a:pt x="144" y="87"/>
                    </a:lnTo>
                    <a:lnTo>
                      <a:pt x="143" y="93"/>
                    </a:lnTo>
                    <a:lnTo>
                      <a:pt x="143" y="93"/>
                    </a:lnTo>
                    <a:lnTo>
                      <a:pt x="144" y="94"/>
                    </a:lnTo>
                    <a:lnTo>
                      <a:pt x="144" y="100"/>
                    </a:lnTo>
                    <a:lnTo>
                      <a:pt x="146" y="102"/>
                    </a:lnTo>
                    <a:lnTo>
                      <a:pt x="148" y="102"/>
                    </a:lnTo>
                    <a:lnTo>
                      <a:pt x="150" y="103"/>
                    </a:lnTo>
                    <a:lnTo>
                      <a:pt x="151" y="105"/>
                    </a:lnTo>
                    <a:lnTo>
                      <a:pt x="150" y="107"/>
                    </a:lnTo>
                    <a:lnTo>
                      <a:pt x="141" y="114"/>
                    </a:lnTo>
                    <a:lnTo>
                      <a:pt x="135" y="127"/>
                    </a:lnTo>
                    <a:lnTo>
                      <a:pt x="137" y="128"/>
                    </a:lnTo>
                    <a:lnTo>
                      <a:pt x="126" y="130"/>
                    </a:lnTo>
                    <a:lnTo>
                      <a:pt x="121" y="136"/>
                    </a:lnTo>
                    <a:lnTo>
                      <a:pt x="118" y="143"/>
                    </a:lnTo>
                    <a:lnTo>
                      <a:pt x="116" y="144"/>
                    </a:lnTo>
                    <a:lnTo>
                      <a:pt x="114" y="144"/>
                    </a:lnTo>
                    <a:lnTo>
                      <a:pt x="110" y="144"/>
                    </a:lnTo>
                    <a:lnTo>
                      <a:pt x="107" y="146"/>
                    </a:lnTo>
                    <a:lnTo>
                      <a:pt x="98" y="144"/>
                    </a:lnTo>
                    <a:lnTo>
                      <a:pt x="93" y="144"/>
                    </a:lnTo>
                    <a:lnTo>
                      <a:pt x="89" y="144"/>
                    </a:lnTo>
                    <a:lnTo>
                      <a:pt x="78" y="146"/>
                    </a:lnTo>
                    <a:lnTo>
                      <a:pt x="75" y="150"/>
                    </a:lnTo>
                    <a:lnTo>
                      <a:pt x="71" y="150"/>
                    </a:lnTo>
                    <a:lnTo>
                      <a:pt x="69" y="152"/>
                    </a:lnTo>
                    <a:lnTo>
                      <a:pt x="66" y="153"/>
                    </a:lnTo>
                    <a:lnTo>
                      <a:pt x="66" y="155"/>
                    </a:lnTo>
                    <a:lnTo>
                      <a:pt x="64" y="157"/>
                    </a:lnTo>
                    <a:lnTo>
                      <a:pt x="62" y="159"/>
                    </a:lnTo>
                    <a:lnTo>
                      <a:pt x="57" y="157"/>
                    </a:lnTo>
                    <a:lnTo>
                      <a:pt x="53" y="155"/>
                    </a:lnTo>
                    <a:lnTo>
                      <a:pt x="50" y="150"/>
                    </a:lnTo>
                    <a:lnTo>
                      <a:pt x="50" y="148"/>
                    </a:lnTo>
                    <a:lnTo>
                      <a:pt x="48" y="146"/>
                    </a:lnTo>
                    <a:lnTo>
                      <a:pt x="46" y="141"/>
                    </a:lnTo>
                    <a:lnTo>
                      <a:pt x="43" y="139"/>
                    </a:lnTo>
                    <a:lnTo>
                      <a:pt x="39" y="136"/>
                    </a:lnTo>
                    <a:lnTo>
                      <a:pt x="37" y="136"/>
                    </a:lnTo>
                    <a:lnTo>
                      <a:pt x="30" y="13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23" name="Freeform 2173"/>
              <p:cNvSpPr>
                <a:spLocks/>
              </p:cNvSpPr>
              <p:nvPr/>
            </p:nvSpPr>
            <p:spPr bwMode="auto">
              <a:xfrm>
                <a:off x="2550" y="1938"/>
                <a:ext cx="201" cy="159"/>
              </a:xfrm>
              <a:custGeom>
                <a:avLst/>
                <a:gdLst>
                  <a:gd name="T0" fmla="*/ 30 w 201"/>
                  <a:gd name="T1" fmla="*/ 128 h 159"/>
                  <a:gd name="T2" fmla="*/ 37 w 201"/>
                  <a:gd name="T3" fmla="*/ 116 h 159"/>
                  <a:gd name="T4" fmla="*/ 34 w 201"/>
                  <a:gd name="T5" fmla="*/ 109 h 159"/>
                  <a:gd name="T6" fmla="*/ 37 w 201"/>
                  <a:gd name="T7" fmla="*/ 98 h 159"/>
                  <a:gd name="T8" fmla="*/ 32 w 201"/>
                  <a:gd name="T9" fmla="*/ 87 h 159"/>
                  <a:gd name="T10" fmla="*/ 37 w 201"/>
                  <a:gd name="T11" fmla="*/ 84 h 159"/>
                  <a:gd name="T12" fmla="*/ 41 w 201"/>
                  <a:gd name="T13" fmla="*/ 78 h 159"/>
                  <a:gd name="T14" fmla="*/ 41 w 201"/>
                  <a:gd name="T15" fmla="*/ 59 h 159"/>
                  <a:gd name="T16" fmla="*/ 50 w 201"/>
                  <a:gd name="T17" fmla="*/ 44 h 159"/>
                  <a:gd name="T18" fmla="*/ 35 w 201"/>
                  <a:gd name="T19" fmla="*/ 39 h 159"/>
                  <a:gd name="T20" fmla="*/ 21 w 201"/>
                  <a:gd name="T21" fmla="*/ 41 h 159"/>
                  <a:gd name="T22" fmla="*/ 19 w 201"/>
                  <a:gd name="T23" fmla="*/ 36 h 159"/>
                  <a:gd name="T24" fmla="*/ 9 w 201"/>
                  <a:gd name="T25" fmla="*/ 41 h 159"/>
                  <a:gd name="T26" fmla="*/ 7 w 201"/>
                  <a:gd name="T27" fmla="*/ 37 h 159"/>
                  <a:gd name="T28" fmla="*/ 10 w 201"/>
                  <a:gd name="T29" fmla="*/ 30 h 159"/>
                  <a:gd name="T30" fmla="*/ 9 w 201"/>
                  <a:gd name="T31" fmla="*/ 28 h 159"/>
                  <a:gd name="T32" fmla="*/ 9 w 201"/>
                  <a:gd name="T33" fmla="*/ 23 h 159"/>
                  <a:gd name="T34" fmla="*/ 5 w 201"/>
                  <a:gd name="T35" fmla="*/ 23 h 159"/>
                  <a:gd name="T36" fmla="*/ 0 w 201"/>
                  <a:gd name="T37" fmla="*/ 16 h 159"/>
                  <a:gd name="T38" fmla="*/ 5 w 201"/>
                  <a:gd name="T39" fmla="*/ 11 h 159"/>
                  <a:gd name="T40" fmla="*/ 14 w 201"/>
                  <a:gd name="T41" fmla="*/ 9 h 159"/>
                  <a:gd name="T42" fmla="*/ 16 w 201"/>
                  <a:gd name="T43" fmla="*/ 3 h 159"/>
                  <a:gd name="T44" fmla="*/ 25 w 201"/>
                  <a:gd name="T45" fmla="*/ 0 h 159"/>
                  <a:gd name="T46" fmla="*/ 50 w 201"/>
                  <a:gd name="T47" fmla="*/ 3 h 159"/>
                  <a:gd name="T48" fmla="*/ 119 w 201"/>
                  <a:gd name="T49" fmla="*/ 7 h 159"/>
                  <a:gd name="T50" fmla="*/ 128 w 201"/>
                  <a:gd name="T51" fmla="*/ 16 h 159"/>
                  <a:gd name="T52" fmla="*/ 137 w 201"/>
                  <a:gd name="T53" fmla="*/ 19 h 159"/>
                  <a:gd name="T54" fmla="*/ 157 w 201"/>
                  <a:gd name="T55" fmla="*/ 23 h 159"/>
                  <a:gd name="T56" fmla="*/ 162 w 201"/>
                  <a:gd name="T57" fmla="*/ 21 h 159"/>
                  <a:gd name="T58" fmla="*/ 171 w 201"/>
                  <a:gd name="T59" fmla="*/ 28 h 159"/>
                  <a:gd name="T60" fmla="*/ 175 w 201"/>
                  <a:gd name="T61" fmla="*/ 28 h 159"/>
                  <a:gd name="T62" fmla="*/ 178 w 201"/>
                  <a:gd name="T63" fmla="*/ 28 h 159"/>
                  <a:gd name="T64" fmla="*/ 198 w 201"/>
                  <a:gd name="T65" fmla="*/ 28 h 159"/>
                  <a:gd name="T66" fmla="*/ 201 w 201"/>
                  <a:gd name="T67" fmla="*/ 32 h 159"/>
                  <a:gd name="T68" fmla="*/ 198 w 201"/>
                  <a:gd name="T69" fmla="*/ 36 h 159"/>
                  <a:gd name="T70" fmla="*/ 196 w 201"/>
                  <a:gd name="T71" fmla="*/ 41 h 159"/>
                  <a:gd name="T72" fmla="*/ 164 w 201"/>
                  <a:gd name="T73" fmla="*/ 59 h 159"/>
                  <a:gd name="T74" fmla="*/ 160 w 201"/>
                  <a:gd name="T75" fmla="*/ 64 h 159"/>
                  <a:gd name="T76" fmla="*/ 143 w 201"/>
                  <a:gd name="T77" fmla="*/ 93 h 159"/>
                  <a:gd name="T78" fmla="*/ 144 w 201"/>
                  <a:gd name="T79" fmla="*/ 94 h 159"/>
                  <a:gd name="T80" fmla="*/ 146 w 201"/>
                  <a:gd name="T81" fmla="*/ 102 h 159"/>
                  <a:gd name="T82" fmla="*/ 150 w 201"/>
                  <a:gd name="T83" fmla="*/ 103 h 159"/>
                  <a:gd name="T84" fmla="*/ 150 w 201"/>
                  <a:gd name="T85" fmla="*/ 107 h 159"/>
                  <a:gd name="T86" fmla="*/ 135 w 201"/>
                  <a:gd name="T87" fmla="*/ 127 h 159"/>
                  <a:gd name="T88" fmla="*/ 126 w 201"/>
                  <a:gd name="T89" fmla="*/ 130 h 159"/>
                  <a:gd name="T90" fmla="*/ 118 w 201"/>
                  <a:gd name="T91" fmla="*/ 143 h 159"/>
                  <a:gd name="T92" fmla="*/ 114 w 201"/>
                  <a:gd name="T93" fmla="*/ 144 h 159"/>
                  <a:gd name="T94" fmla="*/ 107 w 201"/>
                  <a:gd name="T95" fmla="*/ 146 h 159"/>
                  <a:gd name="T96" fmla="*/ 93 w 201"/>
                  <a:gd name="T97" fmla="*/ 144 h 159"/>
                  <a:gd name="T98" fmla="*/ 78 w 201"/>
                  <a:gd name="T99" fmla="*/ 146 h 159"/>
                  <a:gd name="T100" fmla="*/ 71 w 201"/>
                  <a:gd name="T101" fmla="*/ 150 h 159"/>
                  <a:gd name="T102" fmla="*/ 66 w 201"/>
                  <a:gd name="T103" fmla="*/ 153 h 159"/>
                  <a:gd name="T104" fmla="*/ 64 w 201"/>
                  <a:gd name="T105" fmla="*/ 157 h 159"/>
                  <a:gd name="T106" fmla="*/ 57 w 201"/>
                  <a:gd name="T107" fmla="*/ 157 h 159"/>
                  <a:gd name="T108" fmla="*/ 50 w 201"/>
                  <a:gd name="T109" fmla="*/ 150 h 159"/>
                  <a:gd name="T110" fmla="*/ 48 w 201"/>
                  <a:gd name="T111" fmla="*/ 146 h 159"/>
                  <a:gd name="T112" fmla="*/ 43 w 201"/>
                  <a:gd name="T113" fmla="*/ 139 h 159"/>
                  <a:gd name="T114" fmla="*/ 37 w 201"/>
                  <a:gd name="T115" fmla="*/ 13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1" h="159">
                    <a:moveTo>
                      <a:pt x="30" y="136"/>
                    </a:moveTo>
                    <a:lnTo>
                      <a:pt x="30" y="128"/>
                    </a:lnTo>
                    <a:lnTo>
                      <a:pt x="37" y="119"/>
                    </a:lnTo>
                    <a:lnTo>
                      <a:pt x="37" y="116"/>
                    </a:lnTo>
                    <a:lnTo>
                      <a:pt x="34" y="112"/>
                    </a:lnTo>
                    <a:lnTo>
                      <a:pt x="34" y="109"/>
                    </a:lnTo>
                    <a:lnTo>
                      <a:pt x="34" y="105"/>
                    </a:lnTo>
                    <a:lnTo>
                      <a:pt x="37" y="98"/>
                    </a:lnTo>
                    <a:lnTo>
                      <a:pt x="32" y="93"/>
                    </a:lnTo>
                    <a:lnTo>
                      <a:pt x="32" y="87"/>
                    </a:lnTo>
                    <a:lnTo>
                      <a:pt x="34" y="86"/>
                    </a:lnTo>
                    <a:lnTo>
                      <a:pt x="37" y="84"/>
                    </a:lnTo>
                    <a:lnTo>
                      <a:pt x="39" y="82"/>
                    </a:lnTo>
                    <a:lnTo>
                      <a:pt x="41" y="78"/>
                    </a:lnTo>
                    <a:lnTo>
                      <a:pt x="37" y="75"/>
                    </a:lnTo>
                    <a:lnTo>
                      <a:pt x="41" y="59"/>
                    </a:lnTo>
                    <a:lnTo>
                      <a:pt x="50" y="48"/>
                    </a:lnTo>
                    <a:lnTo>
                      <a:pt x="50" y="44"/>
                    </a:lnTo>
                    <a:lnTo>
                      <a:pt x="46" y="39"/>
                    </a:lnTo>
                    <a:lnTo>
                      <a:pt x="35" y="39"/>
                    </a:lnTo>
                    <a:lnTo>
                      <a:pt x="32" y="41"/>
                    </a:lnTo>
                    <a:lnTo>
                      <a:pt x="21" y="41"/>
                    </a:lnTo>
                    <a:lnTo>
                      <a:pt x="19" y="39"/>
                    </a:lnTo>
                    <a:lnTo>
                      <a:pt x="19" y="36"/>
                    </a:lnTo>
                    <a:lnTo>
                      <a:pt x="10" y="37"/>
                    </a:lnTo>
                    <a:lnTo>
                      <a:pt x="9" y="41"/>
                    </a:lnTo>
                    <a:lnTo>
                      <a:pt x="7" y="39"/>
                    </a:lnTo>
                    <a:lnTo>
                      <a:pt x="7" y="37"/>
                    </a:lnTo>
                    <a:lnTo>
                      <a:pt x="9" y="34"/>
                    </a:lnTo>
                    <a:lnTo>
                      <a:pt x="10" y="30"/>
                    </a:lnTo>
                    <a:lnTo>
                      <a:pt x="9" y="30"/>
                    </a:lnTo>
                    <a:lnTo>
                      <a:pt x="9" y="28"/>
                    </a:lnTo>
                    <a:lnTo>
                      <a:pt x="7" y="27"/>
                    </a:lnTo>
                    <a:lnTo>
                      <a:pt x="9" y="23"/>
                    </a:lnTo>
                    <a:lnTo>
                      <a:pt x="7" y="23"/>
                    </a:lnTo>
                    <a:lnTo>
                      <a:pt x="5" y="23"/>
                    </a:lnTo>
                    <a:lnTo>
                      <a:pt x="5" y="19"/>
                    </a:lnTo>
                    <a:lnTo>
                      <a:pt x="0" y="16"/>
                    </a:lnTo>
                    <a:lnTo>
                      <a:pt x="1" y="12"/>
                    </a:lnTo>
                    <a:lnTo>
                      <a:pt x="5" y="11"/>
                    </a:lnTo>
                    <a:lnTo>
                      <a:pt x="9" y="9"/>
                    </a:lnTo>
                    <a:lnTo>
                      <a:pt x="14" y="9"/>
                    </a:lnTo>
                    <a:lnTo>
                      <a:pt x="16" y="7"/>
                    </a:lnTo>
                    <a:lnTo>
                      <a:pt x="16" y="3"/>
                    </a:lnTo>
                    <a:lnTo>
                      <a:pt x="18" y="2"/>
                    </a:lnTo>
                    <a:lnTo>
                      <a:pt x="25" y="0"/>
                    </a:lnTo>
                    <a:lnTo>
                      <a:pt x="32" y="2"/>
                    </a:lnTo>
                    <a:lnTo>
                      <a:pt x="50" y="3"/>
                    </a:lnTo>
                    <a:lnTo>
                      <a:pt x="53" y="2"/>
                    </a:lnTo>
                    <a:lnTo>
                      <a:pt x="119" y="7"/>
                    </a:lnTo>
                    <a:lnTo>
                      <a:pt x="119" y="9"/>
                    </a:lnTo>
                    <a:lnTo>
                      <a:pt x="128" y="16"/>
                    </a:lnTo>
                    <a:lnTo>
                      <a:pt x="132" y="16"/>
                    </a:lnTo>
                    <a:lnTo>
                      <a:pt x="137" y="19"/>
                    </a:lnTo>
                    <a:lnTo>
                      <a:pt x="155" y="23"/>
                    </a:lnTo>
                    <a:lnTo>
                      <a:pt x="157" y="23"/>
                    </a:lnTo>
                    <a:lnTo>
                      <a:pt x="160" y="21"/>
                    </a:lnTo>
                    <a:lnTo>
                      <a:pt x="162" y="21"/>
                    </a:lnTo>
                    <a:lnTo>
                      <a:pt x="171" y="27"/>
                    </a:lnTo>
                    <a:lnTo>
                      <a:pt x="171" y="28"/>
                    </a:lnTo>
                    <a:lnTo>
                      <a:pt x="173" y="28"/>
                    </a:lnTo>
                    <a:lnTo>
                      <a:pt x="175" y="28"/>
                    </a:lnTo>
                    <a:lnTo>
                      <a:pt x="175" y="27"/>
                    </a:lnTo>
                    <a:lnTo>
                      <a:pt x="178" y="28"/>
                    </a:lnTo>
                    <a:lnTo>
                      <a:pt x="180" y="30"/>
                    </a:lnTo>
                    <a:lnTo>
                      <a:pt x="198" y="28"/>
                    </a:lnTo>
                    <a:lnTo>
                      <a:pt x="200" y="30"/>
                    </a:lnTo>
                    <a:lnTo>
                      <a:pt x="201" y="32"/>
                    </a:lnTo>
                    <a:lnTo>
                      <a:pt x="198" y="32"/>
                    </a:lnTo>
                    <a:lnTo>
                      <a:pt x="198" y="36"/>
                    </a:lnTo>
                    <a:lnTo>
                      <a:pt x="200" y="37"/>
                    </a:lnTo>
                    <a:lnTo>
                      <a:pt x="196" y="41"/>
                    </a:lnTo>
                    <a:lnTo>
                      <a:pt x="182" y="52"/>
                    </a:lnTo>
                    <a:lnTo>
                      <a:pt x="164" y="59"/>
                    </a:lnTo>
                    <a:lnTo>
                      <a:pt x="160" y="62"/>
                    </a:lnTo>
                    <a:lnTo>
                      <a:pt x="160" y="64"/>
                    </a:lnTo>
                    <a:lnTo>
                      <a:pt x="144" y="87"/>
                    </a:lnTo>
                    <a:lnTo>
                      <a:pt x="143" y="93"/>
                    </a:lnTo>
                    <a:lnTo>
                      <a:pt x="143" y="93"/>
                    </a:lnTo>
                    <a:lnTo>
                      <a:pt x="144" y="94"/>
                    </a:lnTo>
                    <a:lnTo>
                      <a:pt x="144" y="100"/>
                    </a:lnTo>
                    <a:lnTo>
                      <a:pt x="146" y="102"/>
                    </a:lnTo>
                    <a:lnTo>
                      <a:pt x="148" y="102"/>
                    </a:lnTo>
                    <a:lnTo>
                      <a:pt x="150" y="103"/>
                    </a:lnTo>
                    <a:lnTo>
                      <a:pt x="151" y="105"/>
                    </a:lnTo>
                    <a:lnTo>
                      <a:pt x="150" y="107"/>
                    </a:lnTo>
                    <a:lnTo>
                      <a:pt x="141" y="114"/>
                    </a:lnTo>
                    <a:lnTo>
                      <a:pt x="135" y="127"/>
                    </a:lnTo>
                    <a:lnTo>
                      <a:pt x="137" y="128"/>
                    </a:lnTo>
                    <a:lnTo>
                      <a:pt x="126" y="130"/>
                    </a:lnTo>
                    <a:lnTo>
                      <a:pt x="121" y="136"/>
                    </a:lnTo>
                    <a:lnTo>
                      <a:pt x="118" y="143"/>
                    </a:lnTo>
                    <a:lnTo>
                      <a:pt x="116" y="144"/>
                    </a:lnTo>
                    <a:lnTo>
                      <a:pt x="114" y="144"/>
                    </a:lnTo>
                    <a:lnTo>
                      <a:pt x="110" y="144"/>
                    </a:lnTo>
                    <a:lnTo>
                      <a:pt x="107" y="146"/>
                    </a:lnTo>
                    <a:lnTo>
                      <a:pt x="98" y="144"/>
                    </a:lnTo>
                    <a:lnTo>
                      <a:pt x="93" y="144"/>
                    </a:lnTo>
                    <a:lnTo>
                      <a:pt x="89" y="144"/>
                    </a:lnTo>
                    <a:lnTo>
                      <a:pt x="78" y="146"/>
                    </a:lnTo>
                    <a:lnTo>
                      <a:pt x="75" y="150"/>
                    </a:lnTo>
                    <a:lnTo>
                      <a:pt x="71" y="150"/>
                    </a:lnTo>
                    <a:lnTo>
                      <a:pt x="69" y="152"/>
                    </a:lnTo>
                    <a:lnTo>
                      <a:pt x="66" y="153"/>
                    </a:lnTo>
                    <a:lnTo>
                      <a:pt x="66" y="155"/>
                    </a:lnTo>
                    <a:lnTo>
                      <a:pt x="64" y="157"/>
                    </a:lnTo>
                    <a:lnTo>
                      <a:pt x="62" y="159"/>
                    </a:lnTo>
                    <a:lnTo>
                      <a:pt x="57" y="157"/>
                    </a:lnTo>
                    <a:lnTo>
                      <a:pt x="53" y="155"/>
                    </a:lnTo>
                    <a:lnTo>
                      <a:pt x="50" y="150"/>
                    </a:lnTo>
                    <a:lnTo>
                      <a:pt x="50" y="148"/>
                    </a:lnTo>
                    <a:lnTo>
                      <a:pt x="48" y="146"/>
                    </a:lnTo>
                    <a:lnTo>
                      <a:pt x="46" y="141"/>
                    </a:lnTo>
                    <a:lnTo>
                      <a:pt x="43" y="139"/>
                    </a:lnTo>
                    <a:lnTo>
                      <a:pt x="39" y="136"/>
                    </a:lnTo>
                    <a:lnTo>
                      <a:pt x="37" y="136"/>
                    </a:lnTo>
                    <a:lnTo>
                      <a:pt x="30" y="13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24" name="Freeform 2174"/>
              <p:cNvSpPr>
                <a:spLocks/>
              </p:cNvSpPr>
              <p:nvPr/>
            </p:nvSpPr>
            <p:spPr bwMode="auto">
              <a:xfrm>
                <a:off x="3317" y="2068"/>
                <a:ext cx="156" cy="161"/>
              </a:xfrm>
              <a:custGeom>
                <a:avLst/>
                <a:gdLst>
                  <a:gd name="T0" fmla="*/ 156 w 156"/>
                  <a:gd name="T1" fmla="*/ 143 h 161"/>
                  <a:gd name="T2" fmla="*/ 154 w 156"/>
                  <a:gd name="T3" fmla="*/ 147 h 161"/>
                  <a:gd name="T4" fmla="*/ 149 w 156"/>
                  <a:gd name="T5" fmla="*/ 143 h 161"/>
                  <a:gd name="T6" fmla="*/ 149 w 156"/>
                  <a:gd name="T7" fmla="*/ 143 h 161"/>
                  <a:gd name="T8" fmla="*/ 147 w 156"/>
                  <a:gd name="T9" fmla="*/ 145 h 161"/>
                  <a:gd name="T10" fmla="*/ 140 w 156"/>
                  <a:gd name="T11" fmla="*/ 143 h 161"/>
                  <a:gd name="T12" fmla="*/ 136 w 156"/>
                  <a:gd name="T13" fmla="*/ 145 h 161"/>
                  <a:gd name="T14" fmla="*/ 129 w 156"/>
                  <a:gd name="T15" fmla="*/ 156 h 161"/>
                  <a:gd name="T16" fmla="*/ 124 w 156"/>
                  <a:gd name="T17" fmla="*/ 161 h 161"/>
                  <a:gd name="T18" fmla="*/ 95 w 156"/>
                  <a:gd name="T19" fmla="*/ 159 h 161"/>
                  <a:gd name="T20" fmla="*/ 77 w 156"/>
                  <a:gd name="T21" fmla="*/ 150 h 161"/>
                  <a:gd name="T22" fmla="*/ 77 w 156"/>
                  <a:gd name="T23" fmla="*/ 148 h 161"/>
                  <a:gd name="T24" fmla="*/ 77 w 156"/>
                  <a:gd name="T25" fmla="*/ 138 h 161"/>
                  <a:gd name="T26" fmla="*/ 75 w 156"/>
                  <a:gd name="T27" fmla="*/ 138 h 161"/>
                  <a:gd name="T28" fmla="*/ 68 w 156"/>
                  <a:gd name="T29" fmla="*/ 136 h 161"/>
                  <a:gd name="T30" fmla="*/ 65 w 156"/>
                  <a:gd name="T31" fmla="*/ 131 h 161"/>
                  <a:gd name="T32" fmla="*/ 6 w 156"/>
                  <a:gd name="T33" fmla="*/ 104 h 161"/>
                  <a:gd name="T34" fmla="*/ 0 w 156"/>
                  <a:gd name="T35" fmla="*/ 81 h 161"/>
                  <a:gd name="T36" fmla="*/ 36 w 156"/>
                  <a:gd name="T37" fmla="*/ 59 h 161"/>
                  <a:gd name="T38" fmla="*/ 40 w 156"/>
                  <a:gd name="T39" fmla="*/ 52 h 161"/>
                  <a:gd name="T40" fmla="*/ 42 w 156"/>
                  <a:gd name="T41" fmla="*/ 22 h 161"/>
                  <a:gd name="T42" fmla="*/ 50 w 156"/>
                  <a:gd name="T43" fmla="*/ 18 h 161"/>
                  <a:gd name="T44" fmla="*/ 56 w 156"/>
                  <a:gd name="T45" fmla="*/ 9 h 161"/>
                  <a:gd name="T46" fmla="*/ 67 w 156"/>
                  <a:gd name="T47" fmla="*/ 0 h 161"/>
                  <a:gd name="T48" fmla="*/ 74 w 156"/>
                  <a:gd name="T49" fmla="*/ 2 h 161"/>
                  <a:gd name="T50" fmla="*/ 86 w 156"/>
                  <a:gd name="T51" fmla="*/ 2 h 161"/>
                  <a:gd name="T52" fmla="*/ 90 w 156"/>
                  <a:gd name="T53" fmla="*/ 6 h 161"/>
                  <a:gd name="T54" fmla="*/ 93 w 156"/>
                  <a:gd name="T55" fmla="*/ 6 h 161"/>
                  <a:gd name="T56" fmla="*/ 97 w 156"/>
                  <a:gd name="T57" fmla="*/ 4 h 161"/>
                  <a:gd name="T58" fmla="*/ 97 w 156"/>
                  <a:gd name="T59" fmla="*/ 14 h 161"/>
                  <a:gd name="T60" fmla="*/ 100 w 156"/>
                  <a:gd name="T61" fmla="*/ 18 h 161"/>
                  <a:gd name="T62" fmla="*/ 104 w 156"/>
                  <a:gd name="T63" fmla="*/ 22 h 161"/>
                  <a:gd name="T64" fmla="*/ 106 w 156"/>
                  <a:gd name="T65" fmla="*/ 29 h 161"/>
                  <a:gd name="T66" fmla="*/ 109 w 156"/>
                  <a:gd name="T67" fmla="*/ 31 h 161"/>
                  <a:gd name="T68" fmla="*/ 120 w 156"/>
                  <a:gd name="T69" fmla="*/ 32 h 161"/>
                  <a:gd name="T70" fmla="*/ 118 w 156"/>
                  <a:gd name="T71" fmla="*/ 34 h 161"/>
                  <a:gd name="T72" fmla="*/ 117 w 156"/>
                  <a:gd name="T73" fmla="*/ 39 h 161"/>
                  <a:gd name="T74" fmla="*/ 118 w 156"/>
                  <a:gd name="T75" fmla="*/ 45 h 161"/>
                  <a:gd name="T76" fmla="*/ 111 w 156"/>
                  <a:gd name="T77" fmla="*/ 54 h 161"/>
                  <a:gd name="T78" fmla="*/ 111 w 156"/>
                  <a:gd name="T79" fmla="*/ 56 h 161"/>
                  <a:gd name="T80" fmla="*/ 109 w 156"/>
                  <a:gd name="T81" fmla="*/ 57 h 161"/>
                  <a:gd name="T82" fmla="*/ 108 w 156"/>
                  <a:gd name="T83" fmla="*/ 59 h 161"/>
                  <a:gd name="T84" fmla="*/ 108 w 156"/>
                  <a:gd name="T85" fmla="*/ 66 h 161"/>
                  <a:gd name="T86" fmla="*/ 106 w 156"/>
                  <a:gd name="T87" fmla="*/ 68 h 161"/>
                  <a:gd name="T88" fmla="*/ 106 w 156"/>
                  <a:gd name="T89" fmla="*/ 68 h 161"/>
                  <a:gd name="T90" fmla="*/ 106 w 156"/>
                  <a:gd name="T91" fmla="*/ 73 h 161"/>
                  <a:gd name="T92" fmla="*/ 108 w 156"/>
                  <a:gd name="T93" fmla="*/ 75 h 161"/>
                  <a:gd name="T94" fmla="*/ 109 w 156"/>
                  <a:gd name="T95" fmla="*/ 75 h 161"/>
                  <a:gd name="T96" fmla="*/ 111 w 156"/>
                  <a:gd name="T97" fmla="*/ 77 h 161"/>
                  <a:gd name="T98" fmla="*/ 113 w 156"/>
                  <a:gd name="T99" fmla="*/ 79 h 161"/>
                  <a:gd name="T100" fmla="*/ 115 w 156"/>
                  <a:gd name="T101" fmla="*/ 82 h 161"/>
                  <a:gd name="T102" fmla="*/ 115 w 156"/>
                  <a:gd name="T103" fmla="*/ 86 h 161"/>
                  <a:gd name="T104" fmla="*/ 129 w 156"/>
                  <a:gd name="T105" fmla="*/ 95 h 161"/>
                  <a:gd name="T106" fmla="*/ 134 w 156"/>
                  <a:gd name="T107" fmla="*/ 97 h 161"/>
                  <a:gd name="T108" fmla="*/ 141 w 156"/>
                  <a:gd name="T109" fmla="*/ 111 h 161"/>
                  <a:gd name="T110" fmla="*/ 141 w 156"/>
                  <a:gd name="T111" fmla="*/ 125 h 161"/>
                  <a:gd name="T112" fmla="*/ 145 w 156"/>
                  <a:gd name="T113" fmla="*/ 127 h 161"/>
                  <a:gd name="T114" fmla="*/ 145 w 156"/>
                  <a:gd name="T115" fmla="*/ 132 h 161"/>
                  <a:gd name="T116" fmla="*/ 156 w 156"/>
                  <a:gd name="T117" fmla="*/ 14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161">
                    <a:moveTo>
                      <a:pt x="156" y="143"/>
                    </a:moveTo>
                    <a:lnTo>
                      <a:pt x="154" y="147"/>
                    </a:lnTo>
                    <a:lnTo>
                      <a:pt x="149" y="143"/>
                    </a:lnTo>
                    <a:lnTo>
                      <a:pt x="149" y="143"/>
                    </a:lnTo>
                    <a:lnTo>
                      <a:pt x="147" y="145"/>
                    </a:lnTo>
                    <a:lnTo>
                      <a:pt x="140" y="143"/>
                    </a:lnTo>
                    <a:lnTo>
                      <a:pt x="136" y="145"/>
                    </a:lnTo>
                    <a:lnTo>
                      <a:pt x="129" y="156"/>
                    </a:lnTo>
                    <a:lnTo>
                      <a:pt x="124" y="161"/>
                    </a:lnTo>
                    <a:lnTo>
                      <a:pt x="95" y="159"/>
                    </a:lnTo>
                    <a:lnTo>
                      <a:pt x="77" y="150"/>
                    </a:lnTo>
                    <a:lnTo>
                      <a:pt x="77" y="148"/>
                    </a:lnTo>
                    <a:lnTo>
                      <a:pt x="77" y="138"/>
                    </a:lnTo>
                    <a:lnTo>
                      <a:pt x="75" y="138"/>
                    </a:lnTo>
                    <a:lnTo>
                      <a:pt x="68" y="136"/>
                    </a:lnTo>
                    <a:lnTo>
                      <a:pt x="65" y="131"/>
                    </a:lnTo>
                    <a:lnTo>
                      <a:pt x="6" y="104"/>
                    </a:lnTo>
                    <a:lnTo>
                      <a:pt x="0" y="81"/>
                    </a:lnTo>
                    <a:lnTo>
                      <a:pt x="36" y="59"/>
                    </a:lnTo>
                    <a:lnTo>
                      <a:pt x="40" y="52"/>
                    </a:lnTo>
                    <a:lnTo>
                      <a:pt x="42" y="22"/>
                    </a:lnTo>
                    <a:lnTo>
                      <a:pt x="50" y="18"/>
                    </a:lnTo>
                    <a:lnTo>
                      <a:pt x="56" y="9"/>
                    </a:lnTo>
                    <a:lnTo>
                      <a:pt x="67" y="0"/>
                    </a:lnTo>
                    <a:lnTo>
                      <a:pt x="74" y="2"/>
                    </a:lnTo>
                    <a:lnTo>
                      <a:pt x="86" y="2"/>
                    </a:lnTo>
                    <a:lnTo>
                      <a:pt x="90" y="6"/>
                    </a:lnTo>
                    <a:lnTo>
                      <a:pt x="93" y="6"/>
                    </a:lnTo>
                    <a:lnTo>
                      <a:pt x="97" y="4"/>
                    </a:lnTo>
                    <a:lnTo>
                      <a:pt x="97" y="14"/>
                    </a:lnTo>
                    <a:lnTo>
                      <a:pt x="100" y="18"/>
                    </a:lnTo>
                    <a:lnTo>
                      <a:pt x="104" y="22"/>
                    </a:lnTo>
                    <a:lnTo>
                      <a:pt x="106" y="29"/>
                    </a:lnTo>
                    <a:lnTo>
                      <a:pt x="109" y="31"/>
                    </a:lnTo>
                    <a:lnTo>
                      <a:pt x="120" y="32"/>
                    </a:lnTo>
                    <a:lnTo>
                      <a:pt x="118" y="34"/>
                    </a:lnTo>
                    <a:lnTo>
                      <a:pt x="117" y="39"/>
                    </a:lnTo>
                    <a:lnTo>
                      <a:pt x="118" y="45"/>
                    </a:lnTo>
                    <a:lnTo>
                      <a:pt x="111" y="54"/>
                    </a:lnTo>
                    <a:lnTo>
                      <a:pt x="111" y="56"/>
                    </a:lnTo>
                    <a:lnTo>
                      <a:pt x="109" y="57"/>
                    </a:lnTo>
                    <a:lnTo>
                      <a:pt x="108" y="59"/>
                    </a:lnTo>
                    <a:lnTo>
                      <a:pt x="108" y="66"/>
                    </a:lnTo>
                    <a:lnTo>
                      <a:pt x="106" y="68"/>
                    </a:lnTo>
                    <a:lnTo>
                      <a:pt x="106" y="68"/>
                    </a:lnTo>
                    <a:lnTo>
                      <a:pt x="106" y="73"/>
                    </a:lnTo>
                    <a:lnTo>
                      <a:pt x="108" y="75"/>
                    </a:lnTo>
                    <a:lnTo>
                      <a:pt x="109" y="75"/>
                    </a:lnTo>
                    <a:lnTo>
                      <a:pt x="111" y="77"/>
                    </a:lnTo>
                    <a:lnTo>
                      <a:pt x="113" y="79"/>
                    </a:lnTo>
                    <a:lnTo>
                      <a:pt x="115" y="82"/>
                    </a:lnTo>
                    <a:lnTo>
                      <a:pt x="115" y="86"/>
                    </a:lnTo>
                    <a:lnTo>
                      <a:pt x="129" y="95"/>
                    </a:lnTo>
                    <a:lnTo>
                      <a:pt x="134" y="97"/>
                    </a:lnTo>
                    <a:lnTo>
                      <a:pt x="141" y="111"/>
                    </a:lnTo>
                    <a:lnTo>
                      <a:pt x="141" y="125"/>
                    </a:lnTo>
                    <a:lnTo>
                      <a:pt x="145" y="127"/>
                    </a:lnTo>
                    <a:lnTo>
                      <a:pt x="145" y="132"/>
                    </a:lnTo>
                    <a:lnTo>
                      <a:pt x="156" y="14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25" name="Freeform 2175"/>
              <p:cNvSpPr>
                <a:spLocks/>
              </p:cNvSpPr>
              <p:nvPr/>
            </p:nvSpPr>
            <p:spPr bwMode="auto">
              <a:xfrm>
                <a:off x="3317" y="2068"/>
                <a:ext cx="156" cy="161"/>
              </a:xfrm>
              <a:custGeom>
                <a:avLst/>
                <a:gdLst>
                  <a:gd name="T0" fmla="*/ 156 w 156"/>
                  <a:gd name="T1" fmla="*/ 143 h 161"/>
                  <a:gd name="T2" fmla="*/ 154 w 156"/>
                  <a:gd name="T3" fmla="*/ 147 h 161"/>
                  <a:gd name="T4" fmla="*/ 149 w 156"/>
                  <a:gd name="T5" fmla="*/ 143 h 161"/>
                  <a:gd name="T6" fmla="*/ 149 w 156"/>
                  <a:gd name="T7" fmla="*/ 143 h 161"/>
                  <a:gd name="T8" fmla="*/ 147 w 156"/>
                  <a:gd name="T9" fmla="*/ 145 h 161"/>
                  <a:gd name="T10" fmla="*/ 140 w 156"/>
                  <a:gd name="T11" fmla="*/ 143 h 161"/>
                  <a:gd name="T12" fmla="*/ 136 w 156"/>
                  <a:gd name="T13" fmla="*/ 145 h 161"/>
                  <a:gd name="T14" fmla="*/ 129 w 156"/>
                  <a:gd name="T15" fmla="*/ 156 h 161"/>
                  <a:gd name="T16" fmla="*/ 124 w 156"/>
                  <a:gd name="T17" fmla="*/ 161 h 161"/>
                  <a:gd name="T18" fmla="*/ 95 w 156"/>
                  <a:gd name="T19" fmla="*/ 159 h 161"/>
                  <a:gd name="T20" fmla="*/ 77 w 156"/>
                  <a:gd name="T21" fmla="*/ 150 h 161"/>
                  <a:gd name="T22" fmla="*/ 77 w 156"/>
                  <a:gd name="T23" fmla="*/ 148 h 161"/>
                  <a:gd name="T24" fmla="*/ 77 w 156"/>
                  <a:gd name="T25" fmla="*/ 138 h 161"/>
                  <a:gd name="T26" fmla="*/ 75 w 156"/>
                  <a:gd name="T27" fmla="*/ 138 h 161"/>
                  <a:gd name="T28" fmla="*/ 68 w 156"/>
                  <a:gd name="T29" fmla="*/ 136 h 161"/>
                  <a:gd name="T30" fmla="*/ 65 w 156"/>
                  <a:gd name="T31" fmla="*/ 131 h 161"/>
                  <a:gd name="T32" fmla="*/ 6 w 156"/>
                  <a:gd name="T33" fmla="*/ 104 h 161"/>
                  <a:gd name="T34" fmla="*/ 0 w 156"/>
                  <a:gd name="T35" fmla="*/ 81 h 161"/>
                  <a:gd name="T36" fmla="*/ 36 w 156"/>
                  <a:gd name="T37" fmla="*/ 59 h 161"/>
                  <a:gd name="T38" fmla="*/ 40 w 156"/>
                  <a:gd name="T39" fmla="*/ 52 h 161"/>
                  <a:gd name="T40" fmla="*/ 42 w 156"/>
                  <a:gd name="T41" fmla="*/ 22 h 161"/>
                  <a:gd name="T42" fmla="*/ 50 w 156"/>
                  <a:gd name="T43" fmla="*/ 18 h 161"/>
                  <a:gd name="T44" fmla="*/ 56 w 156"/>
                  <a:gd name="T45" fmla="*/ 9 h 161"/>
                  <a:gd name="T46" fmla="*/ 67 w 156"/>
                  <a:gd name="T47" fmla="*/ 0 h 161"/>
                  <a:gd name="T48" fmla="*/ 74 w 156"/>
                  <a:gd name="T49" fmla="*/ 2 h 161"/>
                  <a:gd name="T50" fmla="*/ 86 w 156"/>
                  <a:gd name="T51" fmla="*/ 2 h 161"/>
                  <a:gd name="T52" fmla="*/ 90 w 156"/>
                  <a:gd name="T53" fmla="*/ 6 h 161"/>
                  <a:gd name="T54" fmla="*/ 93 w 156"/>
                  <a:gd name="T55" fmla="*/ 6 h 161"/>
                  <a:gd name="T56" fmla="*/ 97 w 156"/>
                  <a:gd name="T57" fmla="*/ 4 h 161"/>
                  <a:gd name="T58" fmla="*/ 97 w 156"/>
                  <a:gd name="T59" fmla="*/ 14 h 161"/>
                  <a:gd name="T60" fmla="*/ 100 w 156"/>
                  <a:gd name="T61" fmla="*/ 18 h 161"/>
                  <a:gd name="T62" fmla="*/ 104 w 156"/>
                  <a:gd name="T63" fmla="*/ 22 h 161"/>
                  <a:gd name="T64" fmla="*/ 106 w 156"/>
                  <a:gd name="T65" fmla="*/ 29 h 161"/>
                  <a:gd name="T66" fmla="*/ 109 w 156"/>
                  <a:gd name="T67" fmla="*/ 31 h 161"/>
                  <a:gd name="T68" fmla="*/ 120 w 156"/>
                  <a:gd name="T69" fmla="*/ 32 h 161"/>
                  <a:gd name="T70" fmla="*/ 118 w 156"/>
                  <a:gd name="T71" fmla="*/ 34 h 161"/>
                  <a:gd name="T72" fmla="*/ 117 w 156"/>
                  <a:gd name="T73" fmla="*/ 39 h 161"/>
                  <a:gd name="T74" fmla="*/ 118 w 156"/>
                  <a:gd name="T75" fmla="*/ 45 h 161"/>
                  <a:gd name="T76" fmla="*/ 111 w 156"/>
                  <a:gd name="T77" fmla="*/ 54 h 161"/>
                  <a:gd name="T78" fmla="*/ 111 w 156"/>
                  <a:gd name="T79" fmla="*/ 56 h 161"/>
                  <a:gd name="T80" fmla="*/ 109 w 156"/>
                  <a:gd name="T81" fmla="*/ 57 h 161"/>
                  <a:gd name="T82" fmla="*/ 108 w 156"/>
                  <a:gd name="T83" fmla="*/ 59 h 161"/>
                  <a:gd name="T84" fmla="*/ 108 w 156"/>
                  <a:gd name="T85" fmla="*/ 66 h 161"/>
                  <a:gd name="T86" fmla="*/ 106 w 156"/>
                  <a:gd name="T87" fmla="*/ 68 h 161"/>
                  <a:gd name="T88" fmla="*/ 106 w 156"/>
                  <a:gd name="T89" fmla="*/ 68 h 161"/>
                  <a:gd name="T90" fmla="*/ 106 w 156"/>
                  <a:gd name="T91" fmla="*/ 73 h 161"/>
                  <a:gd name="T92" fmla="*/ 108 w 156"/>
                  <a:gd name="T93" fmla="*/ 75 h 161"/>
                  <a:gd name="T94" fmla="*/ 109 w 156"/>
                  <a:gd name="T95" fmla="*/ 75 h 161"/>
                  <a:gd name="T96" fmla="*/ 111 w 156"/>
                  <a:gd name="T97" fmla="*/ 77 h 161"/>
                  <a:gd name="T98" fmla="*/ 113 w 156"/>
                  <a:gd name="T99" fmla="*/ 79 h 161"/>
                  <a:gd name="T100" fmla="*/ 115 w 156"/>
                  <a:gd name="T101" fmla="*/ 82 h 161"/>
                  <a:gd name="T102" fmla="*/ 115 w 156"/>
                  <a:gd name="T103" fmla="*/ 86 h 161"/>
                  <a:gd name="T104" fmla="*/ 129 w 156"/>
                  <a:gd name="T105" fmla="*/ 95 h 161"/>
                  <a:gd name="T106" fmla="*/ 134 w 156"/>
                  <a:gd name="T107" fmla="*/ 97 h 161"/>
                  <a:gd name="T108" fmla="*/ 141 w 156"/>
                  <a:gd name="T109" fmla="*/ 111 h 161"/>
                  <a:gd name="T110" fmla="*/ 141 w 156"/>
                  <a:gd name="T111" fmla="*/ 125 h 161"/>
                  <a:gd name="T112" fmla="*/ 145 w 156"/>
                  <a:gd name="T113" fmla="*/ 127 h 161"/>
                  <a:gd name="T114" fmla="*/ 145 w 156"/>
                  <a:gd name="T115" fmla="*/ 132 h 161"/>
                  <a:gd name="T116" fmla="*/ 156 w 156"/>
                  <a:gd name="T117" fmla="*/ 143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6" h="161">
                    <a:moveTo>
                      <a:pt x="156" y="143"/>
                    </a:moveTo>
                    <a:lnTo>
                      <a:pt x="154" y="147"/>
                    </a:lnTo>
                    <a:lnTo>
                      <a:pt x="149" y="143"/>
                    </a:lnTo>
                    <a:lnTo>
                      <a:pt x="149" y="143"/>
                    </a:lnTo>
                    <a:lnTo>
                      <a:pt x="147" y="145"/>
                    </a:lnTo>
                    <a:lnTo>
                      <a:pt x="140" y="143"/>
                    </a:lnTo>
                    <a:lnTo>
                      <a:pt x="136" y="145"/>
                    </a:lnTo>
                    <a:lnTo>
                      <a:pt x="129" y="156"/>
                    </a:lnTo>
                    <a:lnTo>
                      <a:pt x="124" y="161"/>
                    </a:lnTo>
                    <a:lnTo>
                      <a:pt x="95" y="159"/>
                    </a:lnTo>
                    <a:lnTo>
                      <a:pt x="77" y="150"/>
                    </a:lnTo>
                    <a:lnTo>
                      <a:pt x="77" y="148"/>
                    </a:lnTo>
                    <a:lnTo>
                      <a:pt x="77" y="138"/>
                    </a:lnTo>
                    <a:lnTo>
                      <a:pt x="75" y="138"/>
                    </a:lnTo>
                    <a:lnTo>
                      <a:pt x="68" y="136"/>
                    </a:lnTo>
                    <a:lnTo>
                      <a:pt x="65" y="131"/>
                    </a:lnTo>
                    <a:lnTo>
                      <a:pt x="6" y="104"/>
                    </a:lnTo>
                    <a:lnTo>
                      <a:pt x="0" y="81"/>
                    </a:lnTo>
                    <a:lnTo>
                      <a:pt x="36" y="59"/>
                    </a:lnTo>
                    <a:lnTo>
                      <a:pt x="40" y="52"/>
                    </a:lnTo>
                    <a:lnTo>
                      <a:pt x="42" y="22"/>
                    </a:lnTo>
                    <a:lnTo>
                      <a:pt x="50" y="18"/>
                    </a:lnTo>
                    <a:lnTo>
                      <a:pt x="56" y="9"/>
                    </a:lnTo>
                    <a:lnTo>
                      <a:pt x="67" y="0"/>
                    </a:lnTo>
                    <a:lnTo>
                      <a:pt x="74" y="2"/>
                    </a:lnTo>
                    <a:lnTo>
                      <a:pt x="86" y="2"/>
                    </a:lnTo>
                    <a:lnTo>
                      <a:pt x="90" y="6"/>
                    </a:lnTo>
                    <a:lnTo>
                      <a:pt x="93" y="6"/>
                    </a:lnTo>
                    <a:lnTo>
                      <a:pt x="97" y="4"/>
                    </a:lnTo>
                    <a:lnTo>
                      <a:pt x="97" y="14"/>
                    </a:lnTo>
                    <a:lnTo>
                      <a:pt x="100" y="18"/>
                    </a:lnTo>
                    <a:lnTo>
                      <a:pt x="104" y="22"/>
                    </a:lnTo>
                    <a:lnTo>
                      <a:pt x="106" y="29"/>
                    </a:lnTo>
                    <a:lnTo>
                      <a:pt x="109" y="31"/>
                    </a:lnTo>
                    <a:lnTo>
                      <a:pt x="120" y="32"/>
                    </a:lnTo>
                    <a:lnTo>
                      <a:pt x="118" y="34"/>
                    </a:lnTo>
                    <a:lnTo>
                      <a:pt x="117" y="39"/>
                    </a:lnTo>
                    <a:lnTo>
                      <a:pt x="118" y="45"/>
                    </a:lnTo>
                    <a:lnTo>
                      <a:pt x="111" y="54"/>
                    </a:lnTo>
                    <a:lnTo>
                      <a:pt x="111" y="56"/>
                    </a:lnTo>
                    <a:lnTo>
                      <a:pt x="109" y="57"/>
                    </a:lnTo>
                    <a:lnTo>
                      <a:pt x="108" y="59"/>
                    </a:lnTo>
                    <a:lnTo>
                      <a:pt x="108" y="66"/>
                    </a:lnTo>
                    <a:lnTo>
                      <a:pt x="106" y="68"/>
                    </a:lnTo>
                    <a:lnTo>
                      <a:pt x="106" y="68"/>
                    </a:lnTo>
                    <a:lnTo>
                      <a:pt x="106" y="73"/>
                    </a:lnTo>
                    <a:lnTo>
                      <a:pt x="108" y="75"/>
                    </a:lnTo>
                    <a:lnTo>
                      <a:pt x="109" y="75"/>
                    </a:lnTo>
                    <a:lnTo>
                      <a:pt x="111" y="77"/>
                    </a:lnTo>
                    <a:lnTo>
                      <a:pt x="113" y="79"/>
                    </a:lnTo>
                    <a:lnTo>
                      <a:pt x="115" y="82"/>
                    </a:lnTo>
                    <a:lnTo>
                      <a:pt x="115" y="86"/>
                    </a:lnTo>
                    <a:lnTo>
                      <a:pt x="129" y="95"/>
                    </a:lnTo>
                    <a:lnTo>
                      <a:pt x="134" y="97"/>
                    </a:lnTo>
                    <a:lnTo>
                      <a:pt x="141" y="111"/>
                    </a:lnTo>
                    <a:lnTo>
                      <a:pt x="141" y="125"/>
                    </a:lnTo>
                    <a:lnTo>
                      <a:pt x="145" y="127"/>
                    </a:lnTo>
                    <a:lnTo>
                      <a:pt x="145" y="132"/>
                    </a:lnTo>
                    <a:lnTo>
                      <a:pt x="156" y="14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26" name="Freeform 2176"/>
              <p:cNvSpPr>
                <a:spLocks/>
              </p:cNvSpPr>
              <p:nvPr/>
            </p:nvSpPr>
            <p:spPr bwMode="auto">
              <a:xfrm>
                <a:off x="2551" y="1072"/>
                <a:ext cx="18" cy="16"/>
              </a:xfrm>
              <a:custGeom>
                <a:avLst/>
                <a:gdLst>
                  <a:gd name="T0" fmla="*/ 11 w 18"/>
                  <a:gd name="T1" fmla="*/ 3 h 16"/>
                  <a:gd name="T2" fmla="*/ 9 w 18"/>
                  <a:gd name="T3" fmla="*/ 7 h 16"/>
                  <a:gd name="T4" fmla="*/ 2 w 18"/>
                  <a:gd name="T5" fmla="*/ 12 h 16"/>
                  <a:gd name="T6" fmla="*/ 0 w 18"/>
                  <a:gd name="T7" fmla="*/ 14 h 16"/>
                  <a:gd name="T8" fmla="*/ 0 w 18"/>
                  <a:gd name="T9" fmla="*/ 16 h 16"/>
                  <a:gd name="T10" fmla="*/ 2 w 18"/>
                  <a:gd name="T11" fmla="*/ 14 h 16"/>
                  <a:gd name="T12" fmla="*/ 4 w 18"/>
                  <a:gd name="T13" fmla="*/ 12 h 16"/>
                  <a:gd name="T14" fmla="*/ 15 w 18"/>
                  <a:gd name="T15" fmla="*/ 9 h 16"/>
                  <a:gd name="T16" fmla="*/ 17 w 18"/>
                  <a:gd name="T17" fmla="*/ 3 h 16"/>
                  <a:gd name="T18" fmla="*/ 18 w 18"/>
                  <a:gd name="T19" fmla="*/ 0 h 16"/>
                  <a:gd name="T20" fmla="*/ 15 w 18"/>
                  <a:gd name="T21" fmla="*/ 0 h 16"/>
                  <a:gd name="T22" fmla="*/ 11 w 18"/>
                  <a:gd name="T23"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1" y="3"/>
                    </a:moveTo>
                    <a:lnTo>
                      <a:pt x="9" y="7"/>
                    </a:lnTo>
                    <a:lnTo>
                      <a:pt x="2" y="12"/>
                    </a:lnTo>
                    <a:lnTo>
                      <a:pt x="0" y="14"/>
                    </a:lnTo>
                    <a:lnTo>
                      <a:pt x="0" y="16"/>
                    </a:lnTo>
                    <a:lnTo>
                      <a:pt x="2" y="14"/>
                    </a:lnTo>
                    <a:lnTo>
                      <a:pt x="4" y="12"/>
                    </a:lnTo>
                    <a:lnTo>
                      <a:pt x="15" y="9"/>
                    </a:lnTo>
                    <a:lnTo>
                      <a:pt x="17" y="3"/>
                    </a:lnTo>
                    <a:lnTo>
                      <a:pt x="18" y="0"/>
                    </a:lnTo>
                    <a:lnTo>
                      <a:pt x="15" y="0"/>
                    </a:lnTo>
                    <a:lnTo>
                      <a:pt x="11"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27" name="Freeform 2177"/>
              <p:cNvSpPr>
                <a:spLocks/>
              </p:cNvSpPr>
              <p:nvPr/>
            </p:nvSpPr>
            <p:spPr bwMode="auto">
              <a:xfrm>
                <a:off x="2551" y="1072"/>
                <a:ext cx="18" cy="16"/>
              </a:xfrm>
              <a:custGeom>
                <a:avLst/>
                <a:gdLst>
                  <a:gd name="T0" fmla="*/ 11 w 18"/>
                  <a:gd name="T1" fmla="*/ 3 h 16"/>
                  <a:gd name="T2" fmla="*/ 9 w 18"/>
                  <a:gd name="T3" fmla="*/ 7 h 16"/>
                  <a:gd name="T4" fmla="*/ 2 w 18"/>
                  <a:gd name="T5" fmla="*/ 12 h 16"/>
                  <a:gd name="T6" fmla="*/ 0 w 18"/>
                  <a:gd name="T7" fmla="*/ 14 h 16"/>
                  <a:gd name="T8" fmla="*/ 0 w 18"/>
                  <a:gd name="T9" fmla="*/ 16 h 16"/>
                  <a:gd name="T10" fmla="*/ 2 w 18"/>
                  <a:gd name="T11" fmla="*/ 14 h 16"/>
                  <a:gd name="T12" fmla="*/ 4 w 18"/>
                  <a:gd name="T13" fmla="*/ 12 h 16"/>
                  <a:gd name="T14" fmla="*/ 15 w 18"/>
                  <a:gd name="T15" fmla="*/ 9 h 16"/>
                  <a:gd name="T16" fmla="*/ 17 w 18"/>
                  <a:gd name="T17" fmla="*/ 3 h 16"/>
                  <a:gd name="T18" fmla="*/ 18 w 18"/>
                  <a:gd name="T19" fmla="*/ 0 h 16"/>
                  <a:gd name="T20" fmla="*/ 15 w 18"/>
                  <a:gd name="T21" fmla="*/ 0 h 16"/>
                  <a:gd name="T22" fmla="*/ 11 w 18"/>
                  <a:gd name="T23" fmla="*/ 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6">
                    <a:moveTo>
                      <a:pt x="11" y="3"/>
                    </a:moveTo>
                    <a:lnTo>
                      <a:pt x="9" y="7"/>
                    </a:lnTo>
                    <a:lnTo>
                      <a:pt x="2" y="12"/>
                    </a:lnTo>
                    <a:lnTo>
                      <a:pt x="0" y="14"/>
                    </a:lnTo>
                    <a:lnTo>
                      <a:pt x="0" y="16"/>
                    </a:lnTo>
                    <a:lnTo>
                      <a:pt x="2" y="14"/>
                    </a:lnTo>
                    <a:lnTo>
                      <a:pt x="4" y="12"/>
                    </a:lnTo>
                    <a:lnTo>
                      <a:pt x="15" y="9"/>
                    </a:lnTo>
                    <a:lnTo>
                      <a:pt x="17" y="3"/>
                    </a:lnTo>
                    <a:lnTo>
                      <a:pt x="18" y="0"/>
                    </a:lnTo>
                    <a:lnTo>
                      <a:pt x="15" y="0"/>
                    </a:lnTo>
                    <a:lnTo>
                      <a:pt x="11"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28" name="Freeform 2178"/>
              <p:cNvSpPr>
                <a:spLocks/>
              </p:cNvSpPr>
              <p:nvPr/>
            </p:nvSpPr>
            <p:spPr bwMode="auto">
              <a:xfrm>
                <a:off x="1559" y="1418"/>
                <a:ext cx="10" cy="7"/>
              </a:xfrm>
              <a:custGeom>
                <a:avLst/>
                <a:gdLst>
                  <a:gd name="T0" fmla="*/ 2 w 10"/>
                  <a:gd name="T1" fmla="*/ 0 h 7"/>
                  <a:gd name="T2" fmla="*/ 2 w 10"/>
                  <a:gd name="T3" fmla="*/ 0 h 7"/>
                  <a:gd name="T4" fmla="*/ 3 w 10"/>
                  <a:gd name="T5" fmla="*/ 0 h 7"/>
                  <a:gd name="T6" fmla="*/ 9 w 10"/>
                  <a:gd name="T7" fmla="*/ 2 h 7"/>
                  <a:gd name="T8" fmla="*/ 10 w 10"/>
                  <a:gd name="T9" fmla="*/ 4 h 7"/>
                  <a:gd name="T10" fmla="*/ 10 w 10"/>
                  <a:gd name="T11" fmla="*/ 6 h 7"/>
                  <a:gd name="T12" fmla="*/ 7 w 10"/>
                  <a:gd name="T13" fmla="*/ 7 h 7"/>
                  <a:gd name="T14" fmla="*/ 3 w 10"/>
                  <a:gd name="T15" fmla="*/ 6 h 7"/>
                  <a:gd name="T16" fmla="*/ 2 w 10"/>
                  <a:gd name="T17" fmla="*/ 4 h 7"/>
                  <a:gd name="T18" fmla="*/ 0 w 10"/>
                  <a:gd name="T19" fmla="*/ 0 h 7"/>
                  <a:gd name="T20" fmla="*/ 2 w 10"/>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2" y="0"/>
                    </a:moveTo>
                    <a:lnTo>
                      <a:pt x="2" y="0"/>
                    </a:lnTo>
                    <a:lnTo>
                      <a:pt x="3" y="0"/>
                    </a:lnTo>
                    <a:lnTo>
                      <a:pt x="9" y="2"/>
                    </a:lnTo>
                    <a:lnTo>
                      <a:pt x="10" y="4"/>
                    </a:lnTo>
                    <a:lnTo>
                      <a:pt x="10" y="6"/>
                    </a:lnTo>
                    <a:lnTo>
                      <a:pt x="7" y="7"/>
                    </a:lnTo>
                    <a:lnTo>
                      <a:pt x="3" y="6"/>
                    </a:lnTo>
                    <a:lnTo>
                      <a:pt x="2" y="4"/>
                    </a:lnTo>
                    <a:lnTo>
                      <a:pt x="0"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29" name="Freeform 2179"/>
              <p:cNvSpPr>
                <a:spLocks/>
              </p:cNvSpPr>
              <p:nvPr/>
            </p:nvSpPr>
            <p:spPr bwMode="auto">
              <a:xfrm>
                <a:off x="1559" y="1418"/>
                <a:ext cx="10" cy="7"/>
              </a:xfrm>
              <a:custGeom>
                <a:avLst/>
                <a:gdLst>
                  <a:gd name="T0" fmla="*/ 2 w 10"/>
                  <a:gd name="T1" fmla="*/ 0 h 7"/>
                  <a:gd name="T2" fmla="*/ 2 w 10"/>
                  <a:gd name="T3" fmla="*/ 0 h 7"/>
                  <a:gd name="T4" fmla="*/ 3 w 10"/>
                  <a:gd name="T5" fmla="*/ 0 h 7"/>
                  <a:gd name="T6" fmla="*/ 9 w 10"/>
                  <a:gd name="T7" fmla="*/ 2 h 7"/>
                  <a:gd name="T8" fmla="*/ 10 w 10"/>
                  <a:gd name="T9" fmla="*/ 4 h 7"/>
                  <a:gd name="T10" fmla="*/ 10 w 10"/>
                  <a:gd name="T11" fmla="*/ 6 h 7"/>
                  <a:gd name="T12" fmla="*/ 7 w 10"/>
                  <a:gd name="T13" fmla="*/ 7 h 7"/>
                  <a:gd name="T14" fmla="*/ 3 w 10"/>
                  <a:gd name="T15" fmla="*/ 6 h 7"/>
                  <a:gd name="T16" fmla="*/ 2 w 10"/>
                  <a:gd name="T17" fmla="*/ 4 h 7"/>
                  <a:gd name="T18" fmla="*/ 0 w 10"/>
                  <a:gd name="T19" fmla="*/ 0 h 7"/>
                  <a:gd name="T20" fmla="*/ 2 w 10"/>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2" y="0"/>
                    </a:moveTo>
                    <a:lnTo>
                      <a:pt x="2" y="0"/>
                    </a:lnTo>
                    <a:lnTo>
                      <a:pt x="3" y="0"/>
                    </a:lnTo>
                    <a:lnTo>
                      <a:pt x="9" y="2"/>
                    </a:lnTo>
                    <a:lnTo>
                      <a:pt x="10" y="4"/>
                    </a:lnTo>
                    <a:lnTo>
                      <a:pt x="10" y="6"/>
                    </a:lnTo>
                    <a:lnTo>
                      <a:pt x="7" y="7"/>
                    </a:lnTo>
                    <a:lnTo>
                      <a:pt x="3" y="6"/>
                    </a:lnTo>
                    <a:lnTo>
                      <a:pt x="2" y="4"/>
                    </a:lnTo>
                    <a:lnTo>
                      <a:pt x="0"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30" name="Freeform 2180"/>
              <p:cNvSpPr>
                <a:spLocks/>
              </p:cNvSpPr>
              <p:nvPr/>
            </p:nvSpPr>
            <p:spPr bwMode="auto">
              <a:xfrm>
                <a:off x="2926" y="1904"/>
                <a:ext cx="6" cy="5"/>
              </a:xfrm>
              <a:custGeom>
                <a:avLst/>
                <a:gdLst>
                  <a:gd name="T0" fmla="*/ 2 w 6"/>
                  <a:gd name="T1" fmla="*/ 0 h 5"/>
                  <a:gd name="T2" fmla="*/ 4 w 6"/>
                  <a:gd name="T3" fmla="*/ 2 h 5"/>
                  <a:gd name="T4" fmla="*/ 6 w 6"/>
                  <a:gd name="T5" fmla="*/ 3 h 5"/>
                  <a:gd name="T6" fmla="*/ 6 w 6"/>
                  <a:gd name="T7" fmla="*/ 5 h 5"/>
                  <a:gd name="T8" fmla="*/ 4 w 6"/>
                  <a:gd name="T9" fmla="*/ 3 h 5"/>
                  <a:gd name="T10" fmla="*/ 2 w 6"/>
                  <a:gd name="T11" fmla="*/ 3 h 5"/>
                  <a:gd name="T12" fmla="*/ 0 w 6"/>
                  <a:gd name="T13" fmla="*/ 3 h 5"/>
                  <a:gd name="T14" fmla="*/ 2 w 6"/>
                  <a:gd name="T15" fmla="*/ 0 h 5"/>
                  <a:gd name="T16" fmla="*/ 2 w 6"/>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5">
                    <a:moveTo>
                      <a:pt x="2" y="0"/>
                    </a:moveTo>
                    <a:lnTo>
                      <a:pt x="4" y="2"/>
                    </a:lnTo>
                    <a:lnTo>
                      <a:pt x="6" y="3"/>
                    </a:lnTo>
                    <a:lnTo>
                      <a:pt x="6" y="5"/>
                    </a:lnTo>
                    <a:lnTo>
                      <a:pt x="4" y="3"/>
                    </a:lnTo>
                    <a:lnTo>
                      <a:pt x="2" y="3"/>
                    </a:lnTo>
                    <a:lnTo>
                      <a:pt x="0" y="3"/>
                    </a:lnTo>
                    <a:lnTo>
                      <a:pt x="2"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31" name="Freeform 2181"/>
              <p:cNvSpPr>
                <a:spLocks/>
              </p:cNvSpPr>
              <p:nvPr/>
            </p:nvSpPr>
            <p:spPr bwMode="auto">
              <a:xfrm>
                <a:off x="2926" y="1904"/>
                <a:ext cx="6" cy="5"/>
              </a:xfrm>
              <a:custGeom>
                <a:avLst/>
                <a:gdLst>
                  <a:gd name="T0" fmla="*/ 2 w 6"/>
                  <a:gd name="T1" fmla="*/ 0 h 5"/>
                  <a:gd name="T2" fmla="*/ 4 w 6"/>
                  <a:gd name="T3" fmla="*/ 2 h 5"/>
                  <a:gd name="T4" fmla="*/ 6 w 6"/>
                  <a:gd name="T5" fmla="*/ 3 h 5"/>
                  <a:gd name="T6" fmla="*/ 6 w 6"/>
                  <a:gd name="T7" fmla="*/ 5 h 5"/>
                  <a:gd name="T8" fmla="*/ 4 w 6"/>
                  <a:gd name="T9" fmla="*/ 3 h 5"/>
                  <a:gd name="T10" fmla="*/ 2 w 6"/>
                  <a:gd name="T11" fmla="*/ 3 h 5"/>
                  <a:gd name="T12" fmla="*/ 0 w 6"/>
                  <a:gd name="T13" fmla="*/ 3 h 5"/>
                  <a:gd name="T14" fmla="*/ 2 w 6"/>
                  <a:gd name="T15" fmla="*/ 0 h 5"/>
                  <a:gd name="T16" fmla="*/ 2 w 6"/>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5">
                    <a:moveTo>
                      <a:pt x="2" y="0"/>
                    </a:moveTo>
                    <a:lnTo>
                      <a:pt x="4" y="2"/>
                    </a:lnTo>
                    <a:lnTo>
                      <a:pt x="6" y="3"/>
                    </a:lnTo>
                    <a:lnTo>
                      <a:pt x="6" y="5"/>
                    </a:lnTo>
                    <a:lnTo>
                      <a:pt x="4" y="3"/>
                    </a:lnTo>
                    <a:lnTo>
                      <a:pt x="2" y="3"/>
                    </a:lnTo>
                    <a:lnTo>
                      <a:pt x="0" y="3"/>
                    </a:lnTo>
                    <a:lnTo>
                      <a:pt x="2"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32" name="Freeform 2182"/>
              <p:cNvSpPr>
                <a:spLocks/>
              </p:cNvSpPr>
              <p:nvPr/>
            </p:nvSpPr>
            <p:spPr bwMode="auto">
              <a:xfrm>
                <a:off x="2925" y="1906"/>
                <a:ext cx="1" cy="10"/>
              </a:xfrm>
              <a:custGeom>
                <a:avLst/>
                <a:gdLst>
                  <a:gd name="T0" fmla="*/ 0 w 1"/>
                  <a:gd name="T1" fmla="*/ 0 h 10"/>
                  <a:gd name="T2" fmla="*/ 0 w 1"/>
                  <a:gd name="T3" fmla="*/ 0 h 10"/>
                  <a:gd name="T4" fmla="*/ 0 w 1"/>
                  <a:gd name="T5" fmla="*/ 0 h 10"/>
                  <a:gd name="T6" fmla="*/ 1 w 1"/>
                  <a:gd name="T7" fmla="*/ 0 h 10"/>
                  <a:gd name="T8" fmla="*/ 1 w 1"/>
                  <a:gd name="T9" fmla="*/ 10 h 10"/>
                  <a:gd name="T10" fmla="*/ 0 w 1"/>
                  <a:gd name="T11" fmla="*/ 5 h 10"/>
                  <a:gd name="T12" fmla="*/ 0 w 1"/>
                  <a:gd name="T13" fmla="*/ 5 h 10"/>
                  <a:gd name="T14" fmla="*/ 1 w 1"/>
                  <a:gd name="T15" fmla="*/ 3 h 10"/>
                  <a:gd name="T16" fmla="*/ 1 w 1"/>
                  <a:gd name="T17" fmla="*/ 1 h 10"/>
                  <a:gd name="T18" fmla="*/ 0 w 1"/>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0" y="0"/>
                    </a:moveTo>
                    <a:lnTo>
                      <a:pt x="0" y="0"/>
                    </a:lnTo>
                    <a:lnTo>
                      <a:pt x="0" y="0"/>
                    </a:lnTo>
                    <a:lnTo>
                      <a:pt x="1" y="0"/>
                    </a:lnTo>
                    <a:lnTo>
                      <a:pt x="1" y="10"/>
                    </a:lnTo>
                    <a:lnTo>
                      <a:pt x="0" y="5"/>
                    </a:lnTo>
                    <a:lnTo>
                      <a:pt x="0" y="5"/>
                    </a:lnTo>
                    <a:lnTo>
                      <a:pt x="1" y="3"/>
                    </a:lnTo>
                    <a:lnTo>
                      <a:pt x="1" y="1"/>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33" name="Freeform 2183"/>
              <p:cNvSpPr>
                <a:spLocks/>
              </p:cNvSpPr>
              <p:nvPr/>
            </p:nvSpPr>
            <p:spPr bwMode="auto">
              <a:xfrm>
                <a:off x="2925" y="1906"/>
                <a:ext cx="1" cy="10"/>
              </a:xfrm>
              <a:custGeom>
                <a:avLst/>
                <a:gdLst>
                  <a:gd name="T0" fmla="*/ 0 w 1"/>
                  <a:gd name="T1" fmla="*/ 0 h 10"/>
                  <a:gd name="T2" fmla="*/ 0 w 1"/>
                  <a:gd name="T3" fmla="*/ 0 h 10"/>
                  <a:gd name="T4" fmla="*/ 0 w 1"/>
                  <a:gd name="T5" fmla="*/ 0 h 10"/>
                  <a:gd name="T6" fmla="*/ 1 w 1"/>
                  <a:gd name="T7" fmla="*/ 0 h 10"/>
                  <a:gd name="T8" fmla="*/ 1 w 1"/>
                  <a:gd name="T9" fmla="*/ 10 h 10"/>
                  <a:gd name="T10" fmla="*/ 0 w 1"/>
                  <a:gd name="T11" fmla="*/ 5 h 10"/>
                  <a:gd name="T12" fmla="*/ 0 w 1"/>
                  <a:gd name="T13" fmla="*/ 5 h 10"/>
                  <a:gd name="T14" fmla="*/ 1 w 1"/>
                  <a:gd name="T15" fmla="*/ 3 h 10"/>
                  <a:gd name="T16" fmla="*/ 1 w 1"/>
                  <a:gd name="T17" fmla="*/ 1 h 10"/>
                  <a:gd name="T18" fmla="*/ 0 w 1"/>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 h="10">
                    <a:moveTo>
                      <a:pt x="0" y="0"/>
                    </a:moveTo>
                    <a:lnTo>
                      <a:pt x="0" y="0"/>
                    </a:lnTo>
                    <a:lnTo>
                      <a:pt x="0" y="0"/>
                    </a:lnTo>
                    <a:lnTo>
                      <a:pt x="1" y="0"/>
                    </a:lnTo>
                    <a:lnTo>
                      <a:pt x="1" y="10"/>
                    </a:lnTo>
                    <a:lnTo>
                      <a:pt x="0" y="5"/>
                    </a:lnTo>
                    <a:lnTo>
                      <a:pt x="0" y="5"/>
                    </a:lnTo>
                    <a:lnTo>
                      <a:pt x="1" y="3"/>
                    </a:lnTo>
                    <a:lnTo>
                      <a:pt x="1" y="1"/>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34" name="Freeform 2184"/>
              <p:cNvSpPr>
                <a:spLocks/>
              </p:cNvSpPr>
              <p:nvPr/>
            </p:nvSpPr>
            <p:spPr bwMode="auto">
              <a:xfrm>
                <a:off x="2959" y="1945"/>
                <a:ext cx="7" cy="2"/>
              </a:xfrm>
              <a:custGeom>
                <a:avLst/>
                <a:gdLst>
                  <a:gd name="T0" fmla="*/ 0 w 7"/>
                  <a:gd name="T1" fmla="*/ 0 h 2"/>
                  <a:gd name="T2" fmla="*/ 0 w 7"/>
                  <a:gd name="T3" fmla="*/ 0 h 2"/>
                  <a:gd name="T4" fmla="*/ 7 w 7"/>
                  <a:gd name="T5" fmla="*/ 0 h 2"/>
                  <a:gd name="T6" fmla="*/ 7 w 7"/>
                  <a:gd name="T7" fmla="*/ 2 h 2"/>
                  <a:gd name="T8" fmla="*/ 7 w 7"/>
                  <a:gd name="T9" fmla="*/ 2 h 2"/>
                  <a:gd name="T10" fmla="*/ 0 w 7"/>
                  <a:gd name="T11" fmla="*/ 2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7" y="0"/>
                    </a:lnTo>
                    <a:lnTo>
                      <a:pt x="7" y="2"/>
                    </a:lnTo>
                    <a:lnTo>
                      <a:pt x="7" y="2"/>
                    </a:lnTo>
                    <a:lnTo>
                      <a:pt x="0"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35" name="Freeform 2185"/>
              <p:cNvSpPr>
                <a:spLocks/>
              </p:cNvSpPr>
              <p:nvPr/>
            </p:nvSpPr>
            <p:spPr bwMode="auto">
              <a:xfrm>
                <a:off x="2959" y="1945"/>
                <a:ext cx="7" cy="2"/>
              </a:xfrm>
              <a:custGeom>
                <a:avLst/>
                <a:gdLst>
                  <a:gd name="T0" fmla="*/ 0 w 7"/>
                  <a:gd name="T1" fmla="*/ 0 h 2"/>
                  <a:gd name="T2" fmla="*/ 0 w 7"/>
                  <a:gd name="T3" fmla="*/ 0 h 2"/>
                  <a:gd name="T4" fmla="*/ 7 w 7"/>
                  <a:gd name="T5" fmla="*/ 0 h 2"/>
                  <a:gd name="T6" fmla="*/ 7 w 7"/>
                  <a:gd name="T7" fmla="*/ 2 h 2"/>
                  <a:gd name="T8" fmla="*/ 7 w 7"/>
                  <a:gd name="T9" fmla="*/ 2 h 2"/>
                  <a:gd name="T10" fmla="*/ 0 w 7"/>
                  <a:gd name="T11" fmla="*/ 2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0" y="0"/>
                    </a:lnTo>
                    <a:lnTo>
                      <a:pt x="7" y="0"/>
                    </a:lnTo>
                    <a:lnTo>
                      <a:pt x="7" y="2"/>
                    </a:lnTo>
                    <a:lnTo>
                      <a:pt x="7" y="2"/>
                    </a:lnTo>
                    <a:lnTo>
                      <a:pt x="0"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36" name="Freeform 2186"/>
              <p:cNvSpPr>
                <a:spLocks/>
              </p:cNvSpPr>
              <p:nvPr/>
            </p:nvSpPr>
            <p:spPr bwMode="auto">
              <a:xfrm>
                <a:off x="2962" y="1954"/>
                <a:ext cx="7" cy="2"/>
              </a:xfrm>
              <a:custGeom>
                <a:avLst/>
                <a:gdLst>
                  <a:gd name="T0" fmla="*/ 0 w 7"/>
                  <a:gd name="T1" fmla="*/ 0 h 2"/>
                  <a:gd name="T2" fmla="*/ 2 w 7"/>
                  <a:gd name="T3" fmla="*/ 0 h 2"/>
                  <a:gd name="T4" fmla="*/ 7 w 7"/>
                  <a:gd name="T5" fmla="*/ 0 h 2"/>
                  <a:gd name="T6" fmla="*/ 7 w 7"/>
                  <a:gd name="T7" fmla="*/ 0 h 2"/>
                  <a:gd name="T8" fmla="*/ 7 w 7"/>
                  <a:gd name="T9" fmla="*/ 0 h 2"/>
                  <a:gd name="T10" fmla="*/ 0 w 7"/>
                  <a:gd name="T11" fmla="*/ 2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2" y="0"/>
                    </a:lnTo>
                    <a:lnTo>
                      <a:pt x="7" y="0"/>
                    </a:lnTo>
                    <a:lnTo>
                      <a:pt x="7" y="0"/>
                    </a:lnTo>
                    <a:lnTo>
                      <a:pt x="7" y="0"/>
                    </a:lnTo>
                    <a:lnTo>
                      <a:pt x="0"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37" name="Freeform 2187"/>
              <p:cNvSpPr>
                <a:spLocks/>
              </p:cNvSpPr>
              <p:nvPr/>
            </p:nvSpPr>
            <p:spPr bwMode="auto">
              <a:xfrm>
                <a:off x="2962" y="1954"/>
                <a:ext cx="7" cy="2"/>
              </a:xfrm>
              <a:custGeom>
                <a:avLst/>
                <a:gdLst>
                  <a:gd name="T0" fmla="*/ 0 w 7"/>
                  <a:gd name="T1" fmla="*/ 0 h 2"/>
                  <a:gd name="T2" fmla="*/ 2 w 7"/>
                  <a:gd name="T3" fmla="*/ 0 h 2"/>
                  <a:gd name="T4" fmla="*/ 7 w 7"/>
                  <a:gd name="T5" fmla="*/ 0 h 2"/>
                  <a:gd name="T6" fmla="*/ 7 w 7"/>
                  <a:gd name="T7" fmla="*/ 0 h 2"/>
                  <a:gd name="T8" fmla="*/ 7 w 7"/>
                  <a:gd name="T9" fmla="*/ 0 h 2"/>
                  <a:gd name="T10" fmla="*/ 0 w 7"/>
                  <a:gd name="T11" fmla="*/ 2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2" y="0"/>
                    </a:lnTo>
                    <a:lnTo>
                      <a:pt x="7" y="0"/>
                    </a:lnTo>
                    <a:lnTo>
                      <a:pt x="7" y="0"/>
                    </a:lnTo>
                    <a:lnTo>
                      <a:pt x="7" y="0"/>
                    </a:lnTo>
                    <a:lnTo>
                      <a:pt x="0"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38" name="Freeform 2188"/>
              <p:cNvSpPr>
                <a:spLocks/>
              </p:cNvSpPr>
              <p:nvPr/>
            </p:nvSpPr>
            <p:spPr bwMode="auto">
              <a:xfrm>
                <a:off x="2969" y="1952"/>
                <a:ext cx="22" cy="13"/>
              </a:xfrm>
              <a:custGeom>
                <a:avLst/>
                <a:gdLst>
                  <a:gd name="T0" fmla="*/ 22 w 22"/>
                  <a:gd name="T1" fmla="*/ 13 h 13"/>
                  <a:gd name="T2" fmla="*/ 13 w 22"/>
                  <a:gd name="T3" fmla="*/ 5 h 13"/>
                  <a:gd name="T4" fmla="*/ 9 w 22"/>
                  <a:gd name="T5" fmla="*/ 4 h 13"/>
                  <a:gd name="T6" fmla="*/ 4 w 22"/>
                  <a:gd name="T7" fmla="*/ 2 h 13"/>
                  <a:gd name="T8" fmla="*/ 0 w 22"/>
                  <a:gd name="T9" fmla="*/ 0 h 13"/>
                  <a:gd name="T10" fmla="*/ 2 w 22"/>
                  <a:gd name="T11" fmla="*/ 0 h 13"/>
                  <a:gd name="T12" fmla="*/ 4 w 22"/>
                  <a:gd name="T13" fmla="*/ 0 h 13"/>
                  <a:gd name="T14" fmla="*/ 6 w 22"/>
                  <a:gd name="T15" fmla="*/ 2 h 13"/>
                  <a:gd name="T16" fmla="*/ 7 w 22"/>
                  <a:gd name="T17" fmla="*/ 2 h 13"/>
                  <a:gd name="T18" fmla="*/ 9 w 22"/>
                  <a:gd name="T19" fmla="*/ 2 h 13"/>
                  <a:gd name="T20" fmla="*/ 13 w 22"/>
                  <a:gd name="T21" fmla="*/ 2 h 13"/>
                  <a:gd name="T22" fmla="*/ 13 w 22"/>
                  <a:gd name="T23" fmla="*/ 4 h 13"/>
                  <a:gd name="T24" fmla="*/ 15 w 22"/>
                  <a:gd name="T25" fmla="*/ 5 h 13"/>
                  <a:gd name="T26" fmla="*/ 16 w 22"/>
                  <a:gd name="T27" fmla="*/ 5 h 13"/>
                  <a:gd name="T28" fmla="*/ 18 w 22"/>
                  <a:gd name="T29" fmla="*/ 7 h 13"/>
                  <a:gd name="T30" fmla="*/ 22 w 22"/>
                  <a:gd name="T31" fmla="*/ 7 h 13"/>
                  <a:gd name="T32" fmla="*/ 22 w 22"/>
                  <a:gd name="T33" fmla="*/ 9 h 13"/>
                  <a:gd name="T34" fmla="*/ 22 w 22"/>
                  <a:gd name="T35" fmla="*/ 9 h 13"/>
                  <a:gd name="T36" fmla="*/ 22 w 22"/>
                  <a:gd name="T3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3">
                    <a:moveTo>
                      <a:pt x="22" y="13"/>
                    </a:moveTo>
                    <a:lnTo>
                      <a:pt x="13" y="5"/>
                    </a:lnTo>
                    <a:lnTo>
                      <a:pt x="9" y="4"/>
                    </a:lnTo>
                    <a:lnTo>
                      <a:pt x="4" y="2"/>
                    </a:lnTo>
                    <a:lnTo>
                      <a:pt x="0" y="0"/>
                    </a:lnTo>
                    <a:lnTo>
                      <a:pt x="2" y="0"/>
                    </a:lnTo>
                    <a:lnTo>
                      <a:pt x="4" y="0"/>
                    </a:lnTo>
                    <a:lnTo>
                      <a:pt x="6" y="2"/>
                    </a:lnTo>
                    <a:lnTo>
                      <a:pt x="7" y="2"/>
                    </a:lnTo>
                    <a:lnTo>
                      <a:pt x="9" y="2"/>
                    </a:lnTo>
                    <a:lnTo>
                      <a:pt x="13" y="2"/>
                    </a:lnTo>
                    <a:lnTo>
                      <a:pt x="13" y="4"/>
                    </a:lnTo>
                    <a:lnTo>
                      <a:pt x="15" y="5"/>
                    </a:lnTo>
                    <a:lnTo>
                      <a:pt x="16" y="5"/>
                    </a:lnTo>
                    <a:lnTo>
                      <a:pt x="18" y="7"/>
                    </a:lnTo>
                    <a:lnTo>
                      <a:pt x="22" y="7"/>
                    </a:lnTo>
                    <a:lnTo>
                      <a:pt x="22" y="9"/>
                    </a:lnTo>
                    <a:lnTo>
                      <a:pt x="22" y="9"/>
                    </a:lnTo>
                    <a:lnTo>
                      <a:pt x="22" y="1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39" name="Freeform 2189"/>
              <p:cNvSpPr>
                <a:spLocks/>
              </p:cNvSpPr>
              <p:nvPr/>
            </p:nvSpPr>
            <p:spPr bwMode="auto">
              <a:xfrm>
                <a:off x="2969" y="1952"/>
                <a:ext cx="22" cy="13"/>
              </a:xfrm>
              <a:custGeom>
                <a:avLst/>
                <a:gdLst>
                  <a:gd name="T0" fmla="*/ 22 w 22"/>
                  <a:gd name="T1" fmla="*/ 13 h 13"/>
                  <a:gd name="T2" fmla="*/ 13 w 22"/>
                  <a:gd name="T3" fmla="*/ 5 h 13"/>
                  <a:gd name="T4" fmla="*/ 9 w 22"/>
                  <a:gd name="T5" fmla="*/ 4 h 13"/>
                  <a:gd name="T6" fmla="*/ 4 w 22"/>
                  <a:gd name="T7" fmla="*/ 2 h 13"/>
                  <a:gd name="T8" fmla="*/ 0 w 22"/>
                  <a:gd name="T9" fmla="*/ 0 h 13"/>
                  <a:gd name="T10" fmla="*/ 2 w 22"/>
                  <a:gd name="T11" fmla="*/ 0 h 13"/>
                  <a:gd name="T12" fmla="*/ 4 w 22"/>
                  <a:gd name="T13" fmla="*/ 0 h 13"/>
                  <a:gd name="T14" fmla="*/ 6 w 22"/>
                  <a:gd name="T15" fmla="*/ 2 h 13"/>
                  <a:gd name="T16" fmla="*/ 7 w 22"/>
                  <a:gd name="T17" fmla="*/ 2 h 13"/>
                  <a:gd name="T18" fmla="*/ 9 w 22"/>
                  <a:gd name="T19" fmla="*/ 2 h 13"/>
                  <a:gd name="T20" fmla="*/ 13 w 22"/>
                  <a:gd name="T21" fmla="*/ 2 h 13"/>
                  <a:gd name="T22" fmla="*/ 13 w 22"/>
                  <a:gd name="T23" fmla="*/ 4 h 13"/>
                  <a:gd name="T24" fmla="*/ 15 w 22"/>
                  <a:gd name="T25" fmla="*/ 5 h 13"/>
                  <a:gd name="T26" fmla="*/ 16 w 22"/>
                  <a:gd name="T27" fmla="*/ 5 h 13"/>
                  <a:gd name="T28" fmla="*/ 18 w 22"/>
                  <a:gd name="T29" fmla="*/ 7 h 13"/>
                  <a:gd name="T30" fmla="*/ 22 w 22"/>
                  <a:gd name="T31" fmla="*/ 7 h 13"/>
                  <a:gd name="T32" fmla="*/ 22 w 22"/>
                  <a:gd name="T33" fmla="*/ 9 h 13"/>
                  <a:gd name="T34" fmla="*/ 22 w 22"/>
                  <a:gd name="T35" fmla="*/ 9 h 13"/>
                  <a:gd name="T36" fmla="*/ 22 w 22"/>
                  <a:gd name="T3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3">
                    <a:moveTo>
                      <a:pt x="22" y="13"/>
                    </a:moveTo>
                    <a:lnTo>
                      <a:pt x="13" y="5"/>
                    </a:lnTo>
                    <a:lnTo>
                      <a:pt x="9" y="4"/>
                    </a:lnTo>
                    <a:lnTo>
                      <a:pt x="4" y="2"/>
                    </a:lnTo>
                    <a:lnTo>
                      <a:pt x="0" y="0"/>
                    </a:lnTo>
                    <a:lnTo>
                      <a:pt x="2" y="0"/>
                    </a:lnTo>
                    <a:lnTo>
                      <a:pt x="4" y="0"/>
                    </a:lnTo>
                    <a:lnTo>
                      <a:pt x="6" y="2"/>
                    </a:lnTo>
                    <a:lnTo>
                      <a:pt x="7" y="2"/>
                    </a:lnTo>
                    <a:lnTo>
                      <a:pt x="9" y="2"/>
                    </a:lnTo>
                    <a:lnTo>
                      <a:pt x="13" y="2"/>
                    </a:lnTo>
                    <a:lnTo>
                      <a:pt x="13" y="4"/>
                    </a:lnTo>
                    <a:lnTo>
                      <a:pt x="15" y="5"/>
                    </a:lnTo>
                    <a:lnTo>
                      <a:pt x="16" y="5"/>
                    </a:lnTo>
                    <a:lnTo>
                      <a:pt x="18" y="7"/>
                    </a:lnTo>
                    <a:lnTo>
                      <a:pt x="22" y="7"/>
                    </a:lnTo>
                    <a:lnTo>
                      <a:pt x="22" y="9"/>
                    </a:lnTo>
                    <a:lnTo>
                      <a:pt x="22" y="9"/>
                    </a:lnTo>
                    <a:lnTo>
                      <a:pt x="22" y="1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40" name="Freeform 2190"/>
              <p:cNvSpPr>
                <a:spLocks/>
              </p:cNvSpPr>
              <p:nvPr/>
            </p:nvSpPr>
            <p:spPr bwMode="auto">
              <a:xfrm>
                <a:off x="566" y="1682"/>
                <a:ext cx="23" cy="27"/>
              </a:xfrm>
              <a:custGeom>
                <a:avLst/>
                <a:gdLst>
                  <a:gd name="T0" fmla="*/ 18 w 23"/>
                  <a:gd name="T1" fmla="*/ 4 h 27"/>
                  <a:gd name="T2" fmla="*/ 20 w 23"/>
                  <a:gd name="T3" fmla="*/ 2 h 27"/>
                  <a:gd name="T4" fmla="*/ 21 w 23"/>
                  <a:gd name="T5" fmla="*/ 0 h 27"/>
                  <a:gd name="T6" fmla="*/ 23 w 23"/>
                  <a:gd name="T7" fmla="*/ 2 h 27"/>
                  <a:gd name="T8" fmla="*/ 23 w 23"/>
                  <a:gd name="T9" fmla="*/ 6 h 27"/>
                  <a:gd name="T10" fmla="*/ 18 w 23"/>
                  <a:gd name="T11" fmla="*/ 25 h 27"/>
                  <a:gd name="T12" fmla="*/ 16 w 23"/>
                  <a:gd name="T13" fmla="*/ 24 h 27"/>
                  <a:gd name="T14" fmla="*/ 14 w 23"/>
                  <a:gd name="T15" fmla="*/ 24 h 27"/>
                  <a:gd name="T16" fmla="*/ 14 w 23"/>
                  <a:gd name="T17" fmla="*/ 24 h 27"/>
                  <a:gd name="T18" fmla="*/ 12 w 23"/>
                  <a:gd name="T19" fmla="*/ 27 h 27"/>
                  <a:gd name="T20" fmla="*/ 12 w 23"/>
                  <a:gd name="T21" fmla="*/ 25 h 27"/>
                  <a:gd name="T22" fmla="*/ 11 w 23"/>
                  <a:gd name="T23" fmla="*/ 25 h 27"/>
                  <a:gd name="T24" fmla="*/ 9 w 23"/>
                  <a:gd name="T25" fmla="*/ 22 h 27"/>
                  <a:gd name="T26" fmla="*/ 11 w 23"/>
                  <a:gd name="T27" fmla="*/ 22 h 27"/>
                  <a:gd name="T28" fmla="*/ 12 w 23"/>
                  <a:gd name="T29" fmla="*/ 22 h 27"/>
                  <a:gd name="T30" fmla="*/ 11 w 23"/>
                  <a:gd name="T31" fmla="*/ 18 h 27"/>
                  <a:gd name="T32" fmla="*/ 7 w 23"/>
                  <a:gd name="T33" fmla="*/ 17 h 27"/>
                  <a:gd name="T34" fmla="*/ 5 w 23"/>
                  <a:gd name="T35" fmla="*/ 15 h 27"/>
                  <a:gd name="T36" fmla="*/ 2 w 23"/>
                  <a:gd name="T37" fmla="*/ 6 h 27"/>
                  <a:gd name="T38" fmla="*/ 0 w 23"/>
                  <a:gd name="T39" fmla="*/ 6 h 27"/>
                  <a:gd name="T40" fmla="*/ 2 w 23"/>
                  <a:gd name="T41" fmla="*/ 0 h 27"/>
                  <a:gd name="T42" fmla="*/ 7 w 23"/>
                  <a:gd name="T43" fmla="*/ 0 h 27"/>
                  <a:gd name="T44" fmla="*/ 9 w 23"/>
                  <a:gd name="T45" fmla="*/ 0 h 27"/>
                  <a:gd name="T46" fmla="*/ 7 w 23"/>
                  <a:gd name="T47" fmla="*/ 6 h 27"/>
                  <a:gd name="T48" fmla="*/ 9 w 23"/>
                  <a:gd name="T49" fmla="*/ 4 h 27"/>
                  <a:gd name="T50" fmla="*/ 11 w 23"/>
                  <a:gd name="T51" fmla="*/ 2 h 27"/>
                  <a:gd name="T52" fmla="*/ 12 w 23"/>
                  <a:gd name="T53" fmla="*/ 2 h 27"/>
                  <a:gd name="T54" fmla="*/ 14 w 23"/>
                  <a:gd name="T55" fmla="*/ 4 h 27"/>
                  <a:gd name="T56" fmla="*/ 14 w 23"/>
                  <a:gd name="T57" fmla="*/ 9 h 27"/>
                  <a:gd name="T58" fmla="*/ 12 w 23"/>
                  <a:gd name="T59" fmla="*/ 9 h 27"/>
                  <a:gd name="T60" fmla="*/ 9 w 23"/>
                  <a:gd name="T61" fmla="*/ 13 h 27"/>
                  <a:gd name="T62" fmla="*/ 11 w 23"/>
                  <a:gd name="T63" fmla="*/ 13 h 27"/>
                  <a:gd name="T64" fmla="*/ 11 w 23"/>
                  <a:gd name="T65" fmla="*/ 15 h 27"/>
                  <a:gd name="T66" fmla="*/ 12 w 23"/>
                  <a:gd name="T67" fmla="*/ 15 h 27"/>
                  <a:gd name="T68" fmla="*/ 14 w 23"/>
                  <a:gd name="T69" fmla="*/ 13 h 27"/>
                  <a:gd name="T70" fmla="*/ 18 w 23"/>
                  <a:gd name="T71" fmla="*/ 8 h 27"/>
                  <a:gd name="T72" fmla="*/ 18 w 23"/>
                  <a:gd name="T73" fmla="*/ 4 h 27"/>
                  <a:gd name="T74" fmla="*/ 18 w 23"/>
                  <a:gd name="T75"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27">
                    <a:moveTo>
                      <a:pt x="18" y="4"/>
                    </a:moveTo>
                    <a:lnTo>
                      <a:pt x="20" y="2"/>
                    </a:lnTo>
                    <a:lnTo>
                      <a:pt x="21" y="0"/>
                    </a:lnTo>
                    <a:lnTo>
                      <a:pt x="23" y="2"/>
                    </a:lnTo>
                    <a:lnTo>
                      <a:pt x="23" y="6"/>
                    </a:lnTo>
                    <a:lnTo>
                      <a:pt x="18" y="25"/>
                    </a:lnTo>
                    <a:lnTo>
                      <a:pt x="16" y="24"/>
                    </a:lnTo>
                    <a:lnTo>
                      <a:pt x="14" y="24"/>
                    </a:lnTo>
                    <a:lnTo>
                      <a:pt x="14" y="24"/>
                    </a:lnTo>
                    <a:lnTo>
                      <a:pt x="12" y="27"/>
                    </a:lnTo>
                    <a:lnTo>
                      <a:pt x="12" y="25"/>
                    </a:lnTo>
                    <a:lnTo>
                      <a:pt x="11" y="25"/>
                    </a:lnTo>
                    <a:lnTo>
                      <a:pt x="9" y="22"/>
                    </a:lnTo>
                    <a:lnTo>
                      <a:pt x="11" y="22"/>
                    </a:lnTo>
                    <a:lnTo>
                      <a:pt x="12" y="22"/>
                    </a:lnTo>
                    <a:lnTo>
                      <a:pt x="11" y="18"/>
                    </a:lnTo>
                    <a:lnTo>
                      <a:pt x="7" y="17"/>
                    </a:lnTo>
                    <a:lnTo>
                      <a:pt x="5" y="15"/>
                    </a:lnTo>
                    <a:lnTo>
                      <a:pt x="2" y="6"/>
                    </a:lnTo>
                    <a:lnTo>
                      <a:pt x="0" y="6"/>
                    </a:lnTo>
                    <a:lnTo>
                      <a:pt x="2" y="0"/>
                    </a:lnTo>
                    <a:lnTo>
                      <a:pt x="7" y="0"/>
                    </a:lnTo>
                    <a:lnTo>
                      <a:pt x="9" y="0"/>
                    </a:lnTo>
                    <a:lnTo>
                      <a:pt x="7" y="6"/>
                    </a:lnTo>
                    <a:lnTo>
                      <a:pt x="9" y="4"/>
                    </a:lnTo>
                    <a:lnTo>
                      <a:pt x="11" y="2"/>
                    </a:lnTo>
                    <a:lnTo>
                      <a:pt x="12" y="2"/>
                    </a:lnTo>
                    <a:lnTo>
                      <a:pt x="14" y="4"/>
                    </a:lnTo>
                    <a:lnTo>
                      <a:pt x="14" y="9"/>
                    </a:lnTo>
                    <a:lnTo>
                      <a:pt x="12" y="9"/>
                    </a:lnTo>
                    <a:lnTo>
                      <a:pt x="9" y="13"/>
                    </a:lnTo>
                    <a:lnTo>
                      <a:pt x="11" y="13"/>
                    </a:lnTo>
                    <a:lnTo>
                      <a:pt x="11" y="15"/>
                    </a:lnTo>
                    <a:lnTo>
                      <a:pt x="12" y="15"/>
                    </a:lnTo>
                    <a:lnTo>
                      <a:pt x="14" y="13"/>
                    </a:lnTo>
                    <a:lnTo>
                      <a:pt x="18" y="8"/>
                    </a:lnTo>
                    <a:lnTo>
                      <a:pt x="18" y="4"/>
                    </a:lnTo>
                    <a:lnTo>
                      <a:pt x="18"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41" name="Freeform 2191"/>
              <p:cNvSpPr>
                <a:spLocks/>
              </p:cNvSpPr>
              <p:nvPr/>
            </p:nvSpPr>
            <p:spPr bwMode="auto">
              <a:xfrm>
                <a:off x="566" y="1682"/>
                <a:ext cx="23" cy="27"/>
              </a:xfrm>
              <a:custGeom>
                <a:avLst/>
                <a:gdLst>
                  <a:gd name="T0" fmla="*/ 18 w 23"/>
                  <a:gd name="T1" fmla="*/ 4 h 27"/>
                  <a:gd name="T2" fmla="*/ 20 w 23"/>
                  <a:gd name="T3" fmla="*/ 2 h 27"/>
                  <a:gd name="T4" fmla="*/ 21 w 23"/>
                  <a:gd name="T5" fmla="*/ 0 h 27"/>
                  <a:gd name="T6" fmla="*/ 23 w 23"/>
                  <a:gd name="T7" fmla="*/ 2 h 27"/>
                  <a:gd name="T8" fmla="*/ 23 w 23"/>
                  <a:gd name="T9" fmla="*/ 6 h 27"/>
                  <a:gd name="T10" fmla="*/ 18 w 23"/>
                  <a:gd name="T11" fmla="*/ 25 h 27"/>
                  <a:gd name="T12" fmla="*/ 16 w 23"/>
                  <a:gd name="T13" fmla="*/ 24 h 27"/>
                  <a:gd name="T14" fmla="*/ 14 w 23"/>
                  <a:gd name="T15" fmla="*/ 24 h 27"/>
                  <a:gd name="T16" fmla="*/ 14 w 23"/>
                  <a:gd name="T17" fmla="*/ 24 h 27"/>
                  <a:gd name="T18" fmla="*/ 12 w 23"/>
                  <a:gd name="T19" fmla="*/ 27 h 27"/>
                  <a:gd name="T20" fmla="*/ 12 w 23"/>
                  <a:gd name="T21" fmla="*/ 25 h 27"/>
                  <a:gd name="T22" fmla="*/ 11 w 23"/>
                  <a:gd name="T23" fmla="*/ 25 h 27"/>
                  <a:gd name="T24" fmla="*/ 9 w 23"/>
                  <a:gd name="T25" fmla="*/ 22 h 27"/>
                  <a:gd name="T26" fmla="*/ 11 w 23"/>
                  <a:gd name="T27" fmla="*/ 22 h 27"/>
                  <a:gd name="T28" fmla="*/ 12 w 23"/>
                  <a:gd name="T29" fmla="*/ 22 h 27"/>
                  <a:gd name="T30" fmla="*/ 11 w 23"/>
                  <a:gd name="T31" fmla="*/ 18 h 27"/>
                  <a:gd name="T32" fmla="*/ 7 w 23"/>
                  <a:gd name="T33" fmla="*/ 17 h 27"/>
                  <a:gd name="T34" fmla="*/ 5 w 23"/>
                  <a:gd name="T35" fmla="*/ 15 h 27"/>
                  <a:gd name="T36" fmla="*/ 2 w 23"/>
                  <a:gd name="T37" fmla="*/ 6 h 27"/>
                  <a:gd name="T38" fmla="*/ 0 w 23"/>
                  <a:gd name="T39" fmla="*/ 6 h 27"/>
                  <a:gd name="T40" fmla="*/ 2 w 23"/>
                  <a:gd name="T41" fmla="*/ 0 h 27"/>
                  <a:gd name="T42" fmla="*/ 7 w 23"/>
                  <a:gd name="T43" fmla="*/ 0 h 27"/>
                  <a:gd name="T44" fmla="*/ 9 w 23"/>
                  <a:gd name="T45" fmla="*/ 0 h 27"/>
                  <a:gd name="T46" fmla="*/ 7 w 23"/>
                  <a:gd name="T47" fmla="*/ 6 h 27"/>
                  <a:gd name="T48" fmla="*/ 9 w 23"/>
                  <a:gd name="T49" fmla="*/ 4 h 27"/>
                  <a:gd name="T50" fmla="*/ 11 w 23"/>
                  <a:gd name="T51" fmla="*/ 2 h 27"/>
                  <a:gd name="T52" fmla="*/ 12 w 23"/>
                  <a:gd name="T53" fmla="*/ 2 h 27"/>
                  <a:gd name="T54" fmla="*/ 14 w 23"/>
                  <a:gd name="T55" fmla="*/ 4 h 27"/>
                  <a:gd name="T56" fmla="*/ 14 w 23"/>
                  <a:gd name="T57" fmla="*/ 9 h 27"/>
                  <a:gd name="T58" fmla="*/ 12 w 23"/>
                  <a:gd name="T59" fmla="*/ 9 h 27"/>
                  <a:gd name="T60" fmla="*/ 9 w 23"/>
                  <a:gd name="T61" fmla="*/ 13 h 27"/>
                  <a:gd name="T62" fmla="*/ 11 w 23"/>
                  <a:gd name="T63" fmla="*/ 13 h 27"/>
                  <a:gd name="T64" fmla="*/ 11 w 23"/>
                  <a:gd name="T65" fmla="*/ 15 h 27"/>
                  <a:gd name="T66" fmla="*/ 12 w 23"/>
                  <a:gd name="T67" fmla="*/ 15 h 27"/>
                  <a:gd name="T68" fmla="*/ 14 w 23"/>
                  <a:gd name="T69" fmla="*/ 13 h 27"/>
                  <a:gd name="T70" fmla="*/ 18 w 23"/>
                  <a:gd name="T71" fmla="*/ 8 h 27"/>
                  <a:gd name="T72" fmla="*/ 18 w 23"/>
                  <a:gd name="T73" fmla="*/ 4 h 27"/>
                  <a:gd name="T74" fmla="*/ 18 w 23"/>
                  <a:gd name="T75"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27">
                    <a:moveTo>
                      <a:pt x="18" y="4"/>
                    </a:moveTo>
                    <a:lnTo>
                      <a:pt x="20" y="2"/>
                    </a:lnTo>
                    <a:lnTo>
                      <a:pt x="21" y="0"/>
                    </a:lnTo>
                    <a:lnTo>
                      <a:pt x="23" y="2"/>
                    </a:lnTo>
                    <a:lnTo>
                      <a:pt x="23" y="6"/>
                    </a:lnTo>
                    <a:lnTo>
                      <a:pt x="18" y="25"/>
                    </a:lnTo>
                    <a:lnTo>
                      <a:pt x="16" y="24"/>
                    </a:lnTo>
                    <a:lnTo>
                      <a:pt x="14" y="24"/>
                    </a:lnTo>
                    <a:lnTo>
                      <a:pt x="14" y="24"/>
                    </a:lnTo>
                    <a:lnTo>
                      <a:pt x="12" y="27"/>
                    </a:lnTo>
                    <a:lnTo>
                      <a:pt x="12" y="25"/>
                    </a:lnTo>
                    <a:lnTo>
                      <a:pt x="11" y="25"/>
                    </a:lnTo>
                    <a:lnTo>
                      <a:pt x="9" y="22"/>
                    </a:lnTo>
                    <a:lnTo>
                      <a:pt x="11" y="22"/>
                    </a:lnTo>
                    <a:lnTo>
                      <a:pt x="12" y="22"/>
                    </a:lnTo>
                    <a:lnTo>
                      <a:pt x="11" y="18"/>
                    </a:lnTo>
                    <a:lnTo>
                      <a:pt x="7" y="17"/>
                    </a:lnTo>
                    <a:lnTo>
                      <a:pt x="5" y="15"/>
                    </a:lnTo>
                    <a:lnTo>
                      <a:pt x="2" y="6"/>
                    </a:lnTo>
                    <a:lnTo>
                      <a:pt x="0" y="6"/>
                    </a:lnTo>
                    <a:lnTo>
                      <a:pt x="2" y="0"/>
                    </a:lnTo>
                    <a:lnTo>
                      <a:pt x="7" y="0"/>
                    </a:lnTo>
                    <a:lnTo>
                      <a:pt x="9" y="0"/>
                    </a:lnTo>
                    <a:lnTo>
                      <a:pt x="7" y="6"/>
                    </a:lnTo>
                    <a:lnTo>
                      <a:pt x="9" y="4"/>
                    </a:lnTo>
                    <a:lnTo>
                      <a:pt x="11" y="2"/>
                    </a:lnTo>
                    <a:lnTo>
                      <a:pt x="12" y="2"/>
                    </a:lnTo>
                    <a:lnTo>
                      <a:pt x="14" y="4"/>
                    </a:lnTo>
                    <a:lnTo>
                      <a:pt x="14" y="9"/>
                    </a:lnTo>
                    <a:lnTo>
                      <a:pt x="12" y="9"/>
                    </a:lnTo>
                    <a:lnTo>
                      <a:pt x="9" y="13"/>
                    </a:lnTo>
                    <a:lnTo>
                      <a:pt x="11" y="13"/>
                    </a:lnTo>
                    <a:lnTo>
                      <a:pt x="11" y="15"/>
                    </a:lnTo>
                    <a:lnTo>
                      <a:pt x="12" y="15"/>
                    </a:lnTo>
                    <a:lnTo>
                      <a:pt x="14" y="13"/>
                    </a:lnTo>
                    <a:lnTo>
                      <a:pt x="18" y="8"/>
                    </a:lnTo>
                    <a:lnTo>
                      <a:pt x="18" y="4"/>
                    </a:lnTo>
                    <a:lnTo>
                      <a:pt x="18"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42" name="Freeform 2192"/>
              <p:cNvSpPr>
                <a:spLocks/>
              </p:cNvSpPr>
              <p:nvPr/>
            </p:nvSpPr>
            <p:spPr bwMode="auto">
              <a:xfrm>
                <a:off x="578" y="1706"/>
                <a:ext cx="18" cy="30"/>
              </a:xfrm>
              <a:custGeom>
                <a:avLst/>
                <a:gdLst>
                  <a:gd name="T0" fmla="*/ 4 w 18"/>
                  <a:gd name="T1" fmla="*/ 14 h 30"/>
                  <a:gd name="T2" fmla="*/ 4 w 18"/>
                  <a:gd name="T3" fmla="*/ 12 h 30"/>
                  <a:gd name="T4" fmla="*/ 4 w 18"/>
                  <a:gd name="T5" fmla="*/ 9 h 30"/>
                  <a:gd name="T6" fmla="*/ 2 w 18"/>
                  <a:gd name="T7" fmla="*/ 10 h 30"/>
                  <a:gd name="T8" fmla="*/ 2 w 18"/>
                  <a:gd name="T9" fmla="*/ 10 h 30"/>
                  <a:gd name="T10" fmla="*/ 2 w 18"/>
                  <a:gd name="T11" fmla="*/ 9 h 30"/>
                  <a:gd name="T12" fmla="*/ 2 w 18"/>
                  <a:gd name="T13" fmla="*/ 7 h 30"/>
                  <a:gd name="T14" fmla="*/ 0 w 18"/>
                  <a:gd name="T15" fmla="*/ 5 h 30"/>
                  <a:gd name="T16" fmla="*/ 8 w 18"/>
                  <a:gd name="T17" fmla="*/ 0 h 30"/>
                  <a:gd name="T18" fmla="*/ 9 w 18"/>
                  <a:gd name="T19" fmla="*/ 1 h 30"/>
                  <a:gd name="T20" fmla="*/ 11 w 18"/>
                  <a:gd name="T21" fmla="*/ 5 h 30"/>
                  <a:gd name="T22" fmla="*/ 8 w 18"/>
                  <a:gd name="T23" fmla="*/ 5 h 30"/>
                  <a:gd name="T24" fmla="*/ 8 w 18"/>
                  <a:gd name="T25" fmla="*/ 7 h 30"/>
                  <a:gd name="T26" fmla="*/ 11 w 18"/>
                  <a:gd name="T27" fmla="*/ 7 h 30"/>
                  <a:gd name="T28" fmla="*/ 11 w 18"/>
                  <a:gd name="T29" fmla="*/ 9 h 30"/>
                  <a:gd name="T30" fmla="*/ 11 w 18"/>
                  <a:gd name="T31" fmla="*/ 10 h 30"/>
                  <a:gd name="T32" fmla="*/ 9 w 18"/>
                  <a:gd name="T33" fmla="*/ 10 h 30"/>
                  <a:gd name="T34" fmla="*/ 8 w 18"/>
                  <a:gd name="T35" fmla="*/ 10 h 30"/>
                  <a:gd name="T36" fmla="*/ 8 w 18"/>
                  <a:gd name="T37" fmla="*/ 14 h 30"/>
                  <a:gd name="T38" fmla="*/ 8 w 18"/>
                  <a:gd name="T39" fmla="*/ 14 h 30"/>
                  <a:gd name="T40" fmla="*/ 9 w 18"/>
                  <a:gd name="T41" fmla="*/ 19 h 30"/>
                  <a:gd name="T42" fmla="*/ 13 w 18"/>
                  <a:gd name="T43" fmla="*/ 19 h 30"/>
                  <a:gd name="T44" fmla="*/ 13 w 18"/>
                  <a:gd name="T45" fmla="*/ 21 h 30"/>
                  <a:gd name="T46" fmla="*/ 15 w 18"/>
                  <a:gd name="T47" fmla="*/ 21 h 30"/>
                  <a:gd name="T48" fmla="*/ 18 w 18"/>
                  <a:gd name="T49" fmla="*/ 28 h 30"/>
                  <a:gd name="T50" fmla="*/ 18 w 18"/>
                  <a:gd name="T51" fmla="*/ 30 h 30"/>
                  <a:gd name="T52" fmla="*/ 18 w 18"/>
                  <a:gd name="T53" fmla="*/ 30 h 30"/>
                  <a:gd name="T54" fmla="*/ 11 w 18"/>
                  <a:gd name="T55" fmla="*/ 23 h 30"/>
                  <a:gd name="T56" fmla="*/ 9 w 18"/>
                  <a:gd name="T57" fmla="*/ 23 h 30"/>
                  <a:gd name="T58" fmla="*/ 11 w 18"/>
                  <a:gd name="T59" fmla="*/ 23 h 30"/>
                  <a:gd name="T60" fmla="*/ 11 w 18"/>
                  <a:gd name="T61" fmla="*/ 21 h 30"/>
                  <a:gd name="T62" fmla="*/ 9 w 18"/>
                  <a:gd name="T63" fmla="*/ 21 h 30"/>
                  <a:gd name="T64" fmla="*/ 4 w 18"/>
                  <a:gd name="T65" fmla="*/ 16 h 30"/>
                  <a:gd name="T66" fmla="*/ 4 w 18"/>
                  <a:gd name="T67"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30">
                    <a:moveTo>
                      <a:pt x="4" y="14"/>
                    </a:moveTo>
                    <a:lnTo>
                      <a:pt x="4" y="12"/>
                    </a:lnTo>
                    <a:lnTo>
                      <a:pt x="4" y="9"/>
                    </a:lnTo>
                    <a:lnTo>
                      <a:pt x="2" y="10"/>
                    </a:lnTo>
                    <a:lnTo>
                      <a:pt x="2" y="10"/>
                    </a:lnTo>
                    <a:lnTo>
                      <a:pt x="2" y="9"/>
                    </a:lnTo>
                    <a:lnTo>
                      <a:pt x="2" y="7"/>
                    </a:lnTo>
                    <a:lnTo>
                      <a:pt x="0" y="5"/>
                    </a:lnTo>
                    <a:lnTo>
                      <a:pt x="8" y="0"/>
                    </a:lnTo>
                    <a:lnTo>
                      <a:pt x="9" y="1"/>
                    </a:lnTo>
                    <a:lnTo>
                      <a:pt x="11" y="5"/>
                    </a:lnTo>
                    <a:lnTo>
                      <a:pt x="8" y="5"/>
                    </a:lnTo>
                    <a:lnTo>
                      <a:pt x="8" y="7"/>
                    </a:lnTo>
                    <a:lnTo>
                      <a:pt x="11" y="7"/>
                    </a:lnTo>
                    <a:lnTo>
                      <a:pt x="11" y="9"/>
                    </a:lnTo>
                    <a:lnTo>
                      <a:pt x="11" y="10"/>
                    </a:lnTo>
                    <a:lnTo>
                      <a:pt x="9" y="10"/>
                    </a:lnTo>
                    <a:lnTo>
                      <a:pt x="8" y="10"/>
                    </a:lnTo>
                    <a:lnTo>
                      <a:pt x="8" y="14"/>
                    </a:lnTo>
                    <a:lnTo>
                      <a:pt x="8" y="14"/>
                    </a:lnTo>
                    <a:lnTo>
                      <a:pt x="9" y="19"/>
                    </a:lnTo>
                    <a:lnTo>
                      <a:pt x="13" y="19"/>
                    </a:lnTo>
                    <a:lnTo>
                      <a:pt x="13" y="21"/>
                    </a:lnTo>
                    <a:lnTo>
                      <a:pt x="15" y="21"/>
                    </a:lnTo>
                    <a:lnTo>
                      <a:pt x="18" y="28"/>
                    </a:lnTo>
                    <a:lnTo>
                      <a:pt x="18" y="30"/>
                    </a:lnTo>
                    <a:lnTo>
                      <a:pt x="18" y="30"/>
                    </a:lnTo>
                    <a:lnTo>
                      <a:pt x="11" y="23"/>
                    </a:lnTo>
                    <a:lnTo>
                      <a:pt x="9" y="23"/>
                    </a:lnTo>
                    <a:lnTo>
                      <a:pt x="11" y="23"/>
                    </a:lnTo>
                    <a:lnTo>
                      <a:pt x="11" y="21"/>
                    </a:lnTo>
                    <a:lnTo>
                      <a:pt x="9" y="21"/>
                    </a:lnTo>
                    <a:lnTo>
                      <a:pt x="4" y="16"/>
                    </a:lnTo>
                    <a:lnTo>
                      <a:pt x="4" y="1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43" name="Freeform 2193"/>
              <p:cNvSpPr>
                <a:spLocks/>
              </p:cNvSpPr>
              <p:nvPr/>
            </p:nvSpPr>
            <p:spPr bwMode="auto">
              <a:xfrm>
                <a:off x="578" y="1706"/>
                <a:ext cx="18" cy="30"/>
              </a:xfrm>
              <a:custGeom>
                <a:avLst/>
                <a:gdLst>
                  <a:gd name="T0" fmla="*/ 4 w 18"/>
                  <a:gd name="T1" fmla="*/ 14 h 30"/>
                  <a:gd name="T2" fmla="*/ 4 w 18"/>
                  <a:gd name="T3" fmla="*/ 12 h 30"/>
                  <a:gd name="T4" fmla="*/ 4 w 18"/>
                  <a:gd name="T5" fmla="*/ 9 h 30"/>
                  <a:gd name="T6" fmla="*/ 2 w 18"/>
                  <a:gd name="T7" fmla="*/ 10 h 30"/>
                  <a:gd name="T8" fmla="*/ 2 w 18"/>
                  <a:gd name="T9" fmla="*/ 10 h 30"/>
                  <a:gd name="T10" fmla="*/ 2 w 18"/>
                  <a:gd name="T11" fmla="*/ 9 h 30"/>
                  <a:gd name="T12" fmla="*/ 2 w 18"/>
                  <a:gd name="T13" fmla="*/ 7 h 30"/>
                  <a:gd name="T14" fmla="*/ 0 w 18"/>
                  <a:gd name="T15" fmla="*/ 5 h 30"/>
                  <a:gd name="T16" fmla="*/ 8 w 18"/>
                  <a:gd name="T17" fmla="*/ 0 h 30"/>
                  <a:gd name="T18" fmla="*/ 9 w 18"/>
                  <a:gd name="T19" fmla="*/ 1 h 30"/>
                  <a:gd name="T20" fmla="*/ 11 w 18"/>
                  <a:gd name="T21" fmla="*/ 5 h 30"/>
                  <a:gd name="T22" fmla="*/ 8 w 18"/>
                  <a:gd name="T23" fmla="*/ 5 h 30"/>
                  <a:gd name="T24" fmla="*/ 8 w 18"/>
                  <a:gd name="T25" fmla="*/ 7 h 30"/>
                  <a:gd name="T26" fmla="*/ 11 w 18"/>
                  <a:gd name="T27" fmla="*/ 7 h 30"/>
                  <a:gd name="T28" fmla="*/ 11 w 18"/>
                  <a:gd name="T29" fmla="*/ 9 h 30"/>
                  <a:gd name="T30" fmla="*/ 11 w 18"/>
                  <a:gd name="T31" fmla="*/ 10 h 30"/>
                  <a:gd name="T32" fmla="*/ 9 w 18"/>
                  <a:gd name="T33" fmla="*/ 10 h 30"/>
                  <a:gd name="T34" fmla="*/ 8 w 18"/>
                  <a:gd name="T35" fmla="*/ 10 h 30"/>
                  <a:gd name="T36" fmla="*/ 8 w 18"/>
                  <a:gd name="T37" fmla="*/ 14 h 30"/>
                  <a:gd name="T38" fmla="*/ 8 w 18"/>
                  <a:gd name="T39" fmla="*/ 14 h 30"/>
                  <a:gd name="T40" fmla="*/ 9 w 18"/>
                  <a:gd name="T41" fmla="*/ 19 h 30"/>
                  <a:gd name="T42" fmla="*/ 13 w 18"/>
                  <a:gd name="T43" fmla="*/ 19 h 30"/>
                  <a:gd name="T44" fmla="*/ 13 w 18"/>
                  <a:gd name="T45" fmla="*/ 21 h 30"/>
                  <a:gd name="T46" fmla="*/ 15 w 18"/>
                  <a:gd name="T47" fmla="*/ 21 h 30"/>
                  <a:gd name="T48" fmla="*/ 18 w 18"/>
                  <a:gd name="T49" fmla="*/ 28 h 30"/>
                  <a:gd name="T50" fmla="*/ 18 w 18"/>
                  <a:gd name="T51" fmla="*/ 30 h 30"/>
                  <a:gd name="T52" fmla="*/ 18 w 18"/>
                  <a:gd name="T53" fmla="*/ 30 h 30"/>
                  <a:gd name="T54" fmla="*/ 11 w 18"/>
                  <a:gd name="T55" fmla="*/ 23 h 30"/>
                  <a:gd name="T56" fmla="*/ 9 w 18"/>
                  <a:gd name="T57" fmla="*/ 23 h 30"/>
                  <a:gd name="T58" fmla="*/ 11 w 18"/>
                  <a:gd name="T59" fmla="*/ 23 h 30"/>
                  <a:gd name="T60" fmla="*/ 11 w 18"/>
                  <a:gd name="T61" fmla="*/ 21 h 30"/>
                  <a:gd name="T62" fmla="*/ 9 w 18"/>
                  <a:gd name="T63" fmla="*/ 21 h 30"/>
                  <a:gd name="T64" fmla="*/ 4 w 18"/>
                  <a:gd name="T65" fmla="*/ 16 h 30"/>
                  <a:gd name="T66" fmla="*/ 4 w 18"/>
                  <a:gd name="T67" fmla="*/ 1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30">
                    <a:moveTo>
                      <a:pt x="4" y="14"/>
                    </a:moveTo>
                    <a:lnTo>
                      <a:pt x="4" y="12"/>
                    </a:lnTo>
                    <a:lnTo>
                      <a:pt x="4" y="9"/>
                    </a:lnTo>
                    <a:lnTo>
                      <a:pt x="2" y="10"/>
                    </a:lnTo>
                    <a:lnTo>
                      <a:pt x="2" y="10"/>
                    </a:lnTo>
                    <a:lnTo>
                      <a:pt x="2" y="9"/>
                    </a:lnTo>
                    <a:lnTo>
                      <a:pt x="2" y="7"/>
                    </a:lnTo>
                    <a:lnTo>
                      <a:pt x="0" y="5"/>
                    </a:lnTo>
                    <a:lnTo>
                      <a:pt x="8" y="0"/>
                    </a:lnTo>
                    <a:lnTo>
                      <a:pt x="9" y="1"/>
                    </a:lnTo>
                    <a:lnTo>
                      <a:pt x="11" y="5"/>
                    </a:lnTo>
                    <a:lnTo>
                      <a:pt x="8" y="5"/>
                    </a:lnTo>
                    <a:lnTo>
                      <a:pt x="8" y="7"/>
                    </a:lnTo>
                    <a:lnTo>
                      <a:pt x="11" y="7"/>
                    </a:lnTo>
                    <a:lnTo>
                      <a:pt x="11" y="9"/>
                    </a:lnTo>
                    <a:lnTo>
                      <a:pt x="11" y="10"/>
                    </a:lnTo>
                    <a:lnTo>
                      <a:pt x="9" y="10"/>
                    </a:lnTo>
                    <a:lnTo>
                      <a:pt x="8" y="10"/>
                    </a:lnTo>
                    <a:lnTo>
                      <a:pt x="8" y="14"/>
                    </a:lnTo>
                    <a:lnTo>
                      <a:pt x="8" y="14"/>
                    </a:lnTo>
                    <a:lnTo>
                      <a:pt x="9" y="19"/>
                    </a:lnTo>
                    <a:lnTo>
                      <a:pt x="13" y="19"/>
                    </a:lnTo>
                    <a:lnTo>
                      <a:pt x="13" y="21"/>
                    </a:lnTo>
                    <a:lnTo>
                      <a:pt x="15" y="21"/>
                    </a:lnTo>
                    <a:lnTo>
                      <a:pt x="18" y="28"/>
                    </a:lnTo>
                    <a:lnTo>
                      <a:pt x="18" y="30"/>
                    </a:lnTo>
                    <a:lnTo>
                      <a:pt x="18" y="30"/>
                    </a:lnTo>
                    <a:lnTo>
                      <a:pt x="11" y="23"/>
                    </a:lnTo>
                    <a:lnTo>
                      <a:pt x="9" y="23"/>
                    </a:lnTo>
                    <a:lnTo>
                      <a:pt x="11" y="23"/>
                    </a:lnTo>
                    <a:lnTo>
                      <a:pt x="11" y="21"/>
                    </a:lnTo>
                    <a:lnTo>
                      <a:pt x="9" y="21"/>
                    </a:lnTo>
                    <a:lnTo>
                      <a:pt x="4" y="16"/>
                    </a:lnTo>
                    <a:lnTo>
                      <a:pt x="4" y="1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44" name="Freeform 2194"/>
              <p:cNvSpPr>
                <a:spLocks/>
              </p:cNvSpPr>
              <p:nvPr/>
            </p:nvSpPr>
            <p:spPr bwMode="auto">
              <a:xfrm>
                <a:off x="607" y="1684"/>
                <a:ext cx="5" cy="7"/>
              </a:xfrm>
              <a:custGeom>
                <a:avLst/>
                <a:gdLst>
                  <a:gd name="T0" fmla="*/ 0 w 5"/>
                  <a:gd name="T1" fmla="*/ 4 h 7"/>
                  <a:gd name="T2" fmla="*/ 0 w 5"/>
                  <a:gd name="T3" fmla="*/ 2 h 7"/>
                  <a:gd name="T4" fmla="*/ 2 w 5"/>
                  <a:gd name="T5" fmla="*/ 0 h 7"/>
                  <a:gd name="T6" fmla="*/ 4 w 5"/>
                  <a:gd name="T7" fmla="*/ 2 h 7"/>
                  <a:gd name="T8" fmla="*/ 5 w 5"/>
                  <a:gd name="T9" fmla="*/ 4 h 7"/>
                  <a:gd name="T10" fmla="*/ 4 w 5"/>
                  <a:gd name="T11" fmla="*/ 7 h 7"/>
                  <a:gd name="T12" fmla="*/ 0 w 5"/>
                  <a:gd name="T13" fmla="*/ 4 h 7"/>
                  <a:gd name="T14" fmla="*/ 0 w 5"/>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0" y="4"/>
                    </a:moveTo>
                    <a:lnTo>
                      <a:pt x="0" y="2"/>
                    </a:lnTo>
                    <a:lnTo>
                      <a:pt x="2" y="0"/>
                    </a:lnTo>
                    <a:lnTo>
                      <a:pt x="4" y="2"/>
                    </a:lnTo>
                    <a:lnTo>
                      <a:pt x="5" y="4"/>
                    </a:lnTo>
                    <a:lnTo>
                      <a:pt x="4" y="7"/>
                    </a:lnTo>
                    <a:lnTo>
                      <a:pt x="0" y="4"/>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45" name="Freeform 2195"/>
              <p:cNvSpPr>
                <a:spLocks/>
              </p:cNvSpPr>
              <p:nvPr/>
            </p:nvSpPr>
            <p:spPr bwMode="auto">
              <a:xfrm>
                <a:off x="607" y="1684"/>
                <a:ext cx="5" cy="7"/>
              </a:xfrm>
              <a:custGeom>
                <a:avLst/>
                <a:gdLst>
                  <a:gd name="T0" fmla="*/ 0 w 5"/>
                  <a:gd name="T1" fmla="*/ 4 h 7"/>
                  <a:gd name="T2" fmla="*/ 0 w 5"/>
                  <a:gd name="T3" fmla="*/ 2 h 7"/>
                  <a:gd name="T4" fmla="*/ 2 w 5"/>
                  <a:gd name="T5" fmla="*/ 0 h 7"/>
                  <a:gd name="T6" fmla="*/ 4 w 5"/>
                  <a:gd name="T7" fmla="*/ 2 h 7"/>
                  <a:gd name="T8" fmla="*/ 5 w 5"/>
                  <a:gd name="T9" fmla="*/ 4 h 7"/>
                  <a:gd name="T10" fmla="*/ 4 w 5"/>
                  <a:gd name="T11" fmla="*/ 7 h 7"/>
                  <a:gd name="T12" fmla="*/ 0 w 5"/>
                  <a:gd name="T13" fmla="*/ 4 h 7"/>
                  <a:gd name="T14" fmla="*/ 0 w 5"/>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0" y="4"/>
                    </a:moveTo>
                    <a:lnTo>
                      <a:pt x="0" y="2"/>
                    </a:lnTo>
                    <a:lnTo>
                      <a:pt x="2" y="0"/>
                    </a:lnTo>
                    <a:lnTo>
                      <a:pt x="4" y="2"/>
                    </a:lnTo>
                    <a:lnTo>
                      <a:pt x="5" y="4"/>
                    </a:lnTo>
                    <a:lnTo>
                      <a:pt x="4" y="7"/>
                    </a:lnTo>
                    <a:lnTo>
                      <a:pt x="0" y="4"/>
                    </a:lnTo>
                    <a:lnTo>
                      <a:pt x="0"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46" name="Freeform 2196"/>
              <p:cNvSpPr>
                <a:spLocks/>
              </p:cNvSpPr>
              <p:nvPr/>
            </p:nvSpPr>
            <p:spPr bwMode="auto">
              <a:xfrm>
                <a:off x="609" y="1697"/>
                <a:ext cx="11" cy="12"/>
              </a:xfrm>
              <a:custGeom>
                <a:avLst/>
                <a:gdLst>
                  <a:gd name="T0" fmla="*/ 0 w 11"/>
                  <a:gd name="T1" fmla="*/ 0 h 12"/>
                  <a:gd name="T2" fmla="*/ 3 w 11"/>
                  <a:gd name="T3" fmla="*/ 2 h 12"/>
                  <a:gd name="T4" fmla="*/ 9 w 11"/>
                  <a:gd name="T5" fmla="*/ 5 h 12"/>
                  <a:gd name="T6" fmla="*/ 11 w 11"/>
                  <a:gd name="T7" fmla="*/ 10 h 12"/>
                  <a:gd name="T8" fmla="*/ 11 w 11"/>
                  <a:gd name="T9" fmla="*/ 12 h 12"/>
                  <a:gd name="T10" fmla="*/ 9 w 11"/>
                  <a:gd name="T11" fmla="*/ 12 h 12"/>
                  <a:gd name="T12" fmla="*/ 7 w 11"/>
                  <a:gd name="T13" fmla="*/ 7 h 12"/>
                  <a:gd name="T14" fmla="*/ 3 w 11"/>
                  <a:gd name="T15" fmla="*/ 5 h 12"/>
                  <a:gd name="T16" fmla="*/ 3 w 11"/>
                  <a:gd name="T17" fmla="*/ 3 h 12"/>
                  <a:gd name="T18" fmla="*/ 2 w 11"/>
                  <a:gd name="T19" fmla="*/ 3 h 12"/>
                  <a:gd name="T20" fmla="*/ 0 w 11"/>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2">
                    <a:moveTo>
                      <a:pt x="0" y="0"/>
                    </a:moveTo>
                    <a:lnTo>
                      <a:pt x="3" y="2"/>
                    </a:lnTo>
                    <a:lnTo>
                      <a:pt x="9" y="5"/>
                    </a:lnTo>
                    <a:lnTo>
                      <a:pt x="11" y="10"/>
                    </a:lnTo>
                    <a:lnTo>
                      <a:pt x="11" y="12"/>
                    </a:lnTo>
                    <a:lnTo>
                      <a:pt x="9" y="12"/>
                    </a:lnTo>
                    <a:lnTo>
                      <a:pt x="7" y="7"/>
                    </a:lnTo>
                    <a:lnTo>
                      <a:pt x="3" y="5"/>
                    </a:lnTo>
                    <a:lnTo>
                      <a:pt x="3" y="3"/>
                    </a:lnTo>
                    <a:lnTo>
                      <a:pt x="2" y="3"/>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47" name="Freeform 2197"/>
              <p:cNvSpPr>
                <a:spLocks/>
              </p:cNvSpPr>
              <p:nvPr/>
            </p:nvSpPr>
            <p:spPr bwMode="auto">
              <a:xfrm>
                <a:off x="609" y="1697"/>
                <a:ext cx="11" cy="12"/>
              </a:xfrm>
              <a:custGeom>
                <a:avLst/>
                <a:gdLst>
                  <a:gd name="T0" fmla="*/ 0 w 11"/>
                  <a:gd name="T1" fmla="*/ 0 h 12"/>
                  <a:gd name="T2" fmla="*/ 3 w 11"/>
                  <a:gd name="T3" fmla="*/ 2 h 12"/>
                  <a:gd name="T4" fmla="*/ 9 w 11"/>
                  <a:gd name="T5" fmla="*/ 5 h 12"/>
                  <a:gd name="T6" fmla="*/ 11 w 11"/>
                  <a:gd name="T7" fmla="*/ 10 h 12"/>
                  <a:gd name="T8" fmla="*/ 11 w 11"/>
                  <a:gd name="T9" fmla="*/ 12 h 12"/>
                  <a:gd name="T10" fmla="*/ 9 w 11"/>
                  <a:gd name="T11" fmla="*/ 12 h 12"/>
                  <a:gd name="T12" fmla="*/ 7 w 11"/>
                  <a:gd name="T13" fmla="*/ 7 h 12"/>
                  <a:gd name="T14" fmla="*/ 3 w 11"/>
                  <a:gd name="T15" fmla="*/ 5 h 12"/>
                  <a:gd name="T16" fmla="*/ 3 w 11"/>
                  <a:gd name="T17" fmla="*/ 3 h 12"/>
                  <a:gd name="T18" fmla="*/ 2 w 11"/>
                  <a:gd name="T19" fmla="*/ 3 h 12"/>
                  <a:gd name="T20" fmla="*/ 0 w 11"/>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2">
                    <a:moveTo>
                      <a:pt x="0" y="0"/>
                    </a:moveTo>
                    <a:lnTo>
                      <a:pt x="3" y="2"/>
                    </a:lnTo>
                    <a:lnTo>
                      <a:pt x="9" y="5"/>
                    </a:lnTo>
                    <a:lnTo>
                      <a:pt x="11" y="10"/>
                    </a:lnTo>
                    <a:lnTo>
                      <a:pt x="11" y="12"/>
                    </a:lnTo>
                    <a:lnTo>
                      <a:pt x="9" y="12"/>
                    </a:lnTo>
                    <a:lnTo>
                      <a:pt x="7" y="7"/>
                    </a:lnTo>
                    <a:lnTo>
                      <a:pt x="3" y="5"/>
                    </a:lnTo>
                    <a:lnTo>
                      <a:pt x="3" y="3"/>
                    </a:lnTo>
                    <a:lnTo>
                      <a:pt x="2" y="3"/>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48" name="Freeform 2198"/>
              <p:cNvSpPr>
                <a:spLocks/>
              </p:cNvSpPr>
              <p:nvPr/>
            </p:nvSpPr>
            <p:spPr bwMode="auto">
              <a:xfrm>
                <a:off x="612" y="1690"/>
                <a:ext cx="13" cy="17"/>
              </a:xfrm>
              <a:custGeom>
                <a:avLst/>
                <a:gdLst>
                  <a:gd name="T0" fmla="*/ 8 w 13"/>
                  <a:gd name="T1" fmla="*/ 7 h 17"/>
                  <a:gd name="T2" fmla="*/ 8 w 13"/>
                  <a:gd name="T3" fmla="*/ 7 h 17"/>
                  <a:gd name="T4" fmla="*/ 9 w 13"/>
                  <a:gd name="T5" fmla="*/ 7 h 17"/>
                  <a:gd name="T6" fmla="*/ 13 w 13"/>
                  <a:gd name="T7" fmla="*/ 12 h 17"/>
                  <a:gd name="T8" fmla="*/ 13 w 13"/>
                  <a:gd name="T9" fmla="*/ 16 h 17"/>
                  <a:gd name="T10" fmla="*/ 11 w 13"/>
                  <a:gd name="T11" fmla="*/ 17 h 17"/>
                  <a:gd name="T12" fmla="*/ 4 w 13"/>
                  <a:gd name="T13" fmla="*/ 5 h 17"/>
                  <a:gd name="T14" fmla="*/ 4 w 13"/>
                  <a:gd name="T15" fmla="*/ 3 h 17"/>
                  <a:gd name="T16" fmla="*/ 2 w 13"/>
                  <a:gd name="T17" fmla="*/ 3 h 17"/>
                  <a:gd name="T18" fmla="*/ 0 w 13"/>
                  <a:gd name="T19" fmla="*/ 1 h 17"/>
                  <a:gd name="T20" fmla="*/ 0 w 13"/>
                  <a:gd name="T21" fmla="*/ 0 h 17"/>
                  <a:gd name="T22" fmla="*/ 2 w 13"/>
                  <a:gd name="T23" fmla="*/ 0 h 17"/>
                  <a:gd name="T24" fmla="*/ 6 w 13"/>
                  <a:gd name="T25" fmla="*/ 1 h 17"/>
                  <a:gd name="T26" fmla="*/ 8 w 13"/>
                  <a:gd name="T27"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7">
                    <a:moveTo>
                      <a:pt x="8" y="7"/>
                    </a:moveTo>
                    <a:lnTo>
                      <a:pt x="8" y="7"/>
                    </a:lnTo>
                    <a:lnTo>
                      <a:pt x="9" y="7"/>
                    </a:lnTo>
                    <a:lnTo>
                      <a:pt x="13" y="12"/>
                    </a:lnTo>
                    <a:lnTo>
                      <a:pt x="13" y="16"/>
                    </a:lnTo>
                    <a:lnTo>
                      <a:pt x="11" y="17"/>
                    </a:lnTo>
                    <a:lnTo>
                      <a:pt x="4" y="5"/>
                    </a:lnTo>
                    <a:lnTo>
                      <a:pt x="4" y="3"/>
                    </a:lnTo>
                    <a:lnTo>
                      <a:pt x="2" y="3"/>
                    </a:lnTo>
                    <a:lnTo>
                      <a:pt x="0" y="1"/>
                    </a:lnTo>
                    <a:lnTo>
                      <a:pt x="0" y="0"/>
                    </a:lnTo>
                    <a:lnTo>
                      <a:pt x="2" y="0"/>
                    </a:lnTo>
                    <a:lnTo>
                      <a:pt x="6" y="1"/>
                    </a:lnTo>
                    <a:lnTo>
                      <a:pt x="8"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49" name="Freeform 2199"/>
              <p:cNvSpPr>
                <a:spLocks/>
              </p:cNvSpPr>
              <p:nvPr/>
            </p:nvSpPr>
            <p:spPr bwMode="auto">
              <a:xfrm>
                <a:off x="612" y="1690"/>
                <a:ext cx="13" cy="17"/>
              </a:xfrm>
              <a:custGeom>
                <a:avLst/>
                <a:gdLst>
                  <a:gd name="T0" fmla="*/ 8 w 13"/>
                  <a:gd name="T1" fmla="*/ 7 h 17"/>
                  <a:gd name="T2" fmla="*/ 8 w 13"/>
                  <a:gd name="T3" fmla="*/ 7 h 17"/>
                  <a:gd name="T4" fmla="*/ 9 w 13"/>
                  <a:gd name="T5" fmla="*/ 7 h 17"/>
                  <a:gd name="T6" fmla="*/ 13 w 13"/>
                  <a:gd name="T7" fmla="*/ 12 h 17"/>
                  <a:gd name="T8" fmla="*/ 13 w 13"/>
                  <a:gd name="T9" fmla="*/ 16 h 17"/>
                  <a:gd name="T10" fmla="*/ 11 w 13"/>
                  <a:gd name="T11" fmla="*/ 17 h 17"/>
                  <a:gd name="T12" fmla="*/ 4 w 13"/>
                  <a:gd name="T13" fmla="*/ 5 h 17"/>
                  <a:gd name="T14" fmla="*/ 4 w 13"/>
                  <a:gd name="T15" fmla="*/ 3 h 17"/>
                  <a:gd name="T16" fmla="*/ 2 w 13"/>
                  <a:gd name="T17" fmla="*/ 3 h 17"/>
                  <a:gd name="T18" fmla="*/ 0 w 13"/>
                  <a:gd name="T19" fmla="*/ 1 h 17"/>
                  <a:gd name="T20" fmla="*/ 0 w 13"/>
                  <a:gd name="T21" fmla="*/ 0 h 17"/>
                  <a:gd name="T22" fmla="*/ 2 w 13"/>
                  <a:gd name="T23" fmla="*/ 0 h 17"/>
                  <a:gd name="T24" fmla="*/ 6 w 13"/>
                  <a:gd name="T25" fmla="*/ 1 h 17"/>
                  <a:gd name="T26" fmla="*/ 8 w 13"/>
                  <a:gd name="T27"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17">
                    <a:moveTo>
                      <a:pt x="8" y="7"/>
                    </a:moveTo>
                    <a:lnTo>
                      <a:pt x="8" y="7"/>
                    </a:lnTo>
                    <a:lnTo>
                      <a:pt x="9" y="7"/>
                    </a:lnTo>
                    <a:lnTo>
                      <a:pt x="13" y="12"/>
                    </a:lnTo>
                    <a:lnTo>
                      <a:pt x="13" y="16"/>
                    </a:lnTo>
                    <a:lnTo>
                      <a:pt x="11" y="17"/>
                    </a:lnTo>
                    <a:lnTo>
                      <a:pt x="4" y="5"/>
                    </a:lnTo>
                    <a:lnTo>
                      <a:pt x="4" y="3"/>
                    </a:lnTo>
                    <a:lnTo>
                      <a:pt x="2" y="3"/>
                    </a:lnTo>
                    <a:lnTo>
                      <a:pt x="0" y="1"/>
                    </a:lnTo>
                    <a:lnTo>
                      <a:pt x="0" y="0"/>
                    </a:lnTo>
                    <a:lnTo>
                      <a:pt x="2" y="0"/>
                    </a:lnTo>
                    <a:lnTo>
                      <a:pt x="6" y="1"/>
                    </a:lnTo>
                    <a:lnTo>
                      <a:pt x="8"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50" name="Freeform 2200"/>
              <p:cNvSpPr>
                <a:spLocks/>
              </p:cNvSpPr>
              <p:nvPr/>
            </p:nvSpPr>
            <p:spPr bwMode="auto">
              <a:xfrm>
                <a:off x="628" y="1718"/>
                <a:ext cx="4" cy="7"/>
              </a:xfrm>
              <a:custGeom>
                <a:avLst/>
                <a:gdLst>
                  <a:gd name="T0" fmla="*/ 0 w 4"/>
                  <a:gd name="T1" fmla="*/ 0 h 7"/>
                  <a:gd name="T2" fmla="*/ 2 w 4"/>
                  <a:gd name="T3" fmla="*/ 0 h 7"/>
                  <a:gd name="T4" fmla="*/ 4 w 4"/>
                  <a:gd name="T5" fmla="*/ 6 h 7"/>
                  <a:gd name="T6" fmla="*/ 4 w 4"/>
                  <a:gd name="T7" fmla="*/ 7 h 7"/>
                  <a:gd name="T8" fmla="*/ 4 w 4"/>
                  <a:gd name="T9" fmla="*/ 7 h 7"/>
                  <a:gd name="T10" fmla="*/ 0 w 4"/>
                  <a:gd name="T11" fmla="*/ 2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2" y="0"/>
                    </a:lnTo>
                    <a:lnTo>
                      <a:pt x="4" y="6"/>
                    </a:lnTo>
                    <a:lnTo>
                      <a:pt x="4" y="7"/>
                    </a:lnTo>
                    <a:lnTo>
                      <a:pt x="4" y="7"/>
                    </a:lnTo>
                    <a:lnTo>
                      <a:pt x="0"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51" name="Freeform 2201"/>
              <p:cNvSpPr>
                <a:spLocks/>
              </p:cNvSpPr>
              <p:nvPr/>
            </p:nvSpPr>
            <p:spPr bwMode="auto">
              <a:xfrm>
                <a:off x="628" y="1718"/>
                <a:ext cx="4" cy="7"/>
              </a:xfrm>
              <a:custGeom>
                <a:avLst/>
                <a:gdLst>
                  <a:gd name="T0" fmla="*/ 0 w 4"/>
                  <a:gd name="T1" fmla="*/ 0 h 7"/>
                  <a:gd name="T2" fmla="*/ 2 w 4"/>
                  <a:gd name="T3" fmla="*/ 0 h 7"/>
                  <a:gd name="T4" fmla="*/ 4 w 4"/>
                  <a:gd name="T5" fmla="*/ 6 h 7"/>
                  <a:gd name="T6" fmla="*/ 4 w 4"/>
                  <a:gd name="T7" fmla="*/ 7 h 7"/>
                  <a:gd name="T8" fmla="*/ 4 w 4"/>
                  <a:gd name="T9" fmla="*/ 7 h 7"/>
                  <a:gd name="T10" fmla="*/ 0 w 4"/>
                  <a:gd name="T11" fmla="*/ 2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2" y="0"/>
                    </a:lnTo>
                    <a:lnTo>
                      <a:pt x="4" y="6"/>
                    </a:lnTo>
                    <a:lnTo>
                      <a:pt x="4" y="7"/>
                    </a:lnTo>
                    <a:lnTo>
                      <a:pt x="4" y="7"/>
                    </a:lnTo>
                    <a:lnTo>
                      <a:pt x="0"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52" name="Freeform 2202"/>
              <p:cNvSpPr>
                <a:spLocks/>
              </p:cNvSpPr>
              <p:nvPr/>
            </p:nvSpPr>
            <p:spPr bwMode="auto">
              <a:xfrm>
                <a:off x="643" y="1768"/>
                <a:ext cx="80" cy="63"/>
              </a:xfrm>
              <a:custGeom>
                <a:avLst/>
                <a:gdLst>
                  <a:gd name="T0" fmla="*/ 14 w 80"/>
                  <a:gd name="T1" fmla="*/ 13 h 63"/>
                  <a:gd name="T2" fmla="*/ 14 w 80"/>
                  <a:gd name="T3" fmla="*/ 13 h 63"/>
                  <a:gd name="T4" fmla="*/ 7 w 80"/>
                  <a:gd name="T5" fmla="*/ 6 h 63"/>
                  <a:gd name="T6" fmla="*/ 3 w 80"/>
                  <a:gd name="T7" fmla="*/ 9 h 63"/>
                  <a:gd name="T8" fmla="*/ 0 w 80"/>
                  <a:gd name="T9" fmla="*/ 6 h 63"/>
                  <a:gd name="T10" fmla="*/ 2 w 80"/>
                  <a:gd name="T11" fmla="*/ 2 h 63"/>
                  <a:gd name="T12" fmla="*/ 5 w 80"/>
                  <a:gd name="T13" fmla="*/ 0 h 63"/>
                  <a:gd name="T14" fmla="*/ 16 w 80"/>
                  <a:gd name="T15" fmla="*/ 6 h 63"/>
                  <a:gd name="T16" fmla="*/ 44 w 80"/>
                  <a:gd name="T17" fmla="*/ 14 h 63"/>
                  <a:gd name="T18" fmla="*/ 46 w 80"/>
                  <a:gd name="T19" fmla="*/ 20 h 63"/>
                  <a:gd name="T20" fmla="*/ 55 w 80"/>
                  <a:gd name="T21" fmla="*/ 31 h 63"/>
                  <a:gd name="T22" fmla="*/ 55 w 80"/>
                  <a:gd name="T23" fmla="*/ 32 h 63"/>
                  <a:gd name="T24" fmla="*/ 62 w 80"/>
                  <a:gd name="T25" fmla="*/ 38 h 63"/>
                  <a:gd name="T26" fmla="*/ 68 w 80"/>
                  <a:gd name="T27" fmla="*/ 39 h 63"/>
                  <a:gd name="T28" fmla="*/ 73 w 80"/>
                  <a:gd name="T29" fmla="*/ 45 h 63"/>
                  <a:gd name="T30" fmla="*/ 78 w 80"/>
                  <a:gd name="T31" fmla="*/ 56 h 63"/>
                  <a:gd name="T32" fmla="*/ 80 w 80"/>
                  <a:gd name="T33" fmla="*/ 59 h 63"/>
                  <a:gd name="T34" fmla="*/ 77 w 80"/>
                  <a:gd name="T35" fmla="*/ 63 h 63"/>
                  <a:gd name="T36" fmla="*/ 66 w 80"/>
                  <a:gd name="T37" fmla="*/ 57 h 63"/>
                  <a:gd name="T38" fmla="*/ 62 w 80"/>
                  <a:gd name="T39" fmla="*/ 57 h 63"/>
                  <a:gd name="T40" fmla="*/ 57 w 80"/>
                  <a:gd name="T41" fmla="*/ 54 h 63"/>
                  <a:gd name="T42" fmla="*/ 59 w 80"/>
                  <a:gd name="T43" fmla="*/ 52 h 63"/>
                  <a:gd name="T44" fmla="*/ 55 w 80"/>
                  <a:gd name="T45" fmla="*/ 54 h 63"/>
                  <a:gd name="T46" fmla="*/ 53 w 80"/>
                  <a:gd name="T47" fmla="*/ 50 h 63"/>
                  <a:gd name="T48" fmla="*/ 53 w 80"/>
                  <a:gd name="T49" fmla="*/ 48 h 63"/>
                  <a:gd name="T50" fmla="*/ 53 w 80"/>
                  <a:gd name="T51" fmla="*/ 47 h 63"/>
                  <a:gd name="T52" fmla="*/ 50 w 80"/>
                  <a:gd name="T53" fmla="*/ 47 h 63"/>
                  <a:gd name="T54" fmla="*/ 44 w 80"/>
                  <a:gd name="T55" fmla="*/ 48 h 63"/>
                  <a:gd name="T56" fmla="*/ 46 w 80"/>
                  <a:gd name="T57" fmla="*/ 45 h 63"/>
                  <a:gd name="T58" fmla="*/ 43 w 80"/>
                  <a:gd name="T59" fmla="*/ 39 h 63"/>
                  <a:gd name="T60" fmla="*/ 39 w 80"/>
                  <a:gd name="T61" fmla="*/ 38 h 63"/>
                  <a:gd name="T62" fmla="*/ 30 w 80"/>
                  <a:gd name="T63" fmla="*/ 36 h 63"/>
                  <a:gd name="T64" fmla="*/ 30 w 80"/>
                  <a:gd name="T65" fmla="*/ 32 h 63"/>
                  <a:gd name="T66" fmla="*/ 37 w 80"/>
                  <a:gd name="T67" fmla="*/ 31 h 63"/>
                  <a:gd name="T68" fmla="*/ 32 w 80"/>
                  <a:gd name="T69" fmla="*/ 31 h 63"/>
                  <a:gd name="T70" fmla="*/ 30 w 80"/>
                  <a:gd name="T71" fmla="*/ 27 h 63"/>
                  <a:gd name="T72" fmla="*/ 28 w 80"/>
                  <a:gd name="T73" fmla="*/ 27 h 63"/>
                  <a:gd name="T74" fmla="*/ 25 w 80"/>
                  <a:gd name="T75" fmla="*/ 25 h 63"/>
                  <a:gd name="T76" fmla="*/ 21 w 80"/>
                  <a:gd name="T77" fmla="*/ 25 h 63"/>
                  <a:gd name="T78" fmla="*/ 19 w 80"/>
                  <a:gd name="T79" fmla="*/ 22 h 63"/>
                  <a:gd name="T80" fmla="*/ 19 w 80"/>
                  <a:gd name="T81" fmla="*/ 20 h 63"/>
                  <a:gd name="T82" fmla="*/ 16 w 80"/>
                  <a:gd name="T83" fmla="*/ 22 h 63"/>
                  <a:gd name="T84" fmla="*/ 14 w 80"/>
                  <a:gd name="T85" fmla="*/ 18 h 63"/>
                  <a:gd name="T86" fmla="*/ 10 w 80"/>
                  <a:gd name="T87" fmla="*/ 20 h 63"/>
                  <a:gd name="T88" fmla="*/ 9 w 80"/>
                  <a:gd name="T89" fmla="*/ 18 h 63"/>
                  <a:gd name="T90" fmla="*/ 9 w 80"/>
                  <a:gd name="T91" fmla="*/ 14 h 63"/>
                  <a:gd name="T92" fmla="*/ 7 w 80"/>
                  <a:gd name="T93" fmla="*/ 11 h 63"/>
                  <a:gd name="T94" fmla="*/ 12 w 80"/>
                  <a:gd name="T95"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 h="63">
                    <a:moveTo>
                      <a:pt x="14" y="13"/>
                    </a:moveTo>
                    <a:lnTo>
                      <a:pt x="14" y="13"/>
                    </a:lnTo>
                    <a:lnTo>
                      <a:pt x="14" y="13"/>
                    </a:lnTo>
                    <a:lnTo>
                      <a:pt x="14" y="13"/>
                    </a:lnTo>
                    <a:lnTo>
                      <a:pt x="14" y="7"/>
                    </a:lnTo>
                    <a:lnTo>
                      <a:pt x="7" y="6"/>
                    </a:lnTo>
                    <a:lnTo>
                      <a:pt x="5" y="4"/>
                    </a:lnTo>
                    <a:lnTo>
                      <a:pt x="3" y="9"/>
                    </a:lnTo>
                    <a:lnTo>
                      <a:pt x="2" y="7"/>
                    </a:lnTo>
                    <a:lnTo>
                      <a:pt x="0" y="6"/>
                    </a:lnTo>
                    <a:lnTo>
                      <a:pt x="0" y="4"/>
                    </a:lnTo>
                    <a:lnTo>
                      <a:pt x="2" y="2"/>
                    </a:lnTo>
                    <a:lnTo>
                      <a:pt x="3" y="0"/>
                    </a:lnTo>
                    <a:lnTo>
                      <a:pt x="5" y="0"/>
                    </a:lnTo>
                    <a:lnTo>
                      <a:pt x="14" y="4"/>
                    </a:lnTo>
                    <a:lnTo>
                      <a:pt x="16" y="6"/>
                    </a:lnTo>
                    <a:lnTo>
                      <a:pt x="44" y="14"/>
                    </a:lnTo>
                    <a:lnTo>
                      <a:pt x="44" y="14"/>
                    </a:lnTo>
                    <a:lnTo>
                      <a:pt x="46" y="16"/>
                    </a:lnTo>
                    <a:lnTo>
                      <a:pt x="46" y="20"/>
                    </a:lnTo>
                    <a:lnTo>
                      <a:pt x="55" y="29"/>
                    </a:lnTo>
                    <a:lnTo>
                      <a:pt x="55" y="31"/>
                    </a:lnTo>
                    <a:lnTo>
                      <a:pt x="55" y="31"/>
                    </a:lnTo>
                    <a:lnTo>
                      <a:pt x="55" y="32"/>
                    </a:lnTo>
                    <a:lnTo>
                      <a:pt x="57" y="34"/>
                    </a:lnTo>
                    <a:lnTo>
                      <a:pt x="62" y="38"/>
                    </a:lnTo>
                    <a:lnTo>
                      <a:pt x="66" y="38"/>
                    </a:lnTo>
                    <a:lnTo>
                      <a:pt x="68" y="39"/>
                    </a:lnTo>
                    <a:lnTo>
                      <a:pt x="69" y="39"/>
                    </a:lnTo>
                    <a:lnTo>
                      <a:pt x="73" y="45"/>
                    </a:lnTo>
                    <a:lnTo>
                      <a:pt x="78" y="57"/>
                    </a:lnTo>
                    <a:lnTo>
                      <a:pt x="78" y="56"/>
                    </a:lnTo>
                    <a:lnTo>
                      <a:pt x="80" y="59"/>
                    </a:lnTo>
                    <a:lnTo>
                      <a:pt x="80" y="59"/>
                    </a:lnTo>
                    <a:lnTo>
                      <a:pt x="80" y="61"/>
                    </a:lnTo>
                    <a:lnTo>
                      <a:pt x="77" y="63"/>
                    </a:lnTo>
                    <a:lnTo>
                      <a:pt x="66" y="57"/>
                    </a:lnTo>
                    <a:lnTo>
                      <a:pt x="66" y="57"/>
                    </a:lnTo>
                    <a:lnTo>
                      <a:pt x="64" y="57"/>
                    </a:lnTo>
                    <a:lnTo>
                      <a:pt x="62" y="57"/>
                    </a:lnTo>
                    <a:lnTo>
                      <a:pt x="57" y="56"/>
                    </a:lnTo>
                    <a:lnTo>
                      <a:pt x="57" y="54"/>
                    </a:lnTo>
                    <a:lnTo>
                      <a:pt x="59" y="52"/>
                    </a:lnTo>
                    <a:lnTo>
                      <a:pt x="59" y="52"/>
                    </a:lnTo>
                    <a:lnTo>
                      <a:pt x="57" y="54"/>
                    </a:lnTo>
                    <a:lnTo>
                      <a:pt x="55" y="54"/>
                    </a:lnTo>
                    <a:lnTo>
                      <a:pt x="53" y="52"/>
                    </a:lnTo>
                    <a:lnTo>
                      <a:pt x="53" y="50"/>
                    </a:lnTo>
                    <a:lnTo>
                      <a:pt x="53" y="48"/>
                    </a:lnTo>
                    <a:lnTo>
                      <a:pt x="53" y="48"/>
                    </a:lnTo>
                    <a:lnTo>
                      <a:pt x="55" y="47"/>
                    </a:lnTo>
                    <a:lnTo>
                      <a:pt x="53" y="47"/>
                    </a:lnTo>
                    <a:lnTo>
                      <a:pt x="52" y="45"/>
                    </a:lnTo>
                    <a:lnTo>
                      <a:pt x="50" y="47"/>
                    </a:lnTo>
                    <a:lnTo>
                      <a:pt x="48" y="47"/>
                    </a:lnTo>
                    <a:lnTo>
                      <a:pt x="44" y="48"/>
                    </a:lnTo>
                    <a:lnTo>
                      <a:pt x="43" y="45"/>
                    </a:lnTo>
                    <a:lnTo>
                      <a:pt x="46" y="45"/>
                    </a:lnTo>
                    <a:lnTo>
                      <a:pt x="44" y="43"/>
                    </a:lnTo>
                    <a:lnTo>
                      <a:pt x="43" y="39"/>
                    </a:lnTo>
                    <a:lnTo>
                      <a:pt x="39" y="39"/>
                    </a:lnTo>
                    <a:lnTo>
                      <a:pt x="39" y="38"/>
                    </a:lnTo>
                    <a:lnTo>
                      <a:pt x="35" y="36"/>
                    </a:lnTo>
                    <a:lnTo>
                      <a:pt x="30" y="36"/>
                    </a:lnTo>
                    <a:lnTo>
                      <a:pt x="30" y="32"/>
                    </a:lnTo>
                    <a:lnTo>
                      <a:pt x="30" y="32"/>
                    </a:lnTo>
                    <a:lnTo>
                      <a:pt x="34" y="32"/>
                    </a:lnTo>
                    <a:lnTo>
                      <a:pt x="37" y="31"/>
                    </a:lnTo>
                    <a:lnTo>
                      <a:pt x="35" y="29"/>
                    </a:lnTo>
                    <a:lnTo>
                      <a:pt x="32" y="31"/>
                    </a:lnTo>
                    <a:lnTo>
                      <a:pt x="32" y="29"/>
                    </a:lnTo>
                    <a:lnTo>
                      <a:pt x="30" y="27"/>
                    </a:lnTo>
                    <a:lnTo>
                      <a:pt x="28" y="29"/>
                    </a:lnTo>
                    <a:lnTo>
                      <a:pt x="28" y="27"/>
                    </a:lnTo>
                    <a:lnTo>
                      <a:pt x="25" y="23"/>
                    </a:lnTo>
                    <a:lnTo>
                      <a:pt x="25" y="25"/>
                    </a:lnTo>
                    <a:lnTo>
                      <a:pt x="23" y="23"/>
                    </a:lnTo>
                    <a:lnTo>
                      <a:pt x="21" y="25"/>
                    </a:lnTo>
                    <a:lnTo>
                      <a:pt x="19" y="23"/>
                    </a:lnTo>
                    <a:lnTo>
                      <a:pt x="19" y="22"/>
                    </a:lnTo>
                    <a:lnTo>
                      <a:pt x="21" y="20"/>
                    </a:lnTo>
                    <a:lnTo>
                      <a:pt x="19" y="20"/>
                    </a:lnTo>
                    <a:lnTo>
                      <a:pt x="18" y="18"/>
                    </a:lnTo>
                    <a:lnTo>
                      <a:pt x="16" y="22"/>
                    </a:lnTo>
                    <a:lnTo>
                      <a:pt x="14" y="18"/>
                    </a:lnTo>
                    <a:lnTo>
                      <a:pt x="14" y="18"/>
                    </a:lnTo>
                    <a:lnTo>
                      <a:pt x="12" y="18"/>
                    </a:lnTo>
                    <a:lnTo>
                      <a:pt x="10" y="20"/>
                    </a:lnTo>
                    <a:lnTo>
                      <a:pt x="9" y="20"/>
                    </a:lnTo>
                    <a:lnTo>
                      <a:pt x="9" y="18"/>
                    </a:lnTo>
                    <a:lnTo>
                      <a:pt x="9" y="16"/>
                    </a:lnTo>
                    <a:lnTo>
                      <a:pt x="9" y="14"/>
                    </a:lnTo>
                    <a:lnTo>
                      <a:pt x="7" y="13"/>
                    </a:lnTo>
                    <a:lnTo>
                      <a:pt x="7" y="11"/>
                    </a:lnTo>
                    <a:lnTo>
                      <a:pt x="10" y="11"/>
                    </a:lnTo>
                    <a:lnTo>
                      <a:pt x="12" y="11"/>
                    </a:lnTo>
                    <a:lnTo>
                      <a:pt x="14" y="1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53" name="Freeform 2203"/>
              <p:cNvSpPr>
                <a:spLocks/>
              </p:cNvSpPr>
              <p:nvPr/>
            </p:nvSpPr>
            <p:spPr bwMode="auto">
              <a:xfrm>
                <a:off x="643" y="1768"/>
                <a:ext cx="80" cy="63"/>
              </a:xfrm>
              <a:custGeom>
                <a:avLst/>
                <a:gdLst>
                  <a:gd name="T0" fmla="*/ 14 w 80"/>
                  <a:gd name="T1" fmla="*/ 13 h 63"/>
                  <a:gd name="T2" fmla="*/ 14 w 80"/>
                  <a:gd name="T3" fmla="*/ 13 h 63"/>
                  <a:gd name="T4" fmla="*/ 7 w 80"/>
                  <a:gd name="T5" fmla="*/ 6 h 63"/>
                  <a:gd name="T6" fmla="*/ 3 w 80"/>
                  <a:gd name="T7" fmla="*/ 9 h 63"/>
                  <a:gd name="T8" fmla="*/ 0 w 80"/>
                  <a:gd name="T9" fmla="*/ 6 h 63"/>
                  <a:gd name="T10" fmla="*/ 2 w 80"/>
                  <a:gd name="T11" fmla="*/ 2 h 63"/>
                  <a:gd name="T12" fmla="*/ 5 w 80"/>
                  <a:gd name="T13" fmla="*/ 0 h 63"/>
                  <a:gd name="T14" fmla="*/ 16 w 80"/>
                  <a:gd name="T15" fmla="*/ 6 h 63"/>
                  <a:gd name="T16" fmla="*/ 44 w 80"/>
                  <a:gd name="T17" fmla="*/ 14 h 63"/>
                  <a:gd name="T18" fmla="*/ 46 w 80"/>
                  <a:gd name="T19" fmla="*/ 20 h 63"/>
                  <a:gd name="T20" fmla="*/ 55 w 80"/>
                  <a:gd name="T21" fmla="*/ 31 h 63"/>
                  <a:gd name="T22" fmla="*/ 55 w 80"/>
                  <a:gd name="T23" fmla="*/ 32 h 63"/>
                  <a:gd name="T24" fmla="*/ 62 w 80"/>
                  <a:gd name="T25" fmla="*/ 38 h 63"/>
                  <a:gd name="T26" fmla="*/ 68 w 80"/>
                  <a:gd name="T27" fmla="*/ 39 h 63"/>
                  <a:gd name="T28" fmla="*/ 73 w 80"/>
                  <a:gd name="T29" fmla="*/ 45 h 63"/>
                  <a:gd name="T30" fmla="*/ 78 w 80"/>
                  <a:gd name="T31" fmla="*/ 56 h 63"/>
                  <a:gd name="T32" fmla="*/ 80 w 80"/>
                  <a:gd name="T33" fmla="*/ 59 h 63"/>
                  <a:gd name="T34" fmla="*/ 77 w 80"/>
                  <a:gd name="T35" fmla="*/ 63 h 63"/>
                  <a:gd name="T36" fmla="*/ 66 w 80"/>
                  <a:gd name="T37" fmla="*/ 57 h 63"/>
                  <a:gd name="T38" fmla="*/ 62 w 80"/>
                  <a:gd name="T39" fmla="*/ 57 h 63"/>
                  <a:gd name="T40" fmla="*/ 57 w 80"/>
                  <a:gd name="T41" fmla="*/ 54 h 63"/>
                  <a:gd name="T42" fmla="*/ 59 w 80"/>
                  <a:gd name="T43" fmla="*/ 52 h 63"/>
                  <a:gd name="T44" fmla="*/ 55 w 80"/>
                  <a:gd name="T45" fmla="*/ 54 h 63"/>
                  <a:gd name="T46" fmla="*/ 53 w 80"/>
                  <a:gd name="T47" fmla="*/ 50 h 63"/>
                  <a:gd name="T48" fmla="*/ 53 w 80"/>
                  <a:gd name="T49" fmla="*/ 48 h 63"/>
                  <a:gd name="T50" fmla="*/ 53 w 80"/>
                  <a:gd name="T51" fmla="*/ 47 h 63"/>
                  <a:gd name="T52" fmla="*/ 50 w 80"/>
                  <a:gd name="T53" fmla="*/ 47 h 63"/>
                  <a:gd name="T54" fmla="*/ 44 w 80"/>
                  <a:gd name="T55" fmla="*/ 48 h 63"/>
                  <a:gd name="T56" fmla="*/ 46 w 80"/>
                  <a:gd name="T57" fmla="*/ 45 h 63"/>
                  <a:gd name="T58" fmla="*/ 43 w 80"/>
                  <a:gd name="T59" fmla="*/ 39 h 63"/>
                  <a:gd name="T60" fmla="*/ 39 w 80"/>
                  <a:gd name="T61" fmla="*/ 38 h 63"/>
                  <a:gd name="T62" fmla="*/ 30 w 80"/>
                  <a:gd name="T63" fmla="*/ 36 h 63"/>
                  <a:gd name="T64" fmla="*/ 30 w 80"/>
                  <a:gd name="T65" fmla="*/ 32 h 63"/>
                  <a:gd name="T66" fmla="*/ 37 w 80"/>
                  <a:gd name="T67" fmla="*/ 31 h 63"/>
                  <a:gd name="T68" fmla="*/ 32 w 80"/>
                  <a:gd name="T69" fmla="*/ 31 h 63"/>
                  <a:gd name="T70" fmla="*/ 30 w 80"/>
                  <a:gd name="T71" fmla="*/ 27 h 63"/>
                  <a:gd name="T72" fmla="*/ 28 w 80"/>
                  <a:gd name="T73" fmla="*/ 27 h 63"/>
                  <a:gd name="T74" fmla="*/ 25 w 80"/>
                  <a:gd name="T75" fmla="*/ 25 h 63"/>
                  <a:gd name="T76" fmla="*/ 21 w 80"/>
                  <a:gd name="T77" fmla="*/ 25 h 63"/>
                  <a:gd name="T78" fmla="*/ 19 w 80"/>
                  <a:gd name="T79" fmla="*/ 22 h 63"/>
                  <a:gd name="T80" fmla="*/ 19 w 80"/>
                  <a:gd name="T81" fmla="*/ 20 h 63"/>
                  <a:gd name="T82" fmla="*/ 16 w 80"/>
                  <a:gd name="T83" fmla="*/ 22 h 63"/>
                  <a:gd name="T84" fmla="*/ 14 w 80"/>
                  <a:gd name="T85" fmla="*/ 18 h 63"/>
                  <a:gd name="T86" fmla="*/ 10 w 80"/>
                  <a:gd name="T87" fmla="*/ 20 h 63"/>
                  <a:gd name="T88" fmla="*/ 9 w 80"/>
                  <a:gd name="T89" fmla="*/ 18 h 63"/>
                  <a:gd name="T90" fmla="*/ 9 w 80"/>
                  <a:gd name="T91" fmla="*/ 14 h 63"/>
                  <a:gd name="T92" fmla="*/ 7 w 80"/>
                  <a:gd name="T93" fmla="*/ 11 h 63"/>
                  <a:gd name="T94" fmla="*/ 12 w 80"/>
                  <a:gd name="T95" fmla="*/ 1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0" h="63">
                    <a:moveTo>
                      <a:pt x="14" y="13"/>
                    </a:moveTo>
                    <a:lnTo>
                      <a:pt x="14" y="13"/>
                    </a:lnTo>
                    <a:lnTo>
                      <a:pt x="14" y="13"/>
                    </a:lnTo>
                    <a:lnTo>
                      <a:pt x="14" y="13"/>
                    </a:lnTo>
                    <a:lnTo>
                      <a:pt x="14" y="7"/>
                    </a:lnTo>
                    <a:lnTo>
                      <a:pt x="7" y="6"/>
                    </a:lnTo>
                    <a:lnTo>
                      <a:pt x="5" y="4"/>
                    </a:lnTo>
                    <a:lnTo>
                      <a:pt x="3" y="9"/>
                    </a:lnTo>
                    <a:lnTo>
                      <a:pt x="2" y="7"/>
                    </a:lnTo>
                    <a:lnTo>
                      <a:pt x="0" y="6"/>
                    </a:lnTo>
                    <a:lnTo>
                      <a:pt x="0" y="4"/>
                    </a:lnTo>
                    <a:lnTo>
                      <a:pt x="2" y="2"/>
                    </a:lnTo>
                    <a:lnTo>
                      <a:pt x="3" y="0"/>
                    </a:lnTo>
                    <a:lnTo>
                      <a:pt x="5" y="0"/>
                    </a:lnTo>
                    <a:lnTo>
                      <a:pt x="14" y="4"/>
                    </a:lnTo>
                    <a:lnTo>
                      <a:pt x="16" y="6"/>
                    </a:lnTo>
                    <a:lnTo>
                      <a:pt x="44" y="14"/>
                    </a:lnTo>
                    <a:lnTo>
                      <a:pt x="44" y="14"/>
                    </a:lnTo>
                    <a:lnTo>
                      <a:pt x="46" y="16"/>
                    </a:lnTo>
                    <a:lnTo>
                      <a:pt x="46" y="20"/>
                    </a:lnTo>
                    <a:lnTo>
                      <a:pt x="55" y="29"/>
                    </a:lnTo>
                    <a:lnTo>
                      <a:pt x="55" y="31"/>
                    </a:lnTo>
                    <a:lnTo>
                      <a:pt x="55" y="31"/>
                    </a:lnTo>
                    <a:lnTo>
                      <a:pt x="55" y="32"/>
                    </a:lnTo>
                    <a:lnTo>
                      <a:pt x="57" y="34"/>
                    </a:lnTo>
                    <a:lnTo>
                      <a:pt x="62" y="38"/>
                    </a:lnTo>
                    <a:lnTo>
                      <a:pt x="66" y="38"/>
                    </a:lnTo>
                    <a:lnTo>
                      <a:pt x="68" y="39"/>
                    </a:lnTo>
                    <a:lnTo>
                      <a:pt x="69" y="39"/>
                    </a:lnTo>
                    <a:lnTo>
                      <a:pt x="73" y="45"/>
                    </a:lnTo>
                    <a:lnTo>
                      <a:pt x="78" y="57"/>
                    </a:lnTo>
                    <a:lnTo>
                      <a:pt x="78" y="56"/>
                    </a:lnTo>
                    <a:lnTo>
                      <a:pt x="80" y="59"/>
                    </a:lnTo>
                    <a:lnTo>
                      <a:pt x="80" y="59"/>
                    </a:lnTo>
                    <a:lnTo>
                      <a:pt x="80" y="61"/>
                    </a:lnTo>
                    <a:lnTo>
                      <a:pt x="77" y="63"/>
                    </a:lnTo>
                    <a:lnTo>
                      <a:pt x="66" y="57"/>
                    </a:lnTo>
                    <a:lnTo>
                      <a:pt x="66" y="57"/>
                    </a:lnTo>
                    <a:lnTo>
                      <a:pt x="64" y="57"/>
                    </a:lnTo>
                    <a:lnTo>
                      <a:pt x="62" y="57"/>
                    </a:lnTo>
                    <a:lnTo>
                      <a:pt x="57" y="56"/>
                    </a:lnTo>
                    <a:lnTo>
                      <a:pt x="57" y="54"/>
                    </a:lnTo>
                    <a:lnTo>
                      <a:pt x="59" y="52"/>
                    </a:lnTo>
                    <a:lnTo>
                      <a:pt x="59" y="52"/>
                    </a:lnTo>
                    <a:lnTo>
                      <a:pt x="57" y="54"/>
                    </a:lnTo>
                    <a:lnTo>
                      <a:pt x="55" y="54"/>
                    </a:lnTo>
                    <a:lnTo>
                      <a:pt x="53" y="52"/>
                    </a:lnTo>
                    <a:lnTo>
                      <a:pt x="53" y="50"/>
                    </a:lnTo>
                    <a:lnTo>
                      <a:pt x="53" y="48"/>
                    </a:lnTo>
                    <a:lnTo>
                      <a:pt x="53" y="48"/>
                    </a:lnTo>
                    <a:lnTo>
                      <a:pt x="55" y="47"/>
                    </a:lnTo>
                    <a:lnTo>
                      <a:pt x="53" y="47"/>
                    </a:lnTo>
                    <a:lnTo>
                      <a:pt x="52" y="45"/>
                    </a:lnTo>
                    <a:lnTo>
                      <a:pt x="50" y="47"/>
                    </a:lnTo>
                    <a:lnTo>
                      <a:pt x="48" y="47"/>
                    </a:lnTo>
                    <a:lnTo>
                      <a:pt x="44" y="48"/>
                    </a:lnTo>
                    <a:lnTo>
                      <a:pt x="43" y="45"/>
                    </a:lnTo>
                    <a:lnTo>
                      <a:pt x="46" y="45"/>
                    </a:lnTo>
                    <a:lnTo>
                      <a:pt x="44" y="43"/>
                    </a:lnTo>
                    <a:lnTo>
                      <a:pt x="43" y="39"/>
                    </a:lnTo>
                    <a:lnTo>
                      <a:pt x="39" y="39"/>
                    </a:lnTo>
                    <a:lnTo>
                      <a:pt x="39" y="38"/>
                    </a:lnTo>
                    <a:lnTo>
                      <a:pt x="35" y="36"/>
                    </a:lnTo>
                    <a:lnTo>
                      <a:pt x="30" y="36"/>
                    </a:lnTo>
                    <a:lnTo>
                      <a:pt x="30" y="32"/>
                    </a:lnTo>
                    <a:lnTo>
                      <a:pt x="30" y="32"/>
                    </a:lnTo>
                    <a:lnTo>
                      <a:pt x="34" y="32"/>
                    </a:lnTo>
                    <a:lnTo>
                      <a:pt x="37" y="31"/>
                    </a:lnTo>
                    <a:lnTo>
                      <a:pt x="35" y="29"/>
                    </a:lnTo>
                    <a:lnTo>
                      <a:pt x="32" y="31"/>
                    </a:lnTo>
                    <a:lnTo>
                      <a:pt x="32" y="29"/>
                    </a:lnTo>
                    <a:lnTo>
                      <a:pt x="30" y="27"/>
                    </a:lnTo>
                    <a:lnTo>
                      <a:pt x="28" y="29"/>
                    </a:lnTo>
                    <a:lnTo>
                      <a:pt x="28" y="27"/>
                    </a:lnTo>
                    <a:lnTo>
                      <a:pt x="25" y="23"/>
                    </a:lnTo>
                    <a:lnTo>
                      <a:pt x="25" y="25"/>
                    </a:lnTo>
                    <a:lnTo>
                      <a:pt x="23" y="23"/>
                    </a:lnTo>
                    <a:lnTo>
                      <a:pt x="21" y="25"/>
                    </a:lnTo>
                    <a:lnTo>
                      <a:pt x="19" y="23"/>
                    </a:lnTo>
                    <a:lnTo>
                      <a:pt x="19" y="22"/>
                    </a:lnTo>
                    <a:lnTo>
                      <a:pt x="21" y="20"/>
                    </a:lnTo>
                    <a:lnTo>
                      <a:pt x="19" y="20"/>
                    </a:lnTo>
                    <a:lnTo>
                      <a:pt x="18" y="18"/>
                    </a:lnTo>
                    <a:lnTo>
                      <a:pt x="16" y="22"/>
                    </a:lnTo>
                    <a:lnTo>
                      <a:pt x="14" y="18"/>
                    </a:lnTo>
                    <a:lnTo>
                      <a:pt x="14" y="18"/>
                    </a:lnTo>
                    <a:lnTo>
                      <a:pt x="12" y="18"/>
                    </a:lnTo>
                    <a:lnTo>
                      <a:pt x="10" y="20"/>
                    </a:lnTo>
                    <a:lnTo>
                      <a:pt x="9" y="20"/>
                    </a:lnTo>
                    <a:lnTo>
                      <a:pt x="9" y="18"/>
                    </a:lnTo>
                    <a:lnTo>
                      <a:pt x="9" y="16"/>
                    </a:lnTo>
                    <a:lnTo>
                      <a:pt x="9" y="14"/>
                    </a:lnTo>
                    <a:lnTo>
                      <a:pt x="7" y="13"/>
                    </a:lnTo>
                    <a:lnTo>
                      <a:pt x="7" y="11"/>
                    </a:lnTo>
                    <a:lnTo>
                      <a:pt x="10" y="11"/>
                    </a:lnTo>
                    <a:lnTo>
                      <a:pt x="12" y="11"/>
                    </a:lnTo>
                    <a:lnTo>
                      <a:pt x="14" y="1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54" name="Freeform 2204"/>
              <p:cNvSpPr>
                <a:spLocks/>
              </p:cNvSpPr>
              <p:nvPr/>
            </p:nvSpPr>
            <p:spPr bwMode="auto">
              <a:xfrm>
                <a:off x="1794" y="1859"/>
                <a:ext cx="2" cy="9"/>
              </a:xfrm>
              <a:custGeom>
                <a:avLst/>
                <a:gdLst>
                  <a:gd name="T0" fmla="*/ 2 w 2"/>
                  <a:gd name="T1" fmla="*/ 0 h 9"/>
                  <a:gd name="T2" fmla="*/ 0 w 2"/>
                  <a:gd name="T3" fmla="*/ 2 h 9"/>
                  <a:gd name="T4" fmla="*/ 2 w 2"/>
                  <a:gd name="T5" fmla="*/ 9 h 9"/>
                  <a:gd name="T6" fmla="*/ 2 w 2"/>
                  <a:gd name="T7" fmla="*/ 7 h 9"/>
                  <a:gd name="T8" fmla="*/ 2 w 2"/>
                  <a:gd name="T9" fmla="*/ 2 h 9"/>
                  <a:gd name="T10" fmla="*/ 2 w 2"/>
                  <a:gd name="T11" fmla="*/ 0 h 9"/>
                </a:gdLst>
                <a:ahLst/>
                <a:cxnLst>
                  <a:cxn ang="0">
                    <a:pos x="T0" y="T1"/>
                  </a:cxn>
                  <a:cxn ang="0">
                    <a:pos x="T2" y="T3"/>
                  </a:cxn>
                  <a:cxn ang="0">
                    <a:pos x="T4" y="T5"/>
                  </a:cxn>
                  <a:cxn ang="0">
                    <a:pos x="T6" y="T7"/>
                  </a:cxn>
                  <a:cxn ang="0">
                    <a:pos x="T8" y="T9"/>
                  </a:cxn>
                  <a:cxn ang="0">
                    <a:pos x="T10" y="T11"/>
                  </a:cxn>
                </a:cxnLst>
                <a:rect l="0" t="0" r="r" b="b"/>
                <a:pathLst>
                  <a:path w="2" h="9">
                    <a:moveTo>
                      <a:pt x="2" y="0"/>
                    </a:moveTo>
                    <a:lnTo>
                      <a:pt x="0" y="2"/>
                    </a:lnTo>
                    <a:lnTo>
                      <a:pt x="2" y="9"/>
                    </a:lnTo>
                    <a:lnTo>
                      <a:pt x="2" y="7"/>
                    </a:lnTo>
                    <a:lnTo>
                      <a:pt x="2"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55" name="Freeform 2205"/>
              <p:cNvSpPr>
                <a:spLocks/>
              </p:cNvSpPr>
              <p:nvPr/>
            </p:nvSpPr>
            <p:spPr bwMode="auto">
              <a:xfrm>
                <a:off x="1794" y="1859"/>
                <a:ext cx="2" cy="9"/>
              </a:xfrm>
              <a:custGeom>
                <a:avLst/>
                <a:gdLst>
                  <a:gd name="T0" fmla="*/ 2 w 2"/>
                  <a:gd name="T1" fmla="*/ 0 h 9"/>
                  <a:gd name="T2" fmla="*/ 0 w 2"/>
                  <a:gd name="T3" fmla="*/ 2 h 9"/>
                  <a:gd name="T4" fmla="*/ 2 w 2"/>
                  <a:gd name="T5" fmla="*/ 9 h 9"/>
                  <a:gd name="T6" fmla="*/ 2 w 2"/>
                  <a:gd name="T7" fmla="*/ 7 h 9"/>
                  <a:gd name="T8" fmla="*/ 2 w 2"/>
                  <a:gd name="T9" fmla="*/ 2 h 9"/>
                  <a:gd name="T10" fmla="*/ 2 w 2"/>
                  <a:gd name="T11" fmla="*/ 0 h 9"/>
                </a:gdLst>
                <a:ahLst/>
                <a:cxnLst>
                  <a:cxn ang="0">
                    <a:pos x="T0" y="T1"/>
                  </a:cxn>
                  <a:cxn ang="0">
                    <a:pos x="T2" y="T3"/>
                  </a:cxn>
                  <a:cxn ang="0">
                    <a:pos x="T4" y="T5"/>
                  </a:cxn>
                  <a:cxn ang="0">
                    <a:pos x="T6" y="T7"/>
                  </a:cxn>
                  <a:cxn ang="0">
                    <a:pos x="T8" y="T9"/>
                  </a:cxn>
                  <a:cxn ang="0">
                    <a:pos x="T10" y="T11"/>
                  </a:cxn>
                </a:cxnLst>
                <a:rect l="0" t="0" r="r" b="b"/>
                <a:pathLst>
                  <a:path w="2" h="9">
                    <a:moveTo>
                      <a:pt x="2" y="0"/>
                    </a:moveTo>
                    <a:lnTo>
                      <a:pt x="0" y="2"/>
                    </a:lnTo>
                    <a:lnTo>
                      <a:pt x="2" y="9"/>
                    </a:lnTo>
                    <a:lnTo>
                      <a:pt x="2" y="7"/>
                    </a:lnTo>
                    <a:lnTo>
                      <a:pt x="2"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56" name="Freeform 2206"/>
              <p:cNvSpPr>
                <a:spLocks/>
              </p:cNvSpPr>
              <p:nvPr/>
            </p:nvSpPr>
            <p:spPr bwMode="auto">
              <a:xfrm>
                <a:off x="1627" y="1913"/>
                <a:ext cx="1" cy="5"/>
              </a:xfrm>
              <a:custGeom>
                <a:avLst/>
                <a:gdLst>
                  <a:gd name="T0" fmla="*/ 0 w 1"/>
                  <a:gd name="T1" fmla="*/ 0 h 5"/>
                  <a:gd name="T2" fmla="*/ 0 w 1"/>
                  <a:gd name="T3" fmla="*/ 2 h 5"/>
                  <a:gd name="T4" fmla="*/ 0 w 1"/>
                  <a:gd name="T5" fmla="*/ 5 h 5"/>
                  <a:gd name="T6" fmla="*/ 0 w 1"/>
                  <a:gd name="T7" fmla="*/ 3 h 5"/>
                  <a:gd name="T8" fmla="*/ 1 w 1"/>
                  <a:gd name="T9" fmla="*/ 3 h 5"/>
                  <a:gd name="T10" fmla="*/ 1 w 1"/>
                  <a:gd name="T11" fmla="*/ 2 h 5"/>
                  <a:gd name="T12" fmla="*/ 0 w 1"/>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0" y="0"/>
                    </a:moveTo>
                    <a:lnTo>
                      <a:pt x="0" y="2"/>
                    </a:lnTo>
                    <a:lnTo>
                      <a:pt x="0" y="5"/>
                    </a:lnTo>
                    <a:lnTo>
                      <a:pt x="0" y="3"/>
                    </a:lnTo>
                    <a:lnTo>
                      <a:pt x="1" y="3"/>
                    </a:lnTo>
                    <a:lnTo>
                      <a:pt x="1"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57" name="Freeform 2207"/>
              <p:cNvSpPr>
                <a:spLocks/>
              </p:cNvSpPr>
              <p:nvPr/>
            </p:nvSpPr>
            <p:spPr bwMode="auto">
              <a:xfrm>
                <a:off x="1627" y="1913"/>
                <a:ext cx="1" cy="5"/>
              </a:xfrm>
              <a:custGeom>
                <a:avLst/>
                <a:gdLst>
                  <a:gd name="T0" fmla="*/ 0 w 1"/>
                  <a:gd name="T1" fmla="*/ 0 h 5"/>
                  <a:gd name="T2" fmla="*/ 0 w 1"/>
                  <a:gd name="T3" fmla="*/ 2 h 5"/>
                  <a:gd name="T4" fmla="*/ 0 w 1"/>
                  <a:gd name="T5" fmla="*/ 5 h 5"/>
                  <a:gd name="T6" fmla="*/ 0 w 1"/>
                  <a:gd name="T7" fmla="*/ 3 h 5"/>
                  <a:gd name="T8" fmla="*/ 1 w 1"/>
                  <a:gd name="T9" fmla="*/ 3 h 5"/>
                  <a:gd name="T10" fmla="*/ 1 w 1"/>
                  <a:gd name="T11" fmla="*/ 2 h 5"/>
                  <a:gd name="T12" fmla="*/ 0 w 1"/>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0" y="0"/>
                    </a:moveTo>
                    <a:lnTo>
                      <a:pt x="0" y="2"/>
                    </a:lnTo>
                    <a:lnTo>
                      <a:pt x="0" y="5"/>
                    </a:lnTo>
                    <a:lnTo>
                      <a:pt x="0" y="3"/>
                    </a:lnTo>
                    <a:lnTo>
                      <a:pt x="1" y="3"/>
                    </a:lnTo>
                    <a:lnTo>
                      <a:pt x="1"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58" name="Freeform 2208"/>
              <p:cNvSpPr>
                <a:spLocks/>
              </p:cNvSpPr>
              <p:nvPr/>
            </p:nvSpPr>
            <p:spPr bwMode="auto">
              <a:xfrm>
                <a:off x="530" y="1140"/>
                <a:ext cx="25" cy="32"/>
              </a:xfrm>
              <a:custGeom>
                <a:avLst/>
                <a:gdLst>
                  <a:gd name="T0" fmla="*/ 6 w 25"/>
                  <a:gd name="T1" fmla="*/ 16 h 32"/>
                  <a:gd name="T2" fmla="*/ 7 w 25"/>
                  <a:gd name="T3" fmla="*/ 17 h 32"/>
                  <a:gd name="T4" fmla="*/ 7 w 25"/>
                  <a:gd name="T5" fmla="*/ 16 h 32"/>
                  <a:gd name="T6" fmla="*/ 6 w 25"/>
                  <a:gd name="T7" fmla="*/ 12 h 32"/>
                  <a:gd name="T8" fmla="*/ 7 w 25"/>
                  <a:gd name="T9" fmla="*/ 12 h 32"/>
                  <a:gd name="T10" fmla="*/ 9 w 25"/>
                  <a:gd name="T11" fmla="*/ 14 h 32"/>
                  <a:gd name="T12" fmla="*/ 11 w 25"/>
                  <a:gd name="T13" fmla="*/ 12 h 32"/>
                  <a:gd name="T14" fmla="*/ 13 w 25"/>
                  <a:gd name="T15" fmla="*/ 14 h 32"/>
                  <a:gd name="T16" fmla="*/ 15 w 25"/>
                  <a:gd name="T17" fmla="*/ 12 h 32"/>
                  <a:gd name="T18" fmla="*/ 15 w 25"/>
                  <a:gd name="T19" fmla="*/ 10 h 32"/>
                  <a:gd name="T20" fmla="*/ 13 w 25"/>
                  <a:gd name="T21" fmla="*/ 10 h 32"/>
                  <a:gd name="T22" fmla="*/ 13 w 25"/>
                  <a:gd name="T23" fmla="*/ 10 h 32"/>
                  <a:gd name="T24" fmla="*/ 13 w 25"/>
                  <a:gd name="T25" fmla="*/ 9 h 32"/>
                  <a:gd name="T26" fmla="*/ 15 w 25"/>
                  <a:gd name="T27" fmla="*/ 5 h 32"/>
                  <a:gd name="T28" fmla="*/ 15 w 25"/>
                  <a:gd name="T29" fmla="*/ 3 h 32"/>
                  <a:gd name="T30" fmla="*/ 13 w 25"/>
                  <a:gd name="T31" fmla="*/ 0 h 32"/>
                  <a:gd name="T32" fmla="*/ 15 w 25"/>
                  <a:gd name="T33" fmla="*/ 0 h 32"/>
                  <a:gd name="T34" fmla="*/ 15 w 25"/>
                  <a:gd name="T35" fmla="*/ 1 h 32"/>
                  <a:gd name="T36" fmla="*/ 18 w 25"/>
                  <a:gd name="T37" fmla="*/ 3 h 32"/>
                  <a:gd name="T38" fmla="*/ 18 w 25"/>
                  <a:gd name="T39" fmla="*/ 7 h 32"/>
                  <a:gd name="T40" fmla="*/ 18 w 25"/>
                  <a:gd name="T41" fmla="*/ 9 h 32"/>
                  <a:gd name="T42" fmla="*/ 20 w 25"/>
                  <a:gd name="T43" fmla="*/ 9 h 32"/>
                  <a:gd name="T44" fmla="*/ 24 w 25"/>
                  <a:gd name="T45" fmla="*/ 5 h 32"/>
                  <a:gd name="T46" fmla="*/ 25 w 25"/>
                  <a:gd name="T47" fmla="*/ 9 h 32"/>
                  <a:gd name="T48" fmla="*/ 25 w 25"/>
                  <a:gd name="T49" fmla="*/ 10 h 32"/>
                  <a:gd name="T50" fmla="*/ 24 w 25"/>
                  <a:gd name="T51" fmla="*/ 14 h 32"/>
                  <a:gd name="T52" fmla="*/ 11 w 25"/>
                  <a:gd name="T53" fmla="*/ 32 h 32"/>
                  <a:gd name="T54" fmla="*/ 7 w 25"/>
                  <a:gd name="T55" fmla="*/ 30 h 32"/>
                  <a:gd name="T56" fmla="*/ 7 w 25"/>
                  <a:gd name="T57" fmla="*/ 30 h 32"/>
                  <a:gd name="T58" fmla="*/ 7 w 25"/>
                  <a:gd name="T59" fmla="*/ 32 h 32"/>
                  <a:gd name="T60" fmla="*/ 6 w 25"/>
                  <a:gd name="T61" fmla="*/ 30 h 32"/>
                  <a:gd name="T62" fmla="*/ 6 w 25"/>
                  <a:gd name="T63" fmla="*/ 28 h 32"/>
                  <a:gd name="T64" fmla="*/ 9 w 25"/>
                  <a:gd name="T65" fmla="*/ 28 h 32"/>
                  <a:gd name="T66" fmla="*/ 11 w 25"/>
                  <a:gd name="T67" fmla="*/ 26 h 32"/>
                  <a:gd name="T68" fmla="*/ 13 w 25"/>
                  <a:gd name="T69" fmla="*/ 23 h 32"/>
                  <a:gd name="T70" fmla="*/ 9 w 25"/>
                  <a:gd name="T71" fmla="*/ 26 h 32"/>
                  <a:gd name="T72" fmla="*/ 4 w 25"/>
                  <a:gd name="T73" fmla="*/ 25 h 32"/>
                  <a:gd name="T74" fmla="*/ 2 w 25"/>
                  <a:gd name="T75" fmla="*/ 17 h 32"/>
                  <a:gd name="T76" fmla="*/ 2 w 25"/>
                  <a:gd name="T77" fmla="*/ 16 h 32"/>
                  <a:gd name="T78" fmla="*/ 0 w 25"/>
                  <a:gd name="T79" fmla="*/ 14 h 32"/>
                  <a:gd name="T80" fmla="*/ 2 w 25"/>
                  <a:gd name="T81" fmla="*/ 12 h 32"/>
                  <a:gd name="T82" fmla="*/ 2 w 25"/>
                  <a:gd name="T83" fmla="*/ 12 h 32"/>
                  <a:gd name="T84" fmla="*/ 6 w 25"/>
                  <a:gd name="T8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32">
                    <a:moveTo>
                      <a:pt x="6" y="16"/>
                    </a:moveTo>
                    <a:lnTo>
                      <a:pt x="7" y="17"/>
                    </a:lnTo>
                    <a:lnTo>
                      <a:pt x="7" y="16"/>
                    </a:lnTo>
                    <a:lnTo>
                      <a:pt x="6" y="12"/>
                    </a:lnTo>
                    <a:lnTo>
                      <a:pt x="7" y="12"/>
                    </a:lnTo>
                    <a:lnTo>
                      <a:pt x="9" y="14"/>
                    </a:lnTo>
                    <a:lnTo>
                      <a:pt x="11" y="12"/>
                    </a:lnTo>
                    <a:lnTo>
                      <a:pt x="13" y="14"/>
                    </a:lnTo>
                    <a:lnTo>
                      <a:pt x="15" y="12"/>
                    </a:lnTo>
                    <a:lnTo>
                      <a:pt x="15" y="10"/>
                    </a:lnTo>
                    <a:lnTo>
                      <a:pt x="13" y="10"/>
                    </a:lnTo>
                    <a:lnTo>
                      <a:pt x="13" y="10"/>
                    </a:lnTo>
                    <a:lnTo>
                      <a:pt x="13" y="9"/>
                    </a:lnTo>
                    <a:lnTo>
                      <a:pt x="15" y="5"/>
                    </a:lnTo>
                    <a:lnTo>
                      <a:pt x="15" y="3"/>
                    </a:lnTo>
                    <a:lnTo>
                      <a:pt x="13" y="0"/>
                    </a:lnTo>
                    <a:lnTo>
                      <a:pt x="15" y="0"/>
                    </a:lnTo>
                    <a:lnTo>
                      <a:pt x="15" y="1"/>
                    </a:lnTo>
                    <a:lnTo>
                      <a:pt x="18" y="3"/>
                    </a:lnTo>
                    <a:lnTo>
                      <a:pt x="18" y="7"/>
                    </a:lnTo>
                    <a:lnTo>
                      <a:pt x="18" y="9"/>
                    </a:lnTo>
                    <a:lnTo>
                      <a:pt x="20" y="9"/>
                    </a:lnTo>
                    <a:lnTo>
                      <a:pt x="24" y="5"/>
                    </a:lnTo>
                    <a:lnTo>
                      <a:pt x="25" y="9"/>
                    </a:lnTo>
                    <a:lnTo>
                      <a:pt x="25" y="10"/>
                    </a:lnTo>
                    <a:lnTo>
                      <a:pt x="24" y="14"/>
                    </a:lnTo>
                    <a:lnTo>
                      <a:pt x="11" y="32"/>
                    </a:lnTo>
                    <a:lnTo>
                      <a:pt x="7" y="30"/>
                    </a:lnTo>
                    <a:lnTo>
                      <a:pt x="7" y="30"/>
                    </a:lnTo>
                    <a:lnTo>
                      <a:pt x="7" y="32"/>
                    </a:lnTo>
                    <a:lnTo>
                      <a:pt x="6" y="30"/>
                    </a:lnTo>
                    <a:lnTo>
                      <a:pt x="6" y="28"/>
                    </a:lnTo>
                    <a:lnTo>
                      <a:pt x="9" y="28"/>
                    </a:lnTo>
                    <a:lnTo>
                      <a:pt x="11" y="26"/>
                    </a:lnTo>
                    <a:lnTo>
                      <a:pt x="13" y="23"/>
                    </a:lnTo>
                    <a:lnTo>
                      <a:pt x="9" y="26"/>
                    </a:lnTo>
                    <a:lnTo>
                      <a:pt x="4" y="25"/>
                    </a:lnTo>
                    <a:lnTo>
                      <a:pt x="2" y="17"/>
                    </a:lnTo>
                    <a:lnTo>
                      <a:pt x="2" y="16"/>
                    </a:lnTo>
                    <a:lnTo>
                      <a:pt x="0" y="14"/>
                    </a:lnTo>
                    <a:lnTo>
                      <a:pt x="2" y="12"/>
                    </a:lnTo>
                    <a:lnTo>
                      <a:pt x="2" y="12"/>
                    </a:lnTo>
                    <a:lnTo>
                      <a:pt x="6" y="1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59" name="Freeform 2209"/>
              <p:cNvSpPr>
                <a:spLocks/>
              </p:cNvSpPr>
              <p:nvPr/>
            </p:nvSpPr>
            <p:spPr bwMode="auto">
              <a:xfrm>
                <a:off x="530" y="1140"/>
                <a:ext cx="25" cy="32"/>
              </a:xfrm>
              <a:custGeom>
                <a:avLst/>
                <a:gdLst>
                  <a:gd name="T0" fmla="*/ 6 w 25"/>
                  <a:gd name="T1" fmla="*/ 16 h 32"/>
                  <a:gd name="T2" fmla="*/ 7 w 25"/>
                  <a:gd name="T3" fmla="*/ 17 h 32"/>
                  <a:gd name="T4" fmla="*/ 7 w 25"/>
                  <a:gd name="T5" fmla="*/ 16 h 32"/>
                  <a:gd name="T6" fmla="*/ 6 w 25"/>
                  <a:gd name="T7" fmla="*/ 12 h 32"/>
                  <a:gd name="T8" fmla="*/ 7 w 25"/>
                  <a:gd name="T9" fmla="*/ 12 h 32"/>
                  <a:gd name="T10" fmla="*/ 9 w 25"/>
                  <a:gd name="T11" fmla="*/ 14 h 32"/>
                  <a:gd name="T12" fmla="*/ 11 w 25"/>
                  <a:gd name="T13" fmla="*/ 12 h 32"/>
                  <a:gd name="T14" fmla="*/ 13 w 25"/>
                  <a:gd name="T15" fmla="*/ 14 h 32"/>
                  <a:gd name="T16" fmla="*/ 15 w 25"/>
                  <a:gd name="T17" fmla="*/ 12 h 32"/>
                  <a:gd name="T18" fmla="*/ 15 w 25"/>
                  <a:gd name="T19" fmla="*/ 10 h 32"/>
                  <a:gd name="T20" fmla="*/ 13 w 25"/>
                  <a:gd name="T21" fmla="*/ 10 h 32"/>
                  <a:gd name="T22" fmla="*/ 13 w 25"/>
                  <a:gd name="T23" fmla="*/ 10 h 32"/>
                  <a:gd name="T24" fmla="*/ 13 w 25"/>
                  <a:gd name="T25" fmla="*/ 9 h 32"/>
                  <a:gd name="T26" fmla="*/ 15 w 25"/>
                  <a:gd name="T27" fmla="*/ 5 h 32"/>
                  <a:gd name="T28" fmla="*/ 15 w 25"/>
                  <a:gd name="T29" fmla="*/ 3 h 32"/>
                  <a:gd name="T30" fmla="*/ 13 w 25"/>
                  <a:gd name="T31" fmla="*/ 0 h 32"/>
                  <a:gd name="T32" fmla="*/ 15 w 25"/>
                  <a:gd name="T33" fmla="*/ 0 h 32"/>
                  <a:gd name="T34" fmla="*/ 15 w 25"/>
                  <a:gd name="T35" fmla="*/ 1 h 32"/>
                  <a:gd name="T36" fmla="*/ 18 w 25"/>
                  <a:gd name="T37" fmla="*/ 3 h 32"/>
                  <a:gd name="T38" fmla="*/ 18 w 25"/>
                  <a:gd name="T39" fmla="*/ 7 h 32"/>
                  <a:gd name="T40" fmla="*/ 18 w 25"/>
                  <a:gd name="T41" fmla="*/ 9 h 32"/>
                  <a:gd name="T42" fmla="*/ 20 w 25"/>
                  <a:gd name="T43" fmla="*/ 9 h 32"/>
                  <a:gd name="T44" fmla="*/ 24 w 25"/>
                  <a:gd name="T45" fmla="*/ 5 h 32"/>
                  <a:gd name="T46" fmla="*/ 25 w 25"/>
                  <a:gd name="T47" fmla="*/ 9 h 32"/>
                  <a:gd name="T48" fmla="*/ 25 w 25"/>
                  <a:gd name="T49" fmla="*/ 10 h 32"/>
                  <a:gd name="T50" fmla="*/ 24 w 25"/>
                  <a:gd name="T51" fmla="*/ 14 h 32"/>
                  <a:gd name="T52" fmla="*/ 11 w 25"/>
                  <a:gd name="T53" fmla="*/ 32 h 32"/>
                  <a:gd name="T54" fmla="*/ 7 w 25"/>
                  <a:gd name="T55" fmla="*/ 30 h 32"/>
                  <a:gd name="T56" fmla="*/ 7 w 25"/>
                  <a:gd name="T57" fmla="*/ 30 h 32"/>
                  <a:gd name="T58" fmla="*/ 7 w 25"/>
                  <a:gd name="T59" fmla="*/ 32 h 32"/>
                  <a:gd name="T60" fmla="*/ 6 w 25"/>
                  <a:gd name="T61" fmla="*/ 30 h 32"/>
                  <a:gd name="T62" fmla="*/ 6 w 25"/>
                  <a:gd name="T63" fmla="*/ 28 h 32"/>
                  <a:gd name="T64" fmla="*/ 9 w 25"/>
                  <a:gd name="T65" fmla="*/ 28 h 32"/>
                  <a:gd name="T66" fmla="*/ 11 w 25"/>
                  <a:gd name="T67" fmla="*/ 26 h 32"/>
                  <a:gd name="T68" fmla="*/ 13 w 25"/>
                  <a:gd name="T69" fmla="*/ 23 h 32"/>
                  <a:gd name="T70" fmla="*/ 9 w 25"/>
                  <a:gd name="T71" fmla="*/ 26 h 32"/>
                  <a:gd name="T72" fmla="*/ 4 w 25"/>
                  <a:gd name="T73" fmla="*/ 25 h 32"/>
                  <a:gd name="T74" fmla="*/ 2 w 25"/>
                  <a:gd name="T75" fmla="*/ 17 h 32"/>
                  <a:gd name="T76" fmla="*/ 2 w 25"/>
                  <a:gd name="T77" fmla="*/ 16 h 32"/>
                  <a:gd name="T78" fmla="*/ 0 w 25"/>
                  <a:gd name="T79" fmla="*/ 14 h 32"/>
                  <a:gd name="T80" fmla="*/ 2 w 25"/>
                  <a:gd name="T81" fmla="*/ 12 h 32"/>
                  <a:gd name="T82" fmla="*/ 2 w 25"/>
                  <a:gd name="T83" fmla="*/ 12 h 32"/>
                  <a:gd name="T84" fmla="*/ 6 w 25"/>
                  <a:gd name="T85"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 h="32">
                    <a:moveTo>
                      <a:pt x="6" y="16"/>
                    </a:moveTo>
                    <a:lnTo>
                      <a:pt x="7" y="17"/>
                    </a:lnTo>
                    <a:lnTo>
                      <a:pt x="7" y="16"/>
                    </a:lnTo>
                    <a:lnTo>
                      <a:pt x="6" y="12"/>
                    </a:lnTo>
                    <a:lnTo>
                      <a:pt x="7" y="12"/>
                    </a:lnTo>
                    <a:lnTo>
                      <a:pt x="9" y="14"/>
                    </a:lnTo>
                    <a:lnTo>
                      <a:pt x="11" y="12"/>
                    </a:lnTo>
                    <a:lnTo>
                      <a:pt x="13" y="14"/>
                    </a:lnTo>
                    <a:lnTo>
                      <a:pt x="15" y="12"/>
                    </a:lnTo>
                    <a:lnTo>
                      <a:pt x="15" y="10"/>
                    </a:lnTo>
                    <a:lnTo>
                      <a:pt x="13" y="10"/>
                    </a:lnTo>
                    <a:lnTo>
                      <a:pt x="13" y="10"/>
                    </a:lnTo>
                    <a:lnTo>
                      <a:pt x="13" y="9"/>
                    </a:lnTo>
                    <a:lnTo>
                      <a:pt x="15" y="5"/>
                    </a:lnTo>
                    <a:lnTo>
                      <a:pt x="15" y="3"/>
                    </a:lnTo>
                    <a:lnTo>
                      <a:pt x="13" y="0"/>
                    </a:lnTo>
                    <a:lnTo>
                      <a:pt x="15" y="0"/>
                    </a:lnTo>
                    <a:lnTo>
                      <a:pt x="15" y="1"/>
                    </a:lnTo>
                    <a:lnTo>
                      <a:pt x="18" y="3"/>
                    </a:lnTo>
                    <a:lnTo>
                      <a:pt x="18" y="7"/>
                    </a:lnTo>
                    <a:lnTo>
                      <a:pt x="18" y="9"/>
                    </a:lnTo>
                    <a:lnTo>
                      <a:pt x="20" y="9"/>
                    </a:lnTo>
                    <a:lnTo>
                      <a:pt x="24" y="5"/>
                    </a:lnTo>
                    <a:lnTo>
                      <a:pt x="25" y="9"/>
                    </a:lnTo>
                    <a:lnTo>
                      <a:pt x="25" y="10"/>
                    </a:lnTo>
                    <a:lnTo>
                      <a:pt x="24" y="14"/>
                    </a:lnTo>
                    <a:lnTo>
                      <a:pt x="11" y="32"/>
                    </a:lnTo>
                    <a:lnTo>
                      <a:pt x="7" y="30"/>
                    </a:lnTo>
                    <a:lnTo>
                      <a:pt x="7" y="30"/>
                    </a:lnTo>
                    <a:lnTo>
                      <a:pt x="7" y="32"/>
                    </a:lnTo>
                    <a:lnTo>
                      <a:pt x="6" y="30"/>
                    </a:lnTo>
                    <a:lnTo>
                      <a:pt x="6" y="28"/>
                    </a:lnTo>
                    <a:lnTo>
                      <a:pt x="9" y="28"/>
                    </a:lnTo>
                    <a:lnTo>
                      <a:pt x="11" y="26"/>
                    </a:lnTo>
                    <a:lnTo>
                      <a:pt x="13" y="23"/>
                    </a:lnTo>
                    <a:lnTo>
                      <a:pt x="9" y="26"/>
                    </a:lnTo>
                    <a:lnTo>
                      <a:pt x="4" y="25"/>
                    </a:lnTo>
                    <a:lnTo>
                      <a:pt x="2" y="17"/>
                    </a:lnTo>
                    <a:lnTo>
                      <a:pt x="2" y="16"/>
                    </a:lnTo>
                    <a:lnTo>
                      <a:pt x="0" y="14"/>
                    </a:lnTo>
                    <a:lnTo>
                      <a:pt x="2" y="12"/>
                    </a:lnTo>
                    <a:lnTo>
                      <a:pt x="2" y="12"/>
                    </a:lnTo>
                    <a:lnTo>
                      <a:pt x="6" y="1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60" name="Freeform 2210"/>
              <p:cNvSpPr>
                <a:spLocks/>
              </p:cNvSpPr>
              <p:nvPr/>
            </p:nvSpPr>
            <p:spPr bwMode="auto">
              <a:xfrm>
                <a:off x="521" y="1161"/>
                <a:ext cx="15" cy="16"/>
              </a:xfrm>
              <a:custGeom>
                <a:avLst/>
                <a:gdLst>
                  <a:gd name="T0" fmla="*/ 0 w 15"/>
                  <a:gd name="T1" fmla="*/ 0 h 16"/>
                  <a:gd name="T2" fmla="*/ 0 w 15"/>
                  <a:gd name="T3" fmla="*/ 0 h 16"/>
                  <a:gd name="T4" fmla="*/ 0 w 15"/>
                  <a:gd name="T5" fmla="*/ 5 h 16"/>
                  <a:gd name="T6" fmla="*/ 2 w 15"/>
                  <a:gd name="T7" fmla="*/ 7 h 16"/>
                  <a:gd name="T8" fmla="*/ 4 w 15"/>
                  <a:gd name="T9" fmla="*/ 11 h 16"/>
                  <a:gd name="T10" fmla="*/ 6 w 15"/>
                  <a:gd name="T11" fmla="*/ 11 h 16"/>
                  <a:gd name="T12" fmla="*/ 9 w 15"/>
                  <a:gd name="T13" fmla="*/ 14 h 16"/>
                  <a:gd name="T14" fmla="*/ 11 w 15"/>
                  <a:gd name="T15" fmla="*/ 14 h 16"/>
                  <a:gd name="T16" fmla="*/ 13 w 15"/>
                  <a:gd name="T17" fmla="*/ 14 h 16"/>
                  <a:gd name="T18" fmla="*/ 13 w 15"/>
                  <a:gd name="T19" fmla="*/ 16 h 16"/>
                  <a:gd name="T20" fmla="*/ 15 w 15"/>
                  <a:gd name="T21" fmla="*/ 16 h 16"/>
                  <a:gd name="T22" fmla="*/ 15 w 15"/>
                  <a:gd name="T23" fmla="*/ 14 h 16"/>
                  <a:gd name="T24" fmla="*/ 13 w 15"/>
                  <a:gd name="T25" fmla="*/ 11 h 16"/>
                  <a:gd name="T26" fmla="*/ 9 w 15"/>
                  <a:gd name="T27" fmla="*/ 7 h 16"/>
                  <a:gd name="T28" fmla="*/ 9 w 15"/>
                  <a:gd name="T29" fmla="*/ 5 h 16"/>
                  <a:gd name="T30" fmla="*/ 6 w 15"/>
                  <a:gd name="T31" fmla="*/ 4 h 16"/>
                  <a:gd name="T32" fmla="*/ 4 w 15"/>
                  <a:gd name="T33" fmla="*/ 0 h 16"/>
                  <a:gd name="T34" fmla="*/ 4 w 15"/>
                  <a:gd name="T35" fmla="*/ 0 h 16"/>
                  <a:gd name="T36" fmla="*/ 2 w 15"/>
                  <a:gd name="T37" fmla="*/ 0 h 16"/>
                  <a:gd name="T38" fmla="*/ 0 w 15"/>
                  <a:gd name="T3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16">
                    <a:moveTo>
                      <a:pt x="0" y="0"/>
                    </a:moveTo>
                    <a:lnTo>
                      <a:pt x="0" y="0"/>
                    </a:lnTo>
                    <a:lnTo>
                      <a:pt x="0" y="5"/>
                    </a:lnTo>
                    <a:lnTo>
                      <a:pt x="2" y="7"/>
                    </a:lnTo>
                    <a:lnTo>
                      <a:pt x="4" y="11"/>
                    </a:lnTo>
                    <a:lnTo>
                      <a:pt x="6" y="11"/>
                    </a:lnTo>
                    <a:lnTo>
                      <a:pt x="9" y="14"/>
                    </a:lnTo>
                    <a:lnTo>
                      <a:pt x="11" y="14"/>
                    </a:lnTo>
                    <a:lnTo>
                      <a:pt x="13" y="14"/>
                    </a:lnTo>
                    <a:lnTo>
                      <a:pt x="13" y="16"/>
                    </a:lnTo>
                    <a:lnTo>
                      <a:pt x="15" y="16"/>
                    </a:lnTo>
                    <a:lnTo>
                      <a:pt x="15" y="14"/>
                    </a:lnTo>
                    <a:lnTo>
                      <a:pt x="13" y="11"/>
                    </a:lnTo>
                    <a:lnTo>
                      <a:pt x="9" y="7"/>
                    </a:lnTo>
                    <a:lnTo>
                      <a:pt x="9" y="5"/>
                    </a:lnTo>
                    <a:lnTo>
                      <a:pt x="6" y="4"/>
                    </a:lnTo>
                    <a:lnTo>
                      <a:pt x="4" y="0"/>
                    </a:lnTo>
                    <a:lnTo>
                      <a:pt x="4" y="0"/>
                    </a:lnTo>
                    <a:lnTo>
                      <a:pt x="2"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61" name="Freeform 2211"/>
              <p:cNvSpPr>
                <a:spLocks/>
              </p:cNvSpPr>
              <p:nvPr/>
            </p:nvSpPr>
            <p:spPr bwMode="auto">
              <a:xfrm>
                <a:off x="521" y="1161"/>
                <a:ext cx="15" cy="16"/>
              </a:xfrm>
              <a:custGeom>
                <a:avLst/>
                <a:gdLst>
                  <a:gd name="T0" fmla="*/ 0 w 15"/>
                  <a:gd name="T1" fmla="*/ 0 h 16"/>
                  <a:gd name="T2" fmla="*/ 0 w 15"/>
                  <a:gd name="T3" fmla="*/ 0 h 16"/>
                  <a:gd name="T4" fmla="*/ 0 w 15"/>
                  <a:gd name="T5" fmla="*/ 5 h 16"/>
                  <a:gd name="T6" fmla="*/ 2 w 15"/>
                  <a:gd name="T7" fmla="*/ 7 h 16"/>
                  <a:gd name="T8" fmla="*/ 4 w 15"/>
                  <a:gd name="T9" fmla="*/ 11 h 16"/>
                  <a:gd name="T10" fmla="*/ 6 w 15"/>
                  <a:gd name="T11" fmla="*/ 11 h 16"/>
                  <a:gd name="T12" fmla="*/ 9 w 15"/>
                  <a:gd name="T13" fmla="*/ 14 h 16"/>
                  <a:gd name="T14" fmla="*/ 11 w 15"/>
                  <a:gd name="T15" fmla="*/ 14 h 16"/>
                  <a:gd name="T16" fmla="*/ 13 w 15"/>
                  <a:gd name="T17" fmla="*/ 14 h 16"/>
                  <a:gd name="T18" fmla="*/ 13 w 15"/>
                  <a:gd name="T19" fmla="*/ 16 h 16"/>
                  <a:gd name="T20" fmla="*/ 15 w 15"/>
                  <a:gd name="T21" fmla="*/ 16 h 16"/>
                  <a:gd name="T22" fmla="*/ 15 w 15"/>
                  <a:gd name="T23" fmla="*/ 14 h 16"/>
                  <a:gd name="T24" fmla="*/ 13 w 15"/>
                  <a:gd name="T25" fmla="*/ 11 h 16"/>
                  <a:gd name="T26" fmla="*/ 9 w 15"/>
                  <a:gd name="T27" fmla="*/ 7 h 16"/>
                  <a:gd name="T28" fmla="*/ 9 w 15"/>
                  <a:gd name="T29" fmla="*/ 5 h 16"/>
                  <a:gd name="T30" fmla="*/ 6 w 15"/>
                  <a:gd name="T31" fmla="*/ 4 h 16"/>
                  <a:gd name="T32" fmla="*/ 4 w 15"/>
                  <a:gd name="T33" fmla="*/ 0 h 16"/>
                  <a:gd name="T34" fmla="*/ 4 w 15"/>
                  <a:gd name="T35" fmla="*/ 0 h 16"/>
                  <a:gd name="T36" fmla="*/ 2 w 15"/>
                  <a:gd name="T37" fmla="*/ 0 h 16"/>
                  <a:gd name="T38" fmla="*/ 0 w 15"/>
                  <a:gd name="T3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16">
                    <a:moveTo>
                      <a:pt x="0" y="0"/>
                    </a:moveTo>
                    <a:lnTo>
                      <a:pt x="0" y="0"/>
                    </a:lnTo>
                    <a:lnTo>
                      <a:pt x="0" y="5"/>
                    </a:lnTo>
                    <a:lnTo>
                      <a:pt x="2" y="7"/>
                    </a:lnTo>
                    <a:lnTo>
                      <a:pt x="4" y="11"/>
                    </a:lnTo>
                    <a:lnTo>
                      <a:pt x="6" y="11"/>
                    </a:lnTo>
                    <a:lnTo>
                      <a:pt x="9" y="14"/>
                    </a:lnTo>
                    <a:lnTo>
                      <a:pt x="11" y="14"/>
                    </a:lnTo>
                    <a:lnTo>
                      <a:pt x="13" y="14"/>
                    </a:lnTo>
                    <a:lnTo>
                      <a:pt x="13" y="16"/>
                    </a:lnTo>
                    <a:lnTo>
                      <a:pt x="15" y="16"/>
                    </a:lnTo>
                    <a:lnTo>
                      <a:pt x="15" y="14"/>
                    </a:lnTo>
                    <a:lnTo>
                      <a:pt x="13" y="11"/>
                    </a:lnTo>
                    <a:lnTo>
                      <a:pt x="9" y="7"/>
                    </a:lnTo>
                    <a:lnTo>
                      <a:pt x="9" y="5"/>
                    </a:lnTo>
                    <a:lnTo>
                      <a:pt x="6" y="4"/>
                    </a:lnTo>
                    <a:lnTo>
                      <a:pt x="4" y="0"/>
                    </a:lnTo>
                    <a:lnTo>
                      <a:pt x="4" y="0"/>
                    </a:lnTo>
                    <a:lnTo>
                      <a:pt x="2"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62" name="Freeform 2212"/>
              <p:cNvSpPr>
                <a:spLocks/>
              </p:cNvSpPr>
              <p:nvPr/>
            </p:nvSpPr>
            <p:spPr bwMode="auto">
              <a:xfrm>
                <a:off x="680" y="884"/>
                <a:ext cx="170" cy="191"/>
              </a:xfrm>
              <a:custGeom>
                <a:avLst/>
                <a:gdLst>
                  <a:gd name="T0" fmla="*/ 32 w 170"/>
                  <a:gd name="T1" fmla="*/ 40 h 191"/>
                  <a:gd name="T2" fmla="*/ 25 w 170"/>
                  <a:gd name="T3" fmla="*/ 61 h 191"/>
                  <a:gd name="T4" fmla="*/ 23 w 170"/>
                  <a:gd name="T5" fmla="*/ 68 h 191"/>
                  <a:gd name="T6" fmla="*/ 20 w 170"/>
                  <a:gd name="T7" fmla="*/ 77 h 191"/>
                  <a:gd name="T8" fmla="*/ 18 w 170"/>
                  <a:gd name="T9" fmla="*/ 84 h 191"/>
                  <a:gd name="T10" fmla="*/ 20 w 170"/>
                  <a:gd name="T11" fmla="*/ 88 h 191"/>
                  <a:gd name="T12" fmla="*/ 22 w 170"/>
                  <a:gd name="T13" fmla="*/ 93 h 191"/>
                  <a:gd name="T14" fmla="*/ 13 w 170"/>
                  <a:gd name="T15" fmla="*/ 97 h 191"/>
                  <a:gd name="T16" fmla="*/ 15 w 170"/>
                  <a:gd name="T17" fmla="*/ 102 h 191"/>
                  <a:gd name="T18" fmla="*/ 13 w 170"/>
                  <a:gd name="T19" fmla="*/ 111 h 191"/>
                  <a:gd name="T20" fmla="*/ 13 w 170"/>
                  <a:gd name="T21" fmla="*/ 115 h 191"/>
                  <a:gd name="T22" fmla="*/ 13 w 170"/>
                  <a:gd name="T23" fmla="*/ 120 h 191"/>
                  <a:gd name="T24" fmla="*/ 9 w 170"/>
                  <a:gd name="T25" fmla="*/ 125 h 191"/>
                  <a:gd name="T26" fmla="*/ 9 w 170"/>
                  <a:gd name="T27" fmla="*/ 131 h 191"/>
                  <a:gd name="T28" fmla="*/ 6 w 170"/>
                  <a:gd name="T29" fmla="*/ 136 h 191"/>
                  <a:gd name="T30" fmla="*/ 4 w 170"/>
                  <a:gd name="T31" fmla="*/ 140 h 191"/>
                  <a:gd name="T32" fmla="*/ 0 w 170"/>
                  <a:gd name="T33" fmla="*/ 147 h 191"/>
                  <a:gd name="T34" fmla="*/ 15 w 170"/>
                  <a:gd name="T35" fmla="*/ 147 h 191"/>
                  <a:gd name="T36" fmla="*/ 13 w 170"/>
                  <a:gd name="T37" fmla="*/ 150 h 191"/>
                  <a:gd name="T38" fmla="*/ 20 w 170"/>
                  <a:gd name="T39" fmla="*/ 152 h 191"/>
                  <a:gd name="T40" fmla="*/ 31 w 170"/>
                  <a:gd name="T41" fmla="*/ 157 h 191"/>
                  <a:gd name="T42" fmla="*/ 38 w 170"/>
                  <a:gd name="T43" fmla="*/ 172 h 191"/>
                  <a:gd name="T44" fmla="*/ 48 w 170"/>
                  <a:gd name="T45" fmla="*/ 190 h 191"/>
                  <a:gd name="T46" fmla="*/ 66 w 170"/>
                  <a:gd name="T47" fmla="*/ 173 h 191"/>
                  <a:gd name="T48" fmla="*/ 72 w 170"/>
                  <a:gd name="T49" fmla="*/ 173 h 191"/>
                  <a:gd name="T50" fmla="*/ 77 w 170"/>
                  <a:gd name="T51" fmla="*/ 175 h 191"/>
                  <a:gd name="T52" fmla="*/ 79 w 170"/>
                  <a:gd name="T53" fmla="*/ 173 h 191"/>
                  <a:gd name="T54" fmla="*/ 86 w 170"/>
                  <a:gd name="T55" fmla="*/ 168 h 191"/>
                  <a:gd name="T56" fmla="*/ 88 w 170"/>
                  <a:gd name="T57" fmla="*/ 159 h 191"/>
                  <a:gd name="T58" fmla="*/ 88 w 170"/>
                  <a:gd name="T59" fmla="*/ 147 h 191"/>
                  <a:gd name="T60" fmla="*/ 93 w 170"/>
                  <a:gd name="T61" fmla="*/ 131 h 191"/>
                  <a:gd name="T62" fmla="*/ 102 w 170"/>
                  <a:gd name="T63" fmla="*/ 131 h 191"/>
                  <a:gd name="T64" fmla="*/ 170 w 170"/>
                  <a:gd name="T65" fmla="*/ 66 h 191"/>
                  <a:gd name="T66" fmla="*/ 165 w 170"/>
                  <a:gd name="T67" fmla="*/ 52 h 191"/>
                  <a:gd name="T68" fmla="*/ 140 w 170"/>
                  <a:gd name="T69" fmla="*/ 27 h 191"/>
                  <a:gd name="T70" fmla="*/ 113 w 170"/>
                  <a:gd name="T71" fmla="*/ 23 h 191"/>
                  <a:gd name="T72" fmla="*/ 113 w 170"/>
                  <a:gd name="T73" fmla="*/ 31 h 191"/>
                  <a:gd name="T74" fmla="*/ 107 w 170"/>
                  <a:gd name="T75" fmla="*/ 32 h 191"/>
                  <a:gd name="T76" fmla="*/ 106 w 170"/>
                  <a:gd name="T77" fmla="*/ 22 h 191"/>
                  <a:gd name="T78" fmla="*/ 102 w 170"/>
                  <a:gd name="T79" fmla="*/ 27 h 191"/>
                  <a:gd name="T80" fmla="*/ 102 w 170"/>
                  <a:gd name="T81" fmla="*/ 23 h 191"/>
                  <a:gd name="T82" fmla="*/ 72 w 170"/>
                  <a:gd name="T83" fmla="*/ 0 h 191"/>
                  <a:gd name="T84" fmla="*/ 63 w 170"/>
                  <a:gd name="T85" fmla="*/ 4 h 191"/>
                  <a:gd name="T86" fmla="*/ 47 w 170"/>
                  <a:gd name="T87" fmla="*/ 7 h 191"/>
                  <a:gd name="T88" fmla="*/ 45 w 170"/>
                  <a:gd name="T89" fmla="*/ 9 h 191"/>
                  <a:gd name="T90" fmla="*/ 41 w 170"/>
                  <a:gd name="T91" fmla="*/ 9 h 191"/>
                  <a:gd name="T92" fmla="*/ 36 w 170"/>
                  <a:gd name="T93" fmla="*/ 7 h 191"/>
                  <a:gd name="T94" fmla="*/ 29 w 170"/>
                  <a:gd name="T95" fmla="*/ 7 h 191"/>
                  <a:gd name="T96" fmla="*/ 23 w 170"/>
                  <a:gd name="T97" fmla="*/ 13 h 191"/>
                  <a:gd name="T98" fmla="*/ 25 w 170"/>
                  <a:gd name="T99" fmla="*/ 2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91">
                    <a:moveTo>
                      <a:pt x="29" y="34"/>
                    </a:moveTo>
                    <a:lnTo>
                      <a:pt x="31" y="38"/>
                    </a:lnTo>
                    <a:lnTo>
                      <a:pt x="32" y="40"/>
                    </a:lnTo>
                    <a:lnTo>
                      <a:pt x="34" y="43"/>
                    </a:lnTo>
                    <a:lnTo>
                      <a:pt x="29" y="59"/>
                    </a:lnTo>
                    <a:lnTo>
                      <a:pt x="25" y="61"/>
                    </a:lnTo>
                    <a:lnTo>
                      <a:pt x="25" y="63"/>
                    </a:lnTo>
                    <a:lnTo>
                      <a:pt x="25" y="66"/>
                    </a:lnTo>
                    <a:lnTo>
                      <a:pt x="23" y="68"/>
                    </a:lnTo>
                    <a:lnTo>
                      <a:pt x="22" y="72"/>
                    </a:lnTo>
                    <a:lnTo>
                      <a:pt x="22" y="73"/>
                    </a:lnTo>
                    <a:lnTo>
                      <a:pt x="20" y="77"/>
                    </a:lnTo>
                    <a:lnTo>
                      <a:pt x="20" y="81"/>
                    </a:lnTo>
                    <a:lnTo>
                      <a:pt x="20" y="81"/>
                    </a:lnTo>
                    <a:lnTo>
                      <a:pt x="18" y="84"/>
                    </a:lnTo>
                    <a:lnTo>
                      <a:pt x="16" y="84"/>
                    </a:lnTo>
                    <a:lnTo>
                      <a:pt x="18" y="88"/>
                    </a:lnTo>
                    <a:lnTo>
                      <a:pt x="20" y="88"/>
                    </a:lnTo>
                    <a:lnTo>
                      <a:pt x="20" y="90"/>
                    </a:lnTo>
                    <a:lnTo>
                      <a:pt x="22" y="91"/>
                    </a:lnTo>
                    <a:lnTo>
                      <a:pt x="22" y="93"/>
                    </a:lnTo>
                    <a:lnTo>
                      <a:pt x="22" y="93"/>
                    </a:lnTo>
                    <a:lnTo>
                      <a:pt x="16" y="97"/>
                    </a:lnTo>
                    <a:lnTo>
                      <a:pt x="13" y="97"/>
                    </a:lnTo>
                    <a:lnTo>
                      <a:pt x="13" y="98"/>
                    </a:lnTo>
                    <a:lnTo>
                      <a:pt x="13" y="100"/>
                    </a:lnTo>
                    <a:lnTo>
                      <a:pt x="15" y="102"/>
                    </a:lnTo>
                    <a:lnTo>
                      <a:pt x="15" y="104"/>
                    </a:lnTo>
                    <a:lnTo>
                      <a:pt x="15" y="106"/>
                    </a:lnTo>
                    <a:lnTo>
                      <a:pt x="13" y="111"/>
                    </a:lnTo>
                    <a:lnTo>
                      <a:pt x="15" y="111"/>
                    </a:lnTo>
                    <a:lnTo>
                      <a:pt x="16" y="113"/>
                    </a:lnTo>
                    <a:lnTo>
                      <a:pt x="13" y="115"/>
                    </a:lnTo>
                    <a:lnTo>
                      <a:pt x="11" y="116"/>
                    </a:lnTo>
                    <a:lnTo>
                      <a:pt x="15" y="118"/>
                    </a:lnTo>
                    <a:lnTo>
                      <a:pt x="13" y="120"/>
                    </a:lnTo>
                    <a:lnTo>
                      <a:pt x="11" y="118"/>
                    </a:lnTo>
                    <a:lnTo>
                      <a:pt x="9" y="122"/>
                    </a:lnTo>
                    <a:lnTo>
                      <a:pt x="9" y="125"/>
                    </a:lnTo>
                    <a:lnTo>
                      <a:pt x="7" y="127"/>
                    </a:lnTo>
                    <a:lnTo>
                      <a:pt x="7" y="129"/>
                    </a:lnTo>
                    <a:lnTo>
                      <a:pt x="9" y="131"/>
                    </a:lnTo>
                    <a:lnTo>
                      <a:pt x="4" y="132"/>
                    </a:lnTo>
                    <a:lnTo>
                      <a:pt x="6" y="134"/>
                    </a:lnTo>
                    <a:lnTo>
                      <a:pt x="6" y="136"/>
                    </a:lnTo>
                    <a:lnTo>
                      <a:pt x="6" y="136"/>
                    </a:lnTo>
                    <a:lnTo>
                      <a:pt x="4" y="138"/>
                    </a:lnTo>
                    <a:lnTo>
                      <a:pt x="4" y="140"/>
                    </a:lnTo>
                    <a:lnTo>
                      <a:pt x="6" y="141"/>
                    </a:lnTo>
                    <a:lnTo>
                      <a:pt x="4" y="147"/>
                    </a:lnTo>
                    <a:lnTo>
                      <a:pt x="0" y="147"/>
                    </a:lnTo>
                    <a:lnTo>
                      <a:pt x="2" y="148"/>
                    </a:lnTo>
                    <a:lnTo>
                      <a:pt x="9" y="147"/>
                    </a:lnTo>
                    <a:lnTo>
                      <a:pt x="15" y="147"/>
                    </a:lnTo>
                    <a:lnTo>
                      <a:pt x="16" y="148"/>
                    </a:lnTo>
                    <a:lnTo>
                      <a:pt x="13" y="148"/>
                    </a:lnTo>
                    <a:lnTo>
                      <a:pt x="13" y="150"/>
                    </a:lnTo>
                    <a:lnTo>
                      <a:pt x="18" y="152"/>
                    </a:lnTo>
                    <a:lnTo>
                      <a:pt x="20" y="156"/>
                    </a:lnTo>
                    <a:lnTo>
                      <a:pt x="20" y="152"/>
                    </a:lnTo>
                    <a:lnTo>
                      <a:pt x="23" y="152"/>
                    </a:lnTo>
                    <a:lnTo>
                      <a:pt x="23" y="156"/>
                    </a:lnTo>
                    <a:lnTo>
                      <a:pt x="31" y="157"/>
                    </a:lnTo>
                    <a:lnTo>
                      <a:pt x="34" y="165"/>
                    </a:lnTo>
                    <a:lnTo>
                      <a:pt x="34" y="168"/>
                    </a:lnTo>
                    <a:lnTo>
                      <a:pt x="38" y="172"/>
                    </a:lnTo>
                    <a:lnTo>
                      <a:pt x="41" y="184"/>
                    </a:lnTo>
                    <a:lnTo>
                      <a:pt x="45" y="191"/>
                    </a:lnTo>
                    <a:lnTo>
                      <a:pt x="48" y="190"/>
                    </a:lnTo>
                    <a:lnTo>
                      <a:pt x="54" y="184"/>
                    </a:lnTo>
                    <a:lnTo>
                      <a:pt x="57" y="182"/>
                    </a:lnTo>
                    <a:lnTo>
                      <a:pt x="66" y="173"/>
                    </a:lnTo>
                    <a:lnTo>
                      <a:pt x="68" y="170"/>
                    </a:lnTo>
                    <a:lnTo>
                      <a:pt x="70" y="172"/>
                    </a:lnTo>
                    <a:lnTo>
                      <a:pt x="72" y="173"/>
                    </a:lnTo>
                    <a:lnTo>
                      <a:pt x="70" y="175"/>
                    </a:lnTo>
                    <a:lnTo>
                      <a:pt x="73" y="175"/>
                    </a:lnTo>
                    <a:lnTo>
                      <a:pt x="77" y="175"/>
                    </a:lnTo>
                    <a:lnTo>
                      <a:pt x="77" y="173"/>
                    </a:lnTo>
                    <a:lnTo>
                      <a:pt x="77" y="170"/>
                    </a:lnTo>
                    <a:lnTo>
                      <a:pt x="79" y="173"/>
                    </a:lnTo>
                    <a:lnTo>
                      <a:pt x="81" y="173"/>
                    </a:lnTo>
                    <a:lnTo>
                      <a:pt x="82" y="172"/>
                    </a:lnTo>
                    <a:lnTo>
                      <a:pt x="86" y="168"/>
                    </a:lnTo>
                    <a:lnTo>
                      <a:pt x="88" y="165"/>
                    </a:lnTo>
                    <a:lnTo>
                      <a:pt x="88" y="161"/>
                    </a:lnTo>
                    <a:lnTo>
                      <a:pt x="88" y="159"/>
                    </a:lnTo>
                    <a:lnTo>
                      <a:pt x="88" y="157"/>
                    </a:lnTo>
                    <a:lnTo>
                      <a:pt x="88" y="150"/>
                    </a:lnTo>
                    <a:lnTo>
                      <a:pt x="88" y="147"/>
                    </a:lnTo>
                    <a:lnTo>
                      <a:pt x="91" y="140"/>
                    </a:lnTo>
                    <a:lnTo>
                      <a:pt x="93" y="131"/>
                    </a:lnTo>
                    <a:lnTo>
                      <a:pt x="93" y="131"/>
                    </a:lnTo>
                    <a:lnTo>
                      <a:pt x="97" y="132"/>
                    </a:lnTo>
                    <a:lnTo>
                      <a:pt x="98" y="131"/>
                    </a:lnTo>
                    <a:lnTo>
                      <a:pt x="102" y="131"/>
                    </a:lnTo>
                    <a:lnTo>
                      <a:pt x="107" y="127"/>
                    </a:lnTo>
                    <a:lnTo>
                      <a:pt x="109" y="111"/>
                    </a:lnTo>
                    <a:lnTo>
                      <a:pt x="170" y="66"/>
                    </a:lnTo>
                    <a:lnTo>
                      <a:pt x="170" y="59"/>
                    </a:lnTo>
                    <a:lnTo>
                      <a:pt x="168" y="57"/>
                    </a:lnTo>
                    <a:lnTo>
                      <a:pt x="165" y="52"/>
                    </a:lnTo>
                    <a:lnTo>
                      <a:pt x="163" y="52"/>
                    </a:lnTo>
                    <a:lnTo>
                      <a:pt x="143" y="29"/>
                    </a:lnTo>
                    <a:lnTo>
                      <a:pt x="140" y="27"/>
                    </a:lnTo>
                    <a:lnTo>
                      <a:pt x="136" y="20"/>
                    </a:lnTo>
                    <a:lnTo>
                      <a:pt x="123" y="18"/>
                    </a:lnTo>
                    <a:lnTo>
                      <a:pt x="113" y="23"/>
                    </a:lnTo>
                    <a:lnTo>
                      <a:pt x="113" y="25"/>
                    </a:lnTo>
                    <a:lnTo>
                      <a:pt x="115" y="29"/>
                    </a:lnTo>
                    <a:lnTo>
                      <a:pt x="113" y="31"/>
                    </a:lnTo>
                    <a:lnTo>
                      <a:pt x="113" y="34"/>
                    </a:lnTo>
                    <a:lnTo>
                      <a:pt x="109" y="36"/>
                    </a:lnTo>
                    <a:lnTo>
                      <a:pt x="107" y="32"/>
                    </a:lnTo>
                    <a:lnTo>
                      <a:pt x="111" y="31"/>
                    </a:lnTo>
                    <a:lnTo>
                      <a:pt x="109" y="23"/>
                    </a:lnTo>
                    <a:lnTo>
                      <a:pt x="106" y="22"/>
                    </a:lnTo>
                    <a:lnTo>
                      <a:pt x="104" y="23"/>
                    </a:lnTo>
                    <a:lnTo>
                      <a:pt x="104" y="25"/>
                    </a:lnTo>
                    <a:lnTo>
                      <a:pt x="102" y="27"/>
                    </a:lnTo>
                    <a:lnTo>
                      <a:pt x="100" y="32"/>
                    </a:lnTo>
                    <a:lnTo>
                      <a:pt x="98" y="27"/>
                    </a:lnTo>
                    <a:lnTo>
                      <a:pt x="102" y="23"/>
                    </a:lnTo>
                    <a:lnTo>
                      <a:pt x="82" y="7"/>
                    </a:lnTo>
                    <a:lnTo>
                      <a:pt x="81" y="4"/>
                    </a:lnTo>
                    <a:lnTo>
                      <a:pt x="72" y="0"/>
                    </a:lnTo>
                    <a:lnTo>
                      <a:pt x="68" y="2"/>
                    </a:lnTo>
                    <a:lnTo>
                      <a:pt x="66" y="4"/>
                    </a:lnTo>
                    <a:lnTo>
                      <a:pt x="63" y="4"/>
                    </a:lnTo>
                    <a:lnTo>
                      <a:pt x="59" y="6"/>
                    </a:lnTo>
                    <a:lnTo>
                      <a:pt x="47" y="6"/>
                    </a:lnTo>
                    <a:lnTo>
                      <a:pt x="47" y="7"/>
                    </a:lnTo>
                    <a:lnTo>
                      <a:pt x="47" y="15"/>
                    </a:lnTo>
                    <a:lnTo>
                      <a:pt x="47" y="11"/>
                    </a:lnTo>
                    <a:lnTo>
                      <a:pt x="45" y="9"/>
                    </a:lnTo>
                    <a:lnTo>
                      <a:pt x="45" y="7"/>
                    </a:lnTo>
                    <a:lnTo>
                      <a:pt x="43" y="6"/>
                    </a:lnTo>
                    <a:lnTo>
                      <a:pt x="41" y="9"/>
                    </a:lnTo>
                    <a:lnTo>
                      <a:pt x="41" y="9"/>
                    </a:lnTo>
                    <a:lnTo>
                      <a:pt x="41" y="6"/>
                    </a:lnTo>
                    <a:lnTo>
                      <a:pt x="36" y="7"/>
                    </a:lnTo>
                    <a:lnTo>
                      <a:pt x="36" y="9"/>
                    </a:lnTo>
                    <a:lnTo>
                      <a:pt x="31" y="7"/>
                    </a:lnTo>
                    <a:lnTo>
                      <a:pt x="29" y="7"/>
                    </a:lnTo>
                    <a:lnTo>
                      <a:pt x="29" y="9"/>
                    </a:lnTo>
                    <a:lnTo>
                      <a:pt x="22" y="13"/>
                    </a:lnTo>
                    <a:lnTo>
                      <a:pt x="23" y="13"/>
                    </a:lnTo>
                    <a:lnTo>
                      <a:pt x="23" y="18"/>
                    </a:lnTo>
                    <a:lnTo>
                      <a:pt x="29" y="22"/>
                    </a:lnTo>
                    <a:lnTo>
                      <a:pt x="25" y="23"/>
                    </a:lnTo>
                    <a:lnTo>
                      <a:pt x="25" y="27"/>
                    </a:lnTo>
                    <a:lnTo>
                      <a:pt x="29" y="3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63" name="Freeform 2213"/>
              <p:cNvSpPr>
                <a:spLocks/>
              </p:cNvSpPr>
              <p:nvPr/>
            </p:nvSpPr>
            <p:spPr bwMode="auto">
              <a:xfrm>
                <a:off x="680" y="884"/>
                <a:ext cx="170" cy="191"/>
              </a:xfrm>
              <a:custGeom>
                <a:avLst/>
                <a:gdLst>
                  <a:gd name="T0" fmla="*/ 32 w 170"/>
                  <a:gd name="T1" fmla="*/ 40 h 191"/>
                  <a:gd name="T2" fmla="*/ 25 w 170"/>
                  <a:gd name="T3" fmla="*/ 61 h 191"/>
                  <a:gd name="T4" fmla="*/ 23 w 170"/>
                  <a:gd name="T5" fmla="*/ 68 h 191"/>
                  <a:gd name="T6" fmla="*/ 20 w 170"/>
                  <a:gd name="T7" fmla="*/ 77 h 191"/>
                  <a:gd name="T8" fmla="*/ 18 w 170"/>
                  <a:gd name="T9" fmla="*/ 84 h 191"/>
                  <a:gd name="T10" fmla="*/ 20 w 170"/>
                  <a:gd name="T11" fmla="*/ 88 h 191"/>
                  <a:gd name="T12" fmla="*/ 22 w 170"/>
                  <a:gd name="T13" fmla="*/ 93 h 191"/>
                  <a:gd name="T14" fmla="*/ 13 w 170"/>
                  <a:gd name="T15" fmla="*/ 97 h 191"/>
                  <a:gd name="T16" fmla="*/ 15 w 170"/>
                  <a:gd name="T17" fmla="*/ 102 h 191"/>
                  <a:gd name="T18" fmla="*/ 13 w 170"/>
                  <a:gd name="T19" fmla="*/ 111 h 191"/>
                  <a:gd name="T20" fmla="*/ 13 w 170"/>
                  <a:gd name="T21" fmla="*/ 115 h 191"/>
                  <a:gd name="T22" fmla="*/ 13 w 170"/>
                  <a:gd name="T23" fmla="*/ 120 h 191"/>
                  <a:gd name="T24" fmla="*/ 9 w 170"/>
                  <a:gd name="T25" fmla="*/ 125 h 191"/>
                  <a:gd name="T26" fmla="*/ 9 w 170"/>
                  <a:gd name="T27" fmla="*/ 131 h 191"/>
                  <a:gd name="T28" fmla="*/ 6 w 170"/>
                  <a:gd name="T29" fmla="*/ 136 h 191"/>
                  <a:gd name="T30" fmla="*/ 4 w 170"/>
                  <a:gd name="T31" fmla="*/ 140 h 191"/>
                  <a:gd name="T32" fmla="*/ 0 w 170"/>
                  <a:gd name="T33" fmla="*/ 147 h 191"/>
                  <a:gd name="T34" fmla="*/ 15 w 170"/>
                  <a:gd name="T35" fmla="*/ 147 h 191"/>
                  <a:gd name="T36" fmla="*/ 13 w 170"/>
                  <a:gd name="T37" fmla="*/ 150 h 191"/>
                  <a:gd name="T38" fmla="*/ 20 w 170"/>
                  <a:gd name="T39" fmla="*/ 152 h 191"/>
                  <a:gd name="T40" fmla="*/ 31 w 170"/>
                  <a:gd name="T41" fmla="*/ 157 h 191"/>
                  <a:gd name="T42" fmla="*/ 38 w 170"/>
                  <a:gd name="T43" fmla="*/ 172 h 191"/>
                  <a:gd name="T44" fmla="*/ 48 w 170"/>
                  <a:gd name="T45" fmla="*/ 190 h 191"/>
                  <a:gd name="T46" fmla="*/ 66 w 170"/>
                  <a:gd name="T47" fmla="*/ 173 h 191"/>
                  <a:gd name="T48" fmla="*/ 72 w 170"/>
                  <a:gd name="T49" fmla="*/ 173 h 191"/>
                  <a:gd name="T50" fmla="*/ 77 w 170"/>
                  <a:gd name="T51" fmla="*/ 175 h 191"/>
                  <a:gd name="T52" fmla="*/ 79 w 170"/>
                  <a:gd name="T53" fmla="*/ 173 h 191"/>
                  <a:gd name="T54" fmla="*/ 86 w 170"/>
                  <a:gd name="T55" fmla="*/ 168 h 191"/>
                  <a:gd name="T56" fmla="*/ 88 w 170"/>
                  <a:gd name="T57" fmla="*/ 159 h 191"/>
                  <a:gd name="T58" fmla="*/ 88 w 170"/>
                  <a:gd name="T59" fmla="*/ 147 h 191"/>
                  <a:gd name="T60" fmla="*/ 93 w 170"/>
                  <a:gd name="T61" fmla="*/ 131 h 191"/>
                  <a:gd name="T62" fmla="*/ 102 w 170"/>
                  <a:gd name="T63" fmla="*/ 131 h 191"/>
                  <a:gd name="T64" fmla="*/ 170 w 170"/>
                  <a:gd name="T65" fmla="*/ 66 h 191"/>
                  <a:gd name="T66" fmla="*/ 165 w 170"/>
                  <a:gd name="T67" fmla="*/ 52 h 191"/>
                  <a:gd name="T68" fmla="*/ 140 w 170"/>
                  <a:gd name="T69" fmla="*/ 27 h 191"/>
                  <a:gd name="T70" fmla="*/ 113 w 170"/>
                  <a:gd name="T71" fmla="*/ 23 h 191"/>
                  <a:gd name="T72" fmla="*/ 113 w 170"/>
                  <a:gd name="T73" fmla="*/ 31 h 191"/>
                  <a:gd name="T74" fmla="*/ 107 w 170"/>
                  <a:gd name="T75" fmla="*/ 32 h 191"/>
                  <a:gd name="T76" fmla="*/ 106 w 170"/>
                  <a:gd name="T77" fmla="*/ 22 h 191"/>
                  <a:gd name="T78" fmla="*/ 102 w 170"/>
                  <a:gd name="T79" fmla="*/ 27 h 191"/>
                  <a:gd name="T80" fmla="*/ 102 w 170"/>
                  <a:gd name="T81" fmla="*/ 23 h 191"/>
                  <a:gd name="T82" fmla="*/ 72 w 170"/>
                  <a:gd name="T83" fmla="*/ 0 h 191"/>
                  <a:gd name="T84" fmla="*/ 63 w 170"/>
                  <a:gd name="T85" fmla="*/ 4 h 191"/>
                  <a:gd name="T86" fmla="*/ 47 w 170"/>
                  <a:gd name="T87" fmla="*/ 7 h 191"/>
                  <a:gd name="T88" fmla="*/ 45 w 170"/>
                  <a:gd name="T89" fmla="*/ 9 h 191"/>
                  <a:gd name="T90" fmla="*/ 41 w 170"/>
                  <a:gd name="T91" fmla="*/ 9 h 191"/>
                  <a:gd name="T92" fmla="*/ 36 w 170"/>
                  <a:gd name="T93" fmla="*/ 7 h 191"/>
                  <a:gd name="T94" fmla="*/ 29 w 170"/>
                  <a:gd name="T95" fmla="*/ 7 h 191"/>
                  <a:gd name="T96" fmla="*/ 23 w 170"/>
                  <a:gd name="T97" fmla="*/ 13 h 191"/>
                  <a:gd name="T98" fmla="*/ 25 w 170"/>
                  <a:gd name="T99" fmla="*/ 2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91">
                    <a:moveTo>
                      <a:pt x="29" y="34"/>
                    </a:moveTo>
                    <a:lnTo>
                      <a:pt x="31" y="38"/>
                    </a:lnTo>
                    <a:lnTo>
                      <a:pt x="32" y="40"/>
                    </a:lnTo>
                    <a:lnTo>
                      <a:pt x="34" y="43"/>
                    </a:lnTo>
                    <a:lnTo>
                      <a:pt x="29" y="59"/>
                    </a:lnTo>
                    <a:lnTo>
                      <a:pt x="25" y="61"/>
                    </a:lnTo>
                    <a:lnTo>
                      <a:pt x="25" y="63"/>
                    </a:lnTo>
                    <a:lnTo>
                      <a:pt x="25" y="66"/>
                    </a:lnTo>
                    <a:lnTo>
                      <a:pt x="23" y="68"/>
                    </a:lnTo>
                    <a:lnTo>
                      <a:pt x="22" y="72"/>
                    </a:lnTo>
                    <a:lnTo>
                      <a:pt x="22" y="73"/>
                    </a:lnTo>
                    <a:lnTo>
                      <a:pt x="20" y="77"/>
                    </a:lnTo>
                    <a:lnTo>
                      <a:pt x="20" y="81"/>
                    </a:lnTo>
                    <a:lnTo>
                      <a:pt x="20" y="81"/>
                    </a:lnTo>
                    <a:lnTo>
                      <a:pt x="18" y="84"/>
                    </a:lnTo>
                    <a:lnTo>
                      <a:pt x="16" y="84"/>
                    </a:lnTo>
                    <a:lnTo>
                      <a:pt x="18" y="88"/>
                    </a:lnTo>
                    <a:lnTo>
                      <a:pt x="20" y="88"/>
                    </a:lnTo>
                    <a:lnTo>
                      <a:pt x="20" y="90"/>
                    </a:lnTo>
                    <a:lnTo>
                      <a:pt x="22" y="91"/>
                    </a:lnTo>
                    <a:lnTo>
                      <a:pt x="22" y="93"/>
                    </a:lnTo>
                    <a:lnTo>
                      <a:pt x="22" y="93"/>
                    </a:lnTo>
                    <a:lnTo>
                      <a:pt x="16" y="97"/>
                    </a:lnTo>
                    <a:lnTo>
                      <a:pt x="13" y="97"/>
                    </a:lnTo>
                    <a:lnTo>
                      <a:pt x="13" y="98"/>
                    </a:lnTo>
                    <a:lnTo>
                      <a:pt x="13" y="100"/>
                    </a:lnTo>
                    <a:lnTo>
                      <a:pt x="15" y="102"/>
                    </a:lnTo>
                    <a:lnTo>
                      <a:pt x="15" y="104"/>
                    </a:lnTo>
                    <a:lnTo>
                      <a:pt x="15" y="106"/>
                    </a:lnTo>
                    <a:lnTo>
                      <a:pt x="13" y="111"/>
                    </a:lnTo>
                    <a:lnTo>
                      <a:pt x="15" y="111"/>
                    </a:lnTo>
                    <a:lnTo>
                      <a:pt x="16" y="113"/>
                    </a:lnTo>
                    <a:lnTo>
                      <a:pt x="13" y="115"/>
                    </a:lnTo>
                    <a:lnTo>
                      <a:pt x="11" y="116"/>
                    </a:lnTo>
                    <a:lnTo>
                      <a:pt x="15" y="118"/>
                    </a:lnTo>
                    <a:lnTo>
                      <a:pt x="13" y="120"/>
                    </a:lnTo>
                    <a:lnTo>
                      <a:pt x="11" y="118"/>
                    </a:lnTo>
                    <a:lnTo>
                      <a:pt x="9" y="122"/>
                    </a:lnTo>
                    <a:lnTo>
                      <a:pt x="9" y="125"/>
                    </a:lnTo>
                    <a:lnTo>
                      <a:pt x="7" y="127"/>
                    </a:lnTo>
                    <a:lnTo>
                      <a:pt x="7" y="129"/>
                    </a:lnTo>
                    <a:lnTo>
                      <a:pt x="9" y="131"/>
                    </a:lnTo>
                    <a:lnTo>
                      <a:pt x="4" y="132"/>
                    </a:lnTo>
                    <a:lnTo>
                      <a:pt x="6" y="134"/>
                    </a:lnTo>
                    <a:lnTo>
                      <a:pt x="6" y="136"/>
                    </a:lnTo>
                    <a:lnTo>
                      <a:pt x="6" y="136"/>
                    </a:lnTo>
                    <a:lnTo>
                      <a:pt x="4" y="138"/>
                    </a:lnTo>
                    <a:lnTo>
                      <a:pt x="4" y="140"/>
                    </a:lnTo>
                    <a:lnTo>
                      <a:pt x="6" y="141"/>
                    </a:lnTo>
                    <a:lnTo>
                      <a:pt x="4" y="147"/>
                    </a:lnTo>
                    <a:lnTo>
                      <a:pt x="0" y="147"/>
                    </a:lnTo>
                    <a:lnTo>
                      <a:pt x="2" y="148"/>
                    </a:lnTo>
                    <a:lnTo>
                      <a:pt x="9" y="147"/>
                    </a:lnTo>
                    <a:lnTo>
                      <a:pt x="15" y="147"/>
                    </a:lnTo>
                    <a:lnTo>
                      <a:pt x="16" y="148"/>
                    </a:lnTo>
                    <a:lnTo>
                      <a:pt x="13" y="148"/>
                    </a:lnTo>
                    <a:lnTo>
                      <a:pt x="13" y="150"/>
                    </a:lnTo>
                    <a:lnTo>
                      <a:pt x="18" y="152"/>
                    </a:lnTo>
                    <a:lnTo>
                      <a:pt x="20" y="156"/>
                    </a:lnTo>
                    <a:lnTo>
                      <a:pt x="20" y="152"/>
                    </a:lnTo>
                    <a:lnTo>
                      <a:pt x="23" y="152"/>
                    </a:lnTo>
                    <a:lnTo>
                      <a:pt x="23" y="156"/>
                    </a:lnTo>
                    <a:lnTo>
                      <a:pt x="31" y="157"/>
                    </a:lnTo>
                    <a:lnTo>
                      <a:pt x="34" y="165"/>
                    </a:lnTo>
                    <a:lnTo>
                      <a:pt x="34" y="168"/>
                    </a:lnTo>
                    <a:lnTo>
                      <a:pt x="38" y="172"/>
                    </a:lnTo>
                    <a:lnTo>
                      <a:pt x="41" y="184"/>
                    </a:lnTo>
                    <a:lnTo>
                      <a:pt x="45" y="191"/>
                    </a:lnTo>
                    <a:lnTo>
                      <a:pt x="48" y="190"/>
                    </a:lnTo>
                    <a:lnTo>
                      <a:pt x="54" y="184"/>
                    </a:lnTo>
                    <a:lnTo>
                      <a:pt x="57" y="182"/>
                    </a:lnTo>
                    <a:lnTo>
                      <a:pt x="66" y="173"/>
                    </a:lnTo>
                    <a:lnTo>
                      <a:pt x="68" y="170"/>
                    </a:lnTo>
                    <a:lnTo>
                      <a:pt x="70" y="172"/>
                    </a:lnTo>
                    <a:lnTo>
                      <a:pt x="72" y="173"/>
                    </a:lnTo>
                    <a:lnTo>
                      <a:pt x="70" y="175"/>
                    </a:lnTo>
                    <a:lnTo>
                      <a:pt x="73" y="175"/>
                    </a:lnTo>
                    <a:lnTo>
                      <a:pt x="77" y="175"/>
                    </a:lnTo>
                    <a:lnTo>
                      <a:pt x="77" y="173"/>
                    </a:lnTo>
                    <a:lnTo>
                      <a:pt x="77" y="170"/>
                    </a:lnTo>
                    <a:lnTo>
                      <a:pt x="79" y="173"/>
                    </a:lnTo>
                    <a:lnTo>
                      <a:pt x="81" y="173"/>
                    </a:lnTo>
                    <a:lnTo>
                      <a:pt x="82" y="172"/>
                    </a:lnTo>
                    <a:lnTo>
                      <a:pt x="86" y="168"/>
                    </a:lnTo>
                    <a:lnTo>
                      <a:pt x="88" y="165"/>
                    </a:lnTo>
                    <a:lnTo>
                      <a:pt x="88" y="161"/>
                    </a:lnTo>
                    <a:lnTo>
                      <a:pt x="88" y="159"/>
                    </a:lnTo>
                    <a:lnTo>
                      <a:pt x="88" y="157"/>
                    </a:lnTo>
                    <a:lnTo>
                      <a:pt x="88" y="150"/>
                    </a:lnTo>
                    <a:lnTo>
                      <a:pt x="88" y="147"/>
                    </a:lnTo>
                    <a:lnTo>
                      <a:pt x="91" y="140"/>
                    </a:lnTo>
                    <a:lnTo>
                      <a:pt x="93" y="131"/>
                    </a:lnTo>
                    <a:lnTo>
                      <a:pt x="93" y="131"/>
                    </a:lnTo>
                    <a:lnTo>
                      <a:pt x="97" y="132"/>
                    </a:lnTo>
                    <a:lnTo>
                      <a:pt x="98" y="131"/>
                    </a:lnTo>
                    <a:lnTo>
                      <a:pt x="102" y="131"/>
                    </a:lnTo>
                    <a:lnTo>
                      <a:pt x="107" y="127"/>
                    </a:lnTo>
                    <a:lnTo>
                      <a:pt x="109" y="111"/>
                    </a:lnTo>
                    <a:lnTo>
                      <a:pt x="170" y="66"/>
                    </a:lnTo>
                    <a:lnTo>
                      <a:pt x="170" y="59"/>
                    </a:lnTo>
                    <a:lnTo>
                      <a:pt x="168" y="57"/>
                    </a:lnTo>
                    <a:lnTo>
                      <a:pt x="165" y="52"/>
                    </a:lnTo>
                    <a:lnTo>
                      <a:pt x="163" y="52"/>
                    </a:lnTo>
                    <a:lnTo>
                      <a:pt x="143" y="29"/>
                    </a:lnTo>
                    <a:lnTo>
                      <a:pt x="140" y="27"/>
                    </a:lnTo>
                    <a:lnTo>
                      <a:pt x="136" y="20"/>
                    </a:lnTo>
                    <a:lnTo>
                      <a:pt x="123" y="18"/>
                    </a:lnTo>
                    <a:lnTo>
                      <a:pt x="113" y="23"/>
                    </a:lnTo>
                    <a:lnTo>
                      <a:pt x="113" y="25"/>
                    </a:lnTo>
                    <a:lnTo>
                      <a:pt x="115" y="29"/>
                    </a:lnTo>
                    <a:lnTo>
                      <a:pt x="113" y="31"/>
                    </a:lnTo>
                    <a:lnTo>
                      <a:pt x="113" y="34"/>
                    </a:lnTo>
                    <a:lnTo>
                      <a:pt x="109" y="36"/>
                    </a:lnTo>
                    <a:lnTo>
                      <a:pt x="107" y="32"/>
                    </a:lnTo>
                    <a:lnTo>
                      <a:pt x="111" y="31"/>
                    </a:lnTo>
                    <a:lnTo>
                      <a:pt x="109" y="23"/>
                    </a:lnTo>
                    <a:lnTo>
                      <a:pt x="106" y="22"/>
                    </a:lnTo>
                    <a:lnTo>
                      <a:pt x="104" y="23"/>
                    </a:lnTo>
                    <a:lnTo>
                      <a:pt x="104" y="25"/>
                    </a:lnTo>
                    <a:lnTo>
                      <a:pt x="102" y="27"/>
                    </a:lnTo>
                    <a:lnTo>
                      <a:pt x="100" y="32"/>
                    </a:lnTo>
                    <a:lnTo>
                      <a:pt x="98" y="27"/>
                    </a:lnTo>
                    <a:lnTo>
                      <a:pt x="102" y="23"/>
                    </a:lnTo>
                    <a:lnTo>
                      <a:pt x="82" y="7"/>
                    </a:lnTo>
                    <a:lnTo>
                      <a:pt x="81" y="4"/>
                    </a:lnTo>
                    <a:lnTo>
                      <a:pt x="72" y="0"/>
                    </a:lnTo>
                    <a:lnTo>
                      <a:pt x="68" y="2"/>
                    </a:lnTo>
                    <a:lnTo>
                      <a:pt x="66" y="4"/>
                    </a:lnTo>
                    <a:lnTo>
                      <a:pt x="63" y="4"/>
                    </a:lnTo>
                    <a:lnTo>
                      <a:pt x="59" y="6"/>
                    </a:lnTo>
                    <a:lnTo>
                      <a:pt x="47" y="6"/>
                    </a:lnTo>
                    <a:lnTo>
                      <a:pt x="47" y="7"/>
                    </a:lnTo>
                    <a:lnTo>
                      <a:pt x="47" y="15"/>
                    </a:lnTo>
                    <a:lnTo>
                      <a:pt x="47" y="11"/>
                    </a:lnTo>
                    <a:lnTo>
                      <a:pt x="45" y="9"/>
                    </a:lnTo>
                    <a:lnTo>
                      <a:pt x="45" y="7"/>
                    </a:lnTo>
                    <a:lnTo>
                      <a:pt x="43" y="6"/>
                    </a:lnTo>
                    <a:lnTo>
                      <a:pt x="41" y="9"/>
                    </a:lnTo>
                    <a:lnTo>
                      <a:pt x="41" y="9"/>
                    </a:lnTo>
                    <a:lnTo>
                      <a:pt x="41" y="6"/>
                    </a:lnTo>
                    <a:lnTo>
                      <a:pt x="36" y="7"/>
                    </a:lnTo>
                    <a:lnTo>
                      <a:pt x="36" y="9"/>
                    </a:lnTo>
                    <a:lnTo>
                      <a:pt x="31" y="7"/>
                    </a:lnTo>
                    <a:lnTo>
                      <a:pt x="29" y="7"/>
                    </a:lnTo>
                    <a:lnTo>
                      <a:pt x="29" y="9"/>
                    </a:lnTo>
                    <a:lnTo>
                      <a:pt x="22" y="13"/>
                    </a:lnTo>
                    <a:lnTo>
                      <a:pt x="23" y="13"/>
                    </a:lnTo>
                    <a:lnTo>
                      <a:pt x="23" y="18"/>
                    </a:lnTo>
                    <a:lnTo>
                      <a:pt x="29" y="22"/>
                    </a:lnTo>
                    <a:lnTo>
                      <a:pt x="25" y="23"/>
                    </a:lnTo>
                    <a:lnTo>
                      <a:pt x="25" y="27"/>
                    </a:lnTo>
                    <a:lnTo>
                      <a:pt x="29" y="3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64" name="Freeform 2214"/>
              <p:cNvSpPr>
                <a:spLocks/>
              </p:cNvSpPr>
              <p:nvPr/>
            </p:nvSpPr>
            <p:spPr bwMode="auto">
              <a:xfrm>
                <a:off x="1344" y="1295"/>
                <a:ext cx="18" cy="18"/>
              </a:xfrm>
              <a:custGeom>
                <a:avLst/>
                <a:gdLst>
                  <a:gd name="T0" fmla="*/ 9 w 18"/>
                  <a:gd name="T1" fmla="*/ 5 h 18"/>
                  <a:gd name="T2" fmla="*/ 11 w 18"/>
                  <a:gd name="T3" fmla="*/ 7 h 18"/>
                  <a:gd name="T4" fmla="*/ 13 w 18"/>
                  <a:gd name="T5" fmla="*/ 7 h 18"/>
                  <a:gd name="T6" fmla="*/ 15 w 18"/>
                  <a:gd name="T7" fmla="*/ 12 h 18"/>
                  <a:gd name="T8" fmla="*/ 17 w 18"/>
                  <a:gd name="T9" fmla="*/ 14 h 18"/>
                  <a:gd name="T10" fmla="*/ 18 w 18"/>
                  <a:gd name="T11" fmla="*/ 16 h 18"/>
                  <a:gd name="T12" fmla="*/ 18 w 18"/>
                  <a:gd name="T13" fmla="*/ 18 h 18"/>
                  <a:gd name="T14" fmla="*/ 13 w 18"/>
                  <a:gd name="T15" fmla="*/ 18 h 18"/>
                  <a:gd name="T16" fmla="*/ 11 w 18"/>
                  <a:gd name="T17" fmla="*/ 14 h 18"/>
                  <a:gd name="T18" fmla="*/ 8 w 18"/>
                  <a:gd name="T19" fmla="*/ 11 h 18"/>
                  <a:gd name="T20" fmla="*/ 4 w 18"/>
                  <a:gd name="T21" fmla="*/ 5 h 18"/>
                  <a:gd name="T22" fmla="*/ 0 w 18"/>
                  <a:gd name="T23" fmla="*/ 2 h 18"/>
                  <a:gd name="T24" fmla="*/ 0 w 18"/>
                  <a:gd name="T25" fmla="*/ 0 h 18"/>
                  <a:gd name="T26" fmla="*/ 2 w 18"/>
                  <a:gd name="T27" fmla="*/ 0 h 18"/>
                  <a:gd name="T28" fmla="*/ 6 w 18"/>
                  <a:gd name="T29" fmla="*/ 0 h 18"/>
                  <a:gd name="T30" fmla="*/ 9 w 18"/>
                  <a:gd name="T31"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8">
                    <a:moveTo>
                      <a:pt x="9" y="5"/>
                    </a:moveTo>
                    <a:lnTo>
                      <a:pt x="11" y="7"/>
                    </a:lnTo>
                    <a:lnTo>
                      <a:pt x="13" y="7"/>
                    </a:lnTo>
                    <a:lnTo>
                      <a:pt x="15" y="12"/>
                    </a:lnTo>
                    <a:lnTo>
                      <a:pt x="17" y="14"/>
                    </a:lnTo>
                    <a:lnTo>
                      <a:pt x="18" y="16"/>
                    </a:lnTo>
                    <a:lnTo>
                      <a:pt x="18" y="18"/>
                    </a:lnTo>
                    <a:lnTo>
                      <a:pt x="13" y="18"/>
                    </a:lnTo>
                    <a:lnTo>
                      <a:pt x="11" y="14"/>
                    </a:lnTo>
                    <a:lnTo>
                      <a:pt x="8" y="11"/>
                    </a:lnTo>
                    <a:lnTo>
                      <a:pt x="4" y="5"/>
                    </a:lnTo>
                    <a:lnTo>
                      <a:pt x="0" y="2"/>
                    </a:lnTo>
                    <a:lnTo>
                      <a:pt x="0" y="0"/>
                    </a:lnTo>
                    <a:lnTo>
                      <a:pt x="2" y="0"/>
                    </a:lnTo>
                    <a:lnTo>
                      <a:pt x="6" y="0"/>
                    </a:lnTo>
                    <a:lnTo>
                      <a:pt x="9"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65" name="Freeform 2215"/>
              <p:cNvSpPr>
                <a:spLocks/>
              </p:cNvSpPr>
              <p:nvPr/>
            </p:nvSpPr>
            <p:spPr bwMode="auto">
              <a:xfrm>
                <a:off x="1344" y="1295"/>
                <a:ext cx="18" cy="18"/>
              </a:xfrm>
              <a:custGeom>
                <a:avLst/>
                <a:gdLst>
                  <a:gd name="T0" fmla="*/ 9 w 18"/>
                  <a:gd name="T1" fmla="*/ 5 h 18"/>
                  <a:gd name="T2" fmla="*/ 11 w 18"/>
                  <a:gd name="T3" fmla="*/ 7 h 18"/>
                  <a:gd name="T4" fmla="*/ 13 w 18"/>
                  <a:gd name="T5" fmla="*/ 7 h 18"/>
                  <a:gd name="T6" fmla="*/ 15 w 18"/>
                  <a:gd name="T7" fmla="*/ 12 h 18"/>
                  <a:gd name="T8" fmla="*/ 17 w 18"/>
                  <a:gd name="T9" fmla="*/ 14 h 18"/>
                  <a:gd name="T10" fmla="*/ 18 w 18"/>
                  <a:gd name="T11" fmla="*/ 16 h 18"/>
                  <a:gd name="T12" fmla="*/ 18 w 18"/>
                  <a:gd name="T13" fmla="*/ 18 h 18"/>
                  <a:gd name="T14" fmla="*/ 13 w 18"/>
                  <a:gd name="T15" fmla="*/ 18 h 18"/>
                  <a:gd name="T16" fmla="*/ 11 w 18"/>
                  <a:gd name="T17" fmla="*/ 14 h 18"/>
                  <a:gd name="T18" fmla="*/ 8 w 18"/>
                  <a:gd name="T19" fmla="*/ 11 h 18"/>
                  <a:gd name="T20" fmla="*/ 4 w 18"/>
                  <a:gd name="T21" fmla="*/ 5 h 18"/>
                  <a:gd name="T22" fmla="*/ 0 w 18"/>
                  <a:gd name="T23" fmla="*/ 2 h 18"/>
                  <a:gd name="T24" fmla="*/ 0 w 18"/>
                  <a:gd name="T25" fmla="*/ 0 h 18"/>
                  <a:gd name="T26" fmla="*/ 2 w 18"/>
                  <a:gd name="T27" fmla="*/ 0 h 18"/>
                  <a:gd name="T28" fmla="*/ 6 w 18"/>
                  <a:gd name="T29" fmla="*/ 0 h 18"/>
                  <a:gd name="T30" fmla="*/ 9 w 18"/>
                  <a:gd name="T31" fmla="*/ 5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8">
                    <a:moveTo>
                      <a:pt x="9" y="5"/>
                    </a:moveTo>
                    <a:lnTo>
                      <a:pt x="11" y="7"/>
                    </a:lnTo>
                    <a:lnTo>
                      <a:pt x="13" y="7"/>
                    </a:lnTo>
                    <a:lnTo>
                      <a:pt x="15" y="12"/>
                    </a:lnTo>
                    <a:lnTo>
                      <a:pt x="17" y="14"/>
                    </a:lnTo>
                    <a:lnTo>
                      <a:pt x="18" y="16"/>
                    </a:lnTo>
                    <a:lnTo>
                      <a:pt x="18" y="18"/>
                    </a:lnTo>
                    <a:lnTo>
                      <a:pt x="13" y="18"/>
                    </a:lnTo>
                    <a:lnTo>
                      <a:pt x="11" y="14"/>
                    </a:lnTo>
                    <a:lnTo>
                      <a:pt x="8" y="11"/>
                    </a:lnTo>
                    <a:lnTo>
                      <a:pt x="4" y="5"/>
                    </a:lnTo>
                    <a:lnTo>
                      <a:pt x="0" y="2"/>
                    </a:lnTo>
                    <a:lnTo>
                      <a:pt x="0" y="0"/>
                    </a:lnTo>
                    <a:lnTo>
                      <a:pt x="2" y="0"/>
                    </a:lnTo>
                    <a:lnTo>
                      <a:pt x="6" y="0"/>
                    </a:lnTo>
                    <a:lnTo>
                      <a:pt x="9"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66" name="Freeform 2216"/>
              <p:cNvSpPr>
                <a:spLocks/>
              </p:cNvSpPr>
              <p:nvPr/>
            </p:nvSpPr>
            <p:spPr bwMode="auto">
              <a:xfrm>
                <a:off x="1603" y="1491"/>
                <a:ext cx="8" cy="11"/>
              </a:xfrm>
              <a:custGeom>
                <a:avLst/>
                <a:gdLst>
                  <a:gd name="T0" fmla="*/ 2 w 8"/>
                  <a:gd name="T1" fmla="*/ 4 h 11"/>
                  <a:gd name="T2" fmla="*/ 0 w 8"/>
                  <a:gd name="T3" fmla="*/ 2 h 11"/>
                  <a:gd name="T4" fmla="*/ 0 w 8"/>
                  <a:gd name="T5" fmla="*/ 9 h 11"/>
                  <a:gd name="T6" fmla="*/ 0 w 8"/>
                  <a:gd name="T7" fmla="*/ 11 h 11"/>
                  <a:gd name="T8" fmla="*/ 4 w 8"/>
                  <a:gd name="T9" fmla="*/ 8 h 11"/>
                  <a:gd name="T10" fmla="*/ 6 w 8"/>
                  <a:gd name="T11" fmla="*/ 8 h 11"/>
                  <a:gd name="T12" fmla="*/ 8 w 8"/>
                  <a:gd name="T13" fmla="*/ 4 h 11"/>
                  <a:gd name="T14" fmla="*/ 8 w 8"/>
                  <a:gd name="T15" fmla="*/ 0 h 11"/>
                  <a:gd name="T16" fmla="*/ 4 w 8"/>
                  <a:gd name="T17" fmla="*/ 0 h 11"/>
                  <a:gd name="T18" fmla="*/ 2 w 8"/>
                  <a:gd name="T19" fmla="*/ 2 h 11"/>
                  <a:gd name="T20" fmla="*/ 2 w 8"/>
                  <a:gd name="T2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1">
                    <a:moveTo>
                      <a:pt x="2" y="4"/>
                    </a:moveTo>
                    <a:lnTo>
                      <a:pt x="0" y="2"/>
                    </a:lnTo>
                    <a:lnTo>
                      <a:pt x="0" y="9"/>
                    </a:lnTo>
                    <a:lnTo>
                      <a:pt x="0" y="11"/>
                    </a:lnTo>
                    <a:lnTo>
                      <a:pt x="4" y="8"/>
                    </a:lnTo>
                    <a:lnTo>
                      <a:pt x="6" y="8"/>
                    </a:lnTo>
                    <a:lnTo>
                      <a:pt x="8" y="4"/>
                    </a:lnTo>
                    <a:lnTo>
                      <a:pt x="8" y="0"/>
                    </a:lnTo>
                    <a:lnTo>
                      <a:pt x="4" y="0"/>
                    </a:lnTo>
                    <a:lnTo>
                      <a:pt x="2" y="2"/>
                    </a:lnTo>
                    <a:lnTo>
                      <a:pt x="2"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67" name="Freeform 2217"/>
              <p:cNvSpPr>
                <a:spLocks/>
              </p:cNvSpPr>
              <p:nvPr/>
            </p:nvSpPr>
            <p:spPr bwMode="auto">
              <a:xfrm>
                <a:off x="1603" y="1491"/>
                <a:ext cx="8" cy="11"/>
              </a:xfrm>
              <a:custGeom>
                <a:avLst/>
                <a:gdLst>
                  <a:gd name="T0" fmla="*/ 2 w 8"/>
                  <a:gd name="T1" fmla="*/ 4 h 11"/>
                  <a:gd name="T2" fmla="*/ 0 w 8"/>
                  <a:gd name="T3" fmla="*/ 2 h 11"/>
                  <a:gd name="T4" fmla="*/ 0 w 8"/>
                  <a:gd name="T5" fmla="*/ 9 h 11"/>
                  <a:gd name="T6" fmla="*/ 0 w 8"/>
                  <a:gd name="T7" fmla="*/ 11 h 11"/>
                  <a:gd name="T8" fmla="*/ 4 w 8"/>
                  <a:gd name="T9" fmla="*/ 8 h 11"/>
                  <a:gd name="T10" fmla="*/ 6 w 8"/>
                  <a:gd name="T11" fmla="*/ 8 h 11"/>
                  <a:gd name="T12" fmla="*/ 8 w 8"/>
                  <a:gd name="T13" fmla="*/ 4 h 11"/>
                  <a:gd name="T14" fmla="*/ 8 w 8"/>
                  <a:gd name="T15" fmla="*/ 0 h 11"/>
                  <a:gd name="T16" fmla="*/ 4 w 8"/>
                  <a:gd name="T17" fmla="*/ 0 h 11"/>
                  <a:gd name="T18" fmla="*/ 2 w 8"/>
                  <a:gd name="T19" fmla="*/ 2 h 11"/>
                  <a:gd name="T20" fmla="*/ 2 w 8"/>
                  <a:gd name="T2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11">
                    <a:moveTo>
                      <a:pt x="2" y="4"/>
                    </a:moveTo>
                    <a:lnTo>
                      <a:pt x="0" y="2"/>
                    </a:lnTo>
                    <a:lnTo>
                      <a:pt x="0" y="9"/>
                    </a:lnTo>
                    <a:lnTo>
                      <a:pt x="0" y="11"/>
                    </a:lnTo>
                    <a:lnTo>
                      <a:pt x="4" y="8"/>
                    </a:lnTo>
                    <a:lnTo>
                      <a:pt x="6" y="8"/>
                    </a:lnTo>
                    <a:lnTo>
                      <a:pt x="8" y="4"/>
                    </a:lnTo>
                    <a:lnTo>
                      <a:pt x="8" y="0"/>
                    </a:lnTo>
                    <a:lnTo>
                      <a:pt x="4" y="0"/>
                    </a:lnTo>
                    <a:lnTo>
                      <a:pt x="2" y="2"/>
                    </a:lnTo>
                    <a:lnTo>
                      <a:pt x="2"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68" name="Freeform 2218"/>
              <p:cNvSpPr>
                <a:spLocks/>
              </p:cNvSpPr>
              <p:nvPr/>
            </p:nvSpPr>
            <p:spPr bwMode="auto">
              <a:xfrm>
                <a:off x="1648" y="1454"/>
                <a:ext cx="13" cy="12"/>
              </a:xfrm>
              <a:custGeom>
                <a:avLst/>
                <a:gdLst>
                  <a:gd name="T0" fmla="*/ 7 w 13"/>
                  <a:gd name="T1" fmla="*/ 0 h 12"/>
                  <a:gd name="T2" fmla="*/ 7 w 13"/>
                  <a:gd name="T3" fmla="*/ 0 h 12"/>
                  <a:gd name="T4" fmla="*/ 9 w 13"/>
                  <a:gd name="T5" fmla="*/ 2 h 12"/>
                  <a:gd name="T6" fmla="*/ 11 w 13"/>
                  <a:gd name="T7" fmla="*/ 3 h 12"/>
                  <a:gd name="T8" fmla="*/ 13 w 13"/>
                  <a:gd name="T9" fmla="*/ 3 h 12"/>
                  <a:gd name="T10" fmla="*/ 13 w 13"/>
                  <a:gd name="T11" fmla="*/ 5 h 12"/>
                  <a:gd name="T12" fmla="*/ 13 w 13"/>
                  <a:gd name="T13" fmla="*/ 11 h 12"/>
                  <a:gd name="T14" fmla="*/ 11 w 13"/>
                  <a:gd name="T15" fmla="*/ 12 h 12"/>
                  <a:gd name="T16" fmla="*/ 7 w 13"/>
                  <a:gd name="T17" fmla="*/ 11 h 12"/>
                  <a:gd name="T18" fmla="*/ 5 w 13"/>
                  <a:gd name="T19" fmla="*/ 9 h 12"/>
                  <a:gd name="T20" fmla="*/ 5 w 13"/>
                  <a:gd name="T21" fmla="*/ 9 h 12"/>
                  <a:gd name="T22" fmla="*/ 2 w 13"/>
                  <a:gd name="T23" fmla="*/ 5 h 12"/>
                  <a:gd name="T24" fmla="*/ 0 w 13"/>
                  <a:gd name="T25" fmla="*/ 5 h 12"/>
                  <a:gd name="T26" fmla="*/ 0 w 13"/>
                  <a:gd name="T27" fmla="*/ 3 h 12"/>
                  <a:gd name="T28" fmla="*/ 4 w 13"/>
                  <a:gd name="T29" fmla="*/ 2 h 12"/>
                  <a:gd name="T30" fmla="*/ 7 w 13"/>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2">
                    <a:moveTo>
                      <a:pt x="7" y="0"/>
                    </a:moveTo>
                    <a:lnTo>
                      <a:pt x="7" y="0"/>
                    </a:lnTo>
                    <a:lnTo>
                      <a:pt x="9" y="2"/>
                    </a:lnTo>
                    <a:lnTo>
                      <a:pt x="11" y="3"/>
                    </a:lnTo>
                    <a:lnTo>
                      <a:pt x="13" y="3"/>
                    </a:lnTo>
                    <a:lnTo>
                      <a:pt x="13" y="5"/>
                    </a:lnTo>
                    <a:lnTo>
                      <a:pt x="13" y="11"/>
                    </a:lnTo>
                    <a:lnTo>
                      <a:pt x="11" y="12"/>
                    </a:lnTo>
                    <a:lnTo>
                      <a:pt x="7" y="11"/>
                    </a:lnTo>
                    <a:lnTo>
                      <a:pt x="5" y="9"/>
                    </a:lnTo>
                    <a:lnTo>
                      <a:pt x="5" y="9"/>
                    </a:lnTo>
                    <a:lnTo>
                      <a:pt x="2" y="5"/>
                    </a:lnTo>
                    <a:lnTo>
                      <a:pt x="0" y="5"/>
                    </a:lnTo>
                    <a:lnTo>
                      <a:pt x="0" y="3"/>
                    </a:lnTo>
                    <a:lnTo>
                      <a:pt x="4" y="2"/>
                    </a:lnTo>
                    <a:lnTo>
                      <a:pt x="7"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69" name="Freeform 2219"/>
              <p:cNvSpPr>
                <a:spLocks/>
              </p:cNvSpPr>
              <p:nvPr/>
            </p:nvSpPr>
            <p:spPr bwMode="auto">
              <a:xfrm>
                <a:off x="1648" y="1454"/>
                <a:ext cx="13" cy="12"/>
              </a:xfrm>
              <a:custGeom>
                <a:avLst/>
                <a:gdLst>
                  <a:gd name="T0" fmla="*/ 7 w 13"/>
                  <a:gd name="T1" fmla="*/ 0 h 12"/>
                  <a:gd name="T2" fmla="*/ 7 w 13"/>
                  <a:gd name="T3" fmla="*/ 0 h 12"/>
                  <a:gd name="T4" fmla="*/ 9 w 13"/>
                  <a:gd name="T5" fmla="*/ 2 h 12"/>
                  <a:gd name="T6" fmla="*/ 11 w 13"/>
                  <a:gd name="T7" fmla="*/ 3 h 12"/>
                  <a:gd name="T8" fmla="*/ 13 w 13"/>
                  <a:gd name="T9" fmla="*/ 3 h 12"/>
                  <a:gd name="T10" fmla="*/ 13 w 13"/>
                  <a:gd name="T11" fmla="*/ 5 h 12"/>
                  <a:gd name="T12" fmla="*/ 13 w 13"/>
                  <a:gd name="T13" fmla="*/ 11 h 12"/>
                  <a:gd name="T14" fmla="*/ 11 w 13"/>
                  <a:gd name="T15" fmla="*/ 12 h 12"/>
                  <a:gd name="T16" fmla="*/ 7 w 13"/>
                  <a:gd name="T17" fmla="*/ 11 h 12"/>
                  <a:gd name="T18" fmla="*/ 5 w 13"/>
                  <a:gd name="T19" fmla="*/ 9 h 12"/>
                  <a:gd name="T20" fmla="*/ 5 w 13"/>
                  <a:gd name="T21" fmla="*/ 9 h 12"/>
                  <a:gd name="T22" fmla="*/ 2 w 13"/>
                  <a:gd name="T23" fmla="*/ 5 h 12"/>
                  <a:gd name="T24" fmla="*/ 0 w 13"/>
                  <a:gd name="T25" fmla="*/ 5 h 12"/>
                  <a:gd name="T26" fmla="*/ 0 w 13"/>
                  <a:gd name="T27" fmla="*/ 3 h 12"/>
                  <a:gd name="T28" fmla="*/ 4 w 13"/>
                  <a:gd name="T29" fmla="*/ 2 h 12"/>
                  <a:gd name="T30" fmla="*/ 7 w 13"/>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12">
                    <a:moveTo>
                      <a:pt x="7" y="0"/>
                    </a:moveTo>
                    <a:lnTo>
                      <a:pt x="7" y="0"/>
                    </a:lnTo>
                    <a:lnTo>
                      <a:pt x="9" y="2"/>
                    </a:lnTo>
                    <a:lnTo>
                      <a:pt x="11" y="3"/>
                    </a:lnTo>
                    <a:lnTo>
                      <a:pt x="13" y="3"/>
                    </a:lnTo>
                    <a:lnTo>
                      <a:pt x="13" y="5"/>
                    </a:lnTo>
                    <a:lnTo>
                      <a:pt x="13" y="11"/>
                    </a:lnTo>
                    <a:lnTo>
                      <a:pt x="11" y="12"/>
                    </a:lnTo>
                    <a:lnTo>
                      <a:pt x="7" y="11"/>
                    </a:lnTo>
                    <a:lnTo>
                      <a:pt x="5" y="9"/>
                    </a:lnTo>
                    <a:lnTo>
                      <a:pt x="5" y="9"/>
                    </a:lnTo>
                    <a:lnTo>
                      <a:pt x="2" y="5"/>
                    </a:lnTo>
                    <a:lnTo>
                      <a:pt x="0" y="5"/>
                    </a:lnTo>
                    <a:lnTo>
                      <a:pt x="0" y="3"/>
                    </a:lnTo>
                    <a:lnTo>
                      <a:pt x="4" y="2"/>
                    </a:lnTo>
                    <a:lnTo>
                      <a:pt x="7"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70" name="Freeform 2220"/>
              <p:cNvSpPr>
                <a:spLocks/>
              </p:cNvSpPr>
              <p:nvPr/>
            </p:nvSpPr>
            <p:spPr bwMode="auto">
              <a:xfrm>
                <a:off x="1305" y="1204"/>
                <a:ext cx="7" cy="23"/>
              </a:xfrm>
              <a:custGeom>
                <a:avLst/>
                <a:gdLst>
                  <a:gd name="T0" fmla="*/ 6 w 7"/>
                  <a:gd name="T1" fmla="*/ 2 h 23"/>
                  <a:gd name="T2" fmla="*/ 6 w 7"/>
                  <a:gd name="T3" fmla="*/ 2 h 23"/>
                  <a:gd name="T4" fmla="*/ 7 w 7"/>
                  <a:gd name="T5" fmla="*/ 18 h 23"/>
                  <a:gd name="T6" fmla="*/ 6 w 7"/>
                  <a:gd name="T7" fmla="*/ 23 h 23"/>
                  <a:gd name="T8" fmla="*/ 4 w 7"/>
                  <a:gd name="T9" fmla="*/ 23 h 23"/>
                  <a:gd name="T10" fmla="*/ 0 w 7"/>
                  <a:gd name="T11" fmla="*/ 18 h 23"/>
                  <a:gd name="T12" fmla="*/ 0 w 7"/>
                  <a:gd name="T13" fmla="*/ 3 h 23"/>
                  <a:gd name="T14" fmla="*/ 2 w 7"/>
                  <a:gd name="T15" fmla="*/ 0 h 23"/>
                  <a:gd name="T16" fmla="*/ 6 w 7"/>
                  <a:gd name="T1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3">
                    <a:moveTo>
                      <a:pt x="6" y="2"/>
                    </a:moveTo>
                    <a:lnTo>
                      <a:pt x="6" y="2"/>
                    </a:lnTo>
                    <a:lnTo>
                      <a:pt x="7" y="18"/>
                    </a:lnTo>
                    <a:lnTo>
                      <a:pt x="6" y="23"/>
                    </a:lnTo>
                    <a:lnTo>
                      <a:pt x="4" y="23"/>
                    </a:lnTo>
                    <a:lnTo>
                      <a:pt x="0" y="18"/>
                    </a:lnTo>
                    <a:lnTo>
                      <a:pt x="0" y="3"/>
                    </a:lnTo>
                    <a:lnTo>
                      <a:pt x="2" y="0"/>
                    </a:lnTo>
                    <a:lnTo>
                      <a:pt x="6"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71" name="Freeform 2221"/>
              <p:cNvSpPr>
                <a:spLocks/>
              </p:cNvSpPr>
              <p:nvPr/>
            </p:nvSpPr>
            <p:spPr bwMode="auto">
              <a:xfrm>
                <a:off x="1305" y="1204"/>
                <a:ext cx="7" cy="23"/>
              </a:xfrm>
              <a:custGeom>
                <a:avLst/>
                <a:gdLst>
                  <a:gd name="T0" fmla="*/ 6 w 7"/>
                  <a:gd name="T1" fmla="*/ 2 h 23"/>
                  <a:gd name="T2" fmla="*/ 6 w 7"/>
                  <a:gd name="T3" fmla="*/ 2 h 23"/>
                  <a:gd name="T4" fmla="*/ 7 w 7"/>
                  <a:gd name="T5" fmla="*/ 18 h 23"/>
                  <a:gd name="T6" fmla="*/ 6 w 7"/>
                  <a:gd name="T7" fmla="*/ 23 h 23"/>
                  <a:gd name="T8" fmla="*/ 4 w 7"/>
                  <a:gd name="T9" fmla="*/ 23 h 23"/>
                  <a:gd name="T10" fmla="*/ 0 w 7"/>
                  <a:gd name="T11" fmla="*/ 18 h 23"/>
                  <a:gd name="T12" fmla="*/ 0 w 7"/>
                  <a:gd name="T13" fmla="*/ 3 h 23"/>
                  <a:gd name="T14" fmla="*/ 2 w 7"/>
                  <a:gd name="T15" fmla="*/ 0 h 23"/>
                  <a:gd name="T16" fmla="*/ 6 w 7"/>
                  <a:gd name="T1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3">
                    <a:moveTo>
                      <a:pt x="6" y="2"/>
                    </a:moveTo>
                    <a:lnTo>
                      <a:pt x="6" y="2"/>
                    </a:lnTo>
                    <a:lnTo>
                      <a:pt x="7" y="18"/>
                    </a:lnTo>
                    <a:lnTo>
                      <a:pt x="6" y="23"/>
                    </a:lnTo>
                    <a:lnTo>
                      <a:pt x="4" y="23"/>
                    </a:lnTo>
                    <a:lnTo>
                      <a:pt x="0" y="18"/>
                    </a:lnTo>
                    <a:lnTo>
                      <a:pt x="0" y="3"/>
                    </a:lnTo>
                    <a:lnTo>
                      <a:pt x="2" y="0"/>
                    </a:lnTo>
                    <a:lnTo>
                      <a:pt x="6"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72" name="Freeform 2222"/>
              <p:cNvSpPr>
                <a:spLocks/>
              </p:cNvSpPr>
              <p:nvPr/>
            </p:nvSpPr>
            <p:spPr bwMode="auto">
              <a:xfrm>
                <a:off x="1802" y="1697"/>
                <a:ext cx="3" cy="2"/>
              </a:xfrm>
              <a:custGeom>
                <a:avLst/>
                <a:gdLst>
                  <a:gd name="T0" fmla="*/ 1 w 3"/>
                  <a:gd name="T1" fmla="*/ 0 h 2"/>
                  <a:gd name="T2" fmla="*/ 0 w 3"/>
                  <a:gd name="T3" fmla="*/ 2 h 2"/>
                  <a:gd name="T4" fmla="*/ 3 w 3"/>
                  <a:gd name="T5" fmla="*/ 2 h 2"/>
                  <a:gd name="T6" fmla="*/ 1 w 3"/>
                  <a:gd name="T7" fmla="*/ 2 h 2"/>
                  <a:gd name="T8" fmla="*/ 1 w 3"/>
                  <a:gd name="T9" fmla="*/ 0 h 2"/>
                </a:gdLst>
                <a:ahLst/>
                <a:cxnLst>
                  <a:cxn ang="0">
                    <a:pos x="T0" y="T1"/>
                  </a:cxn>
                  <a:cxn ang="0">
                    <a:pos x="T2" y="T3"/>
                  </a:cxn>
                  <a:cxn ang="0">
                    <a:pos x="T4" y="T5"/>
                  </a:cxn>
                  <a:cxn ang="0">
                    <a:pos x="T6" y="T7"/>
                  </a:cxn>
                  <a:cxn ang="0">
                    <a:pos x="T8" y="T9"/>
                  </a:cxn>
                </a:cxnLst>
                <a:rect l="0" t="0" r="r" b="b"/>
                <a:pathLst>
                  <a:path w="3" h="2">
                    <a:moveTo>
                      <a:pt x="1" y="0"/>
                    </a:moveTo>
                    <a:lnTo>
                      <a:pt x="0" y="2"/>
                    </a:lnTo>
                    <a:lnTo>
                      <a:pt x="3" y="2"/>
                    </a:lnTo>
                    <a:lnTo>
                      <a:pt x="1" y="2"/>
                    </a:lnTo>
                    <a:lnTo>
                      <a:pt x="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73" name="Freeform 2223"/>
              <p:cNvSpPr>
                <a:spLocks/>
              </p:cNvSpPr>
              <p:nvPr/>
            </p:nvSpPr>
            <p:spPr bwMode="auto">
              <a:xfrm>
                <a:off x="1802" y="1697"/>
                <a:ext cx="3" cy="2"/>
              </a:xfrm>
              <a:custGeom>
                <a:avLst/>
                <a:gdLst>
                  <a:gd name="T0" fmla="*/ 1 w 3"/>
                  <a:gd name="T1" fmla="*/ 0 h 2"/>
                  <a:gd name="T2" fmla="*/ 0 w 3"/>
                  <a:gd name="T3" fmla="*/ 2 h 2"/>
                  <a:gd name="T4" fmla="*/ 3 w 3"/>
                  <a:gd name="T5" fmla="*/ 2 h 2"/>
                  <a:gd name="T6" fmla="*/ 1 w 3"/>
                  <a:gd name="T7" fmla="*/ 2 h 2"/>
                </a:gdLst>
                <a:ahLst/>
                <a:cxnLst>
                  <a:cxn ang="0">
                    <a:pos x="T0" y="T1"/>
                  </a:cxn>
                  <a:cxn ang="0">
                    <a:pos x="T2" y="T3"/>
                  </a:cxn>
                  <a:cxn ang="0">
                    <a:pos x="T4" y="T5"/>
                  </a:cxn>
                  <a:cxn ang="0">
                    <a:pos x="T6" y="T7"/>
                  </a:cxn>
                </a:cxnLst>
                <a:rect l="0" t="0" r="r" b="b"/>
                <a:pathLst>
                  <a:path w="3" h="2">
                    <a:moveTo>
                      <a:pt x="1" y="0"/>
                    </a:moveTo>
                    <a:lnTo>
                      <a:pt x="0" y="2"/>
                    </a:lnTo>
                    <a:lnTo>
                      <a:pt x="3" y="2"/>
                    </a:lnTo>
                    <a:lnTo>
                      <a:pt x="1"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74" name="Freeform 2224"/>
              <p:cNvSpPr>
                <a:spLocks/>
              </p:cNvSpPr>
              <p:nvPr/>
            </p:nvSpPr>
            <p:spPr bwMode="auto">
              <a:xfrm>
                <a:off x="2868" y="486"/>
                <a:ext cx="171" cy="273"/>
              </a:xfrm>
              <a:custGeom>
                <a:avLst/>
                <a:gdLst>
                  <a:gd name="T0" fmla="*/ 82 w 171"/>
                  <a:gd name="T1" fmla="*/ 38 h 273"/>
                  <a:gd name="T2" fmla="*/ 89 w 171"/>
                  <a:gd name="T3" fmla="*/ 95 h 273"/>
                  <a:gd name="T4" fmla="*/ 76 w 171"/>
                  <a:gd name="T5" fmla="*/ 70 h 273"/>
                  <a:gd name="T6" fmla="*/ 53 w 171"/>
                  <a:gd name="T7" fmla="*/ 32 h 273"/>
                  <a:gd name="T8" fmla="*/ 48 w 171"/>
                  <a:gd name="T9" fmla="*/ 59 h 273"/>
                  <a:gd name="T10" fmla="*/ 39 w 171"/>
                  <a:gd name="T11" fmla="*/ 46 h 273"/>
                  <a:gd name="T12" fmla="*/ 32 w 171"/>
                  <a:gd name="T13" fmla="*/ 38 h 273"/>
                  <a:gd name="T14" fmla="*/ 49 w 171"/>
                  <a:gd name="T15" fmla="*/ 25 h 273"/>
                  <a:gd name="T16" fmla="*/ 28 w 171"/>
                  <a:gd name="T17" fmla="*/ 21 h 273"/>
                  <a:gd name="T18" fmla="*/ 21 w 171"/>
                  <a:gd name="T19" fmla="*/ 30 h 273"/>
                  <a:gd name="T20" fmla="*/ 7 w 171"/>
                  <a:gd name="T21" fmla="*/ 25 h 273"/>
                  <a:gd name="T22" fmla="*/ 5 w 171"/>
                  <a:gd name="T23" fmla="*/ 41 h 273"/>
                  <a:gd name="T24" fmla="*/ 3 w 171"/>
                  <a:gd name="T25" fmla="*/ 59 h 273"/>
                  <a:gd name="T26" fmla="*/ 8 w 171"/>
                  <a:gd name="T27" fmla="*/ 80 h 273"/>
                  <a:gd name="T28" fmla="*/ 19 w 171"/>
                  <a:gd name="T29" fmla="*/ 64 h 273"/>
                  <a:gd name="T30" fmla="*/ 16 w 171"/>
                  <a:gd name="T31" fmla="*/ 80 h 273"/>
                  <a:gd name="T32" fmla="*/ 26 w 171"/>
                  <a:gd name="T33" fmla="*/ 96 h 273"/>
                  <a:gd name="T34" fmla="*/ 16 w 171"/>
                  <a:gd name="T35" fmla="*/ 104 h 273"/>
                  <a:gd name="T36" fmla="*/ 37 w 171"/>
                  <a:gd name="T37" fmla="*/ 127 h 273"/>
                  <a:gd name="T38" fmla="*/ 30 w 171"/>
                  <a:gd name="T39" fmla="*/ 139 h 273"/>
                  <a:gd name="T40" fmla="*/ 42 w 171"/>
                  <a:gd name="T41" fmla="*/ 152 h 273"/>
                  <a:gd name="T42" fmla="*/ 55 w 171"/>
                  <a:gd name="T43" fmla="*/ 145 h 273"/>
                  <a:gd name="T44" fmla="*/ 60 w 171"/>
                  <a:gd name="T45" fmla="*/ 134 h 273"/>
                  <a:gd name="T46" fmla="*/ 69 w 171"/>
                  <a:gd name="T47" fmla="*/ 121 h 273"/>
                  <a:gd name="T48" fmla="*/ 74 w 171"/>
                  <a:gd name="T49" fmla="*/ 129 h 273"/>
                  <a:gd name="T50" fmla="*/ 91 w 171"/>
                  <a:gd name="T51" fmla="*/ 114 h 273"/>
                  <a:gd name="T52" fmla="*/ 92 w 171"/>
                  <a:gd name="T53" fmla="*/ 123 h 273"/>
                  <a:gd name="T54" fmla="*/ 96 w 171"/>
                  <a:gd name="T55" fmla="*/ 138 h 273"/>
                  <a:gd name="T56" fmla="*/ 98 w 171"/>
                  <a:gd name="T57" fmla="*/ 141 h 273"/>
                  <a:gd name="T58" fmla="*/ 78 w 171"/>
                  <a:gd name="T59" fmla="*/ 152 h 273"/>
                  <a:gd name="T60" fmla="*/ 69 w 171"/>
                  <a:gd name="T61" fmla="*/ 161 h 273"/>
                  <a:gd name="T62" fmla="*/ 53 w 171"/>
                  <a:gd name="T63" fmla="*/ 170 h 273"/>
                  <a:gd name="T64" fmla="*/ 48 w 171"/>
                  <a:gd name="T65" fmla="*/ 188 h 273"/>
                  <a:gd name="T66" fmla="*/ 64 w 171"/>
                  <a:gd name="T67" fmla="*/ 186 h 273"/>
                  <a:gd name="T68" fmla="*/ 76 w 171"/>
                  <a:gd name="T69" fmla="*/ 180 h 273"/>
                  <a:gd name="T70" fmla="*/ 98 w 171"/>
                  <a:gd name="T71" fmla="*/ 175 h 273"/>
                  <a:gd name="T72" fmla="*/ 91 w 171"/>
                  <a:gd name="T73" fmla="*/ 186 h 273"/>
                  <a:gd name="T74" fmla="*/ 69 w 171"/>
                  <a:gd name="T75" fmla="*/ 195 h 273"/>
                  <a:gd name="T76" fmla="*/ 74 w 171"/>
                  <a:gd name="T77" fmla="*/ 205 h 273"/>
                  <a:gd name="T78" fmla="*/ 60 w 171"/>
                  <a:gd name="T79" fmla="*/ 202 h 273"/>
                  <a:gd name="T80" fmla="*/ 58 w 171"/>
                  <a:gd name="T81" fmla="*/ 230 h 273"/>
                  <a:gd name="T82" fmla="*/ 80 w 171"/>
                  <a:gd name="T83" fmla="*/ 241 h 273"/>
                  <a:gd name="T84" fmla="*/ 87 w 171"/>
                  <a:gd name="T85" fmla="*/ 250 h 273"/>
                  <a:gd name="T86" fmla="*/ 91 w 171"/>
                  <a:gd name="T87" fmla="*/ 273 h 273"/>
                  <a:gd name="T88" fmla="*/ 101 w 171"/>
                  <a:gd name="T89" fmla="*/ 264 h 273"/>
                  <a:gd name="T90" fmla="*/ 107 w 171"/>
                  <a:gd name="T91" fmla="*/ 245 h 273"/>
                  <a:gd name="T92" fmla="*/ 110 w 171"/>
                  <a:gd name="T93" fmla="*/ 216 h 273"/>
                  <a:gd name="T94" fmla="*/ 121 w 171"/>
                  <a:gd name="T95" fmla="*/ 207 h 273"/>
                  <a:gd name="T96" fmla="*/ 123 w 171"/>
                  <a:gd name="T97" fmla="*/ 168 h 273"/>
                  <a:gd name="T98" fmla="*/ 133 w 171"/>
                  <a:gd name="T99" fmla="*/ 148 h 273"/>
                  <a:gd name="T100" fmla="*/ 142 w 171"/>
                  <a:gd name="T101" fmla="*/ 125 h 273"/>
                  <a:gd name="T102" fmla="*/ 166 w 171"/>
                  <a:gd name="T103" fmla="*/ 116 h 273"/>
                  <a:gd name="T104" fmla="*/ 153 w 171"/>
                  <a:gd name="T105" fmla="*/ 95 h 273"/>
                  <a:gd name="T106" fmla="*/ 128 w 171"/>
                  <a:gd name="T107" fmla="*/ 66 h 273"/>
                  <a:gd name="T108" fmla="*/ 119 w 171"/>
                  <a:gd name="T109" fmla="*/ 36 h 273"/>
                  <a:gd name="T110" fmla="*/ 108 w 171"/>
                  <a:gd name="T111" fmla="*/ 55 h 273"/>
                  <a:gd name="T112" fmla="*/ 112 w 171"/>
                  <a:gd name="T113" fmla="*/ 39 h 273"/>
                  <a:gd name="T114" fmla="*/ 98 w 171"/>
                  <a:gd name="T115" fmla="*/ 13 h 273"/>
                  <a:gd name="T116" fmla="*/ 83 w 171"/>
                  <a:gd name="T117" fmla="*/ 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1" h="273">
                    <a:moveTo>
                      <a:pt x="83" y="5"/>
                    </a:moveTo>
                    <a:lnTo>
                      <a:pt x="83" y="7"/>
                    </a:lnTo>
                    <a:lnTo>
                      <a:pt x="85" y="11"/>
                    </a:lnTo>
                    <a:lnTo>
                      <a:pt x="80" y="13"/>
                    </a:lnTo>
                    <a:lnTo>
                      <a:pt x="80" y="27"/>
                    </a:lnTo>
                    <a:lnTo>
                      <a:pt x="80" y="27"/>
                    </a:lnTo>
                    <a:lnTo>
                      <a:pt x="82" y="38"/>
                    </a:lnTo>
                    <a:lnTo>
                      <a:pt x="82" y="39"/>
                    </a:lnTo>
                    <a:lnTo>
                      <a:pt x="83" y="64"/>
                    </a:lnTo>
                    <a:lnTo>
                      <a:pt x="83" y="68"/>
                    </a:lnTo>
                    <a:lnTo>
                      <a:pt x="85" y="75"/>
                    </a:lnTo>
                    <a:lnTo>
                      <a:pt x="92" y="95"/>
                    </a:lnTo>
                    <a:lnTo>
                      <a:pt x="92" y="95"/>
                    </a:lnTo>
                    <a:lnTo>
                      <a:pt x="89" y="95"/>
                    </a:lnTo>
                    <a:lnTo>
                      <a:pt x="85" y="91"/>
                    </a:lnTo>
                    <a:lnTo>
                      <a:pt x="78" y="73"/>
                    </a:lnTo>
                    <a:lnTo>
                      <a:pt x="76" y="73"/>
                    </a:lnTo>
                    <a:lnTo>
                      <a:pt x="76" y="75"/>
                    </a:lnTo>
                    <a:lnTo>
                      <a:pt x="74" y="77"/>
                    </a:lnTo>
                    <a:lnTo>
                      <a:pt x="74" y="75"/>
                    </a:lnTo>
                    <a:lnTo>
                      <a:pt x="76" y="70"/>
                    </a:lnTo>
                    <a:lnTo>
                      <a:pt x="71" y="30"/>
                    </a:lnTo>
                    <a:lnTo>
                      <a:pt x="69" y="27"/>
                    </a:lnTo>
                    <a:lnTo>
                      <a:pt x="69" y="25"/>
                    </a:lnTo>
                    <a:lnTo>
                      <a:pt x="64" y="23"/>
                    </a:lnTo>
                    <a:lnTo>
                      <a:pt x="60" y="20"/>
                    </a:lnTo>
                    <a:lnTo>
                      <a:pt x="57" y="29"/>
                    </a:lnTo>
                    <a:lnTo>
                      <a:pt x="53" y="32"/>
                    </a:lnTo>
                    <a:lnTo>
                      <a:pt x="53" y="34"/>
                    </a:lnTo>
                    <a:lnTo>
                      <a:pt x="51" y="38"/>
                    </a:lnTo>
                    <a:lnTo>
                      <a:pt x="49" y="41"/>
                    </a:lnTo>
                    <a:lnTo>
                      <a:pt x="55" y="68"/>
                    </a:lnTo>
                    <a:lnTo>
                      <a:pt x="57" y="70"/>
                    </a:lnTo>
                    <a:lnTo>
                      <a:pt x="53" y="70"/>
                    </a:lnTo>
                    <a:lnTo>
                      <a:pt x="48" y="59"/>
                    </a:lnTo>
                    <a:lnTo>
                      <a:pt x="46" y="54"/>
                    </a:lnTo>
                    <a:lnTo>
                      <a:pt x="44" y="48"/>
                    </a:lnTo>
                    <a:lnTo>
                      <a:pt x="42" y="52"/>
                    </a:lnTo>
                    <a:lnTo>
                      <a:pt x="41" y="55"/>
                    </a:lnTo>
                    <a:lnTo>
                      <a:pt x="41" y="52"/>
                    </a:lnTo>
                    <a:lnTo>
                      <a:pt x="41" y="48"/>
                    </a:lnTo>
                    <a:lnTo>
                      <a:pt x="39" y="46"/>
                    </a:lnTo>
                    <a:lnTo>
                      <a:pt x="42" y="43"/>
                    </a:lnTo>
                    <a:lnTo>
                      <a:pt x="44" y="39"/>
                    </a:lnTo>
                    <a:lnTo>
                      <a:pt x="39" y="39"/>
                    </a:lnTo>
                    <a:lnTo>
                      <a:pt x="30" y="43"/>
                    </a:lnTo>
                    <a:lnTo>
                      <a:pt x="26" y="41"/>
                    </a:lnTo>
                    <a:lnTo>
                      <a:pt x="28" y="39"/>
                    </a:lnTo>
                    <a:lnTo>
                      <a:pt x="32" y="38"/>
                    </a:lnTo>
                    <a:lnTo>
                      <a:pt x="35" y="32"/>
                    </a:lnTo>
                    <a:lnTo>
                      <a:pt x="37" y="29"/>
                    </a:lnTo>
                    <a:lnTo>
                      <a:pt x="41" y="29"/>
                    </a:lnTo>
                    <a:lnTo>
                      <a:pt x="42" y="27"/>
                    </a:lnTo>
                    <a:lnTo>
                      <a:pt x="44" y="30"/>
                    </a:lnTo>
                    <a:lnTo>
                      <a:pt x="48" y="27"/>
                    </a:lnTo>
                    <a:lnTo>
                      <a:pt x="49" y="25"/>
                    </a:lnTo>
                    <a:lnTo>
                      <a:pt x="49" y="21"/>
                    </a:lnTo>
                    <a:lnTo>
                      <a:pt x="48" y="14"/>
                    </a:lnTo>
                    <a:lnTo>
                      <a:pt x="46" y="14"/>
                    </a:lnTo>
                    <a:lnTo>
                      <a:pt x="41" y="16"/>
                    </a:lnTo>
                    <a:lnTo>
                      <a:pt x="35" y="21"/>
                    </a:lnTo>
                    <a:lnTo>
                      <a:pt x="28" y="23"/>
                    </a:lnTo>
                    <a:lnTo>
                      <a:pt x="28" y="21"/>
                    </a:lnTo>
                    <a:lnTo>
                      <a:pt x="26" y="21"/>
                    </a:lnTo>
                    <a:lnTo>
                      <a:pt x="24" y="14"/>
                    </a:lnTo>
                    <a:lnTo>
                      <a:pt x="23" y="16"/>
                    </a:lnTo>
                    <a:lnTo>
                      <a:pt x="24" y="29"/>
                    </a:lnTo>
                    <a:lnTo>
                      <a:pt x="23" y="30"/>
                    </a:lnTo>
                    <a:lnTo>
                      <a:pt x="21" y="27"/>
                    </a:lnTo>
                    <a:lnTo>
                      <a:pt x="21" y="30"/>
                    </a:lnTo>
                    <a:lnTo>
                      <a:pt x="14" y="16"/>
                    </a:lnTo>
                    <a:lnTo>
                      <a:pt x="12" y="20"/>
                    </a:lnTo>
                    <a:lnTo>
                      <a:pt x="12" y="21"/>
                    </a:lnTo>
                    <a:lnTo>
                      <a:pt x="10" y="25"/>
                    </a:lnTo>
                    <a:lnTo>
                      <a:pt x="8" y="21"/>
                    </a:lnTo>
                    <a:lnTo>
                      <a:pt x="7" y="23"/>
                    </a:lnTo>
                    <a:lnTo>
                      <a:pt x="7" y="25"/>
                    </a:lnTo>
                    <a:lnTo>
                      <a:pt x="8" y="32"/>
                    </a:lnTo>
                    <a:lnTo>
                      <a:pt x="8" y="34"/>
                    </a:lnTo>
                    <a:lnTo>
                      <a:pt x="5" y="34"/>
                    </a:lnTo>
                    <a:lnTo>
                      <a:pt x="3" y="29"/>
                    </a:lnTo>
                    <a:lnTo>
                      <a:pt x="1" y="29"/>
                    </a:lnTo>
                    <a:lnTo>
                      <a:pt x="1" y="34"/>
                    </a:lnTo>
                    <a:lnTo>
                      <a:pt x="5" y="41"/>
                    </a:lnTo>
                    <a:lnTo>
                      <a:pt x="3" y="43"/>
                    </a:lnTo>
                    <a:lnTo>
                      <a:pt x="1" y="41"/>
                    </a:lnTo>
                    <a:lnTo>
                      <a:pt x="0" y="43"/>
                    </a:lnTo>
                    <a:lnTo>
                      <a:pt x="0" y="46"/>
                    </a:lnTo>
                    <a:lnTo>
                      <a:pt x="1" y="46"/>
                    </a:lnTo>
                    <a:lnTo>
                      <a:pt x="1" y="63"/>
                    </a:lnTo>
                    <a:lnTo>
                      <a:pt x="3" y="59"/>
                    </a:lnTo>
                    <a:lnTo>
                      <a:pt x="5" y="68"/>
                    </a:lnTo>
                    <a:lnTo>
                      <a:pt x="5" y="64"/>
                    </a:lnTo>
                    <a:lnTo>
                      <a:pt x="7" y="68"/>
                    </a:lnTo>
                    <a:lnTo>
                      <a:pt x="7" y="71"/>
                    </a:lnTo>
                    <a:lnTo>
                      <a:pt x="7" y="73"/>
                    </a:lnTo>
                    <a:lnTo>
                      <a:pt x="7" y="79"/>
                    </a:lnTo>
                    <a:lnTo>
                      <a:pt x="8" y="80"/>
                    </a:lnTo>
                    <a:lnTo>
                      <a:pt x="12" y="79"/>
                    </a:lnTo>
                    <a:lnTo>
                      <a:pt x="14" y="70"/>
                    </a:lnTo>
                    <a:lnTo>
                      <a:pt x="10" y="64"/>
                    </a:lnTo>
                    <a:lnTo>
                      <a:pt x="16" y="66"/>
                    </a:lnTo>
                    <a:lnTo>
                      <a:pt x="17" y="70"/>
                    </a:lnTo>
                    <a:lnTo>
                      <a:pt x="17" y="68"/>
                    </a:lnTo>
                    <a:lnTo>
                      <a:pt x="19" y="64"/>
                    </a:lnTo>
                    <a:lnTo>
                      <a:pt x="21" y="64"/>
                    </a:lnTo>
                    <a:lnTo>
                      <a:pt x="19" y="68"/>
                    </a:lnTo>
                    <a:lnTo>
                      <a:pt x="21" y="71"/>
                    </a:lnTo>
                    <a:lnTo>
                      <a:pt x="17" y="73"/>
                    </a:lnTo>
                    <a:lnTo>
                      <a:pt x="17" y="77"/>
                    </a:lnTo>
                    <a:lnTo>
                      <a:pt x="17" y="79"/>
                    </a:lnTo>
                    <a:lnTo>
                      <a:pt x="16" y="80"/>
                    </a:lnTo>
                    <a:lnTo>
                      <a:pt x="16" y="84"/>
                    </a:lnTo>
                    <a:lnTo>
                      <a:pt x="19" y="88"/>
                    </a:lnTo>
                    <a:lnTo>
                      <a:pt x="19" y="91"/>
                    </a:lnTo>
                    <a:lnTo>
                      <a:pt x="23" y="91"/>
                    </a:lnTo>
                    <a:lnTo>
                      <a:pt x="26" y="89"/>
                    </a:lnTo>
                    <a:lnTo>
                      <a:pt x="26" y="95"/>
                    </a:lnTo>
                    <a:lnTo>
                      <a:pt x="26" y="96"/>
                    </a:lnTo>
                    <a:lnTo>
                      <a:pt x="16" y="95"/>
                    </a:lnTo>
                    <a:lnTo>
                      <a:pt x="14" y="91"/>
                    </a:lnTo>
                    <a:lnTo>
                      <a:pt x="10" y="91"/>
                    </a:lnTo>
                    <a:lnTo>
                      <a:pt x="17" y="100"/>
                    </a:lnTo>
                    <a:lnTo>
                      <a:pt x="19" y="102"/>
                    </a:lnTo>
                    <a:lnTo>
                      <a:pt x="19" y="104"/>
                    </a:lnTo>
                    <a:lnTo>
                      <a:pt x="16" y="104"/>
                    </a:lnTo>
                    <a:lnTo>
                      <a:pt x="16" y="111"/>
                    </a:lnTo>
                    <a:lnTo>
                      <a:pt x="19" y="113"/>
                    </a:lnTo>
                    <a:lnTo>
                      <a:pt x="19" y="116"/>
                    </a:lnTo>
                    <a:lnTo>
                      <a:pt x="21" y="118"/>
                    </a:lnTo>
                    <a:lnTo>
                      <a:pt x="21" y="120"/>
                    </a:lnTo>
                    <a:lnTo>
                      <a:pt x="32" y="127"/>
                    </a:lnTo>
                    <a:lnTo>
                      <a:pt x="37" y="127"/>
                    </a:lnTo>
                    <a:lnTo>
                      <a:pt x="39" y="123"/>
                    </a:lnTo>
                    <a:lnTo>
                      <a:pt x="39" y="129"/>
                    </a:lnTo>
                    <a:lnTo>
                      <a:pt x="35" y="130"/>
                    </a:lnTo>
                    <a:lnTo>
                      <a:pt x="28" y="130"/>
                    </a:lnTo>
                    <a:lnTo>
                      <a:pt x="28" y="132"/>
                    </a:lnTo>
                    <a:lnTo>
                      <a:pt x="30" y="136"/>
                    </a:lnTo>
                    <a:lnTo>
                      <a:pt x="30" y="139"/>
                    </a:lnTo>
                    <a:lnTo>
                      <a:pt x="33" y="141"/>
                    </a:lnTo>
                    <a:lnTo>
                      <a:pt x="37" y="139"/>
                    </a:lnTo>
                    <a:lnTo>
                      <a:pt x="37" y="145"/>
                    </a:lnTo>
                    <a:lnTo>
                      <a:pt x="35" y="148"/>
                    </a:lnTo>
                    <a:lnTo>
                      <a:pt x="37" y="152"/>
                    </a:lnTo>
                    <a:lnTo>
                      <a:pt x="37" y="150"/>
                    </a:lnTo>
                    <a:lnTo>
                      <a:pt x="42" y="152"/>
                    </a:lnTo>
                    <a:lnTo>
                      <a:pt x="44" y="150"/>
                    </a:lnTo>
                    <a:lnTo>
                      <a:pt x="44" y="154"/>
                    </a:lnTo>
                    <a:lnTo>
                      <a:pt x="46" y="152"/>
                    </a:lnTo>
                    <a:lnTo>
                      <a:pt x="49" y="154"/>
                    </a:lnTo>
                    <a:lnTo>
                      <a:pt x="51" y="150"/>
                    </a:lnTo>
                    <a:lnTo>
                      <a:pt x="55" y="150"/>
                    </a:lnTo>
                    <a:lnTo>
                      <a:pt x="55" y="145"/>
                    </a:lnTo>
                    <a:lnTo>
                      <a:pt x="55" y="143"/>
                    </a:lnTo>
                    <a:lnTo>
                      <a:pt x="57" y="139"/>
                    </a:lnTo>
                    <a:lnTo>
                      <a:pt x="60" y="138"/>
                    </a:lnTo>
                    <a:lnTo>
                      <a:pt x="62" y="139"/>
                    </a:lnTo>
                    <a:lnTo>
                      <a:pt x="64" y="139"/>
                    </a:lnTo>
                    <a:lnTo>
                      <a:pt x="62" y="136"/>
                    </a:lnTo>
                    <a:lnTo>
                      <a:pt x="60" y="134"/>
                    </a:lnTo>
                    <a:lnTo>
                      <a:pt x="58" y="132"/>
                    </a:lnTo>
                    <a:lnTo>
                      <a:pt x="62" y="113"/>
                    </a:lnTo>
                    <a:lnTo>
                      <a:pt x="64" y="111"/>
                    </a:lnTo>
                    <a:lnTo>
                      <a:pt x="66" y="111"/>
                    </a:lnTo>
                    <a:lnTo>
                      <a:pt x="66" y="118"/>
                    </a:lnTo>
                    <a:lnTo>
                      <a:pt x="67" y="121"/>
                    </a:lnTo>
                    <a:lnTo>
                      <a:pt x="69" y="121"/>
                    </a:lnTo>
                    <a:lnTo>
                      <a:pt x="71" y="116"/>
                    </a:lnTo>
                    <a:lnTo>
                      <a:pt x="73" y="107"/>
                    </a:lnTo>
                    <a:lnTo>
                      <a:pt x="74" y="102"/>
                    </a:lnTo>
                    <a:lnTo>
                      <a:pt x="76" y="105"/>
                    </a:lnTo>
                    <a:lnTo>
                      <a:pt x="76" y="111"/>
                    </a:lnTo>
                    <a:lnTo>
                      <a:pt x="73" y="121"/>
                    </a:lnTo>
                    <a:lnTo>
                      <a:pt x="74" y="129"/>
                    </a:lnTo>
                    <a:lnTo>
                      <a:pt x="76" y="130"/>
                    </a:lnTo>
                    <a:lnTo>
                      <a:pt x="78" y="134"/>
                    </a:lnTo>
                    <a:lnTo>
                      <a:pt x="85" y="130"/>
                    </a:lnTo>
                    <a:lnTo>
                      <a:pt x="85" y="127"/>
                    </a:lnTo>
                    <a:lnTo>
                      <a:pt x="89" y="127"/>
                    </a:lnTo>
                    <a:lnTo>
                      <a:pt x="91" y="123"/>
                    </a:lnTo>
                    <a:lnTo>
                      <a:pt x="91" y="114"/>
                    </a:lnTo>
                    <a:lnTo>
                      <a:pt x="92" y="113"/>
                    </a:lnTo>
                    <a:lnTo>
                      <a:pt x="94" y="111"/>
                    </a:lnTo>
                    <a:lnTo>
                      <a:pt x="94" y="111"/>
                    </a:lnTo>
                    <a:lnTo>
                      <a:pt x="96" y="116"/>
                    </a:lnTo>
                    <a:lnTo>
                      <a:pt x="98" y="116"/>
                    </a:lnTo>
                    <a:lnTo>
                      <a:pt x="94" y="121"/>
                    </a:lnTo>
                    <a:lnTo>
                      <a:pt x="92" y="123"/>
                    </a:lnTo>
                    <a:lnTo>
                      <a:pt x="92" y="127"/>
                    </a:lnTo>
                    <a:lnTo>
                      <a:pt x="91" y="129"/>
                    </a:lnTo>
                    <a:lnTo>
                      <a:pt x="91" y="132"/>
                    </a:lnTo>
                    <a:lnTo>
                      <a:pt x="91" y="134"/>
                    </a:lnTo>
                    <a:lnTo>
                      <a:pt x="92" y="134"/>
                    </a:lnTo>
                    <a:lnTo>
                      <a:pt x="94" y="132"/>
                    </a:lnTo>
                    <a:lnTo>
                      <a:pt x="96" y="138"/>
                    </a:lnTo>
                    <a:lnTo>
                      <a:pt x="99" y="138"/>
                    </a:lnTo>
                    <a:lnTo>
                      <a:pt x="105" y="134"/>
                    </a:lnTo>
                    <a:lnTo>
                      <a:pt x="107" y="136"/>
                    </a:lnTo>
                    <a:lnTo>
                      <a:pt x="105" y="138"/>
                    </a:lnTo>
                    <a:lnTo>
                      <a:pt x="101" y="138"/>
                    </a:lnTo>
                    <a:lnTo>
                      <a:pt x="99" y="139"/>
                    </a:lnTo>
                    <a:lnTo>
                      <a:pt x="98" y="141"/>
                    </a:lnTo>
                    <a:lnTo>
                      <a:pt x="96" y="143"/>
                    </a:lnTo>
                    <a:lnTo>
                      <a:pt x="91" y="143"/>
                    </a:lnTo>
                    <a:lnTo>
                      <a:pt x="89" y="139"/>
                    </a:lnTo>
                    <a:lnTo>
                      <a:pt x="82" y="141"/>
                    </a:lnTo>
                    <a:lnTo>
                      <a:pt x="78" y="145"/>
                    </a:lnTo>
                    <a:lnTo>
                      <a:pt x="80" y="150"/>
                    </a:lnTo>
                    <a:lnTo>
                      <a:pt x="78" y="152"/>
                    </a:lnTo>
                    <a:lnTo>
                      <a:pt x="76" y="150"/>
                    </a:lnTo>
                    <a:lnTo>
                      <a:pt x="74" y="150"/>
                    </a:lnTo>
                    <a:lnTo>
                      <a:pt x="73" y="152"/>
                    </a:lnTo>
                    <a:lnTo>
                      <a:pt x="71" y="154"/>
                    </a:lnTo>
                    <a:lnTo>
                      <a:pt x="71" y="157"/>
                    </a:lnTo>
                    <a:lnTo>
                      <a:pt x="69" y="157"/>
                    </a:lnTo>
                    <a:lnTo>
                      <a:pt x="69" y="161"/>
                    </a:lnTo>
                    <a:lnTo>
                      <a:pt x="66" y="163"/>
                    </a:lnTo>
                    <a:lnTo>
                      <a:pt x="64" y="161"/>
                    </a:lnTo>
                    <a:lnTo>
                      <a:pt x="55" y="164"/>
                    </a:lnTo>
                    <a:lnTo>
                      <a:pt x="55" y="166"/>
                    </a:lnTo>
                    <a:lnTo>
                      <a:pt x="57" y="170"/>
                    </a:lnTo>
                    <a:lnTo>
                      <a:pt x="57" y="171"/>
                    </a:lnTo>
                    <a:lnTo>
                      <a:pt x="53" y="170"/>
                    </a:lnTo>
                    <a:lnTo>
                      <a:pt x="53" y="166"/>
                    </a:lnTo>
                    <a:lnTo>
                      <a:pt x="51" y="164"/>
                    </a:lnTo>
                    <a:lnTo>
                      <a:pt x="48" y="164"/>
                    </a:lnTo>
                    <a:lnTo>
                      <a:pt x="46" y="166"/>
                    </a:lnTo>
                    <a:lnTo>
                      <a:pt x="49" y="184"/>
                    </a:lnTo>
                    <a:lnTo>
                      <a:pt x="48" y="188"/>
                    </a:lnTo>
                    <a:lnTo>
                      <a:pt x="48" y="188"/>
                    </a:lnTo>
                    <a:lnTo>
                      <a:pt x="51" y="189"/>
                    </a:lnTo>
                    <a:lnTo>
                      <a:pt x="53" y="189"/>
                    </a:lnTo>
                    <a:lnTo>
                      <a:pt x="57" y="186"/>
                    </a:lnTo>
                    <a:lnTo>
                      <a:pt x="57" y="188"/>
                    </a:lnTo>
                    <a:lnTo>
                      <a:pt x="62" y="188"/>
                    </a:lnTo>
                    <a:lnTo>
                      <a:pt x="62" y="186"/>
                    </a:lnTo>
                    <a:lnTo>
                      <a:pt x="64" y="186"/>
                    </a:lnTo>
                    <a:lnTo>
                      <a:pt x="64" y="188"/>
                    </a:lnTo>
                    <a:lnTo>
                      <a:pt x="66" y="188"/>
                    </a:lnTo>
                    <a:lnTo>
                      <a:pt x="67" y="186"/>
                    </a:lnTo>
                    <a:lnTo>
                      <a:pt x="67" y="186"/>
                    </a:lnTo>
                    <a:lnTo>
                      <a:pt x="73" y="186"/>
                    </a:lnTo>
                    <a:lnTo>
                      <a:pt x="74" y="180"/>
                    </a:lnTo>
                    <a:lnTo>
                      <a:pt x="76" y="180"/>
                    </a:lnTo>
                    <a:lnTo>
                      <a:pt x="80" y="180"/>
                    </a:lnTo>
                    <a:lnTo>
                      <a:pt x="82" y="182"/>
                    </a:lnTo>
                    <a:lnTo>
                      <a:pt x="89" y="180"/>
                    </a:lnTo>
                    <a:lnTo>
                      <a:pt x="91" y="182"/>
                    </a:lnTo>
                    <a:lnTo>
                      <a:pt x="94" y="179"/>
                    </a:lnTo>
                    <a:lnTo>
                      <a:pt x="94" y="177"/>
                    </a:lnTo>
                    <a:lnTo>
                      <a:pt x="98" y="175"/>
                    </a:lnTo>
                    <a:lnTo>
                      <a:pt x="98" y="179"/>
                    </a:lnTo>
                    <a:lnTo>
                      <a:pt x="98" y="177"/>
                    </a:lnTo>
                    <a:lnTo>
                      <a:pt x="98" y="180"/>
                    </a:lnTo>
                    <a:lnTo>
                      <a:pt x="99" y="184"/>
                    </a:lnTo>
                    <a:lnTo>
                      <a:pt x="98" y="186"/>
                    </a:lnTo>
                    <a:lnTo>
                      <a:pt x="92" y="184"/>
                    </a:lnTo>
                    <a:lnTo>
                      <a:pt x="91" y="186"/>
                    </a:lnTo>
                    <a:lnTo>
                      <a:pt x="91" y="182"/>
                    </a:lnTo>
                    <a:lnTo>
                      <a:pt x="89" y="186"/>
                    </a:lnTo>
                    <a:lnTo>
                      <a:pt x="85" y="186"/>
                    </a:lnTo>
                    <a:lnTo>
                      <a:pt x="85" y="188"/>
                    </a:lnTo>
                    <a:lnTo>
                      <a:pt x="83" y="189"/>
                    </a:lnTo>
                    <a:lnTo>
                      <a:pt x="82" y="188"/>
                    </a:lnTo>
                    <a:lnTo>
                      <a:pt x="69" y="195"/>
                    </a:lnTo>
                    <a:lnTo>
                      <a:pt x="66" y="195"/>
                    </a:lnTo>
                    <a:lnTo>
                      <a:pt x="67" y="196"/>
                    </a:lnTo>
                    <a:lnTo>
                      <a:pt x="69" y="198"/>
                    </a:lnTo>
                    <a:lnTo>
                      <a:pt x="82" y="202"/>
                    </a:lnTo>
                    <a:lnTo>
                      <a:pt x="83" y="205"/>
                    </a:lnTo>
                    <a:lnTo>
                      <a:pt x="83" y="207"/>
                    </a:lnTo>
                    <a:lnTo>
                      <a:pt x="74" y="205"/>
                    </a:lnTo>
                    <a:lnTo>
                      <a:pt x="74" y="204"/>
                    </a:lnTo>
                    <a:lnTo>
                      <a:pt x="71" y="205"/>
                    </a:lnTo>
                    <a:lnTo>
                      <a:pt x="67" y="204"/>
                    </a:lnTo>
                    <a:lnTo>
                      <a:pt x="66" y="204"/>
                    </a:lnTo>
                    <a:lnTo>
                      <a:pt x="64" y="207"/>
                    </a:lnTo>
                    <a:lnTo>
                      <a:pt x="62" y="209"/>
                    </a:lnTo>
                    <a:lnTo>
                      <a:pt x="60" y="202"/>
                    </a:lnTo>
                    <a:lnTo>
                      <a:pt x="57" y="200"/>
                    </a:lnTo>
                    <a:lnTo>
                      <a:pt x="53" y="205"/>
                    </a:lnTo>
                    <a:lnTo>
                      <a:pt x="53" y="211"/>
                    </a:lnTo>
                    <a:lnTo>
                      <a:pt x="53" y="214"/>
                    </a:lnTo>
                    <a:lnTo>
                      <a:pt x="57" y="225"/>
                    </a:lnTo>
                    <a:lnTo>
                      <a:pt x="57" y="225"/>
                    </a:lnTo>
                    <a:lnTo>
                      <a:pt x="58" y="230"/>
                    </a:lnTo>
                    <a:lnTo>
                      <a:pt x="67" y="234"/>
                    </a:lnTo>
                    <a:lnTo>
                      <a:pt x="69" y="234"/>
                    </a:lnTo>
                    <a:lnTo>
                      <a:pt x="71" y="238"/>
                    </a:lnTo>
                    <a:lnTo>
                      <a:pt x="71" y="241"/>
                    </a:lnTo>
                    <a:lnTo>
                      <a:pt x="73" y="243"/>
                    </a:lnTo>
                    <a:lnTo>
                      <a:pt x="78" y="243"/>
                    </a:lnTo>
                    <a:lnTo>
                      <a:pt x="80" y="241"/>
                    </a:lnTo>
                    <a:lnTo>
                      <a:pt x="82" y="243"/>
                    </a:lnTo>
                    <a:lnTo>
                      <a:pt x="83" y="241"/>
                    </a:lnTo>
                    <a:lnTo>
                      <a:pt x="87" y="241"/>
                    </a:lnTo>
                    <a:lnTo>
                      <a:pt x="89" y="243"/>
                    </a:lnTo>
                    <a:lnTo>
                      <a:pt x="91" y="243"/>
                    </a:lnTo>
                    <a:lnTo>
                      <a:pt x="91" y="245"/>
                    </a:lnTo>
                    <a:lnTo>
                      <a:pt x="87" y="250"/>
                    </a:lnTo>
                    <a:lnTo>
                      <a:pt x="87" y="246"/>
                    </a:lnTo>
                    <a:lnTo>
                      <a:pt x="83" y="246"/>
                    </a:lnTo>
                    <a:lnTo>
                      <a:pt x="78" y="250"/>
                    </a:lnTo>
                    <a:lnTo>
                      <a:pt x="78" y="252"/>
                    </a:lnTo>
                    <a:lnTo>
                      <a:pt x="89" y="263"/>
                    </a:lnTo>
                    <a:lnTo>
                      <a:pt x="91" y="266"/>
                    </a:lnTo>
                    <a:lnTo>
                      <a:pt x="91" y="273"/>
                    </a:lnTo>
                    <a:lnTo>
                      <a:pt x="91" y="271"/>
                    </a:lnTo>
                    <a:lnTo>
                      <a:pt x="92" y="268"/>
                    </a:lnTo>
                    <a:lnTo>
                      <a:pt x="92" y="270"/>
                    </a:lnTo>
                    <a:lnTo>
                      <a:pt x="96" y="273"/>
                    </a:lnTo>
                    <a:lnTo>
                      <a:pt x="98" y="273"/>
                    </a:lnTo>
                    <a:lnTo>
                      <a:pt x="101" y="270"/>
                    </a:lnTo>
                    <a:lnTo>
                      <a:pt x="101" y="264"/>
                    </a:lnTo>
                    <a:lnTo>
                      <a:pt x="103" y="264"/>
                    </a:lnTo>
                    <a:lnTo>
                      <a:pt x="101" y="259"/>
                    </a:lnTo>
                    <a:lnTo>
                      <a:pt x="101" y="255"/>
                    </a:lnTo>
                    <a:lnTo>
                      <a:pt x="101" y="254"/>
                    </a:lnTo>
                    <a:lnTo>
                      <a:pt x="101" y="252"/>
                    </a:lnTo>
                    <a:lnTo>
                      <a:pt x="105" y="248"/>
                    </a:lnTo>
                    <a:lnTo>
                      <a:pt x="107" y="245"/>
                    </a:lnTo>
                    <a:lnTo>
                      <a:pt x="105" y="245"/>
                    </a:lnTo>
                    <a:lnTo>
                      <a:pt x="107" y="241"/>
                    </a:lnTo>
                    <a:lnTo>
                      <a:pt x="105" y="239"/>
                    </a:lnTo>
                    <a:lnTo>
                      <a:pt x="107" y="234"/>
                    </a:lnTo>
                    <a:lnTo>
                      <a:pt x="107" y="225"/>
                    </a:lnTo>
                    <a:lnTo>
                      <a:pt x="107" y="221"/>
                    </a:lnTo>
                    <a:lnTo>
                      <a:pt x="110" y="216"/>
                    </a:lnTo>
                    <a:lnTo>
                      <a:pt x="114" y="216"/>
                    </a:lnTo>
                    <a:lnTo>
                      <a:pt x="112" y="213"/>
                    </a:lnTo>
                    <a:lnTo>
                      <a:pt x="110" y="213"/>
                    </a:lnTo>
                    <a:lnTo>
                      <a:pt x="110" y="211"/>
                    </a:lnTo>
                    <a:lnTo>
                      <a:pt x="117" y="207"/>
                    </a:lnTo>
                    <a:lnTo>
                      <a:pt x="119" y="207"/>
                    </a:lnTo>
                    <a:lnTo>
                      <a:pt x="121" y="207"/>
                    </a:lnTo>
                    <a:lnTo>
                      <a:pt x="121" y="205"/>
                    </a:lnTo>
                    <a:lnTo>
                      <a:pt x="121" y="204"/>
                    </a:lnTo>
                    <a:lnTo>
                      <a:pt x="123" y="193"/>
                    </a:lnTo>
                    <a:lnTo>
                      <a:pt x="123" y="193"/>
                    </a:lnTo>
                    <a:lnTo>
                      <a:pt x="123" y="171"/>
                    </a:lnTo>
                    <a:lnTo>
                      <a:pt x="123" y="170"/>
                    </a:lnTo>
                    <a:lnTo>
                      <a:pt x="123" y="168"/>
                    </a:lnTo>
                    <a:lnTo>
                      <a:pt x="128" y="166"/>
                    </a:lnTo>
                    <a:lnTo>
                      <a:pt x="132" y="168"/>
                    </a:lnTo>
                    <a:lnTo>
                      <a:pt x="132" y="166"/>
                    </a:lnTo>
                    <a:lnTo>
                      <a:pt x="132" y="154"/>
                    </a:lnTo>
                    <a:lnTo>
                      <a:pt x="133" y="152"/>
                    </a:lnTo>
                    <a:lnTo>
                      <a:pt x="132" y="148"/>
                    </a:lnTo>
                    <a:lnTo>
                      <a:pt x="133" y="148"/>
                    </a:lnTo>
                    <a:lnTo>
                      <a:pt x="133" y="146"/>
                    </a:lnTo>
                    <a:lnTo>
                      <a:pt x="133" y="138"/>
                    </a:lnTo>
                    <a:lnTo>
                      <a:pt x="132" y="136"/>
                    </a:lnTo>
                    <a:lnTo>
                      <a:pt x="137" y="134"/>
                    </a:lnTo>
                    <a:lnTo>
                      <a:pt x="139" y="132"/>
                    </a:lnTo>
                    <a:lnTo>
                      <a:pt x="141" y="132"/>
                    </a:lnTo>
                    <a:lnTo>
                      <a:pt x="142" y="125"/>
                    </a:lnTo>
                    <a:lnTo>
                      <a:pt x="141" y="123"/>
                    </a:lnTo>
                    <a:lnTo>
                      <a:pt x="144" y="121"/>
                    </a:lnTo>
                    <a:lnTo>
                      <a:pt x="148" y="123"/>
                    </a:lnTo>
                    <a:lnTo>
                      <a:pt x="151" y="118"/>
                    </a:lnTo>
                    <a:lnTo>
                      <a:pt x="155" y="118"/>
                    </a:lnTo>
                    <a:lnTo>
                      <a:pt x="160" y="114"/>
                    </a:lnTo>
                    <a:lnTo>
                      <a:pt x="166" y="116"/>
                    </a:lnTo>
                    <a:lnTo>
                      <a:pt x="169" y="116"/>
                    </a:lnTo>
                    <a:lnTo>
                      <a:pt x="169" y="114"/>
                    </a:lnTo>
                    <a:lnTo>
                      <a:pt x="171" y="107"/>
                    </a:lnTo>
                    <a:lnTo>
                      <a:pt x="171" y="100"/>
                    </a:lnTo>
                    <a:lnTo>
                      <a:pt x="169" y="98"/>
                    </a:lnTo>
                    <a:lnTo>
                      <a:pt x="166" y="98"/>
                    </a:lnTo>
                    <a:lnTo>
                      <a:pt x="153" y="95"/>
                    </a:lnTo>
                    <a:lnTo>
                      <a:pt x="151" y="91"/>
                    </a:lnTo>
                    <a:lnTo>
                      <a:pt x="146" y="88"/>
                    </a:lnTo>
                    <a:lnTo>
                      <a:pt x="142" y="77"/>
                    </a:lnTo>
                    <a:lnTo>
                      <a:pt x="141" y="77"/>
                    </a:lnTo>
                    <a:lnTo>
                      <a:pt x="139" y="73"/>
                    </a:lnTo>
                    <a:lnTo>
                      <a:pt x="128" y="73"/>
                    </a:lnTo>
                    <a:lnTo>
                      <a:pt x="128" y="66"/>
                    </a:lnTo>
                    <a:lnTo>
                      <a:pt x="128" y="63"/>
                    </a:lnTo>
                    <a:lnTo>
                      <a:pt x="128" y="61"/>
                    </a:lnTo>
                    <a:lnTo>
                      <a:pt x="130" y="59"/>
                    </a:lnTo>
                    <a:lnTo>
                      <a:pt x="130" y="55"/>
                    </a:lnTo>
                    <a:lnTo>
                      <a:pt x="123" y="38"/>
                    </a:lnTo>
                    <a:lnTo>
                      <a:pt x="121" y="38"/>
                    </a:lnTo>
                    <a:lnTo>
                      <a:pt x="119" y="36"/>
                    </a:lnTo>
                    <a:lnTo>
                      <a:pt x="117" y="36"/>
                    </a:lnTo>
                    <a:lnTo>
                      <a:pt x="116" y="41"/>
                    </a:lnTo>
                    <a:lnTo>
                      <a:pt x="116" y="45"/>
                    </a:lnTo>
                    <a:lnTo>
                      <a:pt x="117" y="48"/>
                    </a:lnTo>
                    <a:lnTo>
                      <a:pt x="114" y="52"/>
                    </a:lnTo>
                    <a:lnTo>
                      <a:pt x="110" y="59"/>
                    </a:lnTo>
                    <a:lnTo>
                      <a:pt x="108" y="55"/>
                    </a:lnTo>
                    <a:lnTo>
                      <a:pt x="110" y="54"/>
                    </a:lnTo>
                    <a:lnTo>
                      <a:pt x="112" y="50"/>
                    </a:lnTo>
                    <a:lnTo>
                      <a:pt x="110" y="45"/>
                    </a:lnTo>
                    <a:lnTo>
                      <a:pt x="110" y="43"/>
                    </a:lnTo>
                    <a:lnTo>
                      <a:pt x="108" y="43"/>
                    </a:lnTo>
                    <a:lnTo>
                      <a:pt x="110" y="41"/>
                    </a:lnTo>
                    <a:lnTo>
                      <a:pt x="112" y="39"/>
                    </a:lnTo>
                    <a:lnTo>
                      <a:pt x="112" y="30"/>
                    </a:lnTo>
                    <a:lnTo>
                      <a:pt x="114" y="29"/>
                    </a:lnTo>
                    <a:lnTo>
                      <a:pt x="116" y="23"/>
                    </a:lnTo>
                    <a:lnTo>
                      <a:pt x="101" y="5"/>
                    </a:lnTo>
                    <a:lnTo>
                      <a:pt x="98" y="7"/>
                    </a:lnTo>
                    <a:lnTo>
                      <a:pt x="98" y="11"/>
                    </a:lnTo>
                    <a:lnTo>
                      <a:pt x="98" y="13"/>
                    </a:lnTo>
                    <a:lnTo>
                      <a:pt x="96" y="11"/>
                    </a:lnTo>
                    <a:lnTo>
                      <a:pt x="94" y="11"/>
                    </a:lnTo>
                    <a:lnTo>
                      <a:pt x="94" y="0"/>
                    </a:lnTo>
                    <a:lnTo>
                      <a:pt x="85" y="0"/>
                    </a:lnTo>
                    <a:lnTo>
                      <a:pt x="83" y="0"/>
                    </a:lnTo>
                    <a:lnTo>
                      <a:pt x="83" y="5"/>
                    </a:lnTo>
                    <a:lnTo>
                      <a:pt x="83"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75" name="Freeform 2225"/>
              <p:cNvSpPr>
                <a:spLocks/>
              </p:cNvSpPr>
              <p:nvPr/>
            </p:nvSpPr>
            <p:spPr bwMode="auto">
              <a:xfrm>
                <a:off x="2864" y="584"/>
                <a:ext cx="27" cy="54"/>
              </a:xfrm>
              <a:custGeom>
                <a:avLst/>
                <a:gdLst>
                  <a:gd name="T0" fmla="*/ 25 w 27"/>
                  <a:gd name="T1" fmla="*/ 48 h 54"/>
                  <a:gd name="T2" fmla="*/ 23 w 27"/>
                  <a:gd name="T3" fmla="*/ 45 h 54"/>
                  <a:gd name="T4" fmla="*/ 21 w 27"/>
                  <a:gd name="T5" fmla="*/ 40 h 54"/>
                  <a:gd name="T6" fmla="*/ 21 w 27"/>
                  <a:gd name="T7" fmla="*/ 38 h 54"/>
                  <a:gd name="T8" fmla="*/ 21 w 27"/>
                  <a:gd name="T9" fmla="*/ 38 h 54"/>
                  <a:gd name="T10" fmla="*/ 20 w 27"/>
                  <a:gd name="T11" fmla="*/ 36 h 54"/>
                  <a:gd name="T12" fmla="*/ 16 w 27"/>
                  <a:gd name="T13" fmla="*/ 31 h 54"/>
                  <a:gd name="T14" fmla="*/ 14 w 27"/>
                  <a:gd name="T15" fmla="*/ 29 h 54"/>
                  <a:gd name="T16" fmla="*/ 12 w 27"/>
                  <a:gd name="T17" fmla="*/ 29 h 54"/>
                  <a:gd name="T18" fmla="*/ 14 w 27"/>
                  <a:gd name="T19" fmla="*/ 25 h 54"/>
                  <a:gd name="T20" fmla="*/ 12 w 27"/>
                  <a:gd name="T21" fmla="*/ 23 h 54"/>
                  <a:gd name="T22" fmla="*/ 11 w 27"/>
                  <a:gd name="T23" fmla="*/ 11 h 54"/>
                  <a:gd name="T24" fmla="*/ 5 w 27"/>
                  <a:gd name="T25" fmla="*/ 6 h 54"/>
                  <a:gd name="T26" fmla="*/ 5 w 27"/>
                  <a:gd name="T27" fmla="*/ 4 h 54"/>
                  <a:gd name="T28" fmla="*/ 4 w 27"/>
                  <a:gd name="T29" fmla="*/ 2 h 54"/>
                  <a:gd name="T30" fmla="*/ 0 w 27"/>
                  <a:gd name="T31" fmla="*/ 0 h 54"/>
                  <a:gd name="T32" fmla="*/ 0 w 27"/>
                  <a:gd name="T33" fmla="*/ 9 h 54"/>
                  <a:gd name="T34" fmla="*/ 2 w 27"/>
                  <a:gd name="T35" fmla="*/ 11 h 54"/>
                  <a:gd name="T36" fmla="*/ 4 w 27"/>
                  <a:gd name="T37" fmla="*/ 13 h 54"/>
                  <a:gd name="T38" fmla="*/ 9 w 27"/>
                  <a:gd name="T39" fmla="*/ 32 h 54"/>
                  <a:gd name="T40" fmla="*/ 12 w 27"/>
                  <a:gd name="T41" fmla="*/ 36 h 54"/>
                  <a:gd name="T42" fmla="*/ 14 w 27"/>
                  <a:gd name="T43" fmla="*/ 36 h 54"/>
                  <a:gd name="T44" fmla="*/ 18 w 27"/>
                  <a:gd name="T45" fmla="*/ 41 h 54"/>
                  <a:gd name="T46" fmla="*/ 18 w 27"/>
                  <a:gd name="T47" fmla="*/ 43 h 54"/>
                  <a:gd name="T48" fmla="*/ 21 w 27"/>
                  <a:gd name="T49" fmla="*/ 45 h 54"/>
                  <a:gd name="T50" fmla="*/ 21 w 27"/>
                  <a:gd name="T51" fmla="*/ 52 h 54"/>
                  <a:gd name="T52" fmla="*/ 27 w 27"/>
                  <a:gd name="T53" fmla="*/ 54 h 54"/>
                  <a:gd name="T54" fmla="*/ 25 w 27"/>
                  <a:gd name="T55" fmla="*/ 50 h 54"/>
                  <a:gd name="T56" fmla="*/ 25 w 27"/>
                  <a:gd name="T57" fmla="*/ 48 h 54"/>
                  <a:gd name="T58" fmla="*/ 25 w 27"/>
                  <a:gd name="T59" fmla="*/ 4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7" h="54">
                    <a:moveTo>
                      <a:pt x="25" y="48"/>
                    </a:moveTo>
                    <a:lnTo>
                      <a:pt x="23" y="45"/>
                    </a:lnTo>
                    <a:lnTo>
                      <a:pt x="21" y="40"/>
                    </a:lnTo>
                    <a:lnTo>
                      <a:pt x="21" y="38"/>
                    </a:lnTo>
                    <a:lnTo>
                      <a:pt x="21" y="38"/>
                    </a:lnTo>
                    <a:lnTo>
                      <a:pt x="20" y="36"/>
                    </a:lnTo>
                    <a:lnTo>
                      <a:pt x="16" y="31"/>
                    </a:lnTo>
                    <a:lnTo>
                      <a:pt x="14" y="29"/>
                    </a:lnTo>
                    <a:lnTo>
                      <a:pt x="12" y="29"/>
                    </a:lnTo>
                    <a:lnTo>
                      <a:pt x="14" y="25"/>
                    </a:lnTo>
                    <a:lnTo>
                      <a:pt x="12" y="23"/>
                    </a:lnTo>
                    <a:lnTo>
                      <a:pt x="11" y="11"/>
                    </a:lnTo>
                    <a:lnTo>
                      <a:pt x="5" y="6"/>
                    </a:lnTo>
                    <a:lnTo>
                      <a:pt x="5" y="4"/>
                    </a:lnTo>
                    <a:lnTo>
                      <a:pt x="4" y="2"/>
                    </a:lnTo>
                    <a:lnTo>
                      <a:pt x="0" y="0"/>
                    </a:lnTo>
                    <a:lnTo>
                      <a:pt x="0" y="9"/>
                    </a:lnTo>
                    <a:lnTo>
                      <a:pt x="2" y="11"/>
                    </a:lnTo>
                    <a:lnTo>
                      <a:pt x="4" y="13"/>
                    </a:lnTo>
                    <a:lnTo>
                      <a:pt x="9" y="32"/>
                    </a:lnTo>
                    <a:lnTo>
                      <a:pt x="12" y="36"/>
                    </a:lnTo>
                    <a:lnTo>
                      <a:pt x="14" y="36"/>
                    </a:lnTo>
                    <a:lnTo>
                      <a:pt x="18" y="41"/>
                    </a:lnTo>
                    <a:lnTo>
                      <a:pt x="18" y="43"/>
                    </a:lnTo>
                    <a:lnTo>
                      <a:pt x="21" y="45"/>
                    </a:lnTo>
                    <a:lnTo>
                      <a:pt x="21" y="52"/>
                    </a:lnTo>
                    <a:lnTo>
                      <a:pt x="27" y="54"/>
                    </a:lnTo>
                    <a:lnTo>
                      <a:pt x="25" y="50"/>
                    </a:lnTo>
                    <a:lnTo>
                      <a:pt x="25" y="48"/>
                    </a:lnTo>
                    <a:lnTo>
                      <a:pt x="25" y="4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76" name="Freeform 2226"/>
              <p:cNvSpPr>
                <a:spLocks/>
              </p:cNvSpPr>
              <p:nvPr/>
            </p:nvSpPr>
            <p:spPr bwMode="auto">
              <a:xfrm>
                <a:off x="3019" y="606"/>
                <a:ext cx="38" cy="34"/>
              </a:xfrm>
              <a:custGeom>
                <a:avLst/>
                <a:gdLst>
                  <a:gd name="T0" fmla="*/ 16 w 38"/>
                  <a:gd name="T1" fmla="*/ 34 h 34"/>
                  <a:gd name="T2" fmla="*/ 16 w 38"/>
                  <a:gd name="T3" fmla="*/ 32 h 34"/>
                  <a:gd name="T4" fmla="*/ 20 w 38"/>
                  <a:gd name="T5" fmla="*/ 32 h 34"/>
                  <a:gd name="T6" fmla="*/ 23 w 38"/>
                  <a:gd name="T7" fmla="*/ 28 h 34"/>
                  <a:gd name="T8" fmla="*/ 31 w 38"/>
                  <a:gd name="T9" fmla="*/ 26 h 34"/>
                  <a:gd name="T10" fmla="*/ 32 w 38"/>
                  <a:gd name="T11" fmla="*/ 14 h 34"/>
                  <a:gd name="T12" fmla="*/ 38 w 38"/>
                  <a:gd name="T13" fmla="*/ 10 h 34"/>
                  <a:gd name="T14" fmla="*/ 31 w 38"/>
                  <a:gd name="T15" fmla="*/ 3 h 34"/>
                  <a:gd name="T16" fmla="*/ 31 w 38"/>
                  <a:gd name="T17" fmla="*/ 1 h 34"/>
                  <a:gd name="T18" fmla="*/ 20 w 38"/>
                  <a:gd name="T19" fmla="*/ 3 h 34"/>
                  <a:gd name="T20" fmla="*/ 18 w 38"/>
                  <a:gd name="T21" fmla="*/ 3 h 34"/>
                  <a:gd name="T22" fmla="*/ 20 w 38"/>
                  <a:gd name="T23" fmla="*/ 1 h 34"/>
                  <a:gd name="T24" fmla="*/ 20 w 38"/>
                  <a:gd name="T25" fmla="*/ 0 h 34"/>
                  <a:gd name="T26" fmla="*/ 20 w 38"/>
                  <a:gd name="T27" fmla="*/ 0 h 34"/>
                  <a:gd name="T28" fmla="*/ 15 w 38"/>
                  <a:gd name="T29" fmla="*/ 0 h 34"/>
                  <a:gd name="T30" fmla="*/ 13 w 38"/>
                  <a:gd name="T31" fmla="*/ 5 h 34"/>
                  <a:gd name="T32" fmla="*/ 11 w 38"/>
                  <a:gd name="T33" fmla="*/ 7 h 34"/>
                  <a:gd name="T34" fmla="*/ 9 w 38"/>
                  <a:gd name="T35" fmla="*/ 5 h 34"/>
                  <a:gd name="T36" fmla="*/ 7 w 38"/>
                  <a:gd name="T37" fmla="*/ 7 h 34"/>
                  <a:gd name="T38" fmla="*/ 0 w 38"/>
                  <a:gd name="T39" fmla="*/ 10 h 34"/>
                  <a:gd name="T40" fmla="*/ 4 w 38"/>
                  <a:gd name="T41" fmla="*/ 14 h 34"/>
                  <a:gd name="T42" fmla="*/ 7 w 38"/>
                  <a:gd name="T43" fmla="*/ 16 h 34"/>
                  <a:gd name="T44" fmla="*/ 7 w 38"/>
                  <a:gd name="T45" fmla="*/ 25 h 34"/>
                  <a:gd name="T46" fmla="*/ 9 w 38"/>
                  <a:gd name="T47" fmla="*/ 28 h 34"/>
                  <a:gd name="T48" fmla="*/ 9 w 38"/>
                  <a:gd name="T49" fmla="*/ 30 h 34"/>
                  <a:gd name="T50" fmla="*/ 11 w 38"/>
                  <a:gd name="T51" fmla="*/ 32 h 34"/>
                  <a:gd name="T52" fmla="*/ 16 w 38"/>
                  <a:gd name="T53" fmla="*/ 34 h 34"/>
                  <a:gd name="T54" fmla="*/ 16 w 38"/>
                  <a:gd name="T5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 h="34">
                    <a:moveTo>
                      <a:pt x="16" y="34"/>
                    </a:moveTo>
                    <a:lnTo>
                      <a:pt x="16" y="32"/>
                    </a:lnTo>
                    <a:lnTo>
                      <a:pt x="20" y="32"/>
                    </a:lnTo>
                    <a:lnTo>
                      <a:pt x="23" y="28"/>
                    </a:lnTo>
                    <a:lnTo>
                      <a:pt x="31" y="26"/>
                    </a:lnTo>
                    <a:lnTo>
                      <a:pt x="32" y="14"/>
                    </a:lnTo>
                    <a:lnTo>
                      <a:pt x="38" y="10"/>
                    </a:lnTo>
                    <a:lnTo>
                      <a:pt x="31" y="3"/>
                    </a:lnTo>
                    <a:lnTo>
                      <a:pt x="31" y="1"/>
                    </a:lnTo>
                    <a:lnTo>
                      <a:pt x="20" y="3"/>
                    </a:lnTo>
                    <a:lnTo>
                      <a:pt x="18" y="3"/>
                    </a:lnTo>
                    <a:lnTo>
                      <a:pt x="20" y="1"/>
                    </a:lnTo>
                    <a:lnTo>
                      <a:pt x="20" y="0"/>
                    </a:lnTo>
                    <a:lnTo>
                      <a:pt x="20" y="0"/>
                    </a:lnTo>
                    <a:lnTo>
                      <a:pt x="15" y="0"/>
                    </a:lnTo>
                    <a:lnTo>
                      <a:pt x="13" y="5"/>
                    </a:lnTo>
                    <a:lnTo>
                      <a:pt x="11" y="7"/>
                    </a:lnTo>
                    <a:lnTo>
                      <a:pt x="9" y="5"/>
                    </a:lnTo>
                    <a:lnTo>
                      <a:pt x="7" y="7"/>
                    </a:lnTo>
                    <a:lnTo>
                      <a:pt x="0" y="10"/>
                    </a:lnTo>
                    <a:lnTo>
                      <a:pt x="4" y="14"/>
                    </a:lnTo>
                    <a:lnTo>
                      <a:pt x="7" y="16"/>
                    </a:lnTo>
                    <a:lnTo>
                      <a:pt x="7" y="25"/>
                    </a:lnTo>
                    <a:lnTo>
                      <a:pt x="9" y="28"/>
                    </a:lnTo>
                    <a:lnTo>
                      <a:pt x="9" y="30"/>
                    </a:lnTo>
                    <a:lnTo>
                      <a:pt x="11" y="32"/>
                    </a:lnTo>
                    <a:lnTo>
                      <a:pt x="16" y="34"/>
                    </a:lnTo>
                    <a:lnTo>
                      <a:pt x="16" y="3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77" name="Freeform 2227"/>
              <p:cNvSpPr>
                <a:spLocks/>
              </p:cNvSpPr>
              <p:nvPr/>
            </p:nvSpPr>
            <p:spPr bwMode="auto">
              <a:xfrm>
                <a:off x="3030" y="631"/>
                <a:ext cx="64" cy="78"/>
              </a:xfrm>
              <a:custGeom>
                <a:avLst/>
                <a:gdLst>
                  <a:gd name="T0" fmla="*/ 61 w 64"/>
                  <a:gd name="T1" fmla="*/ 39 h 78"/>
                  <a:gd name="T2" fmla="*/ 59 w 64"/>
                  <a:gd name="T3" fmla="*/ 37 h 78"/>
                  <a:gd name="T4" fmla="*/ 55 w 64"/>
                  <a:gd name="T5" fmla="*/ 34 h 78"/>
                  <a:gd name="T6" fmla="*/ 52 w 64"/>
                  <a:gd name="T7" fmla="*/ 32 h 78"/>
                  <a:gd name="T8" fmla="*/ 46 w 64"/>
                  <a:gd name="T9" fmla="*/ 37 h 78"/>
                  <a:gd name="T10" fmla="*/ 43 w 64"/>
                  <a:gd name="T11" fmla="*/ 32 h 78"/>
                  <a:gd name="T12" fmla="*/ 37 w 64"/>
                  <a:gd name="T13" fmla="*/ 26 h 78"/>
                  <a:gd name="T14" fmla="*/ 36 w 64"/>
                  <a:gd name="T15" fmla="*/ 23 h 78"/>
                  <a:gd name="T16" fmla="*/ 36 w 64"/>
                  <a:gd name="T17" fmla="*/ 16 h 78"/>
                  <a:gd name="T18" fmla="*/ 39 w 64"/>
                  <a:gd name="T19" fmla="*/ 12 h 78"/>
                  <a:gd name="T20" fmla="*/ 37 w 64"/>
                  <a:gd name="T21" fmla="*/ 7 h 78"/>
                  <a:gd name="T22" fmla="*/ 34 w 64"/>
                  <a:gd name="T23" fmla="*/ 5 h 78"/>
                  <a:gd name="T24" fmla="*/ 32 w 64"/>
                  <a:gd name="T25" fmla="*/ 0 h 78"/>
                  <a:gd name="T26" fmla="*/ 30 w 64"/>
                  <a:gd name="T27" fmla="*/ 5 h 78"/>
                  <a:gd name="T28" fmla="*/ 25 w 64"/>
                  <a:gd name="T29" fmla="*/ 9 h 78"/>
                  <a:gd name="T30" fmla="*/ 14 w 64"/>
                  <a:gd name="T31" fmla="*/ 7 h 78"/>
                  <a:gd name="T32" fmla="*/ 0 w 64"/>
                  <a:gd name="T33" fmla="*/ 18 h 78"/>
                  <a:gd name="T34" fmla="*/ 2 w 64"/>
                  <a:gd name="T35" fmla="*/ 19 h 78"/>
                  <a:gd name="T36" fmla="*/ 4 w 64"/>
                  <a:gd name="T37" fmla="*/ 23 h 78"/>
                  <a:gd name="T38" fmla="*/ 11 w 64"/>
                  <a:gd name="T39" fmla="*/ 30 h 78"/>
                  <a:gd name="T40" fmla="*/ 11 w 64"/>
                  <a:gd name="T41" fmla="*/ 35 h 78"/>
                  <a:gd name="T42" fmla="*/ 7 w 64"/>
                  <a:gd name="T43" fmla="*/ 41 h 78"/>
                  <a:gd name="T44" fmla="*/ 5 w 64"/>
                  <a:gd name="T45" fmla="*/ 48 h 78"/>
                  <a:gd name="T46" fmla="*/ 5 w 64"/>
                  <a:gd name="T47" fmla="*/ 50 h 78"/>
                  <a:gd name="T48" fmla="*/ 2 w 64"/>
                  <a:gd name="T49" fmla="*/ 55 h 78"/>
                  <a:gd name="T50" fmla="*/ 0 w 64"/>
                  <a:gd name="T51" fmla="*/ 57 h 78"/>
                  <a:gd name="T52" fmla="*/ 0 w 64"/>
                  <a:gd name="T53" fmla="*/ 60 h 78"/>
                  <a:gd name="T54" fmla="*/ 2 w 64"/>
                  <a:gd name="T55" fmla="*/ 66 h 78"/>
                  <a:gd name="T56" fmla="*/ 7 w 64"/>
                  <a:gd name="T57" fmla="*/ 66 h 78"/>
                  <a:gd name="T58" fmla="*/ 20 w 64"/>
                  <a:gd name="T59" fmla="*/ 62 h 78"/>
                  <a:gd name="T60" fmla="*/ 23 w 64"/>
                  <a:gd name="T61" fmla="*/ 60 h 78"/>
                  <a:gd name="T62" fmla="*/ 25 w 64"/>
                  <a:gd name="T63" fmla="*/ 55 h 78"/>
                  <a:gd name="T64" fmla="*/ 29 w 64"/>
                  <a:gd name="T65" fmla="*/ 57 h 78"/>
                  <a:gd name="T66" fmla="*/ 29 w 64"/>
                  <a:gd name="T67" fmla="*/ 60 h 78"/>
                  <a:gd name="T68" fmla="*/ 30 w 64"/>
                  <a:gd name="T69" fmla="*/ 57 h 78"/>
                  <a:gd name="T70" fmla="*/ 30 w 64"/>
                  <a:gd name="T71" fmla="*/ 60 h 78"/>
                  <a:gd name="T72" fmla="*/ 29 w 64"/>
                  <a:gd name="T73" fmla="*/ 62 h 78"/>
                  <a:gd name="T74" fmla="*/ 29 w 64"/>
                  <a:gd name="T75" fmla="*/ 69 h 78"/>
                  <a:gd name="T76" fmla="*/ 25 w 64"/>
                  <a:gd name="T77" fmla="*/ 75 h 78"/>
                  <a:gd name="T78" fmla="*/ 29 w 64"/>
                  <a:gd name="T79" fmla="*/ 76 h 78"/>
                  <a:gd name="T80" fmla="*/ 32 w 64"/>
                  <a:gd name="T81" fmla="*/ 76 h 78"/>
                  <a:gd name="T82" fmla="*/ 32 w 64"/>
                  <a:gd name="T83" fmla="*/ 73 h 78"/>
                  <a:gd name="T84" fmla="*/ 36 w 64"/>
                  <a:gd name="T85" fmla="*/ 68 h 78"/>
                  <a:gd name="T86" fmla="*/ 37 w 64"/>
                  <a:gd name="T87" fmla="*/ 69 h 78"/>
                  <a:gd name="T88" fmla="*/ 41 w 64"/>
                  <a:gd name="T89" fmla="*/ 69 h 78"/>
                  <a:gd name="T90" fmla="*/ 43 w 64"/>
                  <a:gd name="T91" fmla="*/ 66 h 78"/>
                  <a:gd name="T92" fmla="*/ 45 w 64"/>
                  <a:gd name="T93" fmla="*/ 64 h 78"/>
                  <a:gd name="T94" fmla="*/ 48 w 64"/>
                  <a:gd name="T95" fmla="*/ 59 h 78"/>
                  <a:gd name="T96" fmla="*/ 50 w 64"/>
                  <a:gd name="T97" fmla="*/ 53 h 78"/>
                  <a:gd name="T98" fmla="*/ 52 w 64"/>
                  <a:gd name="T99" fmla="*/ 48 h 78"/>
                  <a:gd name="T100" fmla="*/ 64 w 64"/>
                  <a:gd name="T101" fmla="*/ 44 h 78"/>
                  <a:gd name="T102" fmla="*/ 64 w 64"/>
                  <a:gd name="T103" fmla="*/ 43 h 78"/>
                  <a:gd name="T104" fmla="*/ 61 w 64"/>
                  <a:gd name="T105" fmla="*/ 4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 h="78">
                    <a:moveTo>
                      <a:pt x="61" y="41"/>
                    </a:moveTo>
                    <a:lnTo>
                      <a:pt x="61" y="39"/>
                    </a:lnTo>
                    <a:lnTo>
                      <a:pt x="59" y="39"/>
                    </a:lnTo>
                    <a:lnTo>
                      <a:pt x="59" y="37"/>
                    </a:lnTo>
                    <a:lnTo>
                      <a:pt x="57" y="35"/>
                    </a:lnTo>
                    <a:lnTo>
                      <a:pt x="55" y="34"/>
                    </a:lnTo>
                    <a:lnTo>
                      <a:pt x="54" y="32"/>
                    </a:lnTo>
                    <a:lnTo>
                      <a:pt x="52" y="32"/>
                    </a:lnTo>
                    <a:lnTo>
                      <a:pt x="52" y="34"/>
                    </a:lnTo>
                    <a:lnTo>
                      <a:pt x="46" y="37"/>
                    </a:lnTo>
                    <a:lnTo>
                      <a:pt x="43" y="34"/>
                    </a:lnTo>
                    <a:lnTo>
                      <a:pt x="43" y="32"/>
                    </a:lnTo>
                    <a:lnTo>
                      <a:pt x="41" y="32"/>
                    </a:lnTo>
                    <a:lnTo>
                      <a:pt x="37" y="26"/>
                    </a:lnTo>
                    <a:lnTo>
                      <a:pt x="36" y="25"/>
                    </a:lnTo>
                    <a:lnTo>
                      <a:pt x="36" y="23"/>
                    </a:lnTo>
                    <a:lnTo>
                      <a:pt x="36" y="19"/>
                    </a:lnTo>
                    <a:lnTo>
                      <a:pt x="36" y="16"/>
                    </a:lnTo>
                    <a:lnTo>
                      <a:pt x="39" y="16"/>
                    </a:lnTo>
                    <a:lnTo>
                      <a:pt x="39" y="12"/>
                    </a:lnTo>
                    <a:lnTo>
                      <a:pt x="39" y="12"/>
                    </a:lnTo>
                    <a:lnTo>
                      <a:pt x="37" y="7"/>
                    </a:lnTo>
                    <a:lnTo>
                      <a:pt x="34" y="7"/>
                    </a:lnTo>
                    <a:lnTo>
                      <a:pt x="34" y="5"/>
                    </a:lnTo>
                    <a:lnTo>
                      <a:pt x="34" y="1"/>
                    </a:lnTo>
                    <a:lnTo>
                      <a:pt x="32" y="0"/>
                    </a:lnTo>
                    <a:lnTo>
                      <a:pt x="32" y="0"/>
                    </a:lnTo>
                    <a:lnTo>
                      <a:pt x="30" y="5"/>
                    </a:lnTo>
                    <a:lnTo>
                      <a:pt x="27" y="5"/>
                    </a:lnTo>
                    <a:lnTo>
                      <a:pt x="25" y="9"/>
                    </a:lnTo>
                    <a:lnTo>
                      <a:pt x="20" y="9"/>
                    </a:lnTo>
                    <a:lnTo>
                      <a:pt x="14" y="7"/>
                    </a:lnTo>
                    <a:lnTo>
                      <a:pt x="0" y="16"/>
                    </a:lnTo>
                    <a:lnTo>
                      <a:pt x="0" y="18"/>
                    </a:lnTo>
                    <a:lnTo>
                      <a:pt x="0" y="19"/>
                    </a:lnTo>
                    <a:lnTo>
                      <a:pt x="2" y="19"/>
                    </a:lnTo>
                    <a:lnTo>
                      <a:pt x="4" y="23"/>
                    </a:lnTo>
                    <a:lnTo>
                      <a:pt x="4" y="23"/>
                    </a:lnTo>
                    <a:lnTo>
                      <a:pt x="4" y="25"/>
                    </a:lnTo>
                    <a:lnTo>
                      <a:pt x="11" y="30"/>
                    </a:lnTo>
                    <a:lnTo>
                      <a:pt x="11" y="32"/>
                    </a:lnTo>
                    <a:lnTo>
                      <a:pt x="11" y="35"/>
                    </a:lnTo>
                    <a:lnTo>
                      <a:pt x="7" y="39"/>
                    </a:lnTo>
                    <a:lnTo>
                      <a:pt x="7" y="41"/>
                    </a:lnTo>
                    <a:lnTo>
                      <a:pt x="5" y="44"/>
                    </a:lnTo>
                    <a:lnTo>
                      <a:pt x="5" y="48"/>
                    </a:lnTo>
                    <a:lnTo>
                      <a:pt x="5" y="50"/>
                    </a:lnTo>
                    <a:lnTo>
                      <a:pt x="5" y="50"/>
                    </a:lnTo>
                    <a:lnTo>
                      <a:pt x="5" y="51"/>
                    </a:lnTo>
                    <a:lnTo>
                      <a:pt x="2" y="55"/>
                    </a:lnTo>
                    <a:lnTo>
                      <a:pt x="2" y="57"/>
                    </a:lnTo>
                    <a:lnTo>
                      <a:pt x="0" y="57"/>
                    </a:lnTo>
                    <a:lnTo>
                      <a:pt x="0" y="59"/>
                    </a:lnTo>
                    <a:lnTo>
                      <a:pt x="0" y="60"/>
                    </a:lnTo>
                    <a:lnTo>
                      <a:pt x="0" y="62"/>
                    </a:lnTo>
                    <a:lnTo>
                      <a:pt x="2" y="66"/>
                    </a:lnTo>
                    <a:lnTo>
                      <a:pt x="5" y="64"/>
                    </a:lnTo>
                    <a:lnTo>
                      <a:pt x="7" y="66"/>
                    </a:lnTo>
                    <a:lnTo>
                      <a:pt x="9" y="64"/>
                    </a:lnTo>
                    <a:lnTo>
                      <a:pt x="20" y="62"/>
                    </a:lnTo>
                    <a:lnTo>
                      <a:pt x="20" y="62"/>
                    </a:lnTo>
                    <a:lnTo>
                      <a:pt x="23" y="60"/>
                    </a:lnTo>
                    <a:lnTo>
                      <a:pt x="23" y="59"/>
                    </a:lnTo>
                    <a:lnTo>
                      <a:pt x="25" y="55"/>
                    </a:lnTo>
                    <a:lnTo>
                      <a:pt x="29" y="57"/>
                    </a:lnTo>
                    <a:lnTo>
                      <a:pt x="29" y="57"/>
                    </a:lnTo>
                    <a:lnTo>
                      <a:pt x="27" y="59"/>
                    </a:lnTo>
                    <a:lnTo>
                      <a:pt x="29" y="60"/>
                    </a:lnTo>
                    <a:lnTo>
                      <a:pt x="29" y="62"/>
                    </a:lnTo>
                    <a:lnTo>
                      <a:pt x="30" y="57"/>
                    </a:lnTo>
                    <a:lnTo>
                      <a:pt x="32" y="57"/>
                    </a:lnTo>
                    <a:lnTo>
                      <a:pt x="30" y="60"/>
                    </a:lnTo>
                    <a:lnTo>
                      <a:pt x="30" y="62"/>
                    </a:lnTo>
                    <a:lnTo>
                      <a:pt x="29" y="62"/>
                    </a:lnTo>
                    <a:lnTo>
                      <a:pt x="27" y="66"/>
                    </a:lnTo>
                    <a:lnTo>
                      <a:pt x="29" y="69"/>
                    </a:lnTo>
                    <a:lnTo>
                      <a:pt x="29" y="71"/>
                    </a:lnTo>
                    <a:lnTo>
                      <a:pt x="25" y="75"/>
                    </a:lnTo>
                    <a:lnTo>
                      <a:pt x="27" y="78"/>
                    </a:lnTo>
                    <a:lnTo>
                      <a:pt x="29" y="76"/>
                    </a:lnTo>
                    <a:lnTo>
                      <a:pt x="29" y="78"/>
                    </a:lnTo>
                    <a:lnTo>
                      <a:pt x="32" y="76"/>
                    </a:lnTo>
                    <a:lnTo>
                      <a:pt x="32" y="75"/>
                    </a:lnTo>
                    <a:lnTo>
                      <a:pt x="32" y="73"/>
                    </a:lnTo>
                    <a:lnTo>
                      <a:pt x="36" y="69"/>
                    </a:lnTo>
                    <a:lnTo>
                      <a:pt x="36" y="68"/>
                    </a:lnTo>
                    <a:lnTo>
                      <a:pt x="37" y="68"/>
                    </a:lnTo>
                    <a:lnTo>
                      <a:pt x="37" y="69"/>
                    </a:lnTo>
                    <a:lnTo>
                      <a:pt x="39" y="71"/>
                    </a:lnTo>
                    <a:lnTo>
                      <a:pt x="41" y="69"/>
                    </a:lnTo>
                    <a:lnTo>
                      <a:pt x="41" y="68"/>
                    </a:lnTo>
                    <a:lnTo>
                      <a:pt x="43" y="66"/>
                    </a:lnTo>
                    <a:lnTo>
                      <a:pt x="45" y="66"/>
                    </a:lnTo>
                    <a:lnTo>
                      <a:pt x="45" y="64"/>
                    </a:lnTo>
                    <a:lnTo>
                      <a:pt x="46" y="62"/>
                    </a:lnTo>
                    <a:lnTo>
                      <a:pt x="48" y="59"/>
                    </a:lnTo>
                    <a:lnTo>
                      <a:pt x="48" y="57"/>
                    </a:lnTo>
                    <a:lnTo>
                      <a:pt x="50" y="53"/>
                    </a:lnTo>
                    <a:lnTo>
                      <a:pt x="52" y="51"/>
                    </a:lnTo>
                    <a:lnTo>
                      <a:pt x="52" y="48"/>
                    </a:lnTo>
                    <a:lnTo>
                      <a:pt x="59" y="44"/>
                    </a:lnTo>
                    <a:lnTo>
                      <a:pt x="64" y="44"/>
                    </a:lnTo>
                    <a:lnTo>
                      <a:pt x="64" y="43"/>
                    </a:lnTo>
                    <a:lnTo>
                      <a:pt x="64" y="43"/>
                    </a:lnTo>
                    <a:lnTo>
                      <a:pt x="61" y="41"/>
                    </a:lnTo>
                    <a:lnTo>
                      <a:pt x="61" y="4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78" name="Freeform 2228"/>
              <p:cNvSpPr>
                <a:spLocks/>
              </p:cNvSpPr>
              <p:nvPr/>
            </p:nvSpPr>
            <p:spPr bwMode="auto">
              <a:xfrm>
                <a:off x="3117" y="590"/>
                <a:ext cx="9" cy="14"/>
              </a:xfrm>
              <a:custGeom>
                <a:avLst/>
                <a:gdLst>
                  <a:gd name="T0" fmla="*/ 6 w 9"/>
                  <a:gd name="T1" fmla="*/ 5 h 14"/>
                  <a:gd name="T2" fmla="*/ 6 w 9"/>
                  <a:gd name="T3" fmla="*/ 1 h 14"/>
                  <a:gd name="T4" fmla="*/ 2 w 9"/>
                  <a:gd name="T5" fmla="*/ 0 h 14"/>
                  <a:gd name="T6" fmla="*/ 2 w 9"/>
                  <a:gd name="T7" fmla="*/ 0 h 14"/>
                  <a:gd name="T8" fmla="*/ 2 w 9"/>
                  <a:gd name="T9" fmla="*/ 1 h 14"/>
                  <a:gd name="T10" fmla="*/ 0 w 9"/>
                  <a:gd name="T11" fmla="*/ 3 h 14"/>
                  <a:gd name="T12" fmla="*/ 2 w 9"/>
                  <a:gd name="T13" fmla="*/ 9 h 14"/>
                  <a:gd name="T14" fmla="*/ 4 w 9"/>
                  <a:gd name="T15" fmla="*/ 9 h 14"/>
                  <a:gd name="T16" fmla="*/ 4 w 9"/>
                  <a:gd name="T17" fmla="*/ 12 h 14"/>
                  <a:gd name="T18" fmla="*/ 6 w 9"/>
                  <a:gd name="T19" fmla="*/ 14 h 14"/>
                  <a:gd name="T20" fmla="*/ 9 w 9"/>
                  <a:gd name="T21" fmla="*/ 14 h 14"/>
                  <a:gd name="T22" fmla="*/ 9 w 9"/>
                  <a:gd name="T23" fmla="*/ 10 h 14"/>
                  <a:gd name="T24" fmla="*/ 9 w 9"/>
                  <a:gd name="T25" fmla="*/ 10 h 14"/>
                  <a:gd name="T26" fmla="*/ 8 w 9"/>
                  <a:gd name="T27" fmla="*/ 5 h 14"/>
                  <a:gd name="T28" fmla="*/ 6 w 9"/>
                  <a:gd name="T29" fmla="*/ 5 h 14"/>
                  <a:gd name="T30" fmla="*/ 6 w 9"/>
                  <a:gd name="T31"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14">
                    <a:moveTo>
                      <a:pt x="6" y="5"/>
                    </a:moveTo>
                    <a:lnTo>
                      <a:pt x="6" y="1"/>
                    </a:lnTo>
                    <a:lnTo>
                      <a:pt x="2" y="0"/>
                    </a:lnTo>
                    <a:lnTo>
                      <a:pt x="2" y="0"/>
                    </a:lnTo>
                    <a:lnTo>
                      <a:pt x="2" y="1"/>
                    </a:lnTo>
                    <a:lnTo>
                      <a:pt x="0" y="3"/>
                    </a:lnTo>
                    <a:lnTo>
                      <a:pt x="2" y="9"/>
                    </a:lnTo>
                    <a:lnTo>
                      <a:pt x="4" y="9"/>
                    </a:lnTo>
                    <a:lnTo>
                      <a:pt x="4" y="12"/>
                    </a:lnTo>
                    <a:lnTo>
                      <a:pt x="6" y="14"/>
                    </a:lnTo>
                    <a:lnTo>
                      <a:pt x="9" y="14"/>
                    </a:lnTo>
                    <a:lnTo>
                      <a:pt x="9" y="10"/>
                    </a:lnTo>
                    <a:lnTo>
                      <a:pt x="9" y="10"/>
                    </a:lnTo>
                    <a:lnTo>
                      <a:pt x="8" y="5"/>
                    </a:lnTo>
                    <a:lnTo>
                      <a:pt x="6" y="5"/>
                    </a:lnTo>
                    <a:lnTo>
                      <a:pt x="6"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79" name="Freeform 2229"/>
              <p:cNvSpPr>
                <a:spLocks/>
              </p:cNvSpPr>
              <p:nvPr/>
            </p:nvSpPr>
            <p:spPr bwMode="auto">
              <a:xfrm>
                <a:off x="3141" y="577"/>
                <a:ext cx="28" cy="13"/>
              </a:xfrm>
              <a:custGeom>
                <a:avLst/>
                <a:gdLst>
                  <a:gd name="T0" fmla="*/ 25 w 28"/>
                  <a:gd name="T1" fmla="*/ 7 h 13"/>
                  <a:gd name="T2" fmla="*/ 21 w 28"/>
                  <a:gd name="T3" fmla="*/ 7 h 13"/>
                  <a:gd name="T4" fmla="*/ 19 w 28"/>
                  <a:gd name="T5" fmla="*/ 5 h 13"/>
                  <a:gd name="T6" fmla="*/ 19 w 28"/>
                  <a:gd name="T7" fmla="*/ 4 h 13"/>
                  <a:gd name="T8" fmla="*/ 14 w 28"/>
                  <a:gd name="T9" fmla="*/ 2 h 13"/>
                  <a:gd name="T10" fmla="*/ 12 w 28"/>
                  <a:gd name="T11" fmla="*/ 0 h 13"/>
                  <a:gd name="T12" fmla="*/ 10 w 28"/>
                  <a:gd name="T13" fmla="*/ 0 h 13"/>
                  <a:gd name="T14" fmla="*/ 10 w 28"/>
                  <a:gd name="T15" fmla="*/ 4 h 13"/>
                  <a:gd name="T16" fmla="*/ 9 w 28"/>
                  <a:gd name="T17" fmla="*/ 5 h 13"/>
                  <a:gd name="T18" fmla="*/ 7 w 28"/>
                  <a:gd name="T19" fmla="*/ 4 h 13"/>
                  <a:gd name="T20" fmla="*/ 3 w 28"/>
                  <a:gd name="T21" fmla="*/ 7 h 13"/>
                  <a:gd name="T22" fmla="*/ 3 w 28"/>
                  <a:gd name="T23" fmla="*/ 9 h 13"/>
                  <a:gd name="T24" fmla="*/ 0 w 28"/>
                  <a:gd name="T25" fmla="*/ 7 h 13"/>
                  <a:gd name="T26" fmla="*/ 0 w 28"/>
                  <a:gd name="T27" fmla="*/ 13 h 13"/>
                  <a:gd name="T28" fmla="*/ 3 w 28"/>
                  <a:gd name="T29" fmla="*/ 13 h 13"/>
                  <a:gd name="T30" fmla="*/ 3 w 28"/>
                  <a:gd name="T31" fmla="*/ 13 h 13"/>
                  <a:gd name="T32" fmla="*/ 3 w 28"/>
                  <a:gd name="T33" fmla="*/ 11 h 13"/>
                  <a:gd name="T34" fmla="*/ 9 w 28"/>
                  <a:gd name="T35" fmla="*/ 7 h 13"/>
                  <a:gd name="T36" fmla="*/ 12 w 28"/>
                  <a:gd name="T37" fmla="*/ 7 h 13"/>
                  <a:gd name="T38" fmla="*/ 12 w 28"/>
                  <a:gd name="T39" fmla="*/ 5 h 13"/>
                  <a:gd name="T40" fmla="*/ 12 w 28"/>
                  <a:gd name="T41" fmla="*/ 5 h 13"/>
                  <a:gd name="T42" fmla="*/ 16 w 28"/>
                  <a:gd name="T43" fmla="*/ 5 h 13"/>
                  <a:gd name="T44" fmla="*/ 19 w 28"/>
                  <a:gd name="T45" fmla="*/ 9 h 13"/>
                  <a:gd name="T46" fmla="*/ 23 w 28"/>
                  <a:gd name="T47" fmla="*/ 11 h 13"/>
                  <a:gd name="T48" fmla="*/ 25 w 28"/>
                  <a:gd name="T49" fmla="*/ 9 h 13"/>
                  <a:gd name="T50" fmla="*/ 28 w 28"/>
                  <a:gd name="T51" fmla="*/ 7 h 13"/>
                  <a:gd name="T52" fmla="*/ 28 w 28"/>
                  <a:gd name="T53" fmla="*/ 5 h 13"/>
                  <a:gd name="T54" fmla="*/ 28 w 28"/>
                  <a:gd name="T55" fmla="*/ 4 h 13"/>
                  <a:gd name="T56" fmla="*/ 25 w 28"/>
                  <a:gd name="T57" fmla="*/ 7 h 13"/>
                  <a:gd name="T58" fmla="*/ 25 w 28"/>
                  <a:gd name="T59"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8" h="13">
                    <a:moveTo>
                      <a:pt x="25" y="7"/>
                    </a:moveTo>
                    <a:lnTo>
                      <a:pt x="21" y="7"/>
                    </a:lnTo>
                    <a:lnTo>
                      <a:pt x="19" y="5"/>
                    </a:lnTo>
                    <a:lnTo>
                      <a:pt x="19" y="4"/>
                    </a:lnTo>
                    <a:lnTo>
                      <a:pt x="14" y="2"/>
                    </a:lnTo>
                    <a:lnTo>
                      <a:pt x="12" y="0"/>
                    </a:lnTo>
                    <a:lnTo>
                      <a:pt x="10" y="0"/>
                    </a:lnTo>
                    <a:lnTo>
                      <a:pt x="10" y="4"/>
                    </a:lnTo>
                    <a:lnTo>
                      <a:pt x="9" y="5"/>
                    </a:lnTo>
                    <a:lnTo>
                      <a:pt x="7" y="4"/>
                    </a:lnTo>
                    <a:lnTo>
                      <a:pt x="3" y="7"/>
                    </a:lnTo>
                    <a:lnTo>
                      <a:pt x="3" y="9"/>
                    </a:lnTo>
                    <a:lnTo>
                      <a:pt x="0" y="7"/>
                    </a:lnTo>
                    <a:lnTo>
                      <a:pt x="0" y="13"/>
                    </a:lnTo>
                    <a:lnTo>
                      <a:pt x="3" y="13"/>
                    </a:lnTo>
                    <a:lnTo>
                      <a:pt x="3" y="13"/>
                    </a:lnTo>
                    <a:lnTo>
                      <a:pt x="3" y="11"/>
                    </a:lnTo>
                    <a:lnTo>
                      <a:pt x="9" y="7"/>
                    </a:lnTo>
                    <a:lnTo>
                      <a:pt x="12" y="7"/>
                    </a:lnTo>
                    <a:lnTo>
                      <a:pt x="12" y="5"/>
                    </a:lnTo>
                    <a:lnTo>
                      <a:pt x="12" y="5"/>
                    </a:lnTo>
                    <a:lnTo>
                      <a:pt x="16" y="5"/>
                    </a:lnTo>
                    <a:lnTo>
                      <a:pt x="19" y="9"/>
                    </a:lnTo>
                    <a:lnTo>
                      <a:pt x="23" y="11"/>
                    </a:lnTo>
                    <a:lnTo>
                      <a:pt x="25" y="9"/>
                    </a:lnTo>
                    <a:lnTo>
                      <a:pt x="28" y="7"/>
                    </a:lnTo>
                    <a:lnTo>
                      <a:pt x="28" y="5"/>
                    </a:lnTo>
                    <a:lnTo>
                      <a:pt x="28" y="4"/>
                    </a:lnTo>
                    <a:lnTo>
                      <a:pt x="25" y="7"/>
                    </a:lnTo>
                    <a:lnTo>
                      <a:pt x="25"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80" name="Freeform 2230"/>
              <p:cNvSpPr>
                <a:spLocks/>
              </p:cNvSpPr>
              <p:nvPr/>
            </p:nvSpPr>
            <p:spPr bwMode="auto">
              <a:xfrm>
                <a:off x="2987" y="486"/>
                <a:ext cx="145" cy="75"/>
              </a:xfrm>
              <a:custGeom>
                <a:avLst/>
                <a:gdLst>
                  <a:gd name="T0" fmla="*/ 5 w 145"/>
                  <a:gd name="T1" fmla="*/ 2 h 75"/>
                  <a:gd name="T2" fmla="*/ 5 w 145"/>
                  <a:gd name="T3" fmla="*/ 5 h 75"/>
                  <a:gd name="T4" fmla="*/ 0 w 145"/>
                  <a:gd name="T5" fmla="*/ 11 h 75"/>
                  <a:gd name="T6" fmla="*/ 4 w 145"/>
                  <a:gd name="T7" fmla="*/ 18 h 75"/>
                  <a:gd name="T8" fmla="*/ 5 w 145"/>
                  <a:gd name="T9" fmla="*/ 20 h 75"/>
                  <a:gd name="T10" fmla="*/ 7 w 145"/>
                  <a:gd name="T11" fmla="*/ 21 h 75"/>
                  <a:gd name="T12" fmla="*/ 11 w 145"/>
                  <a:gd name="T13" fmla="*/ 25 h 75"/>
                  <a:gd name="T14" fmla="*/ 20 w 145"/>
                  <a:gd name="T15" fmla="*/ 27 h 75"/>
                  <a:gd name="T16" fmla="*/ 25 w 145"/>
                  <a:gd name="T17" fmla="*/ 25 h 75"/>
                  <a:gd name="T18" fmla="*/ 34 w 145"/>
                  <a:gd name="T19" fmla="*/ 21 h 75"/>
                  <a:gd name="T20" fmla="*/ 41 w 145"/>
                  <a:gd name="T21" fmla="*/ 20 h 75"/>
                  <a:gd name="T22" fmla="*/ 59 w 145"/>
                  <a:gd name="T23" fmla="*/ 18 h 75"/>
                  <a:gd name="T24" fmla="*/ 57 w 145"/>
                  <a:gd name="T25" fmla="*/ 21 h 75"/>
                  <a:gd name="T26" fmla="*/ 61 w 145"/>
                  <a:gd name="T27" fmla="*/ 25 h 75"/>
                  <a:gd name="T28" fmla="*/ 59 w 145"/>
                  <a:gd name="T29" fmla="*/ 27 h 75"/>
                  <a:gd name="T30" fmla="*/ 45 w 145"/>
                  <a:gd name="T31" fmla="*/ 30 h 75"/>
                  <a:gd name="T32" fmla="*/ 38 w 145"/>
                  <a:gd name="T33" fmla="*/ 30 h 75"/>
                  <a:gd name="T34" fmla="*/ 43 w 145"/>
                  <a:gd name="T35" fmla="*/ 36 h 75"/>
                  <a:gd name="T36" fmla="*/ 47 w 145"/>
                  <a:gd name="T37" fmla="*/ 38 h 75"/>
                  <a:gd name="T38" fmla="*/ 45 w 145"/>
                  <a:gd name="T39" fmla="*/ 41 h 75"/>
                  <a:gd name="T40" fmla="*/ 34 w 145"/>
                  <a:gd name="T41" fmla="*/ 38 h 75"/>
                  <a:gd name="T42" fmla="*/ 29 w 145"/>
                  <a:gd name="T43" fmla="*/ 34 h 75"/>
                  <a:gd name="T44" fmla="*/ 25 w 145"/>
                  <a:gd name="T45" fmla="*/ 39 h 75"/>
                  <a:gd name="T46" fmla="*/ 30 w 145"/>
                  <a:gd name="T47" fmla="*/ 46 h 75"/>
                  <a:gd name="T48" fmla="*/ 41 w 145"/>
                  <a:gd name="T49" fmla="*/ 54 h 75"/>
                  <a:gd name="T50" fmla="*/ 47 w 145"/>
                  <a:gd name="T51" fmla="*/ 57 h 75"/>
                  <a:gd name="T52" fmla="*/ 50 w 145"/>
                  <a:gd name="T53" fmla="*/ 54 h 75"/>
                  <a:gd name="T54" fmla="*/ 54 w 145"/>
                  <a:gd name="T55" fmla="*/ 54 h 75"/>
                  <a:gd name="T56" fmla="*/ 63 w 145"/>
                  <a:gd name="T57" fmla="*/ 54 h 75"/>
                  <a:gd name="T58" fmla="*/ 72 w 145"/>
                  <a:gd name="T59" fmla="*/ 54 h 75"/>
                  <a:gd name="T60" fmla="*/ 72 w 145"/>
                  <a:gd name="T61" fmla="*/ 59 h 75"/>
                  <a:gd name="T62" fmla="*/ 75 w 145"/>
                  <a:gd name="T63" fmla="*/ 66 h 75"/>
                  <a:gd name="T64" fmla="*/ 75 w 145"/>
                  <a:gd name="T65" fmla="*/ 71 h 75"/>
                  <a:gd name="T66" fmla="*/ 80 w 145"/>
                  <a:gd name="T67" fmla="*/ 75 h 75"/>
                  <a:gd name="T68" fmla="*/ 84 w 145"/>
                  <a:gd name="T69" fmla="*/ 75 h 75"/>
                  <a:gd name="T70" fmla="*/ 97 w 145"/>
                  <a:gd name="T71" fmla="*/ 68 h 75"/>
                  <a:gd name="T72" fmla="*/ 104 w 145"/>
                  <a:gd name="T73" fmla="*/ 61 h 75"/>
                  <a:gd name="T74" fmla="*/ 109 w 145"/>
                  <a:gd name="T75" fmla="*/ 61 h 75"/>
                  <a:gd name="T76" fmla="*/ 114 w 145"/>
                  <a:gd name="T77" fmla="*/ 61 h 75"/>
                  <a:gd name="T78" fmla="*/ 120 w 145"/>
                  <a:gd name="T79" fmla="*/ 52 h 75"/>
                  <a:gd name="T80" fmla="*/ 123 w 145"/>
                  <a:gd name="T81" fmla="*/ 46 h 75"/>
                  <a:gd name="T82" fmla="*/ 125 w 145"/>
                  <a:gd name="T83" fmla="*/ 43 h 75"/>
                  <a:gd name="T84" fmla="*/ 122 w 145"/>
                  <a:gd name="T85" fmla="*/ 36 h 75"/>
                  <a:gd name="T86" fmla="*/ 129 w 145"/>
                  <a:gd name="T87" fmla="*/ 32 h 75"/>
                  <a:gd name="T88" fmla="*/ 134 w 145"/>
                  <a:gd name="T89" fmla="*/ 25 h 75"/>
                  <a:gd name="T90" fmla="*/ 134 w 145"/>
                  <a:gd name="T91" fmla="*/ 21 h 75"/>
                  <a:gd name="T92" fmla="*/ 143 w 145"/>
                  <a:gd name="T93" fmla="*/ 16 h 75"/>
                  <a:gd name="T94" fmla="*/ 141 w 145"/>
                  <a:gd name="T95" fmla="*/ 7 h 75"/>
                  <a:gd name="T96" fmla="*/ 143 w 145"/>
                  <a:gd name="T97" fmla="*/ 2 h 75"/>
                  <a:gd name="T98" fmla="*/ 68 w 145"/>
                  <a:gd name="T99" fmla="*/ 0 h 75"/>
                  <a:gd name="T100" fmla="*/ 64 w 145"/>
                  <a:gd name="T101" fmla="*/ 0 h 75"/>
                  <a:gd name="T102" fmla="*/ 20 w 145"/>
                  <a:gd name="T103" fmla="*/ 0 h 75"/>
                  <a:gd name="T104" fmla="*/ 9 w 145"/>
                  <a:gd name="T105" fmla="*/ 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5" h="75">
                    <a:moveTo>
                      <a:pt x="9" y="4"/>
                    </a:moveTo>
                    <a:lnTo>
                      <a:pt x="9" y="4"/>
                    </a:lnTo>
                    <a:lnTo>
                      <a:pt x="5" y="2"/>
                    </a:lnTo>
                    <a:lnTo>
                      <a:pt x="5" y="4"/>
                    </a:lnTo>
                    <a:lnTo>
                      <a:pt x="5" y="5"/>
                    </a:lnTo>
                    <a:lnTo>
                      <a:pt x="5" y="5"/>
                    </a:lnTo>
                    <a:lnTo>
                      <a:pt x="4" y="5"/>
                    </a:lnTo>
                    <a:lnTo>
                      <a:pt x="0" y="9"/>
                    </a:lnTo>
                    <a:lnTo>
                      <a:pt x="0" y="11"/>
                    </a:lnTo>
                    <a:lnTo>
                      <a:pt x="2" y="11"/>
                    </a:lnTo>
                    <a:lnTo>
                      <a:pt x="2" y="14"/>
                    </a:lnTo>
                    <a:lnTo>
                      <a:pt x="4" y="18"/>
                    </a:lnTo>
                    <a:lnTo>
                      <a:pt x="4" y="20"/>
                    </a:lnTo>
                    <a:lnTo>
                      <a:pt x="5" y="23"/>
                    </a:lnTo>
                    <a:lnTo>
                      <a:pt x="5" y="20"/>
                    </a:lnTo>
                    <a:lnTo>
                      <a:pt x="7" y="20"/>
                    </a:lnTo>
                    <a:lnTo>
                      <a:pt x="7" y="20"/>
                    </a:lnTo>
                    <a:lnTo>
                      <a:pt x="7" y="21"/>
                    </a:lnTo>
                    <a:lnTo>
                      <a:pt x="9" y="21"/>
                    </a:lnTo>
                    <a:lnTo>
                      <a:pt x="7" y="23"/>
                    </a:lnTo>
                    <a:lnTo>
                      <a:pt x="11" y="25"/>
                    </a:lnTo>
                    <a:lnTo>
                      <a:pt x="20" y="25"/>
                    </a:lnTo>
                    <a:lnTo>
                      <a:pt x="20" y="25"/>
                    </a:lnTo>
                    <a:lnTo>
                      <a:pt x="20" y="27"/>
                    </a:lnTo>
                    <a:lnTo>
                      <a:pt x="22" y="29"/>
                    </a:lnTo>
                    <a:lnTo>
                      <a:pt x="25" y="25"/>
                    </a:lnTo>
                    <a:lnTo>
                      <a:pt x="25" y="25"/>
                    </a:lnTo>
                    <a:lnTo>
                      <a:pt x="30" y="25"/>
                    </a:lnTo>
                    <a:lnTo>
                      <a:pt x="30" y="21"/>
                    </a:lnTo>
                    <a:lnTo>
                      <a:pt x="34" y="21"/>
                    </a:lnTo>
                    <a:lnTo>
                      <a:pt x="36" y="21"/>
                    </a:lnTo>
                    <a:lnTo>
                      <a:pt x="41" y="21"/>
                    </a:lnTo>
                    <a:lnTo>
                      <a:pt x="41" y="20"/>
                    </a:lnTo>
                    <a:lnTo>
                      <a:pt x="54" y="20"/>
                    </a:lnTo>
                    <a:lnTo>
                      <a:pt x="55" y="18"/>
                    </a:lnTo>
                    <a:lnTo>
                      <a:pt x="59" y="18"/>
                    </a:lnTo>
                    <a:lnTo>
                      <a:pt x="61" y="16"/>
                    </a:lnTo>
                    <a:lnTo>
                      <a:pt x="61" y="20"/>
                    </a:lnTo>
                    <a:lnTo>
                      <a:pt x="57" y="21"/>
                    </a:lnTo>
                    <a:lnTo>
                      <a:pt x="61" y="21"/>
                    </a:lnTo>
                    <a:lnTo>
                      <a:pt x="61" y="23"/>
                    </a:lnTo>
                    <a:lnTo>
                      <a:pt x="61" y="25"/>
                    </a:lnTo>
                    <a:lnTo>
                      <a:pt x="59" y="25"/>
                    </a:lnTo>
                    <a:lnTo>
                      <a:pt x="57" y="27"/>
                    </a:lnTo>
                    <a:lnTo>
                      <a:pt x="59" y="27"/>
                    </a:lnTo>
                    <a:lnTo>
                      <a:pt x="57" y="29"/>
                    </a:lnTo>
                    <a:lnTo>
                      <a:pt x="45" y="29"/>
                    </a:lnTo>
                    <a:lnTo>
                      <a:pt x="45" y="30"/>
                    </a:lnTo>
                    <a:lnTo>
                      <a:pt x="43" y="30"/>
                    </a:lnTo>
                    <a:lnTo>
                      <a:pt x="43" y="29"/>
                    </a:lnTo>
                    <a:lnTo>
                      <a:pt x="38" y="30"/>
                    </a:lnTo>
                    <a:lnTo>
                      <a:pt x="39" y="32"/>
                    </a:lnTo>
                    <a:lnTo>
                      <a:pt x="38" y="34"/>
                    </a:lnTo>
                    <a:lnTo>
                      <a:pt x="43" y="36"/>
                    </a:lnTo>
                    <a:lnTo>
                      <a:pt x="43" y="38"/>
                    </a:lnTo>
                    <a:lnTo>
                      <a:pt x="45" y="36"/>
                    </a:lnTo>
                    <a:lnTo>
                      <a:pt x="47" y="38"/>
                    </a:lnTo>
                    <a:lnTo>
                      <a:pt x="47" y="39"/>
                    </a:lnTo>
                    <a:lnTo>
                      <a:pt x="47" y="39"/>
                    </a:lnTo>
                    <a:lnTo>
                      <a:pt x="45" y="41"/>
                    </a:lnTo>
                    <a:lnTo>
                      <a:pt x="41" y="39"/>
                    </a:lnTo>
                    <a:lnTo>
                      <a:pt x="34" y="39"/>
                    </a:lnTo>
                    <a:lnTo>
                      <a:pt x="34" y="38"/>
                    </a:lnTo>
                    <a:lnTo>
                      <a:pt x="32" y="38"/>
                    </a:lnTo>
                    <a:lnTo>
                      <a:pt x="32" y="36"/>
                    </a:lnTo>
                    <a:lnTo>
                      <a:pt x="29" y="34"/>
                    </a:lnTo>
                    <a:lnTo>
                      <a:pt x="25" y="38"/>
                    </a:lnTo>
                    <a:lnTo>
                      <a:pt x="25" y="38"/>
                    </a:lnTo>
                    <a:lnTo>
                      <a:pt x="25" y="39"/>
                    </a:lnTo>
                    <a:lnTo>
                      <a:pt x="27" y="41"/>
                    </a:lnTo>
                    <a:lnTo>
                      <a:pt x="29" y="45"/>
                    </a:lnTo>
                    <a:lnTo>
                      <a:pt x="30" y="46"/>
                    </a:lnTo>
                    <a:lnTo>
                      <a:pt x="32" y="50"/>
                    </a:lnTo>
                    <a:lnTo>
                      <a:pt x="39" y="50"/>
                    </a:lnTo>
                    <a:lnTo>
                      <a:pt x="41" y="54"/>
                    </a:lnTo>
                    <a:lnTo>
                      <a:pt x="41" y="55"/>
                    </a:lnTo>
                    <a:lnTo>
                      <a:pt x="43" y="59"/>
                    </a:lnTo>
                    <a:lnTo>
                      <a:pt x="47" y="57"/>
                    </a:lnTo>
                    <a:lnTo>
                      <a:pt x="47" y="57"/>
                    </a:lnTo>
                    <a:lnTo>
                      <a:pt x="47" y="55"/>
                    </a:lnTo>
                    <a:lnTo>
                      <a:pt x="50" y="54"/>
                    </a:lnTo>
                    <a:lnTo>
                      <a:pt x="52" y="57"/>
                    </a:lnTo>
                    <a:lnTo>
                      <a:pt x="54" y="54"/>
                    </a:lnTo>
                    <a:lnTo>
                      <a:pt x="54" y="54"/>
                    </a:lnTo>
                    <a:lnTo>
                      <a:pt x="54" y="55"/>
                    </a:lnTo>
                    <a:lnTo>
                      <a:pt x="59" y="57"/>
                    </a:lnTo>
                    <a:lnTo>
                      <a:pt x="63" y="54"/>
                    </a:lnTo>
                    <a:lnTo>
                      <a:pt x="70" y="57"/>
                    </a:lnTo>
                    <a:lnTo>
                      <a:pt x="72" y="55"/>
                    </a:lnTo>
                    <a:lnTo>
                      <a:pt x="72" y="54"/>
                    </a:lnTo>
                    <a:lnTo>
                      <a:pt x="73" y="54"/>
                    </a:lnTo>
                    <a:lnTo>
                      <a:pt x="72" y="57"/>
                    </a:lnTo>
                    <a:lnTo>
                      <a:pt x="72" y="59"/>
                    </a:lnTo>
                    <a:lnTo>
                      <a:pt x="72" y="64"/>
                    </a:lnTo>
                    <a:lnTo>
                      <a:pt x="73" y="68"/>
                    </a:lnTo>
                    <a:lnTo>
                      <a:pt x="75" y="66"/>
                    </a:lnTo>
                    <a:lnTo>
                      <a:pt x="73" y="68"/>
                    </a:lnTo>
                    <a:lnTo>
                      <a:pt x="77" y="70"/>
                    </a:lnTo>
                    <a:lnTo>
                      <a:pt x="75" y="71"/>
                    </a:lnTo>
                    <a:lnTo>
                      <a:pt x="77" y="71"/>
                    </a:lnTo>
                    <a:lnTo>
                      <a:pt x="80" y="73"/>
                    </a:lnTo>
                    <a:lnTo>
                      <a:pt x="80" y="75"/>
                    </a:lnTo>
                    <a:lnTo>
                      <a:pt x="82" y="75"/>
                    </a:lnTo>
                    <a:lnTo>
                      <a:pt x="84" y="73"/>
                    </a:lnTo>
                    <a:lnTo>
                      <a:pt x="84" y="75"/>
                    </a:lnTo>
                    <a:lnTo>
                      <a:pt x="91" y="73"/>
                    </a:lnTo>
                    <a:lnTo>
                      <a:pt x="95" y="71"/>
                    </a:lnTo>
                    <a:lnTo>
                      <a:pt x="97" y="68"/>
                    </a:lnTo>
                    <a:lnTo>
                      <a:pt x="97" y="64"/>
                    </a:lnTo>
                    <a:lnTo>
                      <a:pt x="98" y="63"/>
                    </a:lnTo>
                    <a:lnTo>
                      <a:pt x="104" y="61"/>
                    </a:lnTo>
                    <a:lnTo>
                      <a:pt x="107" y="57"/>
                    </a:lnTo>
                    <a:lnTo>
                      <a:pt x="109" y="59"/>
                    </a:lnTo>
                    <a:lnTo>
                      <a:pt x="109" y="61"/>
                    </a:lnTo>
                    <a:lnTo>
                      <a:pt x="111" y="61"/>
                    </a:lnTo>
                    <a:lnTo>
                      <a:pt x="113" y="59"/>
                    </a:lnTo>
                    <a:lnTo>
                      <a:pt x="114" y="61"/>
                    </a:lnTo>
                    <a:lnTo>
                      <a:pt x="118" y="55"/>
                    </a:lnTo>
                    <a:lnTo>
                      <a:pt x="120" y="54"/>
                    </a:lnTo>
                    <a:lnTo>
                      <a:pt x="120" y="52"/>
                    </a:lnTo>
                    <a:lnTo>
                      <a:pt x="122" y="50"/>
                    </a:lnTo>
                    <a:lnTo>
                      <a:pt x="122" y="48"/>
                    </a:lnTo>
                    <a:lnTo>
                      <a:pt x="123" y="46"/>
                    </a:lnTo>
                    <a:lnTo>
                      <a:pt x="123" y="45"/>
                    </a:lnTo>
                    <a:lnTo>
                      <a:pt x="123" y="43"/>
                    </a:lnTo>
                    <a:lnTo>
                      <a:pt x="125" y="43"/>
                    </a:lnTo>
                    <a:lnTo>
                      <a:pt x="123" y="41"/>
                    </a:lnTo>
                    <a:lnTo>
                      <a:pt x="123" y="41"/>
                    </a:lnTo>
                    <a:lnTo>
                      <a:pt x="122" y="36"/>
                    </a:lnTo>
                    <a:lnTo>
                      <a:pt x="125" y="32"/>
                    </a:lnTo>
                    <a:lnTo>
                      <a:pt x="127" y="30"/>
                    </a:lnTo>
                    <a:lnTo>
                      <a:pt x="129" y="32"/>
                    </a:lnTo>
                    <a:lnTo>
                      <a:pt x="130" y="29"/>
                    </a:lnTo>
                    <a:lnTo>
                      <a:pt x="132" y="29"/>
                    </a:lnTo>
                    <a:lnTo>
                      <a:pt x="134" y="25"/>
                    </a:lnTo>
                    <a:lnTo>
                      <a:pt x="136" y="25"/>
                    </a:lnTo>
                    <a:lnTo>
                      <a:pt x="134" y="23"/>
                    </a:lnTo>
                    <a:lnTo>
                      <a:pt x="134" y="21"/>
                    </a:lnTo>
                    <a:lnTo>
                      <a:pt x="138" y="18"/>
                    </a:lnTo>
                    <a:lnTo>
                      <a:pt x="138" y="16"/>
                    </a:lnTo>
                    <a:lnTo>
                      <a:pt x="143" y="16"/>
                    </a:lnTo>
                    <a:lnTo>
                      <a:pt x="145" y="13"/>
                    </a:lnTo>
                    <a:lnTo>
                      <a:pt x="145" y="11"/>
                    </a:lnTo>
                    <a:lnTo>
                      <a:pt x="141" y="7"/>
                    </a:lnTo>
                    <a:lnTo>
                      <a:pt x="141" y="7"/>
                    </a:lnTo>
                    <a:lnTo>
                      <a:pt x="141" y="5"/>
                    </a:lnTo>
                    <a:lnTo>
                      <a:pt x="143" y="2"/>
                    </a:lnTo>
                    <a:lnTo>
                      <a:pt x="143" y="0"/>
                    </a:lnTo>
                    <a:lnTo>
                      <a:pt x="68" y="0"/>
                    </a:lnTo>
                    <a:lnTo>
                      <a:pt x="68" y="0"/>
                    </a:lnTo>
                    <a:lnTo>
                      <a:pt x="66" y="0"/>
                    </a:lnTo>
                    <a:lnTo>
                      <a:pt x="66" y="2"/>
                    </a:lnTo>
                    <a:lnTo>
                      <a:pt x="64" y="0"/>
                    </a:lnTo>
                    <a:lnTo>
                      <a:pt x="64" y="0"/>
                    </a:lnTo>
                    <a:lnTo>
                      <a:pt x="20" y="0"/>
                    </a:lnTo>
                    <a:lnTo>
                      <a:pt x="20" y="0"/>
                    </a:lnTo>
                    <a:lnTo>
                      <a:pt x="18" y="0"/>
                    </a:lnTo>
                    <a:lnTo>
                      <a:pt x="9" y="0"/>
                    </a:lnTo>
                    <a:lnTo>
                      <a:pt x="9" y="2"/>
                    </a:lnTo>
                    <a:lnTo>
                      <a:pt x="9" y="4"/>
                    </a:lnTo>
                    <a:lnTo>
                      <a:pt x="9"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81" name="Freeform 2231"/>
              <p:cNvSpPr>
                <a:spLocks/>
              </p:cNvSpPr>
              <p:nvPr/>
            </p:nvSpPr>
            <p:spPr bwMode="auto">
              <a:xfrm>
                <a:off x="1309" y="766"/>
                <a:ext cx="9" cy="9"/>
              </a:xfrm>
              <a:custGeom>
                <a:avLst/>
                <a:gdLst>
                  <a:gd name="T0" fmla="*/ 0 w 9"/>
                  <a:gd name="T1" fmla="*/ 6 h 9"/>
                  <a:gd name="T2" fmla="*/ 0 w 9"/>
                  <a:gd name="T3" fmla="*/ 8 h 9"/>
                  <a:gd name="T4" fmla="*/ 9 w 9"/>
                  <a:gd name="T5" fmla="*/ 9 h 9"/>
                  <a:gd name="T6" fmla="*/ 0 w 9"/>
                  <a:gd name="T7" fmla="*/ 0 h 9"/>
                  <a:gd name="T8" fmla="*/ 0 w 9"/>
                  <a:gd name="T9" fmla="*/ 6 h 9"/>
                  <a:gd name="T10" fmla="*/ 0 w 9"/>
                  <a:gd name="T11" fmla="*/ 6 h 9"/>
                </a:gdLst>
                <a:ahLst/>
                <a:cxnLst>
                  <a:cxn ang="0">
                    <a:pos x="T0" y="T1"/>
                  </a:cxn>
                  <a:cxn ang="0">
                    <a:pos x="T2" y="T3"/>
                  </a:cxn>
                  <a:cxn ang="0">
                    <a:pos x="T4" y="T5"/>
                  </a:cxn>
                  <a:cxn ang="0">
                    <a:pos x="T6" y="T7"/>
                  </a:cxn>
                  <a:cxn ang="0">
                    <a:pos x="T8" y="T9"/>
                  </a:cxn>
                  <a:cxn ang="0">
                    <a:pos x="T10" y="T11"/>
                  </a:cxn>
                </a:cxnLst>
                <a:rect l="0" t="0" r="r" b="b"/>
                <a:pathLst>
                  <a:path w="9" h="9">
                    <a:moveTo>
                      <a:pt x="0" y="6"/>
                    </a:moveTo>
                    <a:lnTo>
                      <a:pt x="0" y="8"/>
                    </a:lnTo>
                    <a:lnTo>
                      <a:pt x="9" y="9"/>
                    </a:lnTo>
                    <a:lnTo>
                      <a:pt x="0" y="0"/>
                    </a:lnTo>
                    <a:lnTo>
                      <a:pt x="0" y="6"/>
                    </a:lnTo>
                    <a:lnTo>
                      <a:pt x="0"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82" name="Freeform 2232"/>
              <p:cNvSpPr>
                <a:spLocks/>
              </p:cNvSpPr>
              <p:nvPr/>
            </p:nvSpPr>
            <p:spPr bwMode="auto">
              <a:xfrm>
                <a:off x="1307" y="757"/>
                <a:ext cx="4" cy="9"/>
              </a:xfrm>
              <a:custGeom>
                <a:avLst/>
                <a:gdLst>
                  <a:gd name="T0" fmla="*/ 2 w 4"/>
                  <a:gd name="T1" fmla="*/ 4 h 9"/>
                  <a:gd name="T2" fmla="*/ 2 w 4"/>
                  <a:gd name="T3" fmla="*/ 0 h 9"/>
                  <a:gd name="T4" fmla="*/ 0 w 4"/>
                  <a:gd name="T5" fmla="*/ 8 h 9"/>
                  <a:gd name="T6" fmla="*/ 2 w 4"/>
                  <a:gd name="T7" fmla="*/ 9 h 9"/>
                  <a:gd name="T8" fmla="*/ 4 w 4"/>
                  <a:gd name="T9" fmla="*/ 9 h 9"/>
                  <a:gd name="T10" fmla="*/ 2 w 4"/>
                  <a:gd name="T11" fmla="*/ 4 h 9"/>
                  <a:gd name="T12" fmla="*/ 2 w 4"/>
                  <a:gd name="T13" fmla="*/ 4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2" y="4"/>
                    </a:moveTo>
                    <a:lnTo>
                      <a:pt x="2" y="0"/>
                    </a:lnTo>
                    <a:lnTo>
                      <a:pt x="0" y="8"/>
                    </a:lnTo>
                    <a:lnTo>
                      <a:pt x="2" y="9"/>
                    </a:lnTo>
                    <a:lnTo>
                      <a:pt x="4" y="9"/>
                    </a:lnTo>
                    <a:lnTo>
                      <a:pt x="2" y="4"/>
                    </a:lnTo>
                    <a:lnTo>
                      <a:pt x="2"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83" name="Freeform 2233"/>
              <p:cNvSpPr>
                <a:spLocks/>
              </p:cNvSpPr>
              <p:nvPr/>
            </p:nvSpPr>
            <p:spPr bwMode="auto">
              <a:xfrm>
                <a:off x="2966" y="1802"/>
                <a:ext cx="89" cy="43"/>
              </a:xfrm>
              <a:custGeom>
                <a:avLst/>
                <a:gdLst>
                  <a:gd name="T0" fmla="*/ 84 w 89"/>
                  <a:gd name="T1" fmla="*/ 27 h 43"/>
                  <a:gd name="T2" fmla="*/ 80 w 89"/>
                  <a:gd name="T3" fmla="*/ 29 h 43"/>
                  <a:gd name="T4" fmla="*/ 75 w 89"/>
                  <a:gd name="T5" fmla="*/ 25 h 43"/>
                  <a:gd name="T6" fmla="*/ 69 w 89"/>
                  <a:gd name="T7" fmla="*/ 23 h 43"/>
                  <a:gd name="T8" fmla="*/ 66 w 89"/>
                  <a:gd name="T9" fmla="*/ 25 h 43"/>
                  <a:gd name="T10" fmla="*/ 62 w 89"/>
                  <a:gd name="T11" fmla="*/ 23 h 43"/>
                  <a:gd name="T12" fmla="*/ 57 w 89"/>
                  <a:gd name="T13" fmla="*/ 27 h 43"/>
                  <a:gd name="T14" fmla="*/ 55 w 89"/>
                  <a:gd name="T15" fmla="*/ 30 h 43"/>
                  <a:gd name="T16" fmla="*/ 48 w 89"/>
                  <a:gd name="T17" fmla="*/ 32 h 43"/>
                  <a:gd name="T18" fmla="*/ 44 w 89"/>
                  <a:gd name="T19" fmla="*/ 32 h 43"/>
                  <a:gd name="T20" fmla="*/ 30 w 89"/>
                  <a:gd name="T21" fmla="*/ 36 h 43"/>
                  <a:gd name="T22" fmla="*/ 26 w 89"/>
                  <a:gd name="T23" fmla="*/ 43 h 43"/>
                  <a:gd name="T24" fmla="*/ 14 w 89"/>
                  <a:gd name="T25" fmla="*/ 43 h 43"/>
                  <a:gd name="T26" fmla="*/ 3 w 89"/>
                  <a:gd name="T27" fmla="*/ 36 h 43"/>
                  <a:gd name="T28" fmla="*/ 0 w 89"/>
                  <a:gd name="T29" fmla="*/ 25 h 43"/>
                  <a:gd name="T30" fmla="*/ 3 w 89"/>
                  <a:gd name="T31" fmla="*/ 18 h 43"/>
                  <a:gd name="T32" fmla="*/ 5 w 89"/>
                  <a:gd name="T33" fmla="*/ 18 h 43"/>
                  <a:gd name="T34" fmla="*/ 7 w 89"/>
                  <a:gd name="T35" fmla="*/ 20 h 43"/>
                  <a:gd name="T36" fmla="*/ 12 w 89"/>
                  <a:gd name="T37" fmla="*/ 20 h 43"/>
                  <a:gd name="T38" fmla="*/ 16 w 89"/>
                  <a:gd name="T39" fmla="*/ 16 h 43"/>
                  <a:gd name="T40" fmla="*/ 16 w 89"/>
                  <a:gd name="T41" fmla="*/ 14 h 43"/>
                  <a:gd name="T42" fmla="*/ 18 w 89"/>
                  <a:gd name="T43" fmla="*/ 14 h 43"/>
                  <a:gd name="T44" fmla="*/ 19 w 89"/>
                  <a:gd name="T45" fmla="*/ 11 h 43"/>
                  <a:gd name="T46" fmla="*/ 19 w 89"/>
                  <a:gd name="T47" fmla="*/ 7 h 43"/>
                  <a:gd name="T48" fmla="*/ 21 w 89"/>
                  <a:gd name="T49" fmla="*/ 7 h 43"/>
                  <a:gd name="T50" fmla="*/ 23 w 89"/>
                  <a:gd name="T51" fmla="*/ 5 h 43"/>
                  <a:gd name="T52" fmla="*/ 26 w 89"/>
                  <a:gd name="T53" fmla="*/ 2 h 43"/>
                  <a:gd name="T54" fmla="*/ 28 w 89"/>
                  <a:gd name="T55" fmla="*/ 2 h 43"/>
                  <a:gd name="T56" fmla="*/ 32 w 89"/>
                  <a:gd name="T57" fmla="*/ 0 h 43"/>
                  <a:gd name="T58" fmla="*/ 34 w 89"/>
                  <a:gd name="T59" fmla="*/ 2 h 43"/>
                  <a:gd name="T60" fmla="*/ 41 w 89"/>
                  <a:gd name="T61" fmla="*/ 0 h 43"/>
                  <a:gd name="T62" fmla="*/ 48 w 89"/>
                  <a:gd name="T63" fmla="*/ 7 h 43"/>
                  <a:gd name="T64" fmla="*/ 50 w 89"/>
                  <a:gd name="T65" fmla="*/ 7 h 43"/>
                  <a:gd name="T66" fmla="*/ 53 w 89"/>
                  <a:gd name="T67" fmla="*/ 5 h 43"/>
                  <a:gd name="T68" fmla="*/ 55 w 89"/>
                  <a:gd name="T69" fmla="*/ 4 h 43"/>
                  <a:gd name="T70" fmla="*/ 62 w 89"/>
                  <a:gd name="T71" fmla="*/ 4 h 43"/>
                  <a:gd name="T72" fmla="*/ 64 w 89"/>
                  <a:gd name="T73" fmla="*/ 5 h 43"/>
                  <a:gd name="T74" fmla="*/ 69 w 89"/>
                  <a:gd name="T75" fmla="*/ 2 h 43"/>
                  <a:gd name="T76" fmla="*/ 76 w 89"/>
                  <a:gd name="T77" fmla="*/ 2 h 43"/>
                  <a:gd name="T78" fmla="*/ 85 w 89"/>
                  <a:gd name="T79" fmla="*/ 9 h 43"/>
                  <a:gd name="T80" fmla="*/ 89 w 89"/>
                  <a:gd name="T81" fmla="*/ 11 h 43"/>
                  <a:gd name="T82" fmla="*/ 84 w 89"/>
                  <a:gd name="T83" fmla="*/ 2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9" h="43">
                    <a:moveTo>
                      <a:pt x="84" y="27"/>
                    </a:moveTo>
                    <a:lnTo>
                      <a:pt x="80" y="29"/>
                    </a:lnTo>
                    <a:lnTo>
                      <a:pt x="75" y="25"/>
                    </a:lnTo>
                    <a:lnTo>
                      <a:pt x="69" y="23"/>
                    </a:lnTo>
                    <a:lnTo>
                      <a:pt x="66" y="25"/>
                    </a:lnTo>
                    <a:lnTo>
                      <a:pt x="62" y="23"/>
                    </a:lnTo>
                    <a:lnTo>
                      <a:pt x="57" y="27"/>
                    </a:lnTo>
                    <a:lnTo>
                      <a:pt x="55" y="30"/>
                    </a:lnTo>
                    <a:lnTo>
                      <a:pt x="48" y="32"/>
                    </a:lnTo>
                    <a:lnTo>
                      <a:pt x="44" y="32"/>
                    </a:lnTo>
                    <a:lnTo>
                      <a:pt x="30" y="36"/>
                    </a:lnTo>
                    <a:lnTo>
                      <a:pt x="26" y="43"/>
                    </a:lnTo>
                    <a:lnTo>
                      <a:pt x="14" y="43"/>
                    </a:lnTo>
                    <a:lnTo>
                      <a:pt x="3" y="36"/>
                    </a:lnTo>
                    <a:lnTo>
                      <a:pt x="0" y="25"/>
                    </a:lnTo>
                    <a:lnTo>
                      <a:pt x="3" y="18"/>
                    </a:lnTo>
                    <a:lnTo>
                      <a:pt x="5" y="18"/>
                    </a:lnTo>
                    <a:lnTo>
                      <a:pt x="7" y="20"/>
                    </a:lnTo>
                    <a:lnTo>
                      <a:pt x="12" y="20"/>
                    </a:lnTo>
                    <a:lnTo>
                      <a:pt x="16" y="16"/>
                    </a:lnTo>
                    <a:lnTo>
                      <a:pt x="16" y="14"/>
                    </a:lnTo>
                    <a:lnTo>
                      <a:pt x="18" y="14"/>
                    </a:lnTo>
                    <a:lnTo>
                      <a:pt x="19" y="11"/>
                    </a:lnTo>
                    <a:lnTo>
                      <a:pt x="19" y="7"/>
                    </a:lnTo>
                    <a:lnTo>
                      <a:pt x="21" y="7"/>
                    </a:lnTo>
                    <a:lnTo>
                      <a:pt x="23" y="5"/>
                    </a:lnTo>
                    <a:lnTo>
                      <a:pt x="26" y="2"/>
                    </a:lnTo>
                    <a:lnTo>
                      <a:pt x="28" y="2"/>
                    </a:lnTo>
                    <a:lnTo>
                      <a:pt x="32" y="0"/>
                    </a:lnTo>
                    <a:lnTo>
                      <a:pt x="34" y="2"/>
                    </a:lnTo>
                    <a:lnTo>
                      <a:pt x="41" y="0"/>
                    </a:lnTo>
                    <a:lnTo>
                      <a:pt x="48" y="7"/>
                    </a:lnTo>
                    <a:lnTo>
                      <a:pt x="50" y="7"/>
                    </a:lnTo>
                    <a:lnTo>
                      <a:pt x="53" y="5"/>
                    </a:lnTo>
                    <a:lnTo>
                      <a:pt x="55" y="4"/>
                    </a:lnTo>
                    <a:lnTo>
                      <a:pt x="62" y="4"/>
                    </a:lnTo>
                    <a:lnTo>
                      <a:pt x="64" y="5"/>
                    </a:lnTo>
                    <a:lnTo>
                      <a:pt x="69" y="2"/>
                    </a:lnTo>
                    <a:lnTo>
                      <a:pt x="76" y="2"/>
                    </a:lnTo>
                    <a:lnTo>
                      <a:pt x="85" y="9"/>
                    </a:lnTo>
                    <a:lnTo>
                      <a:pt x="89" y="11"/>
                    </a:lnTo>
                    <a:lnTo>
                      <a:pt x="84" y="2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84" name="Freeform 2234"/>
              <p:cNvSpPr>
                <a:spLocks/>
              </p:cNvSpPr>
              <p:nvPr/>
            </p:nvSpPr>
            <p:spPr bwMode="auto">
              <a:xfrm>
                <a:off x="2966" y="1802"/>
                <a:ext cx="89" cy="43"/>
              </a:xfrm>
              <a:custGeom>
                <a:avLst/>
                <a:gdLst>
                  <a:gd name="T0" fmla="*/ 84 w 89"/>
                  <a:gd name="T1" fmla="*/ 27 h 43"/>
                  <a:gd name="T2" fmla="*/ 80 w 89"/>
                  <a:gd name="T3" fmla="*/ 29 h 43"/>
                  <a:gd name="T4" fmla="*/ 75 w 89"/>
                  <a:gd name="T5" fmla="*/ 25 h 43"/>
                  <a:gd name="T6" fmla="*/ 69 w 89"/>
                  <a:gd name="T7" fmla="*/ 23 h 43"/>
                  <a:gd name="T8" fmla="*/ 66 w 89"/>
                  <a:gd name="T9" fmla="*/ 25 h 43"/>
                  <a:gd name="T10" fmla="*/ 62 w 89"/>
                  <a:gd name="T11" fmla="*/ 23 h 43"/>
                  <a:gd name="T12" fmla="*/ 57 w 89"/>
                  <a:gd name="T13" fmla="*/ 27 h 43"/>
                  <a:gd name="T14" fmla="*/ 55 w 89"/>
                  <a:gd name="T15" fmla="*/ 30 h 43"/>
                  <a:gd name="T16" fmla="*/ 48 w 89"/>
                  <a:gd name="T17" fmla="*/ 32 h 43"/>
                  <a:gd name="T18" fmla="*/ 44 w 89"/>
                  <a:gd name="T19" fmla="*/ 32 h 43"/>
                  <a:gd name="T20" fmla="*/ 30 w 89"/>
                  <a:gd name="T21" fmla="*/ 36 h 43"/>
                  <a:gd name="T22" fmla="*/ 26 w 89"/>
                  <a:gd name="T23" fmla="*/ 43 h 43"/>
                  <a:gd name="T24" fmla="*/ 14 w 89"/>
                  <a:gd name="T25" fmla="*/ 43 h 43"/>
                  <a:gd name="T26" fmla="*/ 3 w 89"/>
                  <a:gd name="T27" fmla="*/ 36 h 43"/>
                  <a:gd name="T28" fmla="*/ 0 w 89"/>
                  <a:gd name="T29" fmla="*/ 25 h 43"/>
                  <a:gd name="T30" fmla="*/ 3 w 89"/>
                  <a:gd name="T31" fmla="*/ 18 h 43"/>
                  <a:gd name="T32" fmla="*/ 5 w 89"/>
                  <a:gd name="T33" fmla="*/ 18 h 43"/>
                  <a:gd name="T34" fmla="*/ 7 w 89"/>
                  <a:gd name="T35" fmla="*/ 20 h 43"/>
                  <a:gd name="T36" fmla="*/ 12 w 89"/>
                  <a:gd name="T37" fmla="*/ 20 h 43"/>
                  <a:gd name="T38" fmla="*/ 16 w 89"/>
                  <a:gd name="T39" fmla="*/ 16 h 43"/>
                  <a:gd name="T40" fmla="*/ 16 w 89"/>
                  <a:gd name="T41" fmla="*/ 14 h 43"/>
                  <a:gd name="T42" fmla="*/ 18 w 89"/>
                  <a:gd name="T43" fmla="*/ 14 h 43"/>
                  <a:gd name="T44" fmla="*/ 19 w 89"/>
                  <a:gd name="T45" fmla="*/ 11 h 43"/>
                  <a:gd name="T46" fmla="*/ 19 w 89"/>
                  <a:gd name="T47" fmla="*/ 7 h 43"/>
                  <a:gd name="T48" fmla="*/ 21 w 89"/>
                  <a:gd name="T49" fmla="*/ 7 h 43"/>
                  <a:gd name="T50" fmla="*/ 23 w 89"/>
                  <a:gd name="T51" fmla="*/ 5 h 43"/>
                  <a:gd name="T52" fmla="*/ 26 w 89"/>
                  <a:gd name="T53" fmla="*/ 2 h 43"/>
                  <a:gd name="T54" fmla="*/ 28 w 89"/>
                  <a:gd name="T55" fmla="*/ 2 h 43"/>
                  <a:gd name="T56" fmla="*/ 32 w 89"/>
                  <a:gd name="T57" fmla="*/ 0 h 43"/>
                  <a:gd name="T58" fmla="*/ 34 w 89"/>
                  <a:gd name="T59" fmla="*/ 2 h 43"/>
                  <a:gd name="T60" fmla="*/ 41 w 89"/>
                  <a:gd name="T61" fmla="*/ 0 h 43"/>
                  <a:gd name="T62" fmla="*/ 48 w 89"/>
                  <a:gd name="T63" fmla="*/ 7 h 43"/>
                  <a:gd name="T64" fmla="*/ 50 w 89"/>
                  <a:gd name="T65" fmla="*/ 7 h 43"/>
                  <a:gd name="T66" fmla="*/ 53 w 89"/>
                  <a:gd name="T67" fmla="*/ 5 h 43"/>
                  <a:gd name="T68" fmla="*/ 55 w 89"/>
                  <a:gd name="T69" fmla="*/ 4 h 43"/>
                  <a:gd name="T70" fmla="*/ 62 w 89"/>
                  <a:gd name="T71" fmla="*/ 4 h 43"/>
                  <a:gd name="T72" fmla="*/ 64 w 89"/>
                  <a:gd name="T73" fmla="*/ 5 h 43"/>
                  <a:gd name="T74" fmla="*/ 69 w 89"/>
                  <a:gd name="T75" fmla="*/ 2 h 43"/>
                  <a:gd name="T76" fmla="*/ 76 w 89"/>
                  <a:gd name="T77" fmla="*/ 2 h 43"/>
                  <a:gd name="T78" fmla="*/ 85 w 89"/>
                  <a:gd name="T79" fmla="*/ 9 h 43"/>
                  <a:gd name="T80" fmla="*/ 89 w 89"/>
                  <a:gd name="T81" fmla="*/ 11 h 43"/>
                  <a:gd name="T82" fmla="*/ 84 w 89"/>
                  <a:gd name="T83" fmla="*/ 2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9" h="43">
                    <a:moveTo>
                      <a:pt x="84" y="27"/>
                    </a:moveTo>
                    <a:lnTo>
                      <a:pt x="80" y="29"/>
                    </a:lnTo>
                    <a:lnTo>
                      <a:pt x="75" y="25"/>
                    </a:lnTo>
                    <a:lnTo>
                      <a:pt x="69" y="23"/>
                    </a:lnTo>
                    <a:lnTo>
                      <a:pt x="66" y="25"/>
                    </a:lnTo>
                    <a:lnTo>
                      <a:pt x="62" y="23"/>
                    </a:lnTo>
                    <a:lnTo>
                      <a:pt x="57" y="27"/>
                    </a:lnTo>
                    <a:lnTo>
                      <a:pt x="55" y="30"/>
                    </a:lnTo>
                    <a:lnTo>
                      <a:pt x="48" y="32"/>
                    </a:lnTo>
                    <a:lnTo>
                      <a:pt x="44" y="32"/>
                    </a:lnTo>
                    <a:lnTo>
                      <a:pt x="30" y="36"/>
                    </a:lnTo>
                    <a:lnTo>
                      <a:pt x="26" y="43"/>
                    </a:lnTo>
                    <a:lnTo>
                      <a:pt x="14" y="43"/>
                    </a:lnTo>
                    <a:lnTo>
                      <a:pt x="3" y="36"/>
                    </a:lnTo>
                    <a:lnTo>
                      <a:pt x="0" y="25"/>
                    </a:lnTo>
                    <a:lnTo>
                      <a:pt x="3" y="18"/>
                    </a:lnTo>
                    <a:lnTo>
                      <a:pt x="5" y="18"/>
                    </a:lnTo>
                    <a:lnTo>
                      <a:pt x="7" y="20"/>
                    </a:lnTo>
                    <a:lnTo>
                      <a:pt x="12" y="20"/>
                    </a:lnTo>
                    <a:lnTo>
                      <a:pt x="16" y="16"/>
                    </a:lnTo>
                    <a:lnTo>
                      <a:pt x="16" y="14"/>
                    </a:lnTo>
                    <a:lnTo>
                      <a:pt x="18" y="14"/>
                    </a:lnTo>
                    <a:lnTo>
                      <a:pt x="19" y="11"/>
                    </a:lnTo>
                    <a:lnTo>
                      <a:pt x="19" y="7"/>
                    </a:lnTo>
                    <a:lnTo>
                      <a:pt x="21" y="7"/>
                    </a:lnTo>
                    <a:lnTo>
                      <a:pt x="23" y="5"/>
                    </a:lnTo>
                    <a:lnTo>
                      <a:pt x="26" y="2"/>
                    </a:lnTo>
                    <a:lnTo>
                      <a:pt x="28" y="2"/>
                    </a:lnTo>
                    <a:lnTo>
                      <a:pt x="32" y="0"/>
                    </a:lnTo>
                    <a:lnTo>
                      <a:pt x="34" y="2"/>
                    </a:lnTo>
                    <a:lnTo>
                      <a:pt x="41" y="0"/>
                    </a:lnTo>
                    <a:lnTo>
                      <a:pt x="48" y="7"/>
                    </a:lnTo>
                    <a:lnTo>
                      <a:pt x="50" y="7"/>
                    </a:lnTo>
                    <a:lnTo>
                      <a:pt x="53" y="5"/>
                    </a:lnTo>
                    <a:lnTo>
                      <a:pt x="55" y="4"/>
                    </a:lnTo>
                    <a:lnTo>
                      <a:pt x="62" y="4"/>
                    </a:lnTo>
                    <a:lnTo>
                      <a:pt x="64" y="5"/>
                    </a:lnTo>
                    <a:lnTo>
                      <a:pt x="69" y="2"/>
                    </a:lnTo>
                    <a:lnTo>
                      <a:pt x="76" y="2"/>
                    </a:lnTo>
                    <a:lnTo>
                      <a:pt x="85" y="9"/>
                    </a:lnTo>
                    <a:lnTo>
                      <a:pt x="89" y="11"/>
                    </a:lnTo>
                    <a:lnTo>
                      <a:pt x="84" y="2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85" name="Freeform 2235"/>
              <p:cNvSpPr>
                <a:spLocks/>
              </p:cNvSpPr>
              <p:nvPr/>
            </p:nvSpPr>
            <p:spPr bwMode="auto">
              <a:xfrm>
                <a:off x="3046" y="1554"/>
                <a:ext cx="21" cy="20"/>
              </a:xfrm>
              <a:custGeom>
                <a:avLst/>
                <a:gdLst>
                  <a:gd name="T0" fmla="*/ 18 w 21"/>
                  <a:gd name="T1" fmla="*/ 0 h 20"/>
                  <a:gd name="T2" fmla="*/ 7 w 21"/>
                  <a:gd name="T3" fmla="*/ 0 h 20"/>
                  <a:gd name="T4" fmla="*/ 5 w 21"/>
                  <a:gd name="T5" fmla="*/ 3 h 20"/>
                  <a:gd name="T6" fmla="*/ 4 w 21"/>
                  <a:gd name="T7" fmla="*/ 2 h 20"/>
                  <a:gd name="T8" fmla="*/ 2 w 21"/>
                  <a:gd name="T9" fmla="*/ 3 h 20"/>
                  <a:gd name="T10" fmla="*/ 0 w 21"/>
                  <a:gd name="T11" fmla="*/ 2 h 20"/>
                  <a:gd name="T12" fmla="*/ 0 w 21"/>
                  <a:gd name="T13" fmla="*/ 9 h 20"/>
                  <a:gd name="T14" fmla="*/ 2 w 21"/>
                  <a:gd name="T15" fmla="*/ 11 h 20"/>
                  <a:gd name="T16" fmla="*/ 4 w 21"/>
                  <a:gd name="T17" fmla="*/ 12 h 20"/>
                  <a:gd name="T18" fmla="*/ 4 w 21"/>
                  <a:gd name="T19" fmla="*/ 14 h 20"/>
                  <a:gd name="T20" fmla="*/ 2 w 21"/>
                  <a:gd name="T21" fmla="*/ 18 h 20"/>
                  <a:gd name="T22" fmla="*/ 2 w 21"/>
                  <a:gd name="T23" fmla="*/ 20 h 20"/>
                  <a:gd name="T24" fmla="*/ 5 w 21"/>
                  <a:gd name="T25" fmla="*/ 12 h 20"/>
                  <a:gd name="T26" fmla="*/ 7 w 21"/>
                  <a:gd name="T27" fmla="*/ 9 h 20"/>
                  <a:gd name="T28" fmla="*/ 11 w 21"/>
                  <a:gd name="T29" fmla="*/ 11 h 20"/>
                  <a:gd name="T30" fmla="*/ 11 w 21"/>
                  <a:gd name="T31" fmla="*/ 11 h 20"/>
                  <a:gd name="T32" fmla="*/ 13 w 21"/>
                  <a:gd name="T33" fmla="*/ 9 h 20"/>
                  <a:gd name="T34" fmla="*/ 14 w 21"/>
                  <a:gd name="T35" fmla="*/ 7 h 20"/>
                  <a:gd name="T36" fmla="*/ 18 w 21"/>
                  <a:gd name="T37" fmla="*/ 7 h 20"/>
                  <a:gd name="T38" fmla="*/ 18 w 21"/>
                  <a:gd name="T39" fmla="*/ 5 h 20"/>
                  <a:gd name="T40" fmla="*/ 21 w 21"/>
                  <a:gd name="T41" fmla="*/ 3 h 20"/>
                  <a:gd name="T42" fmla="*/ 21 w 21"/>
                  <a:gd name="T43" fmla="*/ 3 h 20"/>
                  <a:gd name="T44" fmla="*/ 18 w 21"/>
                  <a:gd name="T45" fmla="*/ 0 h 20"/>
                  <a:gd name="T46" fmla="*/ 18 w 21"/>
                  <a:gd name="T47" fmla="*/ 0 h 20"/>
                  <a:gd name="T48" fmla="*/ 18 w 21"/>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20">
                    <a:moveTo>
                      <a:pt x="18" y="0"/>
                    </a:moveTo>
                    <a:lnTo>
                      <a:pt x="7" y="0"/>
                    </a:lnTo>
                    <a:lnTo>
                      <a:pt x="5" y="3"/>
                    </a:lnTo>
                    <a:lnTo>
                      <a:pt x="4" y="2"/>
                    </a:lnTo>
                    <a:lnTo>
                      <a:pt x="2" y="3"/>
                    </a:lnTo>
                    <a:lnTo>
                      <a:pt x="0" y="2"/>
                    </a:lnTo>
                    <a:lnTo>
                      <a:pt x="0" y="9"/>
                    </a:lnTo>
                    <a:lnTo>
                      <a:pt x="2" y="11"/>
                    </a:lnTo>
                    <a:lnTo>
                      <a:pt x="4" y="12"/>
                    </a:lnTo>
                    <a:lnTo>
                      <a:pt x="4" y="14"/>
                    </a:lnTo>
                    <a:lnTo>
                      <a:pt x="2" y="18"/>
                    </a:lnTo>
                    <a:lnTo>
                      <a:pt x="2" y="20"/>
                    </a:lnTo>
                    <a:lnTo>
                      <a:pt x="5" y="12"/>
                    </a:lnTo>
                    <a:lnTo>
                      <a:pt x="7" y="9"/>
                    </a:lnTo>
                    <a:lnTo>
                      <a:pt x="11" y="11"/>
                    </a:lnTo>
                    <a:lnTo>
                      <a:pt x="11" y="11"/>
                    </a:lnTo>
                    <a:lnTo>
                      <a:pt x="13" y="9"/>
                    </a:lnTo>
                    <a:lnTo>
                      <a:pt x="14" y="7"/>
                    </a:lnTo>
                    <a:lnTo>
                      <a:pt x="18" y="7"/>
                    </a:lnTo>
                    <a:lnTo>
                      <a:pt x="18" y="5"/>
                    </a:lnTo>
                    <a:lnTo>
                      <a:pt x="21" y="3"/>
                    </a:lnTo>
                    <a:lnTo>
                      <a:pt x="21" y="3"/>
                    </a:lnTo>
                    <a:lnTo>
                      <a:pt x="18" y="0"/>
                    </a:lnTo>
                    <a:lnTo>
                      <a:pt x="18" y="0"/>
                    </a:lnTo>
                    <a:lnTo>
                      <a:pt x="18"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86" name="Freeform 2236"/>
              <p:cNvSpPr>
                <a:spLocks/>
              </p:cNvSpPr>
              <p:nvPr/>
            </p:nvSpPr>
            <p:spPr bwMode="auto">
              <a:xfrm>
                <a:off x="3046" y="1554"/>
                <a:ext cx="21" cy="20"/>
              </a:xfrm>
              <a:custGeom>
                <a:avLst/>
                <a:gdLst>
                  <a:gd name="T0" fmla="*/ 18 w 21"/>
                  <a:gd name="T1" fmla="*/ 0 h 20"/>
                  <a:gd name="T2" fmla="*/ 7 w 21"/>
                  <a:gd name="T3" fmla="*/ 0 h 20"/>
                  <a:gd name="T4" fmla="*/ 5 w 21"/>
                  <a:gd name="T5" fmla="*/ 3 h 20"/>
                  <a:gd name="T6" fmla="*/ 4 w 21"/>
                  <a:gd name="T7" fmla="*/ 2 h 20"/>
                  <a:gd name="T8" fmla="*/ 2 w 21"/>
                  <a:gd name="T9" fmla="*/ 3 h 20"/>
                  <a:gd name="T10" fmla="*/ 0 w 21"/>
                  <a:gd name="T11" fmla="*/ 2 h 20"/>
                  <a:gd name="T12" fmla="*/ 0 w 21"/>
                  <a:gd name="T13" fmla="*/ 9 h 20"/>
                  <a:gd name="T14" fmla="*/ 2 w 21"/>
                  <a:gd name="T15" fmla="*/ 11 h 20"/>
                  <a:gd name="T16" fmla="*/ 4 w 21"/>
                  <a:gd name="T17" fmla="*/ 12 h 20"/>
                  <a:gd name="T18" fmla="*/ 4 w 21"/>
                  <a:gd name="T19" fmla="*/ 14 h 20"/>
                  <a:gd name="T20" fmla="*/ 2 w 21"/>
                  <a:gd name="T21" fmla="*/ 18 h 20"/>
                  <a:gd name="T22" fmla="*/ 2 w 21"/>
                  <a:gd name="T23" fmla="*/ 20 h 20"/>
                  <a:gd name="T24" fmla="*/ 5 w 21"/>
                  <a:gd name="T25" fmla="*/ 12 h 20"/>
                  <a:gd name="T26" fmla="*/ 7 w 21"/>
                  <a:gd name="T27" fmla="*/ 9 h 20"/>
                  <a:gd name="T28" fmla="*/ 11 w 21"/>
                  <a:gd name="T29" fmla="*/ 11 h 20"/>
                  <a:gd name="T30" fmla="*/ 11 w 21"/>
                  <a:gd name="T31" fmla="*/ 11 h 20"/>
                  <a:gd name="T32" fmla="*/ 13 w 21"/>
                  <a:gd name="T33" fmla="*/ 9 h 20"/>
                  <a:gd name="T34" fmla="*/ 14 w 21"/>
                  <a:gd name="T35" fmla="*/ 7 h 20"/>
                  <a:gd name="T36" fmla="*/ 18 w 21"/>
                  <a:gd name="T37" fmla="*/ 7 h 20"/>
                  <a:gd name="T38" fmla="*/ 18 w 21"/>
                  <a:gd name="T39" fmla="*/ 5 h 20"/>
                  <a:gd name="T40" fmla="*/ 21 w 21"/>
                  <a:gd name="T41" fmla="*/ 3 h 20"/>
                  <a:gd name="T42" fmla="*/ 21 w 21"/>
                  <a:gd name="T43" fmla="*/ 3 h 20"/>
                  <a:gd name="T44" fmla="*/ 18 w 21"/>
                  <a:gd name="T45" fmla="*/ 0 h 20"/>
                  <a:gd name="T46" fmla="*/ 18 w 21"/>
                  <a:gd name="T47" fmla="*/ 0 h 20"/>
                  <a:gd name="T48" fmla="*/ 18 w 21"/>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20">
                    <a:moveTo>
                      <a:pt x="18" y="0"/>
                    </a:moveTo>
                    <a:lnTo>
                      <a:pt x="7" y="0"/>
                    </a:lnTo>
                    <a:lnTo>
                      <a:pt x="5" y="3"/>
                    </a:lnTo>
                    <a:lnTo>
                      <a:pt x="4" y="2"/>
                    </a:lnTo>
                    <a:lnTo>
                      <a:pt x="2" y="3"/>
                    </a:lnTo>
                    <a:lnTo>
                      <a:pt x="0" y="2"/>
                    </a:lnTo>
                    <a:lnTo>
                      <a:pt x="0" y="9"/>
                    </a:lnTo>
                    <a:lnTo>
                      <a:pt x="2" y="11"/>
                    </a:lnTo>
                    <a:lnTo>
                      <a:pt x="4" y="12"/>
                    </a:lnTo>
                    <a:lnTo>
                      <a:pt x="4" y="14"/>
                    </a:lnTo>
                    <a:lnTo>
                      <a:pt x="2" y="18"/>
                    </a:lnTo>
                    <a:lnTo>
                      <a:pt x="2" y="20"/>
                    </a:lnTo>
                    <a:lnTo>
                      <a:pt x="5" y="12"/>
                    </a:lnTo>
                    <a:lnTo>
                      <a:pt x="7" y="9"/>
                    </a:lnTo>
                    <a:lnTo>
                      <a:pt x="11" y="11"/>
                    </a:lnTo>
                    <a:lnTo>
                      <a:pt x="11" y="11"/>
                    </a:lnTo>
                    <a:lnTo>
                      <a:pt x="13" y="9"/>
                    </a:lnTo>
                    <a:lnTo>
                      <a:pt x="14" y="7"/>
                    </a:lnTo>
                    <a:lnTo>
                      <a:pt x="18" y="7"/>
                    </a:lnTo>
                    <a:lnTo>
                      <a:pt x="18" y="5"/>
                    </a:lnTo>
                    <a:lnTo>
                      <a:pt x="21" y="3"/>
                    </a:lnTo>
                    <a:lnTo>
                      <a:pt x="21" y="3"/>
                    </a:lnTo>
                    <a:lnTo>
                      <a:pt x="18" y="0"/>
                    </a:lnTo>
                    <a:lnTo>
                      <a:pt x="18" y="0"/>
                    </a:lnTo>
                    <a:lnTo>
                      <a:pt x="18"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87" name="Freeform 2237"/>
              <p:cNvSpPr>
                <a:spLocks/>
              </p:cNvSpPr>
              <p:nvPr/>
            </p:nvSpPr>
            <p:spPr bwMode="auto">
              <a:xfrm>
                <a:off x="3048" y="1538"/>
                <a:ext cx="14" cy="12"/>
              </a:xfrm>
              <a:custGeom>
                <a:avLst/>
                <a:gdLst>
                  <a:gd name="T0" fmla="*/ 5 w 14"/>
                  <a:gd name="T1" fmla="*/ 5 h 12"/>
                  <a:gd name="T2" fmla="*/ 2 w 14"/>
                  <a:gd name="T3" fmla="*/ 5 h 12"/>
                  <a:gd name="T4" fmla="*/ 0 w 14"/>
                  <a:gd name="T5" fmla="*/ 7 h 12"/>
                  <a:gd name="T6" fmla="*/ 2 w 14"/>
                  <a:gd name="T7" fmla="*/ 7 h 12"/>
                  <a:gd name="T8" fmla="*/ 3 w 14"/>
                  <a:gd name="T9" fmla="*/ 7 h 12"/>
                  <a:gd name="T10" fmla="*/ 7 w 14"/>
                  <a:gd name="T11" fmla="*/ 12 h 12"/>
                  <a:gd name="T12" fmla="*/ 9 w 14"/>
                  <a:gd name="T13" fmla="*/ 12 h 12"/>
                  <a:gd name="T14" fmla="*/ 9 w 14"/>
                  <a:gd name="T15" fmla="*/ 9 h 12"/>
                  <a:gd name="T16" fmla="*/ 14 w 14"/>
                  <a:gd name="T17" fmla="*/ 7 h 12"/>
                  <a:gd name="T18" fmla="*/ 14 w 14"/>
                  <a:gd name="T19" fmla="*/ 5 h 12"/>
                  <a:gd name="T20" fmla="*/ 12 w 14"/>
                  <a:gd name="T21" fmla="*/ 3 h 12"/>
                  <a:gd name="T22" fmla="*/ 11 w 14"/>
                  <a:gd name="T23" fmla="*/ 2 h 12"/>
                  <a:gd name="T24" fmla="*/ 11 w 14"/>
                  <a:gd name="T25" fmla="*/ 2 h 12"/>
                  <a:gd name="T26" fmla="*/ 9 w 14"/>
                  <a:gd name="T27" fmla="*/ 0 h 12"/>
                  <a:gd name="T28" fmla="*/ 7 w 14"/>
                  <a:gd name="T29" fmla="*/ 3 h 12"/>
                  <a:gd name="T30" fmla="*/ 5 w 14"/>
                  <a:gd name="T31"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2">
                    <a:moveTo>
                      <a:pt x="5" y="5"/>
                    </a:moveTo>
                    <a:lnTo>
                      <a:pt x="2" y="5"/>
                    </a:lnTo>
                    <a:lnTo>
                      <a:pt x="0" y="7"/>
                    </a:lnTo>
                    <a:lnTo>
                      <a:pt x="2" y="7"/>
                    </a:lnTo>
                    <a:lnTo>
                      <a:pt x="3" y="7"/>
                    </a:lnTo>
                    <a:lnTo>
                      <a:pt x="7" y="12"/>
                    </a:lnTo>
                    <a:lnTo>
                      <a:pt x="9" y="12"/>
                    </a:lnTo>
                    <a:lnTo>
                      <a:pt x="9" y="9"/>
                    </a:lnTo>
                    <a:lnTo>
                      <a:pt x="14" y="7"/>
                    </a:lnTo>
                    <a:lnTo>
                      <a:pt x="14" y="5"/>
                    </a:lnTo>
                    <a:lnTo>
                      <a:pt x="12" y="3"/>
                    </a:lnTo>
                    <a:lnTo>
                      <a:pt x="11" y="2"/>
                    </a:lnTo>
                    <a:lnTo>
                      <a:pt x="11" y="2"/>
                    </a:lnTo>
                    <a:lnTo>
                      <a:pt x="9" y="0"/>
                    </a:lnTo>
                    <a:lnTo>
                      <a:pt x="7" y="3"/>
                    </a:lnTo>
                    <a:lnTo>
                      <a:pt x="5"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88" name="Freeform 2238"/>
              <p:cNvSpPr>
                <a:spLocks/>
              </p:cNvSpPr>
              <p:nvPr/>
            </p:nvSpPr>
            <p:spPr bwMode="auto">
              <a:xfrm>
                <a:off x="3048" y="1538"/>
                <a:ext cx="14" cy="12"/>
              </a:xfrm>
              <a:custGeom>
                <a:avLst/>
                <a:gdLst>
                  <a:gd name="T0" fmla="*/ 5 w 14"/>
                  <a:gd name="T1" fmla="*/ 5 h 12"/>
                  <a:gd name="T2" fmla="*/ 2 w 14"/>
                  <a:gd name="T3" fmla="*/ 5 h 12"/>
                  <a:gd name="T4" fmla="*/ 0 w 14"/>
                  <a:gd name="T5" fmla="*/ 7 h 12"/>
                  <a:gd name="T6" fmla="*/ 2 w 14"/>
                  <a:gd name="T7" fmla="*/ 7 h 12"/>
                  <a:gd name="T8" fmla="*/ 3 w 14"/>
                  <a:gd name="T9" fmla="*/ 7 h 12"/>
                  <a:gd name="T10" fmla="*/ 7 w 14"/>
                  <a:gd name="T11" fmla="*/ 12 h 12"/>
                  <a:gd name="T12" fmla="*/ 9 w 14"/>
                  <a:gd name="T13" fmla="*/ 12 h 12"/>
                  <a:gd name="T14" fmla="*/ 9 w 14"/>
                  <a:gd name="T15" fmla="*/ 9 h 12"/>
                  <a:gd name="T16" fmla="*/ 14 w 14"/>
                  <a:gd name="T17" fmla="*/ 7 h 12"/>
                  <a:gd name="T18" fmla="*/ 14 w 14"/>
                  <a:gd name="T19" fmla="*/ 5 h 12"/>
                  <a:gd name="T20" fmla="*/ 12 w 14"/>
                  <a:gd name="T21" fmla="*/ 3 h 12"/>
                  <a:gd name="T22" fmla="*/ 11 w 14"/>
                  <a:gd name="T23" fmla="*/ 2 h 12"/>
                  <a:gd name="T24" fmla="*/ 11 w 14"/>
                  <a:gd name="T25" fmla="*/ 2 h 12"/>
                  <a:gd name="T26" fmla="*/ 9 w 14"/>
                  <a:gd name="T27" fmla="*/ 0 h 12"/>
                  <a:gd name="T28" fmla="*/ 7 w 14"/>
                  <a:gd name="T29" fmla="*/ 3 h 12"/>
                  <a:gd name="T30" fmla="*/ 5 w 14"/>
                  <a:gd name="T31"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2">
                    <a:moveTo>
                      <a:pt x="5" y="5"/>
                    </a:moveTo>
                    <a:lnTo>
                      <a:pt x="2" y="5"/>
                    </a:lnTo>
                    <a:lnTo>
                      <a:pt x="0" y="7"/>
                    </a:lnTo>
                    <a:lnTo>
                      <a:pt x="2" y="7"/>
                    </a:lnTo>
                    <a:lnTo>
                      <a:pt x="3" y="7"/>
                    </a:lnTo>
                    <a:lnTo>
                      <a:pt x="7" y="12"/>
                    </a:lnTo>
                    <a:lnTo>
                      <a:pt x="9" y="12"/>
                    </a:lnTo>
                    <a:lnTo>
                      <a:pt x="9" y="9"/>
                    </a:lnTo>
                    <a:lnTo>
                      <a:pt x="14" y="7"/>
                    </a:lnTo>
                    <a:lnTo>
                      <a:pt x="14" y="5"/>
                    </a:lnTo>
                    <a:lnTo>
                      <a:pt x="12" y="3"/>
                    </a:lnTo>
                    <a:lnTo>
                      <a:pt x="11" y="2"/>
                    </a:lnTo>
                    <a:lnTo>
                      <a:pt x="11" y="2"/>
                    </a:lnTo>
                    <a:lnTo>
                      <a:pt x="9" y="0"/>
                    </a:lnTo>
                    <a:lnTo>
                      <a:pt x="7" y="3"/>
                    </a:lnTo>
                    <a:lnTo>
                      <a:pt x="5"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89" name="Freeform 2239"/>
              <p:cNvSpPr>
                <a:spLocks/>
              </p:cNvSpPr>
              <p:nvPr/>
            </p:nvSpPr>
            <p:spPr bwMode="auto">
              <a:xfrm>
                <a:off x="3071" y="1520"/>
                <a:ext cx="77" cy="64"/>
              </a:xfrm>
              <a:custGeom>
                <a:avLst/>
                <a:gdLst>
                  <a:gd name="T0" fmla="*/ 36 w 77"/>
                  <a:gd name="T1" fmla="*/ 0 h 64"/>
                  <a:gd name="T2" fmla="*/ 39 w 77"/>
                  <a:gd name="T3" fmla="*/ 2 h 64"/>
                  <a:gd name="T4" fmla="*/ 54 w 77"/>
                  <a:gd name="T5" fmla="*/ 7 h 64"/>
                  <a:gd name="T6" fmla="*/ 70 w 77"/>
                  <a:gd name="T7" fmla="*/ 7 h 64"/>
                  <a:gd name="T8" fmla="*/ 73 w 77"/>
                  <a:gd name="T9" fmla="*/ 5 h 64"/>
                  <a:gd name="T10" fmla="*/ 77 w 77"/>
                  <a:gd name="T11" fmla="*/ 7 h 64"/>
                  <a:gd name="T12" fmla="*/ 77 w 77"/>
                  <a:gd name="T13" fmla="*/ 11 h 64"/>
                  <a:gd name="T14" fmla="*/ 70 w 77"/>
                  <a:gd name="T15" fmla="*/ 23 h 64"/>
                  <a:gd name="T16" fmla="*/ 70 w 77"/>
                  <a:gd name="T17" fmla="*/ 32 h 64"/>
                  <a:gd name="T18" fmla="*/ 70 w 77"/>
                  <a:gd name="T19" fmla="*/ 37 h 64"/>
                  <a:gd name="T20" fmla="*/ 66 w 77"/>
                  <a:gd name="T21" fmla="*/ 43 h 64"/>
                  <a:gd name="T22" fmla="*/ 66 w 77"/>
                  <a:gd name="T23" fmla="*/ 48 h 64"/>
                  <a:gd name="T24" fmla="*/ 75 w 77"/>
                  <a:gd name="T25" fmla="*/ 52 h 64"/>
                  <a:gd name="T26" fmla="*/ 71 w 77"/>
                  <a:gd name="T27" fmla="*/ 57 h 64"/>
                  <a:gd name="T28" fmla="*/ 68 w 77"/>
                  <a:gd name="T29" fmla="*/ 55 h 64"/>
                  <a:gd name="T30" fmla="*/ 64 w 77"/>
                  <a:gd name="T31" fmla="*/ 64 h 64"/>
                  <a:gd name="T32" fmla="*/ 59 w 77"/>
                  <a:gd name="T33" fmla="*/ 62 h 64"/>
                  <a:gd name="T34" fmla="*/ 54 w 77"/>
                  <a:gd name="T35" fmla="*/ 64 h 64"/>
                  <a:gd name="T36" fmla="*/ 45 w 77"/>
                  <a:gd name="T37" fmla="*/ 59 h 64"/>
                  <a:gd name="T38" fmla="*/ 38 w 77"/>
                  <a:gd name="T39" fmla="*/ 54 h 64"/>
                  <a:gd name="T40" fmla="*/ 30 w 77"/>
                  <a:gd name="T41" fmla="*/ 50 h 64"/>
                  <a:gd name="T42" fmla="*/ 18 w 77"/>
                  <a:gd name="T43" fmla="*/ 54 h 64"/>
                  <a:gd name="T44" fmla="*/ 14 w 77"/>
                  <a:gd name="T45" fmla="*/ 57 h 64"/>
                  <a:gd name="T46" fmla="*/ 16 w 77"/>
                  <a:gd name="T47" fmla="*/ 41 h 64"/>
                  <a:gd name="T48" fmla="*/ 13 w 77"/>
                  <a:gd name="T49" fmla="*/ 43 h 64"/>
                  <a:gd name="T50" fmla="*/ 7 w 77"/>
                  <a:gd name="T51" fmla="*/ 41 h 64"/>
                  <a:gd name="T52" fmla="*/ 4 w 77"/>
                  <a:gd name="T53" fmla="*/ 41 h 64"/>
                  <a:gd name="T54" fmla="*/ 0 w 77"/>
                  <a:gd name="T55" fmla="*/ 36 h 64"/>
                  <a:gd name="T56" fmla="*/ 2 w 77"/>
                  <a:gd name="T57" fmla="*/ 29 h 64"/>
                  <a:gd name="T58" fmla="*/ 4 w 77"/>
                  <a:gd name="T59" fmla="*/ 29 h 64"/>
                  <a:gd name="T60" fmla="*/ 0 w 77"/>
                  <a:gd name="T61" fmla="*/ 23 h 64"/>
                  <a:gd name="T62" fmla="*/ 0 w 77"/>
                  <a:gd name="T63" fmla="*/ 21 h 64"/>
                  <a:gd name="T64" fmla="*/ 0 w 77"/>
                  <a:gd name="T65" fmla="*/ 14 h 64"/>
                  <a:gd name="T66" fmla="*/ 9 w 77"/>
                  <a:gd name="T67" fmla="*/ 11 h 64"/>
                  <a:gd name="T68" fmla="*/ 11 w 77"/>
                  <a:gd name="T69" fmla="*/ 9 h 64"/>
                  <a:gd name="T70" fmla="*/ 14 w 77"/>
                  <a:gd name="T71" fmla="*/ 7 h 64"/>
                  <a:gd name="T72" fmla="*/ 21 w 77"/>
                  <a:gd name="T73" fmla="*/ 4 h 64"/>
                  <a:gd name="T74" fmla="*/ 30 w 77"/>
                  <a:gd name="T75" fmla="*/ 5 h 64"/>
                  <a:gd name="T76" fmla="*/ 32 w 77"/>
                  <a:gd name="T77"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 h="64">
                    <a:moveTo>
                      <a:pt x="34" y="2"/>
                    </a:moveTo>
                    <a:lnTo>
                      <a:pt x="36" y="0"/>
                    </a:lnTo>
                    <a:lnTo>
                      <a:pt x="38" y="4"/>
                    </a:lnTo>
                    <a:lnTo>
                      <a:pt x="39" y="2"/>
                    </a:lnTo>
                    <a:lnTo>
                      <a:pt x="52" y="5"/>
                    </a:lnTo>
                    <a:lnTo>
                      <a:pt x="54" y="7"/>
                    </a:lnTo>
                    <a:lnTo>
                      <a:pt x="57" y="7"/>
                    </a:lnTo>
                    <a:lnTo>
                      <a:pt x="70" y="7"/>
                    </a:lnTo>
                    <a:lnTo>
                      <a:pt x="73" y="7"/>
                    </a:lnTo>
                    <a:lnTo>
                      <a:pt x="73" y="5"/>
                    </a:lnTo>
                    <a:lnTo>
                      <a:pt x="75" y="5"/>
                    </a:lnTo>
                    <a:lnTo>
                      <a:pt x="77" y="7"/>
                    </a:lnTo>
                    <a:lnTo>
                      <a:pt x="77" y="9"/>
                    </a:lnTo>
                    <a:lnTo>
                      <a:pt x="77" y="11"/>
                    </a:lnTo>
                    <a:lnTo>
                      <a:pt x="73" y="14"/>
                    </a:lnTo>
                    <a:lnTo>
                      <a:pt x="70" y="23"/>
                    </a:lnTo>
                    <a:lnTo>
                      <a:pt x="70" y="27"/>
                    </a:lnTo>
                    <a:lnTo>
                      <a:pt x="70" y="32"/>
                    </a:lnTo>
                    <a:lnTo>
                      <a:pt x="70" y="36"/>
                    </a:lnTo>
                    <a:lnTo>
                      <a:pt x="70" y="37"/>
                    </a:lnTo>
                    <a:lnTo>
                      <a:pt x="70" y="39"/>
                    </a:lnTo>
                    <a:lnTo>
                      <a:pt x="66" y="43"/>
                    </a:lnTo>
                    <a:lnTo>
                      <a:pt x="64" y="45"/>
                    </a:lnTo>
                    <a:lnTo>
                      <a:pt x="66" y="48"/>
                    </a:lnTo>
                    <a:lnTo>
                      <a:pt x="73" y="48"/>
                    </a:lnTo>
                    <a:lnTo>
                      <a:pt x="75" y="52"/>
                    </a:lnTo>
                    <a:lnTo>
                      <a:pt x="75" y="57"/>
                    </a:lnTo>
                    <a:lnTo>
                      <a:pt x="71" y="57"/>
                    </a:lnTo>
                    <a:lnTo>
                      <a:pt x="68" y="52"/>
                    </a:lnTo>
                    <a:lnTo>
                      <a:pt x="68" y="55"/>
                    </a:lnTo>
                    <a:lnTo>
                      <a:pt x="64" y="62"/>
                    </a:lnTo>
                    <a:lnTo>
                      <a:pt x="64" y="64"/>
                    </a:lnTo>
                    <a:lnTo>
                      <a:pt x="64" y="64"/>
                    </a:lnTo>
                    <a:lnTo>
                      <a:pt x="59" y="62"/>
                    </a:lnTo>
                    <a:lnTo>
                      <a:pt x="55" y="64"/>
                    </a:lnTo>
                    <a:lnTo>
                      <a:pt x="54" y="64"/>
                    </a:lnTo>
                    <a:lnTo>
                      <a:pt x="50" y="64"/>
                    </a:lnTo>
                    <a:lnTo>
                      <a:pt x="45" y="59"/>
                    </a:lnTo>
                    <a:lnTo>
                      <a:pt x="43" y="55"/>
                    </a:lnTo>
                    <a:lnTo>
                      <a:pt x="38" y="54"/>
                    </a:lnTo>
                    <a:lnTo>
                      <a:pt x="34" y="52"/>
                    </a:lnTo>
                    <a:lnTo>
                      <a:pt x="30" y="50"/>
                    </a:lnTo>
                    <a:lnTo>
                      <a:pt x="21" y="52"/>
                    </a:lnTo>
                    <a:lnTo>
                      <a:pt x="18" y="54"/>
                    </a:lnTo>
                    <a:lnTo>
                      <a:pt x="16" y="55"/>
                    </a:lnTo>
                    <a:lnTo>
                      <a:pt x="14" y="57"/>
                    </a:lnTo>
                    <a:lnTo>
                      <a:pt x="16" y="43"/>
                    </a:lnTo>
                    <a:lnTo>
                      <a:pt x="16" y="41"/>
                    </a:lnTo>
                    <a:lnTo>
                      <a:pt x="13" y="41"/>
                    </a:lnTo>
                    <a:lnTo>
                      <a:pt x="13" y="43"/>
                    </a:lnTo>
                    <a:lnTo>
                      <a:pt x="9" y="45"/>
                    </a:lnTo>
                    <a:lnTo>
                      <a:pt x="7" y="41"/>
                    </a:lnTo>
                    <a:lnTo>
                      <a:pt x="5" y="41"/>
                    </a:lnTo>
                    <a:lnTo>
                      <a:pt x="4" y="41"/>
                    </a:lnTo>
                    <a:lnTo>
                      <a:pt x="2" y="37"/>
                    </a:lnTo>
                    <a:lnTo>
                      <a:pt x="0" y="36"/>
                    </a:lnTo>
                    <a:lnTo>
                      <a:pt x="0" y="32"/>
                    </a:lnTo>
                    <a:lnTo>
                      <a:pt x="2" y="29"/>
                    </a:lnTo>
                    <a:lnTo>
                      <a:pt x="5" y="29"/>
                    </a:lnTo>
                    <a:lnTo>
                      <a:pt x="4" y="29"/>
                    </a:lnTo>
                    <a:lnTo>
                      <a:pt x="0" y="27"/>
                    </a:lnTo>
                    <a:lnTo>
                      <a:pt x="0" y="23"/>
                    </a:lnTo>
                    <a:lnTo>
                      <a:pt x="2" y="23"/>
                    </a:lnTo>
                    <a:lnTo>
                      <a:pt x="0" y="21"/>
                    </a:lnTo>
                    <a:lnTo>
                      <a:pt x="0" y="21"/>
                    </a:lnTo>
                    <a:lnTo>
                      <a:pt x="0" y="14"/>
                    </a:lnTo>
                    <a:lnTo>
                      <a:pt x="2" y="14"/>
                    </a:lnTo>
                    <a:lnTo>
                      <a:pt x="9" y="11"/>
                    </a:lnTo>
                    <a:lnTo>
                      <a:pt x="9" y="11"/>
                    </a:lnTo>
                    <a:lnTo>
                      <a:pt x="11" y="9"/>
                    </a:lnTo>
                    <a:lnTo>
                      <a:pt x="13" y="9"/>
                    </a:lnTo>
                    <a:lnTo>
                      <a:pt x="14" y="7"/>
                    </a:lnTo>
                    <a:lnTo>
                      <a:pt x="21" y="7"/>
                    </a:lnTo>
                    <a:lnTo>
                      <a:pt x="21" y="4"/>
                    </a:lnTo>
                    <a:lnTo>
                      <a:pt x="25" y="5"/>
                    </a:lnTo>
                    <a:lnTo>
                      <a:pt x="30" y="5"/>
                    </a:lnTo>
                    <a:lnTo>
                      <a:pt x="32" y="4"/>
                    </a:lnTo>
                    <a:lnTo>
                      <a:pt x="32" y="2"/>
                    </a:lnTo>
                    <a:lnTo>
                      <a:pt x="3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90" name="Freeform 2240"/>
              <p:cNvSpPr>
                <a:spLocks/>
              </p:cNvSpPr>
              <p:nvPr/>
            </p:nvSpPr>
            <p:spPr bwMode="auto">
              <a:xfrm>
                <a:off x="3071" y="1520"/>
                <a:ext cx="77" cy="64"/>
              </a:xfrm>
              <a:custGeom>
                <a:avLst/>
                <a:gdLst>
                  <a:gd name="T0" fmla="*/ 36 w 77"/>
                  <a:gd name="T1" fmla="*/ 0 h 64"/>
                  <a:gd name="T2" fmla="*/ 39 w 77"/>
                  <a:gd name="T3" fmla="*/ 2 h 64"/>
                  <a:gd name="T4" fmla="*/ 54 w 77"/>
                  <a:gd name="T5" fmla="*/ 7 h 64"/>
                  <a:gd name="T6" fmla="*/ 70 w 77"/>
                  <a:gd name="T7" fmla="*/ 7 h 64"/>
                  <a:gd name="T8" fmla="*/ 73 w 77"/>
                  <a:gd name="T9" fmla="*/ 5 h 64"/>
                  <a:gd name="T10" fmla="*/ 77 w 77"/>
                  <a:gd name="T11" fmla="*/ 7 h 64"/>
                  <a:gd name="T12" fmla="*/ 77 w 77"/>
                  <a:gd name="T13" fmla="*/ 11 h 64"/>
                  <a:gd name="T14" fmla="*/ 70 w 77"/>
                  <a:gd name="T15" fmla="*/ 23 h 64"/>
                  <a:gd name="T16" fmla="*/ 70 w 77"/>
                  <a:gd name="T17" fmla="*/ 32 h 64"/>
                  <a:gd name="T18" fmla="*/ 70 w 77"/>
                  <a:gd name="T19" fmla="*/ 37 h 64"/>
                  <a:gd name="T20" fmla="*/ 66 w 77"/>
                  <a:gd name="T21" fmla="*/ 43 h 64"/>
                  <a:gd name="T22" fmla="*/ 66 w 77"/>
                  <a:gd name="T23" fmla="*/ 48 h 64"/>
                  <a:gd name="T24" fmla="*/ 75 w 77"/>
                  <a:gd name="T25" fmla="*/ 52 h 64"/>
                  <a:gd name="T26" fmla="*/ 71 w 77"/>
                  <a:gd name="T27" fmla="*/ 57 h 64"/>
                  <a:gd name="T28" fmla="*/ 68 w 77"/>
                  <a:gd name="T29" fmla="*/ 55 h 64"/>
                  <a:gd name="T30" fmla="*/ 64 w 77"/>
                  <a:gd name="T31" fmla="*/ 64 h 64"/>
                  <a:gd name="T32" fmla="*/ 59 w 77"/>
                  <a:gd name="T33" fmla="*/ 62 h 64"/>
                  <a:gd name="T34" fmla="*/ 54 w 77"/>
                  <a:gd name="T35" fmla="*/ 64 h 64"/>
                  <a:gd name="T36" fmla="*/ 45 w 77"/>
                  <a:gd name="T37" fmla="*/ 59 h 64"/>
                  <a:gd name="T38" fmla="*/ 38 w 77"/>
                  <a:gd name="T39" fmla="*/ 54 h 64"/>
                  <a:gd name="T40" fmla="*/ 30 w 77"/>
                  <a:gd name="T41" fmla="*/ 50 h 64"/>
                  <a:gd name="T42" fmla="*/ 18 w 77"/>
                  <a:gd name="T43" fmla="*/ 54 h 64"/>
                  <a:gd name="T44" fmla="*/ 14 w 77"/>
                  <a:gd name="T45" fmla="*/ 57 h 64"/>
                  <a:gd name="T46" fmla="*/ 16 w 77"/>
                  <a:gd name="T47" fmla="*/ 41 h 64"/>
                  <a:gd name="T48" fmla="*/ 13 w 77"/>
                  <a:gd name="T49" fmla="*/ 43 h 64"/>
                  <a:gd name="T50" fmla="*/ 7 w 77"/>
                  <a:gd name="T51" fmla="*/ 41 h 64"/>
                  <a:gd name="T52" fmla="*/ 4 w 77"/>
                  <a:gd name="T53" fmla="*/ 41 h 64"/>
                  <a:gd name="T54" fmla="*/ 0 w 77"/>
                  <a:gd name="T55" fmla="*/ 36 h 64"/>
                  <a:gd name="T56" fmla="*/ 2 w 77"/>
                  <a:gd name="T57" fmla="*/ 29 h 64"/>
                  <a:gd name="T58" fmla="*/ 4 w 77"/>
                  <a:gd name="T59" fmla="*/ 29 h 64"/>
                  <a:gd name="T60" fmla="*/ 0 w 77"/>
                  <a:gd name="T61" fmla="*/ 23 h 64"/>
                  <a:gd name="T62" fmla="*/ 0 w 77"/>
                  <a:gd name="T63" fmla="*/ 21 h 64"/>
                  <a:gd name="T64" fmla="*/ 0 w 77"/>
                  <a:gd name="T65" fmla="*/ 14 h 64"/>
                  <a:gd name="T66" fmla="*/ 9 w 77"/>
                  <a:gd name="T67" fmla="*/ 11 h 64"/>
                  <a:gd name="T68" fmla="*/ 11 w 77"/>
                  <a:gd name="T69" fmla="*/ 9 h 64"/>
                  <a:gd name="T70" fmla="*/ 14 w 77"/>
                  <a:gd name="T71" fmla="*/ 7 h 64"/>
                  <a:gd name="T72" fmla="*/ 21 w 77"/>
                  <a:gd name="T73" fmla="*/ 4 h 64"/>
                  <a:gd name="T74" fmla="*/ 30 w 77"/>
                  <a:gd name="T75" fmla="*/ 5 h 64"/>
                  <a:gd name="T76" fmla="*/ 32 w 77"/>
                  <a:gd name="T77" fmla="*/ 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7" h="64">
                    <a:moveTo>
                      <a:pt x="34" y="2"/>
                    </a:moveTo>
                    <a:lnTo>
                      <a:pt x="36" y="0"/>
                    </a:lnTo>
                    <a:lnTo>
                      <a:pt x="38" y="4"/>
                    </a:lnTo>
                    <a:lnTo>
                      <a:pt x="39" y="2"/>
                    </a:lnTo>
                    <a:lnTo>
                      <a:pt x="52" y="5"/>
                    </a:lnTo>
                    <a:lnTo>
                      <a:pt x="54" y="7"/>
                    </a:lnTo>
                    <a:lnTo>
                      <a:pt x="57" y="7"/>
                    </a:lnTo>
                    <a:lnTo>
                      <a:pt x="70" y="7"/>
                    </a:lnTo>
                    <a:lnTo>
                      <a:pt x="73" y="7"/>
                    </a:lnTo>
                    <a:lnTo>
                      <a:pt x="73" y="5"/>
                    </a:lnTo>
                    <a:lnTo>
                      <a:pt x="75" y="5"/>
                    </a:lnTo>
                    <a:lnTo>
                      <a:pt x="77" y="7"/>
                    </a:lnTo>
                    <a:lnTo>
                      <a:pt x="77" y="9"/>
                    </a:lnTo>
                    <a:lnTo>
                      <a:pt x="77" y="11"/>
                    </a:lnTo>
                    <a:lnTo>
                      <a:pt x="73" y="14"/>
                    </a:lnTo>
                    <a:lnTo>
                      <a:pt x="70" y="23"/>
                    </a:lnTo>
                    <a:lnTo>
                      <a:pt x="70" y="27"/>
                    </a:lnTo>
                    <a:lnTo>
                      <a:pt x="70" y="32"/>
                    </a:lnTo>
                    <a:lnTo>
                      <a:pt x="70" y="36"/>
                    </a:lnTo>
                    <a:lnTo>
                      <a:pt x="70" y="37"/>
                    </a:lnTo>
                    <a:lnTo>
                      <a:pt x="70" y="39"/>
                    </a:lnTo>
                    <a:lnTo>
                      <a:pt x="66" y="43"/>
                    </a:lnTo>
                    <a:lnTo>
                      <a:pt x="64" y="45"/>
                    </a:lnTo>
                    <a:lnTo>
                      <a:pt x="66" y="48"/>
                    </a:lnTo>
                    <a:lnTo>
                      <a:pt x="73" y="48"/>
                    </a:lnTo>
                    <a:lnTo>
                      <a:pt x="75" y="52"/>
                    </a:lnTo>
                    <a:lnTo>
                      <a:pt x="75" y="57"/>
                    </a:lnTo>
                    <a:lnTo>
                      <a:pt x="71" y="57"/>
                    </a:lnTo>
                    <a:lnTo>
                      <a:pt x="68" y="52"/>
                    </a:lnTo>
                    <a:lnTo>
                      <a:pt x="68" y="55"/>
                    </a:lnTo>
                    <a:lnTo>
                      <a:pt x="64" y="62"/>
                    </a:lnTo>
                    <a:lnTo>
                      <a:pt x="64" y="64"/>
                    </a:lnTo>
                    <a:lnTo>
                      <a:pt x="64" y="64"/>
                    </a:lnTo>
                    <a:lnTo>
                      <a:pt x="59" y="62"/>
                    </a:lnTo>
                    <a:lnTo>
                      <a:pt x="55" y="64"/>
                    </a:lnTo>
                    <a:lnTo>
                      <a:pt x="54" y="64"/>
                    </a:lnTo>
                    <a:lnTo>
                      <a:pt x="50" y="64"/>
                    </a:lnTo>
                    <a:lnTo>
                      <a:pt x="45" y="59"/>
                    </a:lnTo>
                    <a:lnTo>
                      <a:pt x="43" y="55"/>
                    </a:lnTo>
                    <a:lnTo>
                      <a:pt x="38" y="54"/>
                    </a:lnTo>
                    <a:lnTo>
                      <a:pt x="34" y="52"/>
                    </a:lnTo>
                    <a:lnTo>
                      <a:pt x="30" y="50"/>
                    </a:lnTo>
                    <a:lnTo>
                      <a:pt x="21" y="52"/>
                    </a:lnTo>
                    <a:lnTo>
                      <a:pt x="18" y="54"/>
                    </a:lnTo>
                    <a:lnTo>
                      <a:pt x="16" y="55"/>
                    </a:lnTo>
                    <a:lnTo>
                      <a:pt x="14" y="57"/>
                    </a:lnTo>
                    <a:lnTo>
                      <a:pt x="16" y="43"/>
                    </a:lnTo>
                    <a:lnTo>
                      <a:pt x="16" y="41"/>
                    </a:lnTo>
                    <a:lnTo>
                      <a:pt x="13" y="41"/>
                    </a:lnTo>
                    <a:lnTo>
                      <a:pt x="13" y="43"/>
                    </a:lnTo>
                    <a:lnTo>
                      <a:pt x="9" y="45"/>
                    </a:lnTo>
                    <a:lnTo>
                      <a:pt x="7" y="41"/>
                    </a:lnTo>
                    <a:lnTo>
                      <a:pt x="5" y="41"/>
                    </a:lnTo>
                    <a:lnTo>
                      <a:pt x="4" y="41"/>
                    </a:lnTo>
                    <a:lnTo>
                      <a:pt x="2" y="37"/>
                    </a:lnTo>
                    <a:lnTo>
                      <a:pt x="0" y="36"/>
                    </a:lnTo>
                    <a:lnTo>
                      <a:pt x="0" y="32"/>
                    </a:lnTo>
                    <a:lnTo>
                      <a:pt x="2" y="29"/>
                    </a:lnTo>
                    <a:lnTo>
                      <a:pt x="5" y="29"/>
                    </a:lnTo>
                    <a:lnTo>
                      <a:pt x="4" y="29"/>
                    </a:lnTo>
                    <a:lnTo>
                      <a:pt x="0" y="27"/>
                    </a:lnTo>
                    <a:lnTo>
                      <a:pt x="0" y="23"/>
                    </a:lnTo>
                    <a:lnTo>
                      <a:pt x="2" y="23"/>
                    </a:lnTo>
                    <a:lnTo>
                      <a:pt x="0" y="21"/>
                    </a:lnTo>
                    <a:lnTo>
                      <a:pt x="0" y="21"/>
                    </a:lnTo>
                    <a:lnTo>
                      <a:pt x="0" y="14"/>
                    </a:lnTo>
                    <a:lnTo>
                      <a:pt x="2" y="14"/>
                    </a:lnTo>
                    <a:lnTo>
                      <a:pt x="9" y="11"/>
                    </a:lnTo>
                    <a:lnTo>
                      <a:pt x="9" y="11"/>
                    </a:lnTo>
                    <a:lnTo>
                      <a:pt x="11" y="9"/>
                    </a:lnTo>
                    <a:lnTo>
                      <a:pt x="13" y="9"/>
                    </a:lnTo>
                    <a:lnTo>
                      <a:pt x="14" y="7"/>
                    </a:lnTo>
                    <a:lnTo>
                      <a:pt x="21" y="7"/>
                    </a:lnTo>
                    <a:lnTo>
                      <a:pt x="21" y="4"/>
                    </a:lnTo>
                    <a:lnTo>
                      <a:pt x="25" y="5"/>
                    </a:lnTo>
                    <a:lnTo>
                      <a:pt x="30" y="5"/>
                    </a:lnTo>
                    <a:lnTo>
                      <a:pt x="32" y="4"/>
                    </a:lnTo>
                    <a:lnTo>
                      <a:pt x="32" y="2"/>
                    </a:lnTo>
                    <a:lnTo>
                      <a:pt x="3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91" name="Freeform 2241"/>
              <p:cNvSpPr>
                <a:spLocks/>
              </p:cNvSpPr>
              <p:nvPr/>
            </p:nvSpPr>
            <p:spPr bwMode="auto">
              <a:xfrm>
                <a:off x="2791" y="1663"/>
                <a:ext cx="143" cy="191"/>
              </a:xfrm>
              <a:custGeom>
                <a:avLst/>
                <a:gdLst>
                  <a:gd name="T0" fmla="*/ 77 w 143"/>
                  <a:gd name="T1" fmla="*/ 21 h 191"/>
                  <a:gd name="T2" fmla="*/ 80 w 143"/>
                  <a:gd name="T3" fmla="*/ 14 h 191"/>
                  <a:gd name="T4" fmla="*/ 71 w 143"/>
                  <a:gd name="T5" fmla="*/ 14 h 191"/>
                  <a:gd name="T6" fmla="*/ 66 w 143"/>
                  <a:gd name="T7" fmla="*/ 14 h 191"/>
                  <a:gd name="T8" fmla="*/ 62 w 143"/>
                  <a:gd name="T9" fmla="*/ 11 h 191"/>
                  <a:gd name="T10" fmla="*/ 62 w 143"/>
                  <a:gd name="T11" fmla="*/ 2 h 191"/>
                  <a:gd name="T12" fmla="*/ 55 w 143"/>
                  <a:gd name="T13" fmla="*/ 0 h 191"/>
                  <a:gd name="T14" fmla="*/ 44 w 143"/>
                  <a:gd name="T15" fmla="*/ 0 h 191"/>
                  <a:gd name="T16" fmla="*/ 44 w 143"/>
                  <a:gd name="T17" fmla="*/ 12 h 191"/>
                  <a:gd name="T18" fmla="*/ 46 w 143"/>
                  <a:gd name="T19" fmla="*/ 16 h 191"/>
                  <a:gd name="T20" fmla="*/ 46 w 143"/>
                  <a:gd name="T21" fmla="*/ 19 h 191"/>
                  <a:gd name="T22" fmla="*/ 46 w 143"/>
                  <a:gd name="T23" fmla="*/ 23 h 191"/>
                  <a:gd name="T24" fmla="*/ 50 w 143"/>
                  <a:gd name="T25" fmla="*/ 28 h 191"/>
                  <a:gd name="T26" fmla="*/ 41 w 143"/>
                  <a:gd name="T27" fmla="*/ 37 h 191"/>
                  <a:gd name="T28" fmla="*/ 37 w 143"/>
                  <a:gd name="T29" fmla="*/ 36 h 191"/>
                  <a:gd name="T30" fmla="*/ 35 w 143"/>
                  <a:gd name="T31" fmla="*/ 36 h 191"/>
                  <a:gd name="T32" fmla="*/ 21 w 143"/>
                  <a:gd name="T33" fmla="*/ 34 h 191"/>
                  <a:gd name="T34" fmla="*/ 18 w 143"/>
                  <a:gd name="T35" fmla="*/ 39 h 191"/>
                  <a:gd name="T36" fmla="*/ 25 w 143"/>
                  <a:gd name="T37" fmla="*/ 43 h 191"/>
                  <a:gd name="T38" fmla="*/ 23 w 143"/>
                  <a:gd name="T39" fmla="*/ 43 h 191"/>
                  <a:gd name="T40" fmla="*/ 10 w 143"/>
                  <a:gd name="T41" fmla="*/ 61 h 191"/>
                  <a:gd name="T42" fmla="*/ 18 w 143"/>
                  <a:gd name="T43" fmla="*/ 69 h 191"/>
                  <a:gd name="T44" fmla="*/ 12 w 143"/>
                  <a:gd name="T45" fmla="*/ 77 h 191"/>
                  <a:gd name="T46" fmla="*/ 3 w 143"/>
                  <a:gd name="T47" fmla="*/ 78 h 191"/>
                  <a:gd name="T48" fmla="*/ 0 w 143"/>
                  <a:gd name="T49" fmla="*/ 100 h 191"/>
                  <a:gd name="T50" fmla="*/ 2 w 143"/>
                  <a:gd name="T51" fmla="*/ 109 h 191"/>
                  <a:gd name="T52" fmla="*/ 5 w 143"/>
                  <a:gd name="T53" fmla="*/ 116 h 191"/>
                  <a:gd name="T54" fmla="*/ 5 w 143"/>
                  <a:gd name="T55" fmla="*/ 125 h 191"/>
                  <a:gd name="T56" fmla="*/ 7 w 143"/>
                  <a:gd name="T57" fmla="*/ 134 h 191"/>
                  <a:gd name="T58" fmla="*/ 10 w 143"/>
                  <a:gd name="T59" fmla="*/ 144 h 191"/>
                  <a:gd name="T60" fmla="*/ 34 w 143"/>
                  <a:gd name="T61" fmla="*/ 157 h 191"/>
                  <a:gd name="T62" fmla="*/ 25 w 143"/>
                  <a:gd name="T63" fmla="*/ 184 h 191"/>
                  <a:gd name="T64" fmla="*/ 46 w 143"/>
                  <a:gd name="T65" fmla="*/ 184 h 191"/>
                  <a:gd name="T66" fmla="*/ 62 w 143"/>
                  <a:gd name="T67" fmla="*/ 187 h 191"/>
                  <a:gd name="T68" fmla="*/ 69 w 143"/>
                  <a:gd name="T69" fmla="*/ 191 h 191"/>
                  <a:gd name="T70" fmla="*/ 73 w 143"/>
                  <a:gd name="T71" fmla="*/ 187 h 191"/>
                  <a:gd name="T72" fmla="*/ 85 w 143"/>
                  <a:gd name="T73" fmla="*/ 189 h 191"/>
                  <a:gd name="T74" fmla="*/ 101 w 143"/>
                  <a:gd name="T75" fmla="*/ 184 h 191"/>
                  <a:gd name="T76" fmla="*/ 110 w 143"/>
                  <a:gd name="T77" fmla="*/ 186 h 191"/>
                  <a:gd name="T78" fmla="*/ 110 w 143"/>
                  <a:gd name="T79" fmla="*/ 178 h 191"/>
                  <a:gd name="T80" fmla="*/ 118 w 143"/>
                  <a:gd name="T81" fmla="*/ 168 h 191"/>
                  <a:gd name="T82" fmla="*/ 125 w 143"/>
                  <a:gd name="T83" fmla="*/ 159 h 191"/>
                  <a:gd name="T84" fmla="*/ 98 w 143"/>
                  <a:gd name="T85" fmla="*/ 127 h 191"/>
                  <a:gd name="T86" fmla="*/ 96 w 143"/>
                  <a:gd name="T87" fmla="*/ 119 h 191"/>
                  <a:gd name="T88" fmla="*/ 103 w 143"/>
                  <a:gd name="T89" fmla="*/ 119 h 191"/>
                  <a:gd name="T90" fmla="*/ 130 w 143"/>
                  <a:gd name="T91" fmla="*/ 105 h 191"/>
                  <a:gd name="T92" fmla="*/ 139 w 143"/>
                  <a:gd name="T93" fmla="*/ 107 h 191"/>
                  <a:gd name="T94" fmla="*/ 143 w 143"/>
                  <a:gd name="T95" fmla="*/ 91 h 191"/>
                  <a:gd name="T96" fmla="*/ 130 w 143"/>
                  <a:gd name="T97" fmla="*/ 55 h 191"/>
                  <a:gd name="T98" fmla="*/ 134 w 143"/>
                  <a:gd name="T99" fmla="*/ 37 h 191"/>
                  <a:gd name="T100" fmla="*/ 123 w 143"/>
                  <a:gd name="T101" fmla="*/ 25 h 191"/>
                  <a:gd name="T102" fmla="*/ 116 w 143"/>
                  <a:gd name="T103" fmla="*/ 19 h 191"/>
                  <a:gd name="T104" fmla="*/ 112 w 143"/>
                  <a:gd name="T105" fmla="*/ 16 h 191"/>
                  <a:gd name="T106" fmla="*/ 103 w 143"/>
                  <a:gd name="T107" fmla="*/ 16 h 191"/>
                  <a:gd name="T108" fmla="*/ 105 w 143"/>
                  <a:gd name="T109" fmla="*/ 11 h 191"/>
                  <a:gd name="T110" fmla="*/ 98 w 143"/>
                  <a:gd name="T111" fmla="*/ 19 h 191"/>
                  <a:gd name="T112" fmla="*/ 91 w 143"/>
                  <a:gd name="T113" fmla="*/ 19 h 191"/>
                  <a:gd name="T114" fmla="*/ 85 w 143"/>
                  <a:gd name="T115" fmla="*/ 25 h 191"/>
                  <a:gd name="T116" fmla="*/ 77 w 143"/>
                  <a:gd name="T117" fmla="*/ 2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3" h="191">
                    <a:moveTo>
                      <a:pt x="77" y="25"/>
                    </a:moveTo>
                    <a:lnTo>
                      <a:pt x="77" y="23"/>
                    </a:lnTo>
                    <a:lnTo>
                      <a:pt x="77" y="21"/>
                    </a:lnTo>
                    <a:lnTo>
                      <a:pt x="80" y="18"/>
                    </a:lnTo>
                    <a:lnTo>
                      <a:pt x="80" y="14"/>
                    </a:lnTo>
                    <a:lnTo>
                      <a:pt x="80" y="14"/>
                    </a:lnTo>
                    <a:lnTo>
                      <a:pt x="75" y="16"/>
                    </a:lnTo>
                    <a:lnTo>
                      <a:pt x="73" y="16"/>
                    </a:lnTo>
                    <a:lnTo>
                      <a:pt x="71" y="14"/>
                    </a:lnTo>
                    <a:lnTo>
                      <a:pt x="68" y="12"/>
                    </a:lnTo>
                    <a:lnTo>
                      <a:pt x="68" y="14"/>
                    </a:lnTo>
                    <a:lnTo>
                      <a:pt x="66" y="14"/>
                    </a:lnTo>
                    <a:lnTo>
                      <a:pt x="66" y="12"/>
                    </a:lnTo>
                    <a:lnTo>
                      <a:pt x="62" y="12"/>
                    </a:lnTo>
                    <a:lnTo>
                      <a:pt x="62" y="11"/>
                    </a:lnTo>
                    <a:lnTo>
                      <a:pt x="64" y="9"/>
                    </a:lnTo>
                    <a:lnTo>
                      <a:pt x="64" y="5"/>
                    </a:lnTo>
                    <a:lnTo>
                      <a:pt x="62" y="2"/>
                    </a:lnTo>
                    <a:lnTo>
                      <a:pt x="57" y="2"/>
                    </a:lnTo>
                    <a:lnTo>
                      <a:pt x="55" y="2"/>
                    </a:lnTo>
                    <a:lnTo>
                      <a:pt x="55" y="0"/>
                    </a:lnTo>
                    <a:lnTo>
                      <a:pt x="53" y="2"/>
                    </a:lnTo>
                    <a:lnTo>
                      <a:pt x="46" y="0"/>
                    </a:lnTo>
                    <a:lnTo>
                      <a:pt x="44" y="0"/>
                    </a:lnTo>
                    <a:lnTo>
                      <a:pt x="44" y="2"/>
                    </a:lnTo>
                    <a:lnTo>
                      <a:pt x="48" y="11"/>
                    </a:lnTo>
                    <a:lnTo>
                      <a:pt x="44" y="12"/>
                    </a:lnTo>
                    <a:lnTo>
                      <a:pt x="44" y="14"/>
                    </a:lnTo>
                    <a:lnTo>
                      <a:pt x="44" y="14"/>
                    </a:lnTo>
                    <a:lnTo>
                      <a:pt x="46" y="16"/>
                    </a:lnTo>
                    <a:lnTo>
                      <a:pt x="46" y="16"/>
                    </a:lnTo>
                    <a:lnTo>
                      <a:pt x="46" y="18"/>
                    </a:lnTo>
                    <a:lnTo>
                      <a:pt x="46" y="19"/>
                    </a:lnTo>
                    <a:lnTo>
                      <a:pt x="48" y="21"/>
                    </a:lnTo>
                    <a:lnTo>
                      <a:pt x="48" y="21"/>
                    </a:lnTo>
                    <a:lnTo>
                      <a:pt x="46" y="23"/>
                    </a:lnTo>
                    <a:lnTo>
                      <a:pt x="46" y="25"/>
                    </a:lnTo>
                    <a:lnTo>
                      <a:pt x="50" y="27"/>
                    </a:lnTo>
                    <a:lnTo>
                      <a:pt x="50" y="28"/>
                    </a:lnTo>
                    <a:lnTo>
                      <a:pt x="43" y="28"/>
                    </a:lnTo>
                    <a:lnTo>
                      <a:pt x="43" y="32"/>
                    </a:lnTo>
                    <a:lnTo>
                      <a:pt x="41" y="37"/>
                    </a:lnTo>
                    <a:lnTo>
                      <a:pt x="43" y="43"/>
                    </a:lnTo>
                    <a:lnTo>
                      <a:pt x="41" y="37"/>
                    </a:lnTo>
                    <a:lnTo>
                      <a:pt x="37" y="36"/>
                    </a:lnTo>
                    <a:lnTo>
                      <a:pt x="37" y="39"/>
                    </a:lnTo>
                    <a:lnTo>
                      <a:pt x="35" y="39"/>
                    </a:lnTo>
                    <a:lnTo>
                      <a:pt x="35" y="36"/>
                    </a:lnTo>
                    <a:lnTo>
                      <a:pt x="34" y="32"/>
                    </a:lnTo>
                    <a:lnTo>
                      <a:pt x="28" y="32"/>
                    </a:lnTo>
                    <a:lnTo>
                      <a:pt x="21" y="34"/>
                    </a:lnTo>
                    <a:lnTo>
                      <a:pt x="21" y="36"/>
                    </a:lnTo>
                    <a:lnTo>
                      <a:pt x="19" y="37"/>
                    </a:lnTo>
                    <a:lnTo>
                      <a:pt x="18" y="39"/>
                    </a:lnTo>
                    <a:lnTo>
                      <a:pt x="18" y="39"/>
                    </a:lnTo>
                    <a:lnTo>
                      <a:pt x="21" y="41"/>
                    </a:lnTo>
                    <a:lnTo>
                      <a:pt x="25" y="43"/>
                    </a:lnTo>
                    <a:lnTo>
                      <a:pt x="25" y="46"/>
                    </a:lnTo>
                    <a:lnTo>
                      <a:pt x="25" y="46"/>
                    </a:lnTo>
                    <a:lnTo>
                      <a:pt x="23" y="43"/>
                    </a:lnTo>
                    <a:lnTo>
                      <a:pt x="19" y="44"/>
                    </a:lnTo>
                    <a:lnTo>
                      <a:pt x="16" y="57"/>
                    </a:lnTo>
                    <a:lnTo>
                      <a:pt x="10" y="61"/>
                    </a:lnTo>
                    <a:lnTo>
                      <a:pt x="12" y="64"/>
                    </a:lnTo>
                    <a:lnTo>
                      <a:pt x="18" y="66"/>
                    </a:lnTo>
                    <a:lnTo>
                      <a:pt x="18" y="69"/>
                    </a:lnTo>
                    <a:lnTo>
                      <a:pt x="14" y="71"/>
                    </a:lnTo>
                    <a:lnTo>
                      <a:pt x="12" y="73"/>
                    </a:lnTo>
                    <a:lnTo>
                      <a:pt x="12" y="77"/>
                    </a:lnTo>
                    <a:lnTo>
                      <a:pt x="10" y="80"/>
                    </a:lnTo>
                    <a:lnTo>
                      <a:pt x="7" y="80"/>
                    </a:lnTo>
                    <a:lnTo>
                      <a:pt x="3" y="78"/>
                    </a:lnTo>
                    <a:lnTo>
                      <a:pt x="2" y="78"/>
                    </a:lnTo>
                    <a:lnTo>
                      <a:pt x="2" y="98"/>
                    </a:lnTo>
                    <a:lnTo>
                      <a:pt x="0" y="100"/>
                    </a:lnTo>
                    <a:lnTo>
                      <a:pt x="0" y="102"/>
                    </a:lnTo>
                    <a:lnTo>
                      <a:pt x="2" y="107"/>
                    </a:lnTo>
                    <a:lnTo>
                      <a:pt x="2" y="109"/>
                    </a:lnTo>
                    <a:lnTo>
                      <a:pt x="3" y="111"/>
                    </a:lnTo>
                    <a:lnTo>
                      <a:pt x="3" y="114"/>
                    </a:lnTo>
                    <a:lnTo>
                      <a:pt x="5" y="116"/>
                    </a:lnTo>
                    <a:lnTo>
                      <a:pt x="5" y="119"/>
                    </a:lnTo>
                    <a:lnTo>
                      <a:pt x="2" y="123"/>
                    </a:lnTo>
                    <a:lnTo>
                      <a:pt x="5" y="125"/>
                    </a:lnTo>
                    <a:lnTo>
                      <a:pt x="3" y="127"/>
                    </a:lnTo>
                    <a:lnTo>
                      <a:pt x="3" y="128"/>
                    </a:lnTo>
                    <a:lnTo>
                      <a:pt x="7" y="134"/>
                    </a:lnTo>
                    <a:lnTo>
                      <a:pt x="7" y="137"/>
                    </a:lnTo>
                    <a:lnTo>
                      <a:pt x="5" y="139"/>
                    </a:lnTo>
                    <a:lnTo>
                      <a:pt x="10" y="144"/>
                    </a:lnTo>
                    <a:lnTo>
                      <a:pt x="12" y="146"/>
                    </a:lnTo>
                    <a:lnTo>
                      <a:pt x="34" y="153"/>
                    </a:lnTo>
                    <a:lnTo>
                      <a:pt x="34" y="157"/>
                    </a:lnTo>
                    <a:lnTo>
                      <a:pt x="28" y="162"/>
                    </a:lnTo>
                    <a:lnTo>
                      <a:pt x="25" y="173"/>
                    </a:lnTo>
                    <a:lnTo>
                      <a:pt x="25" y="184"/>
                    </a:lnTo>
                    <a:lnTo>
                      <a:pt x="27" y="186"/>
                    </a:lnTo>
                    <a:lnTo>
                      <a:pt x="28" y="187"/>
                    </a:lnTo>
                    <a:lnTo>
                      <a:pt x="46" y="184"/>
                    </a:lnTo>
                    <a:lnTo>
                      <a:pt x="57" y="189"/>
                    </a:lnTo>
                    <a:lnTo>
                      <a:pt x="59" y="187"/>
                    </a:lnTo>
                    <a:lnTo>
                      <a:pt x="62" y="187"/>
                    </a:lnTo>
                    <a:lnTo>
                      <a:pt x="64" y="187"/>
                    </a:lnTo>
                    <a:lnTo>
                      <a:pt x="66" y="191"/>
                    </a:lnTo>
                    <a:lnTo>
                      <a:pt x="69" y="191"/>
                    </a:lnTo>
                    <a:lnTo>
                      <a:pt x="71" y="191"/>
                    </a:lnTo>
                    <a:lnTo>
                      <a:pt x="71" y="189"/>
                    </a:lnTo>
                    <a:lnTo>
                      <a:pt x="73" y="187"/>
                    </a:lnTo>
                    <a:lnTo>
                      <a:pt x="77" y="187"/>
                    </a:lnTo>
                    <a:lnTo>
                      <a:pt x="80" y="189"/>
                    </a:lnTo>
                    <a:lnTo>
                      <a:pt x="85" y="189"/>
                    </a:lnTo>
                    <a:lnTo>
                      <a:pt x="91" y="186"/>
                    </a:lnTo>
                    <a:lnTo>
                      <a:pt x="100" y="184"/>
                    </a:lnTo>
                    <a:lnTo>
                      <a:pt x="101" y="184"/>
                    </a:lnTo>
                    <a:lnTo>
                      <a:pt x="105" y="184"/>
                    </a:lnTo>
                    <a:lnTo>
                      <a:pt x="109" y="184"/>
                    </a:lnTo>
                    <a:lnTo>
                      <a:pt x="110" y="186"/>
                    </a:lnTo>
                    <a:lnTo>
                      <a:pt x="112" y="186"/>
                    </a:lnTo>
                    <a:lnTo>
                      <a:pt x="112" y="184"/>
                    </a:lnTo>
                    <a:lnTo>
                      <a:pt x="110" y="178"/>
                    </a:lnTo>
                    <a:lnTo>
                      <a:pt x="110" y="173"/>
                    </a:lnTo>
                    <a:lnTo>
                      <a:pt x="110" y="171"/>
                    </a:lnTo>
                    <a:lnTo>
                      <a:pt x="118" y="168"/>
                    </a:lnTo>
                    <a:lnTo>
                      <a:pt x="119" y="162"/>
                    </a:lnTo>
                    <a:lnTo>
                      <a:pt x="125" y="161"/>
                    </a:lnTo>
                    <a:lnTo>
                      <a:pt x="125" y="159"/>
                    </a:lnTo>
                    <a:lnTo>
                      <a:pt x="103" y="136"/>
                    </a:lnTo>
                    <a:lnTo>
                      <a:pt x="101" y="128"/>
                    </a:lnTo>
                    <a:lnTo>
                      <a:pt x="98" y="127"/>
                    </a:lnTo>
                    <a:lnTo>
                      <a:pt x="96" y="123"/>
                    </a:lnTo>
                    <a:lnTo>
                      <a:pt x="96" y="121"/>
                    </a:lnTo>
                    <a:lnTo>
                      <a:pt x="96" y="119"/>
                    </a:lnTo>
                    <a:lnTo>
                      <a:pt x="101" y="123"/>
                    </a:lnTo>
                    <a:lnTo>
                      <a:pt x="101" y="123"/>
                    </a:lnTo>
                    <a:lnTo>
                      <a:pt x="103" y="119"/>
                    </a:lnTo>
                    <a:lnTo>
                      <a:pt x="118" y="112"/>
                    </a:lnTo>
                    <a:lnTo>
                      <a:pt x="119" y="111"/>
                    </a:lnTo>
                    <a:lnTo>
                      <a:pt x="130" y="105"/>
                    </a:lnTo>
                    <a:lnTo>
                      <a:pt x="132" y="100"/>
                    </a:lnTo>
                    <a:lnTo>
                      <a:pt x="134" y="100"/>
                    </a:lnTo>
                    <a:lnTo>
                      <a:pt x="139" y="107"/>
                    </a:lnTo>
                    <a:lnTo>
                      <a:pt x="141" y="107"/>
                    </a:lnTo>
                    <a:lnTo>
                      <a:pt x="143" y="93"/>
                    </a:lnTo>
                    <a:lnTo>
                      <a:pt x="143" y="91"/>
                    </a:lnTo>
                    <a:lnTo>
                      <a:pt x="137" y="86"/>
                    </a:lnTo>
                    <a:lnTo>
                      <a:pt x="135" y="59"/>
                    </a:lnTo>
                    <a:lnTo>
                      <a:pt x="130" y="55"/>
                    </a:lnTo>
                    <a:lnTo>
                      <a:pt x="130" y="53"/>
                    </a:lnTo>
                    <a:lnTo>
                      <a:pt x="134" y="46"/>
                    </a:lnTo>
                    <a:lnTo>
                      <a:pt x="134" y="37"/>
                    </a:lnTo>
                    <a:lnTo>
                      <a:pt x="132" y="30"/>
                    </a:lnTo>
                    <a:lnTo>
                      <a:pt x="125" y="28"/>
                    </a:lnTo>
                    <a:lnTo>
                      <a:pt x="123" y="25"/>
                    </a:lnTo>
                    <a:lnTo>
                      <a:pt x="121" y="19"/>
                    </a:lnTo>
                    <a:lnTo>
                      <a:pt x="118" y="21"/>
                    </a:lnTo>
                    <a:lnTo>
                      <a:pt x="116" y="19"/>
                    </a:lnTo>
                    <a:lnTo>
                      <a:pt x="116" y="19"/>
                    </a:lnTo>
                    <a:lnTo>
                      <a:pt x="116" y="16"/>
                    </a:lnTo>
                    <a:lnTo>
                      <a:pt x="112" y="16"/>
                    </a:lnTo>
                    <a:lnTo>
                      <a:pt x="110" y="14"/>
                    </a:lnTo>
                    <a:lnTo>
                      <a:pt x="105" y="14"/>
                    </a:lnTo>
                    <a:lnTo>
                      <a:pt x="103" y="16"/>
                    </a:lnTo>
                    <a:lnTo>
                      <a:pt x="103" y="14"/>
                    </a:lnTo>
                    <a:lnTo>
                      <a:pt x="107" y="12"/>
                    </a:lnTo>
                    <a:lnTo>
                      <a:pt x="105" y="11"/>
                    </a:lnTo>
                    <a:lnTo>
                      <a:pt x="103" y="12"/>
                    </a:lnTo>
                    <a:lnTo>
                      <a:pt x="100" y="16"/>
                    </a:lnTo>
                    <a:lnTo>
                      <a:pt x="98" y="19"/>
                    </a:lnTo>
                    <a:lnTo>
                      <a:pt x="96" y="19"/>
                    </a:lnTo>
                    <a:lnTo>
                      <a:pt x="96" y="18"/>
                    </a:lnTo>
                    <a:lnTo>
                      <a:pt x="91" y="19"/>
                    </a:lnTo>
                    <a:lnTo>
                      <a:pt x="87" y="23"/>
                    </a:lnTo>
                    <a:lnTo>
                      <a:pt x="87" y="25"/>
                    </a:lnTo>
                    <a:lnTo>
                      <a:pt x="85" y="25"/>
                    </a:lnTo>
                    <a:lnTo>
                      <a:pt x="82" y="23"/>
                    </a:lnTo>
                    <a:lnTo>
                      <a:pt x="77" y="27"/>
                    </a:lnTo>
                    <a:lnTo>
                      <a:pt x="77" y="2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92" name="Freeform 2242"/>
              <p:cNvSpPr>
                <a:spLocks/>
              </p:cNvSpPr>
              <p:nvPr/>
            </p:nvSpPr>
            <p:spPr bwMode="auto">
              <a:xfrm>
                <a:off x="2791" y="1663"/>
                <a:ext cx="143" cy="191"/>
              </a:xfrm>
              <a:custGeom>
                <a:avLst/>
                <a:gdLst>
                  <a:gd name="T0" fmla="*/ 77 w 143"/>
                  <a:gd name="T1" fmla="*/ 21 h 191"/>
                  <a:gd name="T2" fmla="*/ 80 w 143"/>
                  <a:gd name="T3" fmla="*/ 14 h 191"/>
                  <a:gd name="T4" fmla="*/ 71 w 143"/>
                  <a:gd name="T5" fmla="*/ 14 h 191"/>
                  <a:gd name="T6" fmla="*/ 66 w 143"/>
                  <a:gd name="T7" fmla="*/ 14 h 191"/>
                  <a:gd name="T8" fmla="*/ 62 w 143"/>
                  <a:gd name="T9" fmla="*/ 11 h 191"/>
                  <a:gd name="T10" fmla="*/ 62 w 143"/>
                  <a:gd name="T11" fmla="*/ 2 h 191"/>
                  <a:gd name="T12" fmla="*/ 55 w 143"/>
                  <a:gd name="T13" fmla="*/ 0 h 191"/>
                  <a:gd name="T14" fmla="*/ 44 w 143"/>
                  <a:gd name="T15" fmla="*/ 0 h 191"/>
                  <a:gd name="T16" fmla="*/ 44 w 143"/>
                  <a:gd name="T17" fmla="*/ 12 h 191"/>
                  <a:gd name="T18" fmla="*/ 46 w 143"/>
                  <a:gd name="T19" fmla="*/ 16 h 191"/>
                  <a:gd name="T20" fmla="*/ 46 w 143"/>
                  <a:gd name="T21" fmla="*/ 19 h 191"/>
                  <a:gd name="T22" fmla="*/ 46 w 143"/>
                  <a:gd name="T23" fmla="*/ 23 h 191"/>
                  <a:gd name="T24" fmla="*/ 50 w 143"/>
                  <a:gd name="T25" fmla="*/ 28 h 191"/>
                  <a:gd name="T26" fmla="*/ 41 w 143"/>
                  <a:gd name="T27" fmla="*/ 37 h 191"/>
                  <a:gd name="T28" fmla="*/ 37 w 143"/>
                  <a:gd name="T29" fmla="*/ 36 h 191"/>
                  <a:gd name="T30" fmla="*/ 35 w 143"/>
                  <a:gd name="T31" fmla="*/ 36 h 191"/>
                  <a:gd name="T32" fmla="*/ 21 w 143"/>
                  <a:gd name="T33" fmla="*/ 34 h 191"/>
                  <a:gd name="T34" fmla="*/ 18 w 143"/>
                  <a:gd name="T35" fmla="*/ 39 h 191"/>
                  <a:gd name="T36" fmla="*/ 25 w 143"/>
                  <a:gd name="T37" fmla="*/ 43 h 191"/>
                  <a:gd name="T38" fmla="*/ 23 w 143"/>
                  <a:gd name="T39" fmla="*/ 43 h 191"/>
                  <a:gd name="T40" fmla="*/ 10 w 143"/>
                  <a:gd name="T41" fmla="*/ 61 h 191"/>
                  <a:gd name="T42" fmla="*/ 18 w 143"/>
                  <a:gd name="T43" fmla="*/ 69 h 191"/>
                  <a:gd name="T44" fmla="*/ 12 w 143"/>
                  <a:gd name="T45" fmla="*/ 77 h 191"/>
                  <a:gd name="T46" fmla="*/ 3 w 143"/>
                  <a:gd name="T47" fmla="*/ 78 h 191"/>
                  <a:gd name="T48" fmla="*/ 0 w 143"/>
                  <a:gd name="T49" fmla="*/ 100 h 191"/>
                  <a:gd name="T50" fmla="*/ 2 w 143"/>
                  <a:gd name="T51" fmla="*/ 109 h 191"/>
                  <a:gd name="T52" fmla="*/ 5 w 143"/>
                  <a:gd name="T53" fmla="*/ 116 h 191"/>
                  <a:gd name="T54" fmla="*/ 5 w 143"/>
                  <a:gd name="T55" fmla="*/ 125 h 191"/>
                  <a:gd name="T56" fmla="*/ 7 w 143"/>
                  <a:gd name="T57" fmla="*/ 134 h 191"/>
                  <a:gd name="T58" fmla="*/ 10 w 143"/>
                  <a:gd name="T59" fmla="*/ 144 h 191"/>
                  <a:gd name="T60" fmla="*/ 34 w 143"/>
                  <a:gd name="T61" fmla="*/ 157 h 191"/>
                  <a:gd name="T62" fmla="*/ 25 w 143"/>
                  <a:gd name="T63" fmla="*/ 184 h 191"/>
                  <a:gd name="T64" fmla="*/ 46 w 143"/>
                  <a:gd name="T65" fmla="*/ 184 h 191"/>
                  <a:gd name="T66" fmla="*/ 62 w 143"/>
                  <a:gd name="T67" fmla="*/ 187 h 191"/>
                  <a:gd name="T68" fmla="*/ 69 w 143"/>
                  <a:gd name="T69" fmla="*/ 191 h 191"/>
                  <a:gd name="T70" fmla="*/ 73 w 143"/>
                  <a:gd name="T71" fmla="*/ 187 h 191"/>
                  <a:gd name="T72" fmla="*/ 85 w 143"/>
                  <a:gd name="T73" fmla="*/ 189 h 191"/>
                  <a:gd name="T74" fmla="*/ 101 w 143"/>
                  <a:gd name="T75" fmla="*/ 184 h 191"/>
                  <a:gd name="T76" fmla="*/ 110 w 143"/>
                  <a:gd name="T77" fmla="*/ 186 h 191"/>
                  <a:gd name="T78" fmla="*/ 110 w 143"/>
                  <a:gd name="T79" fmla="*/ 178 h 191"/>
                  <a:gd name="T80" fmla="*/ 118 w 143"/>
                  <a:gd name="T81" fmla="*/ 168 h 191"/>
                  <a:gd name="T82" fmla="*/ 125 w 143"/>
                  <a:gd name="T83" fmla="*/ 159 h 191"/>
                  <a:gd name="T84" fmla="*/ 98 w 143"/>
                  <a:gd name="T85" fmla="*/ 127 h 191"/>
                  <a:gd name="T86" fmla="*/ 96 w 143"/>
                  <a:gd name="T87" fmla="*/ 119 h 191"/>
                  <a:gd name="T88" fmla="*/ 103 w 143"/>
                  <a:gd name="T89" fmla="*/ 119 h 191"/>
                  <a:gd name="T90" fmla="*/ 130 w 143"/>
                  <a:gd name="T91" fmla="*/ 105 h 191"/>
                  <a:gd name="T92" fmla="*/ 139 w 143"/>
                  <a:gd name="T93" fmla="*/ 107 h 191"/>
                  <a:gd name="T94" fmla="*/ 143 w 143"/>
                  <a:gd name="T95" fmla="*/ 91 h 191"/>
                  <a:gd name="T96" fmla="*/ 130 w 143"/>
                  <a:gd name="T97" fmla="*/ 55 h 191"/>
                  <a:gd name="T98" fmla="*/ 134 w 143"/>
                  <a:gd name="T99" fmla="*/ 37 h 191"/>
                  <a:gd name="T100" fmla="*/ 123 w 143"/>
                  <a:gd name="T101" fmla="*/ 25 h 191"/>
                  <a:gd name="T102" fmla="*/ 116 w 143"/>
                  <a:gd name="T103" fmla="*/ 19 h 191"/>
                  <a:gd name="T104" fmla="*/ 112 w 143"/>
                  <a:gd name="T105" fmla="*/ 16 h 191"/>
                  <a:gd name="T106" fmla="*/ 103 w 143"/>
                  <a:gd name="T107" fmla="*/ 16 h 191"/>
                  <a:gd name="T108" fmla="*/ 105 w 143"/>
                  <a:gd name="T109" fmla="*/ 11 h 191"/>
                  <a:gd name="T110" fmla="*/ 98 w 143"/>
                  <a:gd name="T111" fmla="*/ 19 h 191"/>
                  <a:gd name="T112" fmla="*/ 91 w 143"/>
                  <a:gd name="T113" fmla="*/ 19 h 191"/>
                  <a:gd name="T114" fmla="*/ 85 w 143"/>
                  <a:gd name="T115" fmla="*/ 25 h 191"/>
                  <a:gd name="T116" fmla="*/ 77 w 143"/>
                  <a:gd name="T117" fmla="*/ 25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3" h="191">
                    <a:moveTo>
                      <a:pt x="77" y="25"/>
                    </a:moveTo>
                    <a:lnTo>
                      <a:pt x="77" y="23"/>
                    </a:lnTo>
                    <a:lnTo>
                      <a:pt x="77" y="21"/>
                    </a:lnTo>
                    <a:lnTo>
                      <a:pt x="80" y="18"/>
                    </a:lnTo>
                    <a:lnTo>
                      <a:pt x="80" y="14"/>
                    </a:lnTo>
                    <a:lnTo>
                      <a:pt x="80" y="14"/>
                    </a:lnTo>
                    <a:lnTo>
                      <a:pt x="75" y="16"/>
                    </a:lnTo>
                    <a:lnTo>
                      <a:pt x="73" y="16"/>
                    </a:lnTo>
                    <a:lnTo>
                      <a:pt x="71" y="14"/>
                    </a:lnTo>
                    <a:lnTo>
                      <a:pt x="68" y="12"/>
                    </a:lnTo>
                    <a:lnTo>
                      <a:pt x="68" y="14"/>
                    </a:lnTo>
                    <a:lnTo>
                      <a:pt x="66" y="14"/>
                    </a:lnTo>
                    <a:lnTo>
                      <a:pt x="66" y="12"/>
                    </a:lnTo>
                    <a:lnTo>
                      <a:pt x="62" y="12"/>
                    </a:lnTo>
                    <a:lnTo>
                      <a:pt x="62" y="11"/>
                    </a:lnTo>
                    <a:lnTo>
                      <a:pt x="64" y="9"/>
                    </a:lnTo>
                    <a:lnTo>
                      <a:pt x="64" y="5"/>
                    </a:lnTo>
                    <a:lnTo>
                      <a:pt x="62" y="2"/>
                    </a:lnTo>
                    <a:lnTo>
                      <a:pt x="57" y="2"/>
                    </a:lnTo>
                    <a:lnTo>
                      <a:pt x="55" y="2"/>
                    </a:lnTo>
                    <a:lnTo>
                      <a:pt x="55" y="0"/>
                    </a:lnTo>
                    <a:lnTo>
                      <a:pt x="53" y="2"/>
                    </a:lnTo>
                    <a:lnTo>
                      <a:pt x="46" y="0"/>
                    </a:lnTo>
                    <a:lnTo>
                      <a:pt x="44" y="0"/>
                    </a:lnTo>
                    <a:lnTo>
                      <a:pt x="44" y="2"/>
                    </a:lnTo>
                    <a:lnTo>
                      <a:pt x="48" y="11"/>
                    </a:lnTo>
                    <a:lnTo>
                      <a:pt x="44" y="12"/>
                    </a:lnTo>
                    <a:lnTo>
                      <a:pt x="44" y="14"/>
                    </a:lnTo>
                    <a:lnTo>
                      <a:pt x="44" y="14"/>
                    </a:lnTo>
                    <a:lnTo>
                      <a:pt x="46" y="16"/>
                    </a:lnTo>
                    <a:lnTo>
                      <a:pt x="46" y="16"/>
                    </a:lnTo>
                    <a:lnTo>
                      <a:pt x="46" y="18"/>
                    </a:lnTo>
                    <a:lnTo>
                      <a:pt x="46" y="19"/>
                    </a:lnTo>
                    <a:lnTo>
                      <a:pt x="48" y="21"/>
                    </a:lnTo>
                    <a:lnTo>
                      <a:pt x="48" y="21"/>
                    </a:lnTo>
                    <a:lnTo>
                      <a:pt x="46" y="23"/>
                    </a:lnTo>
                    <a:lnTo>
                      <a:pt x="46" y="25"/>
                    </a:lnTo>
                    <a:lnTo>
                      <a:pt x="50" y="27"/>
                    </a:lnTo>
                    <a:lnTo>
                      <a:pt x="50" y="28"/>
                    </a:lnTo>
                    <a:lnTo>
                      <a:pt x="43" y="28"/>
                    </a:lnTo>
                    <a:lnTo>
                      <a:pt x="43" y="32"/>
                    </a:lnTo>
                    <a:lnTo>
                      <a:pt x="41" y="37"/>
                    </a:lnTo>
                    <a:lnTo>
                      <a:pt x="43" y="43"/>
                    </a:lnTo>
                    <a:lnTo>
                      <a:pt x="41" y="37"/>
                    </a:lnTo>
                    <a:lnTo>
                      <a:pt x="37" y="36"/>
                    </a:lnTo>
                    <a:lnTo>
                      <a:pt x="37" y="39"/>
                    </a:lnTo>
                    <a:lnTo>
                      <a:pt x="35" y="39"/>
                    </a:lnTo>
                    <a:lnTo>
                      <a:pt x="35" y="36"/>
                    </a:lnTo>
                    <a:lnTo>
                      <a:pt x="34" y="32"/>
                    </a:lnTo>
                    <a:lnTo>
                      <a:pt x="28" y="32"/>
                    </a:lnTo>
                    <a:lnTo>
                      <a:pt x="21" y="34"/>
                    </a:lnTo>
                    <a:lnTo>
                      <a:pt x="21" y="36"/>
                    </a:lnTo>
                    <a:lnTo>
                      <a:pt x="19" y="37"/>
                    </a:lnTo>
                    <a:lnTo>
                      <a:pt x="18" y="39"/>
                    </a:lnTo>
                    <a:lnTo>
                      <a:pt x="18" y="39"/>
                    </a:lnTo>
                    <a:lnTo>
                      <a:pt x="21" y="41"/>
                    </a:lnTo>
                    <a:lnTo>
                      <a:pt x="25" y="43"/>
                    </a:lnTo>
                    <a:lnTo>
                      <a:pt x="25" y="46"/>
                    </a:lnTo>
                    <a:lnTo>
                      <a:pt x="25" y="46"/>
                    </a:lnTo>
                    <a:lnTo>
                      <a:pt x="23" y="43"/>
                    </a:lnTo>
                    <a:lnTo>
                      <a:pt x="19" y="44"/>
                    </a:lnTo>
                    <a:lnTo>
                      <a:pt x="16" y="57"/>
                    </a:lnTo>
                    <a:lnTo>
                      <a:pt x="10" y="61"/>
                    </a:lnTo>
                    <a:lnTo>
                      <a:pt x="12" y="64"/>
                    </a:lnTo>
                    <a:lnTo>
                      <a:pt x="18" y="66"/>
                    </a:lnTo>
                    <a:lnTo>
                      <a:pt x="18" y="69"/>
                    </a:lnTo>
                    <a:lnTo>
                      <a:pt x="14" y="71"/>
                    </a:lnTo>
                    <a:lnTo>
                      <a:pt x="12" y="73"/>
                    </a:lnTo>
                    <a:lnTo>
                      <a:pt x="12" y="77"/>
                    </a:lnTo>
                    <a:lnTo>
                      <a:pt x="10" y="80"/>
                    </a:lnTo>
                    <a:lnTo>
                      <a:pt x="7" y="80"/>
                    </a:lnTo>
                    <a:lnTo>
                      <a:pt x="3" y="78"/>
                    </a:lnTo>
                    <a:lnTo>
                      <a:pt x="2" y="78"/>
                    </a:lnTo>
                    <a:lnTo>
                      <a:pt x="2" y="98"/>
                    </a:lnTo>
                    <a:lnTo>
                      <a:pt x="0" y="100"/>
                    </a:lnTo>
                    <a:lnTo>
                      <a:pt x="0" y="102"/>
                    </a:lnTo>
                    <a:lnTo>
                      <a:pt x="2" y="107"/>
                    </a:lnTo>
                    <a:lnTo>
                      <a:pt x="2" y="109"/>
                    </a:lnTo>
                    <a:lnTo>
                      <a:pt x="3" y="111"/>
                    </a:lnTo>
                    <a:lnTo>
                      <a:pt x="3" y="114"/>
                    </a:lnTo>
                    <a:lnTo>
                      <a:pt x="5" y="116"/>
                    </a:lnTo>
                    <a:lnTo>
                      <a:pt x="5" y="119"/>
                    </a:lnTo>
                    <a:lnTo>
                      <a:pt x="2" y="123"/>
                    </a:lnTo>
                    <a:lnTo>
                      <a:pt x="5" y="125"/>
                    </a:lnTo>
                    <a:lnTo>
                      <a:pt x="3" y="127"/>
                    </a:lnTo>
                    <a:lnTo>
                      <a:pt x="3" y="128"/>
                    </a:lnTo>
                    <a:lnTo>
                      <a:pt x="7" y="134"/>
                    </a:lnTo>
                    <a:lnTo>
                      <a:pt x="7" y="137"/>
                    </a:lnTo>
                    <a:lnTo>
                      <a:pt x="5" y="139"/>
                    </a:lnTo>
                    <a:lnTo>
                      <a:pt x="10" y="144"/>
                    </a:lnTo>
                    <a:lnTo>
                      <a:pt x="12" y="146"/>
                    </a:lnTo>
                    <a:lnTo>
                      <a:pt x="34" y="153"/>
                    </a:lnTo>
                    <a:lnTo>
                      <a:pt x="34" y="157"/>
                    </a:lnTo>
                    <a:lnTo>
                      <a:pt x="28" y="162"/>
                    </a:lnTo>
                    <a:lnTo>
                      <a:pt x="25" y="173"/>
                    </a:lnTo>
                    <a:lnTo>
                      <a:pt x="25" y="184"/>
                    </a:lnTo>
                    <a:lnTo>
                      <a:pt x="27" y="186"/>
                    </a:lnTo>
                    <a:lnTo>
                      <a:pt x="28" y="187"/>
                    </a:lnTo>
                    <a:lnTo>
                      <a:pt x="46" y="184"/>
                    </a:lnTo>
                    <a:lnTo>
                      <a:pt x="57" y="189"/>
                    </a:lnTo>
                    <a:lnTo>
                      <a:pt x="59" y="187"/>
                    </a:lnTo>
                    <a:lnTo>
                      <a:pt x="62" y="187"/>
                    </a:lnTo>
                    <a:lnTo>
                      <a:pt x="64" y="187"/>
                    </a:lnTo>
                    <a:lnTo>
                      <a:pt x="66" y="191"/>
                    </a:lnTo>
                    <a:lnTo>
                      <a:pt x="69" y="191"/>
                    </a:lnTo>
                    <a:lnTo>
                      <a:pt x="71" y="191"/>
                    </a:lnTo>
                    <a:lnTo>
                      <a:pt x="71" y="189"/>
                    </a:lnTo>
                    <a:lnTo>
                      <a:pt x="73" y="187"/>
                    </a:lnTo>
                    <a:lnTo>
                      <a:pt x="77" y="187"/>
                    </a:lnTo>
                    <a:lnTo>
                      <a:pt x="80" y="189"/>
                    </a:lnTo>
                    <a:lnTo>
                      <a:pt x="85" y="189"/>
                    </a:lnTo>
                    <a:lnTo>
                      <a:pt x="91" y="186"/>
                    </a:lnTo>
                    <a:lnTo>
                      <a:pt x="100" y="184"/>
                    </a:lnTo>
                    <a:lnTo>
                      <a:pt x="101" y="184"/>
                    </a:lnTo>
                    <a:lnTo>
                      <a:pt x="105" y="184"/>
                    </a:lnTo>
                    <a:lnTo>
                      <a:pt x="109" y="184"/>
                    </a:lnTo>
                    <a:lnTo>
                      <a:pt x="110" y="186"/>
                    </a:lnTo>
                    <a:lnTo>
                      <a:pt x="112" y="186"/>
                    </a:lnTo>
                    <a:lnTo>
                      <a:pt x="112" y="184"/>
                    </a:lnTo>
                    <a:lnTo>
                      <a:pt x="110" y="178"/>
                    </a:lnTo>
                    <a:lnTo>
                      <a:pt x="110" y="173"/>
                    </a:lnTo>
                    <a:lnTo>
                      <a:pt x="110" y="171"/>
                    </a:lnTo>
                    <a:lnTo>
                      <a:pt x="118" y="168"/>
                    </a:lnTo>
                    <a:lnTo>
                      <a:pt x="119" y="162"/>
                    </a:lnTo>
                    <a:lnTo>
                      <a:pt x="125" y="161"/>
                    </a:lnTo>
                    <a:lnTo>
                      <a:pt x="125" y="159"/>
                    </a:lnTo>
                    <a:lnTo>
                      <a:pt x="103" y="136"/>
                    </a:lnTo>
                    <a:lnTo>
                      <a:pt x="101" y="128"/>
                    </a:lnTo>
                    <a:lnTo>
                      <a:pt x="98" y="127"/>
                    </a:lnTo>
                    <a:lnTo>
                      <a:pt x="96" y="123"/>
                    </a:lnTo>
                    <a:lnTo>
                      <a:pt x="96" y="121"/>
                    </a:lnTo>
                    <a:lnTo>
                      <a:pt x="96" y="119"/>
                    </a:lnTo>
                    <a:lnTo>
                      <a:pt x="101" y="123"/>
                    </a:lnTo>
                    <a:lnTo>
                      <a:pt x="101" y="123"/>
                    </a:lnTo>
                    <a:lnTo>
                      <a:pt x="103" y="119"/>
                    </a:lnTo>
                    <a:lnTo>
                      <a:pt x="118" y="112"/>
                    </a:lnTo>
                    <a:lnTo>
                      <a:pt x="119" y="111"/>
                    </a:lnTo>
                    <a:lnTo>
                      <a:pt x="130" y="105"/>
                    </a:lnTo>
                    <a:lnTo>
                      <a:pt x="132" y="100"/>
                    </a:lnTo>
                    <a:lnTo>
                      <a:pt x="134" y="100"/>
                    </a:lnTo>
                    <a:lnTo>
                      <a:pt x="139" y="107"/>
                    </a:lnTo>
                    <a:lnTo>
                      <a:pt x="141" y="107"/>
                    </a:lnTo>
                    <a:lnTo>
                      <a:pt x="143" y="93"/>
                    </a:lnTo>
                    <a:lnTo>
                      <a:pt x="143" y="91"/>
                    </a:lnTo>
                    <a:lnTo>
                      <a:pt x="137" y="86"/>
                    </a:lnTo>
                    <a:lnTo>
                      <a:pt x="135" y="59"/>
                    </a:lnTo>
                    <a:lnTo>
                      <a:pt x="130" y="55"/>
                    </a:lnTo>
                    <a:lnTo>
                      <a:pt x="130" y="53"/>
                    </a:lnTo>
                    <a:lnTo>
                      <a:pt x="134" y="46"/>
                    </a:lnTo>
                    <a:lnTo>
                      <a:pt x="134" y="37"/>
                    </a:lnTo>
                    <a:lnTo>
                      <a:pt x="132" y="30"/>
                    </a:lnTo>
                    <a:lnTo>
                      <a:pt x="125" y="28"/>
                    </a:lnTo>
                    <a:lnTo>
                      <a:pt x="123" y="25"/>
                    </a:lnTo>
                    <a:lnTo>
                      <a:pt x="121" y="19"/>
                    </a:lnTo>
                    <a:lnTo>
                      <a:pt x="118" y="21"/>
                    </a:lnTo>
                    <a:lnTo>
                      <a:pt x="116" y="19"/>
                    </a:lnTo>
                    <a:lnTo>
                      <a:pt x="116" y="19"/>
                    </a:lnTo>
                    <a:lnTo>
                      <a:pt x="116" y="16"/>
                    </a:lnTo>
                    <a:lnTo>
                      <a:pt x="112" y="16"/>
                    </a:lnTo>
                    <a:lnTo>
                      <a:pt x="110" y="14"/>
                    </a:lnTo>
                    <a:lnTo>
                      <a:pt x="105" y="14"/>
                    </a:lnTo>
                    <a:lnTo>
                      <a:pt x="103" y="16"/>
                    </a:lnTo>
                    <a:lnTo>
                      <a:pt x="103" y="14"/>
                    </a:lnTo>
                    <a:lnTo>
                      <a:pt x="107" y="12"/>
                    </a:lnTo>
                    <a:lnTo>
                      <a:pt x="105" y="11"/>
                    </a:lnTo>
                    <a:lnTo>
                      <a:pt x="103" y="12"/>
                    </a:lnTo>
                    <a:lnTo>
                      <a:pt x="100" y="16"/>
                    </a:lnTo>
                    <a:lnTo>
                      <a:pt x="98" y="19"/>
                    </a:lnTo>
                    <a:lnTo>
                      <a:pt x="96" y="19"/>
                    </a:lnTo>
                    <a:lnTo>
                      <a:pt x="96" y="18"/>
                    </a:lnTo>
                    <a:lnTo>
                      <a:pt x="91" y="19"/>
                    </a:lnTo>
                    <a:lnTo>
                      <a:pt x="87" y="23"/>
                    </a:lnTo>
                    <a:lnTo>
                      <a:pt x="87" y="25"/>
                    </a:lnTo>
                    <a:lnTo>
                      <a:pt x="85" y="25"/>
                    </a:lnTo>
                    <a:lnTo>
                      <a:pt x="82" y="23"/>
                    </a:lnTo>
                    <a:lnTo>
                      <a:pt x="77" y="27"/>
                    </a:lnTo>
                    <a:lnTo>
                      <a:pt x="77" y="2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93" name="Freeform 2243"/>
              <p:cNvSpPr>
                <a:spLocks/>
              </p:cNvSpPr>
              <p:nvPr/>
            </p:nvSpPr>
            <p:spPr bwMode="auto">
              <a:xfrm>
                <a:off x="2905" y="1668"/>
                <a:ext cx="9" cy="11"/>
              </a:xfrm>
              <a:custGeom>
                <a:avLst/>
                <a:gdLst>
                  <a:gd name="T0" fmla="*/ 7 w 9"/>
                  <a:gd name="T1" fmla="*/ 6 h 11"/>
                  <a:gd name="T2" fmla="*/ 7 w 9"/>
                  <a:gd name="T3" fmla="*/ 7 h 11"/>
                  <a:gd name="T4" fmla="*/ 9 w 9"/>
                  <a:gd name="T5" fmla="*/ 9 h 11"/>
                  <a:gd name="T6" fmla="*/ 9 w 9"/>
                  <a:gd name="T7" fmla="*/ 11 h 11"/>
                  <a:gd name="T8" fmla="*/ 7 w 9"/>
                  <a:gd name="T9" fmla="*/ 9 h 11"/>
                  <a:gd name="T10" fmla="*/ 5 w 9"/>
                  <a:gd name="T11" fmla="*/ 11 h 11"/>
                  <a:gd name="T12" fmla="*/ 4 w 9"/>
                  <a:gd name="T13" fmla="*/ 11 h 11"/>
                  <a:gd name="T14" fmla="*/ 2 w 9"/>
                  <a:gd name="T15" fmla="*/ 11 h 11"/>
                  <a:gd name="T16" fmla="*/ 0 w 9"/>
                  <a:gd name="T17" fmla="*/ 9 h 11"/>
                  <a:gd name="T18" fmla="*/ 0 w 9"/>
                  <a:gd name="T19" fmla="*/ 7 h 11"/>
                  <a:gd name="T20" fmla="*/ 2 w 9"/>
                  <a:gd name="T21" fmla="*/ 7 h 11"/>
                  <a:gd name="T22" fmla="*/ 0 w 9"/>
                  <a:gd name="T23" fmla="*/ 4 h 11"/>
                  <a:gd name="T24" fmla="*/ 2 w 9"/>
                  <a:gd name="T25" fmla="*/ 4 h 11"/>
                  <a:gd name="T26" fmla="*/ 5 w 9"/>
                  <a:gd name="T27" fmla="*/ 6 h 11"/>
                  <a:gd name="T28" fmla="*/ 5 w 9"/>
                  <a:gd name="T29" fmla="*/ 4 h 11"/>
                  <a:gd name="T30" fmla="*/ 4 w 9"/>
                  <a:gd name="T31" fmla="*/ 4 h 11"/>
                  <a:gd name="T32" fmla="*/ 2 w 9"/>
                  <a:gd name="T33" fmla="*/ 2 h 11"/>
                  <a:gd name="T34" fmla="*/ 2 w 9"/>
                  <a:gd name="T35" fmla="*/ 0 h 11"/>
                  <a:gd name="T36" fmla="*/ 4 w 9"/>
                  <a:gd name="T37" fmla="*/ 0 h 11"/>
                  <a:gd name="T38" fmla="*/ 4 w 9"/>
                  <a:gd name="T39" fmla="*/ 2 h 11"/>
                  <a:gd name="T40" fmla="*/ 7 w 9"/>
                  <a:gd name="T41" fmla="*/ 2 h 11"/>
                  <a:gd name="T42" fmla="*/ 9 w 9"/>
                  <a:gd name="T43" fmla="*/ 4 h 11"/>
                  <a:gd name="T44" fmla="*/ 7 w 9"/>
                  <a:gd name="T45"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 h="11">
                    <a:moveTo>
                      <a:pt x="7" y="6"/>
                    </a:moveTo>
                    <a:lnTo>
                      <a:pt x="7" y="7"/>
                    </a:lnTo>
                    <a:lnTo>
                      <a:pt x="9" y="9"/>
                    </a:lnTo>
                    <a:lnTo>
                      <a:pt x="9" y="11"/>
                    </a:lnTo>
                    <a:lnTo>
                      <a:pt x="7" y="9"/>
                    </a:lnTo>
                    <a:lnTo>
                      <a:pt x="5" y="11"/>
                    </a:lnTo>
                    <a:lnTo>
                      <a:pt x="4" y="11"/>
                    </a:lnTo>
                    <a:lnTo>
                      <a:pt x="2" y="11"/>
                    </a:lnTo>
                    <a:lnTo>
                      <a:pt x="0" y="9"/>
                    </a:lnTo>
                    <a:lnTo>
                      <a:pt x="0" y="7"/>
                    </a:lnTo>
                    <a:lnTo>
                      <a:pt x="2" y="7"/>
                    </a:lnTo>
                    <a:lnTo>
                      <a:pt x="0" y="4"/>
                    </a:lnTo>
                    <a:lnTo>
                      <a:pt x="2" y="4"/>
                    </a:lnTo>
                    <a:lnTo>
                      <a:pt x="5" y="6"/>
                    </a:lnTo>
                    <a:lnTo>
                      <a:pt x="5" y="4"/>
                    </a:lnTo>
                    <a:lnTo>
                      <a:pt x="4" y="4"/>
                    </a:lnTo>
                    <a:lnTo>
                      <a:pt x="2" y="2"/>
                    </a:lnTo>
                    <a:lnTo>
                      <a:pt x="2" y="0"/>
                    </a:lnTo>
                    <a:lnTo>
                      <a:pt x="4" y="0"/>
                    </a:lnTo>
                    <a:lnTo>
                      <a:pt x="4" y="2"/>
                    </a:lnTo>
                    <a:lnTo>
                      <a:pt x="7" y="2"/>
                    </a:lnTo>
                    <a:lnTo>
                      <a:pt x="9" y="4"/>
                    </a:lnTo>
                    <a:lnTo>
                      <a:pt x="7"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94" name="Freeform 2244"/>
              <p:cNvSpPr>
                <a:spLocks/>
              </p:cNvSpPr>
              <p:nvPr/>
            </p:nvSpPr>
            <p:spPr bwMode="auto">
              <a:xfrm>
                <a:off x="2905" y="1668"/>
                <a:ext cx="9" cy="11"/>
              </a:xfrm>
              <a:custGeom>
                <a:avLst/>
                <a:gdLst>
                  <a:gd name="T0" fmla="*/ 7 w 9"/>
                  <a:gd name="T1" fmla="*/ 6 h 11"/>
                  <a:gd name="T2" fmla="*/ 7 w 9"/>
                  <a:gd name="T3" fmla="*/ 7 h 11"/>
                  <a:gd name="T4" fmla="*/ 9 w 9"/>
                  <a:gd name="T5" fmla="*/ 9 h 11"/>
                  <a:gd name="T6" fmla="*/ 9 w 9"/>
                  <a:gd name="T7" fmla="*/ 11 h 11"/>
                  <a:gd name="T8" fmla="*/ 7 w 9"/>
                  <a:gd name="T9" fmla="*/ 9 h 11"/>
                  <a:gd name="T10" fmla="*/ 5 w 9"/>
                  <a:gd name="T11" fmla="*/ 11 h 11"/>
                  <a:gd name="T12" fmla="*/ 4 w 9"/>
                  <a:gd name="T13" fmla="*/ 11 h 11"/>
                  <a:gd name="T14" fmla="*/ 2 w 9"/>
                  <a:gd name="T15" fmla="*/ 11 h 11"/>
                  <a:gd name="T16" fmla="*/ 0 w 9"/>
                  <a:gd name="T17" fmla="*/ 9 h 11"/>
                  <a:gd name="T18" fmla="*/ 0 w 9"/>
                  <a:gd name="T19" fmla="*/ 7 h 11"/>
                  <a:gd name="T20" fmla="*/ 2 w 9"/>
                  <a:gd name="T21" fmla="*/ 7 h 11"/>
                  <a:gd name="T22" fmla="*/ 0 w 9"/>
                  <a:gd name="T23" fmla="*/ 4 h 11"/>
                  <a:gd name="T24" fmla="*/ 2 w 9"/>
                  <a:gd name="T25" fmla="*/ 4 h 11"/>
                  <a:gd name="T26" fmla="*/ 5 w 9"/>
                  <a:gd name="T27" fmla="*/ 6 h 11"/>
                  <a:gd name="T28" fmla="*/ 5 w 9"/>
                  <a:gd name="T29" fmla="*/ 4 h 11"/>
                  <a:gd name="T30" fmla="*/ 4 w 9"/>
                  <a:gd name="T31" fmla="*/ 4 h 11"/>
                  <a:gd name="T32" fmla="*/ 2 w 9"/>
                  <a:gd name="T33" fmla="*/ 2 h 11"/>
                  <a:gd name="T34" fmla="*/ 2 w 9"/>
                  <a:gd name="T35" fmla="*/ 0 h 11"/>
                  <a:gd name="T36" fmla="*/ 4 w 9"/>
                  <a:gd name="T37" fmla="*/ 0 h 11"/>
                  <a:gd name="T38" fmla="*/ 4 w 9"/>
                  <a:gd name="T39" fmla="*/ 2 h 11"/>
                  <a:gd name="T40" fmla="*/ 7 w 9"/>
                  <a:gd name="T41" fmla="*/ 2 h 11"/>
                  <a:gd name="T42" fmla="*/ 9 w 9"/>
                  <a:gd name="T43" fmla="*/ 4 h 11"/>
                  <a:gd name="T44" fmla="*/ 7 w 9"/>
                  <a:gd name="T45"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 h="11">
                    <a:moveTo>
                      <a:pt x="7" y="6"/>
                    </a:moveTo>
                    <a:lnTo>
                      <a:pt x="7" y="7"/>
                    </a:lnTo>
                    <a:lnTo>
                      <a:pt x="9" y="9"/>
                    </a:lnTo>
                    <a:lnTo>
                      <a:pt x="9" y="11"/>
                    </a:lnTo>
                    <a:lnTo>
                      <a:pt x="7" y="9"/>
                    </a:lnTo>
                    <a:lnTo>
                      <a:pt x="5" y="11"/>
                    </a:lnTo>
                    <a:lnTo>
                      <a:pt x="4" y="11"/>
                    </a:lnTo>
                    <a:lnTo>
                      <a:pt x="2" y="11"/>
                    </a:lnTo>
                    <a:lnTo>
                      <a:pt x="0" y="9"/>
                    </a:lnTo>
                    <a:lnTo>
                      <a:pt x="0" y="7"/>
                    </a:lnTo>
                    <a:lnTo>
                      <a:pt x="2" y="7"/>
                    </a:lnTo>
                    <a:lnTo>
                      <a:pt x="0" y="4"/>
                    </a:lnTo>
                    <a:lnTo>
                      <a:pt x="2" y="4"/>
                    </a:lnTo>
                    <a:lnTo>
                      <a:pt x="5" y="6"/>
                    </a:lnTo>
                    <a:lnTo>
                      <a:pt x="5" y="4"/>
                    </a:lnTo>
                    <a:lnTo>
                      <a:pt x="4" y="4"/>
                    </a:lnTo>
                    <a:lnTo>
                      <a:pt x="2" y="2"/>
                    </a:lnTo>
                    <a:lnTo>
                      <a:pt x="2" y="0"/>
                    </a:lnTo>
                    <a:lnTo>
                      <a:pt x="4" y="0"/>
                    </a:lnTo>
                    <a:lnTo>
                      <a:pt x="4" y="2"/>
                    </a:lnTo>
                    <a:lnTo>
                      <a:pt x="7" y="2"/>
                    </a:lnTo>
                    <a:lnTo>
                      <a:pt x="9" y="4"/>
                    </a:lnTo>
                    <a:lnTo>
                      <a:pt x="7"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95" name="Freeform 2245"/>
              <p:cNvSpPr>
                <a:spLocks/>
              </p:cNvSpPr>
              <p:nvPr/>
            </p:nvSpPr>
            <p:spPr bwMode="auto">
              <a:xfrm>
                <a:off x="527" y="1586"/>
                <a:ext cx="14" cy="39"/>
              </a:xfrm>
              <a:custGeom>
                <a:avLst/>
                <a:gdLst>
                  <a:gd name="T0" fmla="*/ 10 w 14"/>
                  <a:gd name="T1" fmla="*/ 9 h 39"/>
                  <a:gd name="T2" fmla="*/ 10 w 14"/>
                  <a:gd name="T3" fmla="*/ 7 h 39"/>
                  <a:gd name="T4" fmla="*/ 12 w 14"/>
                  <a:gd name="T5" fmla="*/ 11 h 39"/>
                  <a:gd name="T6" fmla="*/ 10 w 14"/>
                  <a:gd name="T7" fmla="*/ 16 h 39"/>
                  <a:gd name="T8" fmla="*/ 12 w 14"/>
                  <a:gd name="T9" fmla="*/ 14 h 39"/>
                  <a:gd name="T10" fmla="*/ 12 w 14"/>
                  <a:gd name="T11" fmla="*/ 14 h 39"/>
                  <a:gd name="T12" fmla="*/ 14 w 14"/>
                  <a:gd name="T13" fmla="*/ 16 h 39"/>
                  <a:gd name="T14" fmla="*/ 14 w 14"/>
                  <a:gd name="T15" fmla="*/ 18 h 39"/>
                  <a:gd name="T16" fmla="*/ 12 w 14"/>
                  <a:gd name="T17" fmla="*/ 20 h 39"/>
                  <a:gd name="T18" fmla="*/ 12 w 14"/>
                  <a:gd name="T19" fmla="*/ 23 h 39"/>
                  <a:gd name="T20" fmla="*/ 14 w 14"/>
                  <a:gd name="T21" fmla="*/ 23 h 39"/>
                  <a:gd name="T22" fmla="*/ 14 w 14"/>
                  <a:gd name="T23" fmla="*/ 38 h 39"/>
                  <a:gd name="T24" fmla="*/ 14 w 14"/>
                  <a:gd name="T25" fmla="*/ 39 h 39"/>
                  <a:gd name="T26" fmla="*/ 12 w 14"/>
                  <a:gd name="T27" fmla="*/ 39 h 39"/>
                  <a:gd name="T28" fmla="*/ 12 w 14"/>
                  <a:gd name="T29" fmla="*/ 36 h 39"/>
                  <a:gd name="T30" fmla="*/ 10 w 14"/>
                  <a:gd name="T31" fmla="*/ 36 h 39"/>
                  <a:gd name="T32" fmla="*/ 9 w 14"/>
                  <a:gd name="T33" fmla="*/ 29 h 39"/>
                  <a:gd name="T34" fmla="*/ 9 w 14"/>
                  <a:gd name="T35" fmla="*/ 27 h 39"/>
                  <a:gd name="T36" fmla="*/ 10 w 14"/>
                  <a:gd name="T37" fmla="*/ 23 h 39"/>
                  <a:gd name="T38" fmla="*/ 10 w 14"/>
                  <a:gd name="T39" fmla="*/ 21 h 39"/>
                  <a:gd name="T40" fmla="*/ 10 w 14"/>
                  <a:gd name="T41" fmla="*/ 23 h 39"/>
                  <a:gd name="T42" fmla="*/ 9 w 14"/>
                  <a:gd name="T43" fmla="*/ 25 h 39"/>
                  <a:gd name="T44" fmla="*/ 9 w 14"/>
                  <a:gd name="T45" fmla="*/ 25 h 39"/>
                  <a:gd name="T46" fmla="*/ 7 w 14"/>
                  <a:gd name="T47" fmla="*/ 23 h 39"/>
                  <a:gd name="T48" fmla="*/ 7 w 14"/>
                  <a:gd name="T49" fmla="*/ 21 h 39"/>
                  <a:gd name="T50" fmla="*/ 5 w 14"/>
                  <a:gd name="T51" fmla="*/ 21 h 39"/>
                  <a:gd name="T52" fmla="*/ 3 w 14"/>
                  <a:gd name="T53" fmla="*/ 20 h 39"/>
                  <a:gd name="T54" fmla="*/ 5 w 14"/>
                  <a:gd name="T55" fmla="*/ 20 h 39"/>
                  <a:gd name="T56" fmla="*/ 5 w 14"/>
                  <a:gd name="T57" fmla="*/ 18 h 39"/>
                  <a:gd name="T58" fmla="*/ 3 w 14"/>
                  <a:gd name="T59" fmla="*/ 16 h 39"/>
                  <a:gd name="T60" fmla="*/ 5 w 14"/>
                  <a:gd name="T61" fmla="*/ 16 h 39"/>
                  <a:gd name="T62" fmla="*/ 5 w 14"/>
                  <a:gd name="T63" fmla="*/ 14 h 39"/>
                  <a:gd name="T64" fmla="*/ 3 w 14"/>
                  <a:gd name="T65" fmla="*/ 13 h 39"/>
                  <a:gd name="T66" fmla="*/ 3 w 14"/>
                  <a:gd name="T67" fmla="*/ 9 h 39"/>
                  <a:gd name="T68" fmla="*/ 0 w 14"/>
                  <a:gd name="T69" fmla="*/ 7 h 39"/>
                  <a:gd name="T70" fmla="*/ 0 w 14"/>
                  <a:gd name="T71" fmla="*/ 5 h 39"/>
                  <a:gd name="T72" fmla="*/ 0 w 14"/>
                  <a:gd name="T73" fmla="*/ 5 h 39"/>
                  <a:gd name="T74" fmla="*/ 0 w 14"/>
                  <a:gd name="T75" fmla="*/ 4 h 39"/>
                  <a:gd name="T76" fmla="*/ 0 w 14"/>
                  <a:gd name="T77" fmla="*/ 2 h 39"/>
                  <a:gd name="T78" fmla="*/ 2 w 14"/>
                  <a:gd name="T79" fmla="*/ 0 h 39"/>
                  <a:gd name="T80" fmla="*/ 3 w 14"/>
                  <a:gd name="T81" fmla="*/ 2 h 39"/>
                  <a:gd name="T82" fmla="*/ 5 w 14"/>
                  <a:gd name="T83" fmla="*/ 4 h 39"/>
                  <a:gd name="T84" fmla="*/ 7 w 14"/>
                  <a:gd name="T85" fmla="*/ 5 h 39"/>
                  <a:gd name="T86" fmla="*/ 9 w 14"/>
                  <a:gd name="T87" fmla="*/ 7 h 39"/>
                  <a:gd name="T88" fmla="*/ 9 w 14"/>
                  <a:gd name="T89" fmla="*/ 7 h 39"/>
                  <a:gd name="T90" fmla="*/ 10 w 14"/>
                  <a:gd name="T9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39">
                    <a:moveTo>
                      <a:pt x="10" y="9"/>
                    </a:moveTo>
                    <a:lnTo>
                      <a:pt x="10" y="7"/>
                    </a:lnTo>
                    <a:lnTo>
                      <a:pt x="12" y="11"/>
                    </a:lnTo>
                    <a:lnTo>
                      <a:pt x="10" y="16"/>
                    </a:lnTo>
                    <a:lnTo>
                      <a:pt x="12" y="14"/>
                    </a:lnTo>
                    <a:lnTo>
                      <a:pt x="12" y="14"/>
                    </a:lnTo>
                    <a:lnTo>
                      <a:pt x="14" y="16"/>
                    </a:lnTo>
                    <a:lnTo>
                      <a:pt x="14" y="18"/>
                    </a:lnTo>
                    <a:lnTo>
                      <a:pt x="12" y="20"/>
                    </a:lnTo>
                    <a:lnTo>
                      <a:pt x="12" y="23"/>
                    </a:lnTo>
                    <a:lnTo>
                      <a:pt x="14" y="23"/>
                    </a:lnTo>
                    <a:lnTo>
                      <a:pt x="14" y="38"/>
                    </a:lnTo>
                    <a:lnTo>
                      <a:pt x="14" y="39"/>
                    </a:lnTo>
                    <a:lnTo>
                      <a:pt x="12" y="39"/>
                    </a:lnTo>
                    <a:lnTo>
                      <a:pt x="12" y="36"/>
                    </a:lnTo>
                    <a:lnTo>
                      <a:pt x="10" y="36"/>
                    </a:lnTo>
                    <a:lnTo>
                      <a:pt x="9" y="29"/>
                    </a:lnTo>
                    <a:lnTo>
                      <a:pt x="9" y="27"/>
                    </a:lnTo>
                    <a:lnTo>
                      <a:pt x="10" y="23"/>
                    </a:lnTo>
                    <a:lnTo>
                      <a:pt x="10" y="21"/>
                    </a:lnTo>
                    <a:lnTo>
                      <a:pt x="10" y="23"/>
                    </a:lnTo>
                    <a:lnTo>
                      <a:pt x="9" y="25"/>
                    </a:lnTo>
                    <a:lnTo>
                      <a:pt x="9" y="25"/>
                    </a:lnTo>
                    <a:lnTo>
                      <a:pt x="7" y="23"/>
                    </a:lnTo>
                    <a:lnTo>
                      <a:pt x="7" y="21"/>
                    </a:lnTo>
                    <a:lnTo>
                      <a:pt x="5" y="21"/>
                    </a:lnTo>
                    <a:lnTo>
                      <a:pt x="3" y="20"/>
                    </a:lnTo>
                    <a:lnTo>
                      <a:pt x="5" y="20"/>
                    </a:lnTo>
                    <a:lnTo>
                      <a:pt x="5" y="18"/>
                    </a:lnTo>
                    <a:lnTo>
                      <a:pt x="3" y="16"/>
                    </a:lnTo>
                    <a:lnTo>
                      <a:pt x="5" y="16"/>
                    </a:lnTo>
                    <a:lnTo>
                      <a:pt x="5" y="14"/>
                    </a:lnTo>
                    <a:lnTo>
                      <a:pt x="3" y="13"/>
                    </a:lnTo>
                    <a:lnTo>
                      <a:pt x="3" y="9"/>
                    </a:lnTo>
                    <a:lnTo>
                      <a:pt x="0" y="7"/>
                    </a:lnTo>
                    <a:lnTo>
                      <a:pt x="0" y="5"/>
                    </a:lnTo>
                    <a:lnTo>
                      <a:pt x="0" y="5"/>
                    </a:lnTo>
                    <a:lnTo>
                      <a:pt x="0" y="4"/>
                    </a:lnTo>
                    <a:lnTo>
                      <a:pt x="0" y="2"/>
                    </a:lnTo>
                    <a:lnTo>
                      <a:pt x="2" y="0"/>
                    </a:lnTo>
                    <a:lnTo>
                      <a:pt x="3" y="2"/>
                    </a:lnTo>
                    <a:lnTo>
                      <a:pt x="5" y="4"/>
                    </a:lnTo>
                    <a:lnTo>
                      <a:pt x="7" y="5"/>
                    </a:lnTo>
                    <a:lnTo>
                      <a:pt x="9" y="7"/>
                    </a:lnTo>
                    <a:lnTo>
                      <a:pt x="9" y="7"/>
                    </a:lnTo>
                    <a:lnTo>
                      <a:pt x="10"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96" name="Freeform 2246"/>
              <p:cNvSpPr>
                <a:spLocks/>
              </p:cNvSpPr>
              <p:nvPr/>
            </p:nvSpPr>
            <p:spPr bwMode="auto">
              <a:xfrm>
                <a:off x="527" y="1586"/>
                <a:ext cx="14" cy="39"/>
              </a:xfrm>
              <a:custGeom>
                <a:avLst/>
                <a:gdLst>
                  <a:gd name="T0" fmla="*/ 10 w 14"/>
                  <a:gd name="T1" fmla="*/ 9 h 39"/>
                  <a:gd name="T2" fmla="*/ 10 w 14"/>
                  <a:gd name="T3" fmla="*/ 7 h 39"/>
                  <a:gd name="T4" fmla="*/ 12 w 14"/>
                  <a:gd name="T5" fmla="*/ 11 h 39"/>
                  <a:gd name="T6" fmla="*/ 10 w 14"/>
                  <a:gd name="T7" fmla="*/ 16 h 39"/>
                  <a:gd name="T8" fmla="*/ 12 w 14"/>
                  <a:gd name="T9" fmla="*/ 14 h 39"/>
                  <a:gd name="T10" fmla="*/ 12 w 14"/>
                  <a:gd name="T11" fmla="*/ 14 h 39"/>
                  <a:gd name="T12" fmla="*/ 14 w 14"/>
                  <a:gd name="T13" fmla="*/ 16 h 39"/>
                  <a:gd name="T14" fmla="*/ 14 w 14"/>
                  <a:gd name="T15" fmla="*/ 18 h 39"/>
                  <a:gd name="T16" fmla="*/ 12 w 14"/>
                  <a:gd name="T17" fmla="*/ 20 h 39"/>
                  <a:gd name="T18" fmla="*/ 12 w 14"/>
                  <a:gd name="T19" fmla="*/ 23 h 39"/>
                  <a:gd name="T20" fmla="*/ 14 w 14"/>
                  <a:gd name="T21" fmla="*/ 23 h 39"/>
                  <a:gd name="T22" fmla="*/ 14 w 14"/>
                  <a:gd name="T23" fmla="*/ 38 h 39"/>
                  <a:gd name="T24" fmla="*/ 14 w 14"/>
                  <a:gd name="T25" fmla="*/ 39 h 39"/>
                  <a:gd name="T26" fmla="*/ 12 w 14"/>
                  <a:gd name="T27" fmla="*/ 39 h 39"/>
                  <a:gd name="T28" fmla="*/ 12 w 14"/>
                  <a:gd name="T29" fmla="*/ 36 h 39"/>
                  <a:gd name="T30" fmla="*/ 10 w 14"/>
                  <a:gd name="T31" fmla="*/ 36 h 39"/>
                  <a:gd name="T32" fmla="*/ 9 w 14"/>
                  <a:gd name="T33" fmla="*/ 29 h 39"/>
                  <a:gd name="T34" fmla="*/ 9 w 14"/>
                  <a:gd name="T35" fmla="*/ 27 h 39"/>
                  <a:gd name="T36" fmla="*/ 10 w 14"/>
                  <a:gd name="T37" fmla="*/ 23 h 39"/>
                  <a:gd name="T38" fmla="*/ 10 w 14"/>
                  <a:gd name="T39" fmla="*/ 21 h 39"/>
                  <a:gd name="T40" fmla="*/ 10 w 14"/>
                  <a:gd name="T41" fmla="*/ 23 h 39"/>
                  <a:gd name="T42" fmla="*/ 9 w 14"/>
                  <a:gd name="T43" fmla="*/ 25 h 39"/>
                  <a:gd name="T44" fmla="*/ 9 w 14"/>
                  <a:gd name="T45" fmla="*/ 25 h 39"/>
                  <a:gd name="T46" fmla="*/ 7 w 14"/>
                  <a:gd name="T47" fmla="*/ 23 h 39"/>
                  <a:gd name="T48" fmla="*/ 7 w 14"/>
                  <a:gd name="T49" fmla="*/ 21 h 39"/>
                  <a:gd name="T50" fmla="*/ 5 w 14"/>
                  <a:gd name="T51" fmla="*/ 21 h 39"/>
                  <a:gd name="T52" fmla="*/ 3 w 14"/>
                  <a:gd name="T53" fmla="*/ 20 h 39"/>
                  <a:gd name="T54" fmla="*/ 5 w 14"/>
                  <a:gd name="T55" fmla="*/ 20 h 39"/>
                  <a:gd name="T56" fmla="*/ 5 w 14"/>
                  <a:gd name="T57" fmla="*/ 18 h 39"/>
                  <a:gd name="T58" fmla="*/ 3 w 14"/>
                  <a:gd name="T59" fmla="*/ 16 h 39"/>
                  <a:gd name="T60" fmla="*/ 5 w 14"/>
                  <a:gd name="T61" fmla="*/ 16 h 39"/>
                  <a:gd name="T62" fmla="*/ 5 w 14"/>
                  <a:gd name="T63" fmla="*/ 14 h 39"/>
                  <a:gd name="T64" fmla="*/ 3 w 14"/>
                  <a:gd name="T65" fmla="*/ 13 h 39"/>
                  <a:gd name="T66" fmla="*/ 3 w 14"/>
                  <a:gd name="T67" fmla="*/ 9 h 39"/>
                  <a:gd name="T68" fmla="*/ 0 w 14"/>
                  <a:gd name="T69" fmla="*/ 7 h 39"/>
                  <a:gd name="T70" fmla="*/ 0 w 14"/>
                  <a:gd name="T71" fmla="*/ 5 h 39"/>
                  <a:gd name="T72" fmla="*/ 0 w 14"/>
                  <a:gd name="T73" fmla="*/ 5 h 39"/>
                  <a:gd name="T74" fmla="*/ 0 w 14"/>
                  <a:gd name="T75" fmla="*/ 4 h 39"/>
                  <a:gd name="T76" fmla="*/ 0 w 14"/>
                  <a:gd name="T77" fmla="*/ 2 h 39"/>
                  <a:gd name="T78" fmla="*/ 2 w 14"/>
                  <a:gd name="T79" fmla="*/ 0 h 39"/>
                  <a:gd name="T80" fmla="*/ 3 w 14"/>
                  <a:gd name="T81" fmla="*/ 2 h 39"/>
                  <a:gd name="T82" fmla="*/ 5 w 14"/>
                  <a:gd name="T83" fmla="*/ 4 h 39"/>
                  <a:gd name="T84" fmla="*/ 7 w 14"/>
                  <a:gd name="T85" fmla="*/ 5 h 39"/>
                  <a:gd name="T86" fmla="*/ 9 w 14"/>
                  <a:gd name="T87" fmla="*/ 7 h 39"/>
                  <a:gd name="T88" fmla="*/ 9 w 14"/>
                  <a:gd name="T89" fmla="*/ 7 h 39"/>
                  <a:gd name="T90" fmla="*/ 10 w 14"/>
                  <a:gd name="T91"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 h="39">
                    <a:moveTo>
                      <a:pt x="10" y="9"/>
                    </a:moveTo>
                    <a:lnTo>
                      <a:pt x="10" y="7"/>
                    </a:lnTo>
                    <a:lnTo>
                      <a:pt x="12" y="11"/>
                    </a:lnTo>
                    <a:lnTo>
                      <a:pt x="10" y="16"/>
                    </a:lnTo>
                    <a:lnTo>
                      <a:pt x="12" y="14"/>
                    </a:lnTo>
                    <a:lnTo>
                      <a:pt x="12" y="14"/>
                    </a:lnTo>
                    <a:lnTo>
                      <a:pt x="14" y="16"/>
                    </a:lnTo>
                    <a:lnTo>
                      <a:pt x="14" y="18"/>
                    </a:lnTo>
                    <a:lnTo>
                      <a:pt x="12" y="20"/>
                    </a:lnTo>
                    <a:lnTo>
                      <a:pt x="12" y="23"/>
                    </a:lnTo>
                    <a:lnTo>
                      <a:pt x="14" y="23"/>
                    </a:lnTo>
                    <a:lnTo>
                      <a:pt x="14" y="38"/>
                    </a:lnTo>
                    <a:lnTo>
                      <a:pt x="14" y="39"/>
                    </a:lnTo>
                    <a:lnTo>
                      <a:pt x="12" y="39"/>
                    </a:lnTo>
                    <a:lnTo>
                      <a:pt x="12" y="36"/>
                    </a:lnTo>
                    <a:lnTo>
                      <a:pt x="10" y="36"/>
                    </a:lnTo>
                    <a:lnTo>
                      <a:pt x="9" y="29"/>
                    </a:lnTo>
                    <a:lnTo>
                      <a:pt x="9" y="27"/>
                    </a:lnTo>
                    <a:lnTo>
                      <a:pt x="10" y="23"/>
                    </a:lnTo>
                    <a:lnTo>
                      <a:pt x="10" y="21"/>
                    </a:lnTo>
                    <a:lnTo>
                      <a:pt x="10" y="23"/>
                    </a:lnTo>
                    <a:lnTo>
                      <a:pt x="9" y="25"/>
                    </a:lnTo>
                    <a:lnTo>
                      <a:pt x="9" y="25"/>
                    </a:lnTo>
                    <a:lnTo>
                      <a:pt x="7" y="23"/>
                    </a:lnTo>
                    <a:lnTo>
                      <a:pt x="7" y="21"/>
                    </a:lnTo>
                    <a:lnTo>
                      <a:pt x="5" y="21"/>
                    </a:lnTo>
                    <a:lnTo>
                      <a:pt x="3" y="20"/>
                    </a:lnTo>
                    <a:lnTo>
                      <a:pt x="5" y="20"/>
                    </a:lnTo>
                    <a:lnTo>
                      <a:pt x="5" y="18"/>
                    </a:lnTo>
                    <a:lnTo>
                      <a:pt x="3" y="16"/>
                    </a:lnTo>
                    <a:lnTo>
                      <a:pt x="5" y="16"/>
                    </a:lnTo>
                    <a:lnTo>
                      <a:pt x="5" y="14"/>
                    </a:lnTo>
                    <a:lnTo>
                      <a:pt x="3" y="13"/>
                    </a:lnTo>
                    <a:lnTo>
                      <a:pt x="3" y="9"/>
                    </a:lnTo>
                    <a:lnTo>
                      <a:pt x="0" y="7"/>
                    </a:lnTo>
                    <a:lnTo>
                      <a:pt x="0" y="5"/>
                    </a:lnTo>
                    <a:lnTo>
                      <a:pt x="0" y="5"/>
                    </a:lnTo>
                    <a:lnTo>
                      <a:pt x="0" y="4"/>
                    </a:lnTo>
                    <a:lnTo>
                      <a:pt x="0" y="2"/>
                    </a:lnTo>
                    <a:lnTo>
                      <a:pt x="2" y="0"/>
                    </a:lnTo>
                    <a:lnTo>
                      <a:pt x="3" y="2"/>
                    </a:lnTo>
                    <a:lnTo>
                      <a:pt x="5" y="4"/>
                    </a:lnTo>
                    <a:lnTo>
                      <a:pt x="7" y="5"/>
                    </a:lnTo>
                    <a:lnTo>
                      <a:pt x="9" y="7"/>
                    </a:lnTo>
                    <a:lnTo>
                      <a:pt x="9" y="7"/>
                    </a:lnTo>
                    <a:lnTo>
                      <a:pt x="10"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97" name="Freeform 2247"/>
              <p:cNvSpPr>
                <a:spLocks/>
              </p:cNvSpPr>
              <p:nvPr/>
            </p:nvSpPr>
            <p:spPr bwMode="auto">
              <a:xfrm>
                <a:off x="539" y="1568"/>
                <a:ext cx="16" cy="32"/>
              </a:xfrm>
              <a:custGeom>
                <a:avLst/>
                <a:gdLst>
                  <a:gd name="T0" fmla="*/ 4 w 16"/>
                  <a:gd name="T1" fmla="*/ 16 h 32"/>
                  <a:gd name="T2" fmla="*/ 4 w 16"/>
                  <a:gd name="T3" fmla="*/ 16 h 32"/>
                  <a:gd name="T4" fmla="*/ 0 w 16"/>
                  <a:gd name="T5" fmla="*/ 2 h 32"/>
                  <a:gd name="T6" fmla="*/ 0 w 16"/>
                  <a:gd name="T7" fmla="*/ 0 h 32"/>
                  <a:gd name="T8" fmla="*/ 2 w 16"/>
                  <a:gd name="T9" fmla="*/ 0 h 32"/>
                  <a:gd name="T10" fmla="*/ 9 w 16"/>
                  <a:gd name="T11" fmla="*/ 0 h 32"/>
                  <a:gd name="T12" fmla="*/ 13 w 16"/>
                  <a:gd name="T13" fmla="*/ 7 h 32"/>
                  <a:gd name="T14" fmla="*/ 15 w 16"/>
                  <a:gd name="T15" fmla="*/ 13 h 32"/>
                  <a:gd name="T16" fmla="*/ 15 w 16"/>
                  <a:gd name="T17" fmla="*/ 14 h 32"/>
                  <a:gd name="T18" fmla="*/ 16 w 16"/>
                  <a:gd name="T19" fmla="*/ 18 h 32"/>
                  <a:gd name="T20" fmla="*/ 9 w 16"/>
                  <a:gd name="T21" fmla="*/ 2 h 32"/>
                  <a:gd name="T22" fmla="*/ 9 w 16"/>
                  <a:gd name="T23" fmla="*/ 2 h 32"/>
                  <a:gd name="T24" fmla="*/ 9 w 16"/>
                  <a:gd name="T25" fmla="*/ 4 h 32"/>
                  <a:gd name="T26" fmla="*/ 7 w 16"/>
                  <a:gd name="T27" fmla="*/ 4 h 32"/>
                  <a:gd name="T28" fmla="*/ 9 w 16"/>
                  <a:gd name="T29" fmla="*/ 11 h 32"/>
                  <a:gd name="T30" fmla="*/ 11 w 16"/>
                  <a:gd name="T31" fmla="*/ 13 h 32"/>
                  <a:gd name="T32" fmla="*/ 11 w 16"/>
                  <a:gd name="T33" fmla="*/ 14 h 32"/>
                  <a:gd name="T34" fmla="*/ 13 w 16"/>
                  <a:gd name="T35" fmla="*/ 16 h 32"/>
                  <a:gd name="T36" fmla="*/ 15 w 16"/>
                  <a:gd name="T37" fmla="*/ 20 h 32"/>
                  <a:gd name="T38" fmla="*/ 13 w 16"/>
                  <a:gd name="T39" fmla="*/ 18 h 32"/>
                  <a:gd name="T40" fmla="*/ 13 w 16"/>
                  <a:gd name="T41" fmla="*/ 20 h 32"/>
                  <a:gd name="T42" fmla="*/ 13 w 16"/>
                  <a:gd name="T43" fmla="*/ 20 h 32"/>
                  <a:gd name="T44" fmla="*/ 15 w 16"/>
                  <a:gd name="T45" fmla="*/ 22 h 32"/>
                  <a:gd name="T46" fmla="*/ 15 w 16"/>
                  <a:gd name="T47" fmla="*/ 23 h 32"/>
                  <a:gd name="T48" fmla="*/ 13 w 16"/>
                  <a:gd name="T49" fmla="*/ 23 h 32"/>
                  <a:gd name="T50" fmla="*/ 11 w 16"/>
                  <a:gd name="T51" fmla="*/ 23 h 32"/>
                  <a:gd name="T52" fmla="*/ 11 w 16"/>
                  <a:gd name="T53" fmla="*/ 27 h 32"/>
                  <a:gd name="T54" fmla="*/ 11 w 16"/>
                  <a:gd name="T55" fmla="*/ 29 h 32"/>
                  <a:gd name="T56" fmla="*/ 9 w 16"/>
                  <a:gd name="T57" fmla="*/ 27 h 32"/>
                  <a:gd name="T58" fmla="*/ 6 w 16"/>
                  <a:gd name="T59" fmla="*/ 32 h 32"/>
                  <a:gd name="T60" fmla="*/ 4 w 16"/>
                  <a:gd name="T61" fmla="*/ 32 h 32"/>
                  <a:gd name="T62" fmla="*/ 4 w 16"/>
                  <a:gd name="T63" fmla="*/ 32 h 32"/>
                  <a:gd name="T64" fmla="*/ 4 w 16"/>
                  <a:gd name="T65" fmla="*/ 31 h 32"/>
                  <a:gd name="T66" fmla="*/ 4 w 16"/>
                  <a:gd name="T67" fmla="*/ 23 h 32"/>
                  <a:gd name="T68" fmla="*/ 4 w 16"/>
                  <a:gd name="T69" fmla="*/ 23 h 32"/>
                  <a:gd name="T70" fmla="*/ 6 w 16"/>
                  <a:gd name="T71" fmla="*/ 23 h 32"/>
                  <a:gd name="T72" fmla="*/ 7 w 16"/>
                  <a:gd name="T73" fmla="*/ 22 h 32"/>
                  <a:gd name="T74" fmla="*/ 6 w 16"/>
                  <a:gd name="T75" fmla="*/ 22 h 32"/>
                  <a:gd name="T76" fmla="*/ 4 w 16"/>
                  <a:gd name="T77" fmla="*/ 20 h 32"/>
                  <a:gd name="T78" fmla="*/ 7 w 16"/>
                  <a:gd name="T79" fmla="*/ 18 h 32"/>
                  <a:gd name="T80" fmla="*/ 7 w 16"/>
                  <a:gd name="T81" fmla="*/ 16 h 32"/>
                  <a:gd name="T82" fmla="*/ 6 w 16"/>
                  <a:gd name="T83" fmla="*/ 18 h 32"/>
                  <a:gd name="T84" fmla="*/ 4 w 16"/>
                  <a:gd name="T85" fmla="*/ 18 h 32"/>
                  <a:gd name="T86" fmla="*/ 4 w 16"/>
                  <a:gd name="T8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 h="32">
                    <a:moveTo>
                      <a:pt x="4" y="16"/>
                    </a:moveTo>
                    <a:lnTo>
                      <a:pt x="4" y="16"/>
                    </a:lnTo>
                    <a:lnTo>
                      <a:pt x="0" y="2"/>
                    </a:lnTo>
                    <a:lnTo>
                      <a:pt x="0" y="0"/>
                    </a:lnTo>
                    <a:lnTo>
                      <a:pt x="2" y="0"/>
                    </a:lnTo>
                    <a:lnTo>
                      <a:pt x="9" y="0"/>
                    </a:lnTo>
                    <a:lnTo>
                      <a:pt x="13" y="7"/>
                    </a:lnTo>
                    <a:lnTo>
                      <a:pt x="15" y="13"/>
                    </a:lnTo>
                    <a:lnTo>
                      <a:pt x="15" y="14"/>
                    </a:lnTo>
                    <a:lnTo>
                      <a:pt x="16" y="18"/>
                    </a:lnTo>
                    <a:lnTo>
                      <a:pt x="9" y="2"/>
                    </a:lnTo>
                    <a:lnTo>
                      <a:pt x="9" y="2"/>
                    </a:lnTo>
                    <a:lnTo>
                      <a:pt x="9" y="4"/>
                    </a:lnTo>
                    <a:lnTo>
                      <a:pt x="7" y="4"/>
                    </a:lnTo>
                    <a:lnTo>
                      <a:pt x="9" y="11"/>
                    </a:lnTo>
                    <a:lnTo>
                      <a:pt x="11" y="13"/>
                    </a:lnTo>
                    <a:lnTo>
                      <a:pt x="11" y="14"/>
                    </a:lnTo>
                    <a:lnTo>
                      <a:pt x="13" y="16"/>
                    </a:lnTo>
                    <a:lnTo>
                      <a:pt x="15" y="20"/>
                    </a:lnTo>
                    <a:lnTo>
                      <a:pt x="13" y="18"/>
                    </a:lnTo>
                    <a:lnTo>
                      <a:pt x="13" y="20"/>
                    </a:lnTo>
                    <a:lnTo>
                      <a:pt x="13" y="20"/>
                    </a:lnTo>
                    <a:lnTo>
                      <a:pt x="15" y="22"/>
                    </a:lnTo>
                    <a:lnTo>
                      <a:pt x="15" y="23"/>
                    </a:lnTo>
                    <a:lnTo>
                      <a:pt x="13" y="23"/>
                    </a:lnTo>
                    <a:lnTo>
                      <a:pt x="11" y="23"/>
                    </a:lnTo>
                    <a:lnTo>
                      <a:pt x="11" y="27"/>
                    </a:lnTo>
                    <a:lnTo>
                      <a:pt x="11" y="29"/>
                    </a:lnTo>
                    <a:lnTo>
                      <a:pt x="9" y="27"/>
                    </a:lnTo>
                    <a:lnTo>
                      <a:pt x="6" y="32"/>
                    </a:lnTo>
                    <a:lnTo>
                      <a:pt x="4" y="32"/>
                    </a:lnTo>
                    <a:lnTo>
                      <a:pt x="4" y="32"/>
                    </a:lnTo>
                    <a:lnTo>
                      <a:pt x="4" y="31"/>
                    </a:lnTo>
                    <a:lnTo>
                      <a:pt x="4" y="23"/>
                    </a:lnTo>
                    <a:lnTo>
                      <a:pt x="4" y="23"/>
                    </a:lnTo>
                    <a:lnTo>
                      <a:pt x="6" y="23"/>
                    </a:lnTo>
                    <a:lnTo>
                      <a:pt x="7" y="22"/>
                    </a:lnTo>
                    <a:lnTo>
                      <a:pt x="6" y="22"/>
                    </a:lnTo>
                    <a:lnTo>
                      <a:pt x="4" y="20"/>
                    </a:lnTo>
                    <a:lnTo>
                      <a:pt x="7" y="18"/>
                    </a:lnTo>
                    <a:lnTo>
                      <a:pt x="7" y="16"/>
                    </a:lnTo>
                    <a:lnTo>
                      <a:pt x="6" y="18"/>
                    </a:lnTo>
                    <a:lnTo>
                      <a:pt x="4" y="18"/>
                    </a:lnTo>
                    <a:lnTo>
                      <a:pt x="4" y="1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98" name="Freeform 2248"/>
              <p:cNvSpPr>
                <a:spLocks/>
              </p:cNvSpPr>
              <p:nvPr/>
            </p:nvSpPr>
            <p:spPr bwMode="auto">
              <a:xfrm>
                <a:off x="539" y="1568"/>
                <a:ext cx="16" cy="32"/>
              </a:xfrm>
              <a:custGeom>
                <a:avLst/>
                <a:gdLst>
                  <a:gd name="T0" fmla="*/ 4 w 16"/>
                  <a:gd name="T1" fmla="*/ 16 h 32"/>
                  <a:gd name="T2" fmla="*/ 4 w 16"/>
                  <a:gd name="T3" fmla="*/ 16 h 32"/>
                  <a:gd name="T4" fmla="*/ 0 w 16"/>
                  <a:gd name="T5" fmla="*/ 2 h 32"/>
                  <a:gd name="T6" fmla="*/ 0 w 16"/>
                  <a:gd name="T7" fmla="*/ 0 h 32"/>
                  <a:gd name="T8" fmla="*/ 2 w 16"/>
                  <a:gd name="T9" fmla="*/ 0 h 32"/>
                  <a:gd name="T10" fmla="*/ 9 w 16"/>
                  <a:gd name="T11" fmla="*/ 0 h 32"/>
                  <a:gd name="T12" fmla="*/ 13 w 16"/>
                  <a:gd name="T13" fmla="*/ 7 h 32"/>
                  <a:gd name="T14" fmla="*/ 15 w 16"/>
                  <a:gd name="T15" fmla="*/ 13 h 32"/>
                  <a:gd name="T16" fmla="*/ 15 w 16"/>
                  <a:gd name="T17" fmla="*/ 14 h 32"/>
                  <a:gd name="T18" fmla="*/ 16 w 16"/>
                  <a:gd name="T19" fmla="*/ 18 h 32"/>
                  <a:gd name="T20" fmla="*/ 9 w 16"/>
                  <a:gd name="T21" fmla="*/ 2 h 32"/>
                  <a:gd name="T22" fmla="*/ 9 w 16"/>
                  <a:gd name="T23" fmla="*/ 2 h 32"/>
                  <a:gd name="T24" fmla="*/ 9 w 16"/>
                  <a:gd name="T25" fmla="*/ 4 h 32"/>
                  <a:gd name="T26" fmla="*/ 7 w 16"/>
                  <a:gd name="T27" fmla="*/ 4 h 32"/>
                  <a:gd name="T28" fmla="*/ 9 w 16"/>
                  <a:gd name="T29" fmla="*/ 11 h 32"/>
                  <a:gd name="T30" fmla="*/ 11 w 16"/>
                  <a:gd name="T31" fmla="*/ 13 h 32"/>
                  <a:gd name="T32" fmla="*/ 11 w 16"/>
                  <a:gd name="T33" fmla="*/ 14 h 32"/>
                  <a:gd name="T34" fmla="*/ 13 w 16"/>
                  <a:gd name="T35" fmla="*/ 16 h 32"/>
                  <a:gd name="T36" fmla="*/ 15 w 16"/>
                  <a:gd name="T37" fmla="*/ 20 h 32"/>
                  <a:gd name="T38" fmla="*/ 13 w 16"/>
                  <a:gd name="T39" fmla="*/ 18 h 32"/>
                  <a:gd name="T40" fmla="*/ 13 w 16"/>
                  <a:gd name="T41" fmla="*/ 20 h 32"/>
                  <a:gd name="T42" fmla="*/ 13 w 16"/>
                  <a:gd name="T43" fmla="*/ 20 h 32"/>
                  <a:gd name="T44" fmla="*/ 15 w 16"/>
                  <a:gd name="T45" fmla="*/ 22 h 32"/>
                  <a:gd name="T46" fmla="*/ 15 w 16"/>
                  <a:gd name="T47" fmla="*/ 23 h 32"/>
                  <a:gd name="T48" fmla="*/ 13 w 16"/>
                  <a:gd name="T49" fmla="*/ 23 h 32"/>
                  <a:gd name="T50" fmla="*/ 11 w 16"/>
                  <a:gd name="T51" fmla="*/ 23 h 32"/>
                  <a:gd name="T52" fmla="*/ 11 w 16"/>
                  <a:gd name="T53" fmla="*/ 27 h 32"/>
                  <a:gd name="T54" fmla="*/ 11 w 16"/>
                  <a:gd name="T55" fmla="*/ 29 h 32"/>
                  <a:gd name="T56" fmla="*/ 9 w 16"/>
                  <a:gd name="T57" fmla="*/ 27 h 32"/>
                  <a:gd name="T58" fmla="*/ 6 w 16"/>
                  <a:gd name="T59" fmla="*/ 32 h 32"/>
                  <a:gd name="T60" fmla="*/ 4 w 16"/>
                  <a:gd name="T61" fmla="*/ 32 h 32"/>
                  <a:gd name="T62" fmla="*/ 4 w 16"/>
                  <a:gd name="T63" fmla="*/ 32 h 32"/>
                  <a:gd name="T64" fmla="*/ 4 w 16"/>
                  <a:gd name="T65" fmla="*/ 31 h 32"/>
                  <a:gd name="T66" fmla="*/ 4 w 16"/>
                  <a:gd name="T67" fmla="*/ 23 h 32"/>
                  <a:gd name="T68" fmla="*/ 4 w 16"/>
                  <a:gd name="T69" fmla="*/ 23 h 32"/>
                  <a:gd name="T70" fmla="*/ 6 w 16"/>
                  <a:gd name="T71" fmla="*/ 23 h 32"/>
                  <a:gd name="T72" fmla="*/ 7 w 16"/>
                  <a:gd name="T73" fmla="*/ 22 h 32"/>
                  <a:gd name="T74" fmla="*/ 6 w 16"/>
                  <a:gd name="T75" fmla="*/ 22 h 32"/>
                  <a:gd name="T76" fmla="*/ 4 w 16"/>
                  <a:gd name="T77" fmla="*/ 20 h 32"/>
                  <a:gd name="T78" fmla="*/ 7 w 16"/>
                  <a:gd name="T79" fmla="*/ 18 h 32"/>
                  <a:gd name="T80" fmla="*/ 7 w 16"/>
                  <a:gd name="T81" fmla="*/ 16 h 32"/>
                  <a:gd name="T82" fmla="*/ 6 w 16"/>
                  <a:gd name="T83" fmla="*/ 18 h 32"/>
                  <a:gd name="T84" fmla="*/ 4 w 16"/>
                  <a:gd name="T85" fmla="*/ 18 h 32"/>
                  <a:gd name="T86" fmla="*/ 4 w 16"/>
                  <a:gd name="T8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 h="32">
                    <a:moveTo>
                      <a:pt x="4" y="16"/>
                    </a:moveTo>
                    <a:lnTo>
                      <a:pt x="4" y="16"/>
                    </a:lnTo>
                    <a:lnTo>
                      <a:pt x="0" y="2"/>
                    </a:lnTo>
                    <a:lnTo>
                      <a:pt x="0" y="0"/>
                    </a:lnTo>
                    <a:lnTo>
                      <a:pt x="2" y="0"/>
                    </a:lnTo>
                    <a:lnTo>
                      <a:pt x="9" y="0"/>
                    </a:lnTo>
                    <a:lnTo>
                      <a:pt x="13" y="7"/>
                    </a:lnTo>
                    <a:lnTo>
                      <a:pt x="15" y="13"/>
                    </a:lnTo>
                    <a:lnTo>
                      <a:pt x="15" y="14"/>
                    </a:lnTo>
                    <a:lnTo>
                      <a:pt x="16" y="18"/>
                    </a:lnTo>
                    <a:lnTo>
                      <a:pt x="9" y="2"/>
                    </a:lnTo>
                    <a:lnTo>
                      <a:pt x="9" y="2"/>
                    </a:lnTo>
                    <a:lnTo>
                      <a:pt x="9" y="4"/>
                    </a:lnTo>
                    <a:lnTo>
                      <a:pt x="7" y="4"/>
                    </a:lnTo>
                    <a:lnTo>
                      <a:pt x="9" y="11"/>
                    </a:lnTo>
                    <a:lnTo>
                      <a:pt x="11" y="13"/>
                    </a:lnTo>
                    <a:lnTo>
                      <a:pt x="11" y="14"/>
                    </a:lnTo>
                    <a:lnTo>
                      <a:pt x="13" y="16"/>
                    </a:lnTo>
                    <a:lnTo>
                      <a:pt x="15" y="20"/>
                    </a:lnTo>
                    <a:lnTo>
                      <a:pt x="13" y="18"/>
                    </a:lnTo>
                    <a:lnTo>
                      <a:pt x="13" y="20"/>
                    </a:lnTo>
                    <a:lnTo>
                      <a:pt x="13" y="20"/>
                    </a:lnTo>
                    <a:lnTo>
                      <a:pt x="15" y="22"/>
                    </a:lnTo>
                    <a:lnTo>
                      <a:pt x="15" y="23"/>
                    </a:lnTo>
                    <a:lnTo>
                      <a:pt x="13" y="23"/>
                    </a:lnTo>
                    <a:lnTo>
                      <a:pt x="11" y="23"/>
                    </a:lnTo>
                    <a:lnTo>
                      <a:pt x="11" y="27"/>
                    </a:lnTo>
                    <a:lnTo>
                      <a:pt x="11" y="29"/>
                    </a:lnTo>
                    <a:lnTo>
                      <a:pt x="9" y="27"/>
                    </a:lnTo>
                    <a:lnTo>
                      <a:pt x="6" y="32"/>
                    </a:lnTo>
                    <a:lnTo>
                      <a:pt x="4" y="32"/>
                    </a:lnTo>
                    <a:lnTo>
                      <a:pt x="4" y="32"/>
                    </a:lnTo>
                    <a:lnTo>
                      <a:pt x="4" y="31"/>
                    </a:lnTo>
                    <a:lnTo>
                      <a:pt x="4" y="23"/>
                    </a:lnTo>
                    <a:lnTo>
                      <a:pt x="4" y="23"/>
                    </a:lnTo>
                    <a:lnTo>
                      <a:pt x="6" y="23"/>
                    </a:lnTo>
                    <a:lnTo>
                      <a:pt x="7" y="22"/>
                    </a:lnTo>
                    <a:lnTo>
                      <a:pt x="6" y="22"/>
                    </a:lnTo>
                    <a:lnTo>
                      <a:pt x="4" y="20"/>
                    </a:lnTo>
                    <a:lnTo>
                      <a:pt x="7" y="18"/>
                    </a:lnTo>
                    <a:lnTo>
                      <a:pt x="7" y="16"/>
                    </a:lnTo>
                    <a:lnTo>
                      <a:pt x="6" y="18"/>
                    </a:lnTo>
                    <a:lnTo>
                      <a:pt x="4" y="18"/>
                    </a:lnTo>
                    <a:lnTo>
                      <a:pt x="4" y="1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399" name="Freeform 2249"/>
              <p:cNvSpPr>
                <a:spLocks/>
              </p:cNvSpPr>
              <p:nvPr/>
            </p:nvSpPr>
            <p:spPr bwMode="auto">
              <a:xfrm>
                <a:off x="545" y="1604"/>
                <a:ext cx="10" cy="23"/>
              </a:xfrm>
              <a:custGeom>
                <a:avLst/>
                <a:gdLst>
                  <a:gd name="T0" fmla="*/ 5 w 10"/>
                  <a:gd name="T1" fmla="*/ 9 h 23"/>
                  <a:gd name="T2" fmla="*/ 3 w 10"/>
                  <a:gd name="T3" fmla="*/ 7 h 23"/>
                  <a:gd name="T4" fmla="*/ 3 w 10"/>
                  <a:gd name="T5" fmla="*/ 9 h 23"/>
                  <a:gd name="T6" fmla="*/ 1 w 10"/>
                  <a:gd name="T7" fmla="*/ 7 h 23"/>
                  <a:gd name="T8" fmla="*/ 1 w 10"/>
                  <a:gd name="T9" fmla="*/ 5 h 23"/>
                  <a:gd name="T10" fmla="*/ 0 w 10"/>
                  <a:gd name="T11" fmla="*/ 3 h 23"/>
                  <a:gd name="T12" fmla="*/ 1 w 10"/>
                  <a:gd name="T13" fmla="*/ 2 h 23"/>
                  <a:gd name="T14" fmla="*/ 3 w 10"/>
                  <a:gd name="T15" fmla="*/ 2 h 23"/>
                  <a:gd name="T16" fmla="*/ 3 w 10"/>
                  <a:gd name="T17" fmla="*/ 0 h 23"/>
                  <a:gd name="T18" fmla="*/ 7 w 10"/>
                  <a:gd name="T19" fmla="*/ 5 h 23"/>
                  <a:gd name="T20" fmla="*/ 10 w 10"/>
                  <a:gd name="T21" fmla="*/ 3 h 23"/>
                  <a:gd name="T22" fmla="*/ 10 w 10"/>
                  <a:gd name="T23" fmla="*/ 9 h 23"/>
                  <a:gd name="T24" fmla="*/ 7 w 10"/>
                  <a:gd name="T25" fmla="*/ 9 h 23"/>
                  <a:gd name="T26" fmla="*/ 9 w 10"/>
                  <a:gd name="T27" fmla="*/ 23 h 23"/>
                  <a:gd name="T28" fmla="*/ 7 w 10"/>
                  <a:gd name="T29" fmla="*/ 20 h 23"/>
                  <a:gd name="T30" fmla="*/ 5 w 10"/>
                  <a:gd name="T31" fmla="*/ 18 h 23"/>
                  <a:gd name="T32" fmla="*/ 5 w 10"/>
                  <a:gd name="T33" fmla="*/ 21 h 23"/>
                  <a:gd name="T34" fmla="*/ 3 w 10"/>
                  <a:gd name="T35" fmla="*/ 20 h 23"/>
                  <a:gd name="T36" fmla="*/ 3 w 10"/>
                  <a:gd name="T37" fmla="*/ 14 h 23"/>
                  <a:gd name="T38" fmla="*/ 5 w 10"/>
                  <a:gd name="T39" fmla="*/ 14 h 23"/>
                  <a:gd name="T40" fmla="*/ 7 w 10"/>
                  <a:gd name="T41" fmla="*/ 12 h 23"/>
                  <a:gd name="T42" fmla="*/ 7 w 10"/>
                  <a:gd name="T43" fmla="*/ 11 h 23"/>
                  <a:gd name="T44" fmla="*/ 5 w 10"/>
                  <a:gd name="T45" fmla="*/ 12 h 23"/>
                  <a:gd name="T46" fmla="*/ 5 w 10"/>
                  <a:gd name="T47" fmla="*/ 11 h 23"/>
                  <a:gd name="T48" fmla="*/ 3 w 10"/>
                  <a:gd name="T49" fmla="*/ 9 h 23"/>
                  <a:gd name="T50" fmla="*/ 5 w 10"/>
                  <a:gd name="T51"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23">
                    <a:moveTo>
                      <a:pt x="5" y="9"/>
                    </a:moveTo>
                    <a:lnTo>
                      <a:pt x="3" y="7"/>
                    </a:lnTo>
                    <a:lnTo>
                      <a:pt x="3" y="9"/>
                    </a:lnTo>
                    <a:lnTo>
                      <a:pt x="1" y="7"/>
                    </a:lnTo>
                    <a:lnTo>
                      <a:pt x="1" y="5"/>
                    </a:lnTo>
                    <a:lnTo>
                      <a:pt x="0" y="3"/>
                    </a:lnTo>
                    <a:lnTo>
                      <a:pt x="1" y="2"/>
                    </a:lnTo>
                    <a:lnTo>
                      <a:pt x="3" y="2"/>
                    </a:lnTo>
                    <a:lnTo>
                      <a:pt x="3" y="0"/>
                    </a:lnTo>
                    <a:lnTo>
                      <a:pt x="7" y="5"/>
                    </a:lnTo>
                    <a:lnTo>
                      <a:pt x="10" y="3"/>
                    </a:lnTo>
                    <a:lnTo>
                      <a:pt x="10" y="9"/>
                    </a:lnTo>
                    <a:lnTo>
                      <a:pt x="7" y="9"/>
                    </a:lnTo>
                    <a:lnTo>
                      <a:pt x="9" y="23"/>
                    </a:lnTo>
                    <a:lnTo>
                      <a:pt x="7" y="20"/>
                    </a:lnTo>
                    <a:lnTo>
                      <a:pt x="5" y="18"/>
                    </a:lnTo>
                    <a:lnTo>
                      <a:pt x="5" y="21"/>
                    </a:lnTo>
                    <a:lnTo>
                      <a:pt x="3" y="20"/>
                    </a:lnTo>
                    <a:lnTo>
                      <a:pt x="3" y="14"/>
                    </a:lnTo>
                    <a:lnTo>
                      <a:pt x="5" y="14"/>
                    </a:lnTo>
                    <a:lnTo>
                      <a:pt x="7" y="12"/>
                    </a:lnTo>
                    <a:lnTo>
                      <a:pt x="7" y="11"/>
                    </a:lnTo>
                    <a:lnTo>
                      <a:pt x="5" y="12"/>
                    </a:lnTo>
                    <a:lnTo>
                      <a:pt x="5" y="11"/>
                    </a:lnTo>
                    <a:lnTo>
                      <a:pt x="3" y="9"/>
                    </a:lnTo>
                    <a:lnTo>
                      <a:pt x="5"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00" name="Freeform 2250"/>
              <p:cNvSpPr>
                <a:spLocks/>
              </p:cNvSpPr>
              <p:nvPr/>
            </p:nvSpPr>
            <p:spPr bwMode="auto">
              <a:xfrm>
                <a:off x="545" y="1604"/>
                <a:ext cx="10" cy="23"/>
              </a:xfrm>
              <a:custGeom>
                <a:avLst/>
                <a:gdLst>
                  <a:gd name="T0" fmla="*/ 5 w 10"/>
                  <a:gd name="T1" fmla="*/ 9 h 23"/>
                  <a:gd name="T2" fmla="*/ 3 w 10"/>
                  <a:gd name="T3" fmla="*/ 7 h 23"/>
                  <a:gd name="T4" fmla="*/ 3 w 10"/>
                  <a:gd name="T5" fmla="*/ 9 h 23"/>
                  <a:gd name="T6" fmla="*/ 1 w 10"/>
                  <a:gd name="T7" fmla="*/ 7 h 23"/>
                  <a:gd name="T8" fmla="*/ 1 w 10"/>
                  <a:gd name="T9" fmla="*/ 5 h 23"/>
                  <a:gd name="T10" fmla="*/ 0 w 10"/>
                  <a:gd name="T11" fmla="*/ 3 h 23"/>
                  <a:gd name="T12" fmla="*/ 1 w 10"/>
                  <a:gd name="T13" fmla="*/ 2 h 23"/>
                  <a:gd name="T14" fmla="*/ 3 w 10"/>
                  <a:gd name="T15" fmla="*/ 2 h 23"/>
                  <a:gd name="T16" fmla="*/ 3 w 10"/>
                  <a:gd name="T17" fmla="*/ 0 h 23"/>
                  <a:gd name="T18" fmla="*/ 7 w 10"/>
                  <a:gd name="T19" fmla="*/ 5 h 23"/>
                  <a:gd name="T20" fmla="*/ 10 w 10"/>
                  <a:gd name="T21" fmla="*/ 3 h 23"/>
                  <a:gd name="T22" fmla="*/ 10 w 10"/>
                  <a:gd name="T23" fmla="*/ 9 h 23"/>
                  <a:gd name="T24" fmla="*/ 7 w 10"/>
                  <a:gd name="T25" fmla="*/ 9 h 23"/>
                  <a:gd name="T26" fmla="*/ 9 w 10"/>
                  <a:gd name="T27" fmla="*/ 23 h 23"/>
                  <a:gd name="T28" fmla="*/ 7 w 10"/>
                  <a:gd name="T29" fmla="*/ 20 h 23"/>
                  <a:gd name="T30" fmla="*/ 5 w 10"/>
                  <a:gd name="T31" fmla="*/ 18 h 23"/>
                  <a:gd name="T32" fmla="*/ 5 w 10"/>
                  <a:gd name="T33" fmla="*/ 21 h 23"/>
                  <a:gd name="T34" fmla="*/ 3 w 10"/>
                  <a:gd name="T35" fmla="*/ 20 h 23"/>
                  <a:gd name="T36" fmla="*/ 3 w 10"/>
                  <a:gd name="T37" fmla="*/ 14 h 23"/>
                  <a:gd name="T38" fmla="*/ 5 w 10"/>
                  <a:gd name="T39" fmla="*/ 14 h 23"/>
                  <a:gd name="T40" fmla="*/ 7 w 10"/>
                  <a:gd name="T41" fmla="*/ 12 h 23"/>
                  <a:gd name="T42" fmla="*/ 7 w 10"/>
                  <a:gd name="T43" fmla="*/ 11 h 23"/>
                  <a:gd name="T44" fmla="*/ 5 w 10"/>
                  <a:gd name="T45" fmla="*/ 12 h 23"/>
                  <a:gd name="T46" fmla="*/ 5 w 10"/>
                  <a:gd name="T47" fmla="*/ 11 h 23"/>
                  <a:gd name="T48" fmla="*/ 3 w 10"/>
                  <a:gd name="T49" fmla="*/ 9 h 23"/>
                  <a:gd name="T50" fmla="*/ 5 w 10"/>
                  <a:gd name="T51" fmla="*/ 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 h="23">
                    <a:moveTo>
                      <a:pt x="5" y="9"/>
                    </a:moveTo>
                    <a:lnTo>
                      <a:pt x="3" y="7"/>
                    </a:lnTo>
                    <a:lnTo>
                      <a:pt x="3" y="9"/>
                    </a:lnTo>
                    <a:lnTo>
                      <a:pt x="1" y="7"/>
                    </a:lnTo>
                    <a:lnTo>
                      <a:pt x="1" y="5"/>
                    </a:lnTo>
                    <a:lnTo>
                      <a:pt x="0" y="3"/>
                    </a:lnTo>
                    <a:lnTo>
                      <a:pt x="1" y="2"/>
                    </a:lnTo>
                    <a:lnTo>
                      <a:pt x="3" y="2"/>
                    </a:lnTo>
                    <a:lnTo>
                      <a:pt x="3" y="0"/>
                    </a:lnTo>
                    <a:lnTo>
                      <a:pt x="7" y="5"/>
                    </a:lnTo>
                    <a:lnTo>
                      <a:pt x="10" y="3"/>
                    </a:lnTo>
                    <a:lnTo>
                      <a:pt x="10" y="9"/>
                    </a:lnTo>
                    <a:lnTo>
                      <a:pt x="7" y="9"/>
                    </a:lnTo>
                    <a:lnTo>
                      <a:pt x="9" y="23"/>
                    </a:lnTo>
                    <a:lnTo>
                      <a:pt x="7" y="20"/>
                    </a:lnTo>
                    <a:lnTo>
                      <a:pt x="5" y="18"/>
                    </a:lnTo>
                    <a:lnTo>
                      <a:pt x="5" y="21"/>
                    </a:lnTo>
                    <a:lnTo>
                      <a:pt x="3" y="20"/>
                    </a:lnTo>
                    <a:lnTo>
                      <a:pt x="3" y="14"/>
                    </a:lnTo>
                    <a:lnTo>
                      <a:pt x="5" y="14"/>
                    </a:lnTo>
                    <a:lnTo>
                      <a:pt x="7" y="12"/>
                    </a:lnTo>
                    <a:lnTo>
                      <a:pt x="7" y="11"/>
                    </a:lnTo>
                    <a:lnTo>
                      <a:pt x="5" y="12"/>
                    </a:lnTo>
                    <a:lnTo>
                      <a:pt x="5" y="11"/>
                    </a:lnTo>
                    <a:lnTo>
                      <a:pt x="3" y="9"/>
                    </a:lnTo>
                    <a:lnTo>
                      <a:pt x="5"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01" name="Freeform 2251"/>
              <p:cNvSpPr>
                <a:spLocks/>
              </p:cNvSpPr>
              <p:nvPr/>
            </p:nvSpPr>
            <p:spPr bwMode="auto">
              <a:xfrm>
                <a:off x="552" y="1599"/>
                <a:ext cx="16" cy="19"/>
              </a:xfrm>
              <a:custGeom>
                <a:avLst/>
                <a:gdLst>
                  <a:gd name="T0" fmla="*/ 3 w 16"/>
                  <a:gd name="T1" fmla="*/ 5 h 19"/>
                  <a:gd name="T2" fmla="*/ 3 w 16"/>
                  <a:gd name="T3" fmla="*/ 5 h 19"/>
                  <a:gd name="T4" fmla="*/ 2 w 16"/>
                  <a:gd name="T5" fmla="*/ 3 h 19"/>
                  <a:gd name="T6" fmla="*/ 0 w 16"/>
                  <a:gd name="T7" fmla="*/ 1 h 19"/>
                  <a:gd name="T8" fmla="*/ 0 w 16"/>
                  <a:gd name="T9" fmla="*/ 1 h 19"/>
                  <a:gd name="T10" fmla="*/ 2 w 16"/>
                  <a:gd name="T11" fmla="*/ 0 h 19"/>
                  <a:gd name="T12" fmla="*/ 9 w 16"/>
                  <a:gd name="T13" fmla="*/ 3 h 19"/>
                  <a:gd name="T14" fmla="*/ 12 w 16"/>
                  <a:gd name="T15" fmla="*/ 3 h 19"/>
                  <a:gd name="T16" fmla="*/ 14 w 16"/>
                  <a:gd name="T17" fmla="*/ 3 h 19"/>
                  <a:gd name="T18" fmla="*/ 16 w 16"/>
                  <a:gd name="T19" fmla="*/ 5 h 19"/>
                  <a:gd name="T20" fmla="*/ 16 w 16"/>
                  <a:gd name="T21" fmla="*/ 7 h 19"/>
                  <a:gd name="T22" fmla="*/ 16 w 16"/>
                  <a:gd name="T23" fmla="*/ 14 h 19"/>
                  <a:gd name="T24" fmla="*/ 16 w 16"/>
                  <a:gd name="T25" fmla="*/ 14 h 19"/>
                  <a:gd name="T26" fmla="*/ 10 w 16"/>
                  <a:gd name="T27" fmla="*/ 8 h 19"/>
                  <a:gd name="T28" fmla="*/ 10 w 16"/>
                  <a:gd name="T29" fmla="*/ 8 h 19"/>
                  <a:gd name="T30" fmla="*/ 10 w 16"/>
                  <a:gd name="T31" fmla="*/ 10 h 19"/>
                  <a:gd name="T32" fmla="*/ 14 w 16"/>
                  <a:gd name="T33" fmla="*/ 14 h 19"/>
                  <a:gd name="T34" fmla="*/ 14 w 16"/>
                  <a:gd name="T35" fmla="*/ 17 h 19"/>
                  <a:gd name="T36" fmla="*/ 12 w 16"/>
                  <a:gd name="T37" fmla="*/ 19 h 19"/>
                  <a:gd name="T38" fmla="*/ 10 w 16"/>
                  <a:gd name="T39" fmla="*/ 17 h 19"/>
                  <a:gd name="T40" fmla="*/ 9 w 16"/>
                  <a:gd name="T41" fmla="*/ 19 h 19"/>
                  <a:gd name="T42" fmla="*/ 7 w 16"/>
                  <a:gd name="T43" fmla="*/ 19 h 19"/>
                  <a:gd name="T44" fmla="*/ 5 w 16"/>
                  <a:gd name="T45" fmla="*/ 7 h 19"/>
                  <a:gd name="T46" fmla="*/ 5 w 16"/>
                  <a:gd name="T47" fmla="*/ 7 h 19"/>
                  <a:gd name="T48" fmla="*/ 5 w 16"/>
                  <a:gd name="T49" fmla="*/ 7 h 19"/>
                  <a:gd name="T50" fmla="*/ 3 w 16"/>
                  <a:gd name="T51" fmla="*/ 7 h 19"/>
                  <a:gd name="T52" fmla="*/ 3 w 16"/>
                  <a:gd name="T53" fmla="*/ 7 h 19"/>
                  <a:gd name="T54" fmla="*/ 3 w 16"/>
                  <a:gd name="T55" fmla="*/ 5 h 19"/>
                  <a:gd name="T56" fmla="*/ 3 w 16"/>
                  <a:gd name="T57"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19">
                    <a:moveTo>
                      <a:pt x="3" y="5"/>
                    </a:moveTo>
                    <a:lnTo>
                      <a:pt x="3" y="5"/>
                    </a:lnTo>
                    <a:lnTo>
                      <a:pt x="2" y="3"/>
                    </a:lnTo>
                    <a:lnTo>
                      <a:pt x="0" y="1"/>
                    </a:lnTo>
                    <a:lnTo>
                      <a:pt x="0" y="1"/>
                    </a:lnTo>
                    <a:lnTo>
                      <a:pt x="2" y="0"/>
                    </a:lnTo>
                    <a:lnTo>
                      <a:pt x="9" y="3"/>
                    </a:lnTo>
                    <a:lnTo>
                      <a:pt x="12" y="3"/>
                    </a:lnTo>
                    <a:lnTo>
                      <a:pt x="14" y="3"/>
                    </a:lnTo>
                    <a:lnTo>
                      <a:pt x="16" y="5"/>
                    </a:lnTo>
                    <a:lnTo>
                      <a:pt x="16" y="7"/>
                    </a:lnTo>
                    <a:lnTo>
                      <a:pt x="16" y="14"/>
                    </a:lnTo>
                    <a:lnTo>
                      <a:pt x="16" y="14"/>
                    </a:lnTo>
                    <a:lnTo>
                      <a:pt x="10" y="8"/>
                    </a:lnTo>
                    <a:lnTo>
                      <a:pt x="10" y="8"/>
                    </a:lnTo>
                    <a:lnTo>
                      <a:pt x="10" y="10"/>
                    </a:lnTo>
                    <a:lnTo>
                      <a:pt x="14" y="14"/>
                    </a:lnTo>
                    <a:lnTo>
                      <a:pt x="14" y="17"/>
                    </a:lnTo>
                    <a:lnTo>
                      <a:pt x="12" y="19"/>
                    </a:lnTo>
                    <a:lnTo>
                      <a:pt x="10" y="17"/>
                    </a:lnTo>
                    <a:lnTo>
                      <a:pt x="9" y="19"/>
                    </a:lnTo>
                    <a:lnTo>
                      <a:pt x="7" y="19"/>
                    </a:lnTo>
                    <a:lnTo>
                      <a:pt x="5" y="7"/>
                    </a:lnTo>
                    <a:lnTo>
                      <a:pt x="5" y="7"/>
                    </a:lnTo>
                    <a:lnTo>
                      <a:pt x="5" y="7"/>
                    </a:lnTo>
                    <a:lnTo>
                      <a:pt x="3" y="7"/>
                    </a:lnTo>
                    <a:lnTo>
                      <a:pt x="3" y="7"/>
                    </a:lnTo>
                    <a:lnTo>
                      <a:pt x="3" y="5"/>
                    </a:lnTo>
                    <a:lnTo>
                      <a:pt x="3"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02" name="Freeform 2252"/>
              <p:cNvSpPr>
                <a:spLocks/>
              </p:cNvSpPr>
              <p:nvPr/>
            </p:nvSpPr>
            <p:spPr bwMode="auto">
              <a:xfrm>
                <a:off x="552" y="1599"/>
                <a:ext cx="16" cy="19"/>
              </a:xfrm>
              <a:custGeom>
                <a:avLst/>
                <a:gdLst>
                  <a:gd name="T0" fmla="*/ 3 w 16"/>
                  <a:gd name="T1" fmla="*/ 5 h 19"/>
                  <a:gd name="T2" fmla="*/ 3 w 16"/>
                  <a:gd name="T3" fmla="*/ 5 h 19"/>
                  <a:gd name="T4" fmla="*/ 2 w 16"/>
                  <a:gd name="T5" fmla="*/ 3 h 19"/>
                  <a:gd name="T6" fmla="*/ 0 w 16"/>
                  <a:gd name="T7" fmla="*/ 1 h 19"/>
                  <a:gd name="T8" fmla="*/ 0 w 16"/>
                  <a:gd name="T9" fmla="*/ 1 h 19"/>
                  <a:gd name="T10" fmla="*/ 2 w 16"/>
                  <a:gd name="T11" fmla="*/ 0 h 19"/>
                  <a:gd name="T12" fmla="*/ 9 w 16"/>
                  <a:gd name="T13" fmla="*/ 3 h 19"/>
                  <a:gd name="T14" fmla="*/ 12 w 16"/>
                  <a:gd name="T15" fmla="*/ 3 h 19"/>
                  <a:gd name="T16" fmla="*/ 14 w 16"/>
                  <a:gd name="T17" fmla="*/ 3 h 19"/>
                  <a:gd name="T18" fmla="*/ 16 w 16"/>
                  <a:gd name="T19" fmla="*/ 5 h 19"/>
                  <a:gd name="T20" fmla="*/ 16 w 16"/>
                  <a:gd name="T21" fmla="*/ 7 h 19"/>
                  <a:gd name="T22" fmla="*/ 16 w 16"/>
                  <a:gd name="T23" fmla="*/ 14 h 19"/>
                  <a:gd name="T24" fmla="*/ 16 w 16"/>
                  <a:gd name="T25" fmla="*/ 14 h 19"/>
                  <a:gd name="T26" fmla="*/ 10 w 16"/>
                  <a:gd name="T27" fmla="*/ 8 h 19"/>
                  <a:gd name="T28" fmla="*/ 10 w 16"/>
                  <a:gd name="T29" fmla="*/ 8 h 19"/>
                  <a:gd name="T30" fmla="*/ 10 w 16"/>
                  <a:gd name="T31" fmla="*/ 10 h 19"/>
                  <a:gd name="T32" fmla="*/ 14 w 16"/>
                  <a:gd name="T33" fmla="*/ 14 h 19"/>
                  <a:gd name="T34" fmla="*/ 14 w 16"/>
                  <a:gd name="T35" fmla="*/ 17 h 19"/>
                  <a:gd name="T36" fmla="*/ 12 w 16"/>
                  <a:gd name="T37" fmla="*/ 19 h 19"/>
                  <a:gd name="T38" fmla="*/ 10 w 16"/>
                  <a:gd name="T39" fmla="*/ 17 h 19"/>
                  <a:gd name="T40" fmla="*/ 9 w 16"/>
                  <a:gd name="T41" fmla="*/ 19 h 19"/>
                  <a:gd name="T42" fmla="*/ 7 w 16"/>
                  <a:gd name="T43" fmla="*/ 19 h 19"/>
                  <a:gd name="T44" fmla="*/ 5 w 16"/>
                  <a:gd name="T45" fmla="*/ 7 h 19"/>
                  <a:gd name="T46" fmla="*/ 5 w 16"/>
                  <a:gd name="T47" fmla="*/ 7 h 19"/>
                  <a:gd name="T48" fmla="*/ 5 w 16"/>
                  <a:gd name="T49" fmla="*/ 7 h 19"/>
                  <a:gd name="T50" fmla="*/ 3 w 16"/>
                  <a:gd name="T51" fmla="*/ 7 h 19"/>
                  <a:gd name="T52" fmla="*/ 3 w 16"/>
                  <a:gd name="T53" fmla="*/ 7 h 19"/>
                  <a:gd name="T54" fmla="*/ 3 w 16"/>
                  <a:gd name="T55" fmla="*/ 5 h 19"/>
                  <a:gd name="T56" fmla="*/ 3 w 16"/>
                  <a:gd name="T57"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 h="19">
                    <a:moveTo>
                      <a:pt x="3" y="5"/>
                    </a:moveTo>
                    <a:lnTo>
                      <a:pt x="3" y="5"/>
                    </a:lnTo>
                    <a:lnTo>
                      <a:pt x="2" y="3"/>
                    </a:lnTo>
                    <a:lnTo>
                      <a:pt x="0" y="1"/>
                    </a:lnTo>
                    <a:lnTo>
                      <a:pt x="0" y="1"/>
                    </a:lnTo>
                    <a:lnTo>
                      <a:pt x="2" y="0"/>
                    </a:lnTo>
                    <a:lnTo>
                      <a:pt x="9" y="3"/>
                    </a:lnTo>
                    <a:lnTo>
                      <a:pt x="12" y="3"/>
                    </a:lnTo>
                    <a:lnTo>
                      <a:pt x="14" y="3"/>
                    </a:lnTo>
                    <a:lnTo>
                      <a:pt x="16" y="5"/>
                    </a:lnTo>
                    <a:lnTo>
                      <a:pt x="16" y="7"/>
                    </a:lnTo>
                    <a:lnTo>
                      <a:pt x="16" y="14"/>
                    </a:lnTo>
                    <a:lnTo>
                      <a:pt x="16" y="14"/>
                    </a:lnTo>
                    <a:lnTo>
                      <a:pt x="10" y="8"/>
                    </a:lnTo>
                    <a:lnTo>
                      <a:pt x="10" y="8"/>
                    </a:lnTo>
                    <a:lnTo>
                      <a:pt x="10" y="10"/>
                    </a:lnTo>
                    <a:lnTo>
                      <a:pt x="14" y="14"/>
                    </a:lnTo>
                    <a:lnTo>
                      <a:pt x="14" y="17"/>
                    </a:lnTo>
                    <a:lnTo>
                      <a:pt x="12" y="19"/>
                    </a:lnTo>
                    <a:lnTo>
                      <a:pt x="10" y="17"/>
                    </a:lnTo>
                    <a:lnTo>
                      <a:pt x="9" y="19"/>
                    </a:lnTo>
                    <a:lnTo>
                      <a:pt x="7" y="19"/>
                    </a:lnTo>
                    <a:lnTo>
                      <a:pt x="5" y="7"/>
                    </a:lnTo>
                    <a:lnTo>
                      <a:pt x="5" y="7"/>
                    </a:lnTo>
                    <a:lnTo>
                      <a:pt x="5" y="7"/>
                    </a:lnTo>
                    <a:lnTo>
                      <a:pt x="3" y="7"/>
                    </a:lnTo>
                    <a:lnTo>
                      <a:pt x="3" y="7"/>
                    </a:lnTo>
                    <a:lnTo>
                      <a:pt x="3" y="5"/>
                    </a:lnTo>
                    <a:lnTo>
                      <a:pt x="3"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03" name="Freeform 2253"/>
              <p:cNvSpPr>
                <a:spLocks/>
              </p:cNvSpPr>
              <p:nvPr/>
            </p:nvSpPr>
            <p:spPr bwMode="auto">
              <a:xfrm>
                <a:off x="570" y="1607"/>
                <a:ext cx="5" cy="9"/>
              </a:xfrm>
              <a:custGeom>
                <a:avLst/>
                <a:gdLst>
                  <a:gd name="T0" fmla="*/ 1 w 5"/>
                  <a:gd name="T1" fmla="*/ 0 h 9"/>
                  <a:gd name="T2" fmla="*/ 1 w 5"/>
                  <a:gd name="T3" fmla="*/ 0 h 9"/>
                  <a:gd name="T4" fmla="*/ 5 w 5"/>
                  <a:gd name="T5" fmla="*/ 8 h 9"/>
                  <a:gd name="T6" fmla="*/ 5 w 5"/>
                  <a:gd name="T7" fmla="*/ 8 h 9"/>
                  <a:gd name="T8" fmla="*/ 3 w 5"/>
                  <a:gd name="T9" fmla="*/ 8 h 9"/>
                  <a:gd name="T10" fmla="*/ 3 w 5"/>
                  <a:gd name="T11" fmla="*/ 8 h 9"/>
                  <a:gd name="T12" fmla="*/ 3 w 5"/>
                  <a:gd name="T13" fmla="*/ 9 h 9"/>
                  <a:gd name="T14" fmla="*/ 1 w 5"/>
                  <a:gd name="T15" fmla="*/ 9 h 9"/>
                  <a:gd name="T16" fmla="*/ 0 w 5"/>
                  <a:gd name="T17" fmla="*/ 8 h 9"/>
                  <a:gd name="T18" fmla="*/ 0 w 5"/>
                  <a:gd name="T19" fmla="*/ 0 h 9"/>
                  <a:gd name="T20" fmla="*/ 1 w 5"/>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9">
                    <a:moveTo>
                      <a:pt x="1" y="0"/>
                    </a:moveTo>
                    <a:lnTo>
                      <a:pt x="1" y="0"/>
                    </a:lnTo>
                    <a:lnTo>
                      <a:pt x="5" y="8"/>
                    </a:lnTo>
                    <a:lnTo>
                      <a:pt x="5" y="8"/>
                    </a:lnTo>
                    <a:lnTo>
                      <a:pt x="3" y="8"/>
                    </a:lnTo>
                    <a:lnTo>
                      <a:pt x="3" y="8"/>
                    </a:lnTo>
                    <a:lnTo>
                      <a:pt x="3" y="9"/>
                    </a:lnTo>
                    <a:lnTo>
                      <a:pt x="1" y="9"/>
                    </a:lnTo>
                    <a:lnTo>
                      <a:pt x="0" y="8"/>
                    </a:lnTo>
                    <a:lnTo>
                      <a:pt x="0" y="0"/>
                    </a:lnTo>
                    <a:lnTo>
                      <a:pt x="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04" name="Freeform 2254"/>
              <p:cNvSpPr>
                <a:spLocks/>
              </p:cNvSpPr>
              <p:nvPr/>
            </p:nvSpPr>
            <p:spPr bwMode="auto">
              <a:xfrm>
                <a:off x="570" y="1607"/>
                <a:ext cx="5" cy="9"/>
              </a:xfrm>
              <a:custGeom>
                <a:avLst/>
                <a:gdLst>
                  <a:gd name="T0" fmla="*/ 1 w 5"/>
                  <a:gd name="T1" fmla="*/ 0 h 9"/>
                  <a:gd name="T2" fmla="*/ 1 w 5"/>
                  <a:gd name="T3" fmla="*/ 0 h 9"/>
                  <a:gd name="T4" fmla="*/ 5 w 5"/>
                  <a:gd name="T5" fmla="*/ 8 h 9"/>
                  <a:gd name="T6" fmla="*/ 5 w 5"/>
                  <a:gd name="T7" fmla="*/ 8 h 9"/>
                  <a:gd name="T8" fmla="*/ 3 w 5"/>
                  <a:gd name="T9" fmla="*/ 8 h 9"/>
                  <a:gd name="T10" fmla="*/ 3 w 5"/>
                  <a:gd name="T11" fmla="*/ 8 h 9"/>
                  <a:gd name="T12" fmla="*/ 3 w 5"/>
                  <a:gd name="T13" fmla="*/ 9 h 9"/>
                  <a:gd name="T14" fmla="*/ 1 w 5"/>
                  <a:gd name="T15" fmla="*/ 9 h 9"/>
                  <a:gd name="T16" fmla="*/ 0 w 5"/>
                  <a:gd name="T17" fmla="*/ 8 h 9"/>
                  <a:gd name="T18" fmla="*/ 0 w 5"/>
                  <a:gd name="T19" fmla="*/ 0 h 9"/>
                  <a:gd name="T20" fmla="*/ 1 w 5"/>
                  <a:gd name="T2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9">
                    <a:moveTo>
                      <a:pt x="1" y="0"/>
                    </a:moveTo>
                    <a:lnTo>
                      <a:pt x="1" y="0"/>
                    </a:lnTo>
                    <a:lnTo>
                      <a:pt x="5" y="8"/>
                    </a:lnTo>
                    <a:lnTo>
                      <a:pt x="5" y="8"/>
                    </a:lnTo>
                    <a:lnTo>
                      <a:pt x="3" y="8"/>
                    </a:lnTo>
                    <a:lnTo>
                      <a:pt x="3" y="8"/>
                    </a:lnTo>
                    <a:lnTo>
                      <a:pt x="3" y="9"/>
                    </a:lnTo>
                    <a:lnTo>
                      <a:pt x="1" y="9"/>
                    </a:lnTo>
                    <a:lnTo>
                      <a:pt x="0" y="8"/>
                    </a:lnTo>
                    <a:lnTo>
                      <a:pt x="0" y="0"/>
                    </a:lnTo>
                    <a:lnTo>
                      <a:pt x="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05" name="Freeform 2255"/>
              <p:cNvSpPr>
                <a:spLocks/>
              </p:cNvSpPr>
              <p:nvPr/>
            </p:nvSpPr>
            <p:spPr bwMode="auto">
              <a:xfrm>
                <a:off x="568" y="1618"/>
                <a:ext cx="5" cy="6"/>
              </a:xfrm>
              <a:custGeom>
                <a:avLst/>
                <a:gdLst>
                  <a:gd name="T0" fmla="*/ 5 w 5"/>
                  <a:gd name="T1" fmla="*/ 0 h 6"/>
                  <a:gd name="T2" fmla="*/ 5 w 5"/>
                  <a:gd name="T3" fmla="*/ 2 h 6"/>
                  <a:gd name="T4" fmla="*/ 5 w 5"/>
                  <a:gd name="T5" fmla="*/ 4 h 6"/>
                  <a:gd name="T6" fmla="*/ 3 w 5"/>
                  <a:gd name="T7" fmla="*/ 6 h 6"/>
                  <a:gd name="T8" fmla="*/ 3 w 5"/>
                  <a:gd name="T9" fmla="*/ 4 h 6"/>
                  <a:gd name="T10" fmla="*/ 0 w 5"/>
                  <a:gd name="T11" fmla="*/ 4 h 6"/>
                  <a:gd name="T12" fmla="*/ 0 w 5"/>
                  <a:gd name="T13" fmla="*/ 2 h 6"/>
                  <a:gd name="T14" fmla="*/ 0 w 5"/>
                  <a:gd name="T15" fmla="*/ 0 h 6"/>
                  <a:gd name="T16" fmla="*/ 3 w 5"/>
                  <a:gd name="T17" fmla="*/ 0 h 6"/>
                  <a:gd name="T18" fmla="*/ 3 w 5"/>
                  <a:gd name="T19" fmla="*/ 0 h 6"/>
                  <a:gd name="T20" fmla="*/ 5 w 5"/>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6">
                    <a:moveTo>
                      <a:pt x="5" y="0"/>
                    </a:moveTo>
                    <a:lnTo>
                      <a:pt x="5" y="2"/>
                    </a:lnTo>
                    <a:lnTo>
                      <a:pt x="5" y="4"/>
                    </a:lnTo>
                    <a:lnTo>
                      <a:pt x="3" y="6"/>
                    </a:lnTo>
                    <a:lnTo>
                      <a:pt x="3" y="4"/>
                    </a:lnTo>
                    <a:lnTo>
                      <a:pt x="0" y="4"/>
                    </a:lnTo>
                    <a:lnTo>
                      <a:pt x="0" y="2"/>
                    </a:lnTo>
                    <a:lnTo>
                      <a:pt x="0" y="0"/>
                    </a:lnTo>
                    <a:lnTo>
                      <a:pt x="3" y="0"/>
                    </a:lnTo>
                    <a:lnTo>
                      <a:pt x="3" y="0"/>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06" name="Freeform 2256"/>
              <p:cNvSpPr>
                <a:spLocks/>
              </p:cNvSpPr>
              <p:nvPr/>
            </p:nvSpPr>
            <p:spPr bwMode="auto">
              <a:xfrm>
                <a:off x="568" y="1618"/>
                <a:ext cx="5" cy="6"/>
              </a:xfrm>
              <a:custGeom>
                <a:avLst/>
                <a:gdLst>
                  <a:gd name="T0" fmla="*/ 5 w 5"/>
                  <a:gd name="T1" fmla="*/ 0 h 6"/>
                  <a:gd name="T2" fmla="*/ 5 w 5"/>
                  <a:gd name="T3" fmla="*/ 2 h 6"/>
                  <a:gd name="T4" fmla="*/ 5 w 5"/>
                  <a:gd name="T5" fmla="*/ 4 h 6"/>
                  <a:gd name="T6" fmla="*/ 3 w 5"/>
                  <a:gd name="T7" fmla="*/ 6 h 6"/>
                  <a:gd name="T8" fmla="*/ 3 w 5"/>
                  <a:gd name="T9" fmla="*/ 4 h 6"/>
                  <a:gd name="T10" fmla="*/ 0 w 5"/>
                  <a:gd name="T11" fmla="*/ 4 h 6"/>
                  <a:gd name="T12" fmla="*/ 0 w 5"/>
                  <a:gd name="T13" fmla="*/ 2 h 6"/>
                  <a:gd name="T14" fmla="*/ 0 w 5"/>
                  <a:gd name="T15" fmla="*/ 0 h 6"/>
                  <a:gd name="T16" fmla="*/ 3 w 5"/>
                  <a:gd name="T17" fmla="*/ 0 h 6"/>
                  <a:gd name="T18" fmla="*/ 3 w 5"/>
                  <a:gd name="T19" fmla="*/ 0 h 6"/>
                  <a:gd name="T20" fmla="*/ 5 w 5"/>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6">
                    <a:moveTo>
                      <a:pt x="5" y="0"/>
                    </a:moveTo>
                    <a:lnTo>
                      <a:pt x="5" y="2"/>
                    </a:lnTo>
                    <a:lnTo>
                      <a:pt x="5" y="4"/>
                    </a:lnTo>
                    <a:lnTo>
                      <a:pt x="3" y="6"/>
                    </a:lnTo>
                    <a:lnTo>
                      <a:pt x="3" y="4"/>
                    </a:lnTo>
                    <a:lnTo>
                      <a:pt x="0" y="4"/>
                    </a:lnTo>
                    <a:lnTo>
                      <a:pt x="0" y="2"/>
                    </a:lnTo>
                    <a:lnTo>
                      <a:pt x="0" y="0"/>
                    </a:lnTo>
                    <a:lnTo>
                      <a:pt x="3" y="0"/>
                    </a:lnTo>
                    <a:lnTo>
                      <a:pt x="3" y="0"/>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07" name="Freeform 2257"/>
              <p:cNvSpPr>
                <a:spLocks/>
              </p:cNvSpPr>
              <p:nvPr/>
            </p:nvSpPr>
            <p:spPr bwMode="auto">
              <a:xfrm>
                <a:off x="578" y="1618"/>
                <a:ext cx="8" cy="7"/>
              </a:xfrm>
              <a:custGeom>
                <a:avLst/>
                <a:gdLst>
                  <a:gd name="T0" fmla="*/ 6 w 8"/>
                  <a:gd name="T1" fmla="*/ 4 h 7"/>
                  <a:gd name="T2" fmla="*/ 8 w 8"/>
                  <a:gd name="T3" fmla="*/ 6 h 7"/>
                  <a:gd name="T4" fmla="*/ 6 w 8"/>
                  <a:gd name="T5" fmla="*/ 7 h 7"/>
                  <a:gd name="T6" fmla="*/ 6 w 8"/>
                  <a:gd name="T7" fmla="*/ 7 h 7"/>
                  <a:gd name="T8" fmla="*/ 6 w 8"/>
                  <a:gd name="T9" fmla="*/ 7 h 7"/>
                  <a:gd name="T10" fmla="*/ 2 w 8"/>
                  <a:gd name="T11" fmla="*/ 6 h 7"/>
                  <a:gd name="T12" fmla="*/ 2 w 8"/>
                  <a:gd name="T13" fmla="*/ 4 h 7"/>
                  <a:gd name="T14" fmla="*/ 0 w 8"/>
                  <a:gd name="T15" fmla="*/ 0 h 7"/>
                  <a:gd name="T16" fmla="*/ 2 w 8"/>
                  <a:gd name="T17" fmla="*/ 2 h 7"/>
                  <a:gd name="T18" fmla="*/ 4 w 8"/>
                  <a:gd name="T19" fmla="*/ 4 h 7"/>
                  <a:gd name="T20" fmla="*/ 6 w 8"/>
                  <a:gd name="T2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4"/>
                    </a:moveTo>
                    <a:lnTo>
                      <a:pt x="8" y="6"/>
                    </a:lnTo>
                    <a:lnTo>
                      <a:pt x="6" y="7"/>
                    </a:lnTo>
                    <a:lnTo>
                      <a:pt x="6" y="7"/>
                    </a:lnTo>
                    <a:lnTo>
                      <a:pt x="6" y="7"/>
                    </a:lnTo>
                    <a:lnTo>
                      <a:pt x="2" y="6"/>
                    </a:lnTo>
                    <a:lnTo>
                      <a:pt x="2" y="4"/>
                    </a:lnTo>
                    <a:lnTo>
                      <a:pt x="0" y="0"/>
                    </a:lnTo>
                    <a:lnTo>
                      <a:pt x="2" y="2"/>
                    </a:lnTo>
                    <a:lnTo>
                      <a:pt x="4" y="4"/>
                    </a:lnTo>
                    <a:lnTo>
                      <a:pt x="6"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08" name="Freeform 2258"/>
              <p:cNvSpPr>
                <a:spLocks/>
              </p:cNvSpPr>
              <p:nvPr/>
            </p:nvSpPr>
            <p:spPr bwMode="auto">
              <a:xfrm>
                <a:off x="578" y="1618"/>
                <a:ext cx="8" cy="7"/>
              </a:xfrm>
              <a:custGeom>
                <a:avLst/>
                <a:gdLst>
                  <a:gd name="T0" fmla="*/ 6 w 8"/>
                  <a:gd name="T1" fmla="*/ 4 h 7"/>
                  <a:gd name="T2" fmla="*/ 8 w 8"/>
                  <a:gd name="T3" fmla="*/ 6 h 7"/>
                  <a:gd name="T4" fmla="*/ 6 w 8"/>
                  <a:gd name="T5" fmla="*/ 7 h 7"/>
                  <a:gd name="T6" fmla="*/ 6 w 8"/>
                  <a:gd name="T7" fmla="*/ 7 h 7"/>
                  <a:gd name="T8" fmla="*/ 6 w 8"/>
                  <a:gd name="T9" fmla="*/ 7 h 7"/>
                  <a:gd name="T10" fmla="*/ 2 w 8"/>
                  <a:gd name="T11" fmla="*/ 6 h 7"/>
                  <a:gd name="T12" fmla="*/ 2 w 8"/>
                  <a:gd name="T13" fmla="*/ 4 h 7"/>
                  <a:gd name="T14" fmla="*/ 0 w 8"/>
                  <a:gd name="T15" fmla="*/ 0 h 7"/>
                  <a:gd name="T16" fmla="*/ 2 w 8"/>
                  <a:gd name="T17" fmla="*/ 2 h 7"/>
                  <a:gd name="T18" fmla="*/ 4 w 8"/>
                  <a:gd name="T19" fmla="*/ 4 h 7"/>
                  <a:gd name="T20" fmla="*/ 6 w 8"/>
                  <a:gd name="T2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7">
                    <a:moveTo>
                      <a:pt x="6" y="4"/>
                    </a:moveTo>
                    <a:lnTo>
                      <a:pt x="8" y="6"/>
                    </a:lnTo>
                    <a:lnTo>
                      <a:pt x="6" y="7"/>
                    </a:lnTo>
                    <a:lnTo>
                      <a:pt x="6" y="7"/>
                    </a:lnTo>
                    <a:lnTo>
                      <a:pt x="6" y="7"/>
                    </a:lnTo>
                    <a:lnTo>
                      <a:pt x="2" y="6"/>
                    </a:lnTo>
                    <a:lnTo>
                      <a:pt x="2" y="4"/>
                    </a:lnTo>
                    <a:lnTo>
                      <a:pt x="0" y="0"/>
                    </a:lnTo>
                    <a:lnTo>
                      <a:pt x="2" y="2"/>
                    </a:lnTo>
                    <a:lnTo>
                      <a:pt x="4" y="4"/>
                    </a:lnTo>
                    <a:lnTo>
                      <a:pt x="6"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09" name="Freeform 2259"/>
              <p:cNvSpPr>
                <a:spLocks/>
              </p:cNvSpPr>
              <p:nvPr/>
            </p:nvSpPr>
            <p:spPr bwMode="auto">
              <a:xfrm>
                <a:off x="514" y="1563"/>
                <a:ext cx="23" cy="27"/>
              </a:xfrm>
              <a:custGeom>
                <a:avLst/>
                <a:gdLst>
                  <a:gd name="T0" fmla="*/ 20 w 23"/>
                  <a:gd name="T1" fmla="*/ 7 h 27"/>
                  <a:gd name="T2" fmla="*/ 22 w 23"/>
                  <a:gd name="T3" fmla="*/ 7 h 27"/>
                  <a:gd name="T4" fmla="*/ 22 w 23"/>
                  <a:gd name="T5" fmla="*/ 9 h 27"/>
                  <a:gd name="T6" fmla="*/ 22 w 23"/>
                  <a:gd name="T7" fmla="*/ 12 h 27"/>
                  <a:gd name="T8" fmla="*/ 18 w 23"/>
                  <a:gd name="T9" fmla="*/ 11 h 27"/>
                  <a:gd name="T10" fmla="*/ 22 w 23"/>
                  <a:gd name="T11" fmla="*/ 12 h 27"/>
                  <a:gd name="T12" fmla="*/ 22 w 23"/>
                  <a:gd name="T13" fmla="*/ 16 h 27"/>
                  <a:gd name="T14" fmla="*/ 20 w 23"/>
                  <a:gd name="T15" fmla="*/ 16 h 27"/>
                  <a:gd name="T16" fmla="*/ 13 w 23"/>
                  <a:gd name="T17" fmla="*/ 12 h 27"/>
                  <a:gd name="T18" fmla="*/ 11 w 23"/>
                  <a:gd name="T19" fmla="*/ 14 h 27"/>
                  <a:gd name="T20" fmla="*/ 15 w 23"/>
                  <a:gd name="T21" fmla="*/ 16 h 27"/>
                  <a:gd name="T22" fmla="*/ 18 w 23"/>
                  <a:gd name="T23" fmla="*/ 16 h 27"/>
                  <a:gd name="T24" fmla="*/ 20 w 23"/>
                  <a:gd name="T25" fmla="*/ 16 h 27"/>
                  <a:gd name="T26" fmla="*/ 22 w 23"/>
                  <a:gd name="T27" fmla="*/ 18 h 27"/>
                  <a:gd name="T28" fmla="*/ 23 w 23"/>
                  <a:gd name="T29" fmla="*/ 23 h 27"/>
                  <a:gd name="T30" fmla="*/ 22 w 23"/>
                  <a:gd name="T31" fmla="*/ 23 h 27"/>
                  <a:gd name="T32" fmla="*/ 22 w 23"/>
                  <a:gd name="T33" fmla="*/ 25 h 27"/>
                  <a:gd name="T34" fmla="*/ 13 w 23"/>
                  <a:gd name="T35" fmla="*/ 19 h 27"/>
                  <a:gd name="T36" fmla="*/ 11 w 23"/>
                  <a:gd name="T37" fmla="*/ 16 h 27"/>
                  <a:gd name="T38" fmla="*/ 9 w 23"/>
                  <a:gd name="T39" fmla="*/ 16 h 27"/>
                  <a:gd name="T40" fmla="*/ 9 w 23"/>
                  <a:gd name="T41" fmla="*/ 19 h 27"/>
                  <a:gd name="T42" fmla="*/ 11 w 23"/>
                  <a:gd name="T43" fmla="*/ 21 h 27"/>
                  <a:gd name="T44" fmla="*/ 11 w 23"/>
                  <a:gd name="T45" fmla="*/ 27 h 27"/>
                  <a:gd name="T46" fmla="*/ 9 w 23"/>
                  <a:gd name="T47" fmla="*/ 27 h 27"/>
                  <a:gd name="T48" fmla="*/ 7 w 23"/>
                  <a:gd name="T49" fmla="*/ 27 h 27"/>
                  <a:gd name="T50" fmla="*/ 6 w 23"/>
                  <a:gd name="T51" fmla="*/ 25 h 27"/>
                  <a:gd name="T52" fmla="*/ 6 w 23"/>
                  <a:gd name="T53" fmla="*/ 25 h 27"/>
                  <a:gd name="T54" fmla="*/ 7 w 23"/>
                  <a:gd name="T55" fmla="*/ 23 h 27"/>
                  <a:gd name="T56" fmla="*/ 6 w 23"/>
                  <a:gd name="T57" fmla="*/ 21 h 27"/>
                  <a:gd name="T58" fmla="*/ 6 w 23"/>
                  <a:gd name="T59" fmla="*/ 21 h 27"/>
                  <a:gd name="T60" fmla="*/ 4 w 23"/>
                  <a:gd name="T61" fmla="*/ 19 h 27"/>
                  <a:gd name="T62" fmla="*/ 4 w 23"/>
                  <a:gd name="T63" fmla="*/ 18 h 27"/>
                  <a:gd name="T64" fmla="*/ 2 w 23"/>
                  <a:gd name="T65" fmla="*/ 16 h 27"/>
                  <a:gd name="T66" fmla="*/ 0 w 23"/>
                  <a:gd name="T67" fmla="*/ 14 h 27"/>
                  <a:gd name="T68" fmla="*/ 0 w 23"/>
                  <a:gd name="T69" fmla="*/ 12 h 27"/>
                  <a:gd name="T70" fmla="*/ 0 w 23"/>
                  <a:gd name="T71" fmla="*/ 11 h 27"/>
                  <a:gd name="T72" fmla="*/ 2 w 23"/>
                  <a:gd name="T73" fmla="*/ 12 h 27"/>
                  <a:gd name="T74" fmla="*/ 2 w 23"/>
                  <a:gd name="T75" fmla="*/ 11 h 27"/>
                  <a:gd name="T76" fmla="*/ 0 w 23"/>
                  <a:gd name="T77" fmla="*/ 7 h 27"/>
                  <a:gd name="T78" fmla="*/ 0 w 23"/>
                  <a:gd name="T79" fmla="*/ 5 h 27"/>
                  <a:gd name="T80" fmla="*/ 0 w 23"/>
                  <a:gd name="T81" fmla="*/ 3 h 27"/>
                  <a:gd name="T82" fmla="*/ 2 w 23"/>
                  <a:gd name="T83" fmla="*/ 5 h 27"/>
                  <a:gd name="T84" fmla="*/ 4 w 23"/>
                  <a:gd name="T85" fmla="*/ 5 h 27"/>
                  <a:gd name="T86" fmla="*/ 4 w 23"/>
                  <a:gd name="T87" fmla="*/ 3 h 27"/>
                  <a:gd name="T88" fmla="*/ 6 w 23"/>
                  <a:gd name="T89" fmla="*/ 2 h 27"/>
                  <a:gd name="T90" fmla="*/ 7 w 23"/>
                  <a:gd name="T91" fmla="*/ 0 h 27"/>
                  <a:gd name="T92" fmla="*/ 13 w 23"/>
                  <a:gd name="T93" fmla="*/ 3 h 27"/>
                  <a:gd name="T94" fmla="*/ 13 w 23"/>
                  <a:gd name="T95" fmla="*/ 5 h 27"/>
                  <a:gd name="T96" fmla="*/ 15 w 23"/>
                  <a:gd name="T97" fmla="*/ 5 h 27"/>
                  <a:gd name="T98" fmla="*/ 15 w 23"/>
                  <a:gd name="T99" fmla="*/ 5 h 27"/>
                  <a:gd name="T100" fmla="*/ 18 w 23"/>
                  <a:gd name="T101" fmla="*/ 5 h 27"/>
                  <a:gd name="T102" fmla="*/ 20 w 23"/>
                  <a:gd name="T10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 h="27">
                    <a:moveTo>
                      <a:pt x="20" y="7"/>
                    </a:moveTo>
                    <a:lnTo>
                      <a:pt x="22" y="7"/>
                    </a:lnTo>
                    <a:lnTo>
                      <a:pt x="22" y="9"/>
                    </a:lnTo>
                    <a:lnTo>
                      <a:pt x="22" y="12"/>
                    </a:lnTo>
                    <a:lnTo>
                      <a:pt x="18" y="11"/>
                    </a:lnTo>
                    <a:lnTo>
                      <a:pt x="22" y="12"/>
                    </a:lnTo>
                    <a:lnTo>
                      <a:pt x="22" y="16"/>
                    </a:lnTo>
                    <a:lnTo>
                      <a:pt x="20" y="16"/>
                    </a:lnTo>
                    <a:lnTo>
                      <a:pt x="13" y="12"/>
                    </a:lnTo>
                    <a:lnTo>
                      <a:pt x="11" y="14"/>
                    </a:lnTo>
                    <a:lnTo>
                      <a:pt x="15" y="16"/>
                    </a:lnTo>
                    <a:lnTo>
                      <a:pt x="18" y="16"/>
                    </a:lnTo>
                    <a:lnTo>
                      <a:pt x="20" y="16"/>
                    </a:lnTo>
                    <a:lnTo>
                      <a:pt x="22" y="18"/>
                    </a:lnTo>
                    <a:lnTo>
                      <a:pt x="23" y="23"/>
                    </a:lnTo>
                    <a:lnTo>
                      <a:pt x="22" y="23"/>
                    </a:lnTo>
                    <a:lnTo>
                      <a:pt x="22" y="25"/>
                    </a:lnTo>
                    <a:lnTo>
                      <a:pt x="13" y="19"/>
                    </a:lnTo>
                    <a:lnTo>
                      <a:pt x="11" y="16"/>
                    </a:lnTo>
                    <a:lnTo>
                      <a:pt x="9" y="16"/>
                    </a:lnTo>
                    <a:lnTo>
                      <a:pt x="9" y="19"/>
                    </a:lnTo>
                    <a:lnTo>
                      <a:pt x="11" y="21"/>
                    </a:lnTo>
                    <a:lnTo>
                      <a:pt x="11" y="27"/>
                    </a:lnTo>
                    <a:lnTo>
                      <a:pt x="9" y="27"/>
                    </a:lnTo>
                    <a:lnTo>
                      <a:pt x="7" y="27"/>
                    </a:lnTo>
                    <a:lnTo>
                      <a:pt x="6" y="25"/>
                    </a:lnTo>
                    <a:lnTo>
                      <a:pt x="6" y="25"/>
                    </a:lnTo>
                    <a:lnTo>
                      <a:pt x="7" y="23"/>
                    </a:lnTo>
                    <a:lnTo>
                      <a:pt x="6" y="21"/>
                    </a:lnTo>
                    <a:lnTo>
                      <a:pt x="6" y="21"/>
                    </a:lnTo>
                    <a:lnTo>
                      <a:pt x="4" y="19"/>
                    </a:lnTo>
                    <a:lnTo>
                      <a:pt x="4" y="18"/>
                    </a:lnTo>
                    <a:lnTo>
                      <a:pt x="2" y="16"/>
                    </a:lnTo>
                    <a:lnTo>
                      <a:pt x="0" y="14"/>
                    </a:lnTo>
                    <a:lnTo>
                      <a:pt x="0" y="12"/>
                    </a:lnTo>
                    <a:lnTo>
                      <a:pt x="0" y="11"/>
                    </a:lnTo>
                    <a:lnTo>
                      <a:pt x="2" y="12"/>
                    </a:lnTo>
                    <a:lnTo>
                      <a:pt x="2" y="11"/>
                    </a:lnTo>
                    <a:lnTo>
                      <a:pt x="0" y="7"/>
                    </a:lnTo>
                    <a:lnTo>
                      <a:pt x="0" y="5"/>
                    </a:lnTo>
                    <a:lnTo>
                      <a:pt x="0" y="3"/>
                    </a:lnTo>
                    <a:lnTo>
                      <a:pt x="2" y="5"/>
                    </a:lnTo>
                    <a:lnTo>
                      <a:pt x="4" y="5"/>
                    </a:lnTo>
                    <a:lnTo>
                      <a:pt x="4" y="3"/>
                    </a:lnTo>
                    <a:lnTo>
                      <a:pt x="6" y="2"/>
                    </a:lnTo>
                    <a:lnTo>
                      <a:pt x="7" y="0"/>
                    </a:lnTo>
                    <a:lnTo>
                      <a:pt x="13" y="3"/>
                    </a:lnTo>
                    <a:lnTo>
                      <a:pt x="13" y="5"/>
                    </a:lnTo>
                    <a:lnTo>
                      <a:pt x="15" y="5"/>
                    </a:lnTo>
                    <a:lnTo>
                      <a:pt x="15" y="5"/>
                    </a:lnTo>
                    <a:lnTo>
                      <a:pt x="18" y="5"/>
                    </a:lnTo>
                    <a:lnTo>
                      <a:pt x="20"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10" name="Freeform 2260"/>
              <p:cNvSpPr>
                <a:spLocks/>
              </p:cNvSpPr>
              <p:nvPr/>
            </p:nvSpPr>
            <p:spPr bwMode="auto">
              <a:xfrm>
                <a:off x="514" y="1563"/>
                <a:ext cx="23" cy="27"/>
              </a:xfrm>
              <a:custGeom>
                <a:avLst/>
                <a:gdLst>
                  <a:gd name="T0" fmla="*/ 20 w 23"/>
                  <a:gd name="T1" fmla="*/ 7 h 27"/>
                  <a:gd name="T2" fmla="*/ 22 w 23"/>
                  <a:gd name="T3" fmla="*/ 7 h 27"/>
                  <a:gd name="T4" fmla="*/ 22 w 23"/>
                  <a:gd name="T5" fmla="*/ 9 h 27"/>
                  <a:gd name="T6" fmla="*/ 22 w 23"/>
                  <a:gd name="T7" fmla="*/ 12 h 27"/>
                  <a:gd name="T8" fmla="*/ 18 w 23"/>
                  <a:gd name="T9" fmla="*/ 11 h 27"/>
                  <a:gd name="T10" fmla="*/ 22 w 23"/>
                  <a:gd name="T11" fmla="*/ 12 h 27"/>
                  <a:gd name="T12" fmla="*/ 22 w 23"/>
                  <a:gd name="T13" fmla="*/ 16 h 27"/>
                  <a:gd name="T14" fmla="*/ 20 w 23"/>
                  <a:gd name="T15" fmla="*/ 16 h 27"/>
                  <a:gd name="T16" fmla="*/ 13 w 23"/>
                  <a:gd name="T17" fmla="*/ 12 h 27"/>
                  <a:gd name="T18" fmla="*/ 11 w 23"/>
                  <a:gd name="T19" fmla="*/ 14 h 27"/>
                  <a:gd name="T20" fmla="*/ 15 w 23"/>
                  <a:gd name="T21" fmla="*/ 16 h 27"/>
                  <a:gd name="T22" fmla="*/ 18 w 23"/>
                  <a:gd name="T23" fmla="*/ 16 h 27"/>
                  <a:gd name="T24" fmla="*/ 20 w 23"/>
                  <a:gd name="T25" fmla="*/ 16 h 27"/>
                  <a:gd name="T26" fmla="*/ 22 w 23"/>
                  <a:gd name="T27" fmla="*/ 18 h 27"/>
                  <a:gd name="T28" fmla="*/ 23 w 23"/>
                  <a:gd name="T29" fmla="*/ 23 h 27"/>
                  <a:gd name="T30" fmla="*/ 22 w 23"/>
                  <a:gd name="T31" fmla="*/ 23 h 27"/>
                  <a:gd name="T32" fmla="*/ 22 w 23"/>
                  <a:gd name="T33" fmla="*/ 25 h 27"/>
                  <a:gd name="T34" fmla="*/ 13 w 23"/>
                  <a:gd name="T35" fmla="*/ 19 h 27"/>
                  <a:gd name="T36" fmla="*/ 11 w 23"/>
                  <a:gd name="T37" fmla="*/ 16 h 27"/>
                  <a:gd name="T38" fmla="*/ 9 w 23"/>
                  <a:gd name="T39" fmla="*/ 16 h 27"/>
                  <a:gd name="T40" fmla="*/ 9 w 23"/>
                  <a:gd name="T41" fmla="*/ 19 h 27"/>
                  <a:gd name="T42" fmla="*/ 11 w 23"/>
                  <a:gd name="T43" fmla="*/ 21 h 27"/>
                  <a:gd name="T44" fmla="*/ 11 w 23"/>
                  <a:gd name="T45" fmla="*/ 27 h 27"/>
                  <a:gd name="T46" fmla="*/ 9 w 23"/>
                  <a:gd name="T47" fmla="*/ 27 h 27"/>
                  <a:gd name="T48" fmla="*/ 7 w 23"/>
                  <a:gd name="T49" fmla="*/ 27 h 27"/>
                  <a:gd name="T50" fmla="*/ 6 w 23"/>
                  <a:gd name="T51" fmla="*/ 25 h 27"/>
                  <a:gd name="T52" fmla="*/ 6 w 23"/>
                  <a:gd name="T53" fmla="*/ 25 h 27"/>
                  <a:gd name="T54" fmla="*/ 7 w 23"/>
                  <a:gd name="T55" fmla="*/ 23 h 27"/>
                  <a:gd name="T56" fmla="*/ 6 w 23"/>
                  <a:gd name="T57" fmla="*/ 21 h 27"/>
                  <a:gd name="T58" fmla="*/ 6 w 23"/>
                  <a:gd name="T59" fmla="*/ 21 h 27"/>
                  <a:gd name="T60" fmla="*/ 4 w 23"/>
                  <a:gd name="T61" fmla="*/ 19 h 27"/>
                  <a:gd name="T62" fmla="*/ 4 w 23"/>
                  <a:gd name="T63" fmla="*/ 18 h 27"/>
                  <a:gd name="T64" fmla="*/ 2 w 23"/>
                  <a:gd name="T65" fmla="*/ 16 h 27"/>
                  <a:gd name="T66" fmla="*/ 0 w 23"/>
                  <a:gd name="T67" fmla="*/ 14 h 27"/>
                  <a:gd name="T68" fmla="*/ 0 w 23"/>
                  <a:gd name="T69" fmla="*/ 12 h 27"/>
                  <a:gd name="T70" fmla="*/ 0 w 23"/>
                  <a:gd name="T71" fmla="*/ 11 h 27"/>
                  <a:gd name="T72" fmla="*/ 2 w 23"/>
                  <a:gd name="T73" fmla="*/ 12 h 27"/>
                  <a:gd name="T74" fmla="*/ 2 w 23"/>
                  <a:gd name="T75" fmla="*/ 11 h 27"/>
                  <a:gd name="T76" fmla="*/ 0 w 23"/>
                  <a:gd name="T77" fmla="*/ 7 h 27"/>
                  <a:gd name="T78" fmla="*/ 0 w 23"/>
                  <a:gd name="T79" fmla="*/ 5 h 27"/>
                  <a:gd name="T80" fmla="*/ 0 w 23"/>
                  <a:gd name="T81" fmla="*/ 3 h 27"/>
                  <a:gd name="T82" fmla="*/ 2 w 23"/>
                  <a:gd name="T83" fmla="*/ 5 h 27"/>
                  <a:gd name="T84" fmla="*/ 4 w 23"/>
                  <a:gd name="T85" fmla="*/ 5 h 27"/>
                  <a:gd name="T86" fmla="*/ 4 w 23"/>
                  <a:gd name="T87" fmla="*/ 3 h 27"/>
                  <a:gd name="T88" fmla="*/ 6 w 23"/>
                  <a:gd name="T89" fmla="*/ 2 h 27"/>
                  <a:gd name="T90" fmla="*/ 7 w 23"/>
                  <a:gd name="T91" fmla="*/ 0 h 27"/>
                  <a:gd name="T92" fmla="*/ 13 w 23"/>
                  <a:gd name="T93" fmla="*/ 3 h 27"/>
                  <a:gd name="T94" fmla="*/ 13 w 23"/>
                  <a:gd name="T95" fmla="*/ 5 h 27"/>
                  <a:gd name="T96" fmla="*/ 15 w 23"/>
                  <a:gd name="T97" fmla="*/ 5 h 27"/>
                  <a:gd name="T98" fmla="*/ 15 w 23"/>
                  <a:gd name="T99" fmla="*/ 5 h 27"/>
                  <a:gd name="T100" fmla="*/ 18 w 23"/>
                  <a:gd name="T101" fmla="*/ 5 h 27"/>
                  <a:gd name="T102" fmla="*/ 20 w 23"/>
                  <a:gd name="T10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 h="27">
                    <a:moveTo>
                      <a:pt x="20" y="7"/>
                    </a:moveTo>
                    <a:lnTo>
                      <a:pt x="22" y="7"/>
                    </a:lnTo>
                    <a:lnTo>
                      <a:pt x="22" y="9"/>
                    </a:lnTo>
                    <a:lnTo>
                      <a:pt x="22" y="12"/>
                    </a:lnTo>
                    <a:lnTo>
                      <a:pt x="18" y="11"/>
                    </a:lnTo>
                    <a:lnTo>
                      <a:pt x="22" y="12"/>
                    </a:lnTo>
                    <a:lnTo>
                      <a:pt x="22" y="16"/>
                    </a:lnTo>
                    <a:lnTo>
                      <a:pt x="20" y="16"/>
                    </a:lnTo>
                    <a:lnTo>
                      <a:pt x="13" y="12"/>
                    </a:lnTo>
                    <a:lnTo>
                      <a:pt x="11" y="14"/>
                    </a:lnTo>
                    <a:lnTo>
                      <a:pt x="15" y="16"/>
                    </a:lnTo>
                    <a:lnTo>
                      <a:pt x="18" y="16"/>
                    </a:lnTo>
                    <a:lnTo>
                      <a:pt x="20" y="16"/>
                    </a:lnTo>
                    <a:lnTo>
                      <a:pt x="22" y="18"/>
                    </a:lnTo>
                    <a:lnTo>
                      <a:pt x="23" y="23"/>
                    </a:lnTo>
                    <a:lnTo>
                      <a:pt x="22" y="23"/>
                    </a:lnTo>
                    <a:lnTo>
                      <a:pt x="22" y="25"/>
                    </a:lnTo>
                    <a:lnTo>
                      <a:pt x="13" y="19"/>
                    </a:lnTo>
                    <a:lnTo>
                      <a:pt x="11" y="16"/>
                    </a:lnTo>
                    <a:lnTo>
                      <a:pt x="9" y="16"/>
                    </a:lnTo>
                    <a:lnTo>
                      <a:pt x="9" y="19"/>
                    </a:lnTo>
                    <a:lnTo>
                      <a:pt x="11" y="21"/>
                    </a:lnTo>
                    <a:lnTo>
                      <a:pt x="11" y="27"/>
                    </a:lnTo>
                    <a:lnTo>
                      <a:pt x="9" y="27"/>
                    </a:lnTo>
                    <a:lnTo>
                      <a:pt x="7" y="27"/>
                    </a:lnTo>
                    <a:lnTo>
                      <a:pt x="6" y="25"/>
                    </a:lnTo>
                    <a:lnTo>
                      <a:pt x="6" y="25"/>
                    </a:lnTo>
                    <a:lnTo>
                      <a:pt x="7" y="23"/>
                    </a:lnTo>
                    <a:lnTo>
                      <a:pt x="6" y="21"/>
                    </a:lnTo>
                    <a:lnTo>
                      <a:pt x="6" y="21"/>
                    </a:lnTo>
                    <a:lnTo>
                      <a:pt x="4" y="19"/>
                    </a:lnTo>
                    <a:lnTo>
                      <a:pt x="4" y="18"/>
                    </a:lnTo>
                    <a:lnTo>
                      <a:pt x="2" y="16"/>
                    </a:lnTo>
                    <a:lnTo>
                      <a:pt x="0" y="14"/>
                    </a:lnTo>
                    <a:lnTo>
                      <a:pt x="0" y="12"/>
                    </a:lnTo>
                    <a:lnTo>
                      <a:pt x="0" y="11"/>
                    </a:lnTo>
                    <a:lnTo>
                      <a:pt x="2" y="12"/>
                    </a:lnTo>
                    <a:lnTo>
                      <a:pt x="2" y="11"/>
                    </a:lnTo>
                    <a:lnTo>
                      <a:pt x="0" y="7"/>
                    </a:lnTo>
                    <a:lnTo>
                      <a:pt x="0" y="5"/>
                    </a:lnTo>
                    <a:lnTo>
                      <a:pt x="0" y="3"/>
                    </a:lnTo>
                    <a:lnTo>
                      <a:pt x="2" y="5"/>
                    </a:lnTo>
                    <a:lnTo>
                      <a:pt x="4" y="5"/>
                    </a:lnTo>
                    <a:lnTo>
                      <a:pt x="4" y="3"/>
                    </a:lnTo>
                    <a:lnTo>
                      <a:pt x="6" y="2"/>
                    </a:lnTo>
                    <a:lnTo>
                      <a:pt x="7" y="0"/>
                    </a:lnTo>
                    <a:lnTo>
                      <a:pt x="13" y="3"/>
                    </a:lnTo>
                    <a:lnTo>
                      <a:pt x="13" y="5"/>
                    </a:lnTo>
                    <a:lnTo>
                      <a:pt x="15" y="5"/>
                    </a:lnTo>
                    <a:lnTo>
                      <a:pt x="15" y="5"/>
                    </a:lnTo>
                    <a:lnTo>
                      <a:pt x="18" y="5"/>
                    </a:lnTo>
                    <a:lnTo>
                      <a:pt x="20"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11" name="Freeform 2261"/>
              <p:cNvSpPr>
                <a:spLocks/>
              </p:cNvSpPr>
              <p:nvPr/>
            </p:nvSpPr>
            <p:spPr bwMode="auto">
              <a:xfrm>
                <a:off x="555" y="1622"/>
                <a:ext cx="29" cy="44"/>
              </a:xfrm>
              <a:custGeom>
                <a:avLst/>
                <a:gdLst>
                  <a:gd name="T0" fmla="*/ 18 w 29"/>
                  <a:gd name="T1" fmla="*/ 10 h 44"/>
                  <a:gd name="T2" fmla="*/ 22 w 29"/>
                  <a:gd name="T3" fmla="*/ 16 h 44"/>
                  <a:gd name="T4" fmla="*/ 20 w 29"/>
                  <a:gd name="T5" fmla="*/ 18 h 44"/>
                  <a:gd name="T6" fmla="*/ 22 w 29"/>
                  <a:gd name="T7" fmla="*/ 19 h 44"/>
                  <a:gd name="T8" fmla="*/ 25 w 29"/>
                  <a:gd name="T9" fmla="*/ 25 h 44"/>
                  <a:gd name="T10" fmla="*/ 20 w 29"/>
                  <a:gd name="T11" fmla="*/ 23 h 44"/>
                  <a:gd name="T12" fmla="*/ 22 w 29"/>
                  <a:gd name="T13" fmla="*/ 27 h 44"/>
                  <a:gd name="T14" fmla="*/ 25 w 29"/>
                  <a:gd name="T15" fmla="*/ 27 h 44"/>
                  <a:gd name="T16" fmla="*/ 27 w 29"/>
                  <a:gd name="T17" fmla="*/ 30 h 44"/>
                  <a:gd name="T18" fmla="*/ 27 w 29"/>
                  <a:gd name="T19" fmla="*/ 32 h 44"/>
                  <a:gd name="T20" fmla="*/ 29 w 29"/>
                  <a:gd name="T21" fmla="*/ 32 h 44"/>
                  <a:gd name="T22" fmla="*/ 29 w 29"/>
                  <a:gd name="T23" fmla="*/ 34 h 44"/>
                  <a:gd name="T24" fmla="*/ 29 w 29"/>
                  <a:gd name="T25" fmla="*/ 37 h 44"/>
                  <a:gd name="T26" fmla="*/ 29 w 29"/>
                  <a:gd name="T27" fmla="*/ 39 h 44"/>
                  <a:gd name="T28" fmla="*/ 29 w 29"/>
                  <a:gd name="T29" fmla="*/ 44 h 44"/>
                  <a:gd name="T30" fmla="*/ 25 w 29"/>
                  <a:gd name="T31" fmla="*/ 44 h 44"/>
                  <a:gd name="T32" fmla="*/ 22 w 29"/>
                  <a:gd name="T33" fmla="*/ 39 h 44"/>
                  <a:gd name="T34" fmla="*/ 20 w 29"/>
                  <a:gd name="T35" fmla="*/ 34 h 44"/>
                  <a:gd name="T36" fmla="*/ 15 w 29"/>
                  <a:gd name="T37" fmla="*/ 30 h 44"/>
                  <a:gd name="T38" fmla="*/ 13 w 29"/>
                  <a:gd name="T39" fmla="*/ 28 h 44"/>
                  <a:gd name="T40" fmla="*/ 13 w 29"/>
                  <a:gd name="T41" fmla="*/ 27 h 44"/>
                  <a:gd name="T42" fmla="*/ 15 w 29"/>
                  <a:gd name="T43" fmla="*/ 21 h 44"/>
                  <a:gd name="T44" fmla="*/ 13 w 29"/>
                  <a:gd name="T45" fmla="*/ 19 h 44"/>
                  <a:gd name="T46" fmla="*/ 9 w 29"/>
                  <a:gd name="T47" fmla="*/ 19 h 44"/>
                  <a:gd name="T48" fmla="*/ 7 w 29"/>
                  <a:gd name="T49" fmla="*/ 16 h 44"/>
                  <a:gd name="T50" fmla="*/ 9 w 29"/>
                  <a:gd name="T51" fmla="*/ 5 h 44"/>
                  <a:gd name="T52" fmla="*/ 7 w 29"/>
                  <a:gd name="T53" fmla="*/ 7 h 44"/>
                  <a:gd name="T54" fmla="*/ 4 w 29"/>
                  <a:gd name="T55" fmla="*/ 10 h 44"/>
                  <a:gd name="T56" fmla="*/ 2 w 29"/>
                  <a:gd name="T57" fmla="*/ 9 h 44"/>
                  <a:gd name="T58" fmla="*/ 4 w 29"/>
                  <a:gd name="T59" fmla="*/ 2 h 44"/>
                  <a:gd name="T60" fmla="*/ 4 w 29"/>
                  <a:gd name="T61" fmla="*/ 0 h 44"/>
                  <a:gd name="T62" fmla="*/ 7 w 29"/>
                  <a:gd name="T63" fmla="*/ 0 h 44"/>
                  <a:gd name="T64" fmla="*/ 9 w 29"/>
                  <a:gd name="T65" fmla="*/ 0 h 44"/>
                  <a:gd name="T66" fmla="*/ 13 w 29"/>
                  <a:gd name="T67" fmla="*/ 3 h 44"/>
                  <a:gd name="T68" fmla="*/ 11 w 29"/>
                  <a:gd name="T69" fmla="*/ 7 h 44"/>
                  <a:gd name="T70" fmla="*/ 16 w 29"/>
                  <a:gd name="T71"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 h="44">
                    <a:moveTo>
                      <a:pt x="16" y="9"/>
                    </a:moveTo>
                    <a:lnTo>
                      <a:pt x="18" y="10"/>
                    </a:lnTo>
                    <a:lnTo>
                      <a:pt x="22" y="14"/>
                    </a:lnTo>
                    <a:lnTo>
                      <a:pt x="22" y="16"/>
                    </a:lnTo>
                    <a:lnTo>
                      <a:pt x="22" y="18"/>
                    </a:lnTo>
                    <a:lnTo>
                      <a:pt x="20" y="18"/>
                    </a:lnTo>
                    <a:lnTo>
                      <a:pt x="20" y="18"/>
                    </a:lnTo>
                    <a:lnTo>
                      <a:pt x="22" y="19"/>
                    </a:lnTo>
                    <a:lnTo>
                      <a:pt x="22" y="18"/>
                    </a:lnTo>
                    <a:lnTo>
                      <a:pt x="25" y="25"/>
                    </a:lnTo>
                    <a:lnTo>
                      <a:pt x="20" y="21"/>
                    </a:lnTo>
                    <a:lnTo>
                      <a:pt x="20" y="23"/>
                    </a:lnTo>
                    <a:lnTo>
                      <a:pt x="23" y="25"/>
                    </a:lnTo>
                    <a:lnTo>
                      <a:pt x="22" y="27"/>
                    </a:lnTo>
                    <a:lnTo>
                      <a:pt x="23" y="27"/>
                    </a:lnTo>
                    <a:lnTo>
                      <a:pt x="25" y="27"/>
                    </a:lnTo>
                    <a:lnTo>
                      <a:pt x="27" y="28"/>
                    </a:lnTo>
                    <a:lnTo>
                      <a:pt x="27" y="30"/>
                    </a:lnTo>
                    <a:lnTo>
                      <a:pt x="25" y="30"/>
                    </a:lnTo>
                    <a:lnTo>
                      <a:pt x="27" y="32"/>
                    </a:lnTo>
                    <a:lnTo>
                      <a:pt x="29" y="30"/>
                    </a:lnTo>
                    <a:lnTo>
                      <a:pt x="29" y="32"/>
                    </a:lnTo>
                    <a:lnTo>
                      <a:pt x="29" y="34"/>
                    </a:lnTo>
                    <a:lnTo>
                      <a:pt x="29" y="34"/>
                    </a:lnTo>
                    <a:lnTo>
                      <a:pt x="27" y="37"/>
                    </a:lnTo>
                    <a:lnTo>
                      <a:pt x="29" y="37"/>
                    </a:lnTo>
                    <a:lnTo>
                      <a:pt x="29" y="37"/>
                    </a:lnTo>
                    <a:lnTo>
                      <a:pt x="29" y="39"/>
                    </a:lnTo>
                    <a:lnTo>
                      <a:pt x="29" y="41"/>
                    </a:lnTo>
                    <a:lnTo>
                      <a:pt x="29" y="44"/>
                    </a:lnTo>
                    <a:lnTo>
                      <a:pt x="29" y="44"/>
                    </a:lnTo>
                    <a:lnTo>
                      <a:pt x="25" y="44"/>
                    </a:lnTo>
                    <a:lnTo>
                      <a:pt x="23" y="37"/>
                    </a:lnTo>
                    <a:lnTo>
                      <a:pt x="22" y="39"/>
                    </a:lnTo>
                    <a:lnTo>
                      <a:pt x="22" y="37"/>
                    </a:lnTo>
                    <a:lnTo>
                      <a:pt x="20" y="34"/>
                    </a:lnTo>
                    <a:lnTo>
                      <a:pt x="18" y="32"/>
                    </a:lnTo>
                    <a:lnTo>
                      <a:pt x="15" y="30"/>
                    </a:lnTo>
                    <a:lnTo>
                      <a:pt x="15" y="30"/>
                    </a:lnTo>
                    <a:lnTo>
                      <a:pt x="13" y="28"/>
                    </a:lnTo>
                    <a:lnTo>
                      <a:pt x="9" y="27"/>
                    </a:lnTo>
                    <a:lnTo>
                      <a:pt x="13" y="27"/>
                    </a:lnTo>
                    <a:lnTo>
                      <a:pt x="13" y="23"/>
                    </a:lnTo>
                    <a:lnTo>
                      <a:pt x="15" y="21"/>
                    </a:lnTo>
                    <a:lnTo>
                      <a:pt x="15" y="19"/>
                    </a:lnTo>
                    <a:lnTo>
                      <a:pt x="13" y="19"/>
                    </a:lnTo>
                    <a:lnTo>
                      <a:pt x="11" y="19"/>
                    </a:lnTo>
                    <a:lnTo>
                      <a:pt x="9" y="19"/>
                    </a:lnTo>
                    <a:lnTo>
                      <a:pt x="7" y="19"/>
                    </a:lnTo>
                    <a:lnTo>
                      <a:pt x="7" y="16"/>
                    </a:lnTo>
                    <a:lnTo>
                      <a:pt x="9" y="14"/>
                    </a:lnTo>
                    <a:lnTo>
                      <a:pt x="9" y="5"/>
                    </a:lnTo>
                    <a:lnTo>
                      <a:pt x="9" y="5"/>
                    </a:lnTo>
                    <a:lnTo>
                      <a:pt x="7" y="7"/>
                    </a:lnTo>
                    <a:lnTo>
                      <a:pt x="6" y="9"/>
                    </a:lnTo>
                    <a:lnTo>
                      <a:pt x="4" y="10"/>
                    </a:lnTo>
                    <a:lnTo>
                      <a:pt x="0" y="10"/>
                    </a:lnTo>
                    <a:lnTo>
                      <a:pt x="2" y="9"/>
                    </a:lnTo>
                    <a:lnTo>
                      <a:pt x="6" y="3"/>
                    </a:lnTo>
                    <a:lnTo>
                      <a:pt x="4" y="2"/>
                    </a:lnTo>
                    <a:lnTo>
                      <a:pt x="2" y="0"/>
                    </a:lnTo>
                    <a:lnTo>
                      <a:pt x="4" y="0"/>
                    </a:lnTo>
                    <a:lnTo>
                      <a:pt x="6" y="0"/>
                    </a:lnTo>
                    <a:lnTo>
                      <a:pt x="7" y="0"/>
                    </a:lnTo>
                    <a:lnTo>
                      <a:pt x="9" y="0"/>
                    </a:lnTo>
                    <a:lnTo>
                      <a:pt x="9" y="0"/>
                    </a:lnTo>
                    <a:lnTo>
                      <a:pt x="13" y="2"/>
                    </a:lnTo>
                    <a:lnTo>
                      <a:pt x="13" y="3"/>
                    </a:lnTo>
                    <a:lnTo>
                      <a:pt x="11" y="5"/>
                    </a:lnTo>
                    <a:lnTo>
                      <a:pt x="11" y="7"/>
                    </a:lnTo>
                    <a:lnTo>
                      <a:pt x="15" y="7"/>
                    </a:lnTo>
                    <a:lnTo>
                      <a:pt x="16"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12" name="Freeform 2262"/>
              <p:cNvSpPr>
                <a:spLocks/>
              </p:cNvSpPr>
              <p:nvPr/>
            </p:nvSpPr>
            <p:spPr bwMode="auto">
              <a:xfrm>
                <a:off x="555" y="1622"/>
                <a:ext cx="29" cy="44"/>
              </a:xfrm>
              <a:custGeom>
                <a:avLst/>
                <a:gdLst>
                  <a:gd name="T0" fmla="*/ 18 w 29"/>
                  <a:gd name="T1" fmla="*/ 10 h 44"/>
                  <a:gd name="T2" fmla="*/ 22 w 29"/>
                  <a:gd name="T3" fmla="*/ 16 h 44"/>
                  <a:gd name="T4" fmla="*/ 20 w 29"/>
                  <a:gd name="T5" fmla="*/ 18 h 44"/>
                  <a:gd name="T6" fmla="*/ 22 w 29"/>
                  <a:gd name="T7" fmla="*/ 19 h 44"/>
                  <a:gd name="T8" fmla="*/ 25 w 29"/>
                  <a:gd name="T9" fmla="*/ 25 h 44"/>
                  <a:gd name="T10" fmla="*/ 20 w 29"/>
                  <a:gd name="T11" fmla="*/ 23 h 44"/>
                  <a:gd name="T12" fmla="*/ 22 w 29"/>
                  <a:gd name="T13" fmla="*/ 27 h 44"/>
                  <a:gd name="T14" fmla="*/ 25 w 29"/>
                  <a:gd name="T15" fmla="*/ 27 h 44"/>
                  <a:gd name="T16" fmla="*/ 27 w 29"/>
                  <a:gd name="T17" fmla="*/ 30 h 44"/>
                  <a:gd name="T18" fmla="*/ 27 w 29"/>
                  <a:gd name="T19" fmla="*/ 32 h 44"/>
                  <a:gd name="T20" fmla="*/ 29 w 29"/>
                  <a:gd name="T21" fmla="*/ 32 h 44"/>
                  <a:gd name="T22" fmla="*/ 29 w 29"/>
                  <a:gd name="T23" fmla="*/ 34 h 44"/>
                  <a:gd name="T24" fmla="*/ 29 w 29"/>
                  <a:gd name="T25" fmla="*/ 37 h 44"/>
                  <a:gd name="T26" fmla="*/ 29 w 29"/>
                  <a:gd name="T27" fmla="*/ 39 h 44"/>
                  <a:gd name="T28" fmla="*/ 29 w 29"/>
                  <a:gd name="T29" fmla="*/ 44 h 44"/>
                  <a:gd name="T30" fmla="*/ 25 w 29"/>
                  <a:gd name="T31" fmla="*/ 44 h 44"/>
                  <a:gd name="T32" fmla="*/ 22 w 29"/>
                  <a:gd name="T33" fmla="*/ 39 h 44"/>
                  <a:gd name="T34" fmla="*/ 20 w 29"/>
                  <a:gd name="T35" fmla="*/ 34 h 44"/>
                  <a:gd name="T36" fmla="*/ 15 w 29"/>
                  <a:gd name="T37" fmla="*/ 30 h 44"/>
                  <a:gd name="T38" fmla="*/ 13 w 29"/>
                  <a:gd name="T39" fmla="*/ 28 h 44"/>
                  <a:gd name="T40" fmla="*/ 13 w 29"/>
                  <a:gd name="T41" fmla="*/ 27 h 44"/>
                  <a:gd name="T42" fmla="*/ 15 w 29"/>
                  <a:gd name="T43" fmla="*/ 21 h 44"/>
                  <a:gd name="T44" fmla="*/ 13 w 29"/>
                  <a:gd name="T45" fmla="*/ 19 h 44"/>
                  <a:gd name="T46" fmla="*/ 9 w 29"/>
                  <a:gd name="T47" fmla="*/ 19 h 44"/>
                  <a:gd name="T48" fmla="*/ 7 w 29"/>
                  <a:gd name="T49" fmla="*/ 16 h 44"/>
                  <a:gd name="T50" fmla="*/ 9 w 29"/>
                  <a:gd name="T51" fmla="*/ 5 h 44"/>
                  <a:gd name="T52" fmla="*/ 7 w 29"/>
                  <a:gd name="T53" fmla="*/ 7 h 44"/>
                  <a:gd name="T54" fmla="*/ 4 w 29"/>
                  <a:gd name="T55" fmla="*/ 10 h 44"/>
                  <a:gd name="T56" fmla="*/ 2 w 29"/>
                  <a:gd name="T57" fmla="*/ 9 h 44"/>
                  <a:gd name="T58" fmla="*/ 4 w 29"/>
                  <a:gd name="T59" fmla="*/ 2 h 44"/>
                  <a:gd name="T60" fmla="*/ 4 w 29"/>
                  <a:gd name="T61" fmla="*/ 0 h 44"/>
                  <a:gd name="T62" fmla="*/ 7 w 29"/>
                  <a:gd name="T63" fmla="*/ 0 h 44"/>
                  <a:gd name="T64" fmla="*/ 9 w 29"/>
                  <a:gd name="T65" fmla="*/ 0 h 44"/>
                  <a:gd name="T66" fmla="*/ 13 w 29"/>
                  <a:gd name="T67" fmla="*/ 3 h 44"/>
                  <a:gd name="T68" fmla="*/ 11 w 29"/>
                  <a:gd name="T69" fmla="*/ 7 h 44"/>
                  <a:gd name="T70" fmla="*/ 16 w 29"/>
                  <a:gd name="T71"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9" h="44">
                    <a:moveTo>
                      <a:pt x="16" y="9"/>
                    </a:moveTo>
                    <a:lnTo>
                      <a:pt x="18" y="10"/>
                    </a:lnTo>
                    <a:lnTo>
                      <a:pt x="22" y="14"/>
                    </a:lnTo>
                    <a:lnTo>
                      <a:pt x="22" y="16"/>
                    </a:lnTo>
                    <a:lnTo>
                      <a:pt x="22" y="18"/>
                    </a:lnTo>
                    <a:lnTo>
                      <a:pt x="20" y="18"/>
                    </a:lnTo>
                    <a:lnTo>
                      <a:pt x="20" y="18"/>
                    </a:lnTo>
                    <a:lnTo>
                      <a:pt x="22" y="19"/>
                    </a:lnTo>
                    <a:lnTo>
                      <a:pt x="22" y="18"/>
                    </a:lnTo>
                    <a:lnTo>
                      <a:pt x="25" y="25"/>
                    </a:lnTo>
                    <a:lnTo>
                      <a:pt x="20" y="21"/>
                    </a:lnTo>
                    <a:lnTo>
                      <a:pt x="20" y="23"/>
                    </a:lnTo>
                    <a:lnTo>
                      <a:pt x="23" y="25"/>
                    </a:lnTo>
                    <a:lnTo>
                      <a:pt x="22" y="27"/>
                    </a:lnTo>
                    <a:lnTo>
                      <a:pt x="23" y="27"/>
                    </a:lnTo>
                    <a:lnTo>
                      <a:pt x="25" y="27"/>
                    </a:lnTo>
                    <a:lnTo>
                      <a:pt x="27" y="28"/>
                    </a:lnTo>
                    <a:lnTo>
                      <a:pt x="27" y="30"/>
                    </a:lnTo>
                    <a:lnTo>
                      <a:pt x="25" y="30"/>
                    </a:lnTo>
                    <a:lnTo>
                      <a:pt x="27" y="32"/>
                    </a:lnTo>
                    <a:lnTo>
                      <a:pt x="29" y="30"/>
                    </a:lnTo>
                    <a:lnTo>
                      <a:pt x="29" y="32"/>
                    </a:lnTo>
                    <a:lnTo>
                      <a:pt x="29" y="34"/>
                    </a:lnTo>
                    <a:lnTo>
                      <a:pt x="29" y="34"/>
                    </a:lnTo>
                    <a:lnTo>
                      <a:pt x="27" y="37"/>
                    </a:lnTo>
                    <a:lnTo>
                      <a:pt x="29" y="37"/>
                    </a:lnTo>
                    <a:lnTo>
                      <a:pt x="29" y="37"/>
                    </a:lnTo>
                    <a:lnTo>
                      <a:pt x="29" y="39"/>
                    </a:lnTo>
                    <a:lnTo>
                      <a:pt x="29" y="41"/>
                    </a:lnTo>
                    <a:lnTo>
                      <a:pt x="29" y="44"/>
                    </a:lnTo>
                    <a:lnTo>
                      <a:pt x="29" y="44"/>
                    </a:lnTo>
                    <a:lnTo>
                      <a:pt x="25" y="44"/>
                    </a:lnTo>
                    <a:lnTo>
                      <a:pt x="23" y="37"/>
                    </a:lnTo>
                    <a:lnTo>
                      <a:pt x="22" y="39"/>
                    </a:lnTo>
                    <a:lnTo>
                      <a:pt x="22" y="37"/>
                    </a:lnTo>
                    <a:lnTo>
                      <a:pt x="20" y="34"/>
                    </a:lnTo>
                    <a:lnTo>
                      <a:pt x="18" y="32"/>
                    </a:lnTo>
                    <a:lnTo>
                      <a:pt x="15" y="30"/>
                    </a:lnTo>
                    <a:lnTo>
                      <a:pt x="15" y="30"/>
                    </a:lnTo>
                    <a:lnTo>
                      <a:pt x="13" y="28"/>
                    </a:lnTo>
                    <a:lnTo>
                      <a:pt x="9" y="27"/>
                    </a:lnTo>
                    <a:lnTo>
                      <a:pt x="13" y="27"/>
                    </a:lnTo>
                    <a:lnTo>
                      <a:pt x="13" y="23"/>
                    </a:lnTo>
                    <a:lnTo>
                      <a:pt x="15" y="21"/>
                    </a:lnTo>
                    <a:lnTo>
                      <a:pt x="15" y="19"/>
                    </a:lnTo>
                    <a:lnTo>
                      <a:pt x="13" y="19"/>
                    </a:lnTo>
                    <a:lnTo>
                      <a:pt x="11" y="19"/>
                    </a:lnTo>
                    <a:lnTo>
                      <a:pt x="9" y="19"/>
                    </a:lnTo>
                    <a:lnTo>
                      <a:pt x="7" y="19"/>
                    </a:lnTo>
                    <a:lnTo>
                      <a:pt x="7" y="16"/>
                    </a:lnTo>
                    <a:lnTo>
                      <a:pt x="9" y="14"/>
                    </a:lnTo>
                    <a:lnTo>
                      <a:pt x="9" y="5"/>
                    </a:lnTo>
                    <a:lnTo>
                      <a:pt x="9" y="5"/>
                    </a:lnTo>
                    <a:lnTo>
                      <a:pt x="7" y="7"/>
                    </a:lnTo>
                    <a:lnTo>
                      <a:pt x="6" y="9"/>
                    </a:lnTo>
                    <a:lnTo>
                      <a:pt x="4" y="10"/>
                    </a:lnTo>
                    <a:lnTo>
                      <a:pt x="0" y="10"/>
                    </a:lnTo>
                    <a:lnTo>
                      <a:pt x="2" y="9"/>
                    </a:lnTo>
                    <a:lnTo>
                      <a:pt x="6" y="3"/>
                    </a:lnTo>
                    <a:lnTo>
                      <a:pt x="4" y="2"/>
                    </a:lnTo>
                    <a:lnTo>
                      <a:pt x="2" y="0"/>
                    </a:lnTo>
                    <a:lnTo>
                      <a:pt x="4" y="0"/>
                    </a:lnTo>
                    <a:lnTo>
                      <a:pt x="6" y="0"/>
                    </a:lnTo>
                    <a:lnTo>
                      <a:pt x="7" y="0"/>
                    </a:lnTo>
                    <a:lnTo>
                      <a:pt x="9" y="0"/>
                    </a:lnTo>
                    <a:lnTo>
                      <a:pt x="9" y="0"/>
                    </a:lnTo>
                    <a:lnTo>
                      <a:pt x="13" y="2"/>
                    </a:lnTo>
                    <a:lnTo>
                      <a:pt x="13" y="3"/>
                    </a:lnTo>
                    <a:lnTo>
                      <a:pt x="11" y="5"/>
                    </a:lnTo>
                    <a:lnTo>
                      <a:pt x="11" y="7"/>
                    </a:lnTo>
                    <a:lnTo>
                      <a:pt x="15" y="7"/>
                    </a:lnTo>
                    <a:lnTo>
                      <a:pt x="16"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13" name="Freeform 2263"/>
              <p:cNvSpPr>
                <a:spLocks/>
              </p:cNvSpPr>
              <p:nvPr/>
            </p:nvSpPr>
            <p:spPr bwMode="auto">
              <a:xfrm>
                <a:off x="587" y="1632"/>
                <a:ext cx="15" cy="24"/>
              </a:xfrm>
              <a:custGeom>
                <a:avLst/>
                <a:gdLst>
                  <a:gd name="T0" fmla="*/ 8 w 15"/>
                  <a:gd name="T1" fmla="*/ 18 h 24"/>
                  <a:gd name="T2" fmla="*/ 8 w 15"/>
                  <a:gd name="T3" fmla="*/ 18 h 24"/>
                  <a:gd name="T4" fmla="*/ 9 w 15"/>
                  <a:gd name="T5" fmla="*/ 18 h 24"/>
                  <a:gd name="T6" fmla="*/ 9 w 15"/>
                  <a:gd name="T7" fmla="*/ 17 h 24"/>
                  <a:gd name="T8" fmla="*/ 9 w 15"/>
                  <a:gd name="T9" fmla="*/ 18 h 24"/>
                  <a:gd name="T10" fmla="*/ 9 w 15"/>
                  <a:gd name="T11" fmla="*/ 20 h 24"/>
                  <a:gd name="T12" fmla="*/ 9 w 15"/>
                  <a:gd name="T13" fmla="*/ 22 h 24"/>
                  <a:gd name="T14" fmla="*/ 13 w 15"/>
                  <a:gd name="T15" fmla="*/ 24 h 24"/>
                  <a:gd name="T16" fmla="*/ 15 w 15"/>
                  <a:gd name="T17" fmla="*/ 24 h 24"/>
                  <a:gd name="T18" fmla="*/ 15 w 15"/>
                  <a:gd name="T19" fmla="*/ 22 h 24"/>
                  <a:gd name="T20" fmla="*/ 15 w 15"/>
                  <a:gd name="T21" fmla="*/ 20 h 24"/>
                  <a:gd name="T22" fmla="*/ 13 w 15"/>
                  <a:gd name="T23" fmla="*/ 18 h 24"/>
                  <a:gd name="T24" fmla="*/ 13 w 15"/>
                  <a:gd name="T25" fmla="*/ 9 h 24"/>
                  <a:gd name="T26" fmla="*/ 11 w 15"/>
                  <a:gd name="T27" fmla="*/ 0 h 24"/>
                  <a:gd name="T28" fmla="*/ 9 w 15"/>
                  <a:gd name="T29" fmla="*/ 0 h 24"/>
                  <a:gd name="T30" fmla="*/ 6 w 15"/>
                  <a:gd name="T31" fmla="*/ 2 h 24"/>
                  <a:gd name="T32" fmla="*/ 6 w 15"/>
                  <a:gd name="T33" fmla="*/ 2 h 24"/>
                  <a:gd name="T34" fmla="*/ 2 w 15"/>
                  <a:gd name="T35" fmla="*/ 4 h 24"/>
                  <a:gd name="T36" fmla="*/ 4 w 15"/>
                  <a:gd name="T37" fmla="*/ 6 h 24"/>
                  <a:gd name="T38" fmla="*/ 4 w 15"/>
                  <a:gd name="T39" fmla="*/ 6 h 24"/>
                  <a:gd name="T40" fmla="*/ 2 w 15"/>
                  <a:gd name="T41" fmla="*/ 8 h 24"/>
                  <a:gd name="T42" fmla="*/ 4 w 15"/>
                  <a:gd name="T43" fmla="*/ 8 h 24"/>
                  <a:gd name="T44" fmla="*/ 2 w 15"/>
                  <a:gd name="T45" fmla="*/ 11 h 24"/>
                  <a:gd name="T46" fmla="*/ 2 w 15"/>
                  <a:gd name="T47" fmla="*/ 11 h 24"/>
                  <a:gd name="T48" fmla="*/ 2 w 15"/>
                  <a:gd name="T49" fmla="*/ 13 h 24"/>
                  <a:gd name="T50" fmla="*/ 0 w 15"/>
                  <a:gd name="T51" fmla="*/ 15 h 24"/>
                  <a:gd name="T52" fmla="*/ 2 w 15"/>
                  <a:gd name="T53" fmla="*/ 17 h 24"/>
                  <a:gd name="T54" fmla="*/ 4 w 15"/>
                  <a:gd name="T55" fmla="*/ 18 h 24"/>
                  <a:gd name="T56" fmla="*/ 6 w 15"/>
                  <a:gd name="T57" fmla="*/ 17 h 24"/>
                  <a:gd name="T58" fmla="*/ 4 w 15"/>
                  <a:gd name="T59" fmla="*/ 13 h 24"/>
                  <a:gd name="T60" fmla="*/ 6 w 15"/>
                  <a:gd name="T61" fmla="*/ 15 h 24"/>
                  <a:gd name="T62" fmla="*/ 8 w 15"/>
                  <a:gd name="T63" fmla="*/ 15 h 24"/>
                  <a:gd name="T64" fmla="*/ 8 w 15"/>
                  <a:gd name="T65" fmla="*/ 9 h 24"/>
                  <a:gd name="T66" fmla="*/ 9 w 15"/>
                  <a:gd name="T67" fmla="*/ 15 h 24"/>
                  <a:gd name="T68" fmla="*/ 8 w 15"/>
                  <a:gd name="T69" fmla="*/ 17 h 24"/>
                  <a:gd name="T70" fmla="*/ 8 w 15"/>
                  <a:gd name="T7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 h="24">
                    <a:moveTo>
                      <a:pt x="8" y="18"/>
                    </a:moveTo>
                    <a:lnTo>
                      <a:pt x="8" y="18"/>
                    </a:lnTo>
                    <a:lnTo>
                      <a:pt x="9" y="18"/>
                    </a:lnTo>
                    <a:lnTo>
                      <a:pt x="9" y="17"/>
                    </a:lnTo>
                    <a:lnTo>
                      <a:pt x="9" y="18"/>
                    </a:lnTo>
                    <a:lnTo>
                      <a:pt x="9" y="20"/>
                    </a:lnTo>
                    <a:lnTo>
                      <a:pt x="9" y="22"/>
                    </a:lnTo>
                    <a:lnTo>
                      <a:pt x="13" y="24"/>
                    </a:lnTo>
                    <a:lnTo>
                      <a:pt x="15" y="24"/>
                    </a:lnTo>
                    <a:lnTo>
                      <a:pt x="15" y="22"/>
                    </a:lnTo>
                    <a:lnTo>
                      <a:pt x="15" y="20"/>
                    </a:lnTo>
                    <a:lnTo>
                      <a:pt x="13" y="18"/>
                    </a:lnTo>
                    <a:lnTo>
                      <a:pt x="13" y="9"/>
                    </a:lnTo>
                    <a:lnTo>
                      <a:pt x="11" y="0"/>
                    </a:lnTo>
                    <a:lnTo>
                      <a:pt x="9" y="0"/>
                    </a:lnTo>
                    <a:lnTo>
                      <a:pt x="6" y="2"/>
                    </a:lnTo>
                    <a:lnTo>
                      <a:pt x="6" y="2"/>
                    </a:lnTo>
                    <a:lnTo>
                      <a:pt x="2" y="4"/>
                    </a:lnTo>
                    <a:lnTo>
                      <a:pt x="4" y="6"/>
                    </a:lnTo>
                    <a:lnTo>
                      <a:pt x="4" y="6"/>
                    </a:lnTo>
                    <a:lnTo>
                      <a:pt x="2" y="8"/>
                    </a:lnTo>
                    <a:lnTo>
                      <a:pt x="4" y="8"/>
                    </a:lnTo>
                    <a:lnTo>
                      <a:pt x="2" y="11"/>
                    </a:lnTo>
                    <a:lnTo>
                      <a:pt x="2" y="11"/>
                    </a:lnTo>
                    <a:lnTo>
                      <a:pt x="2" y="13"/>
                    </a:lnTo>
                    <a:lnTo>
                      <a:pt x="0" y="15"/>
                    </a:lnTo>
                    <a:lnTo>
                      <a:pt x="2" y="17"/>
                    </a:lnTo>
                    <a:lnTo>
                      <a:pt x="4" y="18"/>
                    </a:lnTo>
                    <a:lnTo>
                      <a:pt x="6" y="17"/>
                    </a:lnTo>
                    <a:lnTo>
                      <a:pt x="4" y="13"/>
                    </a:lnTo>
                    <a:lnTo>
                      <a:pt x="6" y="15"/>
                    </a:lnTo>
                    <a:lnTo>
                      <a:pt x="8" y="15"/>
                    </a:lnTo>
                    <a:lnTo>
                      <a:pt x="8" y="9"/>
                    </a:lnTo>
                    <a:lnTo>
                      <a:pt x="9" y="15"/>
                    </a:lnTo>
                    <a:lnTo>
                      <a:pt x="8" y="17"/>
                    </a:lnTo>
                    <a:lnTo>
                      <a:pt x="8" y="1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14" name="Freeform 2264"/>
              <p:cNvSpPr>
                <a:spLocks/>
              </p:cNvSpPr>
              <p:nvPr/>
            </p:nvSpPr>
            <p:spPr bwMode="auto">
              <a:xfrm>
                <a:off x="587" y="1632"/>
                <a:ext cx="15" cy="24"/>
              </a:xfrm>
              <a:custGeom>
                <a:avLst/>
                <a:gdLst>
                  <a:gd name="T0" fmla="*/ 8 w 15"/>
                  <a:gd name="T1" fmla="*/ 18 h 24"/>
                  <a:gd name="T2" fmla="*/ 8 w 15"/>
                  <a:gd name="T3" fmla="*/ 18 h 24"/>
                  <a:gd name="T4" fmla="*/ 9 w 15"/>
                  <a:gd name="T5" fmla="*/ 18 h 24"/>
                  <a:gd name="T6" fmla="*/ 9 w 15"/>
                  <a:gd name="T7" fmla="*/ 17 h 24"/>
                  <a:gd name="T8" fmla="*/ 9 w 15"/>
                  <a:gd name="T9" fmla="*/ 18 h 24"/>
                  <a:gd name="T10" fmla="*/ 9 w 15"/>
                  <a:gd name="T11" fmla="*/ 20 h 24"/>
                  <a:gd name="T12" fmla="*/ 9 w 15"/>
                  <a:gd name="T13" fmla="*/ 22 h 24"/>
                  <a:gd name="T14" fmla="*/ 13 w 15"/>
                  <a:gd name="T15" fmla="*/ 24 h 24"/>
                  <a:gd name="T16" fmla="*/ 15 w 15"/>
                  <a:gd name="T17" fmla="*/ 24 h 24"/>
                  <a:gd name="T18" fmla="*/ 15 w 15"/>
                  <a:gd name="T19" fmla="*/ 22 h 24"/>
                  <a:gd name="T20" fmla="*/ 15 w 15"/>
                  <a:gd name="T21" fmla="*/ 20 h 24"/>
                  <a:gd name="T22" fmla="*/ 13 w 15"/>
                  <a:gd name="T23" fmla="*/ 18 h 24"/>
                  <a:gd name="T24" fmla="*/ 13 w 15"/>
                  <a:gd name="T25" fmla="*/ 9 h 24"/>
                  <a:gd name="T26" fmla="*/ 11 w 15"/>
                  <a:gd name="T27" fmla="*/ 0 h 24"/>
                  <a:gd name="T28" fmla="*/ 9 w 15"/>
                  <a:gd name="T29" fmla="*/ 0 h 24"/>
                  <a:gd name="T30" fmla="*/ 6 w 15"/>
                  <a:gd name="T31" fmla="*/ 2 h 24"/>
                  <a:gd name="T32" fmla="*/ 6 w 15"/>
                  <a:gd name="T33" fmla="*/ 2 h 24"/>
                  <a:gd name="T34" fmla="*/ 2 w 15"/>
                  <a:gd name="T35" fmla="*/ 4 h 24"/>
                  <a:gd name="T36" fmla="*/ 4 w 15"/>
                  <a:gd name="T37" fmla="*/ 6 h 24"/>
                  <a:gd name="T38" fmla="*/ 4 w 15"/>
                  <a:gd name="T39" fmla="*/ 6 h 24"/>
                  <a:gd name="T40" fmla="*/ 2 w 15"/>
                  <a:gd name="T41" fmla="*/ 8 h 24"/>
                  <a:gd name="T42" fmla="*/ 4 w 15"/>
                  <a:gd name="T43" fmla="*/ 8 h 24"/>
                  <a:gd name="T44" fmla="*/ 2 w 15"/>
                  <a:gd name="T45" fmla="*/ 11 h 24"/>
                  <a:gd name="T46" fmla="*/ 2 w 15"/>
                  <a:gd name="T47" fmla="*/ 11 h 24"/>
                  <a:gd name="T48" fmla="*/ 2 w 15"/>
                  <a:gd name="T49" fmla="*/ 13 h 24"/>
                  <a:gd name="T50" fmla="*/ 0 w 15"/>
                  <a:gd name="T51" fmla="*/ 15 h 24"/>
                  <a:gd name="T52" fmla="*/ 2 w 15"/>
                  <a:gd name="T53" fmla="*/ 17 h 24"/>
                  <a:gd name="T54" fmla="*/ 4 w 15"/>
                  <a:gd name="T55" fmla="*/ 18 h 24"/>
                  <a:gd name="T56" fmla="*/ 6 w 15"/>
                  <a:gd name="T57" fmla="*/ 17 h 24"/>
                  <a:gd name="T58" fmla="*/ 4 w 15"/>
                  <a:gd name="T59" fmla="*/ 13 h 24"/>
                  <a:gd name="T60" fmla="*/ 6 w 15"/>
                  <a:gd name="T61" fmla="*/ 15 h 24"/>
                  <a:gd name="T62" fmla="*/ 8 w 15"/>
                  <a:gd name="T63" fmla="*/ 15 h 24"/>
                  <a:gd name="T64" fmla="*/ 8 w 15"/>
                  <a:gd name="T65" fmla="*/ 9 h 24"/>
                  <a:gd name="T66" fmla="*/ 9 w 15"/>
                  <a:gd name="T67" fmla="*/ 15 h 24"/>
                  <a:gd name="T68" fmla="*/ 8 w 15"/>
                  <a:gd name="T69" fmla="*/ 17 h 24"/>
                  <a:gd name="T70" fmla="*/ 8 w 15"/>
                  <a:gd name="T7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 h="24">
                    <a:moveTo>
                      <a:pt x="8" y="18"/>
                    </a:moveTo>
                    <a:lnTo>
                      <a:pt x="8" y="18"/>
                    </a:lnTo>
                    <a:lnTo>
                      <a:pt x="9" y="18"/>
                    </a:lnTo>
                    <a:lnTo>
                      <a:pt x="9" y="17"/>
                    </a:lnTo>
                    <a:lnTo>
                      <a:pt x="9" y="18"/>
                    </a:lnTo>
                    <a:lnTo>
                      <a:pt x="9" y="20"/>
                    </a:lnTo>
                    <a:lnTo>
                      <a:pt x="9" y="22"/>
                    </a:lnTo>
                    <a:lnTo>
                      <a:pt x="13" y="24"/>
                    </a:lnTo>
                    <a:lnTo>
                      <a:pt x="15" y="24"/>
                    </a:lnTo>
                    <a:lnTo>
                      <a:pt x="15" y="22"/>
                    </a:lnTo>
                    <a:lnTo>
                      <a:pt x="15" y="20"/>
                    </a:lnTo>
                    <a:lnTo>
                      <a:pt x="13" y="18"/>
                    </a:lnTo>
                    <a:lnTo>
                      <a:pt x="13" y="9"/>
                    </a:lnTo>
                    <a:lnTo>
                      <a:pt x="11" y="0"/>
                    </a:lnTo>
                    <a:lnTo>
                      <a:pt x="9" y="0"/>
                    </a:lnTo>
                    <a:lnTo>
                      <a:pt x="6" y="2"/>
                    </a:lnTo>
                    <a:lnTo>
                      <a:pt x="6" y="2"/>
                    </a:lnTo>
                    <a:lnTo>
                      <a:pt x="2" y="4"/>
                    </a:lnTo>
                    <a:lnTo>
                      <a:pt x="4" y="6"/>
                    </a:lnTo>
                    <a:lnTo>
                      <a:pt x="4" y="6"/>
                    </a:lnTo>
                    <a:lnTo>
                      <a:pt x="2" y="8"/>
                    </a:lnTo>
                    <a:lnTo>
                      <a:pt x="4" y="8"/>
                    </a:lnTo>
                    <a:lnTo>
                      <a:pt x="2" y="11"/>
                    </a:lnTo>
                    <a:lnTo>
                      <a:pt x="2" y="11"/>
                    </a:lnTo>
                    <a:lnTo>
                      <a:pt x="2" y="13"/>
                    </a:lnTo>
                    <a:lnTo>
                      <a:pt x="0" y="15"/>
                    </a:lnTo>
                    <a:lnTo>
                      <a:pt x="2" y="17"/>
                    </a:lnTo>
                    <a:lnTo>
                      <a:pt x="4" y="18"/>
                    </a:lnTo>
                    <a:lnTo>
                      <a:pt x="6" y="17"/>
                    </a:lnTo>
                    <a:lnTo>
                      <a:pt x="4" y="13"/>
                    </a:lnTo>
                    <a:lnTo>
                      <a:pt x="6" y="15"/>
                    </a:lnTo>
                    <a:lnTo>
                      <a:pt x="8" y="15"/>
                    </a:lnTo>
                    <a:lnTo>
                      <a:pt x="8" y="9"/>
                    </a:lnTo>
                    <a:lnTo>
                      <a:pt x="9" y="15"/>
                    </a:lnTo>
                    <a:lnTo>
                      <a:pt x="8" y="17"/>
                    </a:lnTo>
                    <a:lnTo>
                      <a:pt x="8" y="1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15" name="Freeform 2265"/>
              <p:cNvSpPr>
                <a:spLocks/>
              </p:cNvSpPr>
              <p:nvPr/>
            </p:nvSpPr>
            <p:spPr bwMode="auto">
              <a:xfrm>
                <a:off x="564" y="1652"/>
                <a:ext cx="7" cy="14"/>
              </a:xfrm>
              <a:custGeom>
                <a:avLst/>
                <a:gdLst>
                  <a:gd name="T0" fmla="*/ 4 w 7"/>
                  <a:gd name="T1" fmla="*/ 7 h 14"/>
                  <a:gd name="T2" fmla="*/ 6 w 7"/>
                  <a:gd name="T3" fmla="*/ 7 h 14"/>
                  <a:gd name="T4" fmla="*/ 7 w 7"/>
                  <a:gd name="T5" fmla="*/ 14 h 14"/>
                  <a:gd name="T6" fmla="*/ 7 w 7"/>
                  <a:gd name="T7" fmla="*/ 14 h 14"/>
                  <a:gd name="T8" fmla="*/ 6 w 7"/>
                  <a:gd name="T9" fmla="*/ 13 h 14"/>
                  <a:gd name="T10" fmla="*/ 0 w 7"/>
                  <a:gd name="T11" fmla="*/ 5 h 14"/>
                  <a:gd name="T12" fmla="*/ 0 w 7"/>
                  <a:gd name="T13" fmla="*/ 2 h 14"/>
                  <a:gd name="T14" fmla="*/ 0 w 7"/>
                  <a:gd name="T15" fmla="*/ 0 h 14"/>
                  <a:gd name="T16" fmla="*/ 4 w 7"/>
                  <a:gd name="T17" fmla="*/ 2 h 14"/>
                  <a:gd name="T18" fmla="*/ 4 w 7"/>
                  <a:gd name="T19"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4">
                    <a:moveTo>
                      <a:pt x="4" y="7"/>
                    </a:moveTo>
                    <a:lnTo>
                      <a:pt x="6" y="7"/>
                    </a:lnTo>
                    <a:lnTo>
                      <a:pt x="7" y="14"/>
                    </a:lnTo>
                    <a:lnTo>
                      <a:pt x="7" y="14"/>
                    </a:lnTo>
                    <a:lnTo>
                      <a:pt x="6" y="13"/>
                    </a:lnTo>
                    <a:lnTo>
                      <a:pt x="0" y="5"/>
                    </a:lnTo>
                    <a:lnTo>
                      <a:pt x="0" y="2"/>
                    </a:lnTo>
                    <a:lnTo>
                      <a:pt x="0" y="0"/>
                    </a:lnTo>
                    <a:lnTo>
                      <a:pt x="4" y="2"/>
                    </a:lnTo>
                    <a:lnTo>
                      <a:pt x="4"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16" name="Freeform 2266"/>
              <p:cNvSpPr>
                <a:spLocks/>
              </p:cNvSpPr>
              <p:nvPr/>
            </p:nvSpPr>
            <p:spPr bwMode="auto">
              <a:xfrm>
                <a:off x="564" y="1652"/>
                <a:ext cx="7" cy="14"/>
              </a:xfrm>
              <a:custGeom>
                <a:avLst/>
                <a:gdLst>
                  <a:gd name="T0" fmla="*/ 4 w 7"/>
                  <a:gd name="T1" fmla="*/ 7 h 14"/>
                  <a:gd name="T2" fmla="*/ 6 w 7"/>
                  <a:gd name="T3" fmla="*/ 7 h 14"/>
                  <a:gd name="T4" fmla="*/ 7 w 7"/>
                  <a:gd name="T5" fmla="*/ 14 h 14"/>
                  <a:gd name="T6" fmla="*/ 7 w 7"/>
                  <a:gd name="T7" fmla="*/ 14 h 14"/>
                  <a:gd name="T8" fmla="*/ 6 w 7"/>
                  <a:gd name="T9" fmla="*/ 13 h 14"/>
                  <a:gd name="T10" fmla="*/ 0 w 7"/>
                  <a:gd name="T11" fmla="*/ 5 h 14"/>
                  <a:gd name="T12" fmla="*/ 0 w 7"/>
                  <a:gd name="T13" fmla="*/ 2 h 14"/>
                  <a:gd name="T14" fmla="*/ 0 w 7"/>
                  <a:gd name="T15" fmla="*/ 0 h 14"/>
                  <a:gd name="T16" fmla="*/ 4 w 7"/>
                  <a:gd name="T17" fmla="*/ 2 h 14"/>
                  <a:gd name="T18" fmla="*/ 4 w 7"/>
                  <a:gd name="T19"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4">
                    <a:moveTo>
                      <a:pt x="4" y="7"/>
                    </a:moveTo>
                    <a:lnTo>
                      <a:pt x="6" y="7"/>
                    </a:lnTo>
                    <a:lnTo>
                      <a:pt x="7" y="14"/>
                    </a:lnTo>
                    <a:lnTo>
                      <a:pt x="7" y="14"/>
                    </a:lnTo>
                    <a:lnTo>
                      <a:pt x="6" y="13"/>
                    </a:lnTo>
                    <a:lnTo>
                      <a:pt x="0" y="5"/>
                    </a:lnTo>
                    <a:lnTo>
                      <a:pt x="0" y="2"/>
                    </a:lnTo>
                    <a:lnTo>
                      <a:pt x="0" y="0"/>
                    </a:lnTo>
                    <a:lnTo>
                      <a:pt x="4" y="2"/>
                    </a:lnTo>
                    <a:lnTo>
                      <a:pt x="4"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17" name="Freeform 2267"/>
              <p:cNvSpPr>
                <a:spLocks/>
              </p:cNvSpPr>
              <p:nvPr/>
            </p:nvSpPr>
            <p:spPr bwMode="auto">
              <a:xfrm>
                <a:off x="591" y="1650"/>
                <a:ext cx="4" cy="9"/>
              </a:xfrm>
              <a:custGeom>
                <a:avLst/>
                <a:gdLst>
                  <a:gd name="T0" fmla="*/ 0 w 4"/>
                  <a:gd name="T1" fmla="*/ 0 h 9"/>
                  <a:gd name="T2" fmla="*/ 4 w 4"/>
                  <a:gd name="T3" fmla="*/ 4 h 9"/>
                  <a:gd name="T4" fmla="*/ 4 w 4"/>
                  <a:gd name="T5" fmla="*/ 7 h 9"/>
                  <a:gd name="T6" fmla="*/ 2 w 4"/>
                  <a:gd name="T7" fmla="*/ 9 h 9"/>
                  <a:gd name="T8" fmla="*/ 0 w 4"/>
                  <a:gd name="T9" fmla="*/ 6 h 9"/>
                  <a:gd name="T10" fmla="*/ 0 w 4"/>
                  <a:gd name="T11" fmla="*/ 4 h 9"/>
                  <a:gd name="T12" fmla="*/ 0 w 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0" y="0"/>
                    </a:moveTo>
                    <a:lnTo>
                      <a:pt x="4" y="4"/>
                    </a:lnTo>
                    <a:lnTo>
                      <a:pt x="4" y="7"/>
                    </a:lnTo>
                    <a:lnTo>
                      <a:pt x="2" y="9"/>
                    </a:lnTo>
                    <a:lnTo>
                      <a:pt x="0" y="6"/>
                    </a:lnTo>
                    <a:lnTo>
                      <a:pt x="0" y="4"/>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18" name="Freeform 2268"/>
              <p:cNvSpPr>
                <a:spLocks/>
              </p:cNvSpPr>
              <p:nvPr/>
            </p:nvSpPr>
            <p:spPr bwMode="auto">
              <a:xfrm>
                <a:off x="591" y="1650"/>
                <a:ext cx="4" cy="9"/>
              </a:xfrm>
              <a:custGeom>
                <a:avLst/>
                <a:gdLst>
                  <a:gd name="T0" fmla="*/ 0 w 4"/>
                  <a:gd name="T1" fmla="*/ 0 h 9"/>
                  <a:gd name="T2" fmla="*/ 4 w 4"/>
                  <a:gd name="T3" fmla="*/ 4 h 9"/>
                  <a:gd name="T4" fmla="*/ 4 w 4"/>
                  <a:gd name="T5" fmla="*/ 7 h 9"/>
                  <a:gd name="T6" fmla="*/ 2 w 4"/>
                  <a:gd name="T7" fmla="*/ 9 h 9"/>
                  <a:gd name="T8" fmla="*/ 0 w 4"/>
                  <a:gd name="T9" fmla="*/ 6 h 9"/>
                  <a:gd name="T10" fmla="*/ 0 w 4"/>
                  <a:gd name="T11" fmla="*/ 4 h 9"/>
                  <a:gd name="T12" fmla="*/ 0 w 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4" h="9">
                    <a:moveTo>
                      <a:pt x="0" y="0"/>
                    </a:moveTo>
                    <a:lnTo>
                      <a:pt x="4" y="4"/>
                    </a:lnTo>
                    <a:lnTo>
                      <a:pt x="4" y="7"/>
                    </a:lnTo>
                    <a:lnTo>
                      <a:pt x="2" y="9"/>
                    </a:lnTo>
                    <a:lnTo>
                      <a:pt x="0" y="6"/>
                    </a:lnTo>
                    <a:lnTo>
                      <a:pt x="0" y="4"/>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19" name="Freeform 2269"/>
              <p:cNvSpPr>
                <a:spLocks/>
              </p:cNvSpPr>
              <p:nvPr/>
            </p:nvSpPr>
            <p:spPr bwMode="auto">
              <a:xfrm>
                <a:off x="1593" y="1927"/>
                <a:ext cx="3" cy="4"/>
              </a:xfrm>
              <a:custGeom>
                <a:avLst/>
                <a:gdLst>
                  <a:gd name="T0" fmla="*/ 0 w 3"/>
                  <a:gd name="T1" fmla="*/ 2 h 4"/>
                  <a:gd name="T2" fmla="*/ 1 w 3"/>
                  <a:gd name="T3" fmla="*/ 4 h 4"/>
                  <a:gd name="T4" fmla="*/ 3 w 3"/>
                  <a:gd name="T5" fmla="*/ 4 h 4"/>
                  <a:gd name="T6" fmla="*/ 3 w 3"/>
                  <a:gd name="T7" fmla="*/ 2 h 4"/>
                  <a:gd name="T8" fmla="*/ 1 w 3"/>
                  <a:gd name="T9" fmla="*/ 2 h 4"/>
                  <a:gd name="T10" fmla="*/ 1 w 3"/>
                  <a:gd name="T11" fmla="*/ 0 h 4"/>
                  <a:gd name="T12" fmla="*/ 1 w 3"/>
                  <a:gd name="T13" fmla="*/ 0 h 4"/>
                  <a:gd name="T14" fmla="*/ 0 w 3"/>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2"/>
                    </a:moveTo>
                    <a:lnTo>
                      <a:pt x="1" y="4"/>
                    </a:lnTo>
                    <a:lnTo>
                      <a:pt x="3" y="4"/>
                    </a:lnTo>
                    <a:lnTo>
                      <a:pt x="3" y="2"/>
                    </a:lnTo>
                    <a:lnTo>
                      <a:pt x="1" y="2"/>
                    </a:lnTo>
                    <a:lnTo>
                      <a:pt x="1" y="0"/>
                    </a:lnTo>
                    <a:lnTo>
                      <a:pt x="1" y="0"/>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20" name="Freeform 2270"/>
              <p:cNvSpPr>
                <a:spLocks/>
              </p:cNvSpPr>
              <p:nvPr/>
            </p:nvSpPr>
            <p:spPr bwMode="auto">
              <a:xfrm>
                <a:off x="1593" y="1927"/>
                <a:ext cx="3" cy="4"/>
              </a:xfrm>
              <a:custGeom>
                <a:avLst/>
                <a:gdLst>
                  <a:gd name="T0" fmla="*/ 0 w 3"/>
                  <a:gd name="T1" fmla="*/ 2 h 4"/>
                  <a:gd name="T2" fmla="*/ 1 w 3"/>
                  <a:gd name="T3" fmla="*/ 4 h 4"/>
                  <a:gd name="T4" fmla="*/ 3 w 3"/>
                  <a:gd name="T5" fmla="*/ 4 h 4"/>
                  <a:gd name="T6" fmla="*/ 3 w 3"/>
                  <a:gd name="T7" fmla="*/ 2 h 4"/>
                  <a:gd name="T8" fmla="*/ 1 w 3"/>
                  <a:gd name="T9" fmla="*/ 2 h 4"/>
                  <a:gd name="T10" fmla="*/ 1 w 3"/>
                  <a:gd name="T11" fmla="*/ 0 h 4"/>
                  <a:gd name="T12" fmla="*/ 1 w 3"/>
                  <a:gd name="T13" fmla="*/ 0 h 4"/>
                  <a:gd name="T14" fmla="*/ 0 w 3"/>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2"/>
                    </a:moveTo>
                    <a:lnTo>
                      <a:pt x="1" y="4"/>
                    </a:lnTo>
                    <a:lnTo>
                      <a:pt x="3" y="4"/>
                    </a:lnTo>
                    <a:lnTo>
                      <a:pt x="3" y="2"/>
                    </a:lnTo>
                    <a:lnTo>
                      <a:pt x="1" y="2"/>
                    </a:lnTo>
                    <a:lnTo>
                      <a:pt x="1" y="0"/>
                    </a:lnTo>
                    <a:lnTo>
                      <a:pt x="1" y="0"/>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21" name="Freeform 2271"/>
              <p:cNvSpPr>
                <a:spLocks/>
              </p:cNvSpPr>
              <p:nvPr/>
            </p:nvSpPr>
            <p:spPr bwMode="auto">
              <a:xfrm>
                <a:off x="1596" y="1925"/>
                <a:ext cx="2" cy="2"/>
              </a:xfrm>
              <a:custGeom>
                <a:avLst/>
                <a:gdLst>
                  <a:gd name="T0" fmla="*/ 0 w 2"/>
                  <a:gd name="T1" fmla="*/ 2 h 2"/>
                  <a:gd name="T2" fmla="*/ 2 w 2"/>
                  <a:gd name="T3" fmla="*/ 2 h 2"/>
                  <a:gd name="T4" fmla="*/ 2 w 2"/>
                  <a:gd name="T5" fmla="*/ 2 h 2"/>
                  <a:gd name="T6" fmla="*/ 2 w 2"/>
                  <a:gd name="T7" fmla="*/ 0 h 2"/>
                  <a:gd name="T8" fmla="*/ 0 w 2"/>
                  <a:gd name="T9" fmla="*/ 0 h 2"/>
                  <a:gd name="T10" fmla="*/ 0 w 2"/>
                  <a:gd name="T11" fmla="*/ 0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lnTo>
                      <a:pt x="2" y="2"/>
                    </a:lnTo>
                    <a:lnTo>
                      <a:pt x="2" y="2"/>
                    </a:lnTo>
                    <a:lnTo>
                      <a:pt x="2" y="0"/>
                    </a:lnTo>
                    <a:lnTo>
                      <a:pt x="0" y="0"/>
                    </a:lnTo>
                    <a:lnTo>
                      <a:pt x="0" y="0"/>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22" name="Freeform 2272"/>
              <p:cNvSpPr>
                <a:spLocks/>
              </p:cNvSpPr>
              <p:nvPr/>
            </p:nvSpPr>
            <p:spPr bwMode="auto">
              <a:xfrm>
                <a:off x="1596" y="1925"/>
                <a:ext cx="2" cy="2"/>
              </a:xfrm>
              <a:custGeom>
                <a:avLst/>
                <a:gdLst>
                  <a:gd name="T0" fmla="*/ 0 w 2"/>
                  <a:gd name="T1" fmla="*/ 2 h 2"/>
                  <a:gd name="T2" fmla="*/ 2 w 2"/>
                  <a:gd name="T3" fmla="*/ 2 h 2"/>
                  <a:gd name="T4" fmla="*/ 2 w 2"/>
                  <a:gd name="T5" fmla="*/ 2 h 2"/>
                  <a:gd name="T6" fmla="*/ 2 w 2"/>
                  <a:gd name="T7" fmla="*/ 0 h 2"/>
                  <a:gd name="T8" fmla="*/ 0 w 2"/>
                  <a:gd name="T9" fmla="*/ 0 h 2"/>
                  <a:gd name="T10" fmla="*/ 0 w 2"/>
                  <a:gd name="T11" fmla="*/ 0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lnTo>
                      <a:pt x="2" y="2"/>
                    </a:lnTo>
                    <a:lnTo>
                      <a:pt x="2" y="2"/>
                    </a:lnTo>
                    <a:lnTo>
                      <a:pt x="2" y="0"/>
                    </a:lnTo>
                    <a:lnTo>
                      <a:pt x="0" y="0"/>
                    </a:lnTo>
                    <a:lnTo>
                      <a:pt x="0" y="0"/>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23" name="Freeform 2273"/>
              <p:cNvSpPr>
                <a:spLocks/>
              </p:cNvSpPr>
              <p:nvPr/>
            </p:nvSpPr>
            <p:spPr bwMode="auto">
              <a:xfrm>
                <a:off x="1598" y="1929"/>
                <a:ext cx="0" cy="2"/>
              </a:xfrm>
              <a:custGeom>
                <a:avLst/>
                <a:gdLst>
                  <a:gd name="T0" fmla="*/ 0 h 2"/>
                  <a:gd name="T1" fmla="*/ 2 h 2"/>
                  <a:gd name="T2" fmla="*/ 2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lnTo>
                      <a:pt x="0" y="2"/>
                    </a:lnTo>
                    <a:lnTo>
                      <a:pt x="0" y="2"/>
                    </a:lnTo>
                    <a:lnTo>
                      <a:pt x="0" y="0"/>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24" name="Freeform 2274"/>
              <p:cNvSpPr>
                <a:spLocks/>
              </p:cNvSpPr>
              <p:nvPr/>
            </p:nvSpPr>
            <p:spPr bwMode="auto">
              <a:xfrm>
                <a:off x="1598" y="1929"/>
                <a:ext cx="0" cy="2"/>
              </a:xfrm>
              <a:custGeom>
                <a:avLst/>
                <a:gdLst>
                  <a:gd name="T0" fmla="*/ 0 h 2"/>
                  <a:gd name="T1" fmla="*/ 2 h 2"/>
                  <a:gd name="T2" fmla="*/ 2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lnTo>
                      <a:pt x="0" y="2"/>
                    </a:lnTo>
                    <a:lnTo>
                      <a:pt x="0" y="2"/>
                    </a:lnTo>
                    <a:lnTo>
                      <a:pt x="0" y="0"/>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25" name="Freeform 2275"/>
              <p:cNvSpPr>
                <a:spLocks/>
              </p:cNvSpPr>
              <p:nvPr/>
            </p:nvSpPr>
            <p:spPr bwMode="auto">
              <a:xfrm>
                <a:off x="484" y="1518"/>
                <a:ext cx="132" cy="147"/>
              </a:xfrm>
              <a:custGeom>
                <a:avLst/>
                <a:gdLst>
                  <a:gd name="T0" fmla="*/ 11 w 132"/>
                  <a:gd name="T1" fmla="*/ 25 h 147"/>
                  <a:gd name="T2" fmla="*/ 25 w 132"/>
                  <a:gd name="T3" fmla="*/ 20 h 147"/>
                  <a:gd name="T4" fmla="*/ 28 w 132"/>
                  <a:gd name="T5" fmla="*/ 13 h 147"/>
                  <a:gd name="T6" fmla="*/ 37 w 132"/>
                  <a:gd name="T7" fmla="*/ 6 h 147"/>
                  <a:gd name="T8" fmla="*/ 50 w 132"/>
                  <a:gd name="T9" fmla="*/ 7 h 147"/>
                  <a:gd name="T10" fmla="*/ 61 w 132"/>
                  <a:gd name="T11" fmla="*/ 22 h 147"/>
                  <a:gd name="T12" fmla="*/ 68 w 132"/>
                  <a:gd name="T13" fmla="*/ 31 h 147"/>
                  <a:gd name="T14" fmla="*/ 94 w 132"/>
                  <a:gd name="T15" fmla="*/ 79 h 147"/>
                  <a:gd name="T16" fmla="*/ 98 w 132"/>
                  <a:gd name="T17" fmla="*/ 84 h 147"/>
                  <a:gd name="T18" fmla="*/ 116 w 132"/>
                  <a:gd name="T19" fmla="*/ 102 h 147"/>
                  <a:gd name="T20" fmla="*/ 132 w 132"/>
                  <a:gd name="T21" fmla="*/ 129 h 147"/>
                  <a:gd name="T22" fmla="*/ 132 w 132"/>
                  <a:gd name="T23" fmla="*/ 138 h 147"/>
                  <a:gd name="T24" fmla="*/ 123 w 132"/>
                  <a:gd name="T25" fmla="*/ 145 h 147"/>
                  <a:gd name="T26" fmla="*/ 119 w 132"/>
                  <a:gd name="T27" fmla="*/ 147 h 147"/>
                  <a:gd name="T28" fmla="*/ 119 w 132"/>
                  <a:gd name="T29" fmla="*/ 141 h 147"/>
                  <a:gd name="T30" fmla="*/ 123 w 132"/>
                  <a:gd name="T31" fmla="*/ 138 h 147"/>
                  <a:gd name="T32" fmla="*/ 119 w 132"/>
                  <a:gd name="T33" fmla="*/ 132 h 147"/>
                  <a:gd name="T34" fmla="*/ 118 w 132"/>
                  <a:gd name="T35" fmla="*/ 122 h 147"/>
                  <a:gd name="T36" fmla="*/ 114 w 132"/>
                  <a:gd name="T37" fmla="*/ 113 h 147"/>
                  <a:gd name="T38" fmla="*/ 111 w 132"/>
                  <a:gd name="T39" fmla="*/ 113 h 147"/>
                  <a:gd name="T40" fmla="*/ 105 w 132"/>
                  <a:gd name="T41" fmla="*/ 116 h 147"/>
                  <a:gd name="T42" fmla="*/ 103 w 132"/>
                  <a:gd name="T43" fmla="*/ 120 h 147"/>
                  <a:gd name="T44" fmla="*/ 100 w 132"/>
                  <a:gd name="T45" fmla="*/ 125 h 147"/>
                  <a:gd name="T46" fmla="*/ 96 w 132"/>
                  <a:gd name="T47" fmla="*/ 120 h 147"/>
                  <a:gd name="T48" fmla="*/ 102 w 132"/>
                  <a:gd name="T49" fmla="*/ 109 h 147"/>
                  <a:gd name="T50" fmla="*/ 102 w 132"/>
                  <a:gd name="T51" fmla="*/ 104 h 147"/>
                  <a:gd name="T52" fmla="*/ 96 w 132"/>
                  <a:gd name="T53" fmla="*/ 93 h 147"/>
                  <a:gd name="T54" fmla="*/ 91 w 132"/>
                  <a:gd name="T55" fmla="*/ 89 h 147"/>
                  <a:gd name="T56" fmla="*/ 87 w 132"/>
                  <a:gd name="T57" fmla="*/ 86 h 147"/>
                  <a:gd name="T58" fmla="*/ 86 w 132"/>
                  <a:gd name="T59" fmla="*/ 81 h 147"/>
                  <a:gd name="T60" fmla="*/ 82 w 132"/>
                  <a:gd name="T61" fmla="*/ 81 h 147"/>
                  <a:gd name="T62" fmla="*/ 78 w 132"/>
                  <a:gd name="T63" fmla="*/ 81 h 147"/>
                  <a:gd name="T64" fmla="*/ 80 w 132"/>
                  <a:gd name="T65" fmla="*/ 75 h 147"/>
                  <a:gd name="T66" fmla="*/ 77 w 132"/>
                  <a:gd name="T67" fmla="*/ 73 h 147"/>
                  <a:gd name="T68" fmla="*/ 77 w 132"/>
                  <a:gd name="T69" fmla="*/ 68 h 147"/>
                  <a:gd name="T70" fmla="*/ 73 w 132"/>
                  <a:gd name="T71" fmla="*/ 66 h 147"/>
                  <a:gd name="T72" fmla="*/ 84 w 132"/>
                  <a:gd name="T73" fmla="*/ 70 h 147"/>
                  <a:gd name="T74" fmla="*/ 80 w 132"/>
                  <a:gd name="T75" fmla="*/ 64 h 147"/>
                  <a:gd name="T76" fmla="*/ 77 w 132"/>
                  <a:gd name="T77" fmla="*/ 57 h 147"/>
                  <a:gd name="T78" fmla="*/ 75 w 132"/>
                  <a:gd name="T79" fmla="*/ 57 h 147"/>
                  <a:gd name="T80" fmla="*/ 71 w 132"/>
                  <a:gd name="T81" fmla="*/ 56 h 147"/>
                  <a:gd name="T82" fmla="*/ 73 w 132"/>
                  <a:gd name="T83" fmla="*/ 54 h 147"/>
                  <a:gd name="T84" fmla="*/ 71 w 132"/>
                  <a:gd name="T85" fmla="*/ 50 h 147"/>
                  <a:gd name="T86" fmla="*/ 66 w 132"/>
                  <a:gd name="T87" fmla="*/ 50 h 147"/>
                  <a:gd name="T88" fmla="*/ 64 w 132"/>
                  <a:gd name="T89" fmla="*/ 48 h 147"/>
                  <a:gd name="T90" fmla="*/ 52 w 132"/>
                  <a:gd name="T91" fmla="*/ 34 h 147"/>
                  <a:gd name="T92" fmla="*/ 43 w 132"/>
                  <a:gd name="T93" fmla="*/ 14 h 147"/>
                  <a:gd name="T94" fmla="*/ 50 w 132"/>
                  <a:gd name="T95" fmla="*/ 43 h 147"/>
                  <a:gd name="T96" fmla="*/ 43 w 132"/>
                  <a:gd name="T97" fmla="*/ 39 h 147"/>
                  <a:gd name="T98" fmla="*/ 37 w 132"/>
                  <a:gd name="T99" fmla="*/ 36 h 147"/>
                  <a:gd name="T100" fmla="*/ 36 w 132"/>
                  <a:gd name="T101" fmla="*/ 29 h 147"/>
                  <a:gd name="T102" fmla="*/ 30 w 132"/>
                  <a:gd name="T103" fmla="*/ 31 h 147"/>
                  <a:gd name="T104" fmla="*/ 25 w 132"/>
                  <a:gd name="T105" fmla="*/ 25 h 147"/>
                  <a:gd name="T106" fmla="*/ 21 w 132"/>
                  <a:gd name="T107" fmla="*/ 27 h 147"/>
                  <a:gd name="T108" fmla="*/ 25 w 132"/>
                  <a:gd name="T109" fmla="*/ 29 h 147"/>
                  <a:gd name="T110" fmla="*/ 28 w 132"/>
                  <a:gd name="T111" fmla="*/ 34 h 147"/>
                  <a:gd name="T112" fmla="*/ 34 w 132"/>
                  <a:gd name="T113" fmla="*/ 39 h 147"/>
                  <a:gd name="T114" fmla="*/ 28 w 132"/>
                  <a:gd name="T115" fmla="*/ 43 h 147"/>
                  <a:gd name="T116" fmla="*/ 20 w 132"/>
                  <a:gd name="T117" fmla="*/ 41 h 147"/>
                  <a:gd name="T118" fmla="*/ 11 w 132"/>
                  <a:gd name="T119" fmla="*/ 32 h 147"/>
                  <a:gd name="T120" fmla="*/ 0 w 132"/>
                  <a:gd name="T121" fmla="*/ 2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7">
                    <a:moveTo>
                      <a:pt x="2" y="13"/>
                    </a:moveTo>
                    <a:lnTo>
                      <a:pt x="7" y="16"/>
                    </a:lnTo>
                    <a:lnTo>
                      <a:pt x="11" y="25"/>
                    </a:lnTo>
                    <a:lnTo>
                      <a:pt x="11" y="25"/>
                    </a:lnTo>
                    <a:lnTo>
                      <a:pt x="12" y="27"/>
                    </a:lnTo>
                    <a:lnTo>
                      <a:pt x="16" y="25"/>
                    </a:lnTo>
                    <a:lnTo>
                      <a:pt x="20" y="22"/>
                    </a:lnTo>
                    <a:lnTo>
                      <a:pt x="25" y="20"/>
                    </a:lnTo>
                    <a:lnTo>
                      <a:pt x="27" y="16"/>
                    </a:lnTo>
                    <a:lnTo>
                      <a:pt x="27" y="14"/>
                    </a:lnTo>
                    <a:lnTo>
                      <a:pt x="27" y="13"/>
                    </a:lnTo>
                    <a:lnTo>
                      <a:pt x="28" y="13"/>
                    </a:lnTo>
                    <a:lnTo>
                      <a:pt x="30" y="11"/>
                    </a:lnTo>
                    <a:lnTo>
                      <a:pt x="30" y="7"/>
                    </a:lnTo>
                    <a:lnTo>
                      <a:pt x="32" y="6"/>
                    </a:lnTo>
                    <a:lnTo>
                      <a:pt x="37" y="6"/>
                    </a:lnTo>
                    <a:lnTo>
                      <a:pt x="45" y="0"/>
                    </a:lnTo>
                    <a:lnTo>
                      <a:pt x="45" y="0"/>
                    </a:lnTo>
                    <a:lnTo>
                      <a:pt x="46" y="2"/>
                    </a:lnTo>
                    <a:lnTo>
                      <a:pt x="50" y="7"/>
                    </a:lnTo>
                    <a:lnTo>
                      <a:pt x="50" y="9"/>
                    </a:lnTo>
                    <a:lnTo>
                      <a:pt x="52" y="9"/>
                    </a:lnTo>
                    <a:lnTo>
                      <a:pt x="57" y="18"/>
                    </a:lnTo>
                    <a:lnTo>
                      <a:pt x="61" y="22"/>
                    </a:lnTo>
                    <a:lnTo>
                      <a:pt x="61" y="25"/>
                    </a:lnTo>
                    <a:lnTo>
                      <a:pt x="61" y="27"/>
                    </a:lnTo>
                    <a:lnTo>
                      <a:pt x="62" y="29"/>
                    </a:lnTo>
                    <a:lnTo>
                      <a:pt x="68" y="31"/>
                    </a:lnTo>
                    <a:lnTo>
                      <a:pt x="87" y="66"/>
                    </a:lnTo>
                    <a:lnTo>
                      <a:pt x="87" y="66"/>
                    </a:lnTo>
                    <a:lnTo>
                      <a:pt x="89" y="72"/>
                    </a:lnTo>
                    <a:lnTo>
                      <a:pt x="94" y="79"/>
                    </a:lnTo>
                    <a:lnTo>
                      <a:pt x="94" y="79"/>
                    </a:lnTo>
                    <a:lnTo>
                      <a:pt x="94" y="81"/>
                    </a:lnTo>
                    <a:lnTo>
                      <a:pt x="94" y="82"/>
                    </a:lnTo>
                    <a:lnTo>
                      <a:pt x="98" y="84"/>
                    </a:lnTo>
                    <a:lnTo>
                      <a:pt x="100" y="93"/>
                    </a:lnTo>
                    <a:lnTo>
                      <a:pt x="103" y="97"/>
                    </a:lnTo>
                    <a:lnTo>
                      <a:pt x="105" y="100"/>
                    </a:lnTo>
                    <a:lnTo>
                      <a:pt x="116" y="102"/>
                    </a:lnTo>
                    <a:lnTo>
                      <a:pt x="125" y="111"/>
                    </a:lnTo>
                    <a:lnTo>
                      <a:pt x="130" y="111"/>
                    </a:lnTo>
                    <a:lnTo>
                      <a:pt x="132" y="114"/>
                    </a:lnTo>
                    <a:lnTo>
                      <a:pt x="132" y="129"/>
                    </a:lnTo>
                    <a:lnTo>
                      <a:pt x="132" y="134"/>
                    </a:lnTo>
                    <a:lnTo>
                      <a:pt x="132" y="136"/>
                    </a:lnTo>
                    <a:lnTo>
                      <a:pt x="132" y="138"/>
                    </a:lnTo>
                    <a:lnTo>
                      <a:pt x="132" y="138"/>
                    </a:lnTo>
                    <a:lnTo>
                      <a:pt x="130" y="139"/>
                    </a:lnTo>
                    <a:lnTo>
                      <a:pt x="128" y="139"/>
                    </a:lnTo>
                    <a:lnTo>
                      <a:pt x="125" y="145"/>
                    </a:lnTo>
                    <a:lnTo>
                      <a:pt x="123" y="145"/>
                    </a:lnTo>
                    <a:lnTo>
                      <a:pt x="121" y="145"/>
                    </a:lnTo>
                    <a:lnTo>
                      <a:pt x="121" y="147"/>
                    </a:lnTo>
                    <a:lnTo>
                      <a:pt x="119" y="145"/>
                    </a:lnTo>
                    <a:lnTo>
                      <a:pt x="119" y="147"/>
                    </a:lnTo>
                    <a:lnTo>
                      <a:pt x="118" y="147"/>
                    </a:lnTo>
                    <a:lnTo>
                      <a:pt x="118" y="141"/>
                    </a:lnTo>
                    <a:lnTo>
                      <a:pt x="119" y="139"/>
                    </a:lnTo>
                    <a:lnTo>
                      <a:pt x="119" y="141"/>
                    </a:lnTo>
                    <a:lnTo>
                      <a:pt x="121" y="139"/>
                    </a:lnTo>
                    <a:lnTo>
                      <a:pt x="121" y="139"/>
                    </a:lnTo>
                    <a:lnTo>
                      <a:pt x="123" y="138"/>
                    </a:lnTo>
                    <a:lnTo>
                      <a:pt x="123" y="138"/>
                    </a:lnTo>
                    <a:lnTo>
                      <a:pt x="123" y="132"/>
                    </a:lnTo>
                    <a:lnTo>
                      <a:pt x="121" y="132"/>
                    </a:lnTo>
                    <a:lnTo>
                      <a:pt x="119" y="132"/>
                    </a:lnTo>
                    <a:lnTo>
                      <a:pt x="119" y="132"/>
                    </a:lnTo>
                    <a:lnTo>
                      <a:pt x="119" y="132"/>
                    </a:lnTo>
                    <a:lnTo>
                      <a:pt x="119" y="125"/>
                    </a:lnTo>
                    <a:lnTo>
                      <a:pt x="118" y="123"/>
                    </a:lnTo>
                    <a:lnTo>
                      <a:pt x="118" y="122"/>
                    </a:lnTo>
                    <a:lnTo>
                      <a:pt x="116" y="116"/>
                    </a:lnTo>
                    <a:lnTo>
                      <a:pt x="114" y="114"/>
                    </a:lnTo>
                    <a:lnTo>
                      <a:pt x="114" y="114"/>
                    </a:lnTo>
                    <a:lnTo>
                      <a:pt x="114" y="113"/>
                    </a:lnTo>
                    <a:lnTo>
                      <a:pt x="116" y="111"/>
                    </a:lnTo>
                    <a:lnTo>
                      <a:pt x="114" y="109"/>
                    </a:lnTo>
                    <a:lnTo>
                      <a:pt x="112" y="109"/>
                    </a:lnTo>
                    <a:lnTo>
                      <a:pt x="111" y="113"/>
                    </a:lnTo>
                    <a:lnTo>
                      <a:pt x="111" y="113"/>
                    </a:lnTo>
                    <a:lnTo>
                      <a:pt x="109" y="114"/>
                    </a:lnTo>
                    <a:lnTo>
                      <a:pt x="107" y="114"/>
                    </a:lnTo>
                    <a:lnTo>
                      <a:pt x="105" y="116"/>
                    </a:lnTo>
                    <a:lnTo>
                      <a:pt x="103" y="116"/>
                    </a:lnTo>
                    <a:lnTo>
                      <a:pt x="103" y="118"/>
                    </a:lnTo>
                    <a:lnTo>
                      <a:pt x="103" y="120"/>
                    </a:lnTo>
                    <a:lnTo>
                      <a:pt x="103" y="120"/>
                    </a:lnTo>
                    <a:lnTo>
                      <a:pt x="103" y="122"/>
                    </a:lnTo>
                    <a:lnTo>
                      <a:pt x="102" y="123"/>
                    </a:lnTo>
                    <a:lnTo>
                      <a:pt x="102" y="123"/>
                    </a:lnTo>
                    <a:lnTo>
                      <a:pt x="100" y="125"/>
                    </a:lnTo>
                    <a:lnTo>
                      <a:pt x="100" y="127"/>
                    </a:lnTo>
                    <a:lnTo>
                      <a:pt x="96" y="123"/>
                    </a:lnTo>
                    <a:lnTo>
                      <a:pt x="96" y="122"/>
                    </a:lnTo>
                    <a:lnTo>
                      <a:pt x="96" y="120"/>
                    </a:lnTo>
                    <a:lnTo>
                      <a:pt x="98" y="120"/>
                    </a:lnTo>
                    <a:lnTo>
                      <a:pt x="100" y="118"/>
                    </a:lnTo>
                    <a:lnTo>
                      <a:pt x="102" y="113"/>
                    </a:lnTo>
                    <a:lnTo>
                      <a:pt x="102" y="109"/>
                    </a:lnTo>
                    <a:lnTo>
                      <a:pt x="102" y="107"/>
                    </a:lnTo>
                    <a:lnTo>
                      <a:pt x="107" y="107"/>
                    </a:lnTo>
                    <a:lnTo>
                      <a:pt x="107" y="107"/>
                    </a:lnTo>
                    <a:lnTo>
                      <a:pt x="102" y="104"/>
                    </a:lnTo>
                    <a:lnTo>
                      <a:pt x="100" y="102"/>
                    </a:lnTo>
                    <a:lnTo>
                      <a:pt x="98" y="102"/>
                    </a:lnTo>
                    <a:lnTo>
                      <a:pt x="96" y="98"/>
                    </a:lnTo>
                    <a:lnTo>
                      <a:pt x="96" y="93"/>
                    </a:lnTo>
                    <a:lnTo>
                      <a:pt x="93" y="93"/>
                    </a:lnTo>
                    <a:lnTo>
                      <a:pt x="93" y="91"/>
                    </a:lnTo>
                    <a:lnTo>
                      <a:pt x="93" y="89"/>
                    </a:lnTo>
                    <a:lnTo>
                      <a:pt x="91" y="89"/>
                    </a:lnTo>
                    <a:lnTo>
                      <a:pt x="87" y="89"/>
                    </a:lnTo>
                    <a:lnTo>
                      <a:pt x="84" y="84"/>
                    </a:lnTo>
                    <a:lnTo>
                      <a:pt x="84" y="82"/>
                    </a:lnTo>
                    <a:lnTo>
                      <a:pt x="87" y="86"/>
                    </a:lnTo>
                    <a:lnTo>
                      <a:pt x="89" y="88"/>
                    </a:lnTo>
                    <a:lnTo>
                      <a:pt x="87" y="84"/>
                    </a:lnTo>
                    <a:lnTo>
                      <a:pt x="87" y="81"/>
                    </a:lnTo>
                    <a:lnTo>
                      <a:pt x="86" y="81"/>
                    </a:lnTo>
                    <a:lnTo>
                      <a:pt x="84" y="82"/>
                    </a:lnTo>
                    <a:lnTo>
                      <a:pt x="84" y="82"/>
                    </a:lnTo>
                    <a:lnTo>
                      <a:pt x="82" y="81"/>
                    </a:lnTo>
                    <a:lnTo>
                      <a:pt x="82" y="81"/>
                    </a:lnTo>
                    <a:lnTo>
                      <a:pt x="82" y="79"/>
                    </a:lnTo>
                    <a:lnTo>
                      <a:pt x="80" y="79"/>
                    </a:lnTo>
                    <a:lnTo>
                      <a:pt x="80" y="81"/>
                    </a:lnTo>
                    <a:lnTo>
                      <a:pt x="78" y="81"/>
                    </a:lnTo>
                    <a:lnTo>
                      <a:pt x="77" y="79"/>
                    </a:lnTo>
                    <a:lnTo>
                      <a:pt x="77" y="77"/>
                    </a:lnTo>
                    <a:lnTo>
                      <a:pt x="77" y="75"/>
                    </a:lnTo>
                    <a:lnTo>
                      <a:pt x="80" y="75"/>
                    </a:lnTo>
                    <a:lnTo>
                      <a:pt x="82" y="73"/>
                    </a:lnTo>
                    <a:lnTo>
                      <a:pt x="78" y="73"/>
                    </a:lnTo>
                    <a:lnTo>
                      <a:pt x="77" y="73"/>
                    </a:lnTo>
                    <a:lnTo>
                      <a:pt x="77" y="73"/>
                    </a:lnTo>
                    <a:lnTo>
                      <a:pt x="78" y="72"/>
                    </a:lnTo>
                    <a:lnTo>
                      <a:pt x="77" y="72"/>
                    </a:lnTo>
                    <a:lnTo>
                      <a:pt x="77" y="70"/>
                    </a:lnTo>
                    <a:lnTo>
                      <a:pt x="77" y="68"/>
                    </a:lnTo>
                    <a:lnTo>
                      <a:pt x="78" y="68"/>
                    </a:lnTo>
                    <a:lnTo>
                      <a:pt x="77" y="66"/>
                    </a:lnTo>
                    <a:lnTo>
                      <a:pt x="75" y="68"/>
                    </a:lnTo>
                    <a:lnTo>
                      <a:pt x="73" y="66"/>
                    </a:lnTo>
                    <a:lnTo>
                      <a:pt x="75" y="64"/>
                    </a:lnTo>
                    <a:lnTo>
                      <a:pt x="80" y="66"/>
                    </a:lnTo>
                    <a:lnTo>
                      <a:pt x="82" y="70"/>
                    </a:lnTo>
                    <a:lnTo>
                      <a:pt x="84" y="70"/>
                    </a:lnTo>
                    <a:lnTo>
                      <a:pt x="84" y="70"/>
                    </a:lnTo>
                    <a:lnTo>
                      <a:pt x="82" y="68"/>
                    </a:lnTo>
                    <a:lnTo>
                      <a:pt x="82" y="64"/>
                    </a:lnTo>
                    <a:lnTo>
                      <a:pt x="80" y="64"/>
                    </a:lnTo>
                    <a:lnTo>
                      <a:pt x="80" y="64"/>
                    </a:lnTo>
                    <a:lnTo>
                      <a:pt x="77" y="61"/>
                    </a:lnTo>
                    <a:lnTo>
                      <a:pt x="75" y="59"/>
                    </a:lnTo>
                    <a:lnTo>
                      <a:pt x="77" y="57"/>
                    </a:lnTo>
                    <a:lnTo>
                      <a:pt x="80" y="57"/>
                    </a:lnTo>
                    <a:lnTo>
                      <a:pt x="80" y="57"/>
                    </a:lnTo>
                    <a:lnTo>
                      <a:pt x="78" y="57"/>
                    </a:lnTo>
                    <a:lnTo>
                      <a:pt x="75" y="57"/>
                    </a:lnTo>
                    <a:lnTo>
                      <a:pt x="73" y="59"/>
                    </a:lnTo>
                    <a:lnTo>
                      <a:pt x="73" y="61"/>
                    </a:lnTo>
                    <a:lnTo>
                      <a:pt x="71" y="57"/>
                    </a:lnTo>
                    <a:lnTo>
                      <a:pt x="71" y="56"/>
                    </a:lnTo>
                    <a:lnTo>
                      <a:pt x="73" y="56"/>
                    </a:lnTo>
                    <a:lnTo>
                      <a:pt x="77" y="52"/>
                    </a:lnTo>
                    <a:lnTo>
                      <a:pt x="75" y="52"/>
                    </a:lnTo>
                    <a:lnTo>
                      <a:pt x="73" y="54"/>
                    </a:lnTo>
                    <a:lnTo>
                      <a:pt x="73" y="52"/>
                    </a:lnTo>
                    <a:lnTo>
                      <a:pt x="75" y="48"/>
                    </a:lnTo>
                    <a:lnTo>
                      <a:pt x="73" y="48"/>
                    </a:lnTo>
                    <a:lnTo>
                      <a:pt x="71" y="50"/>
                    </a:lnTo>
                    <a:lnTo>
                      <a:pt x="71" y="52"/>
                    </a:lnTo>
                    <a:lnTo>
                      <a:pt x="70" y="54"/>
                    </a:lnTo>
                    <a:lnTo>
                      <a:pt x="68" y="54"/>
                    </a:lnTo>
                    <a:lnTo>
                      <a:pt x="66" y="50"/>
                    </a:lnTo>
                    <a:lnTo>
                      <a:pt x="66" y="48"/>
                    </a:lnTo>
                    <a:lnTo>
                      <a:pt x="66" y="47"/>
                    </a:lnTo>
                    <a:lnTo>
                      <a:pt x="64" y="47"/>
                    </a:lnTo>
                    <a:lnTo>
                      <a:pt x="64" y="48"/>
                    </a:lnTo>
                    <a:lnTo>
                      <a:pt x="59" y="43"/>
                    </a:lnTo>
                    <a:lnTo>
                      <a:pt x="55" y="43"/>
                    </a:lnTo>
                    <a:lnTo>
                      <a:pt x="52" y="36"/>
                    </a:lnTo>
                    <a:lnTo>
                      <a:pt x="52" y="34"/>
                    </a:lnTo>
                    <a:lnTo>
                      <a:pt x="52" y="31"/>
                    </a:lnTo>
                    <a:lnTo>
                      <a:pt x="50" y="31"/>
                    </a:lnTo>
                    <a:lnTo>
                      <a:pt x="45" y="11"/>
                    </a:lnTo>
                    <a:lnTo>
                      <a:pt x="43" y="14"/>
                    </a:lnTo>
                    <a:lnTo>
                      <a:pt x="45" y="18"/>
                    </a:lnTo>
                    <a:lnTo>
                      <a:pt x="45" y="20"/>
                    </a:lnTo>
                    <a:lnTo>
                      <a:pt x="43" y="18"/>
                    </a:lnTo>
                    <a:lnTo>
                      <a:pt x="50" y="43"/>
                    </a:lnTo>
                    <a:lnTo>
                      <a:pt x="48" y="48"/>
                    </a:lnTo>
                    <a:lnTo>
                      <a:pt x="46" y="47"/>
                    </a:lnTo>
                    <a:lnTo>
                      <a:pt x="45" y="41"/>
                    </a:lnTo>
                    <a:lnTo>
                      <a:pt x="43" y="39"/>
                    </a:lnTo>
                    <a:lnTo>
                      <a:pt x="43" y="43"/>
                    </a:lnTo>
                    <a:lnTo>
                      <a:pt x="37" y="43"/>
                    </a:lnTo>
                    <a:lnTo>
                      <a:pt x="37" y="38"/>
                    </a:lnTo>
                    <a:lnTo>
                      <a:pt x="37" y="36"/>
                    </a:lnTo>
                    <a:lnTo>
                      <a:pt x="37" y="36"/>
                    </a:lnTo>
                    <a:lnTo>
                      <a:pt x="36" y="32"/>
                    </a:lnTo>
                    <a:lnTo>
                      <a:pt x="36" y="29"/>
                    </a:lnTo>
                    <a:lnTo>
                      <a:pt x="36" y="29"/>
                    </a:lnTo>
                    <a:lnTo>
                      <a:pt x="34" y="25"/>
                    </a:lnTo>
                    <a:lnTo>
                      <a:pt x="32" y="27"/>
                    </a:lnTo>
                    <a:lnTo>
                      <a:pt x="32" y="31"/>
                    </a:lnTo>
                    <a:lnTo>
                      <a:pt x="30" y="31"/>
                    </a:lnTo>
                    <a:lnTo>
                      <a:pt x="28" y="29"/>
                    </a:lnTo>
                    <a:lnTo>
                      <a:pt x="27" y="25"/>
                    </a:lnTo>
                    <a:lnTo>
                      <a:pt x="25" y="25"/>
                    </a:lnTo>
                    <a:lnTo>
                      <a:pt x="25" y="25"/>
                    </a:lnTo>
                    <a:lnTo>
                      <a:pt x="25" y="27"/>
                    </a:lnTo>
                    <a:lnTo>
                      <a:pt x="21" y="23"/>
                    </a:lnTo>
                    <a:lnTo>
                      <a:pt x="21" y="25"/>
                    </a:lnTo>
                    <a:lnTo>
                      <a:pt x="21" y="27"/>
                    </a:lnTo>
                    <a:lnTo>
                      <a:pt x="20" y="27"/>
                    </a:lnTo>
                    <a:lnTo>
                      <a:pt x="20" y="27"/>
                    </a:lnTo>
                    <a:lnTo>
                      <a:pt x="23" y="27"/>
                    </a:lnTo>
                    <a:lnTo>
                      <a:pt x="25" y="29"/>
                    </a:lnTo>
                    <a:lnTo>
                      <a:pt x="25" y="31"/>
                    </a:lnTo>
                    <a:lnTo>
                      <a:pt x="25" y="31"/>
                    </a:lnTo>
                    <a:lnTo>
                      <a:pt x="28" y="34"/>
                    </a:lnTo>
                    <a:lnTo>
                      <a:pt x="28" y="34"/>
                    </a:lnTo>
                    <a:lnTo>
                      <a:pt x="28" y="36"/>
                    </a:lnTo>
                    <a:lnTo>
                      <a:pt x="30" y="34"/>
                    </a:lnTo>
                    <a:lnTo>
                      <a:pt x="32" y="34"/>
                    </a:lnTo>
                    <a:lnTo>
                      <a:pt x="34" y="39"/>
                    </a:lnTo>
                    <a:lnTo>
                      <a:pt x="34" y="43"/>
                    </a:lnTo>
                    <a:lnTo>
                      <a:pt x="32" y="45"/>
                    </a:lnTo>
                    <a:lnTo>
                      <a:pt x="28" y="45"/>
                    </a:lnTo>
                    <a:lnTo>
                      <a:pt x="28" y="43"/>
                    </a:lnTo>
                    <a:lnTo>
                      <a:pt x="28" y="43"/>
                    </a:lnTo>
                    <a:lnTo>
                      <a:pt x="28" y="47"/>
                    </a:lnTo>
                    <a:lnTo>
                      <a:pt x="25" y="47"/>
                    </a:lnTo>
                    <a:lnTo>
                      <a:pt x="20" y="41"/>
                    </a:lnTo>
                    <a:lnTo>
                      <a:pt x="16" y="41"/>
                    </a:lnTo>
                    <a:lnTo>
                      <a:pt x="12" y="38"/>
                    </a:lnTo>
                    <a:lnTo>
                      <a:pt x="9" y="36"/>
                    </a:lnTo>
                    <a:lnTo>
                      <a:pt x="11" y="32"/>
                    </a:lnTo>
                    <a:lnTo>
                      <a:pt x="9" y="32"/>
                    </a:lnTo>
                    <a:lnTo>
                      <a:pt x="7" y="34"/>
                    </a:lnTo>
                    <a:lnTo>
                      <a:pt x="0" y="23"/>
                    </a:lnTo>
                    <a:lnTo>
                      <a:pt x="0" y="22"/>
                    </a:lnTo>
                    <a:lnTo>
                      <a:pt x="2" y="14"/>
                    </a:lnTo>
                    <a:lnTo>
                      <a:pt x="2" y="1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26" name="Freeform 2276"/>
              <p:cNvSpPr>
                <a:spLocks/>
              </p:cNvSpPr>
              <p:nvPr/>
            </p:nvSpPr>
            <p:spPr bwMode="auto">
              <a:xfrm>
                <a:off x="484" y="1518"/>
                <a:ext cx="132" cy="147"/>
              </a:xfrm>
              <a:custGeom>
                <a:avLst/>
                <a:gdLst>
                  <a:gd name="T0" fmla="*/ 11 w 132"/>
                  <a:gd name="T1" fmla="*/ 25 h 147"/>
                  <a:gd name="T2" fmla="*/ 25 w 132"/>
                  <a:gd name="T3" fmla="*/ 20 h 147"/>
                  <a:gd name="T4" fmla="*/ 28 w 132"/>
                  <a:gd name="T5" fmla="*/ 13 h 147"/>
                  <a:gd name="T6" fmla="*/ 37 w 132"/>
                  <a:gd name="T7" fmla="*/ 6 h 147"/>
                  <a:gd name="T8" fmla="*/ 50 w 132"/>
                  <a:gd name="T9" fmla="*/ 7 h 147"/>
                  <a:gd name="T10" fmla="*/ 61 w 132"/>
                  <a:gd name="T11" fmla="*/ 22 h 147"/>
                  <a:gd name="T12" fmla="*/ 68 w 132"/>
                  <a:gd name="T13" fmla="*/ 31 h 147"/>
                  <a:gd name="T14" fmla="*/ 94 w 132"/>
                  <a:gd name="T15" fmla="*/ 79 h 147"/>
                  <a:gd name="T16" fmla="*/ 98 w 132"/>
                  <a:gd name="T17" fmla="*/ 84 h 147"/>
                  <a:gd name="T18" fmla="*/ 116 w 132"/>
                  <a:gd name="T19" fmla="*/ 102 h 147"/>
                  <a:gd name="T20" fmla="*/ 132 w 132"/>
                  <a:gd name="T21" fmla="*/ 129 h 147"/>
                  <a:gd name="T22" fmla="*/ 132 w 132"/>
                  <a:gd name="T23" fmla="*/ 138 h 147"/>
                  <a:gd name="T24" fmla="*/ 123 w 132"/>
                  <a:gd name="T25" fmla="*/ 145 h 147"/>
                  <a:gd name="T26" fmla="*/ 119 w 132"/>
                  <a:gd name="T27" fmla="*/ 147 h 147"/>
                  <a:gd name="T28" fmla="*/ 119 w 132"/>
                  <a:gd name="T29" fmla="*/ 141 h 147"/>
                  <a:gd name="T30" fmla="*/ 123 w 132"/>
                  <a:gd name="T31" fmla="*/ 138 h 147"/>
                  <a:gd name="T32" fmla="*/ 119 w 132"/>
                  <a:gd name="T33" fmla="*/ 132 h 147"/>
                  <a:gd name="T34" fmla="*/ 118 w 132"/>
                  <a:gd name="T35" fmla="*/ 122 h 147"/>
                  <a:gd name="T36" fmla="*/ 114 w 132"/>
                  <a:gd name="T37" fmla="*/ 113 h 147"/>
                  <a:gd name="T38" fmla="*/ 111 w 132"/>
                  <a:gd name="T39" fmla="*/ 113 h 147"/>
                  <a:gd name="T40" fmla="*/ 105 w 132"/>
                  <a:gd name="T41" fmla="*/ 116 h 147"/>
                  <a:gd name="T42" fmla="*/ 103 w 132"/>
                  <a:gd name="T43" fmla="*/ 120 h 147"/>
                  <a:gd name="T44" fmla="*/ 100 w 132"/>
                  <a:gd name="T45" fmla="*/ 125 h 147"/>
                  <a:gd name="T46" fmla="*/ 96 w 132"/>
                  <a:gd name="T47" fmla="*/ 120 h 147"/>
                  <a:gd name="T48" fmla="*/ 102 w 132"/>
                  <a:gd name="T49" fmla="*/ 109 h 147"/>
                  <a:gd name="T50" fmla="*/ 102 w 132"/>
                  <a:gd name="T51" fmla="*/ 104 h 147"/>
                  <a:gd name="T52" fmla="*/ 96 w 132"/>
                  <a:gd name="T53" fmla="*/ 93 h 147"/>
                  <a:gd name="T54" fmla="*/ 91 w 132"/>
                  <a:gd name="T55" fmla="*/ 89 h 147"/>
                  <a:gd name="T56" fmla="*/ 87 w 132"/>
                  <a:gd name="T57" fmla="*/ 86 h 147"/>
                  <a:gd name="T58" fmla="*/ 86 w 132"/>
                  <a:gd name="T59" fmla="*/ 81 h 147"/>
                  <a:gd name="T60" fmla="*/ 82 w 132"/>
                  <a:gd name="T61" fmla="*/ 81 h 147"/>
                  <a:gd name="T62" fmla="*/ 78 w 132"/>
                  <a:gd name="T63" fmla="*/ 81 h 147"/>
                  <a:gd name="T64" fmla="*/ 80 w 132"/>
                  <a:gd name="T65" fmla="*/ 75 h 147"/>
                  <a:gd name="T66" fmla="*/ 77 w 132"/>
                  <a:gd name="T67" fmla="*/ 73 h 147"/>
                  <a:gd name="T68" fmla="*/ 77 w 132"/>
                  <a:gd name="T69" fmla="*/ 68 h 147"/>
                  <a:gd name="T70" fmla="*/ 73 w 132"/>
                  <a:gd name="T71" fmla="*/ 66 h 147"/>
                  <a:gd name="T72" fmla="*/ 84 w 132"/>
                  <a:gd name="T73" fmla="*/ 70 h 147"/>
                  <a:gd name="T74" fmla="*/ 80 w 132"/>
                  <a:gd name="T75" fmla="*/ 64 h 147"/>
                  <a:gd name="T76" fmla="*/ 77 w 132"/>
                  <a:gd name="T77" fmla="*/ 57 h 147"/>
                  <a:gd name="T78" fmla="*/ 75 w 132"/>
                  <a:gd name="T79" fmla="*/ 57 h 147"/>
                  <a:gd name="T80" fmla="*/ 71 w 132"/>
                  <a:gd name="T81" fmla="*/ 56 h 147"/>
                  <a:gd name="T82" fmla="*/ 73 w 132"/>
                  <a:gd name="T83" fmla="*/ 54 h 147"/>
                  <a:gd name="T84" fmla="*/ 71 w 132"/>
                  <a:gd name="T85" fmla="*/ 50 h 147"/>
                  <a:gd name="T86" fmla="*/ 66 w 132"/>
                  <a:gd name="T87" fmla="*/ 50 h 147"/>
                  <a:gd name="T88" fmla="*/ 64 w 132"/>
                  <a:gd name="T89" fmla="*/ 48 h 147"/>
                  <a:gd name="T90" fmla="*/ 52 w 132"/>
                  <a:gd name="T91" fmla="*/ 34 h 147"/>
                  <a:gd name="T92" fmla="*/ 43 w 132"/>
                  <a:gd name="T93" fmla="*/ 14 h 147"/>
                  <a:gd name="T94" fmla="*/ 50 w 132"/>
                  <a:gd name="T95" fmla="*/ 43 h 147"/>
                  <a:gd name="T96" fmla="*/ 43 w 132"/>
                  <a:gd name="T97" fmla="*/ 39 h 147"/>
                  <a:gd name="T98" fmla="*/ 37 w 132"/>
                  <a:gd name="T99" fmla="*/ 36 h 147"/>
                  <a:gd name="T100" fmla="*/ 36 w 132"/>
                  <a:gd name="T101" fmla="*/ 29 h 147"/>
                  <a:gd name="T102" fmla="*/ 30 w 132"/>
                  <a:gd name="T103" fmla="*/ 31 h 147"/>
                  <a:gd name="T104" fmla="*/ 25 w 132"/>
                  <a:gd name="T105" fmla="*/ 25 h 147"/>
                  <a:gd name="T106" fmla="*/ 21 w 132"/>
                  <a:gd name="T107" fmla="*/ 27 h 147"/>
                  <a:gd name="T108" fmla="*/ 25 w 132"/>
                  <a:gd name="T109" fmla="*/ 29 h 147"/>
                  <a:gd name="T110" fmla="*/ 28 w 132"/>
                  <a:gd name="T111" fmla="*/ 34 h 147"/>
                  <a:gd name="T112" fmla="*/ 34 w 132"/>
                  <a:gd name="T113" fmla="*/ 39 h 147"/>
                  <a:gd name="T114" fmla="*/ 28 w 132"/>
                  <a:gd name="T115" fmla="*/ 43 h 147"/>
                  <a:gd name="T116" fmla="*/ 20 w 132"/>
                  <a:gd name="T117" fmla="*/ 41 h 147"/>
                  <a:gd name="T118" fmla="*/ 11 w 132"/>
                  <a:gd name="T119" fmla="*/ 32 h 147"/>
                  <a:gd name="T120" fmla="*/ 0 w 132"/>
                  <a:gd name="T121" fmla="*/ 2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2" h="147">
                    <a:moveTo>
                      <a:pt x="2" y="13"/>
                    </a:moveTo>
                    <a:lnTo>
                      <a:pt x="7" y="16"/>
                    </a:lnTo>
                    <a:lnTo>
                      <a:pt x="11" y="25"/>
                    </a:lnTo>
                    <a:lnTo>
                      <a:pt x="11" y="25"/>
                    </a:lnTo>
                    <a:lnTo>
                      <a:pt x="12" y="27"/>
                    </a:lnTo>
                    <a:lnTo>
                      <a:pt x="16" y="25"/>
                    </a:lnTo>
                    <a:lnTo>
                      <a:pt x="20" y="22"/>
                    </a:lnTo>
                    <a:lnTo>
                      <a:pt x="25" y="20"/>
                    </a:lnTo>
                    <a:lnTo>
                      <a:pt x="27" y="16"/>
                    </a:lnTo>
                    <a:lnTo>
                      <a:pt x="27" y="14"/>
                    </a:lnTo>
                    <a:lnTo>
                      <a:pt x="27" y="13"/>
                    </a:lnTo>
                    <a:lnTo>
                      <a:pt x="28" y="13"/>
                    </a:lnTo>
                    <a:lnTo>
                      <a:pt x="30" y="11"/>
                    </a:lnTo>
                    <a:lnTo>
                      <a:pt x="30" y="7"/>
                    </a:lnTo>
                    <a:lnTo>
                      <a:pt x="32" y="6"/>
                    </a:lnTo>
                    <a:lnTo>
                      <a:pt x="37" y="6"/>
                    </a:lnTo>
                    <a:lnTo>
                      <a:pt x="45" y="0"/>
                    </a:lnTo>
                    <a:lnTo>
                      <a:pt x="45" y="0"/>
                    </a:lnTo>
                    <a:lnTo>
                      <a:pt x="46" y="2"/>
                    </a:lnTo>
                    <a:lnTo>
                      <a:pt x="50" y="7"/>
                    </a:lnTo>
                    <a:lnTo>
                      <a:pt x="50" y="9"/>
                    </a:lnTo>
                    <a:lnTo>
                      <a:pt x="52" y="9"/>
                    </a:lnTo>
                    <a:lnTo>
                      <a:pt x="57" y="18"/>
                    </a:lnTo>
                    <a:lnTo>
                      <a:pt x="61" y="22"/>
                    </a:lnTo>
                    <a:lnTo>
                      <a:pt x="61" y="25"/>
                    </a:lnTo>
                    <a:lnTo>
                      <a:pt x="61" y="27"/>
                    </a:lnTo>
                    <a:lnTo>
                      <a:pt x="62" y="29"/>
                    </a:lnTo>
                    <a:lnTo>
                      <a:pt x="68" y="31"/>
                    </a:lnTo>
                    <a:lnTo>
                      <a:pt x="87" y="66"/>
                    </a:lnTo>
                    <a:lnTo>
                      <a:pt x="87" y="66"/>
                    </a:lnTo>
                    <a:lnTo>
                      <a:pt x="89" y="72"/>
                    </a:lnTo>
                    <a:lnTo>
                      <a:pt x="94" y="79"/>
                    </a:lnTo>
                    <a:lnTo>
                      <a:pt x="94" y="79"/>
                    </a:lnTo>
                    <a:lnTo>
                      <a:pt x="94" y="81"/>
                    </a:lnTo>
                    <a:lnTo>
                      <a:pt x="94" y="82"/>
                    </a:lnTo>
                    <a:lnTo>
                      <a:pt x="98" y="84"/>
                    </a:lnTo>
                    <a:lnTo>
                      <a:pt x="100" y="93"/>
                    </a:lnTo>
                    <a:lnTo>
                      <a:pt x="103" y="97"/>
                    </a:lnTo>
                    <a:lnTo>
                      <a:pt x="105" y="100"/>
                    </a:lnTo>
                    <a:lnTo>
                      <a:pt x="116" y="102"/>
                    </a:lnTo>
                    <a:lnTo>
                      <a:pt x="125" y="111"/>
                    </a:lnTo>
                    <a:lnTo>
                      <a:pt x="130" y="111"/>
                    </a:lnTo>
                    <a:lnTo>
                      <a:pt x="132" y="114"/>
                    </a:lnTo>
                    <a:lnTo>
                      <a:pt x="132" y="129"/>
                    </a:lnTo>
                    <a:lnTo>
                      <a:pt x="132" y="134"/>
                    </a:lnTo>
                    <a:lnTo>
                      <a:pt x="132" y="136"/>
                    </a:lnTo>
                    <a:lnTo>
                      <a:pt x="132" y="138"/>
                    </a:lnTo>
                    <a:lnTo>
                      <a:pt x="132" y="138"/>
                    </a:lnTo>
                    <a:lnTo>
                      <a:pt x="130" y="139"/>
                    </a:lnTo>
                    <a:lnTo>
                      <a:pt x="128" y="139"/>
                    </a:lnTo>
                    <a:lnTo>
                      <a:pt x="125" y="145"/>
                    </a:lnTo>
                    <a:lnTo>
                      <a:pt x="123" y="145"/>
                    </a:lnTo>
                    <a:lnTo>
                      <a:pt x="121" y="145"/>
                    </a:lnTo>
                    <a:lnTo>
                      <a:pt x="121" y="147"/>
                    </a:lnTo>
                    <a:lnTo>
                      <a:pt x="119" y="145"/>
                    </a:lnTo>
                    <a:lnTo>
                      <a:pt x="119" y="147"/>
                    </a:lnTo>
                    <a:lnTo>
                      <a:pt x="118" y="147"/>
                    </a:lnTo>
                    <a:lnTo>
                      <a:pt x="118" y="141"/>
                    </a:lnTo>
                    <a:lnTo>
                      <a:pt x="119" y="139"/>
                    </a:lnTo>
                    <a:lnTo>
                      <a:pt x="119" y="141"/>
                    </a:lnTo>
                    <a:lnTo>
                      <a:pt x="121" y="139"/>
                    </a:lnTo>
                    <a:lnTo>
                      <a:pt x="121" y="139"/>
                    </a:lnTo>
                    <a:lnTo>
                      <a:pt x="123" y="138"/>
                    </a:lnTo>
                    <a:lnTo>
                      <a:pt x="123" y="138"/>
                    </a:lnTo>
                    <a:lnTo>
                      <a:pt x="123" y="132"/>
                    </a:lnTo>
                    <a:lnTo>
                      <a:pt x="121" y="132"/>
                    </a:lnTo>
                    <a:lnTo>
                      <a:pt x="119" y="132"/>
                    </a:lnTo>
                    <a:lnTo>
                      <a:pt x="119" y="132"/>
                    </a:lnTo>
                    <a:lnTo>
                      <a:pt x="119" y="132"/>
                    </a:lnTo>
                    <a:lnTo>
                      <a:pt x="119" y="125"/>
                    </a:lnTo>
                    <a:lnTo>
                      <a:pt x="118" y="123"/>
                    </a:lnTo>
                    <a:lnTo>
                      <a:pt x="118" y="122"/>
                    </a:lnTo>
                    <a:lnTo>
                      <a:pt x="116" y="116"/>
                    </a:lnTo>
                    <a:lnTo>
                      <a:pt x="114" y="114"/>
                    </a:lnTo>
                    <a:lnTo>
                      <a:pt x="114" y="114"/>
                    </a:lnTo>
                    <a:lnTo>
                      <a:pt x="114" y="113"/>
                    </a:lnTo>
                    <a:lnTo>
                      <a:pt x="116" y="111"/>
                    </a:lnTo>
                    <a:lnTo>
                      <a:pt x="114" y="109"/>
                    </a:lnTo>
                    <a:lnTo>
                      <a:pt x="112" y="109"/>
                    </a:lnTo>
                    <a:lnTo>
                      <a:pt x="111" y="113"/>
                    </a:lnTo>
                    <a:lnTo>
                      <a:pt x="111" y="113"/>
                    </a:lnTo>
                    <a:lnTo>
                      <a:pt x="109" y="114"/>
                    </a:lnTo>
                    <a:lnTo>
                      <a:pt x="107" y="114"/>
                    </a:lnTo>
                    <a:lnTo>
                      <a:pt x="105" y="116"/>
                    </a:lnTo>
                    <a:lnTo>
                      <a:pt x="103" y="116"/>
                    </a:lnTo>
                    <a:lnTo>
                      <a:pt x="103" y="118"/>
                    </a:lnTo>
                    <a:lnTo>
                      <a:pt x="103" y="120"/>
                    </a:lnTo>
                    <a:lnTo>
                      <a:pt x="103" y="120"/>
                    </a:lnTo>
                    <a:lnTo>
                      <a:pt x="103" y="122"/>
                    </a:lnTo>
                    <a:lnTo>
                      <a:pt x="102" y="123"/>
                    </a:lnTo>
                    <a:lnTo>
                      <a:pt x="102" y="123"/>
                    </a:lnTo>
                    <a:lnTo>
                      <a:pt x="100" y="125"/>
                    </a:lnTo>
                    <a:lnTo>
                      <a:pt x="100" y="127"/>
                    </a:lnTo>
                    <a:lnTo>
                      <a:pt x="96" y="123"/>
                    </a:lnTo>
                    <a:lnTo>
                      <a:pt x="96" y="122"/>
                    </a:lnTo>
                    <a:lnTo>
                      <a:pt x="96" y="120"/>
                    </a:lnTo>
                    <a:lnTo>
                      <a:pt x="98" y="120"/>
                    </a:lnTo>
                    <a:lnTo>
                      <a:pt x="100" y="118"/>
                    </a:lnTo>
                    <a:lnTo>
                      <a:pt x="102" y="113"/>
                    </a:lnTo>
                    <a:lnTo>
                      <a:pt x="102" y="109"/>
                    </a:lnTo>
                    <a:lnTo>
                      <a:pt x="102" y="107"/>
                    </a:lnTo>
                    <a:lnTo>
                      <a:pt x="107" y="107"/>
                    </a:lnTo>
                    <a:lnTo>
                      <a:pt x="107" y="107"/>
                    </a:lnTo>
                    <a:lnTo>
                      <a:pt x="102" y="104"/>
                    </a:lnTo>
                    <a:lnTo>
                      <a:pt x="100" y="102"/>
                    </a:lnTo>
                    <a:lnTo>
                      <a:pt x="98" y="102"/>
                    </a:lnTo>
                    <a:lnTo>
                      <a:pt x="96" y="98"/>
                    </a:lnTo>
                    <a:lnTo>
                      <a:pt x="96" y="93"/>
                    </a:lnTo>
                    <a:lnTo>
                      <a:pt x="93" y="93"/>
                    </a:lnTo>
                    <a:lnTo>
                      <a:pt x="93" y="91"/>
                    </a:lnTo>
                    <a:lnTo>
                      <a:pt x="93" y="89"/>
                    </a:lnTo>
                    <a:lnTo>
                      <a:pt x="91" y="89"/>
                    </a:lnTo>
                    <a:lnTo>
                      <a:pt x="87" y="89"/>
                    </a:lnTo>
                    <a:lnTo>
                      <a:pt x="84" y="84"/>
                    </a:lnTo>
                    <a:lnTo>
                      <a:pt x="84" y="82"/>
                    </a:lnTo>
                    <a:lnTo>
                      <a:pt x="87" y="86"/>
                    </a:lnTo>
                    <a:lnTo>
                      <a:pt x="89" y="88"/>
                    </a:lnTo>
                    <a:lnTo>
                      <a:pt x="87" y="84"/>
                    </a:lnTo>
                    <a:lnTo>
                      <a:pt x="87" y="81"/>
                    </a:lnTo>
                    <a:lnTo>
                      <a:pt x="86" y="81"/>
                    </a:lnTo>
                    <a:lnTo>
                      <a:pt x="84" y="82"/>
                    </a:lnTo>
                    <a:lnTo>
                      <a:pt x="84" y="82"/>
                    </a:lnTo>
                    <a:lnTo>
                      <a:pt x="82" y="81"/>
                    </a:lnTo>
                    <a:lnTo>
                      <a:pt x="82" y="81"/>
                    </a:lnTo>
                    <a:lnTo>
                      <a:pt x="82" y="79"/>
                    </a:lnTo>
                    <a:lnTo>
                      <a:pt x="80" y="79"/>
                    </a:lnTo>
                    <a:lnTo>
                      <a:pt x="80" y="81"/>
                    </a:lnTo>
                    <a:lnTo>
                      <a:pt x="78" y="81"/>
                    </a:lnTo>
                    <a:lnTo>
                      <a:pt x="77" y="79"/>
                    </a:lnTo>
                    <a:lnTo>
                      <a:pt x="77" y="77"/>
                    </a:lnTo>
                    <a:lnTo>
                      <a:pt x="77" y="75"/>
                    </a:lnTo>
                    <a:lnTo>
                      <a:pt x="80" y="75"/>
                    </a:lnTo>
                    <a:lnTo>
                      <a:pt x="82" y="73"/>
                    </a:lnTo>
                    <a:lnTo>
                      <a:pt x="78" y="73"/>
                    </a:lnTo>
                    <a:lnTo>
                      <a:pt x="77" y="73"/>
                    </a:lnTo>
                    <a:lnTo>
                      <a:pt x="77" y="73"/>
                    </a:lnTo>
                    <a:lnTo>
                      <a:pt x="78" y="72"/>
                    </a:lnTo>
                    <a:lnTo>
                      <a:pt x="77" y="72"/>
                    </a:lnTo>
                    <a:lnTo>
                      <a:pt x="77" y="70"/>
                    </a:lnTo>
                    <a:lnTo>
                      <a:pt x="77" y="68"/>
                    </a:lnTo>
                    <a:lnTo>
                      <a:pt x="78" y="68"/>
                    </a:lnTo>
                    <a:lnTo>
                      <a:pt x="77" y="66"/>
                    </a:lnTo>
                    <a:lnTo>
                      <a:pt x="75" y="68"/>
                    </a:lnTo>
                    <a:lnTo>
                      <a:pt x="73" y="66"/>
                    </a:lnTo>
                    <a:lnTo>
                      <a:pt x="75" y="64"/>
                    </a:lnTo>
                    <a:lnTo>
                      <a:pt x="80" y="66"/>
                    </a:lnTo>
                    <a:lnTo>
                      <a:pt x="82" y="70"/>
                    </a:lnTo>
                    <a:lnTo>
                      <a:pt x="84" y="70"/>
                    </a:lnTo>
                    <a:lnTo>
                      <a:pt x="84" y="70"/>
                    </a:lnTo>
                    <a:lnTo>
                      <a:pt x="82" y="68"/>
                    </a:lnTo>
                    <a:lnTo>
                      <a:pt x="82" y="64"/>
                    </a:lnTo>
                    <a:lnTo>
                      <a:pt x="80" y="64"/>
                    </a:lnTo>
                    <a:lnTo>
                      <a:pt x="80" y="64"/>
                    </a:lnTo>
                    <a:lnTo>
                      <a:pt x="77" y="61"/>
                    </a:lnTo>
                    <a:lnTo>
                      <a:pt x="75" y="59"/>
                    </a:lnTo>
                    <a:lnTo>
                      <a:pt x="77" y="57"/>
                    </a:lnTo>
                    <a:lnTo>
                      <a:pt x="80" y="57"/>
                    </a:lnTo>
                    <a:lnTo>
                      <a:pt x="80" y="57"/>
                    </a:lnTo>
                    <a:lnTo>
                      <a:pt x="78" y="57"/>
                    </a:lnTo>
                    <a:lnTo>
                      <a:pt x="75" y="57"/>
                    </a:lnTo>
                    <a:lnTo>
                      <a:pt x="73" y="59"/>
                    </a:lnTo>
                    <a:lnTo>
                      <a:pt x="73" y="61"/>
                    </a:lnTo>
                    <a:lnTo>
                      <a:pt x="71" y="57"/>
                    </a:lnTo>
                    <a:lnTo>
                      <a:pt x="71" y="56"/>
                    </a:lnTo>
                    <a:lnTo>
                      <a:pt x="73" y="56"/>
                    </a:lnTo>
                    <a:lnTo>
                      <a:pt x="77" y="52"/>
                    </a:lnTo>
                    <a:lnTo>
                      <a:pt x="75" y="52"/>
                    </a:lnTo>
                    <a:lnTo>
                      <a:pt x="73" y="54"/>
                    </a:lnTo>
                    <a:lnTo>
                      <a:pt x="73" y="52"/>
                    </a:lnTo>
                    <a:lnTo>
                      <a:pt x="75" y="48"/>
                    </a:lnTo>
                    <a:lnTo>
                      <a:pt x="73" y="48"/>
                    </a:lnTo>
                    <a:lnTo>
                      <a:pt x="71" y="50"/>
                    </a:lnTo>
                    <a:lnTo>
                      <a:pt x="71" y="52"/>
                    </a:lnTo>
                    <a:lnTo>
                      <a:pt x="70" y="54"/>
                    </a:lnTo>
                    <a:lnTo>
                      <a:pt x="68" y="54"/>
                    </a:lnTo>
                    <a:lnTo>
                      <a:pt x="66" y="50"/>
                    </a:lnTo>
                    <a:lnTo>
                      <a:pt x="66" y="48"/>
                    </a:lnTo>
                    <a:lnTo>
                      <a:pt x="66" y="47"/>
                    </a:lnTo>
                    <a:lnTo>
                      <a:pt x="64" y="47"/>
                    </a:lnTo>
                    <a:lnTo>
                      <a:pt x="64" y="48"/>
                    </a:lnTo>
                    <a:lnTo>
                      <a:pt x="59" y="43"/>
                    </a:lnTo>
                    <a:lnTo>
                      <a:pt x="55" y="43"/>
                    </a:lnTo>
                    <a:lnTo>
                      <a:pt x="52" y="36"/>
                    </a:lnTo>
                    <a:lnTo>
                      <a:pt x="52" y="34"/>
                    </a:lnTo>
                    <a:lnTo>
                      <a:pt x="52" y="31"/>
                    </a:lnTo>
                    <a:lnTo>
                      <a:pt x="50" y="31"/>
                    </a:lnTo>
                    <a:lnTo>
                      <a:pt x="45" y="11"/>
                    </a:lnTo>
                    <a:lnTo>
                      <a:pt x="43" y="14"/>
                    </a:lnTo>
                    <a:lnTo>
                      <a:pt x="45" y="18"/>
                    </a:lnTo>
                    <a:lnTo>
                      <a:pt x="45" y="20"/>
                    </a:lnTo>
                    <a:lnTo>
                      <a:pt x="43" y="18"/>
                    </a:lnTo>
                    <a:lnTo>
                      <a:pt x="50" y="43"/>
                    </a:lnTo>
                    <a:lnTo>
                      <a:pt x="48" y="48"/>
                    </a:lnTo>
                    <a:lnTo>
                      <a:pt x="46" y="47"/>
                    </a:lnTo>
                    <a:lnTo>
                      <a:pt x="45" y="41"/>
                    </a:lnTo>
                    <a:lnTo>
                      <a:pt x="43" y="39"/>
                    </a:lnTo>
                    <a:lnTo>
                      <a:pt x="43" y="43"/>
                    </a:lnTo>
                    <a:lnTo>
                      <a:pt x="37" y="43"/>
                    </a:lnTo>
                    <a:lnTo>
                      <a:pt x="37" y="38"/>
                    </a:lnTo>
                    <a:lnTo>
                      <a:pt x="37" y="36"/>
                    </a:lnTo>
                    <a:lnTo>
                      <a:pt x="37" y="36"/>
                    </a:lnTo>
                    <a:lnTo>
                      <a:pt x="36" y="32"/>
                    </a:lnTo>
                    <a:lnTo>
                      <a:pt x="36" y="29"/>
                    </a:lnTo>
                    <a:lnTo>
                      <a:pt x="36" y="29"/>
                    </a:lnTo>
                    <a:lnTo>
                      <a:pt x="34" y="25"/>
                    </a:lnTo>
                    <a:lnTo>
                      <a:pt x="32" y="27"/>
                    </a:lnTo>
                    <a:lnTo>
                      <a:pt x="32" y="31"/>
                    </a:lnTo>
                    <a:lnTo>
                      <a:pt x="30" y="31"/>
                    </a:lnTo>
                    <a:lnTo>
                      <a:pt x="28" y="29"/>
                    </a:lnTo>
                    <a:lnTo>
                      <a:pt x="27" y="25"/>
                    </a:lnTo>
                    <a:lnTo>
                      <a:pt x="25" y="25"/>
                    </a:lnTo>
                    <a:lnTo>
                      <a:pt x="25" y="25"/>
                    </a:lnTo>
                    <a:lnTo>
                      <a:pt x="25" y="27"/>
                    </a:lnTo>
                    <a:lnTo>
                      <a:pt x="21" y="23"/>
                    </a:lnTo>
                    <a:lnTo>
                      <a:pt x="21" y="25"/>
                    </a:lnTo>
                    <a:lnTo>
                      <a:pt x="21" y="27"/>
                    </a:lnTo>
                    <a:lnTo>
                      <a:pt x="20" y="27"/>
                    </a:lnTo>
                    <a:lnTo>
                      <a:pt x="20" y="27"/>
                    </a:lnTo>
                    <a:lnTo>
                      <a:pt x="23" y="27"/>
                    </a:lnTo>
                    <a:lnTo>
                      <a:pt x="25" y="29"/>
                    </a:lnTo>
                    <a:lnTo>
                      <a:pt x="25" y="31"/>
                    </a:lnTo>
                    <a:lnTo>
                      <a:pt x="25" y="31"/>
                    </a:lnTo>
                    <a:lnTo>
                      <a:pt x="28" y="34"/>
                    </a:lnTo>
                    <a:lnTo>
                      <a:pt x="28" y="34"/>
                    </a:lnTo>
                    <a:lnTo>
                      <a:pt x="28" y="36"/>
                    </a:lnTo>
                    <a:lnTo>
                      <a:pt x="30" y="34"/>
                    </a:lnTo>
                    <a:lnTo>
                      <a:pt x="32" y="34"/>
                    </a:lnTo>
                    <a:lnTo>
                      <a:pt x="34" y="39"/>
                    </a:lnTo>
                    <a:lnTo>
                      <a:pt x="34" y="43"/>
                    </a:lnTo>
                    <a:lnTo>
                      <a:pt x="32" y="45"/>
                    </a:lnTo>
                    <a:lnTo>
                      <a:pt x="28" y="45"/>
                    </a:lnTo>
                    <a:lnTo>
                      <a:pt x="28" y="43"/>
                    </a:lnTo>
                    <a:lnTo>
                      <a:pt x="28" y="43"/>
                    </a:lnTo>
                    <a:lnTo>
                      <a:pt x="28" y="47"/>
                    </a:lnTo>
                    <a:lnTo>
                      <a:pt x="25" y="47"/>
                    </a:lnTo>
                    <a:lnTo>
                      <a:pt x="20" y="41"/>
                    </a:lnTo>
                    <a:lnTo>
                      <a:pt x="16" y="41"/>
                    </a:lnTo>
                    <a:lnTo>
                      <a:pt x="12" y="38"/>
                    </a:lnTo>
                    <a:lnTo>
                      <a:pt x="9" y="36"/>
                    </a:lnTo>
                    <a:lnTo>
                      <a:pt x="11" y="32"/>
                    </a:lnTo>
                    <a:lnTo>
                      <a:pt x="9" y="32"/>
                    </a:lnTo>
                    <a:lnTo>
                      <a:pt x="7" y="34"/>
                    </a:lnTo>
                    <a:lnTo>
                      <a:pt x="0" y="23"/>
                    </a:lnTo>
                    <a:lnTo>
                      <a:pt x="0" y="22"/>
                    </a:lnTo>
                    <a:lnTo>
                      <a:pt x="2" y="14"/>
                    </a:lnTo>
                    <a:lnTo>
                      <a:pt x="2" y="1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27" name="Freeform 2277"/>
              <p:cNvSpPr>
                <a:spLocks/>
              </p:cNvSpPr>
              <p:nvPr/>
            </p:nvSpPr>
            <p:spPr bwMode="auto">
              <a:xfrm>
                <a:off x="5705" y="1382"/>
                <a:ext cx="51" cy="27"/>
              </a:xfrm>
              <a:custGeom>
                <a:avLst/>
                <a:gdLst>
                  <a:gd name="T0" fmla="*/ 34 w 51"/>
                  <a:gd name="T1" fmla="*/ 27 h 27"/>
                  <a:gd name="T2" fmla="*/ 34 w 51"/>
                  <a:gd name="T3" fmla="*/ 25 h 27"/>
                  <a:gd name="T4" fmla="*/ 34 w 51"/>
                  <a:gd name="T5" fmla="*/ 24 h 27"/>
                  <a:gd name="T6" fmla="*/ 26 w 51"/>
                  <a:gd name="T7" fmla="*/ 22 h 27"/>
                  <a:gd name="T8" fmla="*/ 19 w 51"/>
                  <a:gd name="T9" fmla="*/ 15 h 27"/>
                  <a:gd name="T10" fmla="*/ 16 w 51"/>
                  <a:gd name="T11" fmla="*/ 15 h 27"/>
                  <a:gd name="T12" fmla="*/ 12 w 51"/>
                  <a:gd name="T13" fmla="*/ 15 h 27"/>
                  <a:gd name="T14" fmla="*/ 9 w 51"/>
                  <a:gd name="T15" fmla="*/ 17 h 27"/>
                  <a:gd name="T16" fmla="*/ 7 w 51"/>
                  <a:gd name="T17" fmla="*/ 17 h 27"/>
                  <a:gd name="T18" fmla="*/ 5 w 51"/>
                  <a:gd name="T19" fmla="*/ 17 h 27"/>
                  <a:gd name="T20" fmla="*/ 3 w 51"/>
                  <a:gd name="T21" fmla="*/ 15 h 27"/>
                  <a:gd name="T22" fmla="*/ 1 w 51"/>
                  <a:gd name="T23" fmla="*/ 11 h 27"/>
                  <a:gd name="T24" fmla="*/ 0 w 51"/>
                  <a:gd name="T25" fmla="*/ 9 h 27"/>
                  <a:gd name="T26" fmla="*/ 3 w 51"/>
                  <a:gd name="T27" fmla="*/ 2 h 27"/>
                  <a:gd name="T28" fmla="*/ 1 w 51"/>
                  <a:gd name="T29" fmla="*/ 0 h 27"/>
                  <a:gd name="T30" fmla="*/ 5 w 51"/>
                  <a:gd name="T31" fmla="*/ 4 h 27"/>
                  <a:gd name="T32" fmla="*/ 12 w 51"/>
                  <a:gd name="T33" fmla="*/ 6 h 27"/>
                  <a:gd name="T34" fmla="*/ 16 w 51"/>
                  <a:gd name="T35" fmla="*/ 8 h 27"/>
                  <a:gd name="T36" fmla="*/ 18 w 51"/>
                  <a:gd name="T37" fmla="*/ 6 h 27"/>
                  <a:gd name="T38" fmla="*/ 19 w 51"/>
                  <a:gd name="T39" fmla="*/ 6 h 27"/>
                  <a:gd name="T40" fmla="*/ 21 w 51"/>
                  <a:gd name="T41" fmla="*/ 6 h 27"/>
                  <a:gd name="T42" fmla="*/ 21 w 51"/>
                  <a:gd name="T43" fmla="*/ 4 h 27"/>
                  <a:gd name="T44" fmla="*/ 23 w 51"/>
                  <a:gd name="T45" fmla="*/ 4 h 27"/>
                  <a:gd name="T46" fmla="*/ 26 w 51"/>
                  <a:gd name="T47" fmla="*/ 4 h 27"/>
                  <a:gd name="T48" fmla="*/ 28 w 51"/>
                  <a:gd name="T49" fmla="*/ 6 h 27"/>
                  <a:gd name="T50" fmla="*/ 30 w 51"/>
                  <a:gd name="T51" fmla="*/ 6 h 27"/>
                  <a:gd name="T52" fmla="*/ 30 w 51"/>
                  <a:gd name="T53" fmla="*/ 8 h 27"/>
                  <a:gd name="T54" fmla="*/ 30 w 51"/>
                  <a:gd name="T55" fmla="*/ 11 h 27"/>
                  <a:gd name="T56" fmla="*/ 37 w 51"/>
                  <a:gd name="T57" fmla="*/ 15 h 27"/>
                  <a:gd name="T58" fmla="*/ 39 w 51"/>
                  <a:gd name="T59" fmla="*/ 17 h 27"/>
                  <a:gd name="T60" fmla="*/ 43 w 51"/>
                  <a:gd name="T61" fmla="*/ 18 h 27"/>
                  <a:gd name="T62" fmla="*/ 44 w 51"/>
                  <a:gd name="T63" fmla="*/ 17 h 27"/>
                  <a:gd name="T64" fmla="*/ 48 w 51"/>
                  <a:gd name="T65" fmla="*/ 17 h 27"/>
                  <a:gd name="T66" fmla="*/ 50 w 51"/>
                  <a:gd name="T67" fmla="*/ 17 h 27"/>
                  <a:gd name="T68" fmla="*/ 51 w 51"/>
                  <a:gd name="T69" fmla="*/ 17 h 27"/>
                  <a:gd name="T70" fmla="*/ 51 w 51"/>
                  <a:gd name="T71" fmla="*/ 18 h 27"/>
                  <a:gd name="T72" fmla="*/ 51 w 51"/>
                  <a:gd name="T73" fmla="*/ 20 h 27"/>
                  <a:gd name="T74" fmla="*/ 50 w 51"/>
                  <a:gd name="T75" fmla="*/ 22 h 27"/>
                  <a:gd name="T76" fmla="*/ 48 w 51"/>
                  <a:gd name="T77" fmla="*/ 24 h 27"/>
                  <a:gd name="T78" fmla="*/ 44 w 51"/>
                  <a:gd name="T79" fmla="*/ 22 h 27"/>
                  <a:gd name="T80" fmla="*/ 41 w 51"/>
                  <a:gd name="T81" fmla="*/ 22 h 27"/>
                  <a:gd name="T82" fmla="*/ 39 w 51"/>
                  <a:gd name="T83" fmla="*/ 27 h 27"/>
                  <a:gd name="T84" fmla="*/ 34 w 51"/>
                  <a:gd name="T8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 h="27">
                    <a:moveTo>
                      <a:pt x="34" y="27"/>
                    </a:moveTo>
                    <a:lnTo>
                      <a:pt x="34" y="25"/>
                    </a:lnTo>
                    <a:lnTo>
                      <a:pt x="34" y="24"/>
                    </a:lnTo>
                    <a:lnTo>
                      <a:pt x="26" y="22"/>
                    </a:lnTo>
                    <a:lnTo>
                      <a:pt x="19" y="15"/>
                    </a:lnTo>
                    <a:lnTo>
                      <a:pt x="16" y="15"/>
                    </a:lnTo>
                    <a:lnTo>
                      <a:pt x="12" y="15"/>
                    </a:lnTo>
                    <a:lnTo>
                      <a:pt x="9" y="17"/>
                    </a:lnTo>
                    <a:lnTo>
                      <a:pt x="7" y="17"/>
                    </a:lnTo>
                    <a:lnTo>
                      <a:pt x="5" y="17"/>
                    </a:lnTo>
                    <a:lnTo>
                      <a:pt x="3" y="15"/>
                    </a:lnTo>
                    <a:lnTo>
                      <a:pt x="1" y="11"/>
                    </a:lnTo>
                    <a:lnTo>
                      <a:pt x="0" y="9"/>
                    </a:lnTo>
                    <a:lnTo>
                      <a:pt x="3" y="2"/>
                    </a:lnTo>
                    <a:lnTo>
                      <a:pt x="1" y="0"/>
                    </a:lnTo>
                    <a:lnTo>
                      <a:pt x="5" y="4"/>
                    </a:lnTo>
                    <a:lnTo>
                      <a:pt x="12" y="6"/>
                    </a:lnTo>
                    <a:lnTo>
                      <a:pt x="16" y="8"/>
                    </a:lnTo>
                    <a:lnTo>
                      <a:pt x="18" y="6"/>
                    </a:lnTo>
                    <a:lnTo>
                      <a:pt x="19" y="6"/>
                    </a:lnTo>
                    <a:lnTo>
                      <a:pt x="21" y="6"/>
                    </a:lnTo>
                    <a:lnTo>
                      <a:pt x="21" y="4"/>
                    </a:lnTo>
                    <a:lnTo>
                      <a:pt x="23" y="4"/>
                    </a:lnTo>
                    <a:lnTo>
                      <a:pt x="26" y="4"/>
                    </a:lnTo>
                    <a:lnTo>
                      <a:pt x="28" y="6"/>
                    </a:lnTo>
                    <a:lnTo>
                      <a:pt x="30" y="6"/>
                    </a:lnTo>
                    <a:lnTo>
                      <a:pt x="30" y="8"/>
                    </a:lnTo>
                    <a:lnTo>
                      <a:pt x="30" y="11"/>
                    </a:lnTo>
                    <a:lnTo>
                      <a:pt x="37" y="15"/>
                    </a:lnTo>
                    <a:lnTo>
                      <a:pt x="39" y="17"/>
                    </a:lnTo>
                    <a:lnTo>
                      <a:pt x="43" y="18"/>
                    </a:lnTo>
                    <a:lnTo>
                      <a:pt x="44" y="17"/>
                    </a:lnTo>
                    <a:lnTo>
                      <a:pt x="48" y="17"/>
                    </a:lnTo>
                    <a:lnTo>
                      <a:pt x="50" y="17"/>
                    </a:lnTo>
                    <a:lnTo>
                      <a:pt x="51" y="17"/>
                    </a:lnTo>
                    <a:lnTo>
                      <a:pt x="51" y="18"/>
                    </a:lnTo>
                    <a:lnTo>
                      <a:pt x="51" y="20"/>
                    </a:lnTo>
                    <a:lnTo>
                      <a:pt x="50" y="22"/>
                    </a:lnTo>
                    <a:lnTo>
                      <a:pt x="48" y="24"/>
                    </a:lnTo>
                    <a:lnTo>
                      <a:pt x="44" y="22"/>
                    </a:lnTo>
                    <a:lnTo>
                      <a:pt x="41" y="22"/>
                    </a:lnTo>
                    <a:lnTo>
                      <a:pt x="39" y="27"/>
                    </a:lnTo>
                    <a:lnTo>
                      <a:pt x="34" y="2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28" name="Freeform 2278"/>
              <p:cNvSpPr>
                <a:spLocks/>
              </p:cNvSpPr>
              <p:nvPr/>
            </p:nvSpPr>
            <p:spPr bwMode="auto">
              <a:xfrm>
                <a:off x="5705" y="1382"/>
                <a:ext cx="51" cy="27"/>
              </a:xfrm>
              <a:custGeom>
                <a:avLst/>
                <a:gdLst>
                  <a:gd name="T0" fmla="*/ 34 w 51"/>
                  <a:gd name="T1" fmla="*/ 27 h 27"/>
                  <a:gd name="T2" fmla="*/ 34 w 51"/>
                  <a:gd name="T3" fmla="*/ 25 h 27"/>
                  <a:gd name="T4" fmla="*/ 34 w 51"/>
                  <a:gd name="T5" fmla="*/ 24 h 27"/>
                  <a:gd name="T6" fmla="*/ 26 w 51"/>
                  <a:gd name="T7" fmla="*/ 22 h 27"/>
                  <a:gd name="T8" fmla="*/ 19 w 51"/>
                  <a:gd name="T9" fmla="*/ 15 h 27"/>
                  <a:gd name="T10" fmla="*/ 16 w 51"/>
                  <a:gd name="T11" fmla="*/ 15 h 27"/>
                  <a:gd name="T12" fmla="*/ 12 w 51"/>
                  <a:gd name="T13" fmla="*/ 15 h 27"/>
                  <a:gd name="T14" fmla="*/ 9 w 51"/>
                  <a:gd name="T15" fmla="*/ 17 h 27"/>
                  <a:gd name="T16" fmla="*/ 7 w 51"/>
                  <a:gd name="T17" fmla="*/ 17 h 27"/>
                  <a:gd name="T18" fmla="*/ 5 w 51"/>
                  <a:gd name="T19" fmla="*/ 17 h 27"/>
                  <a:gd name="T20" fmla="*/ 3 w 51"/>
                  <a:gd name="T21" fmla="*/ 15 h 27"/>
                  <a:gd name="T22" fmla="*/ 1 w 51"/>
                  <a:gd name="T23" fmla="*/ 11 h 27"/>
                  <a:gd name="T24" fmla="*/ 0 w 51"/>
                  <a:gd name="T25" fmla="*/ 9 h 27"/>
                  <a:gd name="T26" fmla="*/ 3 w 51"/>
                  <a:gd name="T27" fmla="*/ 2 h 27"/>
                  <a:gd name="T28" fmla="*/ 1 w 51"/>
                  <a:gd name="T29" fmla="*/ 0 h 27"/>
                  <a:gd name="T30" fmla="*/ 5 w 51"/>
                  <a:gd name="T31" fmla="*/ 4 h 27"/>
                  <a:gd name="T32" fmla="*/ 12 w 51"/>
                  <a:gd name="T33" fmla="*/ 6 h 27"/>
                  <a:gd name="T34" fmla="*/ 16 w 51"/>
                  <a:gd name="T35" fmla="*/ 8 h 27"/>
                  <a:gd name="T36" fmla="*/ 18 w 51"/>
                  <a:gd name="T37" fmla="*/ 6 h 27"/>
                  <a:gd name="T38" fmla="*/ 19 w 51"/>
                  <a:gd name="T39" fmla="*/ 6 h 27"/>
                  <a:gd name="T40" fmla="*/ 21 w 51"/>
                  <a:gd name="T41" fmla="*/ 6 h 27"/>
                  <a:gd name="T42" fmla="*/ 21 w 51"/>
                  <a:gd name="T43" fmla="*/ 4 h 27"/>
                  <a:gd name="T44" fmla="*/ 23 w 51"/>
                  <a:gd name="T45" fmla="*/ 4 h 27"/>
                  <a:gd name="T46" fmla="*/ 26 w 51"/>
                  <a:gd name="T47" fmla="*/ 4 h 27"/>
                  <a:gd name="T48" fmla="*/ 28 w 51"/>
                  <a:gd name="T49" fmla="*/ 6 h 27"/>
                  <a:gd name="T50" fmla="*/ 30 w 51"/>
                  <a:gd name="T51" fmla="*/ 6 h 27"/>
                  <a:gd name="T52" fmla="*/ 30 w 51"/>
                  <a:gd name="T53" fmla="*/ 8 h 27"/>
                  <a:gd name="T54" fmla="*/ 30 w 51"/>
                  <a:gd name="T55" fmla="*/ 11 h 27"/>
                  <a:gd name="T56" fmla="*/ 37 w 51"/>
                  <a:gd name="T57" fmla="*/ 15 h 27"/>
                  <a:gd name="T58" fmla="*/ 39 w 51"/>
                  <a:gd name="T59" fmla="*/ 17 h 27"/>
                  <a:gd name="T60" fmla="*/ 43 w 51"/>
                  <a:gd name="T61" fmla="*/ 18 h 27"/>
                  <a:gd name="T62" fmla="*/ 44 w 51"/>
                  <a:gd name="T63" fmla="*/ 17 h 27"/>
                  <a:gd name="T64" fmla="*/ 48 w 51"/>
                  <a:gd name="T65" fmla="*/ 17 h 27"/>
                  <a:gd name="T66" fmla="*/ 50 w 51"/>
                  <a:gd name="T67" fmla="*/ 17 h 27"/>
                  <a:gd name="T68" fmla="*/ 51 w 51"/>
                  <a:gd name="T69" fmla="*/ 17 h 27"/>
                  <a:gd name="T70" fmla="*/ 51 w 51"/>
                  <a:gd name="T71" fmla="*/ 18 h 27"/>
                  <a:gd name="T72" fmla="*/ 51 w 51"/>
                  <a:gd name="T73" fmla="*/ 20 h 27"/>
                  <a:gd name="T74" fmla="*/ 50 w 51"/>
                  <a:gd name="T75" fmla="*/ 22 h 27"/>
                  <a:gd name="T76" fmla="*/ 48 w 51"/>
                  <a:gd name="T77" fmla="*/ 24 h 27"/>
                  <a:gd name="T78" fmla="*/ 44 w 51"/>
                  <a:gd name="T79" fmla="*/ 22 h 27"/>
                  <a:gd name="T80" fmla="*/ 41 w 51"/>
                  <a:gd name="T81" fmla="*/ 22 h 27"/>
                  <a:gd name="T82" fmla="*/ 39 w 51"/>
                  <a:gd name="T83" fmla="*/ 27 h 27"/>
                  <a:gd name="T84" fmla="*/ 34 w 51"/>
                  <a:gd name="T8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 h="27">
                    <a:moveTo>
                      <a:pt x="34" y="27"/>
                    </a:moveTo>
                    <a:lnTo>
                      <a:pt x="34" y="25"/>
                    </a:lnTo>
                    <a:lnTo>
                      <a:pt x="34" y="24"/>
                    </a:lnTo>
                    <a:lnTo>
                      <a:pt x="26" y="22"/>
                    </a:lnTo>
                    <a:lnTo>
                      <a:pt x="19" y="15"/>
                    </a:lnTo>
                    <a:lnTo>
                      <a:pt x="16" y="15"/>
                    </a:lnTo>
                    <a:lnTo>
                      <a:pt x="12" y="15"/>
                    </a:lnTo>
                    <a:lnTo>
                      <a:pt x="9" y="17"/>
                    </a:lnTo>
                    <a:lnTo>
                      <a:pt x="7" y="17"/>
                    </a:lnTo>
                    <a:lnTo>
                      <a:pt x="5" y="17"/>
                    </a:lnTo>
                    <a:lnTo>
                      <a:pt x="3" y="15"/>
                    </a:lnTo>
                    <a:lnTo>
                      <a:pt x="1" y="11"/>
                    </a:lnTo>
                    <a:lnTo>
                      <a:pt x="0" y="9"/>
                    </a:lnTo>
                    <a:lnTo>
                      <a:pt x="3" y="2"/>
                    </a:lnTo>
                    <a:lnTo>
                      <a:pt x="1" y="0"/>
                    </a:lnTo>
                    <a:lnTo>
                      <a:pt x="5" y="4"/>
                    </a:lnTo>
                    <a:lnTo>
                      <a:pt x="12" y="6"/>
                    </a:lnTo>
                    <a:lnTo>
                      <a:pt x="16" y="8"/>
                    </a:lnTo>
                    <a:lnTo>
                      <a:pt x="18" y="6"/>
                    </a:lnTo>
                    <a:lnTo>
                      <a:pt x="19" y="6"/>
                    </a:lnTo>
                    <a:lnTo>
                      <a:pt x="21" y="6"/>
                    </a:lnTo>
                    <a:lnTo>
                      <a:pt x="21" y="4"/>
                    </a:lnTo>
                    <a:lnTo>
                      <a:pt x="23" y="4"/>
                    </a:lnTo>
                    <a:lnTo>
                      <a:pt x="26" y="4"/>
                    </a:lnTo>
                    <a:lnTo>
                      <a:pt x="28" y="6"/>
                    </a:lnTo>
                    <a:lnTo>
                      <a:pt x="30" y="6"/>
                    </a:lnTo>
                    <a:lnTo>
                      <a:pt x="30" y="8"/>
                    </a:lnTo>
                    <a:lnTo>
                      <a:pt x="30" y="11"/>
                    </a:lnTo>
                    <a:lnTo>
                      <a:pt x="37" y="15"/>
                    </a:lnTo>
                    <a:lnTo>
                      <a:pt x="39" y="17"/>
                    </a:lnTo>
                    <a:lnTo>
                      <a:pt x="43" y="18"/>
                    </a:lnTo>
                    <a:lnTo>
                      <a:pt x="44" y="17"/>
                    </a:lnTo>
                    <a:lnTo>
                      <a:pt x="48" y="17"/>
                    </a:lnTo>
                    <a:lnTo>
                      <a:pt x="50" y="17"/>
                    </a:lnTo>
                    <a:lnTo>
                      <a:pt x="51" y="17"/>
                    </a:lnTo>
                    <a:lnTo>
                      <a:pt x="51" y="18"/>
                    </a:lnTo>
                    <a:lnTo>
                      <a:pt x="51" y="20"/>
                    </a:lnTo>
                    <a:lnTo>
                      <a:pt x="50" y="22"/>
                    </a:lnTo>
                    <a:lnTo>
                      <a:pt x="48" y="24"/>
                    </a:lnTo>
                    <a:lnTo>
                      <a:pt x="44" y="22"/>
                    </a:lnTo>
                    <a:lnTo>
                      <a:pt x="41" y="22"/>
                    </a:lnTo>
                    <a:lnTo>
                      <a:pt x="39" y="27"/>
                    </a:lnTo>
                    <a:lnTo>
                      <a:pt x="34" y="2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29" name="Freeform 2279"/>
              <p:cNvSpPr>
                <a:spLocks/>
              </p:cNvSpPr>
              <p:nvPr/>
            </p:nvSpPr>
            <p:spPr bwMode="auto">
              <a:xfrm>
                <a:off x="5601" y="1741"/>
                <a:ext cx="11" cy="9"/>
              </a:xfrm>
              <a:custGeom>
                <a:avLst/>
                <a:gdLst>
                  <a:gd name="T0" fmla="*/ 0 w 11"/>
                  <a:gd name="T1" fmla="*/ 0 h 9"/>
                  <a:gd name="T2" fmla="*/ 0 w 11"/>
                  <a:gd name="T3" fmla="*/ 0 h 9"/>
                  <a:gd name="T4" fmla="*/ 0 w 11"/>
                  <a:gd name="T5" fmla="*/ 0 h 9"/>
                  <a:gd name="T6" fmla="*/ 4 w 11"/>
                  <a:gd name="T7" fmla="*/ 0 h 9"/>
                  <a:gd name="T8" fmla="*/ 5 w 11"/>
                  <a:gd name="T9" fmla="*/ 0 h 9"/>
                  <a:gd name="T10" fmla="*/ 5 w 11"/>
                  <a:gd name="T11" fmla="*/ 2 h 9"/>
                  <a:gd name="T12" fmla="*/ 11 w 11"/>
                  <a:gd name="T13" fmla="*/ 2 h 9"/>
                  <a:gd name="T14" fmla="*/ 9 w 11"/>
                  <a:gd name="T15" fmla="*/ 4 h 9"/>
                  <a:gd name="T16" fmla="*/ 9 w 11"/>
                  <a:gd name="T17" fmla="*/ 4 h 9"/>
                  <a:gd name="T18" fmla="*/ 7 w 11"/>
                  <a:gd name="T19" fmla="*/ 8 h 9"/>
                  <a:gd name="T20" fmla="*/ 7 w 11"/>
                  <a:gd name="T21" fmla="*/ 9 h 9"/>
                  <a:gd name="T22" fmla="*/ 4 w 11"/>
                  <a:gd name="T23" fmla="*/ 8 h 9"/>
                  <a:gd name="T24" fmla="*/ 4 w 11"/>
                  <a:gd name="T25" fmla="*/ 6 h 9"/>
                  <a:gd name="T26" fmla="*/ 2 w 11"/>
                  <a:gd name="T27" fmla="*/ 4 h 9"/>
                  <a:gd name="T28" fmla="*/ 0 w 11"/>
                  <a:gd name="T29" fmla="*/ 2 h 9"/>
                  <a:gd name="T30" fmla="*/ 0 w 11"/>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9">
                    <a:moveTo>
                      <a:pt x="0" y="0"/>
                    </a:moveTo>
                    <a:lnTo>
                      <a:pt x="0" y="0"/>
                    </a:lnTo>
                    <a:lnTo>
                      <a:pt x="0" y="0"/>
                    </a:lnTo>
                    <a:lnTo>
                      <a:pt x="4" y="0"/>
                    </a:lnTo>
                    <a:lnTo>
                      <a:pt x="5" y="0"/>
                    </a:lnTo>
                    <a:lnTo>
                      <a:pt x="5" y="2"/>
                    </a:lnTo>
                    <a:lnTo>
                      <a:pt x="11" y="2"/>
                    </a:lnTo>
                    <a:lnTo>
                      <a:pt x="9" y="4"/>
                    </a:lnTo>
                    <a:lnTo>
                      <a:pt x="9" y="4"/>
                    </a:lnTo>
                    <a:lnTo>
                      <a:pt x="7" y="8"/>
                    </a:lnTo>
                    <a:lnTo>
                      <a:pt x="7" y="9"/>
                    </a:lnTo>
                    <a:lnTo>
                      <a:pt x="4" y="8"/>
                    </a:lnTo>
                    <a:lnTo>
                      <a:pt x="4" y="6"/>
                    </a:lnTo>
                    <a:lnTo>
                      <a:pt x="2" y="4"/>
                    </a:lnTo>
                    <a:lnTo>
                      <a:pt x="0"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30" name="Freeform 2280"/>
              <p:cNvSpPr>
                <a:spLocks/>
              </p:cNvSpPr>
              <p:nvPr/>
            </p:nvSpPr>
            <p:spPr bwMode="auto">
              <a:xfrm>
                <a:off x="5601" y="1741"/>
                <a:ext cx="11" cy="9"/>
              </a:xfrm>
              <a:custGeom>
                <a:avLst/>
                <a:gdLst>
                  <a:gd name="T0" fmla="*/ 0 w 11"/>
                  <a:gd name="T1" fmla="*/ 0 h 9"/>
                  <a:gd name="T2" fmla="*/ 0 w 11"/>
                  <a:gd name="T3" fmla="*/ 0 h 9"/>
                  <a:gd name="T4" fmla="*/ 0 w 11"/>
                  <a:gd name="T5" fmla="*/ 0 h 9"/>
                  <a:gd name="T6" fmla="*/ 4 w 11"/>
                  <a:gd name="T7" fmla="*/ 0 h 9"/>
                  <a:gd name="T8" fmla="*/ 5 w 11"/>
                  <a:gd name="T9" fmla="*/ 0 h 9"/>
                  <a:gd name="T10" fmla="*/ 5 w 11"/>
                  <a:gd name="T11" fmla="*/ 2 h 9"/>
                  <a:gd name="T12" fmla="*/ 11 w 11"/>
                  <a:gd name="T13" fmla="*/ 2 h 9"/>
                  <a:gd name="T14" fmla="*/ 9 w 11"/>
                  <a:gd name="T15" fmla="*/ 4 h 9"/>
                  <a:gd name="T16" fmla="*/ 9 w 11"/>
                  <a:gd name="T17" fmla="*/ 4 h 9"/>
                  <a:gd name="T18" fmla="*/ 7 w 11"/>
                  <a:gd name="T19" fmla="*/ 8 h 9"/>
                  <a:gd name="T20" fmla="*/ 7 w 11"/>
                  <a:gd name="T21" fmla="*/ 9 h 9"/>
                  <a:gd name="T22" fmla="*/ 4 w 11"/>
                  <a:gd name="T23" fmla="*/ 8 h 9"/>
                  <a:gd name="T24" fmla="*/ 4 w 11"/>
                  <a:gd name="T25" fmla="*/ 6 h 9"/>
                  <a:gd name="T26" fmla="*/ 2 w 11"/>
                  <a:gd name="T27" fmla="*/ 4 h 9"/>
                  <a:gd name="T28" fmla="*/ 0 w 11"/>
                  <a:gd name="T29" fmla="*/ 2 h 9"/>
                  <a:gd name="T30" fmla="*/ 0 w 11"/>
                  <a:gd name="T3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9">
                    <a:moveTo>
                      <a:pt x="0" y="0"/>
                    </a:moveTo>
                    <a:lnTo>
                      <a:pt x="0" y="0"/>
                    </a:lnTo>
                    <a:lnTo>
                      <a:pt x="0" y="0"/>
                    </a:lnTo>
                    <a:lnTo>
                      <a:pt x="4" y="0"/>
                    </a:lnTo>
                    <a:lnTo>
                      <a:pt x="5" y="0"/>
                    </a:lnTo>
                    <a:lnTo>
                      <a:pt x="5" y="2"/>
                    </a:lnTo>
                    <a:lnTo>
                      <a:pt x="11" y="2"/>
                    </a:lnTo>
                    <a:lnTo>
                      <a:pt x="9" y="4"/>
                    </a:lnTo>
                    <a:lnTo>
                      <a:pt x="9" y="4"/>
                    </a:lnTo>
                    <a:lnTo>
                      <a:pt x="7" y="8"/>
                    </a:lnTo>
                    <a:lnTo>
                      <a:pt x="7" y="9"/>
                    </a:lnTo>
                    <a:lnTo>
                      <a:pt x="4" y="8"/>
                    </a:lnTo>
                    <a:lnTo>
                      <a:pt x="4" y="6"/>
                    </a:lnTo>
                    <a:lnTo>
                      <a:pt x="2" y="4"/>
                    </a:lnTo>
                    <a:lnTo>
                      <a:pt x="0"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31" name="Freeform 2281"/>
              <p:cNvSpPr>
                <a:spLocks/>
              </p:cNvSpPr>
              <p:nvPr/>
            </p:nvSpPr>
            <p:spPr bwMode="auto">
              <a:xfrm>
                <a:off x="5612" y="1741"/>
                <a:ext cx="9" cy="8"/>
              </a:xfrm>
              <a:custGeom>
                <a:avLst/>
                <a:gdLst>
                  <a:gd name="T0" fmla="*/ 0 w 9"/>
                  <a:gd name="T1" fmla="*/ 8 h 8"/>
                  <a:gd name="T2" fmla="*/ 0 w 9"/>
                  <a:gd name="T3" fmla="*/ 6 h 8"/>
                  <a:gd name="T4" fmla="*/ 5 w 9"/>
                  <a:gd name="T5" fmla="*/ 4 h 8"/>
                  <a:gd name="T6" fmla="*/ 7 w 9"/>
                  <a:gd name="T7" fmla="*/ 0 h 8"/>
                  <a:gd name="T8" fmla="*/ 9 w 9"/>
                  <a:gd name="T9" fmla="*/ 2 h 8"/>
                  <a:gd name="T10" fmla="*/ 9 w 9"/>
                  <a:gd name="T11" fmla="*/ 2 h 8"/>
                  <a:gd name="T12" fmla="*/ 7 w 9"/>
                  <a:gd name="T13" fmla="*/ 6 h 8"/>
                  <a:gd name="T14" fmla="*/ 0 w 9"/>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8">
                    <a:moveTo>
                      <a:pt x="0" y="8"/>
                    </a:moveTo>
                    <a:lnTo>
                      <a:pt x="0" y="6"/>
                    </a:lnTo>
                    <a:lnTo>
                      <a:pt x="5" y="4"/>
                    </a:lnTo>
                    <a:lnTo>
                      <a:pt x="7" y="0"/>
                    </a:lnTo>
                    <a:lnTo>
                      <a:pt x="9" y="2"/>
                    </a:lnTo>
                    <a:lnTo>
                      <a:pt x="9" y="2"/>
                    </a:lnTo>
                    <a:lnTo>
                      <a:pt x="7" y="6"/>
                    </a:lnTo>
                    <a:lnTo>
                      <a:pt x="0" y="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32" name="Freeform 2282"/>
              <p:cNvSpPr>
                <a:spLocks/>
              </p:cNvSpPr>
              <p:nvPr/>
            </p:nvSpPr>
            <p:spPr bwMode="auto">
              <a:xfrm>
                <a:off x="5612" y="1741"/>
                <a:ext cx="9" cy="8"/>
              </a:xfrm>
              <a:custGeom>
                <a:avLst/>
                <a:gdLst>
                  <a:gd name="T0" fmla="*/ 0 w 9"/>
                  <a:gd name="T1" fmla="*/ 8 h 8"/>
                  <a:gd name="T2" fmla="*/ 0 w 9"/>
                  <a:gd name="T3" fmla="*/ 6 h 8"/>
                  <a:gd name="T4" fmla="*/ 5 w 9"/>
                  <a:gd name="T5" fmla="*/ 4 h 8"/>
                  <a:gd name="T6" fmla="*/ 7 w 9"/>
                  <a:gd name="T7" fmla="*/ 0 h 8"/>
                  <a:gd name="T8" fmla="*/ 9 w 9"/>
                  <a:gd name="T9" fmla="*/ 2 h 8"/>
                  <a:gd name="T10" fmla="*/ 9 w 9"/>
                  <a:gd name="T11" fmla="*/ 2 h 8"/>
                  <a:gd name="T12" fmla="*/ 7 w 9"/>
                  <a:gd name="T13" fmla="*/ 6 h 8"/>
                  <a:gd name="T14" fmla="*/ 0 w 9"/>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8">
                    <a:moveTo>
                      <a:pt x="0" y="8"/>
                    </a:moveTo>
                    <a:lnTo>
                      <a:pt x="0" y="6"/>
                    </a:lnTo>
                    <a:lnTo>
                      <a:pt x="5" y="4"/>
                    </a:lnTo>
                    <a:lnTo>
                      <a:pt x="7" y="0"/>
                    </a:lnTo>
                    <a:lnTo>
                      <a:pt x="9" y="2"/>
                    </a:lnTo>
                    <a:lnTo>
                      <a:pt x="9" y="2"/>
                    </a:lnTo>
                    <a:lnTo>
                      <a:pt x="7" y="6"/>
                    </a:lnTo>
                    <a:lnTo>
                      <a:pt x="0" y="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33" name="Freeform 2283"/>
              <p:cNvSpPr>
                <a:spLocks/>
              </p:cNvSpPr>
              <p:nvPr/>
            </p:nvSpPr>
            <p:spPr bwMode="auto">
              <a:xfrm>
                <a:off x="5624" y="1740"/>
                <a:ext cx="9" cy="10"/>
              </a:xfrm>
              <a:custGeom>
                <a:avLst/>
                <a:gdLst>
                  <a:gd name="T0" fmla="*/ 0 w 9"/>
                  <a:gd name="T1" fmla="*/ 5 h 10"/>
                  <a:gd name="T2" fmla="*/ 2 w 9"/>
                  <a:gd name="T3" fmla="*/ 5 h 10"/>
                  <a:gd name="T4" fmla="*/ 2 w 9"/>
                  <a:gd name="T5" fmla="*/ 3 h 10"/>
                  <a:gd name="T6" fmla="*/ 0 w 9"/>
                  <a:gd name="T7" fmla="*/ 1 h 10"/>
                  <a:gd name="T8" fmla="*/ 4 w 9"/>
                  <a:gd name="T9" fmla="*/ 0 h 10"/>
                  <a:gd name="T10" fmla="*/ 4 w 9"/>
                  <a:gd name="T11" fmla="*/ 1 h 10"/>
                  <a:gd name="T12" fmla="*/ 4 w 9"/>
                  <a:gd name="T13" fmla="*/ 3 h 10"/>
                  <a:gd name="T14" fmla="*/ 6 w 9"/>
                  <a:gd name="T15" fmla="*/ 5 h 10"/>
                  <a:gd name="T16" fmla="*/ 7 w 9"/>
                  <a:gd name="T17" fmla="*/ 3 h 10"/>
                  <a:gd name="T18" fmla="*/ 9 w 9"/>
                  <a:gd name="T19" fmla="*/ 7 h 10"/>
                  <a:gd name="T20" fmla="*/ 4 w 9"/>
                  <a:gd name="T21" fmla="*/ 9 h 10"/>
                  <a:gd name="T22" fmla="*/ 2 w 9"/>
                  <a:gd name="T23" fmla="*/ 9 h 10"/>
                  <a:gd name="T24" fmla="*/ 2 w 9"/>
                  <a:gd name="T25" fmla="*/ 10 h 10"/>
                  <a:gd name="T26" fmla="*/ 0 w 9"/>
                  <a:gd name="T27" fmla="*/ 9 h 10"/>
                  <a:gd name="T28" fmla="*/ 0 w 9"/>
                  <a:gd name="T29" fmla="*/ 9 h 10"/>
                  <a:gd name="T30" fmla="*/ 0 w 9"/>
                  <a:gd name="T3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10">
                    <a:moveTo>
                      <a:pt x="0" y="5"/>
                    </a:moveTo>
                    <a:lnTo>
                      <a:pt x="2" y="5"/>
                    </a:lnTo>
                    <a:lnTo>
                      <a:pt x="2" y="3"/>
                    </a:lnTo>
                    <a:lnTo>
                      <a:pt x="0" y="1"/>
                    </a:lnTo>
                    <a:lnTo>
                      <a:pt x="4" y="0"/>
                    </a:lnTo>
                    <a:lnTo>
                      <a:pt x="4" y="1"/>
                    </a:lnTo>
                    <a:lnTo>
                      <a:pt x="4" y="3"/>
                    </a:lnTo>
                    <a:lnTo>
                      <a:pt x="6" y="5"/>
                    </a:lnTo>
                    <a:lnTo>
                      <a:pt x="7" y="3"/>
                    </a:lnTo>
                    <a:lnTo>
                      <a:pt x="9" y="7"/>
                    </a:lnTo>
                    <a:lnTo>
                      <a:pt x="4" y="9"/>
                    </a:lnTo>
                    <a:lnTo>
                      <a:pt x="2" y="9"/>
                    </a:lnTo>
                    <a:lnTo>
                      <a:pt x="2" y="10"/>
                    </a:lnTo>
                    <a:lnTo>
                      <a:pt x="0" y="9"/>
                    </a:lnTo>
                    <a:lnTo>
                      <a:pt x="0" y="9"/>
                    </a:lnTo>
                    <a:lnTo>
                      <a:pt x="0"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34" name="Freeform 2284"/>
              <p:cNvSpPr>
                <a:spLocks/>
              </p:cNvSpPr>
              <p:nvPr/>
            </p:nvSpPr>
            <p:spPr bwMode="auto">
              <a:xfrm>
                <a:off x="5624" y="1740"/>
                <a:ext cx="9" cy="10"/>
              </a:xfrm>
              <a:custGeom>
                <a:avLst/>
                <a:gdLst>
                  <a:gd name="T0" fmla="*/ 0 w 9"/>
                  <a:gd name="T1" fmla="*/ 5 h 10"/>
                  <a:gd name="T2" fmla="*/ 2 w 9"/>
                  <a:gd name="T3" fmla="*/ 5 h 10"/>
                  <a:gd name="T4" fmla="*/ 2 w 9"/>
                  <a:gd name="T5" fmla="*/ 3 h 10"/>
                  <a:gd name="T6" fmla="*/ 0 w 9"/>
                  <a:gd name="T7" fmla="*/ 1 h 10"/>
                  <a:gd name="T8" fmla="*/ 4 w 9"/>
                  <a:gd name="T9" fmla="*/ 0 h 10"/>
                  <a:gd name="T10" fmla="*/ 4 w 9"/>
                  <a:gd name="T11" fmla="*/ 1 h 10"/>
                  <a:gd name="T12" fmla="*/ 4 w 9"/>
                  <a:gd name="T13" fmla="*/ 3 h 10"/>
                  <a:gd name="T14" fmla="*/ 6 w 9"/>
                  <a:gd name="T15" fmla="*/ 5 h 10"/>
                  <a:gd name="T16" fmla="*/ 7 w 9"/>
                  <a:gd name="T17" fmla="*/ 3 h 10"/>
                  <a:gd name="T18" fmla="*/ 9 w 9"/>
                  <a:gd name="T19" fmla="*/ 7 h 10"/>
                  <a:gd name="T20" fmla="*/ 4 w 9"/>
                  <a:gd name="T21" fmla="*/ 9 h 10"/>
                  <a:gd name="T22" fmla="*/ 2 w 9"/>
                  <a:gd name="T23" fmla="*/ 9 h 10"/>
                  <a:gd name="T24" fmla="*/ 2 w 9"/>
                  <a:gd name="T25" fmla="*/ 10 h 10"/>
                  <a:gd name="T26" fmla="*/ 0 w 9"/>
                  <a:gd name="T27" fmla="*/ 9 h 10"/>
                  <a:gd name="T28" fmla="*/ 0 w 9"/>
                  <a:gd name="T29" fmla="*/ 9 h 10"/>
                  <a:gd name="T30" fmla="*/ 0 w 9"/>
                  <a:gd name="T31"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10">
                    <a:moveTo>
                      <a:pt x="0" y="5"/>
                    </a:moveTo>
                    <a:lnTo>
                      <a:pt x="2" y="5"/>
                    </a:lnTo>
                    <a:lnTo>
                      <a:pt x="2" y="3"/>
                    </a:lnTo>
                    <a:lnTo>
                      <a:pt x="0" y="1"/>
                    </a:lnTo>
                    <a:lnTo>
                      <a:pt x="4" y="0"/>
                    </a:lnTo>
                    <a:lnTo>
                      <a:pt x="4" y="1"/>
                    </a:lnTo>
                    <a:lnTo>
                      <a:pt x="4" y="3"/>
                    </a:lnTo>
                    <a:lnTo>
                      <a:pt x="6" y="5"/>
                    </a:lnTo>
                    <a:lnTo>
                      <a:pt x="7" y="3"/>
                    </a:lnTo>
                    <a:lnTo>
                      <a:pt x="9" y="7"/>
                    </a:lnTo>
                    <a:lnTo>
                      <a:pt x="4" y="9"/>
                    </a:lnTo>
                    <a:lnTo>
                      <a:pt x="2" y="9"/>
                    </a:lnTo>
                    <a:lnTo>
                      <a:pt x="2" y="10"/>
                    </a:lnTo>
                    <a:lnTo>
                      <a:pt x="0" y="9"/>
                    </a:lnTo>
                    <a:lnTo>
                      <a:pt x="0" y="9"/>
                    </a:lnTo>
                    <a:lnTo>
                      <a:pt x="0"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35" name="Freeform 2285"/>
              <p:cNvSpPr>
                <a:spLocks/>
              </p:cNvSpPr>
              <p:nvPr/>
            </p:nvSpPr>
            <p:spPr bwMode="auto">
              <a:xfrm>
                <a:off x="5660" y="1729"/>
                <a:ext cx="9" cy="9"/>
              </a:xfrm>
              <a:custGeom>
                <a:avLst/>
                <a:gdLst>
                  <a:gd name="T0" fmla="*/ 5 w 9"/>
                  <a:gd name="T1" fmla="*/ 2 h 9"/>
                  <a:gd name="T2" fmla="*/ 4 w 9"/>
                  <a:gd name="T3" fmla="*/ 2 h 9"/>
                  <a:gd name="T4" fmla="*/ 7 w 9"/>
                  <a:gd name="T5" fmla="*/ 0 h 9"/>
                  <a:gd name="T6" fmla="*/ 9 w 9"/>
                  <a:gd name="T7" fmla="*/ 2 h 9"/>
                  <a:gd name="T8" fmla="*/ 9 w 9"/>
                  <a:gd name="T9" fmla="*/ 3 h 9"/>
                  <a:gd name="T10" fmla="*/ 7 w 9"/>
                  <a:gd name="T11" fmla="*/ 5 h 9"/>
                  <a:gd name="T12" fmla="*/ 7 w 9"/>
                  <a:gd name="T13" fmla="*/ 7 h 9"/>
                  <a:gd name="T14" fmla="*/ 5 w 9"/>
                  <a:gd name="T15" fmla="*/ 9 h 9"/>
                  <a:gd name="T16" fmla="*/ 4 w 9"/>
                  <a:gd name="T17" fmla="*/ 9 h 9"/>
                  <a:gd name="T18" fmla="*/ 4 w 9"/>
                  <a:gd name="T19" fmla="*/ 9 h 9"/>
                  <a:gd name="T20" fmla="*/ 2 w 9"/>
                  <a:gd name="T21" fmla="*/ 9 h 9"/>
                  <a:gd name="T22" fmla="*/ 0 w 9"/>
                  <a:gd name="T23" fmla="*/ 9 h 9"/>
                  <a:gd name="T24" fmla="*/ 0 w 9"/>
                  <a:gd name="T25" fmla="*/ 9 h 9"/>
                  <a:gd name="T26" fmla="*/ 5 w 9"/>
                  <a:gd name="T27" fmla="*/ 5 h 9"/>
                  <a:gd name="T28" fmla="*/ 5 w 9"/>
                  <a:gd name="T29" fmla="*/ 3 h 9"/>
                  <a:gd name="T30" fmla="*/ 5 w 9"/>
                  <a:gd name="T3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9">
                    <a:moveTo>
                      <a:pt x="5" y="2"/>
                    </a:moveTo>
                    <a:lnTo>
                      <a:pt x="4" y="2"/>
                    </a:lnTo>
                    <a:lnTo>
                      <a:pt x="7" y="0"/>
                    </a:lnTo>
                    <a:lnTo>
                      <a:pt x="9" y="2"/>
                    </a:lnTo>
                    <a:lnTo>
                      <a:pt x="9" y="3"/>
                    </a:lnTo>
                    <a:lnTo>
                      <a:pt x="7" y="5"/>
                    </a:lnTo>
                    <a:lnTo>
                      <a:pt x="7" y="7"/>
                    </a:lnTo>
                    <a:lnTo>
                      <a:pt x="5" y="9"/>
                    </a:lnTo>
                    <a:lnTo>
                      <a:pt x="4" y="9"/>
                    </a:lnTo>
                    <a:lnTo>
                      <a:pt x="4" y="9"/>
                    </a:lnTo>
                    <a:lnTo>
                      <a:pt x="2" y="9"/>
                    </a:lnTo>
                    <a:lnTo>
                      <a:pt x="0" y="9"/>
                    </a:lnTo>
                    <a:lnTo>
                      <a:pt x="0" y="9"/>
                    </a:lnTo>
                    <a:lnTo>
                      <a:pt x="5" y="5"/>
                    </a:lnTo>
                    <a:lnTo>
                      <a:pt x="5" y="3"/>
                    </a:lnTo>
                    <a:lnTo>
                      <a:pt x="5"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36" name="Freeform 2286"/>
              <p:cNvSpPr>
                <a:spLocks/>
              </p:cNvSpPr>
              <p:nvPr/>
            </p:nvSpPr>
            <p:spPr bwMode="auto">
              <a:xfrm>
                <a:off x="5660" y="1729"/>
                <a:ext cx="9" cy="9"/>
              </a:xfrm>
              <a:custGeom>
                <a:avLst/>
                <a:gdLst>
                  <a:gd name="T0" fmla="*/ 5 w 9"/>
                  <a:gd name="T1" fmla="*/ 2 h 9"/>
                  <a:gd name="T2" fmla="*/ 4 w 9"/>
                  <a:gd name="T3" fmla="*/ 2 h 9"/>
                  <a:gd name="T4" fmla="*/ 7 w 9"/>
                  <a:gd name="T5" fmla="*/ 0 h 9"/>
                  <a:gd name="T6" fmla="*/ 9 w 9"/>
                  <a:gd name="T7" fmla="*/ 2 h 9"/>
                  <a:gd name="T8" fmla="*/ 9 w 9"/>
                  <a:gd name="T9" fmla="*/ 3 h 9"/>
                  <a:gd name="T10" fmla="*/ 7 w 9"/>
                  <a:gd name="T11" fmla="*/ 5 h 9"/>
                  <a:gd name="T12" fmla="*/ 7 w 9"/>
                  <a:gd name="T13" fmla="*/ 7 h 9"/>
                  <a:gd name="T14" fmla="*/ 5 w 9"/>
                  <a:gd name="T15" fmla="*/ 9 h 9"/>
                  <a:gd name="T16" fmla="*/ 4 w 9"/>
                  <a:gd name="T17" fmla="*/ 9 h 9"/>
                  <a:gd name="T18" fmla="*/ 4 w 9"/>
                  <a:gd name="T19" fmla="*/ 9 h 9"/>
                  <a:gd name="T20" fmla="*/ 2 w 9"/>
                  <a:gd name="T21" fmla="*/ 9 h 9"/>
                  <a:gd name="T22" fmla="*/ 0 w 9"/>
                  <a:gd name="T23" fmla="*/ 9 h 9"/>
                  <a:gd name="T24" fmla="*/ 0 w 9"/>
                  <a:gd name="T25" fmla="*/ 9 h 9"/>
                  <a:gd name="T26" fmla="*/ 5 w 9"/>
                  <a:gd name="T27" fmla="*/ 5 h 9"/>
                  <a:gd name="T28" fmla="*/ 5 w 9"/>
                  <a:gd name="T29" fmla="*/ 3 h 9"/>
                  <a:gd name="T30" fmla="*/ 5 w 9"/>
                  <a:gd name="T3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 h="9">
                    <a:moveTo>
                      <a:pt x="5" y="2"/>
                    </a:moveTo>
                    <a:lnTo>
                      <a:pt x="4" y="2"/>
                    </a:lnTo>
                    <a:lnTo>
                      <a:pt x="7" y="0"/>
                    </a:lnTo>
                    <a:lnTo>
                      <a:pt x="9" y="2"/>
                    </a:lnTo>
                    <a:lnTo>
                      <a:pt x="9" y="3"/>
                    </a:lnTo>
                    <a:lnTo>
                      <a:pt x="7" y="5"/>
                    </a:lnTo>
                    <a:lnTo>
                      <a:pt x="7" y="7"/>
                    </a:lnTo>
                    <a:lnTo>
                      <a:pt x="5" y="9"/>
                    </a:lnTo>
                    <a:lnTo>
                      <a:pt x="4" y="9"/>
                    </a:lnTo>
                    <a:lnTo>
                      <a:pt x="4" y="9"/>
                    </a:lnTo>
                    <a:lnTo>
                      <a:pt x="2" y="9"/>
                    </a:lnTo>
                    <a:lnTo>
                      <a:pt x="0" y="9"/>
                    </a:lnTo>
                    <a:lnTo>
                      <a:pt x="0" y="9"/>
                    </a:lnTo>
                    <a:lnTo>
                      <a:pt x="5" y="5"/>
                    </a:lnTo>
                    <a:lnTo>
                      <a:pt x="5" y="3"/>
                    </a:lnTo>
                    <a:lnTo>
                      <a:pt x="5"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37" name="Freeform 2287"/>
              <p:cNvSpPr>
                <a:spLocks/>
              </p:cNvSpPr>
              <p:nvPr/>
            </p:nvSpPr>
            <p:spPr bwMode="auto">
              <a:xfrm>
                <a:off x="5671" y="1736"/>
                <a:ext cx="14" cy="4"/>
              </a:xfrm>
              <a:custGeom>
                <a:avLst/>
                <a:gdLst>
                  <a:gd name="T0" fmla="*/ 0 w 14"/>
                  <a:gd name="T1" fmla="*/ 0 h 4"/>
                  <a:gd name="T2" fmla="*/ 5 w 14"/>
                  <a:gd name="T3" fmla="*/ 0 h 4"/>
                  <a:gd name="T4" fmla="*/ 9 w 14"/>
                  <a:gd name="T5" fmla="*/ 2 h 4"/>
                  <a:gd name="T6" fmla="*/ 12 w 14"/>
                  <a:gd name="T7" fmla="*/ 0 h 4"/>
                  <a:gd name="T8" fmla="*/ 14 w 14"/>
                  <a:gd name="T9" fmla="*/ 2 h 4"/>
                  <a:gd name="T10" fmla="*/ 14 w 14"/>
                  <a:gd name="T11" fmla="*/ 2 h 4"/>
                  <a:gd name="T12" fmla="*/ 12 w 14"/>
                  <a:gd name="T13" fmla="*/ 4 h 4"/>
                  <a:gd name="T14" fmla="*/ 2 w 14"/>
                  <a:gd name="T15" fmla="*/ 2 h 4"/>
                  <a:gd name="T16" fmla="*/ 0 w 1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4">
                    <a:moveTo>
                      <a:pt x="0" y="0"/>
                    </a:moveTo>
                    <a:lnTo>
                      <a:pt x="5" y="0"/>
                    </a:lnTo>
                    <a:lnTo>
                      <a:pt x="9" y="2"/>
                    </a:lnTo>
                    <a:lnTo>
                      <a:pt x="12" y="0"/>
                    </a:lnTo>
                    <a:lnTo>
                      <a:pt x="14" y="2"/>
                    </a:lnTo>
                    <a:lnTo>
                      <a:pt x="14" y="2"/>
                    </a:lnTo>
                    <a:lnTo>
                      <a:pt x="12" y="4"/>
                    </a:lnTo>
                    <a:lnTo>
                      <a:pt x="2"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38" name="Freeform 2288"/>
              <p:cNvSpPr>
                <a:spLocks/>
              </p:cNvSpPr>
              <p:nvPr/>
            </p:nvSpPr>
            <p:spPr bwMode="auto">
              <a:xfrm>
                <a:off x="5671" y="1736"/>
                <a:ext cx="14" cy="4"/>
              </a:xfrm>
              <a:custGeom>
                <a:avLst/>
                <a:gdLst>
                  <a:gd name="T0" fmla="*/ 0 w 14"/>
                  <a:gd name="T1" fmla="*/ 0 h 4"/>
                  <a:gd name="T2" fmla="*/ 5 w 14"/>
                  <a:gd name="T3" fmla="*/ 0 h 4"/>
                  <a:gd name="T4" fmla="*/ 9 w 14"/>
                  <a:gd name="T5" fmla="*/ 2 h 4"/>
                  <a:gd name="T6" fmla="*/ 12 w 14"/>
                  <a:gd name="T7" fmla="*/ 0 h 4"/>
                  <a:gd name="T8" fmla="*/ 14 w 14"/>
                  <a:gd name="T9" fmla="*/ 2 h 4"/>
                  <a:gd name="T10" fmla="*/ 14 w 14"/>
                  <a:gd name="T11" fmla="*/ 2 h 4"/>
                  <a:gd name="T12" fmla="*/ 12 w 14"/>
                  <a:gd name="T13" fmla="*/ 4 h 4"/>
                  <a:gd name="T14" fmla="*/ 2 w 14"/>
                  <a:gd name="T15" fmla="*/ 2 h 4"/>
                  <a:gd name="T16" fmla="*/ 0 w 1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4">
                    <a:moveTo>
                      <a:pt x="0" y="0"/>
                    </a:moveTo>
                    <a:lnTo>
                      <a:pt x="5" y="0"/>
                    </a:lnTo>
                    <a:lnTo>
                      <a:pt x="9" y="2"/>
                    </a:lnTo>
                    <a:lnTo>
                      <a:pt x="12" y="0"/>
                    </a:lnTo>
                    <a:lnTo>
                      <a:pt x="14" y="2"/>
                    </a:lnTo>
                    <a:lnTo>
                      <a:pt x="14" y="2"/>
                    </a:lnTo>
                    <a:lnTo>
                      <a:pt x="12" y="4"/>
                    </a:lnTo>
                    <a:lnTo>
                      <a:pt x="2"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39" name="Freeform 2289"/>
              <p:cNvSpPr>
                <a:spLocks/>
              </p:cNvSpPr>
              <p:nvPr/>
            </p:nvSpPr>
            <p:spPr bwMode="auto">
              <a:xfrm>
                <a:off x="5692" y="1729"/>
                <a:ext cx="6" cy="3"/>
              </a:xfrm>
              <a:custGeom>
                <a:avLst/>
                <a:gdLst>
                  <a:gd name="T0" fmla="*/ 2 w 6"/>
                  <a:gd name="T1" fmla="*/ 0 h 3"/>
                  <a:gd name="T2" fmla="*/ 4 w 6"/>
                  <a:gd name="T3" fmla="*/ 2 h 3"/>
                  <a:gd name="T4" fmla="*/ 6 w 6"/>
                  <a:gd name="T5" fmla="*/ 2 h 3"/>
                  <a:gd name="T6" fmla="*/ 6 w 6"/>
                  <a:gd name="T7" fmla="*/ 2 h 3"/>
                  <a:gd name="T8" fmla="*/ 2 w 6"/>
                  <a:gd name="T9" fmla="*/ 3 h 3"/>
                  <a:gd name="T10" fmla="*/ 0 w 6"/>
                  <a:gd name="T11" fmla="*/ 3 h 3"/>
                  <a:gd name="T12" fmla="*/ 0 w 6"/>
                  <a:gd name="T13" fmla="*/ 2 h 3"/>
                  <a:gd name="T14" fmla="*/ 2 w 6"/>
                  <a:gd name="T15" fmla="*/ 0 h 3"/>
                  <a:gd name="T16" fmla="*/ 0 w 6"/>
                  <a:gd name="T17" fmla="*/ 2 h 3"/>
                  <a:gd name="T18" fmla="*/ 2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2" y="0"/>
                    </a:moveTo>
                    <a:lnTo>
                      <a:pt x="4" y="2"/>
                    </a:lnTo>
                    <a:lnTo>
                      <a:pt x="6" y="2"/>
                    </a:lnTo>
                    <a:lnTo>
                      <a:pt x="6" y="2"/>
                    </a:lnTo>
                    <a:lnTo>
                      <a:pt x="2" y="3"/>
                    </a:lnTo>
                    <a:lnTo>
                      <a:pt x="0" y="3"/>
                    </a:lnTo>
                    <a:lnTo>
                      <a:pt x="0" y="2"/>
                    </a:lnTo>
                    <a:lnTo>
                      <a:pt x="2" y="0"/>
                    </a:lnTo>
                    <a:lnTo>
                      <a:pt x="0"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40" name="Freeform 2290"/>
              <p:cNvSpPr>
                <a:spLocks/>
              </p:cNvSpPr>
              <p:nvPr/>
            </p:nvSpPr>
            <p:spPr bwMode="auto">
              <a:xfrm>
                <a:off x="5692" y="1729"/>
                <a:ext cx="6" cy="3"/>
              </a:xfrm>
              <a:custGeom>
                <a:avLst/>
                <a:gdLst>
                  <a:gd name="T0" fmla="*/ 2 w 6"/>
                  <a:gd name="T1" fmla="*/ 0 h 3"/>
                  <a:gd name="T2" fmla="*/ 4 w 6"/>
                  <a:gd name="T3" fmla="*/ 2 h 3"/>
                  <a:gd name="T4" fmla="*/ 6 w 6"/>
                  <a:gd name="T5" fmla="*/ 2 h 3"/>
                  <a:gd name="T6" fmla="*/ 6 w 6"/>
                  <a:gd name="T7" fmla="*/ 2 h 3"/>
                  <a:gd name="T8" fmla="*/ 2 w 6"/>
                  <a:gd name="T9" fmla="*/ 3 h 3"/>
                  <a:gd name="T10" fmla="*/ 0 w 6"/>
                  <a:gd name="T11" fmla="*/ 3 h 3"/>
                  <a:gd name="T12" fmla="*/ 0 w 6"/>
                  <a:gd name="T13" fmla="*/ 2 h 3"/>
                  <a:gd name="T14" fmla="*/ 2 w 6"/>
                  <a:gd name="T15" fmla="*/ 0 h 3"/>
                  <a:gd name="T16" fmla="*/ 0 w 6"/>
                  <a:gd name="T17" fmla="*/ 2 h 3"/>
                  <a:gd name="T18" fmla="*/ 2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2" y="0"/>
                    </a:moveTo>
                    <a:lnTo>
                      <a:pt x="4" y="2"/>
                    </a:lnTo>
                    <a:lnTo>
                      <a:pt x="6" y="2"/>
                    </a:lnTo>
                    <a:lnTo>
                      <a:pt x="6" y="2"/>
                    </a:lnTo>
                    <a:lnTo>
                      <a:pt x="2" y="3"/>
                    </a:lnTo>
                    <a:lnTo>
                      <a:pt x="0" y="3"/>
                    </a:lnTo>
                    <a:lnTo>
                      <a:pt x="0" y="2"/>
                    </a:lnTo>
                    <a:lnTo>
                      <a:pt x="2" y="0"/>
                    </a:lnTo>
                    <a:lnTo>
                      <a:pt x="0"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41" name="Freeform 2291"/>
              <p:cNvSpPr>
                <a:spLocks/>
              </p:cNvSpPr>
              <p:nvPr/>
            </p:nvSpPr>
            <p:spPr bwMode="auto">
              <a:xfrm>
                <a:off x="5689" y="1493"/>
                <a:ext cx="7" cy="6"/>
              </a:xfrm>
              <a:custGeom>
                <a:avLst/>
                <a:gdLst>
                  <a:gd name="T0" fmla="*/ 1 w 7"/>
                  <a:gd name="T1" fmla="*/ 0 h 6"/>
                  <a:gd name="T2" fmla="*/ 1 w 7"/>
                  <a:gd name="T3" fmla="*/ 0 h 6"/>
                  <a:gd name="T4" fmla="*/ 1 w 7"/>
                  <a:gd name="T5" fmla="*/ 2 h 6"/>
                  <a:gd name="T6" fmla="*/ 5 w 7"/>
                  <a:gd name="T7" fmla="*/ 4 h 6"/>
                  <a:gd name="T8" fmla="*/ 7 w 7"/>
                  <a:gd name="T9" fmla="*/ 6 h 6"/>
                  <a:gd name="T10" fmla="*/ 7 w 7"/>
                  <a:gd name="T11" fmla="*/ 6 h 6"/>
                  <a:gd name="T12" fmla="*/ 5 w 7"/>
                  <a:gd name="T13" fmla="*/ 6 h 6"/>
                  <a:gd name="T14" fmla="*/ 0 w 7"/>
                  <a:gd name="T15" fmla="*/ 0 h 6"/>
                  <a:gd name="T16" fmla="*/ 1 w 7"/>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1" y="0"/>
                    </a:moveTo>
                    <a:lnTo>
                      <a:pt x="1" y="0"/>
                    </a:lnTo>
                    <a:lnTo>
                      <a:pt x="1" y="2"/>
                    </a:lnTo>
                    <a:lnTo>
                      <a:pt x="5" y="4"/>
                    </a:lnTo>
                    <a:lnTo>
                      <a:pt x="7" y="6"/>
                    </a:lnTo>
                    <a:lnTo>
                      <a:pt x="7" y="6"/>
                    </a:lnTo>
                    <a:lnTo>
                      <a:pt x="5" y="6"/>
                    </a:lnTo>
                    <a:lnTo>
                      <a:pt x="0" y="0"/>
                    </a:lnTo>
                    <a:lnTo>
                      <a:pt x="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42" name="Freeform 2292"/>
              <p:cNvSpPr>
                <a:spLocks/>
              </p:cNvSpPr>
              <p:nvPr/>
            </p:nvSpPr>
            <p:spPr bwMode="auto">
              <a:xfrm>
                <a:off x="5689" y="1493"/>
                <a:ext cx="7" cy="6"/>
              </a:xfrm>
              <a:custGeom>
                <a:avLst/>
                <a:gdLst>
                  <a:gd name="T0" fmla="*/ 1 w 7"/>
                  <a:gd name="T1" fmla="*/ 0 h 6"/>
                  <a:gd name="T2" fmla="*/ 1 w 7"/>
                  <a:gd name="T3" fmla="*/ 0 h 6"/>
                  <a:gd name="T4" fmla="*/ 1 w 7"/>
                  <a:gd name="T5" fmla="*/ 2 h 6"/>
                  <a:gd name="T6" fmla="*/ 5 w 7"/>
                  <a:gd name="T7" fmla="*/ 4 h 6"/>
                  <a:gd name="T8" fmla="*/ 7 w 7"/>
                  <a:gd name="T9" fmla="*/ 6 h 6"/>
                  <a:gd name="T10" fmla="*/ 7 w 7"/>
                  <a:gd name="T11" fmla="*/ 6 h 6"/>
                  <a:gd name="T12" fmla="*/ 5 w 7"/>
                  <a:gd name="T13" fmla="*/ 6 h 6"/>
                  <a:gd name="T14" fmla="*/ 0 w 7"/>
                  <a:gd name="T15" fmla="*/ 0 h 6"/>
                  <a:gd name="T16" fmla="*/ 1 w 7"/>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6">
                    <a:moveTo>
                      <a:pt x="1" y="0"/>
                    </a:moveTo>
                    <a:lnTo>
                      <a:pt x="1" y="0"/>
                    </a:lnTo>
                    <a:lnTo>
                      <a:pt x="1" y="2"/>
                    </a:lnTo>
                    <a:lnTo>
                      <a:pt x="5" y="4"/>
                    </a:lnTo>
                    <a:lnTo>
                      <a:pt x="7" y="6"/>
                    </a:lnTo>
                    <a:lnTo>
                      <a:pt x="7" y="6"/>
                    </a:lnTo>
                    <a:lnTo>
                      <a:pt x="5" y="6"/>
                    </a:lnTo>
                    <a:lnTo>
                      <a:pt x="0" y="0"/>
                    </a:lnTo>
                    <a:lnTo>
                      <a:pt x="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43" name="Freeform 2293"/>
              <p:cNvSpPr>
                <a:spLocks/>
              </p:cNvSpPr>
              <p:nvPr/>
            </p:nvSpPr>
            <p:spPr bwMode="auto">
              <a:xfrm>
                <a:off x="5728" y="1595"/>
                <a:ext cx="2" cy="2"/>
              </a:xfrm>
              <a:custGeom>
                <a:avLst/>
                <a:gdLst>
                  <a:gd name="T0" fmla="*/ 0 w 2"/>
                  <a:gd name="T1" fmla="*/ 2 h 2"/>
                  <a:gd name="T2" fmla="*/ 0 w 2"/>
                  <a:gd name="T3" fmla="*/ 2 h 2"/>
                  <a:gd name="T4" fmla="*/ 0 w 2"/>
                  <a:gd name="T5" fmla="*/ 0 h 2"/>
                  <a:gd name="T6" fmla="*/ 2 w 2"/>
                  <a:gd name="T7" fmla="*/ 2 h 2"/>
                  <a:gd name="T8" fmla="*/ 2 w 2"/>
                  <a:gd name="T9" fmla="*/ 2 h 2"/>
                  <a:gd name="T10" fmla="*/ 0 w 2"/>
                  <a:gd name="T11" fmla="*/ 2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lnTo>
                      <a:pt x="0" y="2"/>
                    </a:lnTo>
                    <a:lnTo>
                      <a:pt x="0" y="0"/>
                    </a:lnTo>
                    <a:lnTo>
                      <a:pt x="2" y="2"/>
                    </a:lnTo>
                    <a:lnTo>
                      <a:pt x="2" y="2"/>
                    </a:lnTo>
                    <a:lnTo>
                      <a:pt x="0" y="2"/>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44" name="Freeform 2294"/>
              <p:cNvSpPr>
                <a:spLocks/>
              </p:cNvSpPr>
              <p:nvPr/>
            </p:nvSpPr>
            <p:spPr bwMode="auto">
              <a:xfrm>
                <a:off x="5728" y="1595"/>
                <a:ext cx="2" cy="2"/>
              </a:xfrm>
              <a:custGeom>
                <a:avLst/>
                <a:gdLst>
                  <a:gd name="T0" fmla="*/ 0 w 2"/>
                  <a:gd name="T1" fmla="*/ 2 h 2"/>
                  <a:gd name="T2" fmla="*/ 0 w 2"/>
                  <a:gd name="T3" fmla="*/ 2 h 2"/>
                  <a:gd name="T4" fmla="*/ 0 w 2"/>
                  <a:gd name="T5" fmla="*/ 0 h 2"/>
                  <a:gd name="T6" fmla="*/ 2 w 2"/>
                  <a:gd name="T7" fmla="*/ 2 h 2"/>
                  <a:gd name="T8" fmla="*/ 2 w 2"/>
                  <a:gd name="T9" fmla="*/ 2 h 2"/>
                  <a:gd name="T10" fmla="*/ 0 w 2"/>
                  <a:gd name="T11" fmla="*/ 2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lnTo>
                      <a:pt x="0" y="2"/>
                    </a:lnTo>
                    <a:lnTo>
                      <a:pt x="0" y="0"/>
                    </a:lnTo>
                    <a:lnTo>
                      <a:pt x="2" y="2"/>
                    </a:lnTo>
                    <a:lnTo>
                      <a:pt x="2" y="2"/>
                    </a:lnTo>
                    <a:lnTo>
                      <a:pt x="0" y="2"/>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45" name="Freeform 2295"/>
              <p:cNvSpPr>
                <a:spLocks/>
              </p:cNvSpPr>
              <p:nvPr/>
            </p:nvSpPr>
            <p:spPr bwMode="auto">
              <a:xfrm>
                <a:off x="5739" y="1613"/>
                <a:ext cx="3" cy="3"/>
              </a:xfrm>
              <a:custGeom>
                <a:avLst/>
                <a:gdLst>
                  <a:gd name="T0" fmla="*/ 0 w 3"/>
                  <a:gd name="T1" fmla="*/ 0 h 3"/>
                  <a:gd name="T2" fmla="*/ 0 w 3"/>
                  <a:gd name="T3" fmla="*/ 0 h 3"/>
                  <a:gd name="T4" fmla="*/ 1 w 3"/>
                  <a:gd name="T5" fmla="*/ 2 h 3"/>
                  <a:gd name="T6" fmla="*/ 3 w 3"/>
                  <a:gd name="T7" fmla="*/ 0 h 3"/>
                  <a:gd name="T8" fmla="*/ 1 w 3"/>
                  <a:gd name="T9" fmla="*/ 2 h 3"/>
                  <a:gd name="T10" fmla="*/ 1 w 3"/>
                  <a:gd name="T11" fmla="*/ 3 h 3"/>
                  <a:gd name="T12" fmla="*/ 0 w 3"/>
                  <a:gd name="T13" fmla="*/ 0 h 3"/>
                  <a:gd name="T14" fmla="*/ 1 w 3"/>
                  <a:gd name="T15" fmla="*/ 3 h 3"/>
                  <a:gd name="T16" fmla="*/ 0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0"/>
                    </a:moveTo>
                    <a:lnTo>
                      <a:pt x="0" y="0"/>
                    </a:lnTo>
                    <a:lnTo>
                      <a:pt x="1" y="2"/>
                    </a:lnTo>
                    <a:lnTo>
                      <a:pt x="3" y="0"/>
                    </a:lnTo>
                    <a:lnTo>
                      <a:pt x="1" y="2"/>
                    </a:lnTo>
                    <a:lnTo>
                      <a:pt x="1" y="3"/>
                    </a:lnTo>
                    <a:lnTo>
                      <a:pt x="0" y="0"/>
                    </a:lnTo>
                    <a:lnTo>
                      <a:pt x="1" y="3"/>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46" name="Freeform 2296"/>
              <p:cNvSpPr>
                <a:spLocks/>
              </p:cNvSpPr>
              <p:nvPr/>
            </p:nvSpPr>
            <p:spPr bwMode="auto">
              <a:xfrm>
                <a:off x="5739" y="1613"/>
                <a:ext cx="3" cy="3"/>
              </a:xfrm>
              <a:custGeom>
                <a:avLst/>
                <a:gdLst>
                  <a:gd name="T0" fmla="*/ 0 w 3"/>
                  <a:gd name="T1" fmla="*/ 0 h 3"/>
                  <a:gd name="T2" fmla="*/ 0 w 3"/>
                  <a:gd name="T3" fmla="*/ 0 h 3"/>
                  <a:gd name="T4" fmla="*/ 1 w 3"/>
                  <a:gd name="T5" fmla="*/ 2 h 3"/>
                  <a:gd name="T6" fmla="*/ 3 w 3"/>
                  <a:gd name="T7" fmla="*/ 0 h 3"/>
                  <a:gd name="T8" fmla="*/ 1 w 3"/>
                  <a:gd name="T9" fmla="*/ 2 h 3"/>
                  <a:gd name="T10" fmla="*/ 1 w 3"/>
                  <a:gd name="T11" fmla="*/ 3 h 3"/>
                  <a:gd name="T12" fmla="*/ 0 w 3"/>
                  <a:gd name="T13" fmla="*/ 0 h 3"/>
                  <a:gd name="T14" fmla="*/ 1 w 3"/>
                  <a:gd name="T15" fmla="*/ 3 h 3"/>
                  <a:gd name="T16" fmla="*/ 0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0" y="0"/>
                    </a:moveTo>
                    <a:lnTo>
                      <a:pt x="0" y="0"/>
                    </a:lnTo>
                    <a:lnTo>
                      <a:pt x="1" y="2"/>
                    </a:lnTo>
                    <a:lnTo>
                      <a:pt x="3" y="0"/>
                    </a:lnTo>
                    <a:lnTo>
                      <a:pt x="1" y="2"/>
                    </a:lnTo>
                    <a:lnTo>
                      <a:pt x="1" y="3"/>
                    </a:lnTo>
                    <a:lnTo>
                      <a:pt x="0" y="0"/>
                    </a:lnTo>
                    <a:lnTo>
                      <a:pt x="1" y="3"/>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47" name="Freeform 2297"/>
              <p:cNvSpPr>
                <a:spLocks/>
              </p:cNvSpPr>
              <p:nvPr/>
            </p:nvSpPr>
            <p:spPr bwMode="auto">
              <a:xfrm>
                <a:off x="5748" y="1700"/>
                <a:ext cx="12" cy="20"/>
              </a:xfrm>
              <a:custGeom>
                <a:avLst/>
                <a:gdLst>
                  <a:gd name="T0" fmla="*/ 12 w 12"/>
                  <a:gd name="T1" fmla="*/ 7 h 20"/>
                  <a:gd name="T2" fmla="*/ 3 w 12"/>
                  <a:gd name="T3" fmla="*/ 18 h 20"/>
                  <a:gd name="T4" fmla="*/ 1 w 12"/>
                  <a:gd name="T5" fmla="*/ 18 h 20"/>
                  <a:gd name="T6" fmla="*/ 0 w 12"/>
                  <a:gd name="T7" fmla="*/ 20 h 20"/>
                  <a:gd name="T8" fmla="*/ 0 w 12"/>
                  <a:gd name="T9" fmla="*/ 20 h 20"/>
                  <a:gd name="T10" fmla="*/ 0 w 12"/>
                  <a:gd name="T11" fmla="*/ 18 h 20"/>
                  <a:gd name="T12" fmla="*/ 1 w 12"/>
                  <a:gd name="T13" fmla="*/ 15 h 20"/>
                  <a:gd name="T14" fmla="*/ 7 w 12"/>
                  <a:gd name="T15" fmla="*/ 6 h 20"/>
                  <a:gd name="T16" fmla="*/ 8 w 12"/>
                  <a:gd name="T17" fmla="*/ 6 h 20"/>
                  <a:gd name="T18" fmla="*/ 10 w 12"/>
                  <a:gd name="T19" fmla="*/ 6 h 20"/>
                  <a:gd name="T20" fmla="*/ 12 w 12"/>
                  <a:gd name="T21" fmla="*/ 0 h 20"/>
                  <a:gd name="T22" fmla="*/ 12 w 12"/>
                  <a:gd name="T23" fmla="*/ 7 h 20"/>
                  <a:gd name="T24" fmla="*/ 12 w 12"/>
                  <a:gd name="T25"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20">
                    <a:moveTo>
                      <a:pt x="12" y="7"/>
                    </a:moveTo>
                    <a:lnTo>
                      <a:pt x="3" y="18"/>
                    </a:lnTo>
                    <a:lnTo>
                      <a:pt x="1" y="18"/>
                    </a:lnTo>
                    <a:lnTo>
                      <a:pt x="0" y="20"/>
                    </a:lnTo>
                    <a:lnTo>
                      <a:pt x="0" y="20"/>
                    </a:lnTo>
                    <a:lnTo>
                      <a:pt x="0" y="18"/>
                    </a:lnTo>
                    <a:lnTo>
                      <a:pt x="1" y="15"/>
                    </a:lnTo>
                    <a:lnTo>
                      <a:pt x="7" y="6"/>
                    </a:lnTo>
                    <a:lnTo>
                      <a:pt x="8" y="6"/>
                    </a:lnTo>
                    <a:lnTo>
                      <a:pt x="10" y="6"/>
                    </a:lnTo>
                    <a:lnTo>
                      <a:pt x="12" y="0"/>
                    </a:lnTo>
                    <a:lnTo>
                      <a:pt x="12" y="7"/>
                    </a:lnTo>
                    <a:lnTo>
                      <a:pt x="12"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48" name="Freeform 2298"/>
              <p:cNvSpPr>
                <a:spLocks/>
              </p:cNvSpPr>
              <p:nvPr/>
            </p:nvSpPr>
            <p:spPr bwMode="auto">
              <a:xfrm>
                <a:off x="5551" y="1052"/>
                <a:ext cx="64" cy="36"/>
              </a:xfrm>
              <a:custGeom>
                <a:avLst/>
                <a:gdLst>
                  <a:gd name="T0" fmla="*/ 23 w 64"/>
                  <a:gd name="T1" fmla="*/ 29 h 36"/>
                  <a:gd name="T2" fmla="*/ 22 w 64"/>
                  <a:gd name="T3" fmla="*/ 30 h 36"/>
                  <a:gd name="T4" fmla="*/ 20 w 64"/>
                  <a:gd name="T5" fmla="*/ 32 h 36"/>
                  <a:gd name="T6" fmla="*/ 18 w 64"/>
                  <a:gd name="T7" fmla="*/ 34 h 36"/>
                  <a:gd name="T8" fmla="*/ 11 w 64"/>
                  <a:gd name="T9" fmla="*/ 36 h 36"/>
                  <a:gd name="T10" fmla="*/ 11 w 64"/>
                  <a:gd name="T11" fmla="*/ 34 h 36"/>
                  <a:gd name="T12" fmla="*/ 5 w 64"/>
                  <a:gd name="T13" fmla="*/ 36 h 36"/>
                  <a:gd name="T14" fmla="*/ 5 w 64"/>
                  <a:gd name="T15" fmla="*/ 34 h 36"/>
                  <a:gd name="T16" fmla="*/ 0 w 64"/>
                  <a:gd name="T17" fmla="*/ 27 h 36"/>
                  <a:gd name="T18" fmla="*/ 2 w 64"/>
                  <a:gd name="T19" fmla="*/ 22 h 36"/>
                  <a:gd name="T20" fmla="*/ 4 w 64"/>
                  <a:gd name="T21" fmla="*/ 22 h 36"/>
                  <a:gd name="T22" fmla="*/ 5 w 64"/>
                  <a:gd name="T23" fmla="*/ 18 h 36"/>
                  <a:gd name="T24" fmla="*/ 11 w 64"/>
                  <a:gd name="T25" fmla="*/ 13 h 36"/>
                  <a:gd name="T26" fmla="*/ 13 w 64"/>
                  <a:gd name="T27" fmla="*/ 9 h 36"/>
                  <a:gd name="T28" fmla="*/ 16 w 64"/>
                  <a:gd name="T29" fmla="*/ 5 h 36"/>
                  <a:gd name="T30" fmla="*/ 18 w 64"/>
                  <a:gd name="T31" fmla="*/ 5 h 36"/>
                  <a:gd name="T32" fmla="*/ 20 w 64"/>
                  <a:gd name="T33" fmla="*/ 2 h 36"/>
                  <a:gd name="T34" fmla="*/ 25 w 64"/>
                  <a:gd name="T35" fmla="*/ 0 h 36"/>
                  <a:gd name="T36" fmla="*/ 25 w 64"/>
                  <a:gd name="T37" fmla="*/ 0 h 36"/>
                  <a:gd name="T38" fmla="*/ 27 w 64"/>
                  <a:gd name="T39" fmla="*/ 2 h 36"/>
                  <a:gd name="T40" fmla="*/ 30 w 64"/>
                  <a:gd name="T41" fmla="*/ 0 h 36"/>
                  <a:gd name="T42" fmla="*/ 34 w 64"/>
                  <a:gd name="T43" fmla="*/ 2 h 36"/>
                  <a:gd name="T44" fmla="*/ 38 w 64"/>
                  <a:gd name="T45" fmla="*/ 0 h 36"/>
                  <a:gd name="T46" fmla="*/ 39 w 64"/>
                  <a:gd name="T47" fmla="*/ 0 h 36"/>
                  <a:gd name="T48" fmla="*/ 41 w 64"/>
                  <a:gd name="T49" fmla="*/ 0 h 36"/>
                  <a:gd name="T50" fmla="*/ 54 w 64"/>
                  <a:gd name="T51" fmla="*/ 5 h 36"/>
                  <a:gd name="T52" fmla="*/ 55 w 64"/>
                  <a:gd name="T53" fmla="*/ 7 h 36"/>
                  <a:gd name="T54" fmla="*/ 55 w 64"/>
                  <a:gd name="T55" fmla="*/ 7 h 36"/>
                  <a:gd name="T56" fmla="*/ 55 w 64"/>
                  <a:gd name="T57" fmla="*/ 9 h 36"/>
                  <a:gd name="T58" fmla="*/ 63 w 64"/>
                  <a:gd name="T59" fmla="*/ 16 h 36"/>
                  <a:gd name="T60" fmla="*/ 64 w 64"/>
                  <a:gd name="T61" fmla="*/ 20 h 36"/>
                  <a:gd name="T62" fmla="*/ 63 w 64"/>
                  <a:gd name="T63" fmla="*/ 22 h 36"/>
                  <a:gd name="T64" fmla="*/ 39 w 64"/>
                  <a:gd name="T65" fmla="*/ 32 h 36"/>
                  <a:gd name="T66" fmla="*/ 34 w 64"/>
                  <a:gd name="T67" fmla="*/ 32 h 36"/>
                  <a:gd name="T68" fmla="*/ 32 w 64"/>
                  <a:gd name="T69" fmla="*/ 30 h 36"/>
                  <a:gd name="T70" fmla="*/ 23 w 64"/>
                  <a:gd name="T71" fmla="*/ 29 h 36"/>
                  <a:gd name="T72" fmla="*/ 23 w 64"/>
                  <a:gd name="T73"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36">
                    <a:moveTo>
                      <a:pt x="23" y="29"/>
                    </a:moveTo>
                    <a:lnTo>
                      <a:pt x="22" y="30"/>
                    </a:lnTo>
                    <a:lnTo>
                      <a:pt x="20" y="32"/>
                    </a:lnTo>
                    <a:lnTo>
                      <a:pt x="18" y="34"/>
                    </a:lnTo>
                    <a:lnTo>
                      <a:pt x="11" y="36"/>
                    </a:lnTo>
                    <a:lnTo>
                      <a:pt x="11" y="34"/>
                    </a:lnTo>
                    <a:lnTo>
                      <a:pt x="5" y="36"/>
                    </a:lnTo>
                    <a:lnTo>
                      <a:pt x="5" y="34"/>
                    </a:lnTo>
                    <a:lnTo>
                      <a:pt x="0" y="27"/>
                    </a:lnTo>
                    <a:lnTo>
                      <a:pt x="2" y="22"/>
                    </a:lnTo>
                    <a:lnTo>
                      <a:pt x="4" y="22"/>
                    </a:lnTo>
                    <a:lnTo>
                      <a:pt x="5" y="18"/>
                    </a:lnTo>
                    <a:lnTo>
                      <a:pt x="11" y="13"/>
                    </a:lnTo>
                    <a:lnTo>
                      <a:pt x="13" y="9"/>
                    </a:lnTo>
                    <a:lnTo>
                      <a:pt x="16" y="5"/>
                    </a:lnTo>
                    <a:lnTo>
                      <a:pt x="18" y="5"/>
                    </a:lnTo>
                    <a:lnTo>
                      <a:pt x="20" y="2"/>
                    </a:lnTo>
                    <a:lnTo>
                      <a:pt x="25" y="0"/>
                    </a:lnTo>
                    <a:lnTo>
                      <a:pt x="25" y="0"/>
                    </a:lnTo>
                    <a:lnTo>
                      <a:pt x="27" y="2"/>
                    </a:lnTo>
                    <a:lnTo>
                      <a:pt x="30" y="0"/>
                    </a:lnTo>
                    <a:lnTo>
                      <a:pt x="34" y="2"/>
                    </a:lnTo>
                    <a:lnTo>
                      <a:pt x="38" y="0"/>
                    </a:lnTo>
                    <a:lnTo>
                      <a:pt x="39" y="0"/>
                    </a:lnTo>
                    <a:lnTo>
                      <a:pt x="41" y="0"/>
                    </a:lnTo>
                    <a:lnTo>
                      <a:pt x="54" y="5"/>
                    </a:lnTo>
                    <a:lnTo>
                      <a:pt x="55" y="7"/>
                    </a:lnTo>
                    <a:lnTo>
                      <a:pt x="55" y="7"/>
                    </a:lnTo>
                    <a:lnTo>
                      <a:pt x="55" y="9"/>
                    </a:lnTo>
                    <a:lnTo>
                      <a:pt x="63" y="16"/>
                    </a:lnTo>
                    <a:lnTo>
                      <a:pt x="64" y="20"/>
                    </a:lnTo>
                    <a:lnTo>
                      <a:pt x="63" y="22"/>
                    </a:lnTo>
                    <a:lnTo>
                      <a:pt x="39" y="32"/>
                    </a:lnTo>
                    <a:lnTo>
                      <a:pt x="34" y="32"/>
                    </a:lnTo>
                    <a:lnTo>
                      <a:pt x="32" y="30"/>
                    </a:lnTo>
                    <a:lnTo>
                      <a:pt x="23" y="29"/>
                    </a:lnTo>
                    <a:lnTo>
                      <a:pt x="23" y="2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49" name="Freeform 2299"/>
              <p:cNvSpPr>
                <a:spLocks/>
              </p:cNvSpPr>
              <p:nvPr/>
            </p:nvSpPr>
            <p:spPr bwMode="auto">
              <a:xfrm>
                <a:off x="3257" y="2122"/>
                <a:ext cx="27" cy="34"/>
              </a:xfrm>
              <a:custGeom>
                <a:avLst/>
                <a:gdLst>
                  <a:gd name="T0" fmla="*/ 9 w 27"/>
                  <a:gd name="T1" fmla="*/ 30 h 34"/>
                  <a:gd name="T2" fmla="*/ 10 w 27"/>
                  <a:gd name="T3" fmla="*/ 28 h 34"/>
                  <a:gd name="T4" fmla="*/ 12 w 27"/>
                  <a:gd name="T5" fmla="*/ 28 h 34"/>
                  <a:gd name="T6" fmla="*/ 12 w 27"/>
                  <a:gd name="T7" fmla="*/ 27 h 34"/>
                  <a:gd name="T8" fmla="*/ 16 w 27"/>
                  <a:gd name="T9" fmla="*/ 25 h 34"/>
                  <a:gd name="T10" fmla="*/ 16 w 27"/>
                  <a:gd name="T11" fmla="*/ 23 h 34"/>
                  <a:gd name="T12" fmla="*/ 16 w 27"/>
                  <a:gd name="T13" fmla="*/ 23 h 34"/>
                  <a:gd name="T14" fmla="*/ 14 w 27"/>
                  <a:gd name="T15" fmla="*/ 21 h 34"/>
                  <a:gd name="T16" fmla="*/ 14 w 27"/>
                  <a:gd name="T17" fmla="*/ 21 h 34"/>
                  <a:gd name="T18" fmla="*/ 16 w 27"/>
                  <a:gd name="T19" fmla="*/ 19 h 34"/>
                  <a:gd name="T20" fmla="*/ 16 w 27"/>
                  <a:gd name="T21" fmla="*/ 19 h 34"/>
                  <a:gd name="T22" fmla="*/ 16 w 27"/>
                  <a:gd name="T23" fmla="*/ 18 h 34"/>
                  <a:gd name="T24" fmla="*/ 19 w 27"/>
                  <a:gd name="T25" fmla="*/ 18 h 34"/>
                  <a:gd name="T26" fmla="*/ 21 w 27"/>
                  <a:gd name="T27" fmla="*/ 18 h 34"/>
                  <a:gd name="T28" fmla="*/ 21 w 27"/>
                  <a:gd name="T29" fmla="*/ 18 h 34"/>
                  <a:gd name="T30" fmla="*/ 21 w 27"/>
                  <a:gd name="T31" fmla="*/ 18 h 34"/>
                  <a:gd name="T32" fmla="*/ 21 w 27"/>
                  <a:gd name="T33" fmla="*/ 18 h 34"/>
                  <a:gd name="T34" fmla="*/ 19 w 27"/>
                  <a:gd name="T35" fmla="*/ 16 h 34"/>
                  <a:gd name="T36" fmla="*/ 21 w 27"/>
                  <a:gd name="T37" fmla="*/ 16 h 34"/>
                  <a:gd name="T38" fmla="*/ 21 w 27"/>
                  <a:gd name="T39" fmla="*/ 14 h 34"/>
                  <a:gd name="T40" fmla="*/ 21 w 27"/>
                  <a:gd name="T41" fmla="*/ 14 h 34"/>
                  <a:gd name="T42" fmla="*/ 23 w 27"/>
                  <a:gd name="T43" fmla="*/ 14 h 34"/>
                  <a:gd name="T44" fmla="*/ 25 w 27"/>
                  <a:gd name="T45" fmla="*/ 12 h 34"/>
                  <a:gd name="T46" fmla="*/ 25 w 27"/>
                  <a:gd name="T47" fmla="*/ 12 h 34"/>
                  <a:gd name="T48" fmla="*/ 27 w 27"/>
                  <a:gd name="T49" fmla="*/ 10 h 34"/>
                  <a:gd name="T50" fmla="*/ 27 w 27"/>
                  <a:gd name="T51" fmla="*/ 10 h 34"/>
                  <a:gd name="T52" fmla="*/ 25 w 27"/>
                  <a:gd name="T53" fmla="*/ 10 h 34"/>
                  <a:gd name="T54" fmla="*/ 27 w 27"/>
                  <a:gd name="T55" fmla="*/ 9 h 34"/>
                  <a:gd name="T56" fmla="*/ 25 w 27"/>
                  <a:gd name="T57" fmla="*/ 7 h 34"/>
                  <a:gd name="T58" fmla="*/ 25 w 27"/>
                  <a:gd name="T59" fmla="*/ 5 h 34"/>
                  <a:gd name="T60" fmla="*/ 23 w 27"/>
                  <a:gd name="T61" fmla="*/ 5 h 34"/>
                  <a:gd name="T62" fmla="*/ 23 w 27"/>
                  <a:gd name="T63" fmla="*/ 3 h 34"/>
                  <a:gd name="T64" fmla="*/ 21 w 27"/>
                  <a:gd name="T65" fmla="*/ 3 h 34"/>
                  <a:gd name="T66" fmla="*/ 21 w 27"/>
                  <a:gd name="T67" fmla="*/ 3 h 34"/>
                  <a:gd name="T68" fmla="*/ 23 w 27"/>
                  <a:gd name="T69" fmla="*/ 3 h 34"/>
                  <a:gd name="T70" fmla="*/ 23 w 27"/>
                  <a:gd name="T71" fmla="*/ 2 h 34"/>
                  <a:gd name="T72" fmla="*/ 23 w 27"/>
                  <a:gd name="T73" fmla="*/ 2 h 34"/>
                  <a:gd name="T74" fmla="*/ 23 w 27"/>
                  <a:gd name="T75" fmla="*/ 2 h 34"/>
                  <a:gd name="T76" fmla="*/ 23 w 27"/>
                  <a:gd name="T77" fmla="*/ 2 h 34"/>
                  <a:gd name="T78" fmla="*/ 21 w 27"/>
                  <a:gd name="T79" fmla="*/ 2 h 34"/>
                  <a:gd name="T80" fmla="*/ 21 w 27"/>
                  <a:gd name="T81" fmla="*/ 0 h 34"/>
                  <a:gd name="T82" fmla="*/ 21 w 27"/>
                  <a:gd name="T83" fmla="*/ 0 h 34"/>
                  <a:gd name="T84" fmla="*/ 19 w 27"/>
                  <a:gd name="T85" fmla="*/ 2 h 34"/>
                  <a:gd name="T86" fmla="*/ 16 w 27"/>
                  <a:gd name="T87" fmla="*/ 2 h 34"/>
                  <a:gd name="T88" fmla="*/ 16 w 27"/>
                  <a:gd name="T89" fmla="*/ 3 h 34"/>
                  <a:gd name="T90" fmla="*/ 10 w 27"/>
                  <a:gd name="T91" fmla="*/ 9 h 34"/>
                  <a:gd name="T92" fmla="*/ 9 w 27"/>
                  <a:gd name="T93" fmla="*/ 16 h 34"/>
                  <a:gd name="T94" fmla="*/ 7 w 27"/>
                  <a:gd name="T95" fmla="*/ 16 h 34"/>
                  <a:gd name="T96" fmla="*/ 7 w 27"/>
                  <a:gd name="T97" fmla="*/ 16 h 34"/>
                  <a:gd name="T98" fmla="*/ 7 w 27"/>
                  <a:gd name="T99" fmla="*/ 18 h 34"/>
                  <a:gd name="T100" fmla="*/ 0 w 27"/>
                  <a:gd name="T101" fmla="*/ 32 h 34"/>
                  <a:gd name="T102" fmla="*/ 0 w 27"/>
                  <a:gd name="T103" fmla="*/ 34 h 34"/>
                  <a:gd name="T104" fmla="*/ 3 w 27"/>
                  <a:gd name="T105" fmla="*/ 32 h 34"/>
                  <a:gd name="T106" fmla="*/ 3 w 27"/>
                  <a:gd name="T107" fmla="*/ 34 h 34"/>
                  <a:gd name="T108" fmla="*/ 5 w 27"/>
                  <a:gd name="T109" fmla="*/ 34 h 34"/>
                  <a:gd name="T110" fmla="*/ 5 w 27"/>
                  <a:gd name="T111" fmla="*/ 32 h 34"/>
                  <a:gd name="T112" fmla="*/ 7 w 27"/>
                  <a:gd name="T113" fmla="*/ 34 h 34"/>
                  <a:gd name="T114" fmla="*/ 7 w 27"/>
                  <a:gd name="T115" fmla="*/ 28 h 34"/>
                  <a:gd name="T116" fmla="*/ 7 w 27"/>
                  <a:gd name="T117" fmla="*/ 28 h 34"/>
                  <a:gd name="T118" fmla="*/ 9 w 27"/>
                  <a:gd name="T119" fmla="*/ 28 h 34"/>
                  <a:gd name="T120" fmla="*/ 9 w 27"/>
                  <a:gd name="T121"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 h="34">
                    <a:moveTo>
                      <a:pt x="9" y="30"/>
                    </a:moveTo>
                    <a:lnTo>
                      <a:pt x="10" y="28"/>
                    </a:lnTo>
                    <a:lnTo>
                      <a:pt x="12" y="28"/>
                    </a:lnTo>
                    <a:lnTo>
                      <a:pt x="12" y="27"/>
                    </a:lnTo>
                    <a:lnTo>
                      <a:pt x="16" y="25"/>
                    </a:lnTo>
                    <a:lnTo>
                      <a:pt x="16" y="23"/>
                    </a:lnTo>
                    <a:lnTo>
                      <a:pt x="16" y="23"/>
                    </a:lnTo>
                    <a:lnTo>
                      <a:pt x="14" y="21"/>
                    </a:lnTo>
                    <a:lnTo>
                      <a:pt x="14" y="21"/>
                    </a:lnTo>
                    <a:lnTo>
                      <a:pt x="16" y="19"/>
                    </a:lnTo>
                    <a:lnTo>
                      <a:pt x="16" y="19"/>
                    </a:lnTo>
                    <a:lnTo>
                      <a:pt x="16" y="18"/>
                    </a:lnTo>
                    <a:lnTo>
                      <a:pt x="19" y="18"/>
                    </a:lnTo>
                    <a:lnTo>
                      <a:pt x="21" y="18"/>
                    </a:lnTo>
                    <a:lnTo>
                      <a:pt x="21" y="18"/>
                    </a:lnTo>
                    <a:lnTo>
                      <a:pt x="21" y="18"/>
                    </a:lnTo>
                    <a:lnTo>
                      <a:pt x="21" y="18"/>
                    </a:lnTo>
                    <a:lnTo>
                      <a:pt x="19" y="16"/>
                    </a:lnTo>
                    <a:lnTo>
                      <a:pt x="21" y="16"/>
                    </a:lnTo>
                    <a:lnTo>
                      <a:pt x="21" y="14"/>
                    </a:lnTo>
                    <a:lnTo>
                      <a:pt x="21" y="14"/>
                    </a:lnTo>
                    <a:lnTo>
                      <a:pt x="23" y="14"/>
                    </a:lnTo>
                    <a:lnTo>
                      <a:pt x="25" y="12"/>
                    </a:lnTo>
                    <a:lnTo>
                      <a:pt x="25" y="12"/>
                    </a:lnTo>
                    <a:lnTo>
                      <a:pt x="27" y="10"/>
                    </a:lnTo>
                    <a:lnTo>
                      <a:pt x="27" y="10"/>
                    </a:lnTo>
                    <a:lnTo>
                      <a:pt x="25" y="10"/>
                    </a:lnTo>
                    <a:lnTo>
                      <a:pt x="27" y="9"/>
                    </a:lnTo>
                    <a:lnTo>
                      <a:pt x="25" y="7"/>
                    </a:lnTo>
                    <a:lnTo>
                      <a:pt x="25" y="5"/>
                    </a:lnTo>
                    <a:lnTo>
                      <a:pt x="23" y="5"/>
                    </a:lnTo>
                    <a:lnTo>
                      <a:pt x="23" y="3"/>
                    </a:lnTo>
                    <a:lnTo>
                      <a:pt x="21" y="3"/>
                    </a:lnTo>
                    <a:lnTo>
                      <a:pt x="21" y="3"/>
                    </a:lnTo>
                    <a:lnTo>
                      <a:pt x="23" y="3"/>
                    </a:lnTo>
                    <a:lnTo>
                      <a:pt x="23" y="2"/>
                    </a:lnTo>
                    <a:lnTo>
                      <a:pt x="23" y="2"/>
                    </a:lnTo>
                    <a:lnTo>
                      <a:pt x="23" y="2"/>
                    </a:lnTo>
                    <a:lnTo>
                      <a:pt x="23" y="2"/>
                    </a:lnTo>
                    <a:lnTo>
                      <a:pt x="21" y="2"/>
                    </a:lnTo>
                    <a:lnTo>
                      <a:pt x="21" y="0"/>
                    </a:lnTo>
                    <a:lnTo>
                      <a:pt x="21" y="0"/>
                    </a:lnTo>
                    <a:lnTo>
                      <a:pt x="19" y="2"/>
                    </a:lnTo>
                    <a:lnTo>
                      <a:pt x="16" y="2"/>
                    </a:lnTo>
                    <a:lnTo>
                      <a:pt x="16" y="3"/>
                    </a:lnTo>
                    <a:lnTo>
                      <a:pt x="10" y="9"/>
                    </a:lnTo>
                    <a:lnTo>
                      <a:pt x="9" y="16"/>
                    </a:lnTo>
                    <a:lnTo>
                      <a:pt x="7" y="16"/>
                    </a:lnTo>
                    <a:lnTo>
                      <a:pt x="7" y="16"/>
                    </a:lnTo>
                    <a:lnTo>
                      <a:pt x="7" y="18"/>
                    </a:lnTo>
                    <a:lnTo>
                      <a:pt x="0" y="32"/>
                    </a:lnTo>
                    <a:lnTo>
                      <a:pt x="0" y="34"/>
                    </a:lnTo>
                    <a:lnTo>
                      <a:pt x="3" y="32"/>
                    </a:lnTo>
                    <a:lnTo>
                      <a:pt x="3" y="34"/>
                    </a:lnTo>
                    <a:lnTo>
                      <a:pt x="5" y="34"/>
                    </a:lnTo>
                    <a:lnTo>
                      <a:pt x="5" y="32"/>
                    </a:lnTo>
                    <a:lnTo>
                      <a:pt x="7" y="34"/>
                    </a:lnTo>
                    <a:lnTo>
                      <a:pt x="7" y="28"/>
                    </a:lnTo>
                    <a:lnTo>
                      <a:pt x="7" y="28"/>
                    </a:lnTo>
                    <a:lnTo>
                      <a:pt x="9" y="28"/>
                    </a:lnTo>
                    <a:lnTo>
                      <a:pt x="9" y="3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50" name="Freeform 2300"/>
              <p:cNvSpPr>
                <a:spLocks/>
              </p:cNvSpPr>
              <p:nvPr/>
            </p:nvSpPr>
            <p:spPr bwMode="auto">
              <a:xfrm>
                <a:off x="3257" y="2122"/>
                <a:ext cx="27" cy="34"/>
              </a:xfrm>
              <a:custGeom>
                <a:avLst/>
                <a:gdLst>
                  <a:gd name="T0" fmla="*/ 9 w 27"/>
                  <a:gd name="T1" fmla="*/ 30 h 34"/>
                  <a:gd name="T2" fmla="*/ 10 w 27"/>
                  <a:gd name="T3" fmla="*/ 28 h 34"/>
                  <a:gd name="T4" fmla="*/ 12 w 27"/>
                  <a:gd name="T5" fmla="*/ 28 h 34"/>
                  <a:gd name="T6" fmla="*/ 12 w 27"/>
                  <a:gd name="T7" fmla="*/ 27 h 34"/>
                  <a:gd name="T8" fmla="*/ 16 w 27"/>
                  <a:gd name="T9" fmla="*/ 25 h 34"/>
                  <a:gd name="T10" fmla="*/ 16 w 27"/>
                  <a:gd name="T11" fmla="*/ 23 h 34"/>
                  <a:gd name="T12" fmla="*/ 16 w 27"/>
                  <a:gd name="T13" fmla="*/ 23 h 34"/>
                  <a:gd name="T14" fmla="*/ 14 w 27"/>
                  <a:gd name="T15" fmla="*/ 21 h 34"/>
                  <a:gd name="T16" fmla="*/ 14 w 27"/>
                  <a:gd name="T17" fmla="*/ 21 h 34"/>
                  <a:gd name="T18" fmla="*/ 16 w 27"/>
                  <a:gd name="T19" fmla="*/ 19 h 34"/>
                  <a:gd name="T20" fmla="*/ 16 w 27"/>
                  <a:gd name="T21" fmla="*/ 19 h 34"/>
                  <a:gd name="T22" fmla="*/ 16 w 27"/>
                  <a:gd name="T23" fmla="*/ 18 h 34"/>
                  <a:gd name="T24" fmla="*/ 19 w 27"/>
                  <a:gd name="T25" fmla="*/ 18 h 34"/>
                  <a:gd name="T26" fmla="*/ 21 w 27"/>
                  <a:gd name="T27" fmla="*/ 18 h 34"/>
                  <a:gd name="T28" fmla="*/ 21 w 27"/>
                  <a:gd name="T29" fmla="*/ 18 h 34"/>
                  <a:gd name="T30" fmla="*/ 21 w 27"/>
                  <a:gd name="T31" fmla="*/ 18 h 34"/>
                  <a:gd name="T32" fmla="*/ 21 w 27"/>
                  <a:gd name="T33" fmla="*/ 18 h 34"/>
                  <a:gd name="T34" fmla="*/ 19 w 27"/>
                  <a:gd name="T35" fmla="*/ 16 h 34"/>
                  <a:gd name="T36" fmla="*/ 21 w 27"/>
                  <a:gd name="T37" fmla="*/ 16 h 34"/>
                  <a:gd name="T38" fmla="*/ 21 w 27"/>
                  <a:gd name="T39" fmla="*/ 14 h 34"/>
                  <a:gd name="T40" fmla="*/ 21 w 27"/>
                  <a:gd name="T41" fmla="*/ 14 h 34"/>
                  <a:gd name="T42" fmla="*/ 23 w 27"/>
                  <a:gd name="T43" fmla="*/ 14 h 34"/>
                  <a:gd name="T44" fmla="*/ 25 w 27"/>
                  <a:gd name="T45" fmla="*/ 12 h 34"/>
                  <a:gd name="T46" fmla="*/ 25 w 27"/>
                  <a:gd name="T47" fmla="*/ 12 h 34"/>
                  <a:gd name="T48" fmla="*/ 27 w 27"/>
                  <a:gd name="T49" fmla="*/ 10 h 34"/>
                  <a:gd name="T50" fmla="*/ 27 w 27"/>
                  <a:gd name="T51" fmla="*/ 10 h 34"/>
                  <a:gd name="T52" fmla="*/ 25 w 27"/>
                  <a:gd name="T53" fmla="*/ 10 h 34"/>
                  <a:gd name="T54" fmla="*/ 27 w 27"/>
                  <a:gd name="T55" fmla="*/ 9 h 34"/>
                  <a:gd name="T56" fmla="*/ 25 w 27"/>
                  <a:gd name="T57" fmla="*/ 7 h 34"/>
                  <a:gd name="T58" fmla="*/ 25 w 27"/>
                  <a:gd name="T59" fmla="*/ 5 h 34"/>
                  <a:gd name="T60" fmla="*/ 23 w 27"/>
                  <a:gd name="T61" fmla="*/ 5 h 34"/>
                  <a:gd name="T62" fmla="*/ 23 w 27"/>
                  <a:gd name="T63" fmla="*/ 3 h 34"/>
                  <a:gd name="T64" fmla="*/ 21 w 27"/>
                  <a:gd name="T65" fmla="*/ 3 h 34"/>
                  <a:gd name="T66" fmla="*/ 21 w 27"/>
                  <a:gd name="T67" fmla="*/ 3 h 34"/>
                  <a:gd name="T68" fmla="*/ 23 w 27"/>
                  <a:gd name="T69" fmla="*/ 3 h 34"/>
                  <a:gd name="T70" fmla="*/ 23 w 27"/>
                  <a:gd name="T71" fmla="*/ 2 h 34"/>
                  <a:gd name="T72" fmla="*/ 23 w 27"/>
                  <a:gd name="T73" fmla="*/ 2 h 34"/>
                  <a:gd name="T74" fmla="*/ 23 w 27"/>
                  <a:gd name="T75" fmla="*/ 2 h 34"/>
                  <a:gd name="T76" fmla="*/ 23 w 27"/>
                  <a:gd name="T77" fmla="*/ 2 h 34"/>
                  <a:gd name="T78" fmla="*/ 21 w 27"/>
                  <a:gd name="T79" fmla="*/ 2 h 34"/>
                  <a:gd name="T80" fmla="*/ 21 w 27"/>
                  <a:gd name="T81" fmla="*/ 0 h 34"/>
                  <a:gd name="T82" fmla="*/ 21 w 27"/>
                  <a:gd name="T83" fmla="*/ 0 h 34"/>
                  <a:gd name="T84" fmla="*/ 19 w 27"/>
                  <a:gd name="T85" fmla="*/ 2 h 34"/>
                  <a:gd name="T86" fmla="*/ 16 w 27"/>
                  <a:gd name="T87" fmla="*/ 2 h 34"/>
                  <a:gd name="T88" fmla="*/ 16 w 27"/>
                  <a:gd name="T89" fmla="*/ 3 h 34"/>
                  <a:gd name="T90" fmla="*/ 10 w 27"/>
                  <a:gd name="T91" fmla="*/ 9 h 34"/>
                  <a:gd name="T92" fmla="*/ 9 w 27"/>
                  <a:gd name="T93" fmla="*/ 16 h 34"/>
                  <a:gd name="T94" fmla="*/ 7 w 27"/>
                  <a:gd name="T95" fmla="*/ 16 h 34"/>
                  <a:gd name="T96" fmla="*/ 7 w 27"/>
                  <a:gd name="T97" fmla="*/ 16 h 34"/>
                  <a:gd name="T98" fmla="*/ 7 w 27"/>
                  <a:gd name="T99" fmla="*/ 18 h 34"/>
                  <a:gd name="T100" fmla="*/ 0 w 27"/>
                  <a:gd name="T101" fmla="*/ 32 h 34"/>
                  <a:gd name="T102" fmla="*/ 0 w 27"/>
                  <a:gd name="T103" fmla="*/ 34 h 34"/>
                  <a:gd name="T104" fmla="*/ 3 w 27"/>
                  <a:gd name="T105" fmla="*/ 32 h 34"/>
                  <a:gd name="T106" fmla="*/ 3 w 27"/>
                  <a:gd name="T107" fmla="*/ 34 h 34"/>
                  <a:gd name="T108" fmla="*/ 5 w 27"/>
                  <a:gd name="T109" fmla="*/ 34 h 34"/>
                  <a:gd name="T110" fmla="*/ 5 w 27"/>
                  <a:gd name="T111" fmla="*/ 32 h 34"/>
                  <a:gd name="T112" fmla="*/ 7 w 27"/>
                  <a:gd name="T113" fmla="*/ 34 h 34"/>
                  <a:gd name="T114" fmla="*/ 7 w 27"/>
                  <a:gd name="T115" fmla="*/ 28 h 34"/>
                  <a:gd name="T116" fmla="*/ 7 w 27"/>
                  <a:gd name="T117" fmla="*/ 28 h 34"/>
                  <a:gd name="T118" fmla="*/ 9 w 27"/>
                  <a:gd name="T119" fmla="*/ 28 h 34"/>
                  <a:gd name="T120" fmla="*/ 9 w 27"/>
                  <a:gd name="T121"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 h="34">
                    <a:moveTo>
                      <a:pt x="9" y="30"/>
                    </a:moveTo>
                    <a:lnTo>
                      <a:pt x="10" y="28"/>
                    </a:lnTo>
                    <a:lnTo>
                      <a:pt x="12" y="28"/>
                    </a:lnTo>
                    <a:lnTo>
                      <a:pt x="12" y="27"/>
                    </a:lnTo>
                    <a:lnTo>
                      <a:pt x="16" y="25"/>
                    </a:lnTo>
                    <a:lnTo>
                      <a:pt x="16" y="23"/>
                    </a:lnTo>
                    <a:lnTo>
                      <a:pt x="16" y="23"/>
                    </a:lnTo>
                    <a:lnTo>
                      <a:pt x="14" y="21"/>
                    </a:lnTo>
                    <a:lnTo>
                      <a:pt x="14" y="21"/>
                    </a:lnTo>
                    <a:lnTo>
                      <a:pt x="16" y="19"/>
                    </a:lnTo>
                    <a:lnTo>
                      <a:pt x="16" y="19"/>
                    </a:lnTo>
                    <a:lnTo>
                      <a:pt x="16" y="18"/>
                    </a:lnTo>
                    <a:lnTo>
                      <a:pt x="19" y="18"/>
                    </a:lnTo>
                    <a:lnTo>
                      <a:pt x="21" y="18"/>
                    </a:lnTo>
                    <a:lnTo>
                      <a:pt x="21" y="18"/>
                    </a:lnTo>
                    <a:lnTo>
                      <a:pt x="21" y="18"/>
                    </a:lnTo>
                    <a:lnTo>
                      <a:pt x="21" y="18"/>
                    </a:lnTo>
                    <a:lnTo>
                      <a:pt x="19" y="16"/>
                    </a:lnTo>
                    <a:lnTo>
                      <a:pt x="21" y="16"/>
                    </a:lnTo>
                    <a:lnTo>
                      <a:pt x="21" y="14"/>
                    </a:lnTo>
                    <a:lnTo>
                      <a:pt x="21" y="14"/>
                    </a:lnTo>
                    <a:lnTo>
                      <a:pt x="23" y="14"/>
                    </a:lnTo>
                    <a:lnTo>
                      <a:pt x="25" y="12"/>
                    </a:lnTo>
                    <a:lnTo>
                      <a:pt x="25" y="12"/>
                    </a:lnTo>
                    <a:lnTo>
                      <a:pt x="27" y="10"/>
                    </a:lnTo>
                    <a:lnTo>
                      <a:pt x="27" y="10"/>
                    </a:lnTo>
                    <a:lnTo>
                      <a:pt x="25" y="10"/>
                    </a:lnTo>
                    <a:lnTo>
                      <a:pt x="27" y="9"/>
                    </a:lnTo>
                    <a:lnTo>
                      <a:pt x="25" y="7"/>
                    </a:lnTo>
                    <a:lnTo>
                      <a:pt x="25" y="5"/>
                    </a:lnTo>
                    <a:lnTo>
                      <a:pt x="23" y="5"/>
                    </a:lnTo>
                    <a:lnTo>
                      <a:pt x="23" y="3"/>
                    </a:lnTo>
                    <a:lnTo>
                      <a:pt x="21" y="3"/>
                    </a:lnTo>
                    <a:lnTo>
                      <a:pt x="21" y="3"/>
                    </a:lnTo>
                    <a:lnTo>
                      <a:pt x="23" y="3"/>
                    </a:lnTo>
                    <a:lnTo>
                      <a:pt x="23" y="2"/>
                    </a:lnTo>
                    <a:lnTo>
                      <a:pt x="23" y="2"/>
                    </a:lnTo>
                    <a:lnTo>
                      <a:pt x="23" y="2"/>
                    </a:lnTo>
                    <a:lnTo>
                      <a:pt x="23" y="2"/>
                    </a:lnTo>
                    <a:lnTo>
                      <a:pt x="21" y="2"/>
                    </a:lnTo>
                    <a:lnTo>
                      <a:pt x="21" y="0"/>
                    </a:lnTo>
                    <a:lnTo>
                      <a:pt x="21" y="0"/>
                    </a:lnTo>
                    <a:lnTo>
                      <a:pt x="19" y="2"/>
                    </a:lnTo>
                    <a:lnTo>
                      <a:pt x="16" y="2"/>
                    </a:lnTo>
                    <a:lnTo>
                      <a:pt x="16" y="3"/>
                    </a:lnTo>
                    <a:lnTo>
                      <a:pt x="10" y="9"/>
                    </a:lnTo>
                    <a:lnTo>
                      <a:pt x="9" y="16"/>
                    </a:lnTo>
                    <a:lnTo>
                      <a:pt x="7" y="16"/>
                    </a:lnTo>
                    <a:lnTo>
                      <a:pt x="7" y="16"/>
                    </a:lnTo>
                    <a:lnTo>
                      <a:pt x="7" y="18"/>
                    </a:lnTo>
                    <a:lnTo>
                      <a:pt x="0" y="32"/>
                    </a:lnTo>
                    <a:lnTo>
                      <a:pt x="0" y="34"/>
                    </a:lnTo>
                    <a:lnTo>
                      <a:pt x="3" y="32"/>
                    </a:lnTo>
                    <a:lnTo>
                      <a:pt x="3" y="34"/>
                    </a:lnTo>
                    <a:lnTo>
                      <a:pt x="5" y="34"/>
                    </a:lnTo>
                    <a:lnTo>
                      <a:pt x="5" y="32"/>
                    </a:lnTo>
                    <a:lnTo>
                      <a:pt x="7" y="34"/>
                    </a:lnTo>
                    <a:lnTo>
                      <a:pt x="7" y="28"/>
                    </a:lnTo>
                    <a:lnTo>
                      <a:pt x="7" y="28"/>
                    </a:lnTo>
                    <a:lnTo>
                      <a:pt x="9" y="28"/>
                    </a:lnTo>
                    <a:lnTo>
                      <a:pt x="9" y="3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51" name="Freeform 2301"/>
              <p:cNvSpPr>
                <a:spLocks/>
              </p:cNvSpPr>
              <p:nvPr/>
            </p:nvSpPr>
            <p:spPr bwMode="auto">
              <a:xfrm>
                <a:off x="3089" y="2182"/>
                <a:ext cx="178" cy="175"/>
              </a:xfrm>
              <a:custGeom>
                <a:avLst/>
                <a:gdLst>
                  <a:gd name="T0" fmla="*/ 7 w 178"/>
                  <a:gd name="T1" fmla="*/ 47 h 175"/>
                  <a:gd name="T2" fmla="*/ 3 w 178"/>
                  <a:gd name="T3" fmla="*/ 38 h 175"/>
                  <a:gd name="T4" fmla="*/ 0 w 178"/>
                  <a:gd name="T5" fmla="*/ 29 h 175"/>
                  <a:gd name="T6" fmla="*/ 2 w 178"/>
                  <a:gd name="T7" fmla="*/ 25 h 175"/>
                  <a:gd name="T8" fmla="*/ 3 w 178"/>
                  <a:gd name="T9" fmla="*/ 24 h 175"/>
                  <a:gd name="T10" fmla="*/ 2 w 178"/>
                  <a:gd name="T11" fmla="*/ 6 h 175"/>
                  <a:gd name="T12" fmla="*/ 5 w 178"/>
                  <a:gd name="T13" fmla="*/ 2 h 175"/>
                  <a:gd name="T14" fmla="*/ 7 w 178"/>
                  <a:gd name="T15" fmla="*/ 0 h 175"/>
                  <a:gd name="T16" fmla="*/ 11 w 178"/>
                  <a:gd name="T17" fmla="*/ 2 h 175"/>
                  <a:gd name="T18" fmla="*/ 36 w 178"/>
                  <a:gd name="T19" fmla="*/ 4 h 175"/>
                  <a:gd name="T20" fmla="*/ 52 w 178"/>
                  <a:gd name="T21" fmla="*/ 9 h 175"/>
                  <a:gd name="T22" fmla="*/ 62 w 178"/>
                  <a:gd name="T23" fmla="*/ 11 h 175"/>
                  <a:gd name="T24" fmla="*/ 91 w 178"/>
                  <a:gd name="T25" fmla="*/ 4 h 175"/>
                  <a:gd name="T26" fmla="*/ 98 w 178"/>
                  <a:gd name="T27" fmla="*/ 2 h 175"/>
                  <a:gd name="T28" fmla="*/ 95 w 178"/>
                  <a:gd name="T29" fmla="*/ 6 h 175"/>
                  <a:gd name="T30" fmla="*/ 100 w 178"/>
                  <a:gd name="T31" fmla="*/ 4 h 175"/>
                  <a:gd name="T32" fmla="*/ 103 w 178"/>
                  <a:gd name="T33" fmla="*/ 2 h 175"/>
                  <a:gd name="T34" fmla="*/ 114 w 178"/>
                  <a:gd name="T35" fmla="*/ 2 h 175"/>
                  <a:gd name="T36" fmla="*/ 118 w 178"/>
                  <a:gd name="T37" fmla="*/ 2 h 175"/>
                  <a:gd name="T38" fmla="*/ 120 w 178"/>
                  <a:gd name="T39" fmla="*/ 4 h 175"/>
                  <a:gd name="T40" fmla="*/ 121 w 178"/>
                  <a:gd name="T41" fmla="*/ 8 h 175"/>
                  <a:gd name="T42" fmla="*/ 127 w 178"/>
                  <a:gd name="T43" fmla="*/ 11 h 175"/>
                  <a:gd name="T44" fmla="*/ 134 w 178"/>
                  <a:gd name="T45" fmla="*/ 9 h 175"/>
                  <a:gd name="T46" fmla="*/ 137 w 178"/>
                  <a:gd name="T47" fmla="*/ 11 h 175"/>
                  <a:gd name="T48" fmla="*/ 152 w 178"/>
                  <a:gd name="T49" fmla="*/ 6 h 175"/>
                  <a:gd name="T50" fmla="*/ 157 w 178"/>
                  <a:gd name="T51" fmla="*/ 65 h 175"/>
                  <a:gd name="T52" fmla="*/ 157 w 178"/>
                  <a:gd name="T53" fmla="*/ 68 h 175"/>
                  <a:gd name="T54" fmla="*/ 153 w 178"/>
                  <a:gd name="T55" fmla="*/ 70 h 175"/>
                  <a:gd name="T56" fmla="*/ 139 w 178"/>
                  <a:gd name="T57" fmla="*/ 54 h 175"/>
                  <a:gd name="T58" fmla="*/ 130 w 178"/>
                  <a:gd name="T59" fmla="*/ 40 h 175"/>
                  <a:gd name="T60" fmla="*/ 128 w 178"/>
                  <a:gd name="T61" fmla="*/ 31 h 175"/>
                  <a:gd name="T62" fmla="*/ 128 w 178"/>
                  <a:gd name="T63" fmla="*/ 31 h 175"/>
                  <a:gd name="T64" fmla="*/ 127 w 178"/>
                  <a:gd name="T65" fmla="*/ 33 h 175"/>
                  <a:gd name="T66" fmla="*/ 125 w 178"/>
                  <a:gd name="T67" fmla="*/ 38 h 175"/>
                  <a:gd name="T68" fmla="*/ 128 w 178"/>
                  <a:gd name="T69" fmla="*/ 42 h 175"/>
                  <a:gd name="T70" fmla="*/ 128 w 178"/>
                  <a:gd name="T71" fmla="*/ 49 h 175"/>
                  <a:gd name="T72" fmla="*/ 141 w 178"/>
                  <a:gd name="T73" fmla="*/ 67 h 175"/>
                  <a:gd name="T74" fmla="*/ 143 w 178"/>
                  <a:gd name="T75" fmla="*/ 74 h 175"/>
                  <a:gd name="T76" fmla="*/ 177 w 178"/>
                  <a:gd name="T77" fmla="*/ 136 h 175"/>
                  <a:gd name="T78" fmla="*/ 178 w 178"/>
                  <a:gd name="T79" fmla="*/ 138 h 175"/>
                  <a:gd name="T80" fmla="*/ 175 w 178"/>
                  <a:gd name="T81" fmla="*/ 138 h 175"/>
                  <a:gd name="T82" fmla="*/ 173 w 178"/>
                  <a:gd name="T83" fmla="*/ 140 h 175"/>
                  <a:gd name="T84" fmla="*/ 175 w 178"/>
                  <a:gd name="T85" fmla="*/ 149 h 175"/>
                  <a:gd name="T86" fmla="*/ 170 w 178"/>
                  <a:gd name="T87" fmla="*/ 159 h 175"/>
                  <a:gd name="T88" fmla="*/ 162 w 178"/>
                  <a:gd name="T89" fmla="*/ 167 h 175"/>
                  <a:gd name="T90" fmla="*/ 152 w 178"/>
                  <a:gd name="T91" fmla="*/ 175 h 175"/>
                  <a:gd name="T92" fmla="*/ 137 w 178"/>
                  <a:gd name="T93" fmla="*/ 172 h 175"/>
                  <a:gd name="T94" fmla="*/ 111 w 178"/>
                  <a:gd name="T95" fmla="*/ 168 h 175"/>
                  <a:gd name="T96" fmla="*/ 111 w 178"/>
                  <a:gd name="T97" fmla="*/ 168 h 175"/>
                  <a:gd name="T98" fmla="*/ 107 w 178"/>
                  <a:gd name="T99" fmla="*/ 172 h 175"/>
                  <a:gd name="T100" fmla="*/ 7 w 178"/>
                  <a:gd name="T101" fmla="*/ 16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8" h="175">
                    <a:moveTo>
                      <a:pt x="7" y="161"/>
                    </a:moveTo>
                    <a:lnTo>
                      <a:pt x="7" y="47"/>
                    </a:lnTo>
                    <a:lnTo>
                      <a:pt x="2" y="42"/>
                    </a:lnTo>
                    <a:lnTo>
                      <a:pt x="3" y="38"/>
                    </a:lnTo>
                    <a:lnTo>
                      <a:pt x="2" y="34"/>
                    </a:lnTo>
                    <a:lnTo>
                      <a:pt x="0" y="29"/>
                    </a:lnTo>
                    <a:lnTo>
                      <a:pt x="0" y="27"/>
                    </a:lnTo>
                    <a:lnTo>
                      <a:pt x="2" y="25"/>
                    </a:lnTo>
                    <a:lnTo>
                      <a:pt x="3" y="25"/>
                    </a:lnTo>
                    <a:lnTo>
                      <a:pt x="3" y="24"/>
                    </a:lnTo>
                    <a:lnTo>
                      <a:pt x="3" y="9"/>
                    </a:lnTo>
                    <a:lnTo>
                      <a:pt x="2" y="6"/>
                    </a:lnTo>
                    <a:lnTo>
                      <a:pt x="2" y="6"/>
                    </a:lnTo>
                    <a:lnTo>
                      <a:pt x="5" y="2"/>
                    </a:lnTo>
                    <a:lnTo>
                      <a:pt x="5" y="0"/>
                    </a:lnTo>
                    <a:lnTo>
                      <a:pt x="7" y="0"/>
                    </a:lnTo>
                    <a:lnTo>
                      <a:pt x="9" y="2"/>
                    </a:lnTo>
                    <a:lnTo>
                      <a:pt x="11" y="2"/>
                    </a:lnTo>
                    <a:lnTo>
                      <a:pt x="20" y="0"/>
                    </a:lnTo>
                    <a:lnTo>
                      <a:pt x="36" y="4"/>
                    </a:lnTo>
                    <a:lnTo>
                      <a:pt x="45" y="8"/>
                    </a:lnTo>
                    <a:lnTo>
                      <a:pt x="52" y="9"/>
                    </a:lnTo>
                    <a:lnTo>
                      <a:pt x="55" y="11"/>
                    </a:lnTo>
                    <a:lnTo>
                      <a:pt x="62" y="11"/>
                    </a:lnTo>
                    <a:lnTo>
                      <a:pt x="70" y="15"/>
                    </a:lnTo>
                    <a:lnTo>
                      <a:pt x="91" y="4"/>
                    </a:lnTo>
                    <a:lnTo>
                      <a:pt x="98" y="2"/>
                    </a:lnTo>
                    <a:lnTo>
                      <a:pt x="98" y="2"/>
                    </a:lnTo>
                    <a:lnTo>
                      <a:pt x="95" y="4"/>
                    </a:lnTo>
                    <a:lnTo>
                      <a:pt x="95" y="6"/>
                    </a:lnTo>
                    <a:lnTo>
                      <a:pt x="95" y="6"/>
                    </a:lnTo>
                    <a:lnTo>
                      <a:pt x="100" y="4"/>
                    </a:lnTo>
                    <a:lnTo>
                      <a:pt x="102" y="4"/>
                    </a:lnTo>
                    <a:lnTo>
                      <a:pt x="103" y="2"/>
                    </a:lnTo>
                    <a:lnTo>
                      <a:pt x="105" y="2"/>
                    </a:lnTo>
                    <a:lnTo>
                      <a:pt x="114" y="2"/>
                    </a:lnTo>
                    <a:lnTo>
                      <a:pt x="118" y="2"/>
                    </a:lnTo>
                    <a:lnTo>
                      <a:pt x="118" y="2"/>
                    </a:lnTo>
                    <a:lnTo>
                      <a:pt x="118" y="4"/>
                    </a:lnTo>
                    <a:lnTo>
                      <a:pt x="120" y="4"/>
                    </a:lnTo>
                    <a:lnTo>
                      <a:pt x="120" y="6"/>
                    </a:lnTo>
                    <a:lnTo>
                      <a:pt x="121" y="8"/>
                    </a:lnTo>
                    <a:lnTo>
                      <a:pt x="125" y="8"/>
                    </a:lnTo>
                    <a:lnTo>
                      <a:pt x="127" y="11"/>
                    </a:lnTo>
                    <a:lnTo>
                      <a:pt x="134" y="11"/>
                    </a:lnTo>
                    <a:lnTo>
                      <a:pt x="134" y="9"/>
                    </a:lnTo>
                    <a:lnTo>
                      <a:pt x="136" y="9"/>
                    </a:lnTo>
                    <a:lnTo>
                      <a:pt x="137" y="11"/>
                    </a:lnTo>
                    <a:lnTo>
                      <a:pt x="143" y="11"/>
                    </a:lnTo>
                    <a:lnTo>
                      <a:pt x="152" y="6"/>
                    </a:lnTo>
                    <a:lnTo>
                      <a:pt x="164" y="42"/>
                    </a:lnTo>
                    <a:lnTo>
                      <a:pt x="157" y="65"/>
                    </a:lnTo>
                    <a:lnTo>
                      <a:pt x="157" y="67"/>
                    </a:lnTo>
                    <a:lnTo>
                      <a:pt x="157" y="68"/>
                    </a:lnTo>
                    <a:lnTo>
                      <a:pt x="157" y="68"/>
                    </a:lnTo>
                    <a:lnTo>
                      <a:pt x="153" y="70"/>
                    </a:lnTo>
                    <a:lnTo>
                      <a:pt x="152" y="70"/>
                    </a:lnTo>
                    <a:lnTo>
                      <a:pt x="139" y="54"/>
                    </a:lnTo>
                    <a:lnTo>
                      <a:pt x="139" y="50"/>
                    </a:lnTo>
                    <a:lnTo>
                      <a:pt x="130" y="40"/>
                    </a:lnTo>
                    <a:lnTo>
                      <a:pt x="130" y="33"/>
                    </a:lnTo>
                    <a:lnTo>
                      <a:pt x="128" y="31"/>
                    </a:lnTo>
                    <a:lnTo>
                      <a:pt x="128" y="31"/>
                    </a:lnTo>
                    <a:lnTo>
                      <a:pt x="128" y="31"/>
                    </a:lnTo>
                    <a:lnTo>
                      <a:pt x="127" y="31"/>
                    </a:lnTo>
                    <a:lnTo>
                      <a:pt x="127" y="33"/>
                    </a:lnTo>
                    <a:lnTo>
                      <a:pt x="125" y="34"/>
                    </a:lnTo>
                    <a:lnTo>
                      <a:pt x="125" y="38"/>
                    </a:lnTo>
                    <a:lnTo>
                      <a:pt x="125" y="40"/>
                    </a:lnTo>
                    <a:lnTo>
                      <a:pt x="128" y="42"/>
                    </a:lnTo>
                    <a:lnTo>
                      <a:pt x="128" y="45"/>
                    </a:lnTo>
                    <a:lnTo>
                      <a:pt x="128" y="49"/>
                    </a:lnTo>
                    <a:lnTo>
                      <a:pt x="134" y="59"/>
                    </a:lnTo>
                    <a:lnTo>
                      <a:pt x="141" y="67"/>
                    </a:lnTo>
                    <a:lnTo>
                      <a:pt x="143" y="68"/>
                    </a:lnTo>
                    <a:lnTo>
                      <a:pt x="143" y="74"/>
                    </a:lnTo>
                    <a:lnTo>
                      <a:pt x="170" y="129"/>
                    </a:lnTo>
                    <a:lnTo>
                      <a:pt x="177" y="136"/>
                    </a:lnTo>
                    <a:lnTo>
                      <a:pt x="178" y="138"/>
                    </a:lnTo>
                    <a:lnTo>
                      <a:pt x="178" y="138"/>
                    </a:lnTo>
                    <a:lnTo>
                      <a:pt x="178" y="140"/>
                    </a:lnTo>
                    <a:lnTo>
                      <a:pt x="175" y="138"/>
                    </a:lnTo>
                    <a:lnTo>
                      <a:pt x="175" y="138"/>
                    </a:lnTo>
                    <a:lnTo>
                      <a:pt x="173" y="140"/>
                    </a:lnTo>
                    <a:lnTo>
                      <a:pt x="175" y="142"/>
                    </a:lnTo>
                    <a:lnTo>
                      <a:pt x="175" y="149"/>
                    </a:lnTo>
                    <a:lnTo>
                      <a:pt x="177" y="154"/>
                    </a:lnTo>
                    <a:lnTo>
                      <a:pt x="170" y="159"/>
                    </a:lnTo>
                    <a:lnTo>
                      <a:pt x="166" y="158"/>
                    </a:lnTo>
                    <a:lnTo>
                      <a:pt x="162" y="167"/>
                    </a:lnTo>
                    <a:lnTo>
                      <a:pt x="153" y="168"/>
                    </a:lnTo>
                    <a:lnTo>
                      <a:pt x="152" y="175"/>
                    </a:lnTo>
                    <a:lnTo>
                      <a:pt x="145" y="175"/>
                    </a:lnTo>
                    <a:lnTo>
                      <a:pt x="137" y="172"/>
                    </a:lnTo>
                    <a:lnTo>
                      <a:pt x="111" y="172"/>
                    </a:lnTo>
                    <a:lnTo>
                      <a:pt x="111" y="168"/>
                    </a:lnTo>
                    <a:lnTo>
                      <a:pt x="111" y="168"/>
                    </a:lnTo>
                    <a:lnTo>
                      <a:pt x="111" y="168"/>
                    </a:lnTo>
                    <a:lnTo>
                      <a:pt x="109" y="168"/>
                    </a:lnTo>
                    <a:lnTo>
                      <a:pt x="107" y="172"/>
                    </a:lnTo>
                    <a:lnTo>
                      <a:pt x="7" y="172"/>
                    </a:lnTo>
                    <a:lnTo>
                      <a:pt x="7" y="16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52" name="Freeform 2302"/>
              <p:cNvSpPr>
                <a:spLocks/>
              </p:cNvSpPr>
              <p:nvPr/>
            </p:nvSpPr>
            <p:spPr bwMode="auto">
              <a:xfrm>
                <a:off x="3089" y="2182"/>
                <a:ext cx="178" cy="175"/>
              </a:xfrm>
              <a:custGeom>
                <a:avLst/>
                <a:gdLst>
                  <a:gd name="T0" fmla="*/ 7 w 178"/>
                  <a:gd name="T1" fmla="*/ 47 h 175"/>
                  <a:gd name="T2" fmla="*/ 3 w 178"/>
                  <a:gd name="T3" fmla="*/ 38 h 175"/>
                  <a:gd name="T4" fmla="*/ 0 w 178"/>
                  <a:gd name="T5" fmla="*/ 29 h 175"/>
                  <a:gd name="T6" fmla="*/ 2 w 178"/>
                  <a:gd name="T7" fmla="*/ 25 h 175"/>
                  <a:gd name="T8" fmla="*/ 3 w 178"/>
                  <a:gd name="T9" fmla="*/ 24 h 175"/>
                  <a:gd name="T10" fmla="*/ 2 w 178"/>
                  <a:gd name="T11" fmla="*/ 6 h 175"/>
                  <a:gd name="T12" fmla="*/ 5 w 178"/>
                  <a:gd name="T13" fmla="*/ 2 h 175"/>
                  <a:gd name="T14" fmla="*/ 7 w 178"/>
                  <a:gd name="T15" fmla="*/ 0 h 175"/>
                  <a:gd name="T16" fmla="*/ 11 w 178"/>
                  <a:gd name="T17" fmla="*/ 2 h 175"/>
                  <a:gd name="T18" fmla="*/ 36 w 178"/>
                  <a:gd name="T19" fmla="*/ 4 h 175"/>
                  <a:gd name="T20" fmla="*/ 52 w 178"/>
                  <a:gd name="T21" fmla="*/ 9 h 175"/>
                  <a:gd name="T22" fmla="*/ 62 w 178"/>
                  <a:gd name="T23" fmla="*/ 11 h 175"/>
                  <a:gd name="T24" fmla="*/ 91 w 178"/>
                  <a:gd name="T25" fmla="*/ 4 h 175"/>
                  <a:gd name="T26" fmla="*/ 98 w 178"/>
                  <a:gd name="T27" fmla="*/ 2 h 175"/>
                  <a:gd name="T28" fmla="*/ 95 w 178"/>
                  <a:gd name="T29" fmla="*/ 6 h 175"/>
                  <a:gd name="T30" fmla="*/ 100 w 178"/>
                  <a:gd name="T31" fmla="*/ 4 h 175"/>
                  <a:gd name="T32" fmla="*/ 103 w 178"/>
                  <a:gd name="T33" fmla="*/ 2 h 175"/>
                  <a:gd name="T34" fmla="*/ 114 w 178"/>
                  <a:gd name="T35" fmla="*/ 2 h 175"/>
                  <a:gd name="T36" fmla="*/ 118 w 178"/>
                  <a:gd name="T37" fmla="*/ 2 h 175"/>
                  <a:gd name="T38" fmla="*/ 120 w 178"/>
                  <a:gd name="T39" fmla="*/ 4 h 175"/>
                  <a:gd name="T40" fmla="*/ 121 w 178"/>
                  <a:gd name="T41" fmla="*/ 8 h 175"/>
                  <a:gd name="T42" fmla="*/ 127 w 178"/>
                  <a:gd name="T43" fmla="*/ 11 h 175"/>
                  <a:gd name="T44" fmla="*/ 134 w 178"/>
                  <a:gd name="T45" fmla="*/ 9 h 175"/>
                  <a:gd name="T46" fmla="*/ 137 w 178"/>
                  <a:gd name="T47" fmla="*/ 11 h 175"/>
                  <a:gd name="T48" fmla="*/ 152 w 178"/>
                  <a:gd name="T49" fmla="*/ 6 h 175"/>
                  <a:gd name="T50" fmla="*/ 157 w 178"/>
                  <a:gd name="T51" fmla="*/ 65 h 175"/>
                  <a:gd name="T52" fmla="*/ 157 w 178"/>
                  <a:gd name="T53" fmla="*/ 68 h 175"/>
                  <a:gd name="T54" fmla="*/ 153 w 178"/>
                  <a:gd name="T55" fmla="*/ 70 h 175"/>
                  <a:gd name="T56" fmla="*/ 139 w 178"/>
                  <a:gd name="T57" fmla="*/ 54 h 175"/>
                  <a:gd name="T58" fmla="*/ 130 w 178"/>
                  <a:gd name="T59" fmla="*/ 40 h 175"/>
                  <a:gd name="T60" fmla="*/ 128 w 178"/>
                  <a:gd name="T61" fmla="*/ 31 h 175"/>
                  <a:gd name="T62" fmla="*/ 128 w 178"/>
                  <a:gd name="T63" fmla="*/ 31 h 175"/>
                  <a:gd name="T64" fmla="*/ 127 w 178"/>
                  <a:gd name="T65" fmla="*/ 33 h 175"/>
                  <a:gd name="T66" fmla="*/ 125 w 178"/>
                  <a:gd name="T67" fmla="*/ 38 h 175"/>
                  <a:gd name="T68" fmla="*/ 128 w 178"/>
                  <a:gd name="T69" fmla="*/ 42 h 175"/>
                  <a:gd name="T70" fmla="*/ 128 w 178"/>
                  <a:gd name="T71" fmla="*/ 49 h 175"/>
                  <a:gd name="T72" fmla="*/ 141 w 178"/>
                  <a:gd name="T73" fmla="*/ 67 h 175"/>
                  <a:gd name="T74" fmla="*/ 143 w 178"/>
                  <a:gd name="T75" fmla="*/ 74 h 175"/>
                  <a:gd name="T76" fmla="*/ 177 w 178"/>
                  <a:gd name="T77" fmla="*/ 136 h 175"/>
                  <a:gd name="T78" fmla="*/ 178 w 178"/>
                  <a:gd name="T79" fmla="*/ 138 h 175"/>
                  <a:gd name="T80" fmla="*/ 175 w 178"/>
                  <a:gd name="T81" fmla="*/ 138 h 175"/>
                  <a:gd name="T82" fmla="*/ 173 w 178"/>
                  <a:gd name="T83" fmla="*/ 140 h 175"/>
                  <a:gd name="T84" fmla="*/ 175 w 178"/>
                  <a:gd name="T85" fmla="*/ 149 h 175"/>
                  <a:gd name="T86" fmla="*/ 170 w 178"/>
                  <a:gd name="T87" fmla="*/ 159 h 175"/>
                  <a:gd name="T88" fmla="*/ 162 w 178"/>
                  <a:gd name="T89" fmla="*/ 167 h 175"/>
                  <a:gd name="T90" fmla="*/ 152 w 178"/>
                  <a:gd name="T91" fmla="*/ 175 h 175"/>
                  <a:gd name="T92" fmla="*/ 137 w 178"/>
                  <a:gd name="T93" fmla="*/ 172 h 175"/>
                  <a:gd name="T94" fmla="*/ 111 w 178"/>
                  <a:gd name="T95" fmla="*/ 168 h 175"/>
                  <a:gd name="T96" fmla="*/ 111 w 178"/>
                  <a:gd name="T97" fmla="*/ 168 h 175"/>
                  <a:gd name="T98" fmla="*/ 107 w 178"/>
                  <a:gd name="T99" fmla="*/ 172 h 175"/>
                  <a:gd name="T100" fmla="*/ 7 w 178"/>
                  <a:gd name="T101" fmla="*/ 16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8" h="175">
                    <a:moveTo>
                      <a:pt x="7" y="161"/>
                    </a:moveTo>
                    <a:lnTo>
                      <a:pt x="7" y="47"/>
                    </a:lnTo>
                    <a:lnTo>
                      <a:pt x="2" y="42"/>
                    </a:lnTo>
                    <a:lnTo>
                      <a:pt x="3" y="38"/>
                    </a:lnTo>
                    <a:lnTo>
                      <a:pt x="2" y="34"/>
                    </a:lnTo>
                    <a:lnTo>
                      <a:pt x="0" y="29"/>
                    </a:lnTo>
                    <a:lnTo>
                      <a:pt x="0" y="27"/>
                    </a:lnTo>
                    <a:lnTo>
                      <a:pt x="2" y="25"/>
                    </a:lnTo>
                    <a:lnTo>
                      <a:pt x="3" y="25"/>
                    </a:lnTo>
                    <a:lnTo>
                      <a:pt x="3" y="24"/>
                    </a:lnTo>
                    <a:lnTo>
                      <a:pt x="3" y="9"/>
                    </a:lnTo>
                    <a:lnTo>
                      <a:pt x="2" y="6"/>
                    </a:lnTo>
                    <a:lnTo>
                      <a:pt x="2" y="6"/>
                    </a:lnTo>
                    <a:lnTo>
                      <a:pt x="5" y="2"/>
                    </a:lnTo>
                    <a:lnTo>
                      <a:pt x="5" y="0"/>
                    </a:lnTo>
                    <a:lnTo>
                      <a:pt x="7" y="0"/>
                    </a:lnTo>
                    <a:lnTo>
                      <a:pt x="9" y="2"/>
                    </a:lnTo>
                    <a:lnTo>
                      <a:pt x="11" y="2"/>
                    </a:lnTo>
                    <a:lnTo>
                      <a:pt x="20" y="0"/>
                    </a:lnTo>
                    <a:lnTo>
                      <a:pt x="36" y="4"/>
                    </a:lnTo>
                    <a:lnTo>
                      <a:pt x="45" y="8"/>
                    </a:lnTo>
                    <a:lnTo>
                      <a:pt x="52" y="9"/>
                    </a:lnTo>
                    <a:lnTo>
                      <a:pt x="55" y="11"/>
                    </a:lnTo>
                    <a:lnTo>
                      <a:pt x="62" y="11"/>
                    </a:lnTo>
                    <a:lnTo>
                      <a:pt x="70" y="15"/>
                    </a:lnTo>
                    <a:lnTo>
                      <a:pt x="91" y="4"/>
                    </a:lnTo>
                    <a:lnTo>
                      <a:pt x="98" y="2"/>
                    </a:lnTo>
                    <a:lnTo>
                      <a:pt x="98" y="2"/>
                    </a:lnTo>
                    <a:lnTo>
                      <a:pt x="95" y="4"/>
                    </a:lnTo>
                    <a:lnTo>
                      <a:pt x="95" y="6"/>
                    </a:lnTo>
                    <a:lnTo>
                      <a:pt x="95" y="6"/>
                    </a:lnTo>
                    <a:lnTo>
                      <a:pt x="100" y="4"/>
                    </a:lnTo>
                    <a:lnTo>
                      <a:pt x="102" y="4"/>
                    </a:lnTo>
                    <a:lnTo>
                      <a:pt x="103" y="2"/>
                    </a:lnTo>
                    <a:lnTo>
                      <a:pt x="105" y="2"/>
                    </a:lnTo>
                    <a:lnTo>
                      <a:pt x="114" y="2"/>
                    </a:lnTo>
                    <a:lnTo>
                      <a:pt x="118" y="2"/>
                    </a:lnTo>
                    <a:lnTo>
                      <a:pt x="118" y="2"/>
                    </a:lnTo>
                    <a:lnTo>
                      <a:pt x="118" y="4"/>
                    </a:lnTo>
                    <a:lnTo>
                      <a:pt x="120" y="4"/>
                    </a:lnTo>
                    <a:lnTo>
                      <a:pt x="120" y="6"/>
                    </a:lnTo>
                    <a:lnTo>
                      <a:pt x="121" y="8"/>
                    </a:lnTo>
                    <a:lnTo>
                      <a:pt x="125" y="8"/>
                    </a:lnTo>
                    <a:lnTo>
                      <a:pt x="127" y="11"/>
                    </a:lnTo>
                    <a:lnTo>
                      <a:pt x="134" y="11"/>
                    </a:lnTo>
                    <a:lnTo>
                      <a:pt x="134" y="9"/>
                    </a:lnTo>
                    <a:lnTo>
                      <a:pt x="136" y="9"/>
                    </a:lnTo>
                    <a:lnTo>
                      <a:pt x="137" y="11"/>
                    </a:lnTo>
                    <a:lnTo>
                      <a:pt x="143" y="11"/>
                    </a:lnTo>
                    <a:lnTo>
                      <a:pt x="152" y="6"/>
                    </a:lnTo>
                    <a:lnTo>
                      <a:pt x="164" y="42"/>
                    </a:lnTo>
                    <a:lnTo>
                      <a:pt x="157" y="65"/>
                    </a:lnTo>
                    <a:lnTo>
                      <a:pt x="157" y="67"/>
                    </a:lnTo>
                    <a:lnTo>
                      <a:pt x="157" y="68"/>
                    </a:lnTo>
                    <a:lnTo>
                      <a:pt x="157" y="68"/>
                    </a:lnTo>
                    <a:lnTo>
                      <a:pt x="153" y="70"/>
                    </a:lnTo>
                    <a:lnTo>
                      <a:pt x="152" y="70"/>
                    </a:lnTo>
                    <a:lnTo>
                      <a:pt x="139" y="54"/>
                    </a:lnTo>
                    <a:lnTo>
                      <a:pt x="139" y="50"/>
                    </a:lnTo>
                    <a:lnTo>
                      <a:pt x="130" y="40"/>
                    </a:lnTo>
                    <a:lnTo>
                      <a:pt x="130" y="33"/>
                    </a:lnTo>
                    <a:lnTo>
                      <a:pt x="128" y="31"/>
                    </a:lnTo>
                    <a:lnTo>
                      <a:pt x="128" y="31"/>
                    </a:lnTo>
                    <a:lnTo>
                      <a:pt x="128" y="31"/>
                    </a:lnTo>
                    <a:lnTo>
                      <a:pt x="127" y="31"/>
                    </a:lnTo>
                    <a:lnTo>
                      <a:pt x="127" y="33"/>
                    </a:lnTo>
                    <a:lnTo>
                      <a:pt x="125" y="34"/>
                    </a:lnTo>
                    <a:lnTo>
                      <a:pt x="125" y="38"/>
                    </a:lnTo>
                    <a:lnTo>
                      <a:pt x="125" y="40"/>
                    </a:lnTo>
                    <a:lnTo>
                      <a:pt x="128" y="42"/>
                    </a:lnTo>
                    <a:lnTo>
                      <a:pt x="128" y="45"/>
                    </a:lnTo>
                    <a:lnTo>
                      <a:pt x="128" y="49"/>
                    </a:lnTo>
                    <a:lnTo>
                      <a:pt x="134" y="59"/>
                    </a:lnTo>
                    <a:lnTo>
                      <a:pt x="141" y="67"/>
                    </a:lnTo>
                    <a:lnTo>
                      <a:pt x="143" y="68"/>
                    </a:lnTo>
                    <a:lnTo>
                      <a:pt x="143" y="74"/>
                    </a:lnTo>
                    <a:lnTo>
                      <a:pt x="170" y="129"/>
                    </a:lnTo>
                    <a:lnTo>
                      <a:pt x="177" y="136"/>
                    </a:lnTo>
                    <a:lnTo>
                      <a:pt x="178" y="138"/>
                    </a:lnTo>
                    <a:lnTo>
                      <a:pt x="178" y="138"/>
                    </a:lnTo>
                    <a:lnTo>
                      <a:pt x="178" y="140"/>
                    </a:lnTo>
                    <a:lnTo>
                      <a:pt x="175" y="138"/>
                    </a:lnTo>
                    <a:lnTo>
                      <a:pt x="175" y="138"/>
                    </a:lnTo>
                    <a:lnTo>
                      <a:pt x="173" y="140"/>
                    </a:lnTo>
                    <a:lnTo>
                      <a:pt x="175" y="142"/>
                    </a:lnTo>
                    <a:lnTo>
                      <a:pt x="175" y="149"/>
                    </a:lnTo>
                    <a:lnTo>
                      <a:pt x="177" y="154"/>
                    </a:lnTo>
                    <a:lnTo>
                      <a:pt x="170" y="159"/>
                    </a:lnTo>
                    <a:lnTo>
                      <a:pt x="166" y="158"/>
                    </a:lnTo>
                    <a:lnTo>
                      <a:pt x="162" y="167"/>
                    </a:lnTo>
                    <a:lnTo>
                      <a:pt x="153" y="168"/>
                    </a:lnTo>
                    <a:lnTo>
                      <a:pt x="152" y="175"/>
                    </a:lnTo>
                    <a:lnTo>
                      <a:pt x="145" y="175"/>
                    </a:lnTo>
                    <a:lnTo>
                      <a:pt x="137" y="172"/>
                    </a:lnTo>
                    <a:lnTo>
                      <a:pt x="111" y="172"/>
                    </a:lnTo>
                    <a:lnTo>
                      <a:pt x="111" y="168"/>
                    </a:lnTo>
                    <a:lnTo>
                      <a:pt x="111" y="168"/>
                    </a:lnTo>
                    <a:lnTo>
                      <a:pt x="111" y="168"/>
                    </a:lnTo>
                    <a:lnTo>
                      <a:pt x="109" y="168"/>
                    </a:lnTo>
                    <a:lnTo>
                      <a:pt x="107" y="172"/>
                    </a:lnTo>
                    <a:lnTo>
                      <a:pt x="7" y="172"/>
                    </a:lnTo>
                    <a:lnTo>
                      <a:pt x="7" y="161"/>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53" name="Freeform 2303"/>
              <p:cNvSpPr>
                <a:spLocks/>
              </p:cNvSpPr>
              <p:nvPr/>
            </p:nvSpPr>
            <p:spPr bwMode="auto">
              <a:xfrm>
                <a:off x="2559" y="2075"/>
                <a:ext cx="325" cy="331"/>
              </a:xfrm>
              <a:custGeom>
                <a:avLst/>
                <a:gdLst>
                  <a:gd name="T0" fmla="*/ 0 w 325"/>
                  <a:gd name="T1" fmla="*/ 157 h 331"/>
                  <a:gd name="T2" fmla="*/ 21 w 325"/>
                  <a:gd name="T3" fmla="*/ 145 h 331"/>
                  <a:gd name="T4" fmla="*/ 28 w 325"/>
                  <a:gd name="T5" fmla="*/ 143 h 331"/>
                  <a:gd name="T6" fmla="*/ 34 w 325"/>
                  <a:gd name="T7" fmla="*/ 140 h 331"/>
                  <a:gd name="T8" fmla="*/ 48 w 325"/>
                  <a:gd name="T9" fmla="*/ 138 h 331"/>
                  <a:gd name="T10" fmla="*/ 57 w 325"/>
                  <a:gd name="T11" fmla="*/ 131 h 331"/>
                  <a:gd name="T12" fmla="*/ 66 w 325"/>
                  <a:gd name="T13" fmla="*/ 125 h 331"/>
                  <a:gd name="T14" fmla="*/ 80 w 325"/>
                  <a:gd name="T15" fmla="*/ 116 h 331"/>
                  <a:gd name="T16" fmla="*/ 78 w 325"/>
                  <a:gd name="T17" fmla="*/ 115 h 331"/>
                  <a:gd name="T18" fmla="*/ 78 w 325"/>
                  <a:gd name="T19" fmla="*/ 109 h 331"/>
                  <a:gd name="T20" fmla="*/ 76 w 325"/>
                  <a:gd name="T21" fmla="*/ 106 h 331"/>
                  <a:gd name="T22" fmla="*/ 91 w 325"/>
                  <a:gd name="T23" fmla="*/ 102 h 331"/>
                  <a:gd name="T24" fmla="*/ 92 w 325"/>
                  <a:gd name="T25" fmla="*/ 97 h 331"/>
                  <a:gd name="T26" fmla="*/ 96 w 325"/>
                  <a:gd name="T27" fmla="*/ 97 h 331"/>
                  <a:gd name="T28" fmla="*/ 119 w 325"/>
                  <a:gd name="T29" fmla="*/ 97 h 331"/>
                  <a:gd name="T30" fmla="*/ 119 w 325"/>
                  <a:gd name="T31" fmla="*/ 91 h 331"/>
                  <a:gd name="T32" fmla="*/ 117 w 325"/>
                  <a:gd name="T33" fmla="*/ 84 h 331"/>
                  <a:gd name="T34" fmla="*/ 114 w 325"/>
                  <a:gd name="T35" fmla="*/ 74 h 331"/>
                  <a:gd name="T36" fmla="*/ 112 w 325"/>
                  <a:gd name="T37" fmla="*/ 66 h 331"/>
                  <a:gd name="T38" fmla="*/ 110 w 325"/>
                  <a:gd name="T39" fmla="*/ 50 h 331"/>
                  <a:gd name="T40" fmla="*/ 112 w 325"/>
                  <a:gd name="T41" fmla="*/ 49 h 331"/>
                  <a:gd name="T42" fmla="*/ 107 w 325"/>
                  <a:gd name="T43" fmla="*/ 43 h 331"/>
                  <a:gd name="T44" fmla="*/ 117 w 325"/>
                  <a:gd name="T45" fmla="*/ 36 h 331"/>
                  <a:gd name="T46" fmla="*/ 134 w 325"/>
                  <a:gd name="T47" fmla="*/ 25 h 331"/>
                  <a:gd name="T48" fmla="*/ 148 w 325"/>
                  <a:gd name="T49" fmla="*/ 18 h 331"/>
                  <a:gd name="T50" fmla="*/ 187 w 325"/>
                  <a:gd name="T51" fmla="*/ 7 h 331"/>
                  <a:gd name="T52" fmla="*/ 196 w 325"/>
                  <a:gd name="T53" fmla="*/ 7 h 331"/>
                  <a:gd name="T54" fmla="*/ 223 w 325"/>
                  <a:gd name="T55" fmla="*/ 9 h 331"/>
                  <a:gd name="T56" fmla="*/ 248 w 325"/>
                  <a:gd name="T57" fmla="*/ 4 h 331"/>
                  <a:gd name="T58" fmla="*/ 260 w 325"/>
                  <a:gd name="T59" fmla="*/ 4 h 331"/>
                  <a:gd name="T60" fmla="*/ 273 w 325"/>
                  <a:gd name="T61" fmla="*/ 4 h 331"/>
                  <a:gd name="T62" fmla="*/ 269 w 325"/>
                  <a:gd name="T63" fmla="*/ 13 h 331"/>
                  <a:gd name="T64" fmla="*/ 273 w 325"/>
                  <a:gd name="T65" fmla="*/ 38 h 331"/>
                  <a:gd name="T66" fmla="*/ 260 w 325"/>
                  <a:gd name="T67" fmla="*/ 59 h 331"/>
                  <a:gd name="T68" fmla="*/ 255 w 325"/>
                  <a:gd name="T69" fmla="*/ 63 h 331"/>
                  <a:gd name="T70" fmla="*/ 267 w 325"/>
                  <a:gd name="T71" fmla="*/ 86 h 331"/>
                  <a:gd name="T72" fmla="*/ 287 w 325"/>
                  <a:gd name="T73" fmla="*/ 131 h 331"/>
                  <a:gd name="T74" fmla="*/ 291 w 325"/>
                  <a:gd name="T75" fmla="*/ 149 h 331"/>
                  <a:gd name="T76" fmla="*/ 287 w 325"/>
                  <a:gd name="T77" fmla="*/ 209 h 331"/>
                  <a:gd name="T78" fmla="*/ 309 w 325"/>
                  <a:gd name="T79" fmla="*/ 234 h 331"/>
                  <a:gd name="T80" fmla="*/ 228 w 325"/>
                  <a:gd name="T81" fmla="*/ 320 h 331"/>
                  <a:gd name="T82" fmla="*/ 187 w 325"/>
                  <a:gd name="T83" fmla="*/ 325 h 331"/>
                  <a:gd name="T84" fmla="*/ 189 w 325"/>
                  <a:gd name="T85" fmla="*/ 322 h 331"/>
                  <a:gd name="T86" fmla="*/ 189 w 325"/>
                  <a:gd name="T87" fmla="*/ 318 h 331"/>
                  <a:gd name="T88" fmla="*/ 187 w 325"/>
                  <a:gd name="T89" fmla="*/ 315 h 331"/>
                  <a:gd name="T90" fmla="*/ 180 w 325"/>
                  <a:gd name="T91" fmla="*/ 311 h 331"/>
                  <a:gd name="T92" fmla="*/ 173 w 325"/>
                  <a:gd name="T93" fmla="*/ 307 h 331"/>
                  <a:gd name="T94" fmla="*/ 164 w 325"/>
                  <a:gd name="T95" fmla="*/ 304 h 331"/>
                  <a:gd name="T96" fmla="*/ 155 w 325"/>
                  <a:gd name="T97" fmla="*/ 299 h 331"/>
                  <a:gd name="T98" fmla="*/ 155 w 325"/>
                  <a:gd name="T99" fmla="*/ 29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5" h="331">
                    <a:moveTo>
                      <a:pt x="59" y="227"/>
                    </a:moveTo>
                    <a:lnTo>
                      <a:pt x="59" y="227"/>
                    </a:lnTo>
                    <a:lnTo>
                      <a:pt x="0" y="188"/>
                    </a:lnTo>
                    <a:lnTo>
                      <a:pt x="0" y="157"/>
                    </a:lnTo>
                    <a:lnTo>
                      <a:pt x="14" y="149"/>
                    </a:lnTo>
                    <a:lnTo>
                      <a:pt x="17" y="149"/>
                    </a:lnTo>
                    <a:lnTo>
                      <a:pt x="19" y="147"/>
                    </a:lnTo>
                    <a:lnTo>
                      <a:pt x="21" y="145"/>
                    </a:lnTo>
                    <a:lnTo>
                      <a:pt x="23" y="143"/>
                    </a:lnTo>
                    <a:lnTo>
                      <a:pt x="25" y="143"/>
                    </a:lnTo>
                    <a:lnTo>
                      <a:pt x="26" y="143"/>
                    </a:lnTo>
                    <a:lnTo>
                      <a:pt x="28" y="143"/>
                    </a:lnTo>
                    <a:lnTo>
                      <a:pt x="30" y="143"/>
                    </a:lnTo>
                    <a:lnTo>
                      <a:pt x="32" y="143"/>
                    </a:lnTo>
                    <a:lnTo>
                      <a:pt x="34" y="143"/>
                    </a:lnTo>
                    <a:lnTo>
                      <a:pt x="34" y="140"/>
                    </a:lnTo>
                    <a:lnTo>
                      <a:pt x="34" y="140"/>
                    </a:lnTo>
                    <a:lnTo>
                      <a:pt x="39" y="140"/>
                    </a:lnTo>
                    <a:lnTo>
                      <a:pt x="41" y="140"/>
                    </a:lnTo>
                    <a:lnTo>
                      <a:pt x="48" y="138"/>
                    </a:lnTo>
                    <a:lnTo>
                      <a:pt x="51" y="136"/>
                    </a:lnTo>
                    <a:lnTo>
                      <a:pt x="55" y="132"/>
                    </a:lnTo>
                    <a:lnTo>
                      <a:pt x="57" y="132"/>
                    </a:lnTo>
                    <a:lnTo>
                      <a:pt x="57" y="131"/>
                    </a:lnTo>
                    <a:lnTo>
                      <a:pt x="59" y="129"/>
                    </a:lnTo>
                    <a:lnTo>
                      <a:pt x="60" y="127"/>
                    </a:lnTo>
                    <a:lnTo>
                      <a:pt x="64" y="125"/>
                    </a:lnTo>
                    <a:lnTo>
                      <a:pt x="66" y="125"/>
                    </a:lnTo>
                    <a:lnTo>
                      <a:pt x="75" y="120"/>
                    </a:lnTo>
                    <a:lnTo>
                      <a:pt x="80" y="118"/>
                    </a:lnTo>
                    <a:lnTo>
                      <a:pt x="80" y="118"/>
                    </a:lnTo>
                    <a:lnTo>
                      <a:pt x="80" y="116"/>
                    </a:lnTo>
                    <a:lnTo>
                      <a:pt x="78" y="115"/>
                    </a:lnTo>
                    <a:lnTo>
                      <a:pt x="78" y="115"/>
                    </a:lnTo>
                    <a:lnTo>
                      <a:pt x="78" y="115"/>
                    </a:lnTo>
                    <a:lnTo>
                      <a:pt x="78" y="115"/>
                    </a:lnTo>
                    <a:lnTo>
                      <a:pt x="76" y="115"/>
                    </a:lnTo>
                    <a:lnTo>
                      <a:pt x="78" y="111"/>
                    </a:lnTo>
                    <a:lnTo>
                      <a:pt x="78" y="111"/>
                    </a:lnTo>
                    <a:lnTo>
                      <a:pt x="78" y="109"/>
                    </a:lnTo>
                    <a:lnTo>
                      <a:pt x="76" y="109"/>
                    </a:lnTo>
                    <a:lnTo>
                      <a:pt x="76" y="109"/>
                    </a:lnTo>
                    <a:lnTo>
                      <a:pt x="76" y="107"/>
                    </a:lnTo>
                    <a:lnTo>
                      <a:pt x="76" y="106"/>
                    </a:lnTo>
                    <a:lnTo>
                      <a:pt x="78" y="104"/>
                    </a:lnTo>
                    <a:lnTo>
                      <a:pt x="80" y="104"/>
                    </a:lnTo>
                    <a:lnTo>
                      <a:pt x="82" y="106"/>
                    </a:lnTo>
                    <a:lnTo>
                      <a:pt x="91" y="102"/>
                    </a:lnTo>
                    <a:lnTo>
                      <a:pt x="91" y="102"/>
                    </a:lnTo>
                    <a:lnTo>
                      <a:pt x="91" y="100"/>
                    </a:lnTo>
                    <a:lnTo>
                      <a:pt x="91" y="99"/>
                    </a:lnTo>
                    <a:lnTo>
                      <a:pt x="92" y="97"/>
                    </a:lnTo>
                    <a:lnTo>
                      <a:pt x="92" y="97"/>
                    </a:lnTo>
                    <a:lnTo>
                      <a:pt x="94" y="97"/>
                    </a:lnTo>
                    <a:lnTo>
                      <a:pt x="96" y="97"/>
                    </a:lnTo>
                    <a:lnTo>
                      <a:pt x="96" y="97"/>
                    </a:lnTo>
                    <a:lnTo>
                      <a:pt x="109" y="95"/>
                    </a:lnTo>
                    <a:lnTo>
                      <a:pt x="110" y="95"/>
                    </a:lnTo>
                    <a:lnTo>
                      <a:pt x="117" y="95"/>
                    </a:lnTo>
                    <a:lnTo>
                      <a:pt x="119" y="97"/>
                    </a:lnTo>
                    <a:lnTo>
                      <a:pt x="119" y="97"/>
                    </a:lnTo>
                    <a:lnTo>
                      <a:pt x="119" y="95"/>
                    </a:lnTo>
                    <a:lnTo>
                      <a:pt x="119" y="95"/>
                    </a:lnTo>
                    <a:lnTo>
                      <a:pt x="119" y="91"/>
                    </a:lnTo>
                    <a:lnTo>
                      <a:pt x="121" y="90"/>
                    </a:lnTo>
                    <a:lnTo>
                      <a:pt x="121" y="90"/>
                    </a:lnTo>
                    <a:lnTo>
                      <a:pt x="121" y="90"/>
                    </a:lnTo>
                    <a:lnTo>
                      <a:pt x="117" y="84"/>
                    </a:lnTo>
                    <a:lnTo>
                      <a:pt x="116" y="81"/>
                    </a:lnTo>
                    <a:lnTo>
                      <a:pt x="116" y="79"/>
                    </a:lnTo>
                    <a:lnTo>
                      <a:pt x="114" y="75"/>
                    </a:lnTo>
                    <a:lnTo>
                      <a:pt x="114" y="74"/>
                    </a:lnTo>
                    <a:lnTo>
                      <a:pt x="114" y="72"/>
                    </a:lnTo>
                    <a:lnTo>
                      <a:pt x="114" y="68"/>
                    </a:lnTo>
                    <a:lnTo>
                      <a:pt x="112" y="66"/>
                    </a:lnTo>
                    <a:lnTo>
                      <a:pt x="112" y="66"/>
                    </a:lnTo>
                    <a:lnTo>
                      <a:pt x="114" y="61"/>
                    </a:lnTo>
                    <a:lnTo>
                      <a:pt x="112" y="56"/>
                    </a:lnTo>
                    <a:lnTo>
                      <a:pt x="112" y="54"/>
                    </a:lnTo>
                    <a:lnTo>
                      <a:pt x="110" y="50"/>
                    </a:lnTo>
                    <a:lnTo>
                      <a:pt x="112" y="50"/>
                    </a:lnTo>
                    <a:lnTo>
                      <a:pt x="112" y="50"/>
                    </a:lnTo>
                    <a:lnTo>
                      <a:pt x="112" y="49"/>
                    </a:lnTo>
                    <a:lnTo>
                      <a:pt x="112" y="49"/>
                    </a:lnTo>
                    <a:lnTo>
                      <a:pt x="110" y="47"/>
                    </a:lnTo>
                    <a:lnTo>
                      <a:pt x="109" y="47"/>
                    </a:lnTo>
                    <a:lnTo>
                      <a:pt x="109" y="45"/>
                    </a:lnTo>
                    <a:lnTo>
                      <a:pt x="107" y="43"/>
                    </a:lnTo>
                    <a:lnTo>
                      <a:pt x="107" y="43"/>
                    </a:lnTo>
                    <a:lnTo>
                      <a:pt x="107" y="41"/>
                    </a:lnTo>
                    <a:lnTo>
                      <a:pt x="109" y="41"/>
                    </a:lnTo>
                    <a:lnTo>
                      <a:pt x="117" y="36"/>
                    </a:lnTo>
                    <a:lnTo>
                      <a:pt x="121" y="29"/>
                    </a:lnTo>
                    <a:lnTo>
                      <a:pt x="125" y="27"/>
                    </a:lnTo>
                    <a:lnTo>
                      <a:pt x="130" y="27"/>
                    </a:lnTo>
                    <a:lnTo>
                      <a:pt x="134" y="25"/>
                    </a:lnTo>
                    <a:lnTo>
                      <a:pt x="137" y="27"/>
                    </a:lnTo>
                    <a:lnTo>
                      <a:pt x="139" y="25"/>
                    </a:lnTo>
                    <a:lnTo>
                      <a:pt x="144" y="20"/>
                    </a:lnTo>
                    <a:lnTo>
                      <a:pt x="148" y="18"/>
                    </a:lnTo>
                    <a:lnTo>
                      <a:pt x="151" y="16"/>
                    </a:lnTo>
                    <a:lnTo>
                      <a:pt x="162" y="11"/>
                    </a:lnTo>
                    <a:lnTo>
                      <a:pt x="182" y="11"/>
                    </a:lnTo>
                    <a:lnTo>
                      <a:pt x="187" y="7"/>
                    </a:lnTo>
                    <a:lnTo>
                      <a:pt x="189" y="7"/>
                    </a:lnTo>
                    <a:lnTo>
                      <a:pt x="192" y="7"/>
                    </a:lnTo>
                    <a:lnTo>
                      <a:pt x="194" y="7"/>
                    </a:lnTo>
                    <a:lnTo>
                      <a:pt x="196" y="7"/>
                    </a:lnTo>
                    <a:lnTo>
                      <a:pt x="201" y="6"/>
                    </a:lnTo>
                    <a:lnTo>
                      <a:pt x="217" y="6"/>
                    </a:lnTo>
                    <a:lnTo>
                      <a:pt x="219" y="7"/>
                    </a:lnTo>
                    <a:lnTo>
                      <a:pt x="223" y="9"/>
                    </a:lnTo>
                    <a:lnTo>
                      <a:pt x="237" y="4"/>
                    </a:lnTo>
                    <a:lnTo>
                      <a:pt x="239" y="0"/>
                    </a:lnTo>
                    <a:lnTo>
                      <a:pt x="246" y="4"/>
                    </a:lnTo>
                    <a:lnTo>
                      <a:pt x="248" y="4"/>
                    </a:lnTo>
                    <a:lnTo>
                      <a:pt x="250" y="4"/>
                    </a:lnTo>
                    <a:lnTo>
                      <a:pt x="253" y="4"/>
                    </a:lnTo>
                    <a:lnTo>
                      <a:pt x="255" y="2"/>
                    </a:lnTo>
                    <a:lnTo>
                      <a:pt x="260" y="4"/>
                    </a:lnTo>
                    <a:lnTo>
                      <a:pt x="262" y="6"/>
                    </a:lnTo>
                    <a:lnTo>
                      <a:pt x="267" y="6"/>
                    </a:lnTo>
                    <a:lnTo>
                      <a:pt x="269" y="4"/>
                    </a:lnTo>
                    <a:lnTo>
                      <a:pt x="273" y="4"/>
                    </a:lnTo>
                    <a:lnTo>
                      <a:pt x="276" y="4"/>
                    </a:lnTo>
                    <a:lnTo>
                      <a:pt x="276" y="6"/>
                    </a:lnTo>
                    <a:lnTo>
                      <a:pt x="271" y="11"/>
                    </a:lnTo>
                    <a:lnTo>
                      <a:pt x="269" y="13"/>
                    </a:lnTo>
                    <a:lnTo>
                      <a:pt x="271" y="13"/>
                    </a:lnTo>
                    <a:lnTo>
                      <a:pt x="273" y="15"/>
                    </a:lnTo>
                    <a:lnTo>
                      <a:pt x="271" y="36"/>
                    </a:lnTo>
                    <a:lnTo>
                      <a:pt x="273" y="38"/>
                    </a:lnTo>
                    <a:lnTo>
                      <a:pt x="269" y="50"/>
                    </a:lnTo>
                    <a:lnTo>
                      <a:pt x="264" y="54"/>
                    </a:lnTo>
                    <a:lnTo>
                      <a:pt x="262" y="57"/>
                    </a:lnTo>
                    <a:lnTo>
                      <a:pt x="260" y="59"/>
                    </a:lnTo>
                    <a:lnTo>
                      <a:pt x="259" y="59"/>
                    </a:lnTo>
                    <a:lnTo>
                      <a:pt x="259" y="61"/>
                    </a:lnTo>
                    <a:lnTo>
                      <a:pt x="255" y="63"/>
                    </a:lnTo>
                    <a:lnTo>
                      <a:pt x="255" y="63"/>
                    </a:lnTo>
                    <a:lnTo>
                      <a:pt x="259" y="75"/>
                    </a:lnTo>
                    <a:lnTo>
                      <a:pt x="264" y="77"/>
                    </a:lnTo>
                    <a:lnTo>
                      <a:pt x="266" y="79"/>
                    </a:lnTo>
                    <a:lnTo>
                      <a:pt x="267" y="86"/>
                    </a:lnTo>
                    <a:lnTo>
                      <a:pt x="267" y="91"/>
                    </a:lnTo>
                    <a:lnTo>
                      <a:pt x="280" y="99"/>
                    </a:lnTo>
                    <a:lnTo>
                      <a:pt x="282" y="99"/>
                    </a:lnTo>
                    <a:lnTo>
                      <a:pt x="287" y="131"/>
                    </a:lnTo>
                    <a:lnTo>
                      <a:pt x="287" y="132"/>
                    </a:lnTo>
                    <a:lnTo>
                      <a:pt x="284" y="134"/>
                    </a:lnTo>
                    <a:lnTo>
                      <a:pt x="284" y="140"/>
                    </a:lnTo>
                    <a:lnTo>
                      <a:pt x="291" y="149"/>
                    </a:lnTo>
                    <a:lnTo>
                      <a:pt x="292" y="200"/>
                    </a:lnTo>
                    <a:lnTo>
                      <a:pt x="285" y="204"/>
                    </a:lnTo>
                    <a:lnTo>
                      <a:pt x="285" y="206"/>
                    </a:lnTo>
                    <a:lnTo>
                      <a:pt x="287" y="209"/>
                    </a:lnTo>
                    <a:lnTo>
                      <a:pt x="296" y="220"/>
                    </a:lnTo>
                    <a:lnTo>
                      <a:pt x="296" y="231"/>
                    </a:lnTo>
                    <a:lnTo>
                      <a:pt x="301" y="234"/>
                    </a:lnTo>
                    <a:lnTo>
                      <a:pt x="309" y="234"/>
                    </a:lnTo>
                    <a:lnTo>
                      <a:pt x="317" y="238"/>
                    </a:lnTo>
                    <a:lnTo>
                      <a:pt x="325" y="250"/>
                    </a:lnTo>
                    <a:lnTo>
                      <a:pt x="325" y="252"/>
                    </a:lnTo>
                    <a:lnTo>
                      <a:pt x="228" y="320"/>
                    </a:lnTo>
                    <a:lnTo>
                      <a:pt x="194" y="331"/>
                    </a:lnTo>
                    <a:lnTo>
                      <a:pt x="191" y="331"/>
                    </a:lnTo>
                    <a:lnTo>
                      <a:pt x="187" y="327"/>
                    </a:lnTo>
                    <a:lnTo>
                      <a:pt x="187" y="325"/>
                    </a:lnTo>
                    <a:lnTo>
                      <a:pt x="189" y="325"/>
                    </a:lnTo>
                    <a:lnTo>
                      <a:pt x="189" y="324"/>
                    </a:lnTo>
                    <a:lnTo>
                      <a:pt x="189" y="322"/>
                    </a:lnTo>
                    <a:lnTo>
                      <a:pt x="189" y="322"/>
                    </a:lnTo>
                    <a:lnTo>
                      <a:pt x="189" y="320"/>
                    </a:lnTo>
                    <a:lnTo>
                      <a:pt x="189" y="320"/>
                    </a:lnTo>
                    <a:lnTo>
                      <a:pt x="189" y="318"/>
                    </a:lnTo>
                    <a:lnTo>
                      <a:pt x="189" y="318"/>
                    </a:lnTo>
                    <a:lnTo>
                      <a:pt x="189" y="316"/>
                    </a:lnTo>
                    <a:lnTo>
                      <a:pt x="189" y="316"/>
                    </a:lnTo>
                    <a:lnTo>
                      <a:pt x="187" y="315"/>
                    </a:lnTo>
                    <a:lnTo>
                      <a:pt x="187" y="315"/>
                    </a:lnTo>
                    <a:lnTo>
                      <a:pt x="184" y="313"/>
                    </a:lnTo>
                    <a:lnTo>
                      <a:pt x="182" y="313"/>
                    </a:lnTo>
                    <a:lnTo>
                      <a:pt x="180" y="313"/>
                    </a:lnTo>
                    <a:lnTo>
                      <a:pt x="180" y="311"/>
                    </a:lnTo>
                    <a:lnTo>
                      <a:pt x="176" y="311"/>
                    </a:lnTo>
                    <a:lnTo>
                      <a:pt x="175" y="311"/>
                    </a:lnTo>
                    <a:lnTo>
                      <a:pt x="175" y="309"/>
                    </a:lnTo>
                    <a:lnTo>
                      <a:pt x="173" y="307"/>
                    </a:lnTo>
                    <a:lnTo>
                      <a:pt x="171" y="309"/>
                    </a:lnTo>
                    <a:lnTo>
                      <a:pt x="167" y="307"/>
                    </a:lnTo>
                    <a:lnTo>
                      <a:pt x="164" y="306"/>
                    </a:lnTo>
                    <a:lnTo>
                      <a:pt x="164" y="304"/>
                    </a:lnTo>
                    <a:lnTo>
                      <a:pt x="164" y="302"/>
                    </a:lnTo>
                    <a:lnTo>
                      <a:pt x="160" y="300"/>
                    </a:lnTo>
                    <a:lnTo>
                      <a:pt x="159" y="300"/>
                    </a:lnTo>
                    <a:lnTo>
                      <a:pt x="155" y="299"/>
                    </a:lnTo>
                    <a:lnTo>
                      <a:pt x="155" y="297"/>
                    </a:lnTo>
                    <a:lnTo>
                      <a:pt x="157" y="295"/>
                    </a:lnTo>
                    <a:lnTo>
                      <a:pt x="155" y="293"/>
                    </a:lnTo>
                    <a:lnTo>
                      <a:pt x="155" y="293"/>
                    </a:lnTo>
                    <a:lnTo>
                      <a:pt x="59" y="22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54" name="Freeform 2304"/>
              <p:cNvSpPr>
                <a:spLocks/>
              </p:cNvSpPr>
              <p:nvPr/>
            </p:nvSpPr>
            <p:spPr bwMode="auto">
              <a:xfrm>
                <a:off x="2559" y="2075"/>
                <a:ext cx="325" cy="331"/>
              </a:xfrm>
              <a:custGeom>
                <a:avLst/>
                <a:gdLst>
                  <a:gd name="T0" fmla="*/ 0 w 325"/>
                  <a:gd name="T1" fmla="*/ 157 h 331"/>
                  <a:gd name="T2" fmla="*/ 21 w 325"/>
                  <a:gd name="T3" fmla="*/ 145 h 331"/>
                  <a:gd name="T4" fmla="*/ 28 w 325"/>
                  <a:gd name="T5" fmla="*/ 143 h 331"/>
                  <a:gd name="T6" fmla="*/ 34 w 325"/>
                  <a:gd name="T7" fmla="*/ 140 h 331"/>
                  <a:gd name="T8" fmla="*/ 48 w 325"/>
                  <a:gd name="T9" fmla="*/ 138 h 331"/>
                  <a:gd name="T10" fmla="*/ 57 w 325"/>
                  <a:gd name="T11" fmla="*/ 131 h 331"/>
                  <a:gd name="T12" fmla="*/ 66 w 325"/>
                  <a:gd name="T13" fmla="*/ 125 h 331"/>
                  <a:gd name="T14" fmla="*/ 80 w 325"/>
                  <a:gd name="T15" fmla="*/ 116 h 331"/>
                  <a:gd name="T16" fmla="*/ 78 w 325"/>
                  <a:gd name="T17" fmla="*/ 115 h 331"/>
                  <a:gd name="T18" fmla="*/ 78 w 325"/>
                  <a:gd name="T19" fmla="*/ 109 h 331"/>
                  <a:gd name="T20" fmla="*/ 76 w 325"/>
                  <a:gd name="T21" fmla="*/ 106 h 331"/>
                  <a:gd name="T22" fmla="*/ 91 w 325"/>
                  <a:gd name="T23" fmla="*/ 102 h 331"/>
                  <a:gd name="T24" fmla="*/ 92 w 325"/>
                  <a:gd name="T25" fmla="*/ 97 h 331"/>
                  <a:gd name="T26" fmla="*/ 96 w 325"/>
                  <a:gd name="T27" fmla="*/ 97 h 331"/>
                  <a:gd name="T28" fmla="*/ 119 w 325"/>
                  <a:gd name="T29" fmla="*/ 97 h 331"/>
                  <a:gd name="T30" fmla="*/ 119 w 325"/>
                  <a:gd name="T31" fmla="*/ 91 h 331"/>
                  <a:gd name="T32" fmla="*/ 117 w 325"/>
                  <a:gd name="T33" fmla="*/ 84 h 331"/>
                  <a:gd name="T34" fmla="*/ 114 w 325"/>
                  <a:gd name="T35" fmla="*/ 74 h 331"/>
                  <a:gd name="T36" fmla="*/ 112 w 325"/>
                  <a:gd name="T37" fmla="*/ 66 h 331"/>
                  <a:gd name="T38" fmla="*/ 110 w 325"/>
                  <a:gd name="T39" fmla="*/ 50 h 331"/>
                  <a:gd name="T40" fmla="*/ 112 w 325"/>
                  <a:gd name="T41" fmla="*/ 49 h 331"/>
                  <a:gd name="T42" fmla="*/ 107 w 325"/>
                  <a:gd name="T43" fmla="*/ 43 h 331"/>
                  <a:gd name="T44" fmla="*/ 117 w 325"/>
                  <a:gd name="T45" fmla="*/ 36 h 331"/>
                  <a:gd name="T46" fmla="*/ 134 w 325"/>
                  <a:gd name="T47" fmla="*/ 25 h 331"/>
                  <a:gd name="T48" fmla="*/ 148 w 325"/>
                  <a:gd name="T49" fmla="*/ 18 h 331"/>
                  <a:gd name="T50" fmla="*/ 187 w 325"/>
                  <a:gd name="T51" fmla="*/ 7 h 331"/>
                  <a:gd name="T52" fmla="*/ 196 w 325"/>
                  <a:gd name="T53" fmla="*/ 7 h 331"/>
                  <a:gd name="T54" fmla="*/ 223 w 325"/>
                  <a:gd name="T55" fmla="*/ 9 h 331"/>
                  <a:gd name="T56" fmla="*/ 248 w 325"/>
                  <a:gd name="T57" fmla="*/ 4 h 331"/>
                  <a:gd name="T58" fmla="*/ 260 w 325"/>
                  <a:gd name="T59" fmla="*/ 4 h 331"/>
                  <a:gd name="T60" fmla="*/ 273 w 325"/>
                  <a:gd name="T61" fmla="*/ 4 h 331"/>
                  <a:gd name="T62" fmla="*/ 269 w 325"/>
                  <a:gd name="T63" fmla="*/ 13 h 331"/>
                  <a:gd name="T64" fmla="*/ 273 w 325"/>
                  <a:gd name="T65" fmla="*/ 38 h 331"/>
                  <a:gd name="T66" fmla="*/ 260 w 325"/>
                  <a:gd name="T67" fmla="*/ 59 h 331"/>
                  <a:gd name="T68" fmla="*/ 255 w 325"/>
                  <a:gd name="T69" fmla="*/ 63 h 331"/>
                  <a:gd name="T70" fmla="*/ 267 w 325"/>
                  <a:gd name="T71" fmla="*/ 86 h 331"/>
                  <a:gd name="T72" fmla="*/ 287 w 325"/>
                  <a:gd name="T73" fmla="*/ 131 h 331"/>
                  <a:gd name="T74" fmla="*/ 291 w 325"/>
                  <a:gd name="T75" fmla="*/ 149 h 331"/>
                  <a:gd name="T76" fmla="*/ 287 w 325"/>
                  <a:gd name="T77" fmla="*/ 209 h 331"/>
                  <a:gd name="T78" fmla="*/ 309 w 325"/>
                  <a:gd name="T79" fmla="*/ 234 h 331"/>
                  <a:gd name="T80" fmla="*/ 228 w 325"/>
                  <a:gd name="T81" fmla="*/ 320 h 331"/>
                  <a:gd name="T82" fmla="*/ 187 w 325"/>
                  <a:gd name="T83" fmla="*/ 325 h 331"/>
                  <a:gd name="T84" fmla="*/ 189 w 325"/>
                  <a:gd name="T85" fmla="*/ 322 h 331"/>
                  <a:gd name="T86" fmla="*/ 189 w 325"/>
                  <a:gd name="T87" fmla="*/ 318 h 331"/>
                  <a:gd name="T88" fmla="*/ 187 w 325"/>
                  <a:gd name="T89" fmla="*/ 315 h 331"/>
                  <a:gd name="T90" fmla="*/ 180 w 325"/>
                  <a:gd name="T91" fmla="*/ 311 h 331"/>
                  <a:gd name="T92" fmla="*/ 173 w 325"/>
                  <a:gd name="T93" fmla="*/ 307 h 331"/>
                  <a:gd name="T94" fmla="*/ 164 w 325"/>
                  <a:gd name="T95" fmla="*/ 304 h 331"/>
                  <a:gd name="T96" fmla="*/ 155 w 325"/>
                  <a:gd name="T97" fmla="*/ 299 h 331"/>
                  <a:gd name="T98" fmla="*/ 155 w 325"/>
                  <a:gd name="T99" fmla="*/ 293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5" h="331">
                    <a:moveTo>
                      <a:pt x="59" y="227"/>
                    </a:moveTo>
                    <a:lnTo>
                      <a:pt x="59" y="227"/>
                    </a:lnTo>
                    <a:lnTo>
                      <a:pt x="0" y="188"/>
                    </a:lnTo>
                    <a:lnTo>
                      <a:pt x="0" y="157"/>
                    </a:lnTo>
                    <a:lnTo>
                      <a:pt x="14" y="149"/>
                    </a:lnTo>
                    <a:lnTo>
                      <a:pt x="17" y="149"/>
                    </a:lnTo>
                    <a:lnTo>
                      <a:pt x="19" y="147"/>
                    </a:lnTo>
                    <a:lnTo>
                      <a:pt x="21" y="145"/>
                    </a:lnTo>
                    <a:lnTo>
                      <a:pt x="23" y="143"/>
                    </a:lnTo>
                    <a:lnTo>
                      <a:pt x="25" y="143"/>
                    </a:lnTo>
                    <a:lnTo>
                      <a:pt x="26" y="143"/>
                    </a:lnTo>
                    <a:lnTo>
                      <a:pt x="28" y="143"/>
                    </a:lnTo>
                    <a:lnTo>
                      <a:pt x="30" y="143"/>
                    </a:lnTo>
                    <a:lnTo>
                      <a:pt x="32" y="143"/>
                    </a:lnTo>
                    <a:lnTo>
                      <a:pt x="34" y="143"/>
                    </a:lnTo>
                    <a:lnTo>
                      <a:pt x="34" y="140"/>
                    </a:lnTo>
                    <a:lnTo>
                      <a:pt x="34" y="140"/>
                    </a:lnTo>
                    <a:lnTo>
                      <a:pt x="39" y="140"/>
                    </a:lnTo>
                    <a:lnTo>
                      <a:pt x="41" y="140"/>
                    </a:lnTo>
                    <a:lnTo>
                      <a:pt x="48" y="138"/>
                    </a:lnTo>
                    <a:lnTo>
                      <a:pt x="51" y="136"/>
                    </a:lnTo>
                    <a:lnTo>
                      <a:pt x="55" y="132"/>
                    </a:lnTo>
                    <a:lnTo>
                      <a:pt x="57" y="132"/>
                    </a:lnTo>
                    <a:lnTo>
                      <a:pt x="57" y="131"/>
                    </a:lnTo>
                    <a:lnTo>
                      <a:pt x="59" y="129"/>
                    </a:lnTo>
                    <a:lnTo>
                      <a:pt x="60" y="127"/>
                    </a:lnTo>
                    <a:lnTo>
                      <a:pt x="64" y="125"/>
                    </a:lnTo>
                    <a:lnTo>
                      <a:pt x="66" y="125"/>
                    </a:lnTo>
                    <a:lnTo>
                      <a:pt x="75" y="120"/>
                    </a:lnTo>
                    <a:lnTo>
                      <a:pt x="80" y="118"/>
                    </a:lnTo>
                    <a:lnTo>
                      <a:pt x="80" y="118"/>
                    </a:lnTo>
                    <a:lnTo>
                      <a:pt x="80" y="116"/>
                    </a:lnTo>
                    <a:lnTo>
                      <a:pt x="78" y="115"/>
                    </a:lnTo>
                    <a:lnTo>
                      <a:pt x="78" y="115"/>
                    </a:lnTo>
                    <a:lnTo>
                      <a:pt x="78" y="115"/>
                    </a:lnTo>
                    <a:lnTo>
                      <a:pt x="78" y="115"/>
                    </a:lnTo>
                    <a:lnTo>
                      <a:pt x="76" y="115"/>
                    </a:lnTo>
                    <a:lnTo>
                      <a:pt x="78" y="111"/>
                    </a:lnTo>
                    <a:lnTo>
                      <a:pt x="78" y="111"/>
                    </a:lnTo>
                    <a:lnTo>
                      <a:pt x="78" y="109"/>
                    </a:lnTo>
                    <a:lnTo>
                      <a:pt x="76" y="109"/>
                    </a:lnTo>
                    <a:lnTo>
                      <a:pt x="76" y="109"/>
                    </a:lnTo>
                    <a:lnTo>
                      <a:pt x="76" y="107"/>
                    </a:lnTo>
                    <a:lnTo>
                      <a:pt x="76" y="106"/>
                    </a:lnTo>
                    <a:lnTo>
                      <a:pt x="78" y="104"/>
                    </a:lnTo>
                    <a:lnTo>
                      <a:pt x="80" y="104"/>
                    </a:lnTo>
                    <a:lnTo>
                      <a:pt x="82" y="106"/>
                    </a:lnTo>
                    <a:lnTo>
                      <a:pt x="91" y="102"/>
                    </a:lnTo>
                    <a:lnTo>
                      <a:pt x="91" y="102"/>
                    </a:lnTo>
                    <a:lnTo>
                      <a:pt x="91" y="100"/>
                    </a:lnTo>
                    <a:lnTo>
                      <a:pt x="91" y="99"/>
                    </a:lnTo>
                    <a:lnTo>
                      <a:pt x="92" y="97"/>
                    </a:lnTo>
                    <a:lnTo>
                      <a:pt x="92" y="97"/>
                    </a:lnTo>
                    <a:lnTo>
                      <a:pt x="94" y="97"/>
                    </a:lnTo>
                    <a:lnTo>
                      <a:pt x="96" y="97"/>
                    </a:lnTo>
                    <a:lnTo>
                      <a:pt x="96" y="97"/>
                    </a:lnTo>
                    <a:lnTo>
                      <a:pt x="109" y="95"/>
                    </a:lnTo>
                    <a:lnTo>
                      <a:pt x="110" y="95"/>
                    </a:lnTo>
                    <a:lnTo>
                      <a:pt x="117" y="95"/>
                    </a:lnTo>
                    <a:lnTo>
                      <a:pt x="119" y="97"/>
                    </a:lnTo>
                    <a:lnTo>
                      <a:pt x="119" y="97"/>
                    </a:lnTo>
                    <a:lnTo>
                      <a:pt x="119" y="95"/>
                    </a:lnTo>
                    <a:lnTo>
                      <a:pt x="119" y="95"/>
                    </a:lnTo>
                    <a:lnTo>
                      <a:pt x="119" y="91"/>
                    </a:lnTo>
                    <a:lnTo>
                      <a:pt x="121" y="90"/>
                    </a:lnTo>
                    <a:lnTo>
                      <a:pt x="121" y="90"/>
                    </a:lnTo>
                    <a:lnTo>
                      <a:pt x="121" y="90"/>
                    </a:lnTo>
                    <a:lnTo>
                      <a:pt x="117" y="84"/>
                    </a:lnTo>
                    <a:lnTo>
                      <a:pt x="116" y="81"/>
                    </a:lnTo>
                    <a:lnTo>
                      <a:pt x="116" y="79"/>
                    </a:lnTo>
                    <a:lnTo>
                      <a:pt x="114" y="75"/>
                    </a:lnTo>
                    <a:lnTo>
                      <a:pt x="114" y="74"/>
                    </a:lnTo>
                    <a:lnTo>
                      <a:pt x="114" y="72"/>
                    </a:lnTo>
                    <a:lnTo>
                      <a:pt x="114" y="68"/>
                    </a:lnTo>
                    <a:lnTo>
                      <a:pt x="112" y="66"/>
                    </a:lnTo>
                    <a:lnTo>
                      <a:pt x="112" y="66"/>
                    </a:lnTo>
                    <a:lnTo>
                      <a:pt x="114" y="61"/>
                    </a:lnTo>
                    <a:lnTo>
                      <a:pt x="112" y="56"/>
                    </a:lnTo>
                    <a:lnTo>
                      <a:pt x="112" y="54"/>
                    </a:lnTo>
                    <a:lnTo>
                      <a:pt x="110" y="50"/>
                    </a:lnTo>
                    <a:lnTo>
                      <a:pt x="112" y="50"/>
                    </a:lnTo>
                    <a:lnTo>
                      <a:pt x="112" y="50"/>
                    </a:lnTo>
                    <a:lnTo>
                      <a:pt x="112" y="49"/>
                    </a:lnTo>
                    <a:lnTo>
                      <a:pt x="112" y="49"/>
                    </a:lnTo>
                    <a:lnTo>
                      <a:pt x="110" y="47"/>
                    </a:lnTo>
                    <a:lnTo>
                      <a:pt x="109" y="47"/>
                    </a:lnTo>
                    <a:lnTo>
                      <a:pt x="109" y="45"/>
                    </a:lnTo>
                    <a:lnTo>
                      <a:pt x="107" y="43"/>
                    </a:lnTo>
                    <a:lnTo>
                      <a:pt x="107" y="43"/>
                    </a:lnTo>
                    <a:lnTo>
                      <a:pt x="107" y="41"/>
                    </a:lnTo>
                    <a:lnTo>
                      <a:pt x="109" y="41"/>
                    </a:lnTo>
                    <a:lnTo>
                      <a:pt x="117" y="36"/>
                    </a:lnTo>
                    <a:lnTo>
                      <a:pt x="121" y="29"/>
                    </a:lnTo>
                    <a:lnTo>
                      <a:pt x="125" y="27"/>
                    </a:lnTo>
                    <a:lnTo>
                      <a:pt x="130" y="27"/>
                    </a:lnTo>
                    <a:lnTo>
                      <a:pt x="134" y="25"/>
                    </a:lnTo>
                    <a:lnTo>
                      <a:pt x="137" y="27"/>
                    </a:lnTo>
                    <a:lnTo>
                      <a:pt x="139" y="25"/>
                    </a:lnTo>
                    <a:lnTo>
                      <a:pt x="144" y="20"/>
                    </a:lnTo>
                    <a:lnTo>
                      <a:pt x="148" y="18"/>
                    </a:lnTo>
                    <a:lnTo>
                      <a:pt x="151" y="16"/>
                    </a:lnTo>
                    <a:lnTo>
                      <a:pt x="162" y="11"/>
                    </a:lnTo>
                    <a:lnTo>
                      <a:pt x="182" y="11"/>
                    </a:lnTo>
                    <a:lnTo>
                      <a:pt x="187" y="7"/>
                    </a:lnTo>
                    <a:lnTo>
                      <a:pt x="189" y="7"/>
                    </a:lnTo>
                    <a:lnTo>
                      <a:pt x="192" y="7"/>
                    </a:lnTo>
                    <a:lnTo>
                      <a:pt x="194" y="7"/>
                    </a:lnTo>
                    <a:lnTo>
                      <a:pt x="196" y="7"/>
                    </a:lnTo>
                    <a:lnTo>
                      <a:pt x="201" y="6"/>
                    </a:lnTo>
                    <a:lnTo>
                      <a:pt x="217" y="6"/>
                    </a:lnTo>
                    <a:lnTo>
                      <a:pt x="219" y="7"/>
                    </a:lnTo>
                    <a:lnTo>
                      <a:pt x="223" y="9"/>
                    </a:lnTo>
                    <a:lnTo>
                      <a:pt x="237" y="4"/>
                    </a:lnTo>
                    <a:lnTo>
                      <a:pt x="239" y="0"/>
                    </a:lnTo>
                    <a:lnTo>
                      <a:pt x="246" y="4"/>
                    </a:lnTo>
                    <a:lnTo>
                      <a:pt x="248" y="4"/>
                    </a:lnTo>
                    <a:lnTo>
                      <a:pt x="250" y="4"/>
                    </a:lnTo>
                    <a:lnTo>
                      <a:pt x="253" y="4"/>
                    </a:lnTo>
                    <a:lnTo>
                      <a:pt x="255" y="2"/>
                    </a:lnTo>
                    <a:lnTo>
                      <a:pt x="260" y="4"/>
                    </a:lnTo>
                    <a:lnTo>
                      <a:pt x="262" y="6"/>
                    </a:lnTo>
                    <a:lnTo>
                      <a:pt x="267" y="6"/>
                    </a:lnTo>
                    <a:lnTo>
                      <a:pt x="269" y="4"/>
                    </a:lnTo>
                    <a:lnTo>
                      <a:pt x="273" y="4"/>
                    </a:lnTo>
                    <a:lnTo>
                      <a:pt x="276" y="4"/>
                    </a:lnTo>
                    <a:lnTo>
                      <a:pt x="276" y="6"/>
                    </a:lnTo>
                    <a:lnTo>
                      <a:pt x="271" y="11"/>
                    </a:lnTo>
                    <a:lnTo>
                      <a:pt x="269" y="13"/>
                    </a:lnTo>
                    <a:lnTo>
                      <a:pt x="271" y="13"/>
                    </a:lnTo>
                    <a:lnTo>
                      <a:pt x="273" y="15"/>
                    </a:lnTo>
                    <a:lnTo>
                      <a:pt x="271" y="36"/>
                    </a:lnTo>
                    <a:lnTo>
                      <a:pt x="273" y="38"/>
                    </a:lnTo>
                    <a:lnTo>
                      <a:pt x="269" y="50"/>
                    </a:lnTo>
                    <a:lnTo>
                      <a:pt x="264" y="54"/>
                    </a:lnTo>
                    <a:lnTo>
                      <a:pt x="262" y="57"/>
                    </a:lnTo>
                    <a:lnTo>
                      <a:pt x="260" y="59"/>
                    </a:lnTo>
                    <a:lnTo>
                      <a:pt x="259" y="59"/>
                    </a:lnTo>
                    <a:lnTo>
                      <a:pt x="259" y="61"/>
                    </a:lnTo>
                    <a:lnTo>
                      <a:pt x="255" y="63"/>
                    </a:lnTo>
                    <a:lnTo>
                      <a:pt x="255" y="63"/>
                    </a:lnTo>
                    <a:lnTo>
                      <a:pt x="259" y="75"/>
                    </a:lnTo>
                    <a:lnTo>
                      <a:pt x="264" y="77"/>
                    </a:lnTo>
                    <a:lnTo>
                      <a:pt x="266" y="79"/>
                    </a:lnTo>
                    <a:lnTo>
                      <a:pt x="267" y="86"/>
                    </a:lnTo>
                    <a:lnTo>
                      <a:pt x="267" y="91"/>
                    </a:lnTo>
                    <a:lnTo>
                      <a:pt x="280" y="99"/>
                    </a:lnTo>
                    <a:lnTo>
                      <a:pt x="282" y="99"/>
                    </a:lnTo>
                    <a:lnTo>
                      <a:pt x="287" y="131"/>
                    </a:lnTo>
                    <a:lnTo>
                      <a:pt x="287" y="132"/>
                    </a:lnTo>
                    <a:lnTo>
                      <a:pt x="284" y="134"/>
                    </a:lnTo>
                    <a:lnTo>
                      <a:pt x="284" y="140"/>
                    </a:lnTo>
                    <a:lnTo>
                      <a:pt x="291" y="149"/>
                    </a:lnTo>
                    <a:lnTo>
                      <a:pt x="292" y="200"/>
                    </a:lnTo>
                    <a:lnTo>
                      <a:pt x="285" y="204"/>
                    </a:lnTo>
                    <a:lnTo>
                      <a:pt x="285" y="206"/>
                    </a:lnTo>
                    <a:lnTo>
                      <a:pt x="287" y="209"/>
                    </a:lnTo>
                    <a:lnTo>
                      <a:pt x="296" y="220"/>
                    </a:lnTo>
                    <a:lnTo>
                      <a:pt x="296" y="231"/>
                    </a:lnTo>
                    <a:lnTo>
                      <a:pt x="301" y="234"/>
                    </a:lnTo>
                    <a:lnTo>
                      <a:pt x="309" y="234"/>
                    </a:lnTo>
                    <a:lnTo>
                      <a:pt x="317" y="238"/>
                    </a:lnTo>
                    <a:lnTo>
                      <a:pt x="325" y="250"/>
                    </a:lnTo>
                    <a:lnTo>
                      <a:pt x="325" y="252"/>
                    </a:lnTo>
                    <a:lnTo>
                      <a:pt x="228" y="320"/>
                    </a:lnTo>
                    <a:lnTo>
                      <a:pt x="194" y="331"/>
                    </a:lnTo>
                    <a:lnTo>
                      <a:pt x="191" y="331"/>
                    </a:lnTo>
                    <a:lnTo>
                      <a:pt x="187" y="327"/>
                    </a:lnTo>
                    <a:lnTo>
                      <a:pt x="187" y="325"/>
                    </a:lnTo>
                    <a:lnTo>
                      <a:pt x="189" y="325"/>
                    </a:lnTo>
                    <a:lnTo>
                      <a:pt x="189" y="324"/>
                    </a:lnTo>
                    <a:lnTo>
                      <a:pt x="189" y="322"/>
                    </a:lnTo>
                    <a:lnTo>
                      <a:pt x="189" y="322"/>
                    </a:lnTo>
                    <a:lnTo>
                      <a:pt x="189" y="320"/>
                    </a:lnTo>
                    <a:lnTo>
                      <a:pt x="189" y="320"/>
                    </a:lnTo>
                    <a:lnTo>
                      <a:pt x="189" y="318"/>
                    </a:lnTo>
                    <a:lnTo>
                      <a:pt x="189" y="318"/>
                    </a:lnTo>
                    <a:lnTo>
                      <a:pt x="189" y="316"/>
                    </a:lnTo>
                    <a:lnTo>
                      <a:pt x="189" y="316"/>
                    </a:lnTo>
                    <a:lnTo>
                      <a:pt x="187" y="315"/>
                    </a:lnTo>
                    <a:lnTo>
                      <a:pt x="187" y="315"/>
                    </a:lnTo>
                    <a:lnTo>
                      <a:pt x="184" y="313"/>
                    </a:lnTo>
                    <a:lnTo>
                      <a:pt x="182" y="313"/>
                    </a:lnTo>
                    <a:lnTo>
                      <a:pt x="180" y="313"/>
                    </a:lnTo>
                    <a:lnTo>
                      <a:pt x="180" y="311"/>
                    </a:lnTo>
                    <a:lnTo>
                      <a:pt x="176" y="311"/>
                    </a:lnTo>
                    <a:lnTo>
                      <a:pt x="175" y="311"/>
                    </a:lnTo>
                    <a:lnTo>
                      <a:pt x="175" y="309"/>
                    </a:lnTo>
                    <a:lnTo>
                      <a:pt x="173" y="307"/>
                    </a:lnTo>
                    <a:lnTo>
                      <a:pt x="171" y="309"/>
                    </a:lnTo>
                    <a:lnTo>
                      <a:pt x="167" y="307"/>
                    </a:lnTo>
                    <a:lnTo>
                      <a:pt x="164" y="306"/>
                    </a:lnTo>
                    <a:lnTo>
                      <a:pt x="164" y="304"/>
                    </a:lnTo>
                    <a:lnTo>
                      <a:pt x="164" y="302"/>
                    </a:lnTo>
                    <a:lnTo>
                      <a:pt x="160" y="300"/>
                    </a:lnTo>
                    <a:lnTo>
                      <a:pt x="159" y="300"/>
                    </a:lnTo>
                    <a:lnTo>
                      <a:pt x="155" y="299"/>
                    </a:lnTo>
                    <a:lnTo>
                      <a:pt x="155" y="297"/>
                    </a:lnTo>
                    <a:lnTo>
                      <a:pt x="157" y="295"/>
                    </a:lnTo>
                    <a:lnTo>
                      <a:pt x="155" y="293"/>
                    </a:lnTo>
                    <a:lnTo>
                      <a:pt x="155" y="293"/>
                    </a:lnTo>
                    <a:lnTo>
                      <a:pt x="59" y="22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55" name="Freeform 2305"/>
              <p:cNvSpPr>
                <a:spLocks/>
              </p:cNvSpPr>
              <p:nvPr/>
            </p:nvSpPr>
            <p:spPr bwMode="auto">
              <a:xfrm>
                <a:off x="3528" y="2304"/>
                <a:ext cx="125" cy="141"/>
              </a:xfrm>
              <a:custGeom>
                <a:avLst/>
                <a:gdLst>
                  <a:gd name="T0" fmla="*/ 59 w 125"/>
                  <a:gd name="T1" fmla="*/ 0 h 141"/>
                  <a:gd name="T2" fmla="*/ 59 w 125"/>
                  <a:gd name="T3" fmla="*/ 11 h 141"/>
                  <a:gd name="T4" fmla="*/ 63 w 125"/>
                  <a:gd name="T5" fmla="*/ 12 h 141"/>
                  <a:gd name="T6" fmla="*/ 57 w 125"/>
                  <a:gd name="T7" fmla="*/ 16 h 141"/>
                  <a:gd name="T8" fmla="*/ 59 w 125"/>
                  <a:gd name="T9" fmla="*/ 50 h 141"/>
                  <a:gd name="T10" fmla="*/ 0 w 125"/>
                  <a:gd name="T11" fmla="*/ 102 h 141"/>
                  <a:gd name="T12" fmla="*/ 34 w 125"/>
                  <a:gd name="T13" fmla="*/ 136 h 141"/>
                  <a:gd name="T14" fmla="*/ 45 w 125"/>
                  <a:gd name="T15" fmla="*/ 136 h 141"/>
                  <a:gd name="T16" fmla="*/ 50 w 125"/>
                  <a:gd name="T17" fmla="*/ 134 h 141"/>
                  <a:gd name="T18" fmla="*/ 52 w 125"/>
                  <a:gd name="T19" fmla="*/ 127 h 141"/>
                  <a:gd name="T20" fmla="*/ 64 w 125"/>
                  <a:gd name="T21" fmla="*/ 120 h 141"/>
                  <a:gd name="T22" fmla="*/ 70 w 125"/>
                  <a:gd name="T23" fmla="*/ 118 h 141"/>
                  <a:gd name="T24" fmla="*/ 75 w 125"/>
                  <a:gd name="T25" fmla="*/ 109 h 141"/>
                  <a:gd name="T26" fmla="*/ 79 w 125"/>
                  <a:gd name="T27" fmla="*/ 103 h 141"/>
                  <a:gd name="T28" fmla="*/ 82 w 125"/>
                  <a:gd name="T29" fmla="*/ 102 h 141"/>
                  <a:gd name="T30" fmla="*/ 89 w 125"/>
                  <a:gd name="T31" fmla="*/ 102 h 141"/>
                  <a:gd name="T32" fmla="*/ 93 w 125"/>
                  <a:gd name="T33" fmla="*/ 98 h 141"/>
                  <a:gd name="T34" fmla="*/ 91 w 125"/>
                  <a:gd name="T35" fmla="*/ 95 h 141"/>
                  <a:gd name="T36" fmla="*/ 91 w 125"/>
                  <a:gd name="T37" fmla="*/ 86 h 141"/>
                  <a:gd name="T38" fmla="*/ 97 w 125"/>
                  <a:gd name="T39" fmla="*/ 75 h 141"/>
                  <a:gd name="T40" fmla="*/ 100 w 125"/>
                  <a:gd name="T41" fmla="*/ 75 h 141"/>
                  <a:gd name="T42" fmla="*/ 100 w 125"/>
                  <a:gd name="T43" fmla="*/ 77 h 141"/>
                  <a:gd name="T44" fmla="*/ 104 w 125"/>
                  <a:gd name="T45" fmla="*/ 77 h 141"/>
                  <a:gd name="T46" fmla="*/ 116 w 125"/>
                  <a:gd name="T47" fmla="*/ 61 h 141"/>
                  <a:gd name="T48" fmla="*/ 125 w 125"/>
                  <a:gd name="T49" fmla="*/ 43 h 141"/>
                  <a:gd name="T50" fmla="*/ 122 w 125"/>
                  <a:gd name="T51" fmla="*/ 41 h 141"/>
                  <a:gd name="T52" fmla="*/ 118 w 125"/>
                  <a:gd name="T53" fmla="*/ 39 h 141"/>
                  <a:gd name="T54" fmla="*/ 114 w 125"/>
                  <a:gd name="T55" fmla="*/ 32 h 141"/>
                  <a:gd name="T56" fmla="*/ 111 w 125"/>
                  <a:gd name="T57" fmla="*/ 28 h 141"/>
                  <a:gd name="T58" fmla="*/ 104 w 125"/>
                  <a:gd name="T59" fmla="*/ 21 h 141"/>
                  <a:gd name="T60" fmla="*/ 97 w 125"/>
                  <a:gd name="T61" fmla="*/ 20 h 141"/>
                  <a:gd name="T62" fmla="*/ 82 w 125"/>
                  <a:gd name="T63" fmla="*/ 16 h 141"/>
                  <a:gd name="T64" fmla="*/ 77 w 125"/>
                  <a:gd name="T65" fmla="*/ 12 h 141"/>
                  <a:gd name="T66" fmla="*/ 73 w 125"/>
                  <a:gd name="T67" fmla="*/ 5 h 141"/>
                  <a:gd name="T68" fmla="*/ 68 w 125"/>
                  <a:gd name="T69"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41">
                    <a:moveTo>
                      <a:pt x="68" y="0"/>
                    </a:moveTo>
                    <a:lnTo>
                      <a:pt x="59" y="0"/>
                    </a:lnTo>
                    <a:lnTo>
                      <a:pt x="61" y="11"/>
                    </a:lnTo>
                    <a:lnTo>
                      <a:pt x="59" y="11"/>
                    </a:lnTo>
                    <a:lnTo>
                      <a:pt x="61" y="12"/>
                    </a:lnTo>
                    <a:lnTo>
                      <a:pt x="63" y="12"/>
                    </a:lnTo>
                    <a:lnTo>
                      <a:pt x="61" y="16"/>
                    </a:lnTo>
                    <a:lnTo>
                      <a:pt x="57" y="16"/>
                    </a:lnTo>
                    <a:lnTo>
                      <a:pt x="52" y="37"/>
                    </a:lnTo>
                    <a:lnTo>
                      <a:pt x="59" y="50"/>
                    </a:lnTo>
                    <a:lnTo>
                      <a:pt x="48" y="84"/>
                    </a:lnTo>
                    <a:lnTo>
                      <a:pt x="0" y="102"/>
                    </a:lnTo>
                    <a:lnTo>
                      <a:pt x="16" y="141"/>
                    </a:lnTo>
                    <a:lnTo>
                      <a:pt x="34" y="136"/>
                    </a:lnTo>
                    <a:lnTo>
                      <a:pt x="43" y="136"/>
                    </a:lnTo>
                    <a:lnTo>
                      <a:pt x="45" y="136"/>
                    </a:lnTo>
                    <a:lnTo>
                      <a:pt x="47" y="136"/>
                    </a:lnTo>
                    <a:lnTo>
                      <a:pt x="50" y="134"/>
                    </a:lnTo>
                    <a:lnTo>
                      <a:pt x="52" y="130"/>
                    </a:lnTo>
                    <a:lnTo>
                      <a:pt x="52" y="127"/>
                    </a:lnTo>
                    <a:lnTo>
                      <a:pt x="57" y="121"/>
                    </a:lnTo>
                    <a:lnTo>
                      <a:pt x="64" y="120"/>
                    </a:lnTo>
                    <a:lnTo>
                      <a:pt x="68" y="120"/>
                    </a:lnTo>
                    <a:lnTo>
                      <a:pt x="70" y="118"/>
                    </a:lnTo>
                    <a:lnTo>
                      <a:pt x="73" y="116"/>
                    </a:lnTo>
                    <a:lnTo>
                      <a:pt x="75" y="109"/>
                    </a:lnTo>
                    <a:lnTo>
                      <a:pt x="77" y="105"/>
                    </a:lnTo>
                    <a:lnTo>
                      <a:pt x="79" y="103"/>
                    </a:lnTo>
                    <a:lnTo>
                      <a:pt x="80" y="103"/>
                    </a:lnTo>
                    <a:lnTo>
                      <a:pt x="82" y="102"/>
                    </a:lnTo>
                    <a:lnTo>
                      <a:pt x="84" y="102"/>
                    </a:lnTo>
                    <a:lnTo>
                      <a:pt x="89" y="102"/>
                    </a:lnTo>
                    <a:lnTo>
                      <a:pt x="91" y="100"/>
                    </a:lnTo>
                    <a:lnTo>
                      <a:pt x="93" y="98"/>
                    </a:lnTo>
                    <a:lnTo>
                      <a:pt x="91" y="96"/>
                    </a:lnTo>
                    <a:lnTo>
                      <a:pt x="91" y="95"/>
                    </a:lnTo>
                    <a:lnTo>
                      <a:pt x="91" y="89"/>
                    </a:lnTo>
                    <a:lnTo>
                      <a:pt x="91" y="86"/>
                    </a:lnTo>
                    <a:lnTo>
                      <a:pt x="91" y="84"/>
                    </a:lnTo>
                    <a:lnTo>
                      <a:pt x="97" y="75"/>
                    </a:lnTo>
                    <a:lnTo>
                      <a:pt x="98" y="75"/>
                    </a:lnTo>
                    <a:lnTo>
                      <a:pt x="100" y="75"/>
                    </a:lnTo>
                    <a:lnTo>
                      <a:pt x="100" y="77"/>
                    </a:lnTo>
                    <a:lnTo>
                      <a:pt x="100" y="77"/>
                    </a:lnTo>
                    <a:lnTo>
                      <a:pt x="102" y="77"/>
                    </a:lnTo>
                    <a:lnTo>
                      <a:pt x="104" y="77"/>
                    </a:lnTo>
                    <a:lnTo>
                      <a:pt x="111" y="64"/>
                    </a:lnTo>
                    <a:lnTo>
                      <a:pt x="116" y="61"/>
                    </a:lnTo>
                    <a:lnTo>
                      <a:pt x="123" y="50"/>
                    </a:lnTo>
                    <a:lnTo>
                      <a:pt x="125" y="43"/>
                    </a:lnTo>
                    <a:lnTo>
                      <a:pt x="123" y="41"/>
                    </a:lnTo>
                    <a:lnTo>
                      <a:pt x="122" y="41"/>
                    </a:lnTo>
                    <a:lnTo>
                      <a:pt x="122" y="39"/>
                    </a:lnTo>
                    <a:lnTo>
                      <a:pt x="118" y="39"/>
                    </a:lnTo>
                    <a:lnTo>
                      <a:pt x="114" y="36"/>
                    </a:lnTo>
                    <a:lnTo>
                      <a:pt x="114" y="32"/>
                    </a:lnTo>
                    <a:lnTo>
                      <a:pt x="111" y="30"/>
                    </a:lnTo>
                    <a:lnTo>
                      <a:pt x="111" y="28"/>
                    </a:lnTo>
                    <a:lnTo>
                      <a:pt x="107" y="23"/>
                    </a:lnTo>
                    <a:lnTo>
                      <a:pt x="104" y="21"/>
                    </a:lnTo>
                    <a:lnTo>
                      <a:pt x="102" y="21"/>
                    </a:lnTo>
                    <a:lnTo>
                      <a:pt x="97" y="20"/>
                    </a:lnTo>
                    <a:lnTo>
                      <a:pt x="91" y="20"/>
                    </a:lnTo>
                    <a:lnTo>
                      <a:pt x="82" y="16"/>
                    </a:lnTo>
                    <a:lnTo>
                      <a:pt x="80" y="12"/>
                    </a:lnTo>
                    <a:lnTo>
                      <a:pt x="77" y="12"/>
                    </a:lnTo>
                    <a:lnTo>
                      <a:pt x="73" y="7"/>
                    </a:lnTo>
                    <a:lnTo>
                      <a:pt x="73" y="5"/>
                    </a:lnTo>
                    <a:lnTo>
                      <a:pt x="70" y="3"/>
                    </a:lnTo>
                    <a:lnTo>
                      <a:pt x="68" y="0"/>
                    </a:lnTo>
                    <a:lnTo>
                      <a:pt x="68"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56" name="Freeform 2306"/>
              <p:cNvSpPr>
                <a:spLocks/>
              </p:cNvSpPr>
              <p:nvPr/>
            </p:nvSpPr>
            <p:spPr bwMode="auto">
              <a:xfrm>
                <a:off x="3441" y="2211"/>
                <a:ext cx="28" cy="27"/>
              </a:xfrm>
              <a:custGeom>
                <a:avLst/>
                <a:gdLst>
                  <a:gd name="T0" fmla="*/ 28 w 28"/>
                  <a:gd name="T1" fmla="*/ 27 h 27"/>
                  <a:gd name="T2" fmla="*/ 28 w 28"/>
                  <a:gd name="T3" fmla="*/ 23 h 27"/>
                  <a:gd name="T4" fmla="*/ 26 w 28"/>
                  <a:gd name="T5" fmla="*/ 23 h 27"/>
                  <a:gd name="T6" fmla="*/ 25 w 28"/>
                  <a:gd name="T7" fmla="*/ 14 h 27"/>
                  <a:gd name="T8" fmla="*/ 21 w 28"/>
                  <a:gd name="T9" fmla="*/ 14 h 27"/>
                  <a:gd name="T10" fmla="*/ 19 w 28"/>
                  <a:gd name="T11" fmla="*/ 14 h 27"/>
                  <a:gd name="T12" fmla="*/ 19 w 28"/>
                  <a:gd name="T13" fmla="*/ 13 h 27"/>
                  <a:gd name="T14" fmla="*/ 19 w 28"/>
                  <a:gd name="T15" fmla="*/ 11 h 27"/>
                  <a:gd name="T16" fmla="*/ 25 w 28"/>
                  <a:gd name="T17" fmla="*/ 9 h 27"/>
                  <a:gd name="T18" fmla="*/ 28 w 28"/>
                  <a:gd name="T19" fmla="*/ 7 h 27"/>
                  <a:gd name="T20" fmla="*/ 26 w 28"/>
                  <a:gd name="T21" fmla="*/ 5 h 27"/>
                  <a:gd name="T22" fmla="*/ 26 w 28"/>
                  <a:gd name="T23" fmla="*/ 5 h 27"/>
                  <a:gd name="T24" fmla="*/ 23 w 28"/>
                  <a:gd name="T25" fmla="*/ 4 h 27"/>
                  <a:gd name="T26" fmla="*/ 23 w 28"/>
                  <a:gd name="T27" fmla="*/ 2 h 27"/>
                  <a:gd name="T28" fmla="*/ 23 w 28"/>
                  <a:gd name="T29" fmla="*/ 2 h 27"/>
                  <a:gd name="T30" fmla="*/ 16 w 28"/>
                  <a:gd name="T31" fmla="*/ 0 h 27"/>
                  <a:gd name="T32" fmla="*/ 12 w 28"/>
                  <a:gd name="T33" fmla="*/ 2 h 27"/>
                  <a:gd name="T34" fmla="*/ 5 w 28"/>
                  <a:gd name="T35" fmla="*/ 13 h 27"/>
                  <a:gd name="T36" fmla="*/ 0 w 28"/>
                  <a:gd name="T37" fmla="*/ 18 h 27"/>
                  <a:gd name="T38" fmla="*/ 1 w 28"/>
                  <a:gd name="T39" fmla="*/ 18 h 27"/>
                  <a:gd name="T40" fmla="*/ 14 w 28"/>
                  <a:gd name="T41" fmla="*/ 21 h 27"/>
                  <a:gd name="T42" fmla="*/ 16 w 28"/>
                  <a:gd name="T43" fmla="*/ 23 h 27"/>
                  <a:gd name="T44" fmla="*/ 19 w 28"/>
                  <a:gd name="T45" fmla="*/ 27 h 27"/>
                  <a:gd name="T46" fmla="*/ 28 w 28"/>
                  <a:gd name="T4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27">
                    <a:moveTo>
                      <a:pt x="28" y="27"/>
                    </a:moveTo>
                    <a:lnTo>
                      <a:pt x="28" y="23"/>
                    </a:lnTo>
                    <a:lnTo>
                      <a:pt x="26" y="23"/>
                    </a:lnTo>
                    <a:lnTo>
                      <a:pt x="25" y="14"/>
                    </a:lnTo>
                    <a:lnTo>
                      <a:pt x="21" y="14"/>
                    </a:lnTo>
                    <a:lnTo>
                      <a:pt x="19" y="14"/>
                    </a:lnTo>
                    <a:lnTo>
                      <a:pt x="19" y="13"/>
                    </a:lnTo>
                    <a:lnTo>
                      <a:pt x="19" y="11"/>
                    </a:lnTo>
                    <a:lnTo>
                      <a:pt x="25" y="9"/>
                    </a:lnTo>
                    <a:lnTo>
                      <a:pt x="28" y="7"/>
                    </a:lnTo>
                    <a:lnTo>
                      <a:pt x="26" y="5"/>
                    </a:lnTo>
                    <a:lnTo>
                      <a:pt x="26" y="5"/>
                    </a:lnTo>
                    <a:lnTo>
                      <a:pt x="23" y="4"/>
                    </a:lnTo>
                    <a:lnTo>
                      <a:pt x="23" y="2"/>
                    </a:lnTo>
                    <a:lnTo>
                      <a:pt x="23" y="2"/>
                    </a:lnTo>
                    <a:lnTo>
                      <a:pt x="16" y="0"/>
                    </a:lnTo>
                    <a:lnTo>
                      <a:pt x="12" y="2"/>
                    </a:lnTo>
                    <a:lnTo>
                      <a:pt x="5" y="13"/>
                    </a:lnTo>
                    <a:lnTo>
                      <a:pt x="0" y="18"/>
                    </a:lnTo>
                    <a:lnTo>
                      <a:pt x="1" y="18"/>
                    </a:lnTo>
                    <a:lnTo>
                      <a:pt x="14" y="21"/>
                    </a:lnTo>
                    <a:lnTo>
                      <a:pt x="16" y="23"/>
                    </a:lnTo>
                    <a:lnTo>
                      <a:pt x="19" y="27"/>
                    </a:lnTo>
                    <a:lnTo>
                      <a:pt x="28" y="2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57" name="Freeform 2307"/>
              <p:cNvSpPr>
                <a:spLocks/>
              </p:cNvSpPr>
              <p:nvPr/>
            </p:nvSpPr>
            <p:spPr bwMode="auto">
              <a:xfrm>
                <a:off x="3441" y="2211"/>
                <a:ext cx="28" cy="27"/>
              </a:xfrm>
              <a:custGeom>
                <a:avLst/>
                <a:gdLst>
                  <a:gd name="T0" fmla="*/ 28 w 28"/>
                  <a:gd name="T1" fmla="*/ 27 h 27"/>
                  <a:gd name="T2" fmla="*/ 28 w 28"/>
                  <a:gd name="T3" fmla="*/ 23 h 27"/>
                  <a:gd name="T4" fmla="*/ 26 w 28"/>
                  <a:gd name="T5" fmla="*/ 23 h 27"/>
                  <a:gd name="T6" fmla="*/ 25 w 28"/>
                  <a:gd name="T7" fmla="*/ 14 h 27"/>
                  <a:gd name="T8" fmla="*/ 21 w 28"/>
                  <a:gd name="T9" fmla="*/ 14 h 27"/>
                  <a:gd name="T10" fmla="*/ 19 w 28"/>
                  <a:gd name="T11" fmla="*/ 14 h 27"/>
                  <a:gd name="T12" fmla="*/ 19 w 28"/>
                  <a:gd name="T13" fmla="*/ 13 h 27"/>
                  <a:gd name="T14" fmla="*/ 19 w 28"/>
                  <a:gd name="T15" fmla="*/ 11 h 27"/>
                  <a:gd name="T16" fmla="*/ 25 w 28"/>
                  <a:gd name="T17" fmla="*/ 9 h 27"/>
                  <a:gd name="T18" fmla="*/ 28 w 28"/>
                  <a:gd name="T19" fmla="*/ 7 h 27"/>
                  <a:gd name="T20" fmla="*/ 26 w 28"/>
                  <a:gd name="T21" fmla="*/ 5 h 27"/>
                  <a:gd name="T22" fmla="*/ 26 w 28"/>
                  <a:gd name="T23" fmla="*/ 5 h 27"/>
                  <a:gd name="T24" fmla="*/ 23 w 28"/>
                  <a:gd name="T25" fmla="*/ 4 h 27"/>
                  <a:gd name="T26" fmla="*/ 23 w 28"/>
                  <a:gd name="T27" fmla="*/ 2 h 27"/>
                  <a:gd name="T28" fmla="*/ 23 w 28"/>
                  <a:gd name="T29" fmla="*/ 2 h 27"/>
                  <a:gd name="T30" fmla="*/ 16 w 28"/>
                  <a:gd name="T31" fmla="*/ 0 h 27"/>
                  <a:gd name="T32" fmla="*/ 12 w 28"/>
                  <a:gd name="T33" fmla="*/ 2 h 27"/>
                  <a:gd name="T34" fmla="*/ 5 w 28"/>
                  <a:gd name="T35" fmla="*/ 13 h 27"/>
                  <a:gd name="T36" fmla="*/ 0 w 28"/>
                  <a:gd name="T37" fmla="*/ 18 h 27"/>
                  <a:gd name="T38" fmla="*/ 1 w 28"/>
                  <a:gd name="T39" fmla="*/ 18 h 27"/>
                  <a:gd name="T40" fmla="*/ 14 w 28"/>
                  <a:gd name="T41" fmla="*/ 21 h 27"/>
                  <a:gd name="T42" fmla="*/ 16 w 28"/>
                  <a:gd name="T43" fmla="*/ 23 h 27"/>
                  <a:gd name="T44" fmla="*/ 19 w 28"/>
                  <a:gd name="T45" fmla="*/ 27 h 27"/>
                  <a:gd name="T46" fmla="*/ 28 w 28"/>
                  <a:gd name="T4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 h="27">
                    <a:moveTo>
                      <a:pt x="28" y="27"/>
                    </a:moveTo>
                    <a:lnTo>
                      <a:pt x="28" y="23"/>
                    </a:lnTo>
                    <a:lnTo>
                      <a:pt x="26" y="23"/>
                    </a:lnTo>
                    <a:lnTo>
                      <a:pt x="25" y="14"/>
                    </a:lnTo>
                    <a:lnTo>
                      <a:pt x="21" y="14"/>
                    </a:lnTo>
                    <a:lnTo>
                      <a:pt x="19" y="14"/>
                    </a:lnTo>
                    <a:lnTo>
                      <a:pt x="19" y="13"/>
                    </a:lnTo>
                    <a:lnTo>
                      <a:pt x="19" y="11"/>
                    </a:lnTo>
                    <a:lnTo>
                      <a:pt x="25" y="9"/>
                    </a:lnTo>
                    <a:lnTo>
                      <a:pt x="28" y="7"/>
                    </a:lnTo>
                    <a:lnTo>
                      <a:pt x="26" y="5"/>
                    </a:lnTo>
                    <a:lnTo>
                      <a:pt x="26" y="5"/>
                    </a:lnTo>
                    <a:lnTo>
                      <a:pt x="23" y="4"/>
                    </a:lnTo>
                    <a:lnTo>
                      <a:pt x="23" y="2"/>
                    </a:lnTo>
                    <a:lnTo>
                      <a:pt x="23" y="2"/>
                    </a:lnTo>
                    <a:lnTo>
                      <a:pt x="16" y="0"/>
                    </a:lnTo>
                    <a:lnTo>
                      <a:pt x="12" y="2"/>
                    </a:lnTo>
                    <a:lnTo>
                      <a:pt x="5" y="13"/>
                    </a:lnTo>
                    <a:lnTo>
                      <a:pt x="0" y="18"/>
                    </a:lnTo>
                    <a:lnTo>
                      <a:pt x="1" y="18"/>
                    </a:lnTo>
                    <a:lnTo>
                      <a:pt x="14" y="21"/>
                    </a:lnTo>
                    <a:lnTo>
                      <a:pt x="16" y="23"/>
                    </a:lnTo>
                    <a:lnTo>
                      <a:pt x="19" y="27"/>
                    </a:lnTo>
                    <a:lnTo>
                      <a:pt x="28" y="2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58" name="Freeform 2308"/>
              <p:cNvSpPr>
                <a:spLocks/>
              </p:cNvSpPr>
              <p:nvPr/>
            </p:nvSpPr>
            <p:spPr bwMode="auto">
              <a:xfrm>
                <a:off x="2489" y="2100"/>
                <a:ext cx="191" cy="154"/>
              </a:xfrm>
              <a:custGeom>
                <a:avLst/>
                <a:gdLst>
                  <a:gd name="T0" fmla="*/ 70 w 191"/>
                  <a:gd name="T1" fmla="*/ 154 h 154"/>
                  <a:gd name="T2" fmla="*/ 2 w 191"/>
                  <a:gd name="T3" fmla="*/ 150 h 154"/>
                  <a:gd name="T4" fmla="*/ 32 w 191"/>
                  <a:gd name="T5" fmla="*/ 134 h 154"/>
                  <a:gd name="T6" fmla="*/ 41 w 191"/>
                  <a:gd name="T7" fmla="*/ 131 h 154"/>
                  <a:gd name="T8" fmla="*/ 45 w 191"/>
                  <a:gd name="T9" fmla="*/ 125 h 154"/>
                  <a:gd name="T10" fmla="*/ 54 w 191"/>
                  <a:gd name="T11" fmla="*/ 106 h 154"/>
                  <a:gd name="T12" fmla="*/ 52 w 191"/>
                  <a:gd name="T13" fmla="*/ 86 h 154"/>
                  <a:gd name="T14" fmla="*/ 57 w 191"/>
                  <a:gd name="T15" fmla="*/ 77 h 154"/>
                  <a:gd name="T16" fmla="*/ 61 w 191"/>
                  <a:gd name="T17" fmla="*/ 75 h 154"/>
                  <a:gd name="T18" fmla="*/ 62 w 191"/>
                  <a:gd name="T19" fmla="*/ 65 h 154"/>
                  <a:gd name="T20" fmla="*/ 98 w 191"/>
                  <a:gd name="T21" fmla="*/ 38 h 154"/>
                  <a:gd name="T22" fmla="*/ 104 w 191"/>
                  <a:gd name="T23" fmla="*/ 31 h 154"/>
                  <a:gd name="T24" fmla="*/ 114 w 191"/>
                  <a:gd name="T25" fmla="*/ 4 h 154"/>
                  <a:gd name="T26" fmla="*/ 123 w 191"/>
                  <a:gd name="T27" fmla="*/ 0 h 154"/>
                  <a:gd name="T28" fmla="*/ 136 w 191"/>
                  <a:gd name="T29" fmla="*/ 15 h 154"/>
                  <a:gd name="T30" fmla="*/ 146 w 191"/>
                  <a:gd name="T31" fmla="*/ 13 h 154"/>
                  <a:gd name="T32" fmla="*/ 161 w 191"/>
                  <a:gd name="T33" fmla="*/ 11 h 154"/>
                  <a:gd name="T34" fmla="*/ 168 w 191"/>
                  <a:gd name="T35" fmla="*/ 15 h 154"/>
                  <a:gd name="T36" fmla="*/ 177 w 191"/>
                  <a:gd name="T37" fmla="*/ 16 h 154"/>
                  <a:gd name="T38" fmla="*/ 177 w 191"/>
                  <a:gd name="T39" fmla="*/ 18 h 154"/>
                  <a:gd name="T40" fmla="*/ 179 w 191"/>
                  <a:gd name="T41" fmla="*/ 22 h 154"/>
                  <a:gd name="T42" fmla="*/ 182 w 191"/>
                  <a:gd name="T43" fmla="*/ 24 h 154"/>
                  <a:gd name="T44" fmla="*/ 182 w 191"/>
                  <a:gd name="T45" fmla="*/ 25 h 154"/>
                  <a:gd name="T46" fmla="*/ 180 w 191"/>
                  <a:gd name="T47" fmla="*/ 25 h 154"/>
                  <a:gd name="T48" fmla="*/ 182 w 191"/>
                  <a:gd name="T49" fmla="*/ 31 h 154"/>
                  <a:gd name="T50" fmla="*/ 182 w 191"/>
                  <a:gd name="T51" fmla="*/ 41 h 154"/>
                  <a:gd name="T52" fmla="*/ 184 w 191"/>
                  <a:gd name="T53" fmla="*/ 43 h 154"/>
                  <a:gd name="T54" fmla="*/ 184 w 191"/>
                  <a:gd name="T55" fmla="*/ 49 h 154"/>
                  <a:gd name="T56" fmla="*/ 186 w 191"/>
                  <a:gd name="T57" fmla="*/ 54 h 154"/>
                  <a:gd name="T58" fmla="*/ 187 w 191"/>
                  <a:gd name="T59" fmla="*/ 59 h 154"/>
                  <a:gd name="T60" fmla="*/ 191 w 191"/>
                  <a:gd name="T61" fmla="*/ 65 h 154"/>
                  <a:gd name="T62" fmla="*/ 189 w 191"/>
                  <a:gd name="T63" fmla="*/ 66 h 154"/>
                  <a:gd name="T64" fmla="*/ 189 w 191"/>
                  <a:gd name="T65" fmla="*/ 70 h 154"/>
                  <a:gd name="T66" fmla="*/ 189 w 191"/>
                  <a:gd name="T67" fmla="*/ 72 h 154"/>
                  <a:gd name="T68" fmla="*/ 180 w 191"/>
                  <a:gd name="T69" fmla="*/ 70 h 154"/>
                  <a:gd name="T70" fmla="*/ 166 w 191"/>
                  <a:gd name="T71" fmla="*/ 72 h 154"/>
                  <a:gd name="T72" fmla="*/ 164 w 191"/>
                  <a:gd name="T73" fmla="*/ 72 h 154"/>
                  <a:gd name="T74" fmla="*/ 162 w 191"/>
                  <a:gd name="T75" fmla="*/ 72 h 154"/>
                  <a:gd name="T76" fmla="*/ 161 w 191"/>
                  <a:gd name="T77" fmla="*/ 75 h 154"/>
                  <a:gd name="T78" fmla="*/ 161 w 191"/>
                  <a:gd name="T79" fmla="*/ 77 h 154"/>
                  <a:gd name="T80" fmla="*/ 150 w 191"/>
                  <a:gd name="T81" fmla="*/ 79 h 154"/>
                  <a:gd name="T82" fmla="*/ 146 w 191"/>
                  <a:gd name="T83" fmla="*/ 81 h 154"/>
                  <a:gd name="T84" fmla="*/ 146 w 191"/>
                  <a:gd name="T85" fmla="*/ 84 h 154"/>
                  <a:gd name="T86" fmla="*/ 148 w 191"/>
                  <a:gd name="T87" fmla="*/ 84 h 154"/>
                  <a:gd name="T88" fmla="*/ 148 w 191"/>
                  <a:gd name="T89" fmla="*/ 86 h 154"/>
                  <a:gd name="T90" fmla="*/ 148 w 191"/>
                  <a:gd name="T91" fmla="*/ 90 h 154"/>
                  <a:gd name="T92" fmla="*/ 148 w 191"/>
                  <a:gd name="T93" fmla="*/ 90 h 154"/>
                  <a:gd name="T94" fmla="*/ 150 w 191"/>
                  <a:gd name="T95" fmla="*/ 91 h 154"/>
                  <a:gd name="T96" fmla="*/ 150 w 191"/>
                  <a:gd name="T97" fmla="*/ 93 h 154"/>
                  <a:gd name="T98" fmla="*/ 136 w 191"/>
                  <a:gd name="T99" fmla="*/ 100 h 154"/>
                  <a:gd name="T100" fmla="*/ 130 w 191"/>
                  <a:gd name="T101" fmla="*/ 102 h 154"/>
                  <a:gd name="T102" fmla="*/ 127 w 191"/>
                  <a:gd name="T103" fmla="*/ 106 h 154"/>
                  <a:gd name="T104" fmla="*/ 125 w 191"/>
                  <a:gd name="T105" fmla="*/ 107 h 154"/>
                  <a:gd name="T106" fmla="*/ 112 w 191"/>
                  <a:gd name="T107" fmla="*/ 115 h 154"/>
                  <a:gd name="T108" fmla="*/ 109 w 191"/>
                  <a:gd name="T109" fmla="*/ 115 h 154"/>
                  <a:gd name="T110" fmla="*/ 104 w 191"/>
                  <a:gd name="T111" fmla="*/ 115 h 154"/>
                  <a:gd name="T112" fmla="*/ 102 w 191"/>
                  <a:gd name="T113" fmla="*/ 118 h 154"/>
                  <a:gd name="T114" fmla="*/ 98 w 191"/>
                  <a:gd name="T115" fmla="*/ 118 h 154"/>
                  <a:gd name="T116" fmla="*/ 95 w 191"/>
                  <a:gd name="T117" fmla="*/ 118 h 154"/>
                  <a:gd name="T118" fmla="*/ 91 w 191"/>
                  <a:gd name="T119" fmla="*/ 120 h 154"/>
                  <a:gd name="T120" fmla="*/ 87 w 191"/>
                  <a:gd name="T121" fmla="*/ 124 h 154"/>
                  <a:gd name="T122" fmla="*/ 70 w 191"/>
                  <a:gd name="T123" fmla="*/ 13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1" h="154">
                    <a:moveTo>
                      <a:pt x="70" y="132"/>
                    </a:moveTo>
                    <a:lnTo>
                      <a:pt x="70" y="154"/>
                    </a:lnTo>
                    <a:lnTo>
                      <a:pt x="0" y="154"/>
                    </a:lnTo>
                    <a:lnTo>
                      <a:pt x="2" y="150"/>
                    </a:lnTo>
                    <a:lnTo>
                      <a:pt x="23" y="145"/>
                    </a:lnTo>
                    <a:lnTo>
                      <a:pt x="32" y="134"/>
                    </a:lnTo>
                    <a:lnTo>
                      <a:pt x="37" y="132"/>
                    </a:lnTo>
                    <a:lnTo>
                      <a:pt x="41" y="131"/>
                    </a:lnTo>
                    <a:lnTo>
                      <a:pt x="43" y="129"/>
                    </a:lnTo>
                    <a:lnTo>
                      <a:pt x="45" y="125"/>
                    </a:lnTo>
                    <a:lnTo>
                      <a:pt x="54" y="111"/>
                    </a:lnTo>
                    <a:lnTo>
                      <a:pt x="54" y="106"/>
                    </a:lnTo>
                    <a:lnTo>
                      <a:pt x="50" y="100"/>
                    </a:lnTo>
                    <a:lnTo>
                      <a:pt x="52" y="86"/>
                    </a:lnTo>
                    <a:lnTo>
                      <a:pt x="57" y="77"/>
                    </a:lnTo>
                    <a:lnTo>
                      <a:pt x="57" y="77"/>
                    </a:lnTo>
                    <a:lnTo>
                      <a:pt x="61" y="75"/>
                    </a:lnTo>
                    <a:lnTo>
                      <a:pt x="61" y="75"/>
                    </a:lnTo>
                    <a:lnTo>
                      <a:pt x="62" y="68"/>
                    </a:lnTo>
                    <a:lnTo>
                      <a:pt x="62" y="65"/>
                    </a:lnTo>
                    <a:lnTo>
                      <a:pt x="75" y="50"/>
                    </a:lnTo>
                    <a:lnTo>
                      <a:pt x="98" y="38"/>
                    </a:lnTo>
                    <a:lnTo>
                      <a:pt x="102" y="34"/>
                    </a:lnTo>
                    <a:lnTo>
                      <a:pt x="104" y="31"/>
                    </a:lnTo>
                    <a:lnTo>
                      <a:pt x="107" y="25"/>
                    </a:lnTo>
                    <a:lnTo>
                      <a:pt x="114" y="4"/>
                    </a:lnTo>
                    <a:lnTo>
                      <a:pt x="116" y="2"/>
                    </a:lnTo>
                    <a:lnTo>
                      <a:pt x="123" y="0"/>
                    </a:lnTo>
                    <a:lnTo>
                      <a:pt x="125" y="6"/>
                    </a:lnTo>
                    <a:lnTo>
                      <a:pt x="136" y="15"/>
                    </a:lnTo>
                    <a:lnTo>
                      <a:pt x="139" y="15"/>
                    </a:lnTo>
                    <a:lnTo>
                      <a:pt x="146" y="13"/>
                    </a:lnTo>
                    <a:lnTo>
                      <a:pt x="159" y="13"/>
                    </a:lnTo>
                    <a:lnTo>
                      <a:pt x="161" y="11"/>
                    </a:lnTo>
                    <a:lnTo>
                      <a:pt x="164" y="15"/>
                    </a:lnTo>
                    <a:lnTo>
                      <a:pt x="168" y="15"/>
                    </a:lnTo>
                    <a:lnTo>
                      <a:pt x="171" y="15"/>
                    </a:lnTo>
                    <a:lnTo>
                      <a:pt x="177" y="16"/>
                    </a:lnTo>
                    <a:lnTo>
                      <a:pt x="177" y="18"/>
                    </a:lnTo>
                    <a:lnTo>
                      <a:pt x="177" y="18"/>
                    </a:lnTo>
                    <a:lnTo>
                      <a:pt x="179" y="20"/>
                    </a:lnTo>
                    <a:lnTo>
                      <a:pt x="179" y="22"/>
                    </a:lnTo>
                    <a:lnTo>
                      <a:pt x="180" y="22"/>
                    </a:lnTo>
                    <a:lnTo>
                      <a:pt x="182" y="24"/>
                    </a:lnTo>
                    <a:lnTo>
                      <a:pt x="182" y="24"/>
                    </a:lnTo>
                    <a:lnTo>
                      <a:pt x="182" y="25"/>
                    </a:lnTo>
                    <a:lnTo>
                      <a:pt x="182" y="25"/>
                    </a:lnTo>
                    <a:lnTo>
                      <a:pt x="180" y="25"/>
                    </a:lnTo>
                    <a:lnTo>
                      <a:pt x="182" y="29"/>
                    </a:lnTo>
                    <a:lnTo>
                      <a:pt x="182" y="31"/>
                    </a:lnTo>
                    <a:lnTo>
                      <a:pt x="184" y="36"/>
                    </a:lnTo>
                    <a:lnTo>
                      <a:pt x="182" y="41"/>
                    </a:lnTo>
                    <a:lnTo>
                      <a:pt x="182" y="41"/>
                    </a:lnTo>
                    <a:lnTo>
                      <a:pt x="184" y="43"/>
                    </a:lnTo>
                    <a:lnTo>
                      <a:pt x="184" y="47"/>
                    </a:lnTo>
                    <a:lnTo>
                      <a:pt x="184" y="49"/>
                    </a:lnTo>
                    <a:lnTo>
                      <a:pt x="184" y="50"/>
                    </a:lnTo>
                    <a:lnTo>
                      <a:pt x="186" y="54"/>
                    </a:lnTo>
                    <a:lnTo>
                      <a:pt x="186" y="56"/>
                    </a:lnTo>
                    <a:lnTo>
                      <a:pt x="187" y="59"/>
                    </a:lnTo>
                    <a:lnTo>
                      <a:pt x="191" y="65"/>
                    </a:lnTo>
                    <a:lnTo>
                      <a:pt x="191" y="65"/>
                    </a:lnTo>
                    <a:lnTo>
                      <a:pt x="191" y="65"/>
                    </a:lnTo>
                    <a:lnTo>
                      <a:pt x="189" y="66"/>
                    </a:lnTo>
                    <a:lnTo>
                      <a:pt x="189" y="70"/>
                    </a:lnTo>
                    <a:lnTo>
                      <a:pt x="189" y="70"/>
                    </a:lnTo>
                    <a:lnTo>
                      <a:pt x="189" y="72"/>
                    </a:lnTo>
                    <a:lnTo>
                      <a:pt x="189" y="72"/>
                    </a:lnTo>
                    <a:lnTo>
                      <a:pt x="187" y="70"/>
                    </a:lnTo>
                    <a:lnTo>
                      <a:pt x="180" y="70"/>
                    </a:lnTo>
                    <a:lnTo>
                      <a:pt x="179" y="70"/>
                    </a:lnTo>
                    <a:lnTo>
                      <a:pt x="166" y="72"/>
                    </a:lnTo>
                    <a:lnTo>
                      <a:pt x="166" y="72"/>
                    </a:lnTo>
                    <a:lnTo>
                      <a:pt x="164" y="72"/>
                    </a:lnTo>
                    <a:lnTo>
                      <a:pt x="162" y="72"/>
                    </a:lnTo>
                    <a:lnTo>
                      <a:pt x="162" y="72"/>
                    </a:lnTo>
                    <a:lnTo>
                      <a:pt x="161" y="74"/>
                    </a:lnTo>
                    <a:lnTo>
                      <a:pt x="161" y="75"/>
                    </a:lnTo>
                    <a:lnTo>
                      <a:pt x="161" y="77"/>
                    </a:lnTo>
                    <a:lnTo>
                      <a:pt x="161" y="77"/>
                    </a:lnTo>
                    <a:lnTo>
                      <a:pt x="152" y="81"/>
                    </a:lnTo>
                    <a:lnTo>
                      <a:pt x="150" y="79"/>
                    </a:lnTo>
                    <a:lnTo>
                      <a:pt x="148" y="79"/>
                    </a:lnTo>
                    <a:lnTo>
                      <a:pt x="146" y="81"/>
                    </a:lnTo>
                    <a:lnTo>
                      <a:pt x="146" y="82"/>
                    </a:lnTo>
                    <a:lnTo>
                      <a:pt x="146" y="84"/>
                    </a:lnTo>
                    <a:lnTo>
                      <a:pt x="146" y="84"/>
                    </a:lnTo>
                    <a:lnTo>
                      <a:pt x="148" y="84"/>
                    </a:lnTo>
                    <a:lnTo>
                      <a:pt x="148" y="86"/>
                    </a:lnTo>
                    <a:lnTo>
                      <a:pt x="148" y="86"/>
                    </a:lnTo>
                    <a:lnTo>
                      <a:pt x="146" y="90"/>
                    </a:lnTo>
                    <a:lnTo>
                      <a:pt x="148" y="90"/>
                    </a:lnTo>
                    <a:lnTo>
                      <a:pt x="148" y="90"/>
                    </a:lnTo>
                    <a:lnTo>
                      <a:pt x="148" y="90"/>
                    </a:lnTo>
                    <a:lnTo>
                      <a:pt x="148" y="90"/>
                    </a:lnTo>
                    <a:lnTo>
                      <a:pt x="150" y="91"/>
                    </a:lnTo>
                    <a:lnTo>
                      <a:pt x="150" y="93"/>
                    </a:lnTo>
                    <a:lnTo>
                      <a:pt x="150" y="93"/>
                    </a:lnTo>
                    <a:lnTo>
                      <a:pt x="145" y="95"/>
                    </a:lnTo>
                    <a:lnTo>
                      <a:pt x="136" y="100"/>
                    </a:lnTo>
                    <a:lnTo>
                      <a:pt x="134" y="100"/>
                    </a:lnTo>
                    <a:lnTo>
                      <a:pt x="130" y="102"/>
                    </a:lnTo>
                    <a:lnTo>
                      <a:pt x="129" y="104"/>
                    </a:lnTo>
                    <a:lnTo>
                      <a:pt x="127" y="106"/>
                    </a:lnTo>
                    <a:lnTo>
                      <a:pt x="127" y="107"/>
                    </a:lnTo>
                    <a:lnTo>
                      <a:pt x="125" y="107"/>
                    </a:lnTo>
                    <a:lnTo>
                      <a:pt x="121" y="111"/>
                    </a:lnTo>
                    <a:lnTo>
                      <a:pt x="112" y="115"/>
                    </a:lnTo>
                    <a:lnTo>
                      <a:pt x="111" y="115"/>
                    </a:lnTo>
                    <a:lnTo>
                      <a:pt x="109" y="115"/>
                    </a:lnTo>
                    <a:lnTo>
                      <a:pt x="104" y="115"/>
                    </a:lnTo>
                    <a:lnTo>
                      <a:pt x="104" y="115"/>
                    </a:lnTo>
                    <a:lnTo>
                      <a:pt x="104" y="118"/>
                    </a:lnTo>
                    <a:lnTo>
                      <a:pt x="102" y="118"/>
                    </a:lnTo>
                    <a:lnTo>
                      <a:pt x="100" y="118"/>
                    </a:lnTo>
                    <a:lnTo>
                      <a:pt x="98" y="118"/>
                    </a:lnTo>
                    <a:lnTo>
                      <a:pt x="96" y="118"/>
                    </a:lnTo>
                    <a:lnTo>
                      <a:pt x="95" y="118"/>
                    </a:lnTo>
                    <a:lnTo>
                      <a:pt x="93" y="118"/>
                    </a:lnTo>
                    <a:lnTo>
                      <a:pt x="91" y="120"/>
                    </a:lnTo>
                    <a:lnTo>
                      <a:pt x="89" y="122"/>
                    </a:lnTo>
                    <a:lnTo>
                      <a:pt x="87" y="124"/>
                    </a:lnTo>
                    <a:lnTo>
                      <a:pt x="84" y="124"/>
                    </a:lnTo>
                    <a:lnTo>
                      <a:pt x="70" y="13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59" name="Freeform 2309"/>
              <p:cNvSpPr>
                <a:spLocks/>
              </p:cNvSpPr>
              <p:nvPr/>
            </p:nvSpPr>
            <p:spPr bwMode="auto">
              <a:xfrm>
                <a:off x="2489" y="2100"/>
                <a:ext cx="191" cy="154"/>
              </a:xfrm>
              <a:custGeom>
                <a:avLst/>
                <a:gdLst>
                  <a:gd name="T0" fmla="*/ 70 w 191"/>
                  <a:gd name="T1" fmla="*/ 154 h 154"/>
                  <a:gd name="T2" fmla="*/ 2 w 191"/>
                  <a:gd name="T3" fmla="*/ 150 h 154"/>
                  <a:gd name="T4" fmla="*/ 32 w 191"/>
                  <a:gd name="T5" fmla="*/ 134 h 154"/>
                  <a:gd name="T6" fmla="*/ 41 w 191"/>
                  <a:gd name="T7" fmla="*/ 131 h 154"/>
                  <a:gd name="T8" fmla="*/ 45 w 191"/>
                  <a:gd name="T9" fmla="*/ 125 h 154"/>
                  <a:gd name="T10" fmla="*/ 54 w 191"/>
                  <a:gd name="T11" fmla="*/ 106 h 154"/>
                  <a:gd name="T12" fmla="*/ 52 w 191"/>
                  <a:gd name="T13" fmla="*/ 86 h 154"/>
                  <a:gd name="T14" fmla="*/ 57 w 191"/>
                  <a:gd name="T15" fmla="*/ 77 h 154"/>
                  <a:gd name="T16" fmla="*/ 61 w 191"/>
                  <a:gd name="T17" fmla="*/ 75 h 154"/>
                  <a:gd name="T18" fmla="*/ 62 w 191"/>
                  <a:gd name="T19" fmla="*/ 65 h 154"/>
                  <a:gd name="T20" fmla="*/ 98 w 191"/>
                  <a:gd name="T21" fmla="*/ 38 h 154"/>
                  <a:gd name="T22" fmla="*/ 104 w 191"/>
                  <a:gd name="T23" fmla="*/ 31 h 154"/>
                  <a:gd name="T24" fmla="*/ 114 w 191"/>
                  <a:gd name="T25" fmla="*/ 4 h 154"/>
                  <a:gd name="T26" fmla="*/ 123 w 191"/>
                  <a:gd name="T27" fmla="*/ 0 h 154"/>
                  <a:gd name="T28" fmla="*/ 136 w 191"/>
                  <a:gd name="T29" fmla="*/ 15 h 154"/>
                  <a:gd name="T30" fmla="*/ 146 w 191"/>
                  <a:gd name="T31" fmla="*/ 13 h 154"/>
                  <a:gd name="T32" fmla="*/ 161 w 191"/>
                  <a:gd name="T33" fmla="*/ 11 h 154"/>
                  <a:gd name="T34" fmla="*/ 168 w 191"/>
                  <a:gd name="T35" fmla="*/ 15 h 154"/>
                  <a:gd name="T36" fmla="*/ 177 w 191"/>
                  <a:gd name="T37" fmla="*/ 16 h 154"/>
                  <a:gd name="T38" fmla="*/ 177 w 191"/>
                  <a:gd name="T39" fmla="*/ 18 h 154"/>
                  <a:gd name="T40" fmla="*/ 179 w 191"/>
                  <a:gd name="T41" fmla="*/ 22 h 154"/>
                  <a:gd name="T42" fmla="*/ 182 w 191"/>
                  <a:gd name="T43" fmla="*/ 24 h 154"/>
                  <a:gd name="T44" fmla="*/ 182 w 191"/>
                  <a:gd name="T45" fmla="*/ 25 h 154"/>
                  <a:gd name="T46" fmla="*/ 180 w 191"/>
                  <a:gd name="T47" fmla="*/ 25 h 154"/>
                  <a:gd name="T48" fmla="*/ 182 w 191"/>
                  <a:gd name="T49" fmla="*/ 31 h 154"/>
                  <a:gd name="T50" fmla="*/ 182 w 191"/>
                  <a:gd name="T51" fmla="*/ 41 h 154"/>
                  <a:gd name="T52" fmla="*/ 184 w 191"/>
                  <a:gd name="T53" fmla="*/ 43 h 154"/>
                  <a:gd name="T54" fmla="*/ 184 w 191"/>
                  <a:gd name="T55" fmla="*/ 49 h 154"/>
                  <a:gd name="T56" fmla="*/ 186 w 191"/>
                  <a:gd name="T57" fmla="*/ 54 h 154"/>
                  <a:gd name="T58" fmla="*/ 187 w 191"/>
                  <a:gd name="T59" fmla="*/ 59 h 154"/>
                  <a:gd name="T60" fmla="*/ 191 w 191"/>
                  <a:gd name="T61" fmla="*/ 65 h 154"/>
                  <a:gd name="T62" fmla="*/ 189 w 191"/>
                  <a:gd name="T63" fmla="*/ 66 h 154"/>
                  <a:gd name="T64" fmla="*/ 189 w 191"/>
                  <a:gd name="T65" fmla="*/ 70 h 154"/>
                  <a:gd name="T66" fmla="*/ 189 w 191"/>
                  <a:gd name="T67" fmla="*/ 72 h 154"/>
                  <a:gd name="T68" fmla="*/ 180 w 191"/>
                  <a:gd name="T69" fmla="*/ 70 h 154"/>
                  <a:gd name="T70" fmla="*/ 166 w 191"/>
                  <a:gd name="T71" fmla="*/ 72 h 154"/>
                  <a:gd name="T72" fmla="*/ 164 w 191"/>
                  <a:gd name="T73" fmla="*/ 72 h 154"/>
                  <a:gd name="T74" fmla="*/ 162 w 191"/>
                  <a:gd name="T75" fmla="*/ 72 h 154"/>
                  <a:gd name="T76" fmla="*/ 161 w 191"/>
                  <a:gd name="T77" fmla="*/ 75 h 154"/>
                  <a:gd name="T78" fmla="*/ 161 w 191"/>
                  <a:gd name="T79" fmla="*/ 77 h 154"/>
                  <a:gd name="T80" fmla="*/ 150 w 191"/>
                  <a:gd name="T81" fmla="*/ 79 h 154"/>
                  <a:gd name="T82" fmla="*/ 146 w 191"/>
                  <a:gd name="T83" fmla="*/ 81 h 154"/>
                  <a:gd name="T84" fmla="*/ 146 w 191"/>
                  <a:gd name="T85" fmla="*/ 84 h 154"/>
                  <a:gd name="T86" fmla="*/ 148 w 191"/>
                  <a:gd name="T87" fmla="*/ 84 h 154"/>
                  <a:gd name="T88" fmla="*/ 148 w 191"/>
                  <a:gd name="T89" fmla="*/ 86 h 154"/>
                  <a:gd name="T90" fmla="*/ 148 w 191"/>
                  <a:gd name="T91" fmla="*/ 90 h 154"/>
                  <a:gd name="T92" fmla="*/ 148 w 191"/>
                  <a:gd name="T93" fmla="*/ 90 h 154"/>
                  <a:gd name="T94" fmla="*/ 150 w 191"/>
                  <a:gd name="T95" fmla="*/ 91 h 154"/>
                  <a:gd name="T96" fmla="*/ 150 w 191"/>
                  <a:gd name="T97" fmla="*/ 93 h 154"/>
                  <a:gd name="T98" fmla="*/ 136 w 191"/>
                  <a:gd name="T99" fmla="*/ 100 h 154"/>
                  <a:gd name="T100" fmla="*/ 130 w 191"/>
                  <a:gd name="T101" fmla="*/ 102 h 154"/>
                  <a:gd name="T102" fmla="*/ 127 w 191"/>
                  <a:gd name="T103" fmla="*/ 106 h 154"/>
                  <a:gd name="T104" fmla="*/ 125 w 191"/>
                  <a:gd name="T105" fmla="*/ 107 h 154"/>
                  <a:gd name="T106" fmla="*/ 112 w 191"/>
                  <a:gd name="T107" fmla="*/ 115 h 154"/>
                  <a:gd name="T108" fmla="*/ 109 w 191"/>
                  <a:gd name="T109" fmla="*/ 115 h 154"/>
                  <a:gd name="T110" fmla="*/ 104 w 191"/>
                  <a:gd name="T111" fmla="*/ 115 h 154"/>
                  <a:gd name="T112" fmla="*/ 102 w 191"/>
                  <a:gd name="T113" fmla="*/ 118 h 154"/>
                  <a:gd name="T114" fmla="*/ 98 w 191"/>
                  <a:gd name="T115" fmla="*/ 118 h 154"/>
                  <a:gd name="T116" fmla="*/ 95 w 191"/>
                  <a:gd name="T117" fmla="*/ 118 h 154"/>
                  <a:gd name="T118" fmla="*/ 91 w 191"/>
                  <a:gd name="T119" fmla="*/ 120 h 154"/>
                  <a:gd name="T120" fmla="*/ 87 w 191"/>
                  <a:gd name="T121" fmla="*/ 124 h 154"/>
                  <a:gd name="T122" fmla="*/ 70 w 191"/>
                  <a:gd name="T123" fmla="*/ 13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1" h="154">
                    <a:moveTo>
                      <a:pt x="70" y="132"/>
                    </a:moveTo>
                    <a:lnTo>
                      <a:pt x="70" y="154"/>
                    </a:lnTo>
                    <a:lnTo>
                      <a:pt x="0" y="154"/>
                    </a:lnTo>
                    <a:lnTo>
                      <a:pt x="2" y="150"/>
                    </a:lnTo>
                    <a:lnTo>
                      <a:pt x="23" y="145"/>
                    </a:lnTo>
                    <a:lnTo>
                      <a:pt x="32" y="134"/>
                    </a:lnTo>
                    <a:lnTo>
                      <a:pt x="37" y="132"/>
                    </a:lnTo>
                    <a:lnTo>
                      <a:pt x="41" y="131"/>
                    </a:lnTo>
                    <a:lnTo>
                      <a:pt x="43" y="129"/>
                    </a:lnTo>
                    <a:lnTo>
                      <a:pt x="45" y="125"/>
                    </a:lnTo>
                    <a:lnTo>
                      <a:pt x="54" y="111"/>
                    </a:lnTo>
                    <a:lnTo>
                      <a:pt x="54" y="106"/>
                    </a:lnTo>
                    <a:lnTo>
                      <a:pt x="50" y="100"/>
                    </a:lnTo>
                    <a:lnTo>
                      <a:pt x="52" y="86"/>
                    </a:lnTo>
                    <a:lnTo>
                      <a:pt x="57" y="77"/>
                    </a:lnTo>
                    <a:lnTo>
                      <a:pt x="57" y="77"/>
                    </a:lnTo>
                    <a:lnTo>
                      <a:pt x="61" y="75"/>
                    </a:lnTo>
                    <a:lnTo>
                      <a:pt x="61" y="75"/>
                    </a:lnTo>
                    <a:lnTo>
                      <a:pt x="62" y="68"/>
                    </a:lnTo>
                    <a:lnTo>
                      <a:pt x="62" y="65"/>
                    </a:lnTo>
                    <a:lnTo>
                      <a:pt x="75" y="50"/>
                    </a:lnTo>
                    <a:lnTo>
                      <a:pt x="98" y="38"/>
                    </a:lnTo>
                    <a:lnTo>
                      <a:pt x="102" y="34"/>
                    </a:lnTo>
                    <a:lnTo>
                      <a:pt x="104" y="31"/>
                    </a:lnTo>
                    <a:lnTo>
                      <a:pt x="107" y="25"/>
                    </a:lnTo>
                    <a:lnTo>
                      <a:pt x="114" y="4"/>
                    </a:lnTo>
                    <a:lnTo>
                      <a:pt x="116" y="2"/>
                    </a:lnTo>
                    <a:lnTo>
                      <a:pt x="123" y="0"/>
                    </a:lnTo>
                    <a:lnTo>
                      <a:pt x="125" y="6"/>
                    </a:lnTo>
                    <a:lnTo>
                      <a:pt x="136" y="15"/>
                    </a:lnTo>
                    <a:lnTo>
                      <a:pt x="139" y="15"/>
                    </a:lnTo>
                    <a:lnTo>
                      <a:pt x="146" y="13"/>
                    </a:lnTo>
                    <a:lnTo>
                      <a:pt x="159" y="13"/>
                    </a:lnTo>
                    <a:lnTo>
                      <a:pt x="161" y="11"/>
                    </a:lnTo>
                    <a:lnTo>
                      <a:pt x="164" y="15"/>
                    </a:lnTo>
                    <a:lnTo>
                      <a:pt x="168" y="15"/>
                    </a:lnTo>
                    <a:lnTo>
                      <a:pt x="171" y="15"/>
                    </a:lnTo>
                    <a:lnTo>
                      <a:pt x="177" y="16"/>
                    </a:lnTo>
                    <a:lnTo>
                      <a:pt x="177" y="18"/>
                    </a:lnTo>
                    <a:lnTo>
                      <a:pt x="177" y="18"/>
                    </a:lnTo>
                    <a:lnTo>
                      <a:pt x="179" y="20"/>
                    </a:lnTo>
                    <a:lnTo>
                      <a:pt x="179" y="22"/>
                    </a:lnTo>
                    <a:lnTo>
                      <a:pt x="180" y="22"/>
                    </a:lnTo>
                    <a:lnTo>
                      <a:pt x="182" y="24"/>
                    </a:lnTo>
                    <a:lnTo>
                      <a:pt x="182" y="24"/>
                    </a:lnTo>
                    <a:lnTo>
                      <a:pt x="182" y="25"/>
                    </a:lnTo>
                    <a:lnTo>
                      <a:pt x="182" y="25"/>
                    </a:lnTo>
                    <a:lnTo>
                      <a:pt x="180" y="25"/>
                    </a:lnTo>
                    <a:lnTo>
                      <a:pt x="182" y="29"/>
                    </a:lnTo>
                    <a:lnTo>
                      <a:pt x="182" y="31"/>
                    </a:lnTo>
                    <a:lnTo>
                      <a:pt x="184" y="36"/>
                    </a:lnTo>
                    <a:lnTo>
                      <a:pt x="182" y="41"/>
                    </a:lnTo>
                    <a:lnTo>
                      <a:pt x="182" y="41"/>
                    </a:lnTo>
                    <a:lnTo>
                      <a:pt x="184" y="43"/>
                    </a:lnTo>
                    <a:lnTo>
                      <a:pt x="184" y="47"/>
                    </a:lnTo>
                    <a:lnTo>
                      <a:pt x="184" y="49"/>
                    </a:lnTo>
                    <a:lnTo>
                      <a:pt x="184" y="50"/>
                    </a:lnTo>
                    <a:lnTo>
                      <a:pt x="186" y="54"/>
                    </a:lnTo>
                    <a:lnTo>
                      <a:pt x="186" y="56"/>
                    </a:lnTo>
                    <a:lnTo>
                      <a:pt x="187" y="59"/>
                    </a:lnTo>
                    <a:lnTo>
                      <a:pt x="191" y="65"/>
                    </a:lnTo>
                    <a:lnTo>
                      <a:pt x="191" y="65"/>
                    </a:lnTo>
                    <a:lnTo>
                      <a:pt x="191" y="65"/>
                    </a:lnTo>
                    <a:lnTo>
                      <a:pt x="189" y="66"/>
                    </a:lnTo>
                    <a:lnTo>
                      <a:pt x="189" y="70"/>
                    </a:lnTo>
                    <a:lnTo>
                      <a:pt x="189" y="70"/>
                    </a:lnTo>
                    <a:lnTo>
                      <a:pt x="189" y="72"/>
                    </a:lnTo>
                    <a:lnTo>
                      <a:pt x="189" y="72"/>
                    </a:lnTo>
                    <a:lnTo>
                      <a:pt x="187" y="70"/>
                    </a:lnTo>
                    <a:lnTo>
                      <a:pt x="180" y="70"/>
                    </a:lnTo>
                    <a:lnTo>
                      <a:pt x="179" y="70"/>
                    </a:lnTo>
                    <a:lnTo>
                      <a:pt x="166" y="72"/>
                    </a:lnTo>
                    <a:lnTo>
                      <a:pt x="166" y="72"/>
                    </a:lnTo>
                    <a:lnTo>
                      <a:pt x="164" y="72"/>
                    </a:lnTo>
                    <a:lnTo>
                      <a:pt x="162" y="72"/>
                    </a:lnTo>
                    <a:lnTo>
                      <a:pt x="162" y="72"/>
                    </a:lnTo>
                    <a:lnTo>
                      <a:pt x="161" y="74"/>
                    </a:lnTo>
                    <a:lnTo>
                      <a:pt x="161" y="75"/>
                    </a:lnTo>
                    <a:lnTo>
                      <a:pt x="161" y="77"/>
                    </a:lnTo>
                    <a:lnTo>
                      <a:pt x="161" y="77"/>
                    </a:lnTo>
                    <a:lnTo>
                      <a:pt x="152" y="81"/>
                    </a:lnTo>
                    <a:lnTo>
                      <a:pt x="150" y="79"/>
                    </a:lnTo>
                    <a:lnTo>
                      <a:pt x="148" y="79"/>
                    </a:lnTo>
                    <a:lnTo>
                      <a:pt x="146" y="81"/>
                    </a:lnTo>
                    <a:lnTo>
                      <a:pt x="146" y="82"/>
                    </a:lnTo>
                    <a:lnTo>
                      <a:pt x="146" y="84"/>
                    </a:lnTo>
                    <a:lnTo>
                      <a:pt x="146" y="84"/>
                    </a:lnTo>
                    <a:lnTo>
                      <a:pt x="148" y="84"/>
                    </a:lnTo>
                    <a:lnTo>
                      <a:pt x="148" y="86"/>
                    </a:lnTo>
                    <a:lnTo>
                      <a:pt x="148" y="86"/>
                    </a:lnTo>
                    <a:lnTo>
                      <a:pt x="146" y="90"/>
                    </a:lnTo>
                    <a:lnTo>
                      <a:pt x="148" y="90"/>
                    </a:lnTo>
                    <a:lnTo>
                      <a:pt x="148" y="90"/>
                    </a:lnTo>
                    <a:lnTo>
                      <a:pt x="148" y="90"/>
                    </a:lnTo>
                    <a:lnTo>
                      <a:pt x="148" y="90"/>
                    </a:lnTo>
                    <a:lnTo>
                      <a:pt x="150" y="91"/>
                    </a:lnTo>
                    <a:lnTo>
                      <a:pt x="150" y="93"/>
                    </a:lnTo>
                    <a:lnTo>
                      <a:pt x="150" y="93"/>
                    </a:lnTo>
                    <a:lnTo>
                      <a:pt x="145" y="95"/>
                    </a:lnTo>
                    <a:lnTo>
                      <a:pt x="136" y="100"/>
                    </a:lnTo>
                    <a:lnTo>
                      <a:pt x="134" y="100"/>
                    </a:lnTo>
                    <a:lnTo>
                      <a:pt x="130" y="102"/>
                    </a:lnTo>
                    <a:lnTo>
                      <a:pt x="129" y="104"/>
                    </a:lnTo>
                    <a:lnTo>
                      <a:pt x="127" y="106"/>
                    </a:lnTo>
                    <a:lnTo>
                      <a:pt x="127" y="107"/>
                    </a:lnTo>
                    <a:lnTo>
                      <a:pt x="125" y="107"/>
                    </a:lnTo>
                    <a:lnTo>
                      <a:pt x="121" y="111"/>
                    </a:lnTo>
                    <a:lnTo>
                      <a:pt x="112" y="115"/>
                    </a:lnTo>
                    <a:lnTo>
                      <a:pt x="111" y="115"/>
                    </a:lnTo>
                    <a:lnTo>
                      <a:pt x="109" y="115"/>
                    </a:lnTo>
                    <a:lnTo>
                      <a:pt x="104" y="115"/>
                    </a:lnTo>
                    <a:lnTo>
                      <a:pt x="104" y="115"/>
                    </a:lnTo>
                    <a:lnTo>
                      <a:pt x="104" y="118"/>
                    </a:lnTo>
                    <a:lnTo>
                      <a:pt x="102" y="118"/>
                    </a:lnTo>
                    <a:lnTo>
                      <a:pt x="100" y="118"/>
                    </a:lnTo>
                    <a:lnTo>
                      <a:pt x="98" y="118"/>
                    </a:lnTo>
                    <a:lnTo>
                      <a:pt x="96" y="118"/>
                    </a:lnTo>
                    <a:lnTo>
                      <a:pt x="95" y="118"/>
                    </a:lnTo>
                    <a:lnTo>
                      <a:pt x="93" y="118"/>
                    </a:lnTo>
                    <a:lnTo>
                      <a:pt x="91" y="120"/>
                    </a:lnTo>
                    <a:lnTo>
                      <a:pt x="89" y="122"/>
                    </a:lnTo>
                    <a:lnTo>
                      <a:pt x="87" y="124"/>
                    </a:lnTo>
                    <a:lnTo>
                      <a:pt x="84" y="124"/>
                    </a:lnTo>
                    <a:lnTo>
                      <a:pt x="70" y="13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60" name="Freeform 2310"/>
              <p:cNvSpPr>
                <a:spLocks/>
              </p:cNvSpPr>
              <p:nvPr/>
            </p:nvSpPr>
            <p:spPr bwMode="auto">
              <a:xfrm>
                <a:off x="3255" y="2149"/>
                <a:ext cx="68" cy="78"/>
              </a:xfrm>
              <a:custGeom>
                <a:avLst/>
                <a:gdLst>
                  <a:gd name="T0" fmla="*/ 62 w 68"/>
                  <a:gd name="T1" fmla="*/ 28 h 78"/>
                  <a:gd name="T2" fmla="*/ 68 w 68"/>
                  <a:gd name="T3" fmla="*/ 23 h 78"/>
                  <a:gd name="T4" fmla="*/ 62 w 68"/>
                  <a:gd name="T5" fmla="*/ 0 h 78"/>
                  <a:gd name="T6" fmla="*/ 27 w 68"/>
                  <a:gd name="T7" fmla="*/ 19 h 78"/>
                  <a:gd name="T8" fmla="*/ 25 w 68"/>
                  <a:gd name="T9" fmla="*/ 21 h 78"/>
                  <a:gd name="T10" fmla="*/ 21 w 68"/>
                  <a:gd name="T11" fmla="*/ 19 h 78"/>
                  <a:gd name="T12" fmla="*/ 16 w 68"/>
                  <a:gd name="T13" fmla="*/ 16 h 78"/>
                  <a:gd name="T14" fmla="*/ 14 w 68"/>
                  <a:gd name="T15" fmla="*/ 12 h 78"/>
                  <a:gd name="T16" fmla="*/ 12 w 68"/>
                  <a:gd name="T17" fmla="*/ 12 h 78"/>
                  <a:gd name="T18" fmla="*/ 9 w 68"/>
                  <a:gd name="T19" fmla="*/ 12 h 78"/>
                  <a:gd name="T20" fmla="*/ 9 w 68"/>
                  <a:gd name="T21" fmla="*/ 19 h 78"/>
                  <a:gd name="T22" fmla="*/ 7 w 68"/>
                  <a:gd name="T23" fmla="*/ 28 h 78"/>
                  <a:gd name="T24" fmla="*/ 9 w 68"/>
                  <a:gd name="T25" fmla="*/ 30 h 78"/>
                  <a:gd name="T26" fmla="*/ 7 w 68"/>
                  <a:gd name="T27" fmla="*/ 35 h 78"/>
                  <a:gd name="T28" fmla="*/ 7 w 68"/>
                  <a:gd name="T29" fmla="*/ 35 h 78"/>
                  <a:gd name="T30" fmla="*/ 7 w 68"/>
                  <a:gd name="T31" fmla="*/ 37 h 78"/>
                  <a:gd name="T32" fmla="*/ 7 w 68"/>
                  <a:gd name="T33" fmla="*/ 41 h 78"/>
                  <a:gd name="T34" fmla="*/ 7 w 68"/>
                  <a:gd name="T35" fmla="*/ 42 h 78"/>
                  <a:gd name="T36" fmla="*/ 0 w 68"/>
                  <a:gd name="T37" fmla="*/ 75 h 78"/>
                  <a:gd name="T38" fmla="*/ 0 w 68"/>
                  <a:gd name="T39" fmla="*/ 76 h 78"/>
                  <a:gd name="T40" fmla="*/ 18 w 68"/>
                  <a:gd name="T41" fmla="*/ 78 h 78"/>
                  <a:gd name="T42" fmla="*/ 23 w 68"/>
                  <a:gd name="T43" fmla="*/ 75 h 78"/>
                  <a:gd name="T44" fmla="*/ 29 w 68"/>
                  <a:gd name="T45" fmla="*/ 66 h 78"/>
                  <a:gd name="T46" fmla="*/ 39 w 68"/>
                  <a:gd name="T47" fmla="*/ 64 h 78"/>
                  <a:gd name="T48" fmla="*/ 43 w 68"/>
                  <a:gd name="T49" fmla="*/ 57 h 78"/>
                  <a:gd name="T50" fmla="*/ 48 w 68"/>
                  <a:gd name="T51" fmla="*/ 53 h 78"/>
                  <a:gd name="T52" fmla="*/ 48 w 68"/>
                  <a:gd name="T53" fmla="*/ 51 h 78"/>
                  <a:gd name="T54" fmla="*/ 30 w 68"/>
                  <a:gd name="T55" fmla="*/ 35 h 78"/>
                  <a:gd name="T56" fmla="*/ 62 w 68"/>
                  <a:gd name="T57" fmla="*/ 2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78">
                    <a:moveTo>
                      <a:pt x="62" y="28"/>
                    </a:moveTo>
                    <a:lnTo>
                      <a:pt x="68" y="23"/>
                    </a:lnTo>
                    <a:lnTo>
                      <a:pt x="62" y="0"/>
                    </a:lnTo>
                    <a:lnTo>
                      <a:pt x="27" y="19"/>
                    </a:lnTo>
                    <a:lnTo>
                      <a:pt x="25" y="21"/>
                    </a:lnTo>
                    <a:lnTo>
                      <a:pt x="21" y="19"/>
                    </a:lnTo>
                    <a:lnTo>
                      <a:pt x="16" y="16"/>
                    </a:lnTo>
                    <a:lnTo>
                      <a:pt x="14" y="12"/>
                    </a:lnTo>
                    <a:lnTo>
                      <a:pt x="12" y="12"/>
                    </a:lnTo>
                    <a:lnTo>
                      <a:pt x="9" y="12"/>
                    </a:lnTo>
                    <a:lnTo>
                      <a:pt x="9" y="19"/>
                    </a:lnTo>
                    <a:lnTo>
                      <a:pt x="7" y="28"/>
                    </a:lnTo>
                    <a:lnTo>
                      <a:pt x="9" y="30"/>
                    </a:lnTo>
                    <a:lnTo>
                      <a:pt x="7" y="35"/>
                    </a:lnTo>
                    <a:lnTo>
                      <a:pt x="7" y="35"/>
                    </a:lnTo>
                    <a:lnTo>
                      <a:pt x="7" y="37"/>
                    </a:lnTo>
                    <a:lnTo>
                      <a:pt x="7" y="41"/>
                    </a:lnTo>
                    <a:lnTo>
                      <a:pt x="7" y="42"/>
                    </a:lnTo>
                    <a:lnTo>
                      <a:pt x="0" y="75"/>
                    </a:lnTo>
                    <a:lnTo>
                      <a:pt x="0" y="76"/>
                    </a:lnTo>
                    <a:lnTo>
                      <a:pt x="18" y="78"/>
                    </a:lnTo>
                    <a:lnTo>
                      <a:pt x="23" y="75"/>
                    </a:lnTo>
                    <a:lnTo>
                      <a:pt x="29" y="66"/>
                    </a:lnTo>
                    <a:lnTo>
                      <a:pt x="39" y="64"/>
                    </a:lnTo>
                    <a:lnTo>
                      <a:pt x="43" y="57"/>
                    </a:lnTo>
                    <a:lnTo>
                      <a:pt x="48" y="53"/>
                    </a:lnTo>
                    <a:lnTo>
                      <a:pt x="48" y="51"/>
                    </a:lnTo>
                    <a:lnTo>
                      <a:pt x="30" y="35"/>
                    </a:lnTo>
                    <a:lnTo>
                      <a:pt x="62" y="2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61" name="Freeform 2311"/>
              <p:cNvSpPr>
                <a:spLocks/>
              </p:cNvSpPr>
              <p:nvPr/>
            </p:nvSpPr>
            <p:spPr bwMode="auto">
              <a:xfrm>
                <a:off x="3255" y="2149"/>
                <a:ext cx="68" cy="78"/>
              </a:xfrm>
              <a:custGeom>
                <a:avLst/>
                <a:gdLst>
                  <a:gd name="T0" fmla="*/ 62 w 68"/>
                  <a:gd name="T1" fmla="*/ 28 h 78"/>
                  <a:gd name="T2" fmla="*/ 68 w 68"/>
                  <a:gd name="T3" fmla="*/ 23 h 78"/>
                  <a:gd name="T4" fmla="*/ 62 w 68"/>
                  <a:gd name="T5" fmla="*/ 0 h 78"/>
                  <a:gd name="T6" fmla="*/ 27 w 68"/>
                  <a:gd name="T7" fmla="*/ 19 h 78"/>
                  <a:gd name="T8" fmla="*/ 25 w 68"/>
                  <a:gd name="T9" fmla="*/ 21 h 78"/>
                  <a:gd name="T10" fmla="*/ 21 w 68"/>
                  <a:gd name="T11" fmla="*/ 19 h 78"/>
                  <a:gd name="T12" fmla="*/ 16 w 68"/>
                  <a:gd name="T13" fmla="*/ 16 h 78"/>
                  <a:gd name="T14" fmla="*/ 14 w 68"/>
                  <a:gd name="T15" fmla="*/ 12 h 78"/>
                  <a:gd name="T16" fmla="*/ 12 w 68"/>
                  <a:gd name="T17" fmla="*/ 12 h 78"/>
                  <a:gd name="T18" fmla="*/ 9 w 68"/>
                  <a:gd name="T19" fmla="*/ 12 h 78"/>
                  <a:gd name="T20" fmla="*/ 9 w 68"/>
                  <a:gd name="T21" fmla="*/ 19 h 78"/>
                  <a:gd name="T22" fmla="*/ 7 w 68"/>
                  <a:gd name="T23" fmla="*/ 28 h 78"/>
                  <a:gd name="T24" fmla="*/ 9 w 68"/>
                  <a:gd name="T25" fmla="*/ 30 h 78"/>
                  <a:gd name="T26" fmla="*/ 7 w 68"/>
                  <a:gd name="T27" fmla="*/ 35 h 78"/>
                  <a:gd name="T28" fmla="*/ 7 w 68"/>
                  <a:gd name="T29" fmla="*/ 35 h 78"/>
                  <a:gd name="T30" fmla="*/ 7 w 68"/>
                  <a:gd name="T31" fmla="*/ 37 h 78"/>
                  <a:gd name="T32" fmla="*/ 7 w 68"/>
                  <a:gd name="T33" fmla="*/ 41 h 78"/>
                  <a:gd name="T34" fmla="*/ 7 w 68"/>
                  <a:gd name="T35" fmla="*/ 42 h 78"/>
                  <a:gd name="T36" fmla="*/ 0 w 68"/>
                  <a:gd name="T37" fmla="*/ 75 h 78"/>
                  <a:gd name="T38" fmla="*/ 0 w 68"/>
                  <a:gd name="T39" fmla="*/ 76 h 78"/>
                  <a:gd name="T40" fmla="*/ 18 w 68"/>
                  <a:gd name="T41" fmla="*/ 78 h 78"/>
                  <a:gd name="T42" fmla="*/ 23 w 68"/>
                  <a:gd name="T43" fmla="*/ 75 h 78"/>
                  <a:gd name="T44" fmla="*/ 29 w 68"/>
                  <a:gd name="T45" fmla="*/ 66 h 78"/>
                  <a:gd name="T46" fmla="*/ 39 w 68"/>
                  <a:gd name="T47" fmla="*/ 64 h 78"/>
                  <a:gd name="T48" fmla="*/ 43 w 68"/>
                  <a:gd name="T49" fmla="*/ 57 h 78"/>
                  <a:gd name="T50" fmla="*/ 48 w 68"/>
                  <a:gd name="T51" fmla="*/ 53 h 78"/>
                  <a:gd name="T52" fmla="*/ 48 w 68"/>
                  <a:gd name="T53" fmla="*/ 51 h 78"/>
                  <a:gd name="T54" fmla="*/ 30 w 68"/>
                  <a:gd name="T55" fmla="*/ 35 h 78"/>
                  <a:gd name="T56" fmla="*/ 62 w 68"/>
                  <a:gd name="T57" fmla="*/ 2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78">
                    <a:moveTo>
                      <a:pt x="62" y="28"/>
                    </a:moveTo>
                    <a:lnTo>
                      <a:pt x="68" y="23"/>
                    </a:lnTo>
                    <a:lnTo>
                      <a:pt x="62" y="0"/>
                    </a:lnTo>
                    <a:lnTo>
                      <a:pt x="27" y="19"/>
                    </a:lnTo>
                    <a:lnTo>
                      <a:pt x="25" y="21"/>
                    </a:lnTo>
                    <a:lnTo>
                      <a:pt x="21" y="19"/>
                    </a:lnTo>
                    <a:lnTo>
                      <a:pt x="16" y="16"/>
                    </a:lnTo>
                    <a:lnTo>
                      <a:pt x="14" y="12"/>
                    </a:lnTo>
                    <a:lnTo>
                      <a:pt x="12" y="12"/>
                    </a:lnTo>
                    <a:lnTo>
                      <a:pt x="9" y="12"/>
                    </a:lnTo>
                    <a:lnTo>
                      <a:pt x="9" y="19"/>
                    </a:lnTo>
                    <a:lnTo>
                      <a:pt x="7" y="28"/>
                    </a:lnTo>
                    <a:lnTo>
                      <a:pt x="9" y="30"/>
                    </a:lnTo>
                    <a:lnTo>
                      <a:pt x="7" y="35"/>
                    </a:lnTo>
                    <a:lnTo>
                      <a:pt x="7" y="35"/>
                    </a:lnTo>
                    <a:lnTo>
                      <a:pt x="7" y="37"/>
                    </a:lnTo>
                    <a:lnTo>
                      <a:pt x="7" y="41"/>
                    </a:lnTo>
                    <a:lnTo>
                      <a:pt x="7" y="42"/>
                    </a:lnTo>
                    <a:lnTo>
                      <a:pt x="0" y="75"/>
                    </a:lnTo>
                    <a:lnTo>
                      <a:pt x="0" y="76"/>
                    </a:lnTo>
                    <a:lnTo>
                      <a:pt x="18" y="78"/>
                    </a:lnTo>
                    <a:lnTo>
                      <a:pt x="23" y="75"/>
                    </a:lnTo>
                    <a:lnTo>
                      <a:pt x="29" y="66"/>
                    </a:lnTo>
                    <a:lnTo>
                      <a:pt x="39" y="64"/>
                    </a:lnTo>
                    <a:lnTo>
                      <a:pt x="43" y="57"/>
                    </a:lnTo>
                    <a:lnTo>
                      <a:pt x="48" y="53"/>
                    </a:lnTo>
                    <a:lnTo>
                      <a:pt x="48" y="51"/>
                    </a:lnTo>
                    <a:lnTo>
                      <a:pt x="30" y="35"/>
                    </a:lnTo>
                    <a:lnTo>
                      <a:pt x="62" y="2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62" name="Freeform 2312"/>
              <p:cNvSpPr>
                <a:spLocks/>
              </p:cNvSpPr>
              <p:nvPr/>
            </p:nvSpPr>
            <p:spPr bwMode="auto">
              <a:xfrm>
                <a:off x="3521" y="2282"/>
                <a:ext cx="75" cy="61"/>
              </a:xfrm>
              <a:custGeom>
                <a:avLst/>
                <a:gdLst>
                  <a:gd name="T0" fmla="*/ 57 w 75"/>
                  <a:gd name="T1" fmla="*/ 61 h 61"/>
                  <a:gd name="T2" fmla="*/ 0 w 75"/>
                  <a:gd name="T3" fmla="*/ 36 h 61"/>
                  <a:gd name="T4" fmla="*/ 0 w 75"/>
                  <a:gd name="T5" fmla="*/ 33 h 61"/>
                  <a:gd name="T6" fmla="*/ 2 w 75"/>
                  <a:gd name="T7" fmla="*/ 33 h 61"/>
                  <a:gd name="T8" fmla="*/ 4 w 75"/>
                  <a:gd name="T9" fmla="*/ 36 h 61"/>
                  <a:gd name="T10" fmla="*/ 12 w 75"/>
                  <a:gd name="T11" fmla="*/ 36 h 61"/>
                  <a:gd name="T12" fmla="*/ 18 w 75"/>
                  <a:gd name="T13" fmla="*/ 34 h 61"/>
                  <a:gd name="T14" fmla="*/ 27 w 75"/>
                  <a:gd name="T15" fmla="*/ 36 h 61"/>
                  <a:gd name="T16" fmla="*/ 30 w 75"/>
                  <a:gd name="T17" fmla="*/ 36 h 61"/>
                  <a:gd name="T18" fmla="*/ 39 w 75"/>
                  <a:gd name="T19" fmla="*/ 34 h 61"/>
                  <a:gd name="T20" fmla="*/ 43 w 75"/>
                  <a:gd name="T21" fmla="*/ 33 h 61"/>
                  <a:gd name="T22" fmla="*/ 46 w 75"/>
                  <a:gd name="T23" fmla="*/ 31 h 61"/>
                  <a:gd name="T24" fmla="*/ 45 w 75"/>
                  <a:gd name="T25" fmla="*/ 29 h 61"/>
                  <a:gd name="T26" fmla="*/ 45 w 75"/>
                  <a:gd name="T27" fmla="*/ 29 h 61"/>
                  <a:gd name="T28" fmla="*/ 48 w 75"/>
                  <a:gd name="T29" fmla="*/ 27 h 61"/>
                  <a:gd name="T30" fmla="*/ 48 w 75"/>
                  <a:gd name="T31" fmla="*/ 25 h 61"/>
                  <a:gd name="T32" fmla="*/ 50 w 75"/>
                  <a:gd name="T33" fmla="*/ 24 h 61"/>
                  <a:gd name="T34" fmla="*/ 54 w 75"/>
                  <a:gd name="T35" fmla="*/ 22 h 61"/>
                  <a:gd name="T36" fmla="*/ 55 w 75"/>
                  <a:gd name="T37" fmla="*/ 20 h 61"/>
                  <a:gd name="T38" fmla="*/ 59 w 75"/>
                  <a:gd name="T39" fmla="*/ 17 h 61"/>
                  <a:gd name="T40" fmla="*/ 61 w 75"/>
                  <a:gd name="T41" fmla="*/ 15 h 61"/>
                  <a:gd name="T42" fmla="*/ 61 w 75"/>
                  <a:gd name="T43" fmla="*/ 13 h 61"/>
                  <a:gd name="T44" fmla="*/ 62 w 75"/>
                  <a:gd name="T45" fmla="*/ 11 h 61"/>
                  <a:gd name="T46" fmla="*/ 64 w 75"/>
                  <a:gd name="T47" fmla="*/ 9 h 61"/>
                  <a:gd name="T48" fmla="*/ 68 w 75"/>
                  <a:gd name="T49" fmla="*/ 8 h 61"/>
                  <a:gd name="T50" fmla="*/ 71 w 75"/>
                  <a:gd name="T51" fmla="*/ 0 h 61"/>
                  <a:gd name="T52" fmla="*/ 73 w 75"/>
                  <a:gd name="T53" fmla="*/ 4 h 61"/>
                  <a:gd name="T54" fmla="*/ 73 w 75"/>
                  <a:gd name="T55" fmla="*/ 6 h 61"/>
                  <a:gd name="T56" fmla="*/ 73 w 75"/>
                  <a:gd name="T57" fmla="*/ 8 h 61"/>
                  <a:gd name="T58" fmla="*/ 75 w 75"/>
                  <a:gd name="T59" fmla="*/ 9 h 61"/>
                  <a:gd name="T60" fmla="*/ 66 w 75"/>
                  <a:gd name="T61" fmla="*/ 22 h 61"/>
                  <a:gd name="T62" fmla="*/ 66 w 75"/>
                  <a:gd name="T63" fmla="*/ 33 h 61"/>
                  <a:gd name="T64" fmla="*/ 70 w 75"/>
                  <a:gd name="T65" fmla="*/ 34 h 61"/>
                  <a:gd name="T66" fmla="*/ 64 w 75"/>
                  <a:gd name="T67" fmla="*/ 38 h 61"/>
                  <a:gd name="T68" fmla="*/ 59 w 75"/>
                  <a:gd name="T6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61">
                    <a:moveTo>
                      <a:pt x="59" y="59"/>
                    </a:moveTo>
                    <a:lnTo>
                      <a:pt x="57" y="61"/>
                    </a:lnTo>
                    <a:lnTo>
                      <a:pt x="16" y="56"/>
                    </a:lnTo>
                    <a:lnTo>
                      <a:pt x="0" y="36"/>
                    </a:lnTo>
                    <a:lnTo>
                      <a:pt x="0" y="33"/>
                    </a:lnTo>
                    <a:lnTo>
                      <a:pt x="0" y="33"/>
                    </a:lnTo>
                    <a:lnTo>
                      <a:pt x="2" y="33"/>
                    </a:lnTo>
                    <a:lnTo>
                      <a:pt x="2" y="33"/>
                    </a:lnTo>
                    <a:lnTo>
                      <a:pt x="2" y="36"/>
                    </a:lnTo>
                    <a:lnTo>
                      <a:pt x="4" y="36"/>
                    </a:lnTo>
                    <a:lnTo>
                      <a:pt x="12" y="38"/>
                    </a:lnTo>
                    <a:lnTo>
                      <a:pt x="12" y="36"/>
                    </a:lnTo>
                    <a:lnTo>
                      <a:pt x="14" y="36"/>
                    </a:lnTo>
                    <a:lnTo>
                      <a:pt x="18" y="34"/>
                    </a:lnTo>
                    <a:lnTo>
                      <a:pt x="23" y="34"/>
                    </a:lnTo>
                    <a:lnTo>
                      <a:pt x="27" y="36"/>
                    </a:lnTo>
                    <a:lnTo>
                      <a:pt x="29" y="36"/>
                    </a:lnTo>
                    <a:lnTo>
                      <a:pt x="30" y="36"/>
                    </a:lnTo>
                    <a:lnTo>
                      <a:pt x="37" y="36"/>
                    </a:lnTo>
                    <a:lnTo>
                      <a:pt x="39" y="34"/>
                    </a:lnTo>
                    <a:lnTo>
                      <a:pt x="41" y="33"/>
                    </a:lnTo>
                    <a:lnTo>
                      <a:pt x="43" y="33"/>
                    </a:lnTo>
                    <a:lnTo>
                      <a:pt x="45" y="33"/>
                    </a:lnTo>
                    <a:lnTo>
                      <a:pt x="46" y="31"/>
                    </a:lnTo>
                    <a:lnTo>
                      <a:pt x="46" y="31"/>
                    </a:lnTo>
                    <a:lnTo>
                      <a:pt x="45" y="29"/>
                    </a:lnTo>
                    <a:lnTo>
                      <a:pt x="45" y="29"/>
                    </a:lnTo>
                    <a:lnTo>
                      <a:pt x="45" y="29"/>
                    </a:lnTo>
                    <a:lnTo>
                      <a:pt x="48" y="29"/>
                    </a:lnTo>
                    <a:lnTo>
                      <a:pt x="48" y="27"/>
                    </a:lnTo>
                    <a:lnTo>
                      <a:pt x="48" y="27"/>
                    </a:lnTo>
                    <a:lnTo>
                      <a:pt x="48" y="25"/>
                    </a:lnTo>
                    <a:lnTo>
                      <a:pt x="50" y="25"/>
                    </a:lnTo>
                    <a:lnTo>
                      <a:pt x="50" y="24"/>
                    </a:lnTo>
                    <a:lnTo>
                      <a:pt x="50" y="24"/>
                    </a:lnTo>
                    <a:lnTo>
                      <a:pt x="54" y="22"/>
                    </a:lnTo>
                    <a:lnTo>
                      <a:pt x="54" y="20"/>
                    </a:lnTo>
                    <a:lnTo>
                      <a:pt x="55" y="20"/>
                    </a:lnTo>
                    <a:lnTo>
                      <a:pt x="55" y="18"/>
                    </a:lnTo>
                    <a:lnTo>
                      <a:pt x="59" y="17"/>
                    </a:lnTo>
                    <a:lnTo>
                      <a:pt x="59" y="15"/>
                    </a:lnTo>
                    <a:lnTo>
                      <a:pt x="61" y="15"/>
                    </a:lnTo>
                    <a:lnTo>
                      <a:pt x="61" y="13"/>
                    </a:lnTo>
                    <a:lnTo>
                      <a:pt x="61" y="13"/>
                    </a:lnTo>
                    <a:lnTo>
                      <a:pt x="62" y="13"/>
                    </a:lnTo>
                    <a:lnTo>
                      <a:pt x="62" y="11"/>
                    </a:lnTo>
                    <a:lnTo>
                      <a:pt x="62" y="11"/>
                    </a:lnTo>
                    <a:lnTo>
                      <a:pt x="64" y="9"/>
                    </a:lnTo>
                    <a:lnTo>
                      <a:pt x="64" y="9"/>
                    </a:lnTo>
                    <a:lnTo>
                      <a:pt x="68" y="8"/>
                    </a:lnTo>
                    <a:lnTo>
                      <a:pt x="70" y="4"/>
                    </a:lnTo>
                    <a:lnTo>
                      <a:pt x="71" y="0"/>
                    </a:lnTo>
                    <a:lnTo>
                      <a:pt x="71" y="2"/>
                    </a:lnTo>
                    <a:lnTo>
                      <a:pt x="73" y="4"/>
                    </a:lnTo>
                    <a:lnTo>
                      <a:pt x="71" y="4"/>
                    </a:lnTo>
                    <a:lnTo>
                      <a:pt x="73" y="6"/>
                    </a:lnTo>
                    <a:lnTo>
                      <a:pt x="71" y="8"/>
                    </a:lnTo>
                    <a:lnTo>
                      <a:pt x="73" y="8"/>
                    </a:lnTo>
                    <a:lnTo>
                      <a:pt x="75" y="8"/>
                    </a:lnTo>
                    <a:lnTo>
                      <a:pt x="75" y="9"/>
                    </a:lnTo>
                    <a:lnTo>
                      <a:pt x="75" y="22"/>
                    </a:lnTo>
                    <a:lnTo>
                      <a:pt x="66" y="22"/>
                    </a:lnTo>
                    <a:lnTo>
                      <a:pt x="68" y="33"/>
                    </a:lnTo>
                    <a:lnTo>
                      <a:pt x="66" y="33"/>
                    </a:lnTo>
                    <a:lnTo>
                      <a:pt x="68" y="34"/>
                    </a:lnTo>
                    <a:lnTo>
                      <a:pt x="70" y="34"/>
                    </a:lnTo>
                    <a:lnTo>
                      <a:pt x="68" y="38"/>
                    </a:lnTo>
                    <a:lnTo>
                      <a:pt x="64" y="38"/>
                    </a:lnTo>
                    <a:lnTo>
                      <a:pt x="59" y="59"/>
                    </a:lnTo>
                    <a:lnTo>
                      <a:pt x="59" y="5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63" name="Freeform 2313"/>
              <p:cNvSpPr>
                <a:spLocks/>
              </p:cNvSpPr>
              <p:nvPr/>
            </p:nvSpPr>
            <p:spPr bwMode="auto">
              <a:xfrm>
                <a:off x="3378" y="2406"/>
                <a:ext cx="166" cy="105"/>
              </a:xfrm>
              <a:custGeom>
                <a:avLst/>
                <a:gdLst>
                  <a:gd name="T0" fmla="*/ 157 w 166"/>
                  <a:gd name="T1" fmla="*/ 44 h 105"/>
                  <a:gd name="T2" fmla="*/ 154 w 166"/>
                  <a:gd name="T3" fmla="*/ 51 h 105"/>
                  <a:gd name="T4" fmla="*/ 154 w 166"/>
                  <a:gd name="T5" fmla="*/ 55 h 105"/>
                  <a:gd name="T6" fmla="*/ 154 w 166"/>
                  <a:gd name="T7" fmla="*/ 57 h 105"/>
                  <a:gd name="T8" fmla="*/ 145 w 166"/>
                  <a:gd name="T9" fmla="*/ 59 h 105"/>
                  <a:gd name="T10" fmla="*/ 104 w 166"/>
                  <a:gd name="T11" fmla="*/ 75 h 105"/>
                  <a:gd name="T12" fmla="*/ 97 w 166"/>
                  <a:gd name="T13" fmla="*/ 84 h 105"/>
                  <a:gd name="T14" fmla="*/ 84 w 166"/>
                  <a:gd name="T15" fmla="*/ 84 h 105"/>
                  <a:gd name="T16" fmla="*/ 79 w 166"/>
                  <a:gd name="T17" fmla="*/ 87 h 105"/>
                  <a:gd name="T18" fmla="*/ 64 w 166"/>
                  <a:gd name="T19" fmla="*/ 93 h 105"/>
                  <a:gd name="T20" fmla="*/ 50 w 166"/>
                  <a:gd name="T21" fmla="*/ 93 h 105"/>
                  <a:gd name="T22" fmla="*/ 45 w 166"/>
                  <a:gd name="T23" fmla="*/ 98 h 105"/>
                  <a:gd name="T24" fmla="*/ 29 w 166"/>
                  <a:gd name="T25" fmla="*/ 103 h 105"/>
                  <a:gd name="T26" fmla="*/ 23 w 166"/>
                  <a:gd name="T27" fmla="*/ 103 h 105"/>
                  <a:gd name="T28" fmla="*/ 18 w 166"/>
                  <a:gd name="T29" fmla="*/ 103 h 105"/>
                  <a:gd name="T30" fmla="*/ 13 w 166"/>
                  <a:gd name="T31" fmla="*/ 100 h 105"/>
                  <a:gd name="T32" fmla="*/ 9 w 166"/>
                  <a:gd name="T33" fmla="*/ 85 h 105"/>
                  <a:gd name="T34" fmla="*/ 4 w 166"/>
                  <a:gd name="T35" fmla="*/ 66 h 105"/>
                  <a:gd name="T36" fmla="*/ 0 w 166"/>
                  <a:gd name="T37" fmla="*/ 60 h 105"/>
                  <a:gd name="T38" fmla="*/ 2 w 166"/>
                  <a:gd name="T39" fmla="*/ 60 h 105"/>
                  <a:gd name="T40" fmla="*/ 0 w 166"/>
                  <a:gd name="T41" fmla="*/ 59 h 105"/>
                  <a:gd name="T42" fmla="*/ 0 w 166"/>
                  <a:gd name="T43" fmla="*/ 53 h 105"/>
                  <a:gd name="T44" fmla="*/ 2 w 166"/>
                  <a:gd name="T45" fmla="*/ 51 h 105"/>
                  <a:gd name="T46" fmla="*/ 2 w 166"/>
                  <a:gd name="T47" fmla="*/ 43 h 105"/>
                  <a:gd name="T48" fmla="*/ 6 w 166"/>
                  <a:gd name="T49" fmla="*/ 39 h 105"/>
                  <a:gd name="T50" fmla="*/ 11 w 166"/>
                  <a:gd name="T51" fmla="*/ 35 h 105"/>
                  <a:gd name="T52" fmla="*/ 13 w 166"/>
                  <a:gd name="T53" fmla="*/ 32 h 105"/>
                  <a:gd name="T54" fmla="*/ 27 w 166"/>
                  <a:gd name="T55" fmla="*/ 25 h 105"/>
                  <a:gd name="T56" fmla="*/ 70 w 166"/>
                  <a:gd name="T57" fmla="*/ 34 h 105"/>
                  <a:gd name="T58" fmla="*/ 79 w 166"/>
                  <a:gd name="T59" fmla="*/ 32 h 105"/>
                  <a:gd name="T60" fmla="*/ 89 w 166"/>
                  <a:gd name="T61" fmla="*/ 12 h 105"/>
                  <a:gd name="T62" fmla="*/ 150 w 166"/>
                  <a:gd name="T63" fmla="*/ 0 h 105"/>
                  <a:gd name="T64" fmla="*/ 166 w 166"/>
                  <a:gd name="T65" fmla="*/ 39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6" h="105">
                    <a:moveTo>
                      <a:pt x="166" y="39"/>
                    </a:moveTo>
                    <a:lnTo>
                      <a:pt x="157" y="44"/>
                    </a:lnTo>
                    <a:lnTo>
                      <a:pt x="155" y="46"/>
                    </a:lnTo>
                    <a:lnTo>
                      <a:pt x="154" y="51"/>
                    </a:lnTo>
                    <a:lnTo>
                      <a:pt x="154" y="55"/>
                    </a:lnTo>
                    <a:lnTo>
                      <a:pt x="154" y="55"/>
                    </a:lnTo>
                    <a:lnTo>
                      <a:pt x="154" y="57"/>
                    </a:lnTo>
                    <a:lnTo>
                      <a:pt x="154" y="57"/>
                    </a:lnTo>
                    <a:lnTo>
                      <a:pt x="150" y="57"/>
                    </a:lnTo>
                    <a:lnTo>
                      <a:pt x="145" y="59"/>
                    </a:lnTo>
                    <a:lnTo>
                      <a:pt x="141" y="60"/>
                    </a:lnTo>
                    <a:lnTo>
                      <a:pt x="104" y="75"/>
                    </a:lnTo>
                    <a:lnTo>
                      <a:pt x="102" y="78"/>
                    </a:lnTo>
                    <a:lnTo>
                      <a:pt x="97" y="84"/>
                    </a:lnTo>
                    <a:lnTo>
                      <a:pt x="95" y="84"/>
                    </a:lnTo>
                    <a:lnTo>
                      <a:pt x="84" y="84"/>
                    </a:lnTo>
                    <a:lnTo>
                      <a:pt x="80" y="85"/>
                    </a:lnTo>
                    <a:lnTo>
                      <a:pt x="79" y="87"/>
                    </a:lnTo>
                    <a:lnTo>
                      <a:pt x="66" y="93"/>
                    </a:lnTo>
                    <a:lnTo>
                      <a:pt x="64" y="93"/>
                    </a:lnTo>
                    <a:lnTo>
                      <a:pt x="61" y="93"/>
                    </a:lnTo>
                    <a:lnTo>
                      <a:pt x="50" y="93"/>
                    </a:lnTo>
                    <a:lnTo>
                      <a:pt x="48" y="94"/>
                    </a:lnTo>
                    <a:lnTo>
                      <a:pt x="45" y="98"/>
                    </a:lnTo>
                    <a:lnTo>
                      <a:pt x="36" y="103"/>
                    </a:lnTo>
                    <a:lnTo>
                      <a:pt x="29" y="103"/>
                    </a:lnTo>
                    <a:lnTo>
                      <a:pt x="25" y="105"/>
                    </a:lnTo>
                    <a:lnTo>
                      <a:pt x="23" y="103"/>
                    </a:lnTo>
                    <a:lnTo>
                      <a:pt x="20" y="105"/>
                    </a:lnTo>
                    <a:lnTo>
                      <a:pt x="18" y="103"/>
                    </a:lnTo>
                    <a:lnTo>
                      <a:pt x="14" y="103"/>
                    </a:lnTo>
                    <a:lnTo>
                      <a:pt x="13" y="100"/>
                    </a:lnTo>
                    <a:lnTo>
                      <a:pt x="9" y="96"/>
                    </a:lnTo>
                    <a:lnTo>
                      <a:pt x="9" y="85"/>
                    </a:lnTo>
                    <a:lnTo>
                      <a:pt x="7" y="84"/>
                    </a:lnTo>
                    <a:lnTo>
                      <a:pt x="4" y="66"/>
                    </a:lnTo>
                    <a:lnTo>
                      <a:pt x="0" y="62"/>
                    </a:lnTo>
                    <a:lnTo>
                      <a:pt x="0" y="60"/>
                    </a:lnTo>
                    <a:lnTo>
                      <a:pt x="0" y="60"/>
                    </a:lnTo>
                    <a:lnTo>
                      <a:pt x="2" y="60"/>
                    </a:lnTo>
                    <a:lnTo>
                      <a:pt x="2" y="59"/>
                    </a:lnTo>
                    <a:lnTo>
                      <a:pt x="0" y="59"/>
                    </a:lnTo>
                    <a:lnTo>
                      <a:pt x="0" y="55"/>
                    </a:lnTo>
                    <a:lnTo>
                      <a:pt x="0" y="53"/>
                    </a:lnTo>
                    <a:lnTo>
                      <a:pt x="2" y="51"/>
                    </a:lnTo>
                    <a:lnTo>
                      <a:pt x="2" y="51"/>
                    </a:lnTo>
                    <a:lnTo>
                      <a:pt x="2" y="43"/>
                    </a:lnTo>
                    <a:lnTo>
                      <a:pt x="2" y="43"/>
                    </a:lnTo>
                    <a:lnTo>
                      <a:pt x="4" y="41"/>
                    </a:lnTo>
                    <a:lnTo>
                      <a:pt x="6" y="39"/>
                    </a:lnTo>
                    <a:lnTo>
                      <a:pt x="6" y="37"/>
                    </a:lnTo>
                    <a:lnTo>
                      <a:pt x="11" y="35"/>
                    </a:lnTo>
                    <a:lnTo>
                      <a:pt x="11" y="34"/>
                    </a:lnTo>
                    <a:lnTo>
                      <a:pt x="13" y="32"/>
                    </a:lnTo>
                    <a:lnTo>
                      <a:pt x="20" y="32"/>
                    </a:lnTo>
                    <a:lnTo>
                      <a:pt x="27" y="25"/>
                    </a:lnTo>
                    <a:lnTo>
                      <a:pt x="66" y="26"/>
                    </a:lnTo>
                    <a:lnTo>
                      <a:pt x="70" y="34"/>
                    </a:lnTo>
                    <a:lnTo>
                      <a:pt x="73" y="34"/>
                    </a:lnTo>
                    <a:lnTo>
                      <a:pt x="79" y="32"/>
                    </a:lnTo>
                    <a:lnTo>
                      <a:pt x="79" y="25"/>
                    </a:lnTo>
                    <a:lnTo>
                      <a:pt x="89" y="12"/>
                    </a:lnTo>
                    <a:lnTo>
                      <a:pt x="104" y="5"/>
                    </a:lnTo>
                    <a:lnTo>
                      <a:pt x="150" y="0"/>
                    </a:lnTo>
                    <a:lnTo>
                      <a:pt x="166" y="39"/>
                    </a:lnTo>
                    <a:lnTo>
                      <a:pt x="166" y="3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64" name="Freeform 2314"/>
              <p:cNvSpPr>
                <a:spLocks/>
              </p:cNvSpPr>
              <p:nvPr/>
            </p:nvSpPr>
            <p:spPr bwMode="auto">
              <a:xfrm>
                <a:off x="2814" y="2072"/>
                <a:ext cx="64" cy="134"/>
              </a:xfrm>
              <a:custGeom>
                <a:avLst/>
                <a:gdLst>
                  <a:gd name="T0" fmla="*/ 36 w 64"/>
                  <a:gd name="T1" fmla="*/ 134 h 134"/>
                  <a:gd name="T2" fmla="*/ 45 w 64"/>
                  <a:gd name="T3" fmla="*/ 127 h 134"/>
                  <a:gd name="T4" fmla="*/ 43 w 64"/>
                  <a:gd name="T5" fmla="*/ 116 h 134"/>
                  <a:gd name="T6" fmla="*/ 45 w 64"/>
                  <a:gd name="T7" fmla="*/ 110 h 134"/>
                  <a:gd name="T8" fmla="*/ 52 w 64"/>
                  <a:gd name="T9" fmla="*/ 103 h 134"/>
                  <a:gd name="T10" fmla="*/ 64 w 64"/>
                  <a:gd name="T11" fmla="*/ 93 h 134"/>
                  <a:gd name="T12" fmla="*/ 62 w 64"/>
                  <a:gd name="T13" fmla="*/ 80 h 134"/>
                  <a:gd name="T14" fmla="*/ 59 w 64"/>
                  <a:gd name="T15" fmla="*/ 80 h 134"/>
                  <a:gd name="T16" fmla="*/ 57 w 64"/>
                  <a:gd name="T17" fmla="*/ 78 h 134"/>
                  <a:gd name="T18" fmla="*/ 54 w 64"/>
                  <a:gd name="T19" fmla="*/ 73 h 134"/>
                  <a:gd name="T20" fmla="*/ 50 w 64"/>
                  <a:gd name="T21" fmla="*/ 73 h 134"/>
                  <a:gd name="T22" fmla="*/ 48 w 64"/>
                  <a:gd name="T23" fmla="*/ 71 h 134"/>
                  <a:gd name="T24" fmla="*/ 41 w 64"/>
                  <a:gd name="T25" fmla="*/ 69 h 134"/>
                  <a:gd name="T26" fmla="*/ 41 w 64"/>
                  <a:gd name="T27" fmla="*/ 62 h 134"/>
                  <a:gd name="T28" fmla="*/ 45 w 64"/>
                  <a:gd name="T29" fmla="*/ 59 h 134"/>
                  <a:gd name="T30" fmla="*/ 48 w 64"/>
                  <a:gd name="T31" fmla="*/ 57 h 134"/>
                  <a:gd name="T32" fmla="*/ 55 w 64"/>
                  <a:gd name="T33" fmla="*/ 50 h 134"/>
                  <a:gd name="T34" fmla="*/ 59 w 64"/>
                  <a:gd name="T35" fmla="*/ 34 h 134"/>
                  <a:gd name="T36" fmla="*/ 55 w 64"/>
                  <a:gd name="T37" fmla="*/ 30 h 134"/>
                  <a:gd name="T38" fmla="*/ 52 w 64"/>
                  <a:gd name="T39" fmla="*/ 27 h 134"/>
                  <a:gd name="T40" fmla="*/ 52 w 64"/>
                  <a:gd name="T41" fmla="*/ 19 h 134"/>
                  <a:gd name="T42" fmla="*/ 57 w 64"/>
                  <a:gd name="T43" fmla="*/ 16 h 134"/>
                  <a:gd name="T44" fmla="*/ 59 w 64"/>
                  <a:gd name="T45" fmla="*/ 5 h 134"/>
                  <a:gd name="T46" fmla="*/ 55 w 64"/>
                  <a:gd name="T47" fmla="*/ 7 h 134"/>
                  <a:gd name="T48" fmla="*/ 52 w 64"/>
                  <a:gd name="T49" fmla="*/ 10 h 134"/>
                  <a:gd name="T50" fmla="*/ 46 w 64"/>
                  <a:gd name="T51" fmla="*/ 10 h 134"/>
                  <a:gd name="T52" fmla="*/ 45 w 64"/>
                  <a:gd name="T53" fmla="*/ 2 h 134"/>
                  <a:gd name="T54" fmla="*/ 37 w 64"/>
                  <a:gd name="T55" fmla="*/ 0 h 134"/>
                  <a:gd name="T56" fmla="*/ 23 w 64"/>
                  <a:gd name="T57" fmla="*/ 5 h 134"/>
                  <a:gd name="T58" fmla="*/ 21 w 64"/>
                  <a:gd name="T59" fmla="*/ 7 h 134"/>
                  <a:gd name="T60" fmla="*/ 16 w 64"/>
                  <a:gd name="T61" fmla="*/ 14 h 134"/>
                  <a:gd name="T62" fmla="*/ 16 w 64"/>
                  <a:gd name="T63" fmla="*/ 16 h 134"/>
                  <a:gd name="T64" fmla="*/ 16 w 64"/>
                  <a:gd name="T65" fmla="*/ 39 h 134"/>
                  <a:gd name="T66" fmla="*/ 14 w 64"/>
                  <a:gd name="T67" fmla="*/ 53 h 134"/>
                  <a:gd name="T68" fmla="*/ 7 w 64"/>
                  <a:gd name="T69" fmla="*/ 60 h 134"/>
                  <a:gd name="T70" fmla="*/ 4 w 64"/>
                  <a:gd name="T71" fmla="*/ 62 h 134"/>
                  <a:gd name="T72" fmla="*/ 0 w 64"/>
                  <a:gd name="T73" fmla="*/ 66 h 134"/>
                  <a:gd name="T74" fmla="*/ 4 w 64"/>
                  <a:gd name="T75" fmla="*/ 78 h 134"/>
                  <a:gd name="T76" fmla="*/ 11 w 64"/>
                  <a:gd name="T77" fmla="*/ 82 h 134"/>
                  <a:gd name="T78" fmla="*/ 12 w 64"/>
                  <a:gd name="T79" fmla="*/ 94 h 134"/>
                  <a:gd name="T80" fmla="*/ 27 w 64"/>
                  <a:gd name="T81" fmla="*/ 10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 h="134">
                    <a:moveTo>
                      <a:pt x="32" y="134"/>
                    </a:moveTo>
                    <a:lnTo>
                      <a:pt x="36" y="134"/>
                    </a:lnTo>
                    <a:lnTo>
                      <a:pt x="43" y="128"/>
                    </a:lnTo>
                    <a:lnTo>
                      <a:pt x="45" y="127"/>
                    </a:lnTo>
                    <a:lnTo>
                      <a:pt x="45" y="123"/>
                    </a:lnTo>
                    <a:lnTo>
                      <a:pt x="43" y="116"/>
                    </a:lnTo>
                    <a:lnTo>
                      <a:pt x="43" y="112"/>
                    </a:lnTo>
                    <a:lnTo>
                      <a:pt x="45" y="110"/>
                    </a:lnTo>
                    <a:lnTo>
                      <a:pt x="50" y="107"/>
                    </a:lnTo>
                    <a:lnTo>
                      <a:pt x="52" y="103"/>
                    </a:lnTo>
                    <a:lnTo>
                      <a:pt x="62" y="96"/>
                    </a:lnTo>
                    <a:lnTo>
                      <a:pt x="64" y="93"/>
                    </a:lnTo>
                    <a:lnTo>
                      <a:pt x="62" y="82"/>
                    </a:lnTo>
                    <a:lnTo>
                      <a:pt x="62" y="80"/>
                    </a:lnTo>
                    <a:lnTo>
                      <a:pt x="61" y="80"/>
                    </a:lnTo>
                    <a:lnTo>
                      <a:pt x="59" y="80"/>
                    </a:lnTo>
                    <a:lnTo>
                      <a:pt x="57" y="80"/>
                    </a:lnTo>
                    <a:lnTo>
                      <a:pt x="57" y="78"/>
                    </a:lnTo>
                    <a:lnTo>
                      <a:pt x="55" y="73"/>
                    </a:lnTo>
                    <a:lnTo>
                      <a:pt x="54" y="73"/>
                    </a:lnTo>
                    <a:lnTo>
                      <a:pt x="52" y="75"/>
                    </a:lnTo>
                    <a:lnTo>
                      <a:pt x="50" y="73"/>
                    </a:lnTo>
                    <a:lnTo>
                      <a:pt x="50" y="71"/>
                    </a:lnTo>
                    <a:lnTo>
                      <a:pt x="48" y="71"/>
                    </a:lnTo>
                    <a:lnTo>
                      <a:pt x="46" y="71"/>
                    </a:lnTo>
                    <a:lnTo>
                      <a:pt x="41" y="69"/>
                    </a:lnTo>
                    <a:lnTo>
                      <a:pt x="41" y="66"/>
                    </a:lnTo>
                    <a:lnTo>
                      <a:pt x="41" y="62"/>
                    </a:lnTo>
                    <a:lnTo>
                      <a:pt x="43" y="64"/>
                    </a:lnTo>
                    <a:lnTo>
                      <a:pt x="45" y="59"/>
                    </a:lnTo>
                    <a:lnTo>
                      <a:pt x="46" y="59"/>
                    </a:lnTo>
                    <a:lnTo>
                      <a:pt x="48" y="57"/>
                    </a:lnTo>
                    <a:lnTo>
                      <a:pt x="50" y="55"/>
                    </a:lnTo>
                    <a:lnTo>
                      <a:pt x="55" y="50"/>
                    </a:lnTo>
                    <a:lnTo>
                      <a:pt x="61" y="41"/>
                    </a:lnTo>
                    <a:lnTo>
                      <a:pt x="59" y="34"/>
                    </a:lnTo>
                    <a:lnTo>
                      <a:pt x="57" y="32"/>
                    </a:lnTo>
                    <a:lnTo>
                      <a:pt x="55" y="30"/>
                    </a:lnTo>
                    <a:lnTo>
                      <a:pt x="54" y="28"/>
                    </a:lnTo>
                    <a:lnTo>
                      <a:pt x="52" y="27"/>
                    </a:lnTo>
                    <a:lnTo>
                      <a:pt x="50" y="23"/>
                    </a:lnTo>
                    <a:lnTo>
                      <a:pt x="52" y="19"/>
                    </a:lnTo>
                    <a:lnTo>
                      <a:pt x="54" y="18"/>
                    </a:lnTo>
                    <a:lnTo>
                      <a:pt x="57" y="16"/>
                    </a:lnTo>
                    <a:lnTo>
                      <a:pt x="61" y="9"/>
                    </a:lnTo>
                    <a:lnTo>
                      <a:pt x="59" y="5"/>
                    </a:lnTo>
                    <a:lnTo>
                      <a:pt x="57" y="5"/>
                    </a:lnTo>
                    <a:lnTo>
                      <a:pt x="55" y="7"/>
                    </a:lnTo>
                    <a:lnTo>
                      <a:pt x="54" y="9"/>
                    </a:lnTo>
                    <a:lnTo>
                      <a:pt x="52" y="10"/>
                    </a:lnTo>
                    <a:lnTo>
                      <a:pt x="50" y="10"/>
                    </a:lnTo>
                    <a:lnTo>
                      <a:pt x="46" y="10"/>
                    </a:lnTo>
                    <a:lnTo>
                      <a:pt x="46" y="7"/>
                    </a:lnTo>
                    <a:lnTo>
                      <a:pt x="45" y="2"/>
                    </a:lnTo>
                    <a:lnTo>
                      <a:pt x="45" y="2"/>
                    </a:lnTo>
                    <a:lnTo>
                      <a:pt x="37" y="0"/>
                    </a:lnTo>
                    <a:lnTo>
                      <a:pt x="30" y="2"/>
                    </a:lnTo>
                    <a:lnTo>
                      <a:pt x="23" y="5"/>
                    </a:lnTo>
                    <a:lnTo>
                      <a:pt x="23" y="7"/>
                    </a:lnTo>
                    <a:lnTo>
                      <a:pt x="21" y="7"/>
                    </a:lnTo>
                    <a:lnTo>
                      <a:pt x="21" y="9"/>
                    </a:lnTo>
                    <a:lnTo>
                      <a:pt x="16" y="14"/>
                    </a:lnTo>
                    <a:lnTo>
                      <a:pt x="14" y="16"/>
                    </a:lnTo>
                    <a:lnTo>
                      <a:pt x="16" y="16"/>
                    </a:lnTo>
                    <a:lnTo>
                      <a:pt x="18" y="18"/>
                    </a:lnTo>
                    <a:lnTo>
                      <a:pt x="16" y="39"/>
                    </a:lnTo>
                    <a:lnTo>
                      <a:pt x="18" y="41"/>
                    </a:lnTo>
                    <a:lnTo>
                      <a:pt x="14" y="53"/>
                    </a:lnTo>
                    <a:lnTo>
                      <a:pt x="9" y="57"/>
                    </a:lnTo>
                    <a:lnTo>
                      <a:pt x="7" y="60"/>
                    </a:lnTo>
                    <a:lnTo>
                      <a:pt x="5" y="62"/>
                    </a:lnTo>
                    <a:lnTo>
                      <a:pt x="4" y="62"/>
                    </a:lnTo>
                    <a:lnTo>
                      <a:pt x="4" y="64"/>
                    </a:lnTo>
                    <a:lnTo>
                      <a:pt x="0" y="66"/>
                    </a:lnTo>
                    <a:lnTo>
                      <a:pt x="0" y="66"/>
                    </a:lnTo>
                    <a:lnTo>
                      <a:pt x="4" y="78"/>
                    </a:lnTo>
                    <a:lnTo>
                      <a:pt x="9" y="80"/>
                    </a:lnTo>
                    <a:lnTo>
                      <a:pt x="11" y="82"/>
                    </a:lnTo>
                    <a:lnTo>
                      <a:pt x="12" y="89"/>
                    </a:lnTo>
                    <a:lnTo>
                      <a:pt x="12" y="94"/>
                    </a:lnTo>
                    <a:lnTo>
                      <a:pt x="25" y="102"/>
                    </a:lnTo>
                    <a:lnTo>
                      <a:pt x="27" y="102"/>
                    </a:lnTo>
                    <a:lnTo>
                      <a:pt x="32" y="13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65" name="Freeform 2315"/>
              <p:cNvSpPr>
                <a:spLocks/>
              </p:cNvSpPr>
              <p:nvPr/>
            </p:nvSpPr>
            <p:spPr bwMode="auto">
              <a:xfrm>
                <a:off x="2814" y="2072"/>
                <a:ext cx="64" cy="134"/>
              </a:xfrm>
              <a:custGeom>
                <a:avLst/>
                <a:gdLst>
                  <a:gd name="T0" fmla="*/ 36 w 64"/>
                  <a:gd name="T1" fmla="*/ 134 h 134"/>
                  <a:gd name="T2" fmla="*/ 45 w 64"/>
                  <a:gd name="T3" fmla="*/ 127 h 134"/>
                  <a:gd name="T4" fmla="*/ 43 w 64"/>
                  <a:gd name="T5" fmla="*/ 116 h 134"/>
                  <a:gd name="T6" fmla="*/ 45 w 64"/>
                  <a:gd name="T7" fmla="*/ 110 h 134"/>
                  <a:gd name="T8" fmla="*/ 52 w 64"/>
                  <a:gd name="T9" fmla="*/ 103 h 134"/>
                  <a:gd name="T10" fmla="*/ 64 w 64"/>
                  <a:gd name="T11" fmla="*/ 93 h 134"/>
                  <a:gd name="T12" fmla="*/ 62 w 64"/>
                  <a:gd name="T13" fmla="*/ 80 h 134"/>
                  <a:gd name="T14" fmla="*/ 59 w 64"/>
                  <a:gd name="T15" fmla="*/ 80 h 134"/>
                  <a:gd name="T16" fmla="*/ 57 w 64"/>
                  <a:gd name="T17" fmla="*/ 78 h 134"/>
                  <a:gd name="T18" fmla="*/ 54 w 64"/>
                  <a:gd name="T19" fmla="*/ 73 h 134"/>
                  <a:gd name="T20" fmla="*/ 50 w 64"/>
                  <a:gd name="T21" fmla="*/ 73 h 134"/>
                  <a:gd name="T22" fmla="*/ 48 w 64"/>
                  <a:gd name="T23" fmla="*/ 71 h 134"/>
                  <a:gd name="T24" fmla="*/ 41 w 64"/>
                  <a:gd name="T25" fmla="*/ 69 h 134"/>
                  <a:gd name="T26" fmla="*/ 41 w 64"/>
                  <a:gd name="T27" fmla="*/ 62 h 134"/>
                  <a:gd name="T28" fmla="*/ 45 w 64"/>
                  <a:gd name="T29" fmla="*/ 59 h 134"/>
                  <a:gd name="T30" fmla="*/ 48 w 64"/>
                  <a:gd name="T31" fmla="*/ 57 h 134"/>
                  <a:gd name="T32" fmla="*/ 55 w 64"/>
                  <a:gd name="T33" fmla="*/ 50 h 134"/>
                  <a:gd name="T34" fmla="*/ 59 w 64"/>
                  <a:gd name="T35" fmla="*/ 34 h 134"/>
                  <a:gd name="T36" fmla="*/ 55 w 64"/>
                  <a:gd name="T37" fmla="*/ 30 h 134"/>
                  <a:gd name="T38" fmla="*/ 52 w 64"/>
                  <a:gd name="T39" fmla="*/ 27 h 134"/>
                  <a:gd name="T40" fmla="*/ 52 w 64"/>
                  <a:gd name="T41" fmla="*/ 19 h 134"/>
                  <a:gd name="T42" fmla="*/ 57 w 64"/>
                  <a:gd name="T43" fmla="*/ 16 h 134"/>
                  <a:gd name="T44" fmla="*/ 59 w 64"/>
                  <a:gd name="T45" fmla="*/ 5 h 134"/>
                  <a:gd name="T46" fmla="*/ 55 w 64"/>
                  <a:gd name="T47" fmla="*/ 7 h 134"/>
                  <a:gd name="T48" fmla="*/ 52 w 64"/>
                  <a:gd name="T49" fmla="*/ 10 h 134"/>
                  <a:gd name="T50" fmla="*/ 46 w 64"/>
                  <a:gd name="T51" fmla="*/ 10 h 134"/>
                  <a:gd name="T52" fmla="*/ 45 w 64"/>
                  <a:gd name="T53" fmla="*/ 2 h 134"/>
                  <a:gd name="T54" fmla="*/ 37 w 64"/>
                  <a:gd name="T55" fmla="*/ 0 h 134"/>
                  <a:gd name="T56" fmla="*/ 23 w 64"/>
                  <a:gd name="T57" fmla="*/ 5 h 134"/>
                  <a:gd name="T58" fmla="*/ 21 w 64"/>
                  <a:gd name="T59" fmla="*/ 7 h 134"/>
                  <a:gd name="T60" fmla="*/ 16 w 64"/>
                  <a:gd name="T61" fmla="*/ 14 h 134"/>
                  <a:gd name="T62" fmla="*/ 16 w 64"/>
                  <a:gd name="T63" fmla="*/ 16 h 134"/>
                  <a:gd name="T64" fmla="*/ 16 w 64"/>
                  <a:gd name="T65" fmla="*/ 39 h 134"/>
                  <a:gd name="T66" fmla="*/ 14 w 64"/>
                  <a:gd name="T67" fmla="*/ 53 h 134"/>
                  <a:gd name="T68" fmla="*/ 7 w 64"/>
                  <a:gd name="T69" fmla="*/ 60 h 134"/>
                  <a:gd name="T70" fmla="*/ 4 w 64"/>
                  <a:gd name="T71" fmla="*/ 62 h 134"/>
                  <a:gd name="T72" fmla="*/ 0 w 64"/>
                  <a:gd name="T73" fmla="*/ 66 h 134"/>
                  <a:gd name="T74" fmla="*/ 4 w 64"/>
                  <a:gd name="T75" fmla="*/ 78 h 134"/>
                  <a:gd name="T76" fmla="*/ 11 w 64"/>
                  <a:gd name="T77" fmla="*/ 82 h 134"/>
                  <a:gd name="T78" fmla="*/ 12 w 64"/>
                  <a:gd name="T79" fmla="*/ 94 h 134"/>
                  <a:gd name="T80" fmla="*/ 27 w 64"/>
                  <a:gd name="T81" fmla="*/ 10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 h="134">
                    <a:moveTo>
                      <a:pt x="32" y="134"/>
                    </a:moveTo>
                    <a:lnTo>
                      <a:pt x="36" y="134"/>
                    </a:lnTo>
                    <a:lnTo>
                      <a:pt x="43" y="128"/>
                    </a:lnTo>
                    <a:lnTo>
                      <a:pt x="45" y="127"/>
                    </a:lnTo>
                    <a:lnTo>
                      <a:pt x="45" y="123"/>
                    </a:lnTo>
                    <a:lnTo>
                      <a:pt x="43" y="116"/>
                    </a:lnTo>
                    <a:lnTo>
                      <a:pt x="43" y="112"/>
                    </a:lnTo>
                    <a:lnTo>
                      <a:pt x="45" y="110"/>
                    </a:lnTo>
                    <a:lnTo>
                      <a:pt x="50" y="107"/>
                    </a:lnTo>
                    <a:lnTo>
                      <a:pt x="52" y="103"/>
                    </a:lnTo>
                    <a:lnTo>
                      <a:pt x="62" y="96"/>
                    </a:lnTo>
                    <a:lnTo>
                      <a:pt x="64" y="93"/>
                    </a:lnTo>
                    <a:lnTo>
                      <a:pt x="62" y="82"/>
                    </a:lnTo>
                    <a:lnTo>
                      <a:pt x="62" y="80"/>
                    </a:lnTo>
                    <a:lnTo>
                      <a:pt x="61" y="80"/>
                    </a:lnTo>
                    <a:lnTo>
                      <a:pt x="59" y="80"/>
                    </a:lnTo>
                    <a:lnTo>
                      <a:pt x="57" y="80"/>
                    </a:lnTo>
                    <a:lnTo>
                      <a:pt x="57" y="78"/>
                    </a:lnTo>
                    <a:lnTo>
                      <a:pt x="55" y="73"/>
                    </a:lnTo>
                    <a:lnTo>
                      <a:pt x="54" y="73"/>
                    </a:lnTo>
                    <a:lnTo>
                      <a:pt x="52" y="75"/>
                    </a:lnTo>
                    <a:lnTo>
                      <a:pt x="50" y="73"/>
                    </a:lnTo>
                    <a:lnTo>
                      <a:pt x="50" y="71"/>
                    </a:lnTo>
                    <a:lnTo>
                      <a:pt x="48" y="71"/>
                    </a:lnTo>
                    <a:lnTo>
                      <a:pt x="46" y="71"/>
                    </a:lnTo>
                    <a:lnTo>
                      <a:pt x="41" y="69"/>
                    </a:lnTo>
                    <a:lnTo>
                      <a:pt x="41" y="66"/>
                    </a:lnTo>
                    <a:lnTo>
                      <a:pt x="41" y="62"/>
                    </a:lnTo>
                    <a:lnTo>
                      <a:pt x="43" y="64"/>
                    </a:lnTo>
                    <a:lnTo>
                      <a:pt x="45" y="59"/>
                    </a:lnTo>
                    <a:lnTo>
                      <a:pt x="46" y="59"/>
                    </a:lnTo>
                    <a:lnTo>
                      <a:pt x="48" y="57"/>
                    </a:lnTo>
                    <a:lnTo>
                      <a:pt x="50" y="55"/>
                    </a:lnTo>
                    <a:lnTo>
                      <a:pt x="55" y="50"/>
                    </a:lnTo>
                    <a:lnTo>
                      <a:pt x="61" y="41"/>
                    </a:lnTo>
                    <a:lnTo>
                      <a:pt x="59" y="34"/>
                    </a:lnTo>
                    <a:lnTo>
                      <a:pt x="57" y="32"/>
                    </a:lnTo>
                    <a:lnTo>
                      <a:pt x="55" y="30"/>
                    </a:lnTo>
                    <a:lnTo>
                      <a:pt x="54" y="28"/>
                    </a:lnTo>
                    <a:lnTo>
                      <a:pt x="52" y="27"/>
                    </a:lnTo>
                    <a:lnTo>
                      <a:pt x="50" y="23"/>
                    </a:lnTo>
                    <a:lnTo>
                      <a:pt x="52" y="19"/>
                    </a:lnTo>
                    <a:lnTo>
                      <a:pt x="54" y="18"/>
                    </a:lnTo>
                    <a:lnTo>
                      <a:pt x="57" y="16"/>
                    </a:lnTo>
                    <a:lnTo>
                      <a:pt x="61" y="9"/>
                    </a:lnTo>
                    <a:lnTo>
                      <a:pt x="59" y="5"/>
                    </a:lnTo>
                    <a:lnTo>
                      <a:pt x="57" y="5"/>
                    </a:lnTo>
                    <a:lnTo>
                      <a:pt x="55" y="7"/>
                    </a:lnTo>
                    <a:lnTo>
                      <a:pt x="54" y="9"/>
                    </a:lnTo>
                    <a:lnTo>
                      <a:pt x="52" y="10"/>
                    </a:lnTo>
                    <a:lnTo>
                      <a:pt x="50" y="10"/>
                    </a:lnTo>
                    <a:lnTo>
                      <a:pt x="46" y="10"/>
                    </a:lnTo>
                    <a:lnTo>
                      <a:pt x="46" y="7"/>
                    </a:lnTo>
                    <a:lnTo>
                      <a:pt x="45" y="2"/>
                    </a:lnTo>
                    <a:lnTo>
                      <a:pt x="45" y="2"/>
                    </a:lnTo>
                    <a:lnTo>
                      <a:pt x="37" y="0"/>
                    </a:lnTo>
                    <a:lnTo>
                      <a:pt x="30" y="2"/>
                    </a:lnTo>
                    <a:lnTo>
                      <a:pt x="23" y="5"/>
                    </a:lnTo>
                    <a:lnTo>
                      <a:pt x="23" y="7"/>
                    </a:lnTo>
                    <a:lnTo>
                      <a:pt x="21" y="7"/>
                    </a:lnTo>
                    <a:lnTo>
                      <a:pt x="21" y="9"/>
                    </a:lnTo>
                    <a:lnTo>
                      <a:pt x="16" y="14"/>
                    </a:lnTo>
                    <a:lnTo>
                      <a:pt x="14" y="16"/>
                    </a:lnTo>
                    <a:lnTo>
                      <a:pt x="16" y="16"/>
                    </a:lnTo>
                    <a:lnTo>
                      <a:pt x="18" y="18"/>
                    </a:lnTo>
                    <a:lnTo>
                      <a:pt x="16" y="39"/>
                    </a:lnTo>
                    <a:lnTo>
                      <a:pt x="18" y="41"/>
                    </a:lnTo>
                    <a:lnTo>
                      <a:pt x="14" y="53"/>
                    </a:lnTo>
                    <a:lnTo>
                      <a:pt x="9" y="57"/>
                    </a:lnTo>
                    <a:lnTo>
                      <a:pt x="7" y="60"/>
                    </a:lnTo>
                    <a:lnTo>
                      <a:pt x="5" y="62"/>
                    </a:lnTo>
                    <a:lnTo>
                      <a:pt x="4" y="62"/>
                    </a:lnTo>
                    <a:lnTo>
                      <a:pt x="4" y="64"/>
                    </a:lnTo>
                    <a:lnTo>
                      <a:pt x="0" y="66"/>
                    </a:lnTo>
                    <a:lnTo>
                      <a:pt x="0" y="66"/>
                    </a:lnTo>
                    <a:lnTo>
                      <a:pt x="4" y="78"/>
                    </a:lnTo>
                    <a:lnTo>
                      <a:pt x="9" y="80"/>
                    </a:lnTo>
                    <a:lnTo>
                      <a:pt x="11" y="82"/>
                    </a:lnTo>
                    <a:lnTo>
                      <a:pt x="12" y="89"/>
                    </a:lnTo>
                    <a:lnTo>
                      <a:pt x="12" y="94"/>
                    </a:lnTo>
                    <a:lnTo>
                      <a:pt x="25" y="102"/>
                    </a:lnTo>
                    <a:lnTo>
                      <a:pt x="27" y="102"/>
                    </a:lnTo>
                    <a:lnTo>
                      <a:pt x="32" y="13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66" name="Freeform 2316"/>
              <p:cNvSpPr>
                <a:spLocks/>
              </p:cNvSpPr>
              <p:nvPr/>
            </p:nvSpPr>
            <p:spPr bwMode="auto">
              <a:xfrm>
                <a:off x="3264" y="2072"/>
                <a:ext cx="112" cy="98"/>
              </a:xfrm>
              <a:custGeom>
                <a:avLst/>
                <a:gdLst>
                  <a:gd name="T0" fmla="*/ 89 w 112"/>
                  <a:gd name="T1" fmla="*/ 55 h 98"/>
                  <a:gd name="T2" fmla="*/ 95 w 112"/>
                  <a:gd name="T3" fmla="*/ 18 h 98"/>
                  <a:gd name="T4" fmla="*/ 109 w 112"/>
                  <a:gd name="T5" fmla="*/ 5 h 98"/>
                  <a:gd name="T6" fmla="*/ 111 w 112"/>
                  <a:gd name="T7" fmla="*/ 2 h 98"/>
                  <a:gd name="T8" fmla="*/ 111 w 112"/>
                  <a:gd name="T9" fmla="*/ 0 h 98"/>
                  <a:gd name="T10" fmla="*/ 109 w 112"/>
                  <a:gd name="T11" fmla="*/ 0 h 98"/>
                  <a:gd name="T12" fmla="*/ 100 w 112"/>
                  <a:gd name="T13" fmla="*/ 3 h 98"/>
                  <a:gd name="T14" fmla="*/ 87 w 112"/>
                  <a:gd name="T15" fmla="*/ 3 h 98"/>
                  <a:gd name="T16" fmla="*/ 75 w 112"/>
                  <a:gd name="T17" fmla="*/ 9 h 98"/>
                  <a:gd name="T18" fmla="*/ 70 w 112"/>
                  <a:gd name="T19" fmla="*/ 10 h 98"/>
                  <a:gd name="T20" fmla="*/ 52 w 112"/>
                  <a:gd name="T21" fmla="*/ 10 h 98"/>
                  <a:gd name="T22" fmla="*/ 46 w 112"/>
                  <a:gd name="T23" fmla="*/ 7 h 98"/>
                  <a:gd name="T24" fmla="*/ 34 w 112"/>
                  <a:gd name="T25" fmla="*/ 12 h 98"/>
                  <a:gd name="T26" fmla="*/ 28 w 112"/>
                  <a:gd name="T27" fmla="*/ 12 h 98"/>
                  <a:gd name="T28" fmla="*/ 25 w 112"/>
                  <a:gd name="T29" fmla="*/ 12 h 98"/>
                  <a:gd name="T30" fmla="*/ 25 w 112"/>
                  <a:gd name="T31" fmla="*/ 10 h 98"/>
                  <a:gd name="T32" fmla="*/ 21 w 112"/>
                  <a:gd name="T33" fmla="*/ 9 h 98"/>
                  <a:gd name="T34" fmla="*/ 18 w 112"/>
                  <a:gd name="T35" fmla="*/ 12 h 98"/>
                  <a:gd name="T36" fmla="*/ 18 w 112"/>
                  <a:gd name="T37" fmla="*/ 14 h 98"/>
                  <a:gd name="T38" fmla="*/ 20 w 112"/>
                  <a:gd name="T39" fmla="*/ 19 h 98"/>
                  <a:gd name="T40" fmla="*/ 20 w 112"/>
                  <a:gd name="T41" fmla="*/ 21 h 98"/>
                  <a:gd name="T42" fmla="*/ 14 w 112"/>
                  <a:gd name="T43" fmla="*/ 21 h 98"/>
                  <a:gd name="T44" fmla="*/ 12 w 112"/>
                  <a:gd name="T45" fmla="*/ 27 h 98"/>
                  <a:gd name="T46" fmla="*/ 11 w 112"/>
                  <a:gd name="T47" fmla="*/ 28 h 98"/>
                  <a:gd name="T48" fmla="*/ 9 w 112"/>
                  <a:gd name="T49" fmla="*/ 27 h 98"/>
                  <a:gd name="T50" fmla="*/ 7 w 112"/>
                  <a:gd name="T51" fmla="*/ 30 h 98"/>
                  <a:gd name="T52" fmla="*/ 7 w 112"/>
                  <a:gd name="T53" fmla="*/ 35 h 98"/>
                  <a:gd name="T54" fmla="*/ 9 w 112"/>
                  <a:gd name="T55" fmla="*/ 44 h 98"/>
                  <a:gd name="T56" fmla="*/ 9 w 112"/>
                  <a:gd name="T57" fmla="*/ 52 h 98"/>
                  <a:gd name="T58" fmla="*/ 14 w 112"/>
                  <a:gd name="T59" fmla="*/ 50 h 98"/>
                  <a:gd name="T60" fmla="*/ 14 w 112"/>
                  <a:gd name="T61" fmla="*/ 52 h 98"/>
                  <a:gd name="T62" fmla="*/ 16 w 112"/>
                  <a:gd name="T63" fmla="*/ 52 h 98"/>
                  <a:gd name="T64" fmla="*/ 16 w 112"/>
                  <a:gd name="T65" fmla="*/ 52 h 98"/>
                  <a:gd name="T66" fmla="*/ 14 w 112"/>
                  <a:gd name="T67" fmla="*/ 53 h 98"/>
                  <a:gd name="T68" fmla="*/ 16 w 112"/>
                  <a:gd name="T69" fmla="*/ 53 h 98"/>
                  <a:gd name="T70" fmla="*/ 18 w 112"/>
                  <a:gd name="T71" fmla="*/ 55 h 98"/>
                  <a:gd name="T72" fmla="*/ 20 w 112"/>
                  <a:gd name="T73" fmla="*/ 59 h 98"/>
                  <a:gd name="T74" fmla="*/ 20 w 112"/>
                  <a:gd name="T75" fmla="*/ 60 h 98"/>
                  <a:gd name="T76" fmla="*/ 18 w 112"/>
                  <a:gd name="T77" fmla="*/ 62 h 98"/>
                  <a:gd name="T78" fmla="*/ 16 w 112"/>
                  <a:gd name="T79" fmla="*/ 64 h 98"/>
                  <a:gd name="T80" fmla="*/ 14 w 112"/>
                  <a:gd name="T81" fmla="*/ 64 h 98"/>
                  <a:gd name="T82" fmla="*/ 12 w 112"/>
                  <a:gd name="T83" fmla="*/ 66 h 98"/>
                  <a:gd name="T84" fmla="*/ 14 w 112"/>
                  <a:gd name="T85" fmla="*/ 68 h 98"/>
                  <a:gd name="T86" fmla="*/ 14 w 112"/>
                  <a:gd name="T87" fmla="*/ 68 h 98"/>
                  <a:gd name="T88" fmla="*/ 9 w 112"/>
                  <a:gd name="T89" fmla="*/ 68 h 98"/>
                  <a:gd name="T90" fmla="*/ 9 w 112"/>
                  <a:gd name="T91" fmla="*/ 69 h 98"/>
                  <a:gd name="T92" fmla="*/ 7 w 112"/>
                  <a:gd name="T93" fmla="*/ 71 h 98"/>
                  <a:gd name="T94" fmla="*/ 9 w 112"/>
                  <a:gd name="T95" fmla="*/ 73 h 98"/>
                  <a:gd name="T96" fmla="*/ 5 w 112"/>
                  <a:gd name="T97" fmla="*/ 77 h 98"/>
                  <a:gd name="T98" fmla="*/ 3 w 112"/>
                  <a:gd name="T99" fmla="*/ 78 h 98"/>
                  <a:gd name="T100" fmla="*/ 2 w 112"/>
                  <a:gd name="T101" fmla="*/ 82 h 98"/>
                  <a:gd name="T102" fmla="*/ 2 w 112"/>
                  <a:gd name="T103" fmla="*/ 85 h 98"/>
                  <a:gd name="T104" fmla="*/ 2 w 112"/>
                  <a:gd name="T105" fmla="*/ 87 h 98"/>
                  <a:gd name="T106" fmla="*/ 3 w 112"/>
                  <a:gd name="T107" fmla="*/ 89 h 98"/>
                  <a:gd name="T108" fmla="*/ 7 w 112"/>
                  <a:gd name="T109" fmla="*/ 93 h 98"/>
                  <a:gd name="T110" fmla="*/ 16 w 112"/>
                  <a:gd name="T111" fmla="*/ 98 h 98"/>
                  <a:gd name="T112" fmla="*/ 53 w 112"/>
                  <a:gd name="T113"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2" h="98">
                    <a:moveTo>
                      <a:pt x="53" y="77"/>
                    </a:moveTo>
                    <a:lnTo>
                      <a:pt x="89" y="55"/>
                    </a:lnTo>
                    <a:lnTo>
                      <a:pt x="93" y="48"/>
                    </a:lnTo>
                    <a:lnTo>
                      <a:pt x="95" y="18"/>
                    </a:lnTo>
                    <a:lnTo>
                      <a:pt x="103" y="14"/>
                    </a:lnTo>
                    <a:lnTo>
                      <a:pt x="109" y="5"/>
                    </a:lnTo>
                    <a:lnTo>
                      <a:pt x="112" y="2"/>
                    </a:lnTo>
                    <a:lnTo>
                      <a:pt x="111" y="2"/>
                    </a:lnTo>
                    <a:lnTo>
                      <a:pt x="111" y="2"/>
                    </a:lnTo>
                    <a:lnTo>
                      <a:pt x="111" y="0"/>
                    </a:lnTo>
                    <a:lnTo>
                      <a:pt x="109" y="0"/>
                    </a:lnTo>
                    <a:lnTo>
                      <a:pt x="109" y="0"/>
                    </a:lnTo>
                    <a:lnTo>
                      <a:pt x="105" y="2"/>
                    </a:lnTo>
                    <a:lnTo>
                      <a:pt x="100" y="3"/>
                    </a:lnTo>
                    <a:lnTo>
                      <a:pt x="89" y="3"/>
                    </a:lnTo>
                    <a:lnTo>
                      <a:pt x="87" y="3"/>
                    </a:lnTo>
                    <a:lnTo>
                      <a:pt x="80" y="5"/>
                    </a:lnTo>
                    <a:lnTo>
                      <a:pt x="75" y="9"/>
                    </a:lnTo>
                    <a:lnTo>
                      <a:pt x="71" y="9"/>
                    </a:lnTo>
                    <a:lnTo>
                      <a:pt x="70" y="10"/>
                    </a:lnTo>
                    <a:lnTo>
                      <a:pt x="61" y="12"/>
                    </a:lnTo>
                    <a:lnTo>
                      <a:pt x="52" y="10"/>
                    </a:lnTo>
                    <a:lnTo>
                      <a:pt x="48" y="7"/>
                    </a:lnTo>
                    <a:lnTo>
                      <a:pt x="46" y="7"/>
                    </a:lnTo>
                    <a:lnTo>
                      <a:pt x="43" y="7"/>
                    </a:lnTo>
                    <a:lnTo>
                      <a:pt x="34" y="12"/>
                    </a:lnTo>
                    <a:lnTo>
                      <a:pt x="32" y="12"/>
                    </a:lnTo>
                    <a:lnTo>
                      <a:pt x="28" y="12"/>
                    </a:lnTo>
                    <a:lnTo>
                      <a:pt x="25" y="12"/>
                    </a:lnTo>
                    <a:lnTo>
                      <a:pt x="25" y="12"/>
                    </a:lnTo>
                    <a:lnTo>
                      <a:pt x="25" y="10"/>
                    </a:lnTo>
                    <a:lnTo>
                      <a:pt x="25" y="10"/>
                    </a:lnTo>
                    <a:lnTo>
                      <a:pt x="23" y="10"/>
                    </a:lnTo>
                    <a:lnTo>
                      <a:pt x="21" y="9"/>
                    </a:lnTo>
                    <a:lnTo>
                      <a:pt x="20" y="9"/>
                    </a:lnTo>
                    <a:lnTo>
                      <a:pt x="18" y="12"/>
                    </a:lnTo>
                    <a:lnTo>
                      <a:pt x="18" y="12"/>
                    </a:lnTo>
                    <a:lnTo>
                      <a:pt x="18" y="14"/>
                    </a:lnTo>
                    <a:lnTo>
                      <a:pt x="18" y="16"/>
                    </a:lnTo>
                    <a:lnTo>
                      <a:pt x="20" y="19"/>
                    </a:lnTo>
                    <a:lnTo>
                      <a:pt x="20" y="21"/>
                    </a:lnTo>
                    <a:lnTo>
                      <a:pt x="20" y="21"/>
                    </a:lnTo>
                    <a:lnTo>
                      <a:pt x="18" y="21"/>
                    </a:lnTo>
                    <a:lnTo>
                      <a:pt x="14" y="21"/>
                    </a:lnTo>
                    <a:lnTo>
                      <a:pt x="14" y="25"/>
                    </a:lnTo>
                    <a:lnTo>
                      <a:pt x="12" y="27"/>
                    </a:lnTo>
                    <a:lnTo>
                      <a:pt x="12" y="27"/>
                    </a:lnTo>
                    <a:lnTo>
                      <a:pt x="11" y="28"/>
                    </a:lnTo>
                    <a:lnTo>
                      <a:pt x="9" y="28"/>
                    </a:lnTo>
                    <a:lnTo>
                      <a:pt x="9" y="27"/>
                    </a:lnTo>
                    <a:lnTo>
                      <a:pt x="7" y="27"/>
                    </a:lnTo>
                    <a:lnTo>
                      <a:pt x="7" y="30"/>
                    </a:lnTo>
                    <a:lnTo>
                      <a:pt x="5" y="34"/>
                    </a:lnTo>
                    <a:lnTo>
                      <a:pt x="7" y="35"/>
                    </a:lnTo>
                    <a:lnTo>
                      <a:pt x="9" y="39"/>
                    </a:lnTo>
                    <a:lnTo>
                      <a:pt x="9" y="44"/>
                    </a:lnTo>
                    <a:lnTo>
                      <a:pt x="7" y="48"/>
                    </a:lnTo>
                    <a:lnTo>
                      <a:pt x="9" y="52"/>
                    </a:lnTo>
                    <a:lnTo>
                      <a:pt x="12" y="52"/>
                    </a:lnTo>
                    <a:lnTo>
                      <a:pt x="14" y="50"/>
                    </a:lnTo>
                    <a:lnTo>
                      <a:pt x="14" y="50"/>
                    </a:lnTo>
                    <a:lnTo>
                      <a:pt x="14" y="52"/>
                    </a:lnTo>
                    <a:lnTo>
                      <a:pt x="16" y="52"/>
                    </a:lnTo>
                    <a:lnTo>
                      <a:pt x="16" y="52"/>
                    </a:lnTo>
                    <a:lnTo>
                      <a:pt x="16" y="52"/>
                    </a:lnTo>
                    <a:lnTo>
                      <a:pt x="16" y="52"/>
                    </a:lnTo>
                    <a:lnTo>
                      <a:pt x="16" y="53"/>
                    </a:lnTo>
                    <a:lnTo>
                      <a:pt x="14" y="53"/>
                    </a:lnTo>
                    <a:lnTo>
                      <a:pt x="14" y="53"/>
                    </a:lnTo>
                    <a:lnTo>
                      <a:pt x="16" y="53"/>
                    </a:lnTo>
                    <a:lnTo>
                      <a:pt x="16" y="55"/>
                    </a:lnTo>
                    <a:lnTo>
                      <a:pt x="18" y="55"/>
                    </a:lnTo>
                    <a:lnTo>
                      <a:pt x="18" y="57"/>
                    </a:lnTo>
                    <a:lnTo>
                      <a:pt x="20" y="59"/>
                    </a:lnTo>
                    <a:lnTo>
                      <a:pt x="18" y="60"/>
                    </a:lnTo>
                    <a:lnTo>
                      <a:pt x="20" y="60"/>
                    </a:lnTo>
                    <a:lnTo>
                      <a:pt x="18" y="60"/>
                    </a:lnTo>
                    <a:lnTo>
                      <a:pt x="18" y="62"/>
                    </a:lnTo>
                    <a:lnTo>
                      <a:pt x="18" y="62"/>
                    </a:lnTo>
                    <a:lnTo>
                      <a:pt x="16" y="64"/>
                    </a:lnTo>
                    <a:lnTo>
                      <a:pt x="14" y="64"/>
                    </a:lnTo>
                    <a:lnTo>
                      <a:pt x="14" y="64"/>
                    </a:lnTo>
                    <a:lnTo>
                      <a:pt x="14" y="66"/>
                    </a:lnTo>
                    <a:lnTo>
                      <a:pt x="12" y="66"/>
                    </a:lnTo>
                    <a:lnTo>
                      <a:pt x="14" y="68"/>
                    </a:lnTo>
                    <a:lnTo>
                      <a:pt x="14" y="68"/>
                    </a:lnTo>
                    <a:lnTo>
                      <a:pt x="14" y="68"/>
                    </a:lnTo>
                    <a:lnTo>
                      <a:pt x="14" y="68"/>
                    </a:lnTo>
                    <a:lnTo>
                      <a:pt x="12" y="68"/>
                    </a:lnTo>
                    <a:lnTo>
                      <a:pt x="9" y="68"/>
                    </a:lnTo>
                    <a:lnTo>
                      <a:pt x="9" y="69"/>
                    </a:lnTo>
                    <a:lnTo>
                      <a:pt x="9" y="69"/>
                    </a:lnTo>
                    <a:lnTo>
                      <a:pt x="7" y="71"/>
                    </a:lnTo>
                    <a:lnTo>
                      <a:pt x="7" y="71"/>
                    </a:lnTo>
                    <a:lnTo>
                      <a:pt x="9" y="73"/>
                    </a:lnTo>
                    <a:lnTo>
                      <a:pt x="9" y="73"/>
                    </a:lnTo>
                    <a:lnTo>
                      <a:pt x="9" y="75"/>
                    </a:lnTo>
                    <a:lnTo>
                      <a:pt x="5" y="77"/>
                    </a:lnTo>
                    <a:lnTo>
                      <a:pt x="5" y="78"/>
                    </a:lnTo>
                    <a:lnTo>
                      <a:pt x="3" y="78"/>
                    </a:lnTo>
                    <a:lnTo>
                      <a:pt x="2" y="80"/>
                    </a:lnTo>
                    <a:lnTo>
                      <a:pt x="2" y="82"/>
                    </a:lnTo>
                    <a:lnTo>
                      <a:pt x="0" y="84"/>
                    </a:lnTo>
                    <a:lnTo>
                      <a:pt x="2" y="85"/>
                    </a:lnTo>
                    <a:lnTo>
                      <a:pt x="0" y="85"/>
                    </a:lnTo>
                    <a:lnTo>
                      <a:pt x="2" y="87"/>
                    </a:lnTo>
                    <a:lnTo>
                      <a:pt x="0" y="89"/>
                    </a:lnTo>
                    <a:lnTo>
                      <a:pt x="3" y="89"/>
                    </a:lnTo>
                    <a:lnTo>
                      <a:pt x="5" y="89"/>
                    </a:lnTo>
                    <a:lnTo>
                      <a:pt x="7" y="93"/>
                    </a:lnTo>
                    <a:lnTo>
                      <a:pt x="12" y="96"/>
                    </a:lnTo>
                    <a:lnTo>
                      <a:pt x="16" y="98"/>
                    </a:lnTo>
                    <a:lnTo>
                      <a:pt x="18" y="96"/>
                    </a:lnTo>
                    <a:lnTo>
                      <a:pt x="53" y="7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67" name="Freeform 2317"/>
              <p:cNvSpPr>
                <a:spLocks/>
              </p:cNvSpPr>
              <p:nvPr/>
            </p:nvSpPr>
            <p:spPr bwMode="auto">
              <a:xfrm>
                <a:off x="3264" y="2072"/>
                <a:ext cx="112" cy="98"/>
              </a:xfrm>
              <a:custGeom>
                <a:avLst/>
                <a:gdLst>
                  <a:gd name="T0" fmla="*/ 89 w 112"/>
                  <a:gd name="T1" fmla="*/ 55 h 98"/>
                  <a:gd name="T2" fmla="*/ 95 w 112"/>
                  <a:gd name="T3" fmla="*/ 18 h 98"/>
                  <a:gd name="T4" fmla="*/ 109 w 112"/>
                  <a:gd name="T5" fmla="*/ 5 h 98"/>
                  <a:gd name="T6" fmla="*/ 111 w 112"/>
                  <a:gd name="T7" fmla="*/ 2 h 98"/>
                  <a:gd name="T8" fmla="*/ 111 w 112"/>
                  <a:gd name="T9" fmla="*/ 0 h 98"/>
                  <a:gd name="T10" fmla="*/ 109 w 112"/>
                  <a:gd name="T11" fmla="*/ 0 h 98"/>
                  <a:gd name="T12" fmla="*/ 100 w 112"/>
                  <a:gd name="T13" fmla="*/ 3 h 98"/>
                  <a:gd name="T14" fmla="*/ 87 w 112"/>
                  <a:gd name="T15" fmla="*/ 3 h 98"/>
                  <a:gd name="T16" fmla="*/ 75 w 112"/>
                  <a:gd name="T17" fmla="*/ 9 h 98"/>
                  <a:gd name="T18" fmla="*/ 70 w 112"/>
                  <a:gd name="T19" fmla="*/ 10 h 98"/>
                  <a:gd name="T20" fmla="*/ 52 w 112"/>
                  <a:gd name="T21" fmla="*/ 10 h 98"/>
                  <a:gd name="T22" fmla="*/ 46 w 112"/>
                  <a:gd name="T23" fmla="*/ 7 h 98"/>
                  <a:gd name="T24" fmla="*/ 34 w 112"/>
                  <a:gd name="T25" fmla="*/ 12 h 98"/>
                  <a:gd name="T26" fmla="*/ 28 w 112"/>
                  <a:gd name="T27" fmla="*/ 12 h 98"/>
                  <a:gd name="T28" fmla="*/ 25 w 112"/>
                  <a:gd name="T29" fmla="*/ 12 h 98"/>
                  <a:gd name="T30" fmla="*/ 25 w 112"/>
                  <a:gd name="T31" fmla="*/ 10 h 98"/>
                  <a:gd name="T32" fmla="*/ 21 w 112"/>
                  <a:gd name="T33" fmla="*/ 9 h 98"/>
                  <a:gd name="T34" fmla="*/ 18 w 112"/>
                  <a:gd name="T35" fmla="*/ 12 h 98"/>
                  <a:gd name="T36" fmla="*/ 18 w 112"/>
                  <a:gd name="T37" fmla="*/ 14 h 98"/>
                  <a:gd name="T38" fmla="*/ 20 w 112"/>
                  <a:gd name="T39" fmla="*/ 19 h 98"/>
                  <a:gd name="T40" fmla="*/ 20 w 112"/>
                  <a:gd name="T41" fmla="*/ 21 h 98"/>
                  <a:gd name="T42" fmla="*/ 14 w 112"/>
                  <a:gd name="T43" fmla="*/ 21 h 98"/>
                  <a:gd name="T44" fmla="*/ 12 w 112"/>
                  <a:gd name="T45" fmla="*/ 27 h 98"/>
                  <a:gd name="T46" fmla="*/ 11 w 112"/>
                  <a:gd name="T47" fmla="*/ 28 h 98"/>
                  <a:gd name="T48" fmla="*/ 9 w 112"/>
                  <a:gd name="T49" fmla="*/ 27 h 98"/>
                  <a:gd name="T50" fmla="*/ 7 w 112"/>
                  <a:gd name="T51" fmla="*/ 30 h 98"/>
                  <a:gd name="T52" fmla="*/ 7 w 112"/>
                  <a:gd name="T53" fmla="*/ 35 h 98"/>
                  <a:gd name="T54" fmla="*/ 9 w 112"/>
                  <a:gd name="T55" fmla="*/ 44 h 98"/>
                  <a:gd name="T56" fmla="*/ 9 w 112"/>
                  <a:gd name="T57" fmla="*/ 52 h 98"/>
                  <a:gd name="T58" fmla="*/ 14 w 112"/>
                  <a:gd name="T59" fmla="*/ 50 h 98"/>
                  <a:gd name="T60" fmla="*/ 14 w 112"/>
                  <a:gd name="T61" fmla="*/ 52 h 98"/>
                  <a:gd name="T62" fmla="*/ 16 w 112"/>
                  <a:gd name="T63" fmla="*/ 52 h 98"/>
                  <a:gd name="T64" fmla="*/ 16 w 112"/>
                  <a:gd name="T65" fmla="*/ 52 h 98"/>
                  <a:gd name="T66" fmla="*/ 14 w 112"/>
                  <a:gd name="T67" fmla="*/ 53 h 98"/>
                  <a:gd name="T68" fmla="*/ 16 w 112"/>
                  <a:gd name="T69" fmla="*/ 53 h 98"/>
                  <a:gd name="T70" fmla="*/ 18 w 112"/>
                  <a:gd name="T71" fmla="*/ 55 h 98"/>
                  <a:gd name="T72" fmla="*/ 20 w 112"/>
                  <a:gd name="T73" fmla="*/ 59 h 98"/>
                  <a:gd name="T74" fmla="*/ 20 w 112"/>
                  <a:gd name="T75" fmla="*/ 60 h 98"/>
                  <a:gd name="T76" fmla="*/ 18 w 112"/>
                  <a:gd name="T77" fmla="*/ 62 h 98"/>
                  <a:gd name="T78" fmla="*/ 16 w 112"/>
                  <a:gd name="T79" fmla="*/ 64 h 98"/>
                  <a:gd name="T80" fmla="*/ 14 w 112"/>
                  <a:gd name="T81" fmla="*/ 64 h 98"/>
                  <a:gd name="T82" fmla="*/ 12 w 112"/>
                  <a:gd name="T83" fmla="*/ 66 h 98"/>
                  <a:gd name="T84" fmla="*/ 14 w 112"/>
                  <a:gd name="T85" fmla="*/ 68 h 98"/>
                  <a:gd name="T86" fmla="*/ 14 w 112"/>
                  <a:gd name="T87" fmla="*/ 68 h 98"/>
                  <a:gd name="T88" fmla="*/ 9 w 112"/>
                  <a:gd name="T89" fmla="*/ 68 h 98"/>
                  <a:gd name="T90" fmla="*/ 9 w 112"/>
                  <a:gd name="T91" fmla="*/ 69 h 98"/>
                  <a:gd name="T92" fmla="*/ 7 w 112"/>
                  <a:gd name="T93" fmla="*/ 71 h 98"/>
                  <a:gd name="T94" fmla="*/ 9 w 112"/>
                  <a:gd name="T95" fmla="*/ 73 h 98"/>
                  <a:gd name="T96" fmla="*/ 5 w 112"/>
                  <a:gd name="T97" fmla="*/ 77 h 98"/>
                  <a:gd name="T98" fmla="*/ 3 w 112"/>
                  <a:gd name="T99" fmla="*/ 78 h 98"/>
                  <a:gd name="T100" fmla="*/ 2 w 112"/>
                  <a:gd name="T101" fmla="*/ 82 h 98"/>
                  <a:gd name="T102" fmla="*/ 2 w 112"/>
                  <a:gd name="T103" fmla="*/ 85 h 98"/>
                  <a:gd name="T104" fmla="*/ 2 w 112"/>
                  <a:gd name="T105" fmla="*/ 87 h 98"/>
                  <a:gd name="T106" fmla="*/ 3 w 112"/>
                  <a:gd name="T107" fmla="*/ 89 h 98"/>
                  <a:gd name="T108" fmla="*/ 7 w 112"/>
                  <a:gd name="T109" fmla="*/ 93 h 98"/>
                  <a:gd name="T110" fmla="*/ 16 w 112"/>
                  <a:gd name="T111" fmla="*/ 98 h 98"/>
                  <a:gd name="T112" fmla="*/ 53 w 112"/>
                  <a:gd name="T113" fmla="*/ 77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2" h="98">
                    <a:moveTo>
                      <a:pt x="53" y="77"/>
                    </a:moveTo>
                    <a:lnTo>
                      <a:pt x="89" y="55"/>
                    </a:lnTo>
                    <a:lnTo>
                      <a:pt x="93" y="48"/>
                    </a:lnTo>
                    <a:lnTo>
                      <a:pt x="95" y="18"/>
                    </a:lnTo>
                    <a:lnTo>
                      <a:pt x="103" y="14"/>
                    </a:lnTo>
                    <a:lnTo>
                      <a:pt x="109" y="5"/>
                    </a:lnTo>
                    <a:lnTo>
                      <a:pt x="112" y="2"/>
                    </a:lnTo>
                    <a:lnTo>
                      <a:pt x="111" y="2"/>
                    </a:lnTo>
                    <a:lnTo>
                      <a:pt x="111" y="2"/>
                    </a:lnTo>
                    <a:lnTo>
                      <a:pt x="111" y="0"/>
                    </a:lnTo>
                    <a:lnTo>
                      <a:pt x="109" y="0"/>
                    </a:lnTo>
                    <a:lnTo>
                      <a:pt x="109" y="0"/>
                    </a:lnTo>
                    <a:lnTo>
                      <a:pt x="105" y="2"/>
                    </a:lnTo>
                    <a:lnTo>
                      <a:pt x="100" y="3"/>
                    </a:lnTo>
                    <a:lnTo>
                      <a:pt x="89" y="3"/>
                    </a:lnTo>
                    <a:lnTo>
                      <a:pt x="87" y="3"/>
                    </a:lnTo>
                    <a:lnTo>
                      <a:pt x="80" y="5"/>
                    </a:lnTo>
                    <a:lnTo>
                      <a:pt x="75" y="9"/>
                    </a:lnTo>
                    <a:lnTo>
                      <a:pt x="71" y="9"/>
                    </a:lnTo>
                    <a:lnTo>
                      <a:pt x="70" y="10"/>
                    </a:lnTo>
                    <a:lnTo>
                      <a:pt x="61" y="12"/>
                    </a:lnTo>
                    <a:lnTo>
                      <a:pt x="52" y="10"/>
                    </a:lnTo>
                    <a:lnTo>
                      <a:pt x="48" y="7"/>
                    </a:lnTo>
                    <a:lnTo>
                      <a:pt x="46" y="7"/>
                    </a:lnTo>
                    <a:lnTo>
                      <a:pt x="43" y="7"/>
                    </a:lnTo>
                    <a:lnTo>
                      <a:pt x="34" y="12"/>
                    </a:lnTo>
                    <a:lnTo>
                      <a:pt x="32" y="12"/>
                    </a:lnTo>
                    <a:lnTo>
                      <a:pt x="28" y="12"/>
                    </a:lnTo>
                    <a:lnTo>
                      <a:pt x="25" y="12"/>
                    </a:lnTo>
                    <a:lnTo>
                      <a:pt x="25" y="12"/>
                    </a:lnTo>
                    <a:lnTo>
                      <a:pt x="25" y="10"/>
                    </a:lnTo>
                    <a:lnTo>
                      <a:pt x="25" y="10"/>
                    </a:lnTo>
                    <a:lnTo>
                      <a:pt x="23" y="10"/>
                    </a:lnTo>
                    <a:lnTo>
                      <a:pt x="21" y="9"/>
                    </a:lnTo>
                    <a:lnTo>
                      <a:pt x="20" y="9"/>
                    </a:lnTo>
                    <a:lnTo>
                      <a:pt x="18" y="12"/>
                    </a:lnTo>
                    <a:lnTo>
                      <a:pt x="18" y="12"/>
                    </a:lnTo>
                    <a:lnTo>
                      <a:pt x="18" y="14"/>
                    </a:lnTo>
                    <a:lnTo>
                      <a:pt x="18" y="16"/>
                    </a:lnTo>
                    <a:lnTo>
                      <a:pt x="20" y="19"/>
                    </a:lnTo>
                    <a:lnTo>
                      <a:pt x="20" y="21"/>
                    </a:lnTo>
                    <a:lnTo>
                      <a:pt x="20" y="21"/>
                    </a:lnTo>
                    <a:lnTo>
                      <a:pt x="18" y="21"/>
                    </a:lnTo>
                    <a:lnTo>
                      <a:pt x="14" y="21"/>
                    </a:lnTo>
                    <a:lnTo>
                      <a:pt x="14" y="25"/>
                    </a:lnTo>
                    <a:lnTo>
                      <a:pt x="12" y="27"/>
                    </a:lnTo>
                    <a:lnTo>
                      <a:pt x="12" y="27"/>
                    </a:lnTo>
                    <a:lnTo>
                      <a:pt x="11" y="28"/>
                    </a:lnTo>
                    <a:lnTo>
                      <a:pt x="9" y="28"/>
                    </a:lnTo>
                    <a:lnTo>
                      <a:pt x="9" y="27"/>
                    </a:lnTo>
                    <a:lnTo>
                      <a:pt x="7" y="27"/>
                    </a:lnTo>
                    <a:lnTo>
                      <a:pt x="7" y="30"/>
                    </a:lnTo>
                    <a:lnTo>
                      <a:pt x="5" y="34"/>
                    </a:lnTo>
                    <a:lnTo>
                      <a:pt x="7" y="35"/>
                    </a:lnTo>
                    <a:lnTo>
                      <a:pt x="9" y="39"/>
                    </a:lnTo>
                    <a:lnTo>
                      <a:pt x="9" y="44"/>
                    </a:lnTo>
                    <a:lnTo>
                      <a:pt x="7" y="48"/>
                    </a:lnTo>
                    <a:lnTo>
                      <a:pt x="9" y="52"/>
                    </a:lnTo>
                    <a:lnTo>
                      <a:pt x="12" y="52"/>
                    </a:lnTo>
                    <a:lnTo>
                      <a:pt x="14" y="50"/>
                    </a:lnTo>
                    <a:lnTo>
                      <a:pt x="14" y="50"/>
                    </a:lnTo>
                    <a:lnTo>
                      <a:pt x="14" y="52"/>
                    </a:lnTo>
                    <a:lnTo>
                      <a:pt x="16" y="52"/>
                    </a:lnTo>
                    <a:lnTo>
                      <a:pt x="16" y="52"/>
                    </a:lnTo>
                    <a:lnTo>
                      <a:pt x="16" y="52"/>
                    </a:lnTo>
                    <a:lnTo>
                      <a:pt x="16" y="52"/>
                    </a:lnTo>
                    <a:lnTo>
                      <a:pt x="16" y="53"/>
                    </a:lnTo>
                    <a:lnTo>
                      <a:pt x="14" y="53"/>
                    </a:lnTo>
                    <a:lnTo>
                      <a:pt x="14" y="53"/>
                    </a:lnTo>
                    <a:lnTo>
                      <a:pt x="16" y="53"/>
                    </a:lnTo>
                    <a:lnTo>
                      <a:pt x="16" y="55"/>
                    </a:lnTo>
                    <a:lnTo>
                      <a:pt x="18" y="55"/>
                    </a:lnTo>
                    <a:lnTo>
                      <a:pt x="18" y="57"/>
                    </a:lnTo>
                    <a:lnTo>
                      <a:pt x="20" y="59"/>
                    </a:lnTo>
                    <a:lnTo>
                      <a:pt x="18" y="60"/>
                    </a:lnTo>
                    <a:lnTo>
                      <a:pt x="20" y="60"/>
                    </a:lnTo>
                    <a:lnTo>
                      <a:pt x="18" y="60"/>
                    </a:lnTo>
                    <a:lnTo>
                      <a:pt x="18" y="62"/>
                    </a:lnTo>
                    <a:lnTo>
                      <a:pt x="18" y="62"/>
                    </a:lnTo>
                    <a:lnTo>
                      <a:pt x="16" y="64"/>
                    </a:lnTo>
                    <a:lnTo>
                      <a:pt x="14" y="64"/>
                    </a:lnTo>
                    <a:lnTo>
                      <a:pt x="14" y="64"/>
                    </a:lnTo>
                    <a:lnTo>
                      <a:pt x="14" y="66"/>
                    </a:lnTo>
                    <a:lnTo>
                      <a:pt x="12" y="66"/>
                    </a:lnTo>
                    <a:lnTo>
                      <a:pt x="14" y="68"/>
                    </a:lnTo>
                    <a:lnTo>
                      <a:pt x="14" y="68"/>
                    </a:lnTo>
                    <a:lnTo>
                      <a:pt x="14" y="68"/>
                    </a:lnTo>
                    <a:lnTo>
                      <a:pt x="14" y="68"/>
                    </a:lnTo>
                    <a:lnTo>
                      <a:pt x="12" y="68"/>
                    </a:lnTo>
                    <a:lnTo>
                      <a:pt x="9" y="68"/>
                    </a:lnTo>
                    <a:lnTo>
                      <a:pt x="9" y="69"/>
                    </a:lnTo>
                    <a:lnTo>
                      <a:pt x="9" y="69"/>
                    </a:lnTo>
                    <a:lnTo>
                      <a:pt x="7" y="71"/>
                    </a:lnTo>
                    <a:lnTo>
                      <a:pt x="7" y="71"/>
                    </a:lnTo>
                    <a:lnTo>
                      <a:pt x="9" y="73"/>
                    </a:lnTo>
                    <a:lnTo>
                      <a:pt x="9" y="73"/>
                    </a:lnTo>
                    <a:lnTo>
                      <a:pt x="9" y="75"/>
                    </a:lnTo>
                    <a:lnTo>
                      <a:pt x="5" y="77"/>
                    </a:lnTo>
                    <a:lnTo>
                      <a:pt x="5" y="78"/>
                    </a:lnTo>
                    <a:lnTo>
                      <a:pt x="3" y="78"/>
                    </a:lnTo>
                    <a:lnTo>
                      <a:pt x="2" y="80"/>
                    </a:lnTo>
                    <a:lnTo>
                      <a:pt x="2" y="82"/>
                    </a:lnTo>
                    <a:lnTo>
                      <a:pt x="0" y="84"/>
                    </a:lnTo>
                    <a:lnTo>
                      <a:pt x="2" y="85"/>
                    </a:lnTo>
                    <a:lnTo>
                      <a:pt x="0" y="85"/>
                    </a:lnTo>
                    <a:lnTo>
                      <a:pt x="2" y="87"/>
                    </a:lnTo>
                    <a:lnTo>
                      <a:pt x="0" y="89"/>
                    </a:lnTo>
                    <a:lnTo>
                      <a:pt x="3" y="89"/>
                    </a:lnTo>
                    <a:lnTo>
                      <a:pt x="5" y="89"/>
                    </a:lnTo>
                    <a:lnTo>
                      <a:pt x="7" y="93"/>
                    </a:lnTo>
                    <a:lnTo>
                      <a:pt x="12" y="96"/>
                    </a:lnTo>
                    <a:lnTo>
                      <a:pt x="16" y="98"/>
                    </a:lnTo>
                    <a:lnTo>
                      <a:pt x="18" y="96"/>
                    </a:lnTo>
                    <a:lnTo>
                      <a:pt x="53" y="7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68" name="Freeform 2318"/>
              <p:cNvSpPr>
                <a:spLocks/>
              </p:cNvSpPr>
              <p:nvPr/>
            </p:nvSpPr>
            <p:spPr bwMode="auto">
              <a:xfrm>
                <a:off x="3250" y="2172"/>
                <a:ext cx="337" cy="277"/>
              </a:xfrm>
              <a:custGeom>
                <a:avLst/>
                <a:gdLst>
                  <a:gd name="T0" fmla="*/ 267 w 337"/>
                  <a:gd name="T1" fmla="*/ 137 h 277"/>
                  <a:gd name="T2" fmla="*/ 267 w 337"/>
                  <a:gd name="T3" fmla="*/ 143 h 277"/>
                  <a:gd name="T4" fmla="*/ 271 w 337"/>
                  <a:gd name="T5" fmla="*/ 146 h 277"/>
                  <a:gd name="T6" fmla="*/ 330 w 337"/>
                  <a:gd name="T7" fmla="*/ 169 h 277"/>
                  <a:gd name="T8" fmla="*/ 326 w 337"/>
                  <a:gd name="T9" fmla="*/ 216 h 277"/>
                  <a:gd name="T10" fmla="*/ 232 w 337"/>
                  <a:gd name="T11" fmla="*/ 239 h 277"/>
                  <a:gd name="T12" fmla="*/ 207 w 337"/>
                  <a:gd name="T13" fmla="*/ 266 h 277"/>
                  <a:gd name="T14" fmla="*/ 194 w 337"/>
                  <a:gd name="T15" fmla="*/ 260 h 277"/>
                  <a:gd name="T16" fmla="*/ 141 w 337"/>
                  <a:gd name="T17" fmla="*/ 266 h 277"/>
                  <a:gd name="T18" fmla="*/ 134 w 337"/>
                  <a:gd name="T19" fmla="*/ 271 h 277"/>
                  <a:gd name="T20" fmla="*/ 130 w 337"/>
                  <a:gd name="T21" fmla="*/ 277 h 277"/>
                  <a:gd name="T22" fmla="*/ 128 w 337"/>
                  <a:gd name="T23" fmla="*/ 271 h 277"/>
                  <a:gd name="T24" fmla="*/ 123 w 337"/>
                  <a:gd name="T25" fmla="*/ 262 h 277"/>
                  <a:gd name="T26" fmla="*/ 114 w 337"/>
                  <a:gd name="T27" fmla="*/ 252 h 277"/>
                  <a:gd name="T28" fmla="*/ 105 w 337"/>
                  <a:gd name="T29" fmla="*/ 237 h 277"/>
                  <a:gd name="T30" fmla="*/ 85 w 337"/>
                  <a:gd name="T31" fmla="*/ 210 h 277"/>
                  <a:gd name="T32" fmla="*/ 75 w 337"/>
                  <a:gd name="T33" fmla="*/ 205 h 277"/>
                  <a:gd name="T34" fmla="*/ 69 w 337"/>
                  <a:gd name="T35" fmla="*/ 182 h 277"/>
                  <a:gd name="T36" fmla="*/ 69 w 337"/>
                  <a:gd name="T37" fmla="*/ 169 h 277"/>
                  <a:gd name="T38" fmla="*/ 51 w 337"/>
                  <a:gd name="T39" fmla="*/ 144 h 277"/>
                  <a:gd name="T40" fmla="*/ 50 w 337"/>
                  <a:gd name="T41" fmla="*/ 141 h 277"/>
                  <a:gd name="T42" fmla="*/ 44 w 337"/>
                  <a:gd name="T43" fmla="*/ 141 h 277"/>
                  <a:gd name="T44" fmla="*/ 41 w 337"/>
                  <a:gd name="T45" fmla="*/ 132 h 277"/>
                  <a:gd name="T46" fmla="*/ 32 w 337"/>
                  <a:gd name="T47" fmla="*/ 116 h 277"/>
                  <a:gd name="T48" fmla="*/ 28 w 337"/>
                  <a:gd name="T49" fmla="*/ 109 h 277"/>
                  <a:gd name="T50" fmla="*/ 21 w 337"/>
                  <a:gd name="T51" fmla="*/ 98 h 277"/>
                  <a:gd name="T52" fmla="*/ 9 w 337"/>
                  <a:gd name="T53" fmla="*/ 77 h 277"/>
                  <a:gd name="T54" fmla="*/ 1 w 337"/>
                  <a:gd name="T55" fmla="*/ 73 h 277"/>
                  <a:gd name="T56" fmla="*/ 3 w 337"/>
                  <a:gd name="T57" fmla="*/ 68 h 277"/>
                  <a:gd name="T58" fmla="*/ 5 w 337"/>
                  <a:gd name="T59" fmla="*/ 52 h 277"/>
                  <a:gd name="T60" fmla="*/ 28 w 337"/>
                  <a:gd name="T61" fmla="*/ 52 h 277"/>
                  <a:gd name="T62" fmla="*/ 48 w 337"/>
                  <a:gd name="T63" fmla="*/ 34 h 277"/>
                  <a:gd name="T64" fmla="*/ 35 w 337"/>
                  <a:gd name="T65" fmla="*/ 12 h 277"/>
                  <a:gd name="T66" fmla="*/ 132 w 337"/>
                  <a:gd name="T67" fmla="*/ 27 h 277"/>
                  <a:gd name="T68" fmla="*/ 144 w 337"/>
                  <a:gd name="T69" fmla="*/ 34 h 277"/>
                  <a:gd name="T70" fmla="*/ 162 w 337"/>
                  <a:gd name="T71" fmla="*/ 55 h 277"/>
                  <a:gd name="T72" fmla="*/ 207 w 337"/>
                  <a:gd name="T73" fmla="*/ 62 h 277"/>
                  <a:gd name="T74" fmla="*/ 226 w 337"/>
                  <a:gd name="T75" fmla="*/ 78 h 277"/>
                  <a:gd name="T76" fmla="*/ 235 w 337"/>
                  <a:gd name="T77" fmla="*/ 87 h 277"/>
                  <a:gd name="T78" fmla="*/ 235 w 337"/>
                  <a:gd name="T79" fmla="*/ 89 h 277"/>
                  <a:gd name="T80" fmla="*/ 246 w 337"/>
                  <a:gd name="T81" fmla="*/ 98 h 277"/>
                  <a:gd name="T82" fmla="*/ 248 w 337"/>
                  <a:gd name="T83" fmla="*/ 107 h 277"/>
                  <a:gd name="T84" fmla="*/ 248 w 337"/>
                  <a:gd name="T85" fmla="*/ 112 h 277"/>
                  <a:gd name="T86" fmla="*/ 255 w 337"/>
                  <a:gd name="T87" fmla="*/ 128 h 277"/>
                  <a:gd name="T88" fmla="*/ 257 w 337"/>
                  <a:gd name="T89" fmla="*/ 132 h 277"/>
                  <a:gd name="T90" fmla="*/ 260 w 337"/>
                  <a:gd name="T91"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7" h="277">
                    <a:moveTo>
                      <a:pt x="269" y="135"/>
                    </a:moveTo>
                    <a:lnTo>
                      <a:pt x="267" y="137"/>
                    </a:lnTo>
                    <a:lnTo>
                      <a:pt x="267" y="137"/>
                    </a:lnTo>
                    <a:lnTo>
                      <a:pt x="269" y="139"/>
                    </a:lnTo>
                    <a:lnTo>
                      <a:pt x="267" y="141"/>
                    </a:lnTo>
                    <a:lnTo>
                      <a:pt x="267" y="143"/>
                    </a:lnTo>
                    <a:lnTo>
                      <a:pt x="269" y="143"/>
                    </a:lnTo>
                    <a:lnTo>
                      <a:pt x="271" y="143"/>
                    </a:lnTo>
                    <a:lnTo>
                      <a:pt x="271" y="146"/>
                    </a:lnTo>
                    <a:lnTo>
                      <a:pt x="287" y="166"/>
                    </a:lnTo>
                    <a:lnTo>
                      <a:pt x="328" y="171"/>
                    </a:lnTo>
                    <a:lnTo>
                      <a:pt x="330" y="169"/>
                    </a:lnTo>
                    <a:lnTo>
                      <a:pt x="330" y="169"/>
                    </a:lnTo>
                    <a:lnTo>
                      <a:pt x="337" y="182"/>
                    </a:lnTo>
                    <a:lnTo>
                      <a:pt x="326" y="216"/>
                    </a:lnTo>
                    <a:lnTo>
                      <a:pt x="278" y="234"/>
                    </a:lnTo>
                    <a:lnTo>
                      <a:pt x="278" y="234"/>
                    </a:lnTo>
                    <a:lnTo>
                      <a:pt x="232" y="239"/>
                    </a:lnTo>
                    <a:lnTo>
                      <a:pt x="217" y="246"/>
                    </a:lnTo>
                    <a:lnTo>
                      <a:pt x="207" y="259"/>
                    </a:lnTo>
                    <a:lnTo>
                      <a:pt x="207" y="266"/>
                    </a:lnTo>
                    <a:lnTo>
                      <a:pt x="201" y="268"/>
                    </a:lnTo>
                    <a:lnTo>
                      <a:pt x="198" y="268"/>
                    </a:lnTo>
                    <a:lnTo>
                      <a:pt x="194" y="260"/>
                    </a:lnTo>
                    <a:lnTo>
                      <a:pt x="155" y="259"/>
                    </a:lnTo>
                    <a:lnTo>
                      <a:pt x="148" y="266"/>
                    </a:lnTo>
                    <a:lnTo>
                      <a:pt x="141" y="266"/>
                    </a:lnTo>
                    <a:lnTo>
                      <a:pt x="139" y="268"/>
                    </a:lnTo>
                    <a:lnTo>
                      <a:pt x="139" y="269"/>
                    </a:lnTo>
                    <a:lnTo>
                      <a:pt x="134" y="271"/>
                    </a:lnTo>
                    <a:lnTo>
                      <a:pt x="134" y="273"/>
                    </a:lnTo>
                    <a:lnTo>
                      <a:pt x="132" y="275"/>
                    </a:lnTo>
                    <a:lnTo>
                      <a:pt x="130" y="277"/>
                    </a:lnTo>
                    <a:lnTo>
                      <a:pt x="130" y="277"/>
                    </a:lnTo>
                    <a:lnTo>
                      <a:pt x="128" y="275"/>
                    </a:lnTo>
                    <a:lnTo>
                      <a:pt x="128" y="271"/>
                    </a:lnTo>
                    <a:lnTo>
                      <a:pt x="125" y="266"/>
                    </a:lnTo>
                    <a:lnTo>
                      <a:pt x="125" y="264"/>
                    </a:lnTo>
                    <a:lnTo>
                      <a:pt x="123" y="262"/>
                    </a:lnTo>
                    <a:lnTo>
                      <a:pt x="121" y="259"/>
                    </a:lnTo>
                    <a:lnTo>
                      <a:pt x="116" y="253"/>
                    </a:lnTo>
                    <a:lnTo>
                      <a:pt x="114" y="252"/>
                    </a:lnTo>
                    <a:lnTo>
                      <a:pt x="107" y="239"/>
                    </a:lnTo>
                    <a:lnTo>
                      <a:pt x="105" y="237"/>
                    </a:lnTo>
                    <a:lnTo>
                      <a:pt x="105" y="237"/>
                    </a:lnTo>
                    <a:lnTo>
                      <a:pt x="103" y="230"/>
                    </a:lnTo>
                    <a:lnTo>
                      <a:pt x="94" y="216"/>
                    </a:lnTo>
                    <a:lnTo>
                      <a:pt x="85" y="210"/>
                    </a:lnTo>
                    <a:lnTo>
                      <a:pt x="85" y="210"/>
                    </a:lnTo>
                    <a:lnTo>
                      <a:pt x="78" y="207"/>
                    </a:lnTo>
                    <a:lnTo>
                      <a:pt x="75" y="205"/>
                    </a:lnTo>
                    <a:lnTo>
                      <a:pt x="71" y="185"/>
                    </a:lnTo>
                    <a:lnTo>
                      <a:pt x="69" y="184"/>
                    </a:lnTo>
                    <a:lnTo>
                      <a:pt x="69" y="182"/>
                    </a:lnTo>
                    <a:lnTo>
                      <a:pt x="69" y="182"/>
                    </a:lnTo>
                    <a:lnTo>
                      <a:pt x="71" y="175"/>
                    </a:lnTo>
                    <a:lnTo>
                      <a:pt x="69" y="169"/>
                    </a:lnTo>
                    <a:lnTo>
                      <a:pt x="67" y="168"/>
                    </a:lnTo>
                    <a:lnTo>
                      <a:pt x="60" y="152"/>
                    </a:lnTo>
                    <a:lnTo>
                      <a:pt x="51" y="144"/>
                    </a:lnTo>
                    <a:lnTo>
                      <a:pt x="51" y="144"/>
                    </a:lnTo>
                    <a:lnTo>
                      <a:pt x="51" y="143"/>
                    </a:lnTo>
                    <a:lnTo>
                      <a:pt x="50" y="141"/>
                    </a:lnTo>
                    <a:lnTo>
                      <a:pt x="48" y="141"/>
                    </a:lnTo>
                    <a:lnTo>
                      <a:pt x="46" y="143"/>
                    </a:lnTo>
                    <a:lnTo>
                      <a:pt x="44" y="141"/>
                    </a:lnTo>
                    <a:lnTo>
                      <a:pt x="44" y="139"/>
                    </a:lnTo>
                    <a:lnTo>
                      <a:pt x="41" y="135"/>
                    </a:lnTo>
                    <a:lnTo>
                      <a:pt x="41" y="132"/>
                    </a:lnTo>
                    <a:lnTo>
                      <a:pt x="41" y="132"/>
                    </a:lnTo>
                    <a:lnTo>
                      <a:pt x="35" y="116"/>
                    </a:lnTo>
                    <a:lnTo>
                      <a:pt x="32" y="116"/>
                    </a:lnTo>
                    <a:lnTo>
                      <a:pt x="32" y="114"/>
                    </a:lnTo>
                    <a:lnTo>
                      <a:pt x="32" y="112"/>
                    </a:lnTo>
                    <a:lnTo>
                      <a:pt x="28" y="109"/>
                    </a:lnTo>
                    <a:lnTo>
                      <a:pt x="25" y="102"/>
                    </a:lnTo>
                    <a:lnTo>
                      <a:pt x="23" y="98"/>
                    </a:lnTo>
                    <a:lnTo>
                      <a:pt x="21" y="98"/>
                    </a:lnTo>
                    <a:lnTo>
                      <a:pt x="17" y="93"/>
                    </a:lnTo>
                    <a:lnTo>
                      <a:pt x="17" y="91"/>
                    </a:lnTo>
                    <a:lnTo>
                      <a:pt x="9" y="77"/>
                    </a:lnTo>
                    <a:lnTo>
                      <a:pt x="7" y="75"/>
                    </a:lnTo>
                    <a:lnTo>
                      <a:pt x="1" y="75"/>
                    </a:lnTo>
                    <a:lnTo>
                      <a:pt x="1" y="73"/>
                    </a:lnTo>
                    <a:lnTo>
                      <a:pt x="0" y="75"/>
                    </a:lnTo>
                    <a:lnTo>
                      <a:pt x="0" y="75"/>
                    </a:lnTo>
                    <a:lnTo>
                      <a:pt x="3" y="68"/>
                    </a:lnTo>
                    <a:lnTo>
                      <a:pt x="3" y="59"/>
                    </a:lnTo>
                    <a:lnTo>
                      <a:pt x="5" y="55"/>
                    </a:lnTo>
                    <a:lnTo>
                      <a:pt x="5" y="52"/>
                    </a:lnTo>
                    <a:lnTo>
                      <a:pt x="5" y="53"/>
                    </a:lnTo>
                    <a:lnTo>
                      <a:pt x="23" y="55"/>
                    </a:lnTo>
                    <a:lnTo>
                      <a:pt x="28" y="52"/>
                    </a:lnTo>
                    <a:lnTo>
                      <a:pt x="34" y="43"/>
                    </a:lnTo>
                    <a:lnTo>
                      <a:pt x="44" y="41"/>
                    </a:lnTo>
                    <a:lnTo>
                      <a:pt x="48" y="34"/>
                    </a:lnTo>
                    <a:lnTo>
                      <a:pt x="53" y="30"/>
                    </a:lnTo>
                    <a:lnTo>
                      <a:pt x="53" y="28"/>
                    </a:lnTo>
                    <a:lnTo>
                      <a:pt x="35" y="12"/>
                    </a:lnTo>
                    <a:lnTo>
                      <a:pt x="67" y="5"/>
                    </a:lnTo>
                    <a:lnTo>
                      <a:pt x="73" y="0"/>
                    </a:lnTo>
                    <a:lnTo>
                      <a:pt x="132" y="27"/>
                    </a:lnTo>
                    <a:lnTo>
                      <a:pt x="135" y="32"/>
                    </a:lnTo>
                    <a:lnTo>
                      <a:pt x="142" y="34"/>
                    </a:lnTo>
                    <a:lnTo>
                      <a:pt x="144" y="34"/>
                    </a:lnTo>
                    <a:lnTo>
                      <a:pt x="144" y="44"/>
                    </a:lnTo>
                    <a:lnTo>
                      <a:pt x="144" y="46"/>
                    </a:lnTo>
                    <a:lnTo>
                      <a:pt x="162" y="55"/>
                    </a:lnTo>
                    <a:lnTo>
                      <a:pt x="191" y="57"/>
                    </a:lnTo>
                    <a:lnTo>
                      <a:pt x="205" y="60"/>
                    </a:lnTo>
                    <a:lnTo>
                      <a:pt x="207" y="62"/>
                    </a:lnTo>
                    <a:lnTo>
                      <a:pt x="210" y="66"/>
                    </a:lnTo>
                    <a:lnTo>
                      <a:pt x="219" y="66"/>
                    </a:lnTo>
                    <a:lnTo>
                      <a:pt x="226" y="78"/>
                    </a:lnTo>
                    <a:lnTo>
                      <a:pt x="228" y="80"/>
                    </a:lnTo>
                    <a:lnTo>
                      <a:pt x="230" y="84"/>
                    </a:lnTo>
                    <a:lnTo>
                      <a:pt x="235" y="87"/>
                    </a:lnTo>
                    <a:lnTo>
                      <a:pt x="235" y="87"/>
                    </a:lnTo>
                    <a:lnTo>
                      <a:pt x="233" y="87"/>
                    </a:lnTo>
                    <a:lnTo>
                      <a:pt x="235" y="89"/>
                    </a:lnTo>
                    <a:lnTo>
                      <a:pt x="235" y="93"/>
                    </a:lnTo>
                    <a:lnTo>
                      <a:pt x="237" y="93"/>
                    </a:lnTo>
                    <a:lnTo>
                      <a:pt x="246" y="98"/>
                    </a:lnTo>
                    <a:lnTo>
                      <a:pt x="246" y="100"/>
                    </a:lnTo>
                    <a:lnTo>
                      <a:pt x="246" y="103"/>
                    </a:lnTo>
                    <a:lnTo>
                      <a:pt x="248" y="107"/>
                    </a:lnTo>
                    <a:lnTo>
                      <a:pt x="250" y="109"/>
                    </a:lnTo>
                    <a:lnTo>
                      <a:pt x="250" y="110"/>
                    </a:lnTo>
                    <a:lnTo>
                      <a:pt x="248" y="112"/>
                    </a:lnTo>
                    <a:lnTo>
                      <a:pt x="248" y="116"/>
                    </a:lnTo>
                    <a:lnTo>
                      <a:pt x="253" y="123"/>
                    </a:lnTo>
                    <a:lnTo>
                      <a:pt x="255" y="128"/>
                    </a:lnTo>
                    <a:lnTo>
                      <a:pt x="257" y="130"/>
                    </a:lnTo>
                    <a:lnTo>
                      <a:pt x="257" y="132"/>
                    </a:lnTo>
                    <a:lnTo>
                      <a:pt x="257" y="132"/>
                    </a:lnTo>
                    <a:lnTo>
                      <a:pt x="258" y="134"/>
                    </a:lnTo>
                    <a:lnTo>
                      <a:pt x="258" y="134"/>
                    </a:lnTo>
                    <a:lnTo>
                      <a:pt x="260" y="137"/>
                    </a:lnTo>
                    <a:lnTo>
                      <a:pt x="262" y="139"/>
                    </a:lnTo>
                    <a:lnTo>
                      <a:pt x="269" y="13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69" name="Freeform 2319"/>
              <p:cNvSpPr>
                <a:spLocks/>
              </p:cNvSpPr>
              <p:nvPr/>
            </p:nvSpPr>
            <p:spPr bwMode="auto">
              <a:xfrm>
                <a:off x="3250" y="2172"/>
                <a:ext cx="337" cy="277"/>
              </a:xfrm>
              <a:custGeom>
                <a:avLst/>
                <a:gdLst>
                  <a:gd name="T0" fmla="*/ 267 w 337"/>
                  <a:gd name="T1" fmla="*/ 137 h 277"/>
                  <a:gd name="T2" fmla="*/ 267 w 337"/>
                  <a:gd name="T3" fmla="*/ 143 h 277"/>
                  <a:gd name="T4" fmla="*/ 271 w 337"/>
                  <a:gd name="T5" fmla="*/ 146 h 277"/>
                  <a:gd name="T6" fmla="*/ 330 w 337"/>
                  <a:gd name="T7" fmla="*/ 169 h 277"/>
                  <a:gd name="T8" fmla="*/ 326 w 337"/>
                  <a:gd name="T9" fmla="*/ 216 h 277"/>
                  <a:gd name="T10" fmla="*/ 232 w 337"/>
                  <a:gd name="T11" fmla="*/ 239 h 277"/>
                  <a:gd name="T12" fmla="*/ 207 w 337"/>
                  <a:gd name="T13" fmla="*/ 266 h 277"/>
                  <a:gd name="T14" fmla="*/ 194 w 337"/>
                  <a:gd name="T15" fmla="*/ 260 h 277"/>
                  <a:gd name="T16" fmla="*/ 141 w 337"/>
                  <a:gd name="T17" fmla="*/ 266 h 277"/>
                  <a:gd name="T18" fmla="*/ 134 w 337"/>
                  <a:gd name="T19" fmla="*/ 271 h 277"/>
                  <a:gd name="T20" fmla="*/ 130 w 337"/>
                  <a:gd name="T21" fmla="*/ 277 h 277"/>
                  <a:gd name="T22" fmla="*/ 128 w 337"/>
                  <a:gd name="T23" fmla="*/ 271 h 277"/>
                  <a:gd name="T24" fmla="*/ 123 w 337"/>
                  <a:gd name="T25" fmla="*/ 262 h 277"/>
                  <a:gd name="T26" fmla="*/ 114 w 337"/>
                  <a:gd name="T27" fmla="*/ 252 h 277"/>
                  <a:gd name="T28" fmla="*/ 105 w 337"/>
                  <a:gd name="T29" fmla="*/ 237 h 277"/>
                  <a:gd name="T30" fmla="*/ 85 w 337"/>
                  <a:gd name="T31" fmla="*/ 210 h 277"/>
                  <a:gd name="T32" fmla="*/ 75 w 337"/>
                  <a:gd name="T33" fmla="*/ 205 h 277"/>
                  <a:gd name="T34" fmla="*/ 69 w 337"/>
                  <a:gd name="T35" fmla="*/ 182 h 277"/>
                  <a:gd name="T36" fmla="*/ 69 w 337"/>
                  <a:gd name="T37" fmla="*/ 169 h 277"/>
                  <a:gd name="T38" fmla="*/ 51 w 337"/>
                  <a:gd name="T39" fmla="*/ 144 h 277"/>
                  <a:gd name="T40" fmla="*/ 50 w 337"/>
                  <a:gd name="T41" fmla="*/ 141 h 277"/>
                  <a:gd name="T42" fmla="*/ 44 w 337"/>
                  <a:gd name="T43" fmla="*/ 141 h 277"/>
                  <a:gd name="T44" fmla="*/ 41 w 337"/>
                  <a:gd name="T45" fmla="*/ 132 h 277"/>
                  <a:gd name="T46" fmla="*/ 32 w 337"/>
                  <a:gd name="T47" fmla="*/ 116 h 277"/>
                  <a:gd name="T48" fmla="*/ 28 w 337"/>
                  <a:gd name="T49" fmla="*/ 109 h 277"/>
                  <a:gd name="T50" fmla="*/ 21 w 337"/>
                  <a:gd name="T51" fmla="*/ 98 h 277"/>
                  <a:gd name="T52" fmla="*/ 9 w 337"/>
                  <a:gd name="T53" fmla="*/ 77 h 277"/>
                  <a:gd name="T54" fmla="*/ 1 w 337"/>
                  <a:gd name="T55" fmla="*/ 73 h 277"/>
                  <a:gd name="T56" fmla="*/ 3 w 337"/>
                  <a:gd name="T57" fmla="*/ 68 h 277"/>
                  <a:gd name="T58" fmla="*/ 5 w 337"/>
                  <a:gd name="T59" fmla="*/ 52 h 277"/>
                  <a:gd name="T60" fmla="*/ 28 w 337"/>
                  <a:gd name="T61" fmla="*/ 52 h 277"/>
                  <a:gd name="T62" fmla="*/ 48 w 337"/>
                  <a:gd name="T63" fmla="*/ 34 h 277"/>
                  <a:gd name="T64" fmla="*/ 35 w 337"/>
                  <a:gd name="T65" fmla="*/ 12 h 277"/>
                  <a:gd name="T66" fmla="*/ 132 w 337"/>
                  <a:gd name="T67" fmla="*/ 27 h 277"/>
                  <a:gd name="T68" fmla="*/ 144 w 337"/>
                  <a:gd name="T69" fmla="*/ 34 h 277"/>
                  <a:gd name="T70" fmla="*/ 162 w 337"/>
                  <a:gd name="T71" fmla="*/ 55 h 277"/>
                  <a:gd name="T72" fmla="*/ 207 w 337"/>
                  <a:gd name="T73" fmla="*/ 62 h 277"/>
                  <a:gd name="T74" fmla="*/ 226 w 337"/>
                  <a:gd name="T75" fmla="*/ 78 h 277"/>
                  <a:gd name="T76" fmla="*/ 235 w 337"/>
                  <a:gd name="T77" fmla="*/ 87 h 277"/>
                  <a:gd name="T78" fmla="*/ 235 w 337"/>
                  <a:gd name="T79" fmla="*/ 89 h 277"/>
                  <a:gd name="T80" fmla="*/ 246 w 337"/>
                  <a:gd name="T81" fmla="*/ 98 h 277"/>
                  <a:gd name="T82" fmla="*/ 248 w 337"/>
                  <a:gd name="T83" fmla="*/ 107 h 277"/>
                  <a:gd name="T84" fmla="*/ 248 w 337"/>
                  <a:gd name="T85" fmla="*/ 112 h 277"/>
                  <a:gd name="T86" fmla="*/ 255 w 337"/>
                  <a:gd name="T87" fmla="*/ 128 h 277"/>
                  <a:gd name="T88" fmla="*/ 257 w 337"/>
                  <a:gd name="T89" fmla="*/ 132 h 277"/>
                  <a:gd name="T90" fmla="*/ 260 w 337"/>
                  <a:gd name="T91" fmla="*/ 13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7" h="277">
                    <a:moveTo>
                      <a:pt x="269" y="135"/>
                    </a:moveTo>
                    <a:lnTo>
                      <a:pt x="267" y="137"/>
                    </a:lnTo>
                    <a:lnTo>
                      <a:pt x="267" y="137"/>
                    </a:lnTo>
                    <a:lnTo>
                      <a:pt x="269" y="139"/>
                    </a:lnTo>
                    <a:lnTo>
                      <a:pt x="267" y="141"/>
                    </a:lnTo>
                    <a:lnTo>
                      <a:pt x="267" y="143"/>
                    </a:lnTo>
                    <a:lnTo>
                      <a:pt x="269" y="143"/>
                    </a:lnTo>
                    <a:lnTo>
                      <a:pt x="271" y="143"/>
                    </a:lnTo>
                    <a:lnTo>
                      <a:pt x="271" y="146"/>
                    </a:lnTo>
                    <a:lnTo>
                      <a:pt x="287" y="166"/>
                    </a:lnTo>
                    <a:lnTo>
                      <a:pt x="328" y="171"/>
                    </a:lnTo>
                    <a:lnTo>
                      <a:pt x="330" y="169"/>
                    </a:lnTo>
                    <a:lnTo>
                      <a:pt x="330" y="169"/>
                    </a:lnTo>
                    <a:lnTo>
                      <a:pt x="337" y="182"/>
                    </a:lnTo>
                    <a:lnTo>
                      <a:pt x="326" y="216"/>
                    </a:lnTo>
                    <a:lnTo>
                      <a:pt x="278" y="234"/>
                    </a:lnTo>
                    <a:lnTo>
                      <a:pt x="278" y="234"/>
                    </a:lnTo>
                    <a:lnTo>
                      <a:pt x="232" y="239"/>
                    </a:lnTo>
                    <a:lnTo>
                      <a:pt x="217" y="246"/>
                    </a:lnTo>
                    <a:lnTo>
                      <a:pt x="207" y="259"/>
                    </a:lnTo>
                    <a:lnTo>
                      <a:pt x="207" y="266"/>
                    </a:lnTo>
                    <a:lnTo>
                      <a:pt x="201" y="268"/>
                    </a:lnTo>
                    <a:lnTo>
                      <a:pt x="198" y="268"/>
                    </a:lnTo>
                    <a:lnTo>
                      <a:pt x="194" y="260"/>
                    </a:lnTo>
                    <a:lnTo>
                      <a:pt x="155" y="259"/>
                    </a:lnTo>
                    <a:lnTo>
                      <a:pt x="148" y="266"/>
                    </a:lnTo>
                    <a:lnTo>
                      <a:pt x="141" y="266"/>
                    </a:lnTo>
                    <a:lnTo>
                      <a:pt x="139" y="268"/>
                    </a:lnTo>
                    <a:lnTo>
                      <a:pt x="139" y="269"/>
                    </a:lnTo>
                    <a:lnTo>
                      <a:pt x="134" y="271"/>
                    </a:lnTo>
                    <a:lnTo>
                      <a:pt x="134" y="273"/>
                    </a:lnTo>
                    <a:lnTo>
                      <a:pt x="132" y="275"/>
                    </a:lnTo>
                    <a:lnTo>
                      <a:pt x="130" y="277"/>
                    </a:lnTo>
                    <a:lnTo>
                      <a:pt x="130" y="277"/>
                    </a:lnTo>
                    <a:lnTo>
                      <a:pt x="128" y="275"/>
                    </a:lnTo>
                    <a:lnTo>
                      <a:pt x="128" y="271"/>
                    </a:lnTo>
                    <a:lnTo>
                      <a:pt x="125" y="266"/>
                    </a:lnTo>
                    <a:lnTo>
                      <a:pt x="125" y="264"/>
                    </a:lnTo>
                    <a:lnTo>
                      <a:pt x="123" y="262"/>
                    </a:lnTo>
                    <a:lnTo>
                      <a:pt x="121" y="259"/>
                    </a:lnTo>
                    <a:lnTo>
                      <a:pt x="116" y="253"/>
                    </a:lnTo>
                    <a:lnTo>
                      <a:pt x="114" y="252"/>
                    </a:lnTo>
                    <a:lnTo>
                      <a:pt x="107" y="239"/>
                    </a:lnTo>
                    <a:lnTo>
                      <a:pt x="105" y="237"/>
                    </a:lnTo>
                    <a:lnTo>
                      <a:pt x="105" y="237"/>
                    </a:lnTo>
                    <a:lnTo>
                      <a:pt x="103" y="230"/>
                    </a:lnTo>
                    <a:lnTo>
                      <a:pt x="94" y="216"/>
                    </a:lnTo>
                    <a:lnTo>
                      <a:pt x="85" y="210"/>
                    </a:lnTo>
                    <a:lnTo>
                      <a:pt x="85" y="210"/>
                    </a:lnTo>
                    <a:lnTo>
                      <a:pt x="78" y="207"/>
                    </a:lnTo>
                    <a:lnTo>
                      <a:pt x="75" y="205"/>
                    </a:lnTo>
                    <a:lnTo>
                      <a:pt x="71" y="185"/>
                    </a:lnTo>
                    <a:lnTo>
                      <a:pt x="69" y="184"/>
                    </a:lnTo>
                    <a:lnTo>
                      <a:pt x="69" y="182"/>
                    </a:lnTo>
                    <a:lnTo>
                      <a:pt x="69" y="182"/>
                    </a:lnTo>
                    <a:lnTo>
                      <a:pt x="71" y="175"/>
                    </a:lnTo>
                    <a:lnTo>
                      <a:pt x="69" y="169"/>
                    </a:lnTo>
                    <a:lnTo>
                      <a:pt x="67" y="168"/>
                    </a:lnTo>
                    <a:lnTo>
                      <a:pt x="60" y="152"/>
                    </a:lnTo>
                    <a:lnTo>
                      <a:pt x="51" y="144"/>
                    </a:lnTo>
                    <a:lnTo>
                      <a:pt x="51" y="144"/>
                    </a:lnTo>
                    <a:lnTo>
                      <a:pt x="51" y="143"/>
                    </a:lnTo>
                    <a:lnTo>
                      <a:pt x="50" y="141"/>
                    </a:lnTo>
                    <a:lnTo>
                      <a:pt x="48" y="141"/>
                    </a:lnTo>
                    <a:lnTo>
                      <a:pt x="46" y="143"/>
                    </a:lnTo>
                    <a:lnTo>
                      <a:pt x="44" y="141"/>
                    </a:lnTo>
                    <a:lnTo>
                      <a:pt x="44" y="139"/>
                    </a:lnTo>
                    <a:lnTo>
                      <a:pt x="41" y="135"/>
                    </a:lnTo>
                    <a:lnTo>
                      <a:pt x="41" y="132"/>
                    </a:lnTo>
                    <a:lnTo>
                      <a:pt x="41" y="132"/>
                    </a:lnTo>
                    <a:lnTo>
                      <a:pt x="35" y="116"/>
                    </a:lnTo>
                    <a:lnTo>
                      <a:pt x="32" y="116"/>
                    </a:lnTo>
                    <a:lnTo>
                      <a:pt x="32" y="114"/>
                    </a:lnTo>
                    <a:lnTo>
                      <a:pt x="32" y="112"/>
                    </a:lnTo>
                    <a:lnTo>
                      <a:pt x="28" y="109"/>
                    </a:lnTo>
                    <a:lnTo>
                      <a:pt x="25" y="102"/>
                    </a:lnTo>
                    <a:lnTo>
                      <a:pt x="23" y="98"/>
                    </a:lnTo>
                    <a:lnTo>
                      <a:pt x="21" y="98"/>
                    </a:lnTo>
                    <a:lnTo>
                      <a:pt x="17" y="93"/>
                    </a:lnTo>
                    <a:lnTo>
                      <a:pt x="17" y="91"/>
                    </a:lnTo>
                    <a:lnTo>
                      <a:pt x="9" y="77"/>
                    </a:lnTo>
                    <a:lnTo>
                      <a:pt x="7" y="75"/>
                    </a:lnTo>
                    <a:lnTo>
                      <a:pt x="1" y="75"/>
                    </a:lnTo>
                    <a:lnTo>
                      <a:pt x="1" y="73"/>
                    </a:lnTo>
                    <a:lnTo>
                      <a:pt x="0" y="75"/>
                    </a:lnTo>
                    <a:lnTo>
                      <a:pt x="0" y="75"/>
                    </a:lnTo>
                    <a:lnTo>
                      <a:pt x="3" y="68"/>
                    </a:lnTo>
                    <a:lnTo>
                      <a:pt x="3" y="59"/>
                    </a:lnTo>
                    <a:lnTo>
                      <a:pt x="5" y="55"/>
                    </a:lnTo>
                    <a:lnTo>
                      <a:pt x="5" y="52"/>
                    </a:lnTo>
                    <a:lnTo>
                      <a:pt x="5" y="53"/>
                    </a:lnTo>
                    <a:lnTo>
                      <a:pt x="23" y="55"/>
                    </a:lnTo>
                    <a:lnTo>
                      <a:pt x="28" y="52"/>
                    </a:lnTo>
                    <a:lnTo>
                      <a:pt x="34" y="43"/>
                    </a:lnTo>
                    <a:lnTo>
                      <a:pt x="44" y="41"/>
                    </a:lnTo>
                    <a:lnTo>
                      <a:pt x="48" y="34"/>
                    </a:lnTo>
                    <a:lnTo>
                      <a:pt x="53" y="30"/>
                    </a:lnTo>
                    <a:lnTo>
                      <a:pt x="53" y="28"/>
                    </a:lnTo>
                    <a:lnTo>
                      <a:pt x="35" y="12"/>
                    </a:lnTo>
                    <a:lnTo>
                      <a:pt x="67" y="5"/>
                    </a:lnTo>
                    <a:lnTo>
                      <a:pt x="73" y="0"/>
                    </a:lnTo>
                    <a:lnTo>
                      <a:pt x="132" y="27"/>
                    </a:lnTo>
                    <a:lnTo>
                      <a:pt x="135" y="32"/>
                    </a:lnTo>
                    <a:lnTo>
                      <a:pt x="142" y="34"/>
                    </a:lnTo>
                    <a:lnTo>
                      <a:pt x="144" y="34"/>
                    </a:lnTo>
                    <a:lnTo>
                      <a:pt x="144" y="44"/>
                    </a:lnTo>
                    <a:lnTo>
                      <a:pt x="144" y="46"/>
                    </a:lnTo>
                    <a:lnTo>
                      <a:pt x="162" y="55"/>
                    </a:lnTo>
                    <a:lnTo>
                      <a:pt x="191" y="57"/>
                    </a:lnTo>
                    <a:lnTo>
                      <a:pt x="205" y="60"/>
                    </a:lnTo>
                    <a:lnTo>
                      <a:pt x="207" y="62"/>
                    </a:lnTo>
                    <a:lnTo>
                      <a:pt x="210" y="66"/>
                    </a:lnTo>
                    <a:lnTo>
                      <a:pt x="219" y="66"/>
                    </a:lnTo>
                    <a:lnTo>
                      <a:pt x="226" y="78"/>
                    </a:lnTo>
                    <a:lnTo>
                      <a:pt x="228" y="80"/>
                    </a:lnTo>
                    <a:lnTo>
                      <a:pt x="230" y="84"/>
                    </a:lnTo>
                    <a:lnTo>
                      <a:pt x="235" y="87"/>
                    </a:lnTo>
                    <a:lnTo>
                      <a:pt x="235" y="87"/>
                    </a:lnTo>
                    <a:lnTo>
                      <a:pt x="233" y="87"/>
                    </a:lnTo>
                    <a:lnTo>
                      <a:pt x="235" y="89"/>
                    </a:lnTo>
                    <a:lnTo>
                      <a:pt x="235" y="93"/>
                    </a:lnTo>
                    <a:lnTo>
                      <a:pt x="237" y="93"/>
                    </a:lnTo>
                    <a:lnTo>
                      <a:pt x="246" y="98"/>
                    </a:lnTo>
                    <a:lnTo>
                      <a:pt x="246" y="100"/>
                    </a:lnTo>
                    <a:lnTo>
                      <a:pt x="246" y="103"/>
                    </a:lnTo>
                    <a:lnTo>
                      <a:pt x="248" y="107"/>
                    </a:lnTo>
                    <a:lnTo>
                      <a:pt x="250" y="109"/>
                    </a:lnTo>
                    <a:lnTo>
                      <a:pt x="250" y="110"/>
                    </a:lnTo>
                    <a:lnTo>
                      <a:pt x="248" y="112"/>
                    </a:lnTo>
                    <a:lnTo>
                      <a:pt x="248" y="116"/>
                    </a:lnTo>
                    <a:lnTo>
                      <a:pt x="253" y="123"/>
                    </a:lnTo>
                    <a:lnTo>
                      <a:pt x="255" y="128"/>
                    </a:lnTo>
                    <a:lnTo>
                      <a:pt x="257" y="130"/>
                    </a:lnTo>
                    <a:lnTo>
                      <a:pt x="257" y="132"/>
                    </a:lnTo>
                    <a:lnTo>
                      <a:pt x="257" y="132"/>
                    </a:lnTo>
                    <a:lnTo>
                      <a:pt x="258" y="134"/>
                    </a:lnTo>
                    <a:lnTo>
                      <a:pt x="258" y="134"/>
                    </a:lnTo>
                    <a:lnTo>
                      <a:pt x="260" y="137"/>
                    </a:lnTo>
                    <a:lnTo>
                      <a:pt x="262" y="139"/>
                    </a:lnTo>
                    <a:lnTo>
                      <a:pt x="269" y="13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70" name="Freeform 2320"/>
              <p:cNvSpPr>
                <a:spLocks/>
              </p:cNvSpPr>
              <p:nvPr/>
            </p:nvSpPr>
            <p:spPr bwMode="auto">
              <a:xfrm>
                <a:off x="3508" y="2281"/>
                <a:ext cx="13" cy="28"/>
              </a:xfrm>
              <a:custGeom>
                <a:avLst/>
                <a:gdLst>
                  <a:gd name="T0" fmla="*/ 4 w 13"/>
                  <a:gd name="T1" fmla="*/ 28 h 28"/>
                  <a:gd name="T2" fmla="*/ 11 w 13"/>
                  <a:gd name="T3" fmla="*/ 26 h 28"/>
                  <a:gd name="T4" fmla="*/ 11 w 13"/>
                  <a:gd name="T5" fmla="*/ 26 h 28"/>
                  <a:gd name="T6" fmla="*/ 11 w 13"/>
                  <a:gd name="T7" fmla="*/ 25 h 28"/>
                  <a:gd name="T8" fmla="*/ 13 w 13"/>
                  <a:gd name="T9" fmla="*/ 21 h 28"/>
                  <a:gd name="T10" fmla="*/ 13 w 13"/>
                  <a:gd name="T11" fmla="*/ 21 h 28"/>
                  <a:gd name="T12" fmla="*/ 13 w 13"/>
                  <a:gd name="T13" fmla="*/ 16 h 28"/>
                  <a:gd name="T14" fmla="*/ 11 w 13"/>
                  <a:gd name="T15" fmla="*/ 16 h 28"/>
                  <a:gd name="T16" fmla="*/ 11 w 13"/>
                  <a:gd name="T17" fmla="*/ 10 h 28"/>
                  <a:gd name="T18" fmla="*/ 13 w 13"/>
                  <a:gd name="T19" fmla="*/ 10 h 28"/>
                  <a:gd name="T20" fmla="*/ 11 w 13"/>
                  <a:gd name="T21" fmla="*/ 9 h 28"/>
                  <a:gd name="T22" fmla="*/ 13 w 13"/>
                  <a:gd name="T23" fmla="*/ 7 h 28"/>
                  <a:gd name="T24" fmla="*/ 13 w 13"/>
                  <a:gd name="T25" fmla="*/ 7 h 28"/>
                  <a:gd name="T26" fmla="*/ 13 w 13"/>
                  <a:gd name="T27" fmla="*/ 5 h 28"/>
                  <a:gd name="T28" fmla="*/ 13 w 13"/>
                  <a:gd name="T29" fmla="*/ 5 h 28"/>
                  <a:gd name="T30" fmla="*/ 11 w 13"/>
                  <a:gd name="T31" fmla="*/ 3 h 28"/>
                  <a:gd name="T32" fmla="*/ 9 w 13"/>
                  <a:gd name="T33" fmla="*/ 1 h 28"/>
                  <a:gd name="T34" fmla="*/ 9 w 13"/>
                  <a:gd name="T35" fmla="*/ 1 h 28"/>
                  <a:gd name="T36" fmla="*/ 8 w 13"/>
                  <a:gd name="T37" fmla="*/ 0 h 28"/>
                  <a:gd name="T38" fmla="*/ 6 w 13"/>
                  <a:gd name="T39" fmla="*/ 1 h 28"/>
                  <a:gd name="T40" fmla="*/ 2 w 13"/>
                  <a:gd name="T41" fmla="*/ 10 h 28"/>
                  <a:gd name="T42" fmla="*/ 0 w 13"/>
                  <a:gd name="T43" fmla="*/ 12 h 28"/>
                  <a:gd name="T44" fmla="*/ 0 w 13"/>
                  <a:gd name="T45" fmla="*/ 16 h 28"/>
                  <a:gd name="T46" fmla="*/ 0 w 13"/>
                  <a:gd name="T47" fmla="*/ 16 h 28"/>
                  <a:gd name="T48" fmla="*/ 0 w 13"/>
                  <a:gd name="T49" fmla="*/ 18 h 28"/>
                  <a:gd name="T50" fmla="*/ 0 w 13"/>
                  <a:gd name="T51" fmla="*/ 19 h 28"/>
                  <a:gd name="T52" fmla="*/ 0 w 13"/>
                  <a:gd name="T53" fmla="*/ 21 h 28"/>
                  <a:gd name="T54" fmla="*/ 0 w 13"/>
                  <a:gd name="T55" fmla="*/ 23 h 28"/>
                  <a:gd name="T56" fmla="*/ 0 w 13"/>
                  <a:gd name="T57" fmla="*/ 23 h 28"/>
                  <a:gd name="T58" fmla="*/ 0 w 13"/>
                  <a:gd name="T59" fmla="*/ 25 h 28"/>
                  <a:gd name="T60" fmla="*/ 0 w 13"/>
                  <a:gd name="T61" fmla="*/ 25 h 28"/>
                  <a:gd name="T62" fmla="*/ 2 w 13"/>
                  <a:gd name="T63" fmla="*/ 28 h 28"/>
                  <a:gd name="T64" fmla="*/ 4 w 13"/>
                  <a:gd name="T6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28">
                    <a:moveTo>
                      <a:pt x="4" y="28"/>
                    </a:moveTo>
                    <a:lnTo>
                      <a:pt x="11" y="26"/>
                    </a:lnTo>
                    <a:lnTo>
                      <a:pt x="11" y="26"/>
                    </a:lnTo>
                    <a:lnTo>
                      <a:pt x="11" y="25"/>
                    </a:lnTo>
                    <a:lnTo>
                      <a:pt x="13" y="21"/>
                    </a:lnTo>
                    <a:lnTo>
                      <a:pt x="13" y="21"/>
                    </a:lnTo>
                    <a:lnTo>
                      <a:pt x="13" y="16"/>
                    </a:lnTo>
                    <a:lnTo>
                      <a:pt x="11" y="16"/>
                    </a:lnTo>
                    <a:lnTo>
                      <a:pt x="11" y="10"/>
                    </a:lnTo>
                    <a:lnTo>
                      <a:pt x="13" y="10"/>
                    </a:lnTo>
                    <a:lnTo>
                      <a:pt x="11" y="9"/>
                    </a:lnTo>
                    <a:lnTo>
                      <a:pt x="13" y="7"/>
                    </a:lnTo>
                    <a:lnTo>
                      <a:pt x="13" y="7"/>
                    </a:lnTo>
                    <a:lnTo>
                      <a:pt x="13" y="5"/>
                    </a:lnTo>
                    <a:lnTo>
                      <a:pt x="13" y="5"/>
                    </a:lnTo>
                    <a:lnTo>
                      <a:pt x="11" y="3"/>
                    </a:lnTo>
                    <a:lnTo>
                      <a:pt x="9" y="1"/>
                    </a:lnTo>
                    <a:lnTo>
                      <a:pt x="9" y="1"/>
                    </a:lnTo>
                    <a:lnTo>
                      <a:pt x="8" y="0"/>
                    </a:lnTo>
                    <a:lnTo>
                      <a:pt x="6" y="1"/>
                    </a:lnTo>
                    <a:lnTo>
                      <a:pt x="2" y="10"/>
                    </a:lnTo>
                    <a:lnTo>
                      <a:pt x="0" y="12"/>
                    </a:lnTo>
                    <a:lnTo>
                      <a:pt x="0" y="16"/>
                    </a:lnTo>
                    <a:lnTo>
                      <a:pt x="0" y="16"/>
                    </a:lnTo>
                    <a:lnTo>
                      <a:pt x="0" y="18"/>
                    </a:lnTo>
                    <a:lnTo>
                      <a:pt x="0" y="19"/>
                    </a:lnTo>
                    <a:lnTo>
                      <a:pt x="0" y="21"/>
                    </a:lnTo>
                    <a:lnTo>
                      <a:pt x="0" y="23"/>
                    </a:lnTo>
                    <a:lnTo>
                      <a:pt x="0" y="23"/>
                    </a:lnTo>
                    <a:lnTo>
                      <a:pt x="0" y="25"/>
                    </a:lnTo>
                    <a:lnTo>
                      <a:pt x="0" y="25"/>
                    </a:lnTo>
                    <a:lnTo>
                      <a:pt x="2" y="28"/>
                    </a:lnTo>
                    <a:lnTo>
                      <a:pt x="4" y="2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71" name="Freeform 2321"/>
              <p:cNvSpPr>
                <a:spLocks/>
              </p:cNvSpPr>
              <p:nvPr/>
            </p:nvSpPr>
            <p:spPr bwMode="auto">
              <a:xfrm>
                <a:off x="3508" y="2281"/>
                <a:ext cx="13" cy="28"/>
              </a:xfrm>
              <a:custGeom>
                <a:avLst/>
                <a:gdLst>
                  <a:gd name="T0" fmla="*/ 4 w 13"/>
                  <a:gd name="T1" fmla="*/ 28 h 28"/>
                  <a:gd name="T2" fmla="*/ 11 w 13"/>
                  <a:gd name="T3" fmla="*/ 26 h 28"/>
                  <a:gd name="T4" fmla="*/ 11 w 13"/>
                  <a:gd name="T5" fmla="*/ 26 h 28"/>
                  <a:gd name="T6" fmla="*/ 11 w 13"/>
                  <a:gd name="T7" fmla="*/ 25 h 28"/>
                  <a:gd name="T8" fmla="*/ 13 w 13"/>
                  <a:gd name="T9" fmla="*/ 21 h 28"/>
                  <a:gd name="T10" fmla="*/ 13 w 13"/>
                  <a:gd name="T11" fmla="*/ 21 h 28"/>
                  <a:gd name="T12" fmla="*/ 13 w 13"/>
                  <a:gd name="T13" fmla="*/ 16 h 28"/>
                  <a:gd name="T14" fmla="*/ 11 w 13"/>
                  <a:gd name="T15" fmla="*/ 16 h 28"/>
                  <a:gd name="T16" fmla="*/ 11 w 13"/>
                  <a:gd name="T17" fmla="*/ 10 h 28"/>
                  <a:gd name="T18" fmla="*/ 13 w 13"/>
                  <a:gd name="T19" fmla="*/ 10 h 28"/>
                  <a:gd name="T20" fmla="*/ 11 w 13"/>
                  <a:gd name="T21" fmla="*/ 9 h 28"/>
                  <a:gd name="T22" fmla="*/ 13 w 13"/>
                  <a:gd name="T23" fmla="*/ 7 h 28"/>
                  <a:gd name="T24" fmla="*/ 13 w 13"/>
                  <a:gd name="T25" fmla="*/ 7 h 28"/>
                  <a:gd name="T26" fmla="*/ 13 w 13"/>
                  <a:gd name="T27" fmla="*/ 5 h 28"/>
                  <a:gd name="T28" fmla="*/ 13 w 13"/>
                  <a:gd name="T29" fmla="*/ 5 h 28"/>
                  <a:gd name="T30" fmla="*/ 11 w 13"/>
                  <a:gd name="T31" fmla="*/ 3 h 28"/>
                  <a:gd name="T32" fmla="*/ 9 w 13"/>
                  <a:gd name="T33" fmla="*/ 1 h 28"/>
                  <a:gd name="T34" fmla="*/ 9 w 13"/>
                  <a:gd name="T35" fmla="*/ 1 h 28"/>
                  <a:gd name="T36" fmla="*/ 8 w 13"/>
                  <a:gd name="T37" fmla="*/ 0 h 28"/>
                  <a:gd name="T38" fmla="*/ 6 w 13"/>
                  <a:gd name="T39" fmla="*/ 1 h 28"/>
                  <a:gd name="T40" fmla="*/ 2 w 13"/>
                  <a:gd name="T41" fmla="*/ 10 h 28"/>
                  <a:gd name="T42" fmla="*/ 0 w 13"/>
                  <a:gd name="T43" fmla="*/ 12 h 28"/>
                  <a:gd name="T44" fmla="*/ 0 w 13"/>
                  <a:gd name="T45" fmla="*/ 16 h 28"/>
                  <a:gd name="T46" fmla="*/ 0 w 13"/>
                  <a:gd name="T47" fmla="*/ 16 h 28"/>
                  <a:gd name="T48" fmla="*/ 0 w 13"/>
                  <a:gd name="T49" fmla="*/ 18 h 28"/>
                  <a:gd name="T50" fmla="*/ 0 w 13"/>
                  <a:gd name="T51" fmla="*/ 19 h 28"/>
                  <a:gd name="T52" fmla="*/ 0 w 13"/>
                  <a:gd name="T53" fmla="*/ 21 h 28"/>
                  <a:gd name="T54" fmla="*/ 0 w 13"/>
                  <a:gd name="T55" fmla="*/ 23 h 28"/>
                  <a:gd name="T56" fmla="*/ 0 w 13"/>
                  <a:gd name="T57" fmla="*/ 23 h 28"/>
                  <a:gd name="T58" fmla="*/ 0 w 13"/>
                  <a:gd name="T59" fmla="*/ 25 h 28"/>
                  <a:gd name="T60" fmla="*/ 0 w 13"/>
                  <a:gd name="T61" fmla="*/ 25 h 28"/>
                  <a:gd name="T62" fmla="*/ 2 w 13"/>
                  <a:gd name="T63" fmla="*/ 28 h 28"/>
                  <a:gd name="T64" fmla="*/ 4 w 13"/>
                  <a:gd name="T6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28">
                    <a:moveTo>
                      <a:pt x="4" y="28"/>
                    </a:moveTo>
                    <a:lnTo>
                      <a:pt x="11" y="26"/>
                    </a:lnTo>
                    <a:lnTo>
                      <a:pt x="11" y="26"/>
                    </a:lnTo>
                    <a:lnTo>
                      <a:pt x="11" y="25"/>
                    </a:lnTo>
                    <a:lnTo>
                      <a:pt x="13" y="21"/>
                    </a:lnTo>
                    <a:lnTo>
                      <a:pt x="13" y="21"/>
                    </a:lnTo>
                    <a:lnTo>
                      <a:pt x="13" y="16"/>
                    </a:lnTo>
                    <a:lnTo>
                      <a:pt x="11" y="16"/>
                    </a:lnTo>
                    <a:lnTo>
                      <a:pt x="11" y="10"/>
                    </a:lnTo>
                    <a:lnTo>
                      <a:pt x="13" y="10"/>
                    </a:lnTo>
                    <a:lnTo>
                      <a:pt x="11" y="9"/>
                    </a:lnTo>
                    <a:lnTo>
                      <a:pt x="13" y="7"/>
                    </a:lnTo>
                    <a:lnTo>
                      <a:pt x="13" y="7"/>
                    </a:lnTo>
                    <a:lnTo>
                      <a:pt x="13" y="5"/>
                    </a:lnTo>
                    <a:lnTo>
                      <a:pt x="13" y="5"/>
                    </a:lnTo>
                    <a:lnTo>
                      <a:pt x="11" y="3"/>
                    </a:lnTo>
                    <a:lnTo>
                      <a:pt x="9" y="1"/>
                    </a:lnTo>
                    <a:lnTo>
                      <a:pt x="9" y="1"/>
                    </a:lnTo>
                    <a:lnTo>
                      <a:pt x="8" y="0"/>
                    </a:lnTo>
                    <a:lnTo>
                      <a:pt x="6" y="1"/>
                    </a:lnTo>
                    <a:lnTo>
                      <a:pt x="2" y="10"/>
                    </a:lnTo>
                    <a:lnTo>
                      <a:pt x="0" y="12"/>
                    </a:lnTo>
                    <a:lnTo>
                      <a:pt x="0" y="16"/>
                    </a:lnTo>
                    <a:lnTo>
                      <a:pt x="0" y="16"/>
                    </a:lnTo>
                    <a:lnTo>
                      <a:pt x="0" y="18"/>
                    </a:lnTo>
                    <a:lnTo>
                      <a:pt x="0" y="19"/>
                    </a:lnTo>
                    <a:lnTo>
                      <a:pt x="0" y="21"/>
                    </a:lnTo>
                    <a:lnTo>
                      <a:pt x="0" y="23"/>
                    </a:lnTo>
                    <a:lnTo>
                      <a:pt x="0" y="23"/>
                    </a:lnTo>
                    <a:lnTo>
                      <a:pt x="0" y="25"/>
                    </a:lnTo>
                    <a:lnTo>
                      <a:pt x="0" y="25"/>
                    </a:lnTo>
                    <a:lnTo>
                      <a:pt x="2" y="28"/>
                    </a:lnTo>
                    <a:lnTo>
                      <a:pt x="4" y="2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72" name="Freeform 2322"/>
              <p:cNvSpPr>
                <a:spLocks/>
              </p:cNvSpPr>
              <p:nvPr/>
            </p:nvSpPr>
            <p:spPr bwMode="auto">
              <a:xfrm>
                <a:off x="3253" y="2165"/>
                <a:ext cx="11" cy="23"/>
              </a:xfrm>
              <a:custGeom>
                <a:avLst/>
                <a:gdLst>
                  <a:gd name="T0" fmla="*/ 9 w 11"/>
                  <a:gd name="T1" fmla="*/ 19 h 23"/>
                  <a:gd name="T2" fmla="*/ 9 w 11"/>
                  <a:gd name="T3" fmla="*/ 19 h 23"/>
                  <a:gd name="T4" fmla="*/ 11 w 11"/>
                  <a:gd name="T5" fmla="*/ 14 h 23"/>
                  <a:gd name="T6" fmla="*/ 9 w 11"/>
                  <a:gd name="T7" fmla="*/ 12 h 23"/>
                  <a:gd name="T8" fmla="*/ 11 w 11"/>
                  <a:gd name="T9" fmla="*/ 3 h 23"/>
                  <a:gd name="T10" fmla="*/ 11 w 11"/>
                  <a:gd name="T11" fmla="*/ 3 h 23"/>
                  <a:gd name="T12" fmla="*/ 9 w 11"/>
                  <a:gd name="T13" fmla="*/ 3 h 23"/>
                  <a:gd name="T14" fmla="*/ 9 w 11"/>
                  <a:gd name="T15" fmla="*/ 1 h 23"/>
                  <a:gd name="T16" fmla="*/ 9 w 11"/>
                  <a:gd name="T17" fmla="*/ 0 h 23"/>
                  <a:gd name="T18" fmla="*/ 7 w 11"/>
                  <a:gd name="T19" fmla="*/ 0 h 23"/>
                  <a:gd name="T20" fmla="*/ 4 w 11"/>
                  <a:gd name="T21" fmla="*/ 0 h 23"/>
                  <a:gd name="T22" fmla="*/ 4 w 11"/>
                  <a:gd name="T23" fmla="*/ 0 h 23"/>
                  <a:gd name="T24" fmla="*/ 4 w 11"/>
                  <a:gd name="T25" fmla="*/ 1 h 23"/>
                  <a:gd name="T26" fmla="*/ 2 w 11"/>
                  <a:gd name="T27" fmla="*/ 3 h 23"/>
                  <a:gd name="T28" fmla="*/ 2 w 11"/>
                  <a:gd name="T29" fmla="*/ 5 h 23"/>
                  <a:gd name="T30" fmla="*/ 2 w 11"/>
                  <a:gd name="T31" fmla="*/ 10 h 23"/>
                  <a:gd name="T32" fmla="*/ 2 w 11"/>
                  <a:gd name="T33" fmla="*/ 12 h 23"/>
                  <a:gd name="T34" fmla="*/ 2 w 11"/>
                  <a:gd name="T35" fmla="*/ 14 h 23"/>
                  <a:gd name="T36" fmla="*/ 4 w 11"/>
                  <a:gd name="T37" fmla="*/ 12 h 23"/>
                  <a:gd name="T38" fmla="*/ 6 w 11"/>
                  <a:gd name="T39" fmla="*/ 14 h 23"/>
                  <a:gd name="T40" fmla="*/ 6 w 11"/>
                  <a:gd name="T41" fmla="*/ 14 h 23"/>
                  <a:gd name="T42" fmla="*/ 6 w 11"/>
                  <a:gd name="T43" fmla="*/ 14 h 23"/>
                  <a:gd name="T44" fmla="*/ 4 w 11"/>
                  <a:gd name="T45" fmla="*/ 14 h 23"/>
                  <a:gd name="T46" fmla="*/ 2 w 11"/>
                  <a:gd name="T47" fmla="*/ 16 h 23"/>
                  <a:gd name="T48" fmla="*/ 2 w 11"/>
                  <a:gd name="T49" fmla="*/ 19 h 23"/>
                  <a:gd name="T50" fmla="*/ 0 w 11"/>
                  <a:gd name="T51" fmla="*/ 19 h 23"/>
                  <a:gd name="T52" fmla="*/ 0 w 11"/>
                  <a:gd name="T53" fmla="*/ 21 h 23"/>
                  <a:gd name="T54" fmla="*/ 0 w 11"/>
                  <a:gd name="T55" fmla="*/ 23 h 23"/>
                  <a:gd name="T56" fmla="*/ 2 w 11"/>
                  <a:gd name="T57" fmla="*/ 23 h 23"/>
                  <a:gd name="T58" fmla="*/ 4 w 11"/>
                  <a:gd name="T59" fmla="*/ 21 h 23"/>
                  <a:gd name="T60" fmla="*/ 7 w 11"/>
                  <a:gd name="T61" fmla="*/ 19 h 23"/>
                  <a:gd name="T62" fmla="*/ 9 w 11"/>
                  <a:gd name="T6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 h="23">
                    <a:moveTo>
                      <a:pt x="9" y="19"/>
                    </a:moveTo>
                    <a:lnTo>
                      <a:pt x="9" y="19"/>
                    </a:lnTo>
                    <a:lnTo>
                      <a:pt x="11" y="14"/>
                    </a:lnTo>
                    <a:lnTo>
                      <a:pt x="9" y="12"/>
                    </a:lnTo>
                    <a:lnTo>
                      <a:pt x="11" y="3"/>
                    </a:lnTo>
                    <a:lnTo>
                      <a:pt x="11" y="3"/>
                    </a:lnTo>
                    <a:lnTo>
                      <a:pt x="9" y="3"/>
                    </a:lnTo>
                    <a:lnTo>
                      <a:pt x="9" y="1"/>
                    </a:lnTo>
                    <a:lnTo>
                      <a:pt x="9" y="0"/>
                    </a:lnTo>
                    <a:lnTo>
                      <a:pt x="7" y="0"/>
                    </a:lnTo>
                    <a:lnTo>
                      <a:pt x="4" y="0"/>
                    </a:lnTo>
                    <a:lnTo>
                      <a:pt x="4" y="0"/>
                    </a:lnTo>
                    <a:lnTo>
                      <a:pt x="4" y="1"/>
                    </a:lnTo>
                    <a:lnTo>
                      <a:pt x="2" y="3"/>
                    </a:lnTo>
                    <a:lnTo>
                      <a:pt x="2" y="5"/>
                    </a:lnTo>
                    <a:lnTo>
                      <a:pt x="2" y="10"/>
                    </a:lnTo>
                    <a:lnTo>
                      <a:pt x="2" y="12"/>
                    </a:lnTo>
                    <a:lnTo>
                      <a:pt x="2" y="14"/>
                    </a:lnTo>
                    <a:lnTo>
                      <a:pt x="4" y="12"/>
                    </a:lnTo>
                    <a:lnTo>
                      <a:pt x="6" y="14"/>
                    </a:lnTo>
                    <a:lnTo>
                      <a:pt x="6" y="14"/>
                    </a:lnTo>
                    <a:lnTo>
                      <a:pt x="6" y="14"/>
                    </a:lnTo>
                    <a:lnTo>
                      <a:pt x="4" y="14"/>
                    </a:lnTo>
                    <a:lnTo>
                      <a:pt x="2" y="16"/>
                    </a:lnTo>
                    <a:lnTo>
                      <a:pt x="2" y="19"/>
                    </a:lnTo>
                    <a:lnTo>
                      <a:pt x="0" y="19"/>
                    </a:lnTo>
                    <a:lnTo>
                      <a:pt x="0" y="21"/>
                    </a:lnTo>
                    <a:lnTo>
                      <a:pt x="0" y="23"/>
                    </a:lnTo>
                    <a:lnTo>
                      <a:pt x="2" y="23"/>
                    </a:lnTo>
                    <a:lnTo>
                      <a:pt x="4" y="21"/>
                    </a:lnTo>
                    <a:lnTo>
                      <a:pt x="7" y="19"/>
                    </a:lnTo>
                    <a:lnTo>
                      <a:pt x="9" y="1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73" name="Freeform 2323"/>
              <p:cNvSpPr>
                <a:spLocks/>
              </p:cNvSpPr>
              <p:nvPr/>
            </p:nvSpPr>
            <p:spPr bwMode="auto">
              <a:xfrm>
                <a:off x="3253" y="2165"/>
                <a:ext cx="11" cy="23"/>
              </a:xfrm>
              <a:custGeom>
                <a:avLst/>
                <a:gdLst>
                  <a:gd name="T0" fmla="*/ 9 w 11"/>
                  <a:gd name="T1" fmla="*/ 19 h 23"/>
                  <a:gd name="T2" fmla="*/ 9 w 11"/>
                  <a:gd name="T3" fmla="*/ 19 h 23"/>
                  <a:gd name="T4" fmla="*/ 11 w 11"/>
                  <a:gd name="T5" fmla="*/ 14 h 23"/>
                  <a:gd name="T6" fmla="*/ 9 w 11"/>
                  <a:gd name="T7" fmla="*/ 12 h 23"/>
                  <a:gd name="T8" fmla="*/ 11 w 11"/>
                  <a:gd name="T9" fmla="*/ 3 h 23"/>
                  <a:gd name="T10" fmla="*/ 11 w 11"/>
                  <a:gd name="T11" fmla="*/ 3 h 23"/>
                  <a:gd name="T12" fmla="*/ 9 w 11"/>
                  <a:gd name="T13" fmla="*/ 3 h 23"/>
                  <a:gd name="T14" fmla="*/ 9 w 11"/>
                  <a:gd name="T15" fmla="*/ 1 h 23"/>
                  <a:gd name="T16" fmla="*/ 9 w 11"/>
                  <a:gd name="T17" fmla="*/ 0 h 23"/>
                  <a:gd name="T18" fmla="*/ 7 w 11"/>
                  <a:gd name="T19" fmla="*/ 0 h 23"/>
                  <a:gd name="T20" fmla="*/ 4 w 11"/>
                  <a:gd name="T21" fmla="*/ 0 h 23"/>
                  <a:gd name="T22" fmla="*/ 4 w 11"/>
                  <a:gd name="T23" fmla="*/ 0 h 23"/>
                  <a:gd name="T24" fmla="*/ 4 w 11"/>
                  <a:gd name="T25" fmla="*/ 1 h 23"/>
                  <a:gd name="T26" fmla="*/ 2 w 11"/>
                  <a:gd name="T27" fmla="*/ 3 h 23"/>
                  <a:gd name="T28" fmla="*/ 2 w 11"/>
                  <a:gd name="T29" fmla="*/ 5 h 23"/>
                  <a:gd name="T30" fmla="*/ 2 w 11"/>
                  <a:gd name="T31" fmla="*/ 10 h 23"/>
                  <a:gd name="T32" fmla="*/ 2 w 11"/>
                  <a:gd name="T33" fmla="*/ 12 h 23"/>
                  <a:gd name="T34" fmla="*/ 2 w 11"/>
                  <a:gd name="T35" fmla="*/ 14 h 23"/>
                  <a:gd name="T36" fmla="*/ 4 w 11"/>
                  <a:gd name="T37" fmla="*/ 12 h 23"/>
                  <a:gd name="T38" fmla="*/ 6 w 11"/>
                  <a:gd name="T39" fmla="*/ 14 h 23"/>
                  <a:gd name="T40" fmla="*/ 6 w 11"/>
                  <a:gd name="T41" fmla="*/ 14 h 23"/>
                  <a:gd name="T42" fmla="*/ 6 w 11"/>
                  <a:gd name="T43" fmla="*/ 14 h 23"/>
                  <a:gd name="T44" fmla="*/ 4 w 11"/>
                  <a:gd name="T45" fmla="*/ 14 h 23"/>
                  <a:gd name="T46" fmla="*/ 2 w 11"/>
                  <a:gd name="T47" fmla="*/ 16 h 23"/>
                  <a:gd name="T48" fmla="*/ 2 w 11"/>
                  <a:gd name="T49" fmla="*/ 19 h 23"/>
                  <a:gd name="T50" fmla="*/ 0 w 11"/>
                  <a:gd name="T51" fmla="*/ 19 h 23"/>
                  <a:gd name="T52" fmla="*/ 0 w 11"/>
                  <a:gd name="T53" fmla="*/ 21 h 23"/>
                  <a:gd name="T54" fmla="*/ 0 w 11"/>
                  <a:gd name="T55" fmla="*/ 23 h 23"/>
                  <a:gd name="T56" fmla="*/ 2 w 11"/>
                  <a:gd name="T57" fmla="*/ 23 h 23"/>
                  <a:gd name="T58" fmla="*/ 4 w 11"/>
                  <a:gd name="T59" fmla="*/ 21 h 23"/>
                  <a:gd name="T60" fmla="*/ 7 w 11"/>
                  <a:gd name="T61" fmla="*/ 19 h 23"/>
                  <a:gd name="T62" fmla="*/ 9 w 11"/>
                  <a:gd name="T6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 h="23">
                    <a:moveTo>
                      <a:pt x="9" y="19"/>
                    </a:moveTo>
                    <a:lnTo>
                      <a:pt x="9" y="19"/>
                    </a:lnTo>
                    <a:lnTo>
                      <a:pt x="11" y="14"/>
                    </a:lnTo>
                    <a:lnTo>
                      <a:pt x="9" y="12"/>
                    </a:lnTo>
                    <a:lnTo>
                      <a:pt x="11" y="3"/>
                    </a:lnTo>
                    <a:lnTo>
                      <a:pt x="11" y="3"/>
                    </a:lnTo>
                    <a:lnTo>
                      <a:pt x="9" y="3"/>
                    </a:lnTo>
                    <a:lnTo>
                      <a:pt x="9" y="1"/>
                    </a:lnTo>
                    <a:lnTo>
                      <a:pt x="9" y="0"/>
                    </a:lnTo>
                    <a:lnTo>
                      <a:pt x="7" y="0"/>
                    </a:lnTo>
                    <a:lnTo>
                      <a:pt x="4" y="0"/>
                    </a:lnTo>
                    <a:lnTo>
                      <a:pt x="4" y="0"/>
                    </a:lnTo>
                    <a:lnTo>
                      <a:pt x="4" y="1"/>
                    </a:lnTo>
                    <a:lnTo>
                      <a:pt x="2" y="3"/>
                    </a:lnTo>
                    <a:lnTo>
                      <a:pt x="2" y="5"/>
                    </a:lnTo>
                    <a:lnTo>
                      <a:pt x="2" y="10"/>
                    </a:lnTo>
                    <a:lnTo>
                      <a:pt x="2" y="12"/>
                    </a:lnTo>
                    <a:lnTo>
                      <a:pt x="2" y="14"/>
                    </a:lnTo>
                    <a:lnTo>
                      <a:pt x="4" y="12"/>
                    </a:lnTo>
                    <a:lnTo>
                      <a:pt x="6" y="14"/>
                    </a:lnTo>
                    <a:lnTo>
                      <a:pt x="6" y="14"/>
                    </a:lnTo>
                    <a:lnTo>
                      <a:pt x="6" y="14"/>
                    </a:lnTo>
                    <a:lnTo>
                      <a:pt x="4" y="14"/>
                    </a:lnTo>
                    <a:lnTo>
                      <a:pt x="2" y="16"/>
                    </a:lnTo>
                    <a:lnTo>
                      <a:pt x="2" y="19"/>
                    </a:lnTo>
                    <a:lnTo>
                      <a:pt x="0" y="19"/>
                    </a:lnTo>
                    <a:lnTo>
                      <a:pt x="0" y="21"/>
                    </a:lnTo>
                    <a:lnTo>
                      <a:pt x="0" y="23"/>
                    </a:lnTo>
                    <a:lnTo>
                      <a:pt x="2" y="23"/>
                    </a:lnTo>
                    <a:lnTo>
                      <a:pt x="4" y="21"/>
                    </a:lnTo>
                    <a:lnTo>
                      <a:pt x="7" y="19"/>
                    </a:lnTo>
                    <a:lnTo>
                      <a:pt x="9" y="1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74" name="Freeform 2324"/>
              <p:cNvSpPr>
                <a:spLocks/>
              </p:cNvSpPr>
              <p:nvPr/>
            </p:nvSpPr>
            <p:spPr bwMode="auto">
              <a:xfrm>
                <a:off x="3241" y="2184"/>
                <a:ext cx="5" cy="7"/>
              </a:xfrm>
              <a:custGeom>
                <a:avLst/>
                <a:gdLst>
                  <a:gd name="T0" fmla="*/ 1 w 5"/>
                  <a:gd name="T1" fmla="*/ 7 h 7"/>
                  <a:gd name="T2" fmla="*/ 3 w 5"/>
                  <a:gd name="T3" fmla="*/ 6 h 7"/>
                  <a:gd name="T4" fmla="*/ 3 w 5"/>
                  <a:gd name="T5" fmla="*/ 4 h 7"/>
                  <a:gd name="T6" fmla="*/ 5 w 5"/>
                  <a:gd name="T7" fmla="*/ 0 h 7"/>
                  <a:gd name="T8" fmla="*/ 5 w 5"/>
                  <a:gd name="T9" fmla="*/ 0 h 7"/>
                  <a:gd name="T10" fmla="*/ 0 w 5"/>
                  <a:gd name="T11" fmla="*/ 4 h 7"/>
                  <a:gd name="T12" fmla="*/ 1 w 5"/>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1" y="7"/>
                    </a:moveTo>
                    <a:lnTo>
                      <a:pt x="3" y="6"/>
                    </a:lnTo>
                    <a:lnTo>
                      <a:pt x="3" y="4"/>
                    </a:lnTo>
                    <a:lnTo>
                      <a:pt x="5" y="0"/>
                    </a:lnTo>
                    <a:lnTo>
                      <a:pt x="5" y="0"/>
                    </a:lnTo>
                    <a:lnTo>
                      <a:pt x="0" y="4"/>
                    </a:lnTo>
                    <a:lnTo>
                      <a:pt x="1"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75" name="Freeform 2325"/>
              <p:cNvSpPr>
                <a:spLocks/>
              </p:cNvSpPr>
              <p:nvPr/>
            </p:nvSpPr>
            <p:spPr bwMode="auto">
              <a:xfrm>
                <a:off x="3241" y="2184"/>
                <a:ext cx="5" cy="7"/>
              </a:xfrm>
              <a:custGeom>
                <a:avLst/>
                <a:gdLst>
                  <a:gd name="T0" fmla="*/ 1 w 5"/>
                  <a:gd name="T1" fmla="*/ 7 h 7"/>
                  <a:gd name="T2" fmla="*/ 3 w 5"/>
                  <a:gd name="T3" fmla="*/ 6 h 7"/>
                  <a:gd name="T4" fmla="*/ 3 w 5"/>
                  <a:gd name="T5" fmla="*/ 4 h 7"/>
                  <a:gd name="T6" fmla="*/ 5 w 5"/>
                  <a:gd name="T7" fmla="*/ 0 h 7"/>
                  <a:gd name="T8" fmla="*/ 5 w 5"/>
                  <a:gd name="T9" fmla="*/ 0 h 7"/>
                  <a:gd name="T10" fmla="*/ 0 w 5"/>
                  <a:gd name="T11" fmla="*/ 4 h 7"/>
                  <a:gd name="T12" fmla="*/ 1 w 5"/>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5" h="7">
                    <a:moveTo>
                      <a:pt x="1" y="7"/>
                    </a:moveTo>
                    <a:lnTo>
                      <a:pt x="3" y="6"/>
                    </a:lnTo>
                    <a:lnTo>
                      <a:pt x="3" y="4"/>
                    </a:lnTo>
                    <a:lnTo>
                      <a:pt x="5" y="0"/>
                    </a:lnTo>
                    <a:lnTo>
                      <a:pt x="5" y="0"/>
                    </a:lnTo>
                    <a:lnTo>
                      <a:pt x="0" y="4"/>
                    </a:lnTo>
                    <a:lnTo>
                      <a:pt x="1"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76" name="Freeform 2326"/>
              <p:cNvSpPr>
                <a:spLocks/>
              </p:cNvSpPr>
              <p:nvPr/>
            </p:nvSpPr>
            <p:spPr bwMode="auto">
              <a:xfrm>
                <a:off x="3242" y="2150"/>
                <a:ext cx="24" cy="74"/>
              </a:xfrm>
              <a:custGeom>
                <a:avLst/>
                <a:gdLst>
                  <a:gd name="T0" fmla="*/ 13 w 24"/>
                  <a:gd name="T1" fmla="*/ 74 h 74"/>
                  <a:gd name="T2" fmla="*/ 17 w 24"/>
                  <a:gd name="T3" fmla="*/ 47 h 74"/>
                  <a:gd name="T4" fmla="*/ 20 w 24"/>
                  <a:gd name="T5" fmla="*/ 41 h 74"/>
                  <a:gd name="T6" fmla="*/ 20 w 24"/>
                  <a:gd name="T7" fmla="*/ 40 h 74"/>
                  <a:gd name="T8" fmla="*/ 20 w 24"/>
                  <a:gd name="T9" fmla="*/ 36 h 74"/>
                  <a:gd name="T10" fmla="*/ 20 w 24"/>
                  <a:gd name="T11" fmla="*/ 34 h 74"/>
                  <a:gd name="T12" fmla="*/ 18 w 24"/>
                  <a:gd name="T13" fmla="*/ 34 h 74"/>
                  <a:gd name="T14" fmla="*/ 15 w 24"/>
                  <a:gd name="T15" fmla="*/ 36 h 74"/>
                  <a:gd name="T16" fmla="*/ 13 w 24"/>
                  <a:gd name="T17" fmla="*/ 38 h 74"/>
                  <a:gd name="T18" fmla="*/ 11 w 24"/>
                  <a:gd name="T19" fmla="*/ 38 h 74"/>
                  <a:gd name="T20" fmla="*/ 11 w 24"/>
                  <a:gd name="T21" fmla="*/ 36 h 74"/>
                  <a:gd name="T22" fmla="*/ 11 w 24"/>
                  <a:gd name="T23" fmla="*/ 34 h 74"/>
                  <a:gd name="T24" fmla="*/ 13 w 24"/>
                  <a:gd name="T25" fmla="*/ 34 h 74"/>
                  <a:gd name="T26" fmla="*/ 13 w 24"/>
                  <a:gd name="T27" fmla="*/ 31 h 74"/>
                  <a:gd name="T28" fmla="*/ 15 w 24"/>
                  <a:gd name="T29" fmla="*/ 29 h 74"/>
                  <a:gd name="T30" fmla="*/ 17 w 24"/>
                  <a:gd name="T31" fmla="*/ 29 h 74"/>
                  <a:gd name="T32" fmla="*/ 17 w 24"/>
                  <a:gd name="T33" fmla="*/ 29 h 74"/>
                  <a:gd name="T34" fmla="*/ 17 w 24"/>
                  <a:gd name="T35" fmla="*/ 29 h 74"/>
                  <a:gd name="T36" fmla="*/ 15 w 24"/>
                  <a:gd name="T37" fmla="*/ 27 h 74"/>
                  <a:gd name="T38" fmla="*/ 13 w 24"/>
                  <a:gd name="T39" fmla="*/ 29 h 74"/>
                  <a:gd name="T40" fmla="*/ 13 w 24"/>
                  <a:gd name="T41" fmla="*/ 27 h 74"/>
                  <a:gd name="T42" fmla="*/ 13 w 24"/>
                  <a:gd name="T43" fmla="*/ 25 h 74"/>
                  <a:gd name="T44" fmla="*/ 13 w 24"/>
                  <a:gd name="T45" fmla="*/ 20 h 74"/>
                  <a:gd name="T46" fmla="*/ 13 w 24"/>
                  <a:gd name="T47" fmla="*/ 18 h 74"/>
                  <a:gd name="T48" fmla="*/ 15 w 24"/>
                  <a:gd name="T49" fmla="*/ 16 h 74"/>
                  <a:gd name="T50" fmla="*/ 15 w 24"/>
                  <a:gd name="T51" fmla="*/ 15 h 74"/>
                  <a:gd name="T52" fmla="*/ 15 w 24"/>
                  <a:gd name="T53" fmla="*/ 15 h 74"/>
                  <a:gd name="T54" fmla="*/ 18 w 24"/>
                  <a:gd name="T55" fmla="*/ 15 h 74"/>
                  <a:gd name="T56" fmla="*/ 20 w 24"/>
                  <a:gd name="T57" fmla="*/ 15 h 74"/>
                  <a:gd name="T58" fmla="*/ 20 w 24"/>
                  <a:gd name="T59" fmla="*/ 16 h 74"/>
                  <a:gd name="T60" fmla="*/ 20 w 24"/>
                  <a:gd name="T61" fmla="*/ 18 h 74"/>
                  <a:gd name="T62" fmla="*/ 22 w 24"/>
                  <a:gd name="T63" fmla="*/ 18 h 74"/>
                  <a:gd name="T64" fmla="*/ 22 w 24"/>
                  <a:gd name="T65" fmla="*/ 11 h 74"/>
                  <a:gd name="T66" fmla="*/ 24 w 24"/>
                  <a:gd name="T67" fmla="*/ 9 h 74"/>
                  <a:gd name="T68" fmla="*/ 22 w 24"/>
                  <a:gd name="T69" fmla="*/ 7 h 74"/>
                  <a:gd name="T70" fmla="*/ 24 w 24"/>
                  <a:gd name="T71" fmla="*/ 7 h 74"/>
                  <a:gd name="T72" fmla="*/ 22 w 24"/>
                  <a:gd name="T73" fmla="*/ 6 h 74"/>
                  <a:gd name="T74" fmla="*/ 24 w 24"/>
                  <a:gd name="T75" fmla="*/ 4 h 74"/>
                  <a:gd name="T76" fmla="*/ 24 w 24"/>
                  <a:gd name="T77" fmla="*/ 0 h 74"/>
                  <a:gd name="T78" fmla="*/ 22 w 24"/>
                  <a:gd name="T79" fmla="*/ 0 h 74"/>
                  <a:gd name="T80" fmla="*/ 22 w 24"/>
                  <a:gd name="T81" fmla="*/ 0 h 74"/>
                  <a:gd name="T82" fmla="*/ 22 w 24"/>
                  <a:gd name="T83" fmla="*/ 6 h 74"/>
                  <a:gd name="T84" fmla="*/ 20 w 24"/>
                  <a:gd name="T85" fmla="*/ 4 h 74"/>
                  <a:gd name="T86" fmla="*/ 20 w 24"/>
                  <a:gd name="T87" fmla="*/ 6 h 74"/>
                  <a:gd name="T88" fmla="*/ 18 w 24"/>
                  <a:gd name="T89" fmla="*/ 6 h 74"/>
                  <a:gd name="T90" fmla="*/ 18 w 24"/>
                  <a:gd name="T91" fmla="*/ 4 h 74"/>
                  <a:gd name="T92" fmla="*/ 15 w 24"/>
                  <a:gd name="T93" fmla="*/ 6 h 74"/>
                  <a:gd name="T94" fmla="*/ 15 w 24"/>
                  <a:gd name="T95" fmla="*/ 4 h 74"/>
                  <a:gd name="T96" fmla="*/ 6 w 24"/>
                  <a:gd name="T97" fmla="*/ 31 h 74"/>
                  <a:gd name="T98" fmla="*/ 4 w 24"/>
                  <a:gd name="T99" fmla="*/ 34 h 74"/>
                  <a:gd name="T100" fmla="*/ 4 w 24"/>
                  <a:gd name="T101" fmla="*/ 34 h 74"/>
                  <a:gd name="T102" fmla="*/ 2 w 24"/>
                  <a:gd name="T103" fmla="*/ 38 h 74"/>
                  <a:gd name="T104" fmla="*/ 2 w 24"/>
                  <a:gd name="T105" fmla="*/ 40 h 74"/>
                  <a:gd name="T106" fmla="*/ 0 w 24"/>
                  <a:gd name="T107" fmla="*/ 41 h 74"/>
                  <a:gd name="T108" fmla="*/ 11 w 24"/>
                  <a:gd name="T109" fmla="*/ 74 h 74"/>
                  <a:gd name="T110" fmla="*/ 13 w 24"/>
                  <a:gd name="T11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 h="74">
                    <a:moveTo>
                      <a:pt x="13" y="74"/>
                    </a:moveTo>
                    <a:lnTo>
                      <a:pt x="17" y="47"/>
                    </a:lnTo>
                    <a:lnTo>
                      <a:pt x="20" y="41"/>
                    </a:lnTo>
                    <a:lnTo>
                      <a:pt x="20" y="40"/>
                    </a:lnTo>
                    <a:lnTo>
                      <a:pt x="20" y="36"/>
                    </a:lnTo>
                    <a:lnTo>
                      <a:pt x="20" y="34"/>
                    </a:lnTo>
                    <a:lnTo>
                      <a:pt x="18" y="34"/>
                    </a:lnTo>
                    <a:lnTo>
                      <a:pt x="15" y="36"/>
                    </a:lnTo>
                    <a:lnTo>
                      <a:pt x="13" y="38"/>
                    </a:lnTo>
                    <a:lnTo>
                      <a:pt x="11" y="38"/>
                    </a:lnTo>
                    <a:lnTo>
                      <a:pt x="11" y="36"/>
                    </a:lnTo>
                    <a:lnTo>
                      <a:pt x="11" y="34"/>
                    </a:lnTo>
                    <a:lnTo>
                      <a:pt x="13" y="34"/>
                    </a:lnTo>
                    <a:lnTo>
                      <a:pt x="13" y="31"/>
                    </a:lnTo>
                    <a:lnTo>
                      <a:pt x="15" y="29"/>
                    </a:lnTo>
                    <a:lnTo>
                      <a:pt x="17" y="29"/>
                    </a:lnTo>
                    <a:lnTo>
                      <a:pt x="17" y="29"/>
                    </a:lnTo>
                    <a:lnTo>
                      <a:pt x="17" y="29"/>
                    </a:lnTo>
                    <a:lnTo>
                      <a:pt x="15" y="27"/>
                    </a:lnTo>
                    <a:lnTo>
                      <a:pt x="13" y="29"/>
                    </a:lnTo>
                    <a:lnTo>
                      <a:pt x="13" y="27"/>
                    </a:lnTo>
                    <a:lnTo>
                      <a:pt x="13" y="25"/>
                    </a:lnTo>
                    <a:lnTo>
                      <a:pt x="13" y="20"/>
                    </a:lnTo>
                    <a:lnTo>
                      <a:pt x="13" y="18"/>
                    </a:lnTo>
                    <a:lnTo>
                      <a:pt x="15" y="16"/>
                    </a:lnTo>
                    <a:lnTo>
                      <a:pt x="15" y="15"/>
                    </a:lnTo>
                    <a:lnTo>
                      <a:pt x="15" y="15"/>
                    </a:lnTo>
                    <a:lnTo>
                      <a:pt x="18" y="15"/>
                    </a:lnTo>
                    <a:lnTo>
                      <a:pt x="20" y="15"/>
                    </a:lnTo>
                    <a:lnTo>
                      <a:pt x="20" y="16"/>
                    </a:lnTo>
                    <a:lnTo>
                      <a:pt x="20" y="18"/>
                    </a:lnTo>
                    <a:lnTo>
                      <a:pt x="22" y="18"/>
                    </a:lnTo>
                    <a:lnTo>
                      <a:pt x="22" y="11"/>
                    </a:lnTo>
                    <a:lnTo>
                      <a:pt x="24" y="9"/>
                    </a:lnTo>
                    <a:lnTo>
                      <a:pt x="22" y="7"/>
                    </a:lnTo>
                    <a:lnTo>
                      <a:pt x="24" y="7"/>
                    </a:lnTo>
                    <a:lnTo>
                      <a:pt x="22" y="6"/>
                    </a:lnTo>
                    <a:lnTo>
                      <a:pt x="24" y="4"/>
                    </a:lnTo>
                    <a:lnTo>
                      <a:pt x="24" y="0"/>
                    </a:lnTo>
                    <a:lnTo>
                      <a:pt x="22" y="0"/>
                    </a:lnTo>
                    <a:lnTo>
                      <a:pt x="22" y="0"/>
                    </a:lnTo>
                    <a:lnTo>
                      <a:pt x="22" y="6"/>
                    </a:lnTo>
                    <a:lnTo>
                      <a:pt x="20" y="4"/>
                    </a:lnTo>
                    <a:lnTo>
                      <a:pt x="20" y="6"/>
                    </a:lnTo>
                    <a:lnTo>
                      <a:pt x="18" y="6"/>
                    </a:lnTo>
                    <a:lnTo>
                      <a:pt x="18" y="4"/>
                    </a:lnTo>
                    <a:lnTo>
                      <a:pt x="15" y="6"/>
                    </a:lnTo>
                    <a:lnTo>
                      <a:pt x="15" y="4"/>
                    </a:lnTo>
                    <a:lnTo>
                      <a:pt x="6" y="31"/>
                    </a:lnTo>
                    <a:lnTo>
                      <a:pt x="4" y="34"/>
                    </a:lnTo>
                    <a:lnTo>
                      <a:pt x="4" y="34"/>
                    </a:lnTo>
                    <a:lnTo>
                      <a:pt x="2" y="38"/>
                    </a:lnTo>
                    <a:lnTo>
                      <a:pt x="2" y="40"/>
                    </a:lnTo>
                    <a:lnTo>
                      <a:pt x="0" y="41"/>
                    </a:lnTo>
                    <a:lnTo>
                      <a:pt x="11" y="74"/>
                    </a:lnTo>
                    <a:lnTo>
                      <a:pt x="13" y="7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77" name="Freeform 2327"/>
              <p:cNvSpPr>
                <a:spLocks/>
              </p:cNvSpPr>
              <p:nvPr/>
            </p:nvSpPr>
            <p:spPr bwMode="auto">
              <a:xfrm>
                <a:off x="3242" y="2150"/>
                <a:ext cx="24" cy="74"/>
              </a:xfrm>
              <a:custGeom>
                <a:avLst/>
                <a:gdLst>
                  <a:gd name="T0" fmla="*/ 13 w 24"/>
                  <a:gd name="T1" fmla="*/ 74 h 74"/>
                  <a:gd name="T2" fmla="*/ 17 w 24"/>
                  <a:gd name="T3" fmla="*/ 47 h 74"/>
                  <a:gd name="T4" fmla="*/ 20 w 24"/>
                  <a:gd name="T5" fmla="*/ 41 h 74"/>
                  <a:gd name="T6" fmla="*/ 20 w 24"/>
                  <a:gd name="T7" fmla="*/ 40 h 74"/>
                  <a:gd name="T8" fmla="*/ 20 w 24"/>
                  <a:gd name="T9" fmla="*/ 36 h 74"/>
                  <a:gd name="T10" fmla="*/ 20 w 24"/>
                  <a:gd name="T11" fmla="*/ 34 h 74"/>
                  <a:gd name="T12" fmla="*/ 18 w 24"/>
                  <a:gd name="T13" fmla="*/ 34 h 74"/>
                  <a:gd name="T14" fmla="*/ 15 w 24"/>
                  <a:gd name="T15" fmla="*/ 36 h 74"/>
                  <a:gd name="T16" fmla="*/ 13 w 24"/>
                  <a:gd name="T17" fmla="*/ 38 h 74"/>
                  <a:gd name="T18" fmla="*/ 11 w 24"/>
                  <a:gd name="T19" fmla="*/ 38 h 74"/>
                  <a:gd name="T20" fmla="*/ 11 w 24"/>
                  <a:gd name="T21" fmla="*/ 36 h 74"/>
                  <a:gd name="T22" fmla="*/ 11 w 24"/>
                  <a:gd name="T23" fmla="*/ 34 h 74"/>
                  <a:gd name="T24" fmla="*/ 13 w 24"/>
                  <a:gd name="T25" fmla="*/ 34 h 74"/>
                  <a:gd name="T26" fmla="*/ 13 w 24"/>
                  <a:gd name="T27" fmla="*/ 31 h 74"/>
                  <a:gd name="T28" fmla="*/ 15 w 24"/>
                  <a:gd name="T29" fmla="*/ 29 h 74"/>
                  <a:gd name="T30" fmla="*/ 17 w 24"/>
                  <a:gd name="T31" fmla="*/ 29 h 74"/>
                  <a:gd name="T32" fmla="*/ 17 w 24"/>
                  <a:gd name="T33" fmla="*/ 29 h 74"/>
                  <a:gd name="T34" fmla="*/ 17 w 24"/>
                  <a:gd name="T35" fmla="*/ 29 h 74"/>
                  <a:gd name="T36" fmla="*/ 15 w 24"/>
                  <a:gd name="T37" fmla="*/ 27 h 74"/>
                  <a:gd name="T38" fmla="*/ 13 w 24"/>
                  <a:gd name="T39" fmla="*/ 29 h 74"/>
                  <a:gd name="T40" fmla="*/ 13 w 24"/>
                  <a:gd name="T41" fmla="*/ 27 h 74"/>
                  <a:gd name="T42" fmla="*/ 13 w 24"/>
                  <a:gd name="T43" fmla="*/ 25 h 74"/>
                  <a:gd name="T44" fmla="*/ 13 w 24"/>
                  <a:gd name="T45" fmla="*/ 20 h 74"/>
                  <a:gd name="T46" fmla="*/ 13 w 24"/>
                  <a:gd name="T47" fmla="*/ 18 h 74"/>
                  <a:gd name="T48" fmla="*/ 15 w 24"/>
                  <a:gd name="T49" fmla="*/ 16 h 74"/>
                  <a:gd name="T50" fmla="*/ 15 w 24"/>
                  <a:gd name="T51" fmla="*/ 15 h 74"/>
                  <a:gd name="T52" fmla="*/ 15 w 24"/>
                  <a:gd name="T53" fmla="*/ 15 h 74"/>
                  <a:gd name="T54" fmla="*/ 18 w 24"/>
                  <a:gd name="T55" fmla="*/ 15 h 74"/>
                  <a:gd name="T56" fmla="*/ 20 w 24"/>
                  <a:gd name="T57" fmla="*/ 15 h 74"/>
                  <a:gd name="T58" fmla="*/ 20 w 24"/>
                  <a:gd name="T59" fmla="*/ 16 h 74"/>
                  <a:gd name="T60" fmla="*/ 20 w 24"/>
                  <a:gd name="T61" fmla="*/ 18 h 74"/>
                  <a:gd name="T62" fmla="*/ 22 w 24"/>
                  <a:gd name="T63" fmla="*/ 18 h 74"/>
                  <a:gd name="T64" fmla="*/ 22 w 24"/>
                  <a:gd name="T65" fmla="*/ 11 h 74"/>
                  <a:gd name="T66" fmla="*/ 24 w 24"/>
                  <a:gd name="T67" fmla="*/ 9 h 74"/>
                  <a:gd name="T68" fmla="*/ 22 w 24"/>
                  <a:gd name="T69" fmla="*/ 7 h 74"/>
                  <a:gd name="T70" fmla="*/ 24 w 24"/>
                  <a:gd name="T71" fmla="*/ 7 h 74"/>
                  <a:gd name="T72" fmla="*/ 22 w 24"/>
                  <a:gd name="T73" fmla="*/ 6 h 74"/>
                  <a:gd name="T74" fmla="*/ 24 w 24"/>
                  <a:gd name="T75" fmla="*/ 4 h 74"/>
                  <a:gd name="T76" fmla="*/ 24 w 24"/>
                  <a:gd name="T77" fmla="*/ 0 h 74"/>
                  <a:gd name="T78" fmla="*/ 22 w 24"/>
                  <a:gd name="T79" fmla="*/ 0 h 74"/>
                  <a:gd name="T80" fmla="*/ 22 w 24"/>
                  <a:gd name="T81" fmla="*/ 0 h 74"/>
                  <a:gd name="T82" fmla="*/ 22 w 24"/>
                  <a:gd name="T83" fmla="*/ 6 h 74"/>
                  <a:gd name="T84" fmla="*/ 20 w 24"/>
                  <a:gd name="T85" fmla="*/ 4 h 74"/>
                  <a:gd name="T86" fmla="*/ 20 w 24"/>
                  <a:gd name="T87" fmla="*/ 6 h 74"/>
                  <a:gd name="T88" fmla="*/ 18 w 24"/>
                  <a:gd name="T89" fmla="*/ 6 h 74"/>
                  <a:gd name="T90" fmla="*/ 18 w 24"/>
                  <a:gd name="T91" fmla="*/ 4 h 74"/>
                  <a:gd name="T92" fmla="*/ 15 w 24"/>
                  <a:gd name="T93" fmla="*/ 6 h 74"/>
                  <a:gd name="T94" fmla="*/ 15 w 24"/>
                  <a:gd name="T95" fmla="*/ 4 h 74"/>
                  <a:gd name="T96" fmla="*/ 6 w 24"/>
                  <a:gd name="T97" fmla="*/ 31 h 74"/>
                  <a:gd name="T98" fmla="*/ 4 w 24"/>
                  <a:gd name="T99" fmla="*/ 34 h 74"/>
                  <a:gd name="T100" fmla="*/ 4 w 24"/>
                  <a:gd name="T101" fmla="*/ 34 h 74"/>
                  <a:gd name="T102" fmla="*/ 2 w 24"/>
                  <a:gd name="T103" fmla="*/ 38 h 74"/>
                  <a:gd name="T104" fmla="*/ 2 w 24"/>
                  <a:gd name="T105" fmla="*/ 40 h 74"/>
                  <a:gd name="T106" fmla="*/ 0 w 24"/>
                  <a:gd name="T107" fmla="*/ 41 h 74"/>
                  <a:gd name="T108" fmla="*/ 11 w 24"/>
                  <a:gd name="T109" fmla="*/ 74 h 74"/>
                  <a:gd name="T110" fmla="*/ 13 w 24"/>
                  <a:gd name="T111"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 h="74">
                    <a:moveTo>
                      <a:pt x="13" y="74"/>
                    </a:moveTo>
                    <a:lnTo>
                      <a:pt x="17" y="47"/>
                    </a:lnTo>
                    <a:lnTo>
                      <a:pt x="20" y="41"/>
                    </a:lnTo>
                    <a:lnTo>
                      <a:pt x="20" y="40"/>
                    </a:lnTo>
                    <a:lnTo>
                      <a:pt x="20" y="36"/>
                    </a:lnTo>
                    <a:lnTo>
                      <a:pt x="20" y="34"/>
                    </a:lnTo>
                    <a:lnTo>
                      <a:pt x="18" y="34"/>
                    </a:lnTo>
                    <a:lnTo>
                      <a:pt x="15" y="36"/>
                    </a:lnTo>
                    <a:lnTo>
                      <a:pt x="13" y="38"/>
                    </a:lnTo>
                    <a:lnTo>
                      <a:pt x="11" y="38"/>
                    </a:lnTo>
                    <a:lnTo>
                      <a:pt x="11" y="36"/>
                    </a:lnTo>
                    <a:lnTo>
                      <a:pt x="11" y="34"/>
                    </a:lnTo>
                    <a:lnTo>
                      <a:pt x="13" y="34"/>
                    </a:lnTo>
                    <a:lnTo>
                      <a:pt x="13" y="31"/>
                    </a:lnTo>
                    <a:lnTo>
                      <a:pt x="15" y="29"/>
                    </a:lnTo>
                    <a:lnTo>
                      <a:pt x="17" y="29"/>
                    </a:lnTo>
                    <a:lnTo>
                      <a:pt x="17" y="29"/>
                    </a:lnTo>
                    <a:lnTo>
                      <a:pt x="17" y="29"/>
                    </a:lnTo>
                    <a:lnTo>
                      <a:pt x="15" y="27"/>
                    </a:lnTo>
                    <a:lnTo>
                      <a:pt x="13" y="29"/>
                    </a:lnTo>
                    <a:lnTo>
                      <a:pt x="13" y="27"/>
                    </a:lnTo>
                    <a:lnTo>
                      <a:pt x="13" y="25"/>
                    </a:lnTo>
                    <a:lnTo>
                      <a:pt x="13" y="20"/>
                    </a:lnTo>
                    <a:lnTo>
                      <a:pt x="13" y="18"/>
                    </a:lnTo>
                    <a:lnTo>
                      <a:pt x="15" y="16"/>
                    </a:lnTo>
                    <a:lnTo>
                      <a:pt x="15" y="15"/>
                    </a:lnTo>
                    <a:lnTo>
                      <a:pt x="15" y="15"/>
                    </a:lnTo>
                    <a:lnTo>
                      <a:pt x="18" y="15"/>
                    </a:lnTo>
                    <a:lnTo>
                      <a:pt x="20" y="15"/>
                    </a:lnTo>
                    <a:lnTo>
                      <a:pt x="20" y="16"/>
                    </a:lnTo>
                    <a:lnTo>
                      <a:pt x="20" y="18"/>
                    </a:lnTo>
                    <a:lnTo>
                      <a:pt x="22" y="18"/>
                    </a:lnTo>
                    <a:lnTo>
                      <a:pt x="22" y="11"/>
                    </a:lnTo>
                    <a:lnTo>
                      <a:pt x="24" y="9"/>
                    </a:lnTo>
                    <a:lnTo>
                      <a:pt x="22" y="7"/>
                    </a:lnTo>
                    <a:lnTo>
                      <a:pt x="24" y="7"/>
                    </a:lnTo>
                    <a:lnTo>
                      <a:pt x="22" y="6"/>
                    </a:lnTo>
                    <a:lnTo>
                      <a:pt x="24" y="4"/>
                    </a:lnTo>
                    <a:lnTo>
                      <a:pt x="24" y="0"/>
                    </a:lnTo>
                    <a:lnTo>
                      <a:pt x="22" y="0"/>
                    </a:lnTo>
                    <a:lnTo>
                      <a:pt x="22" y="0"/>
                    </a:lnTo>
                    <a:lnTo>
                      <a:pt x="22" y="6"/>
                    </a:lnTo>
                    <a:lnTo>
                      <a:pt x="20" y="4"/>
                    </a:lnTo>
                    <a:lnTo>
                      <a:pt x="20" y="6"/>
                    </a:lnTo>
                    <a:lnTo>
                      <a:pt x="18" y="6"/>
                    </a:lnTo>
                    <a:lnTo>
                      <a:pt x="18" y="4"/>
                    </a:lnTo>
                    <a:lnTo>
                      <a:pt x="15" y="6"/>
                    </a:lnTo>
                    <a:lnTo>
                      <a:pt x="15" y="4"/>
                    </a:lnTo>
                    <a:lnTo>
                      <a:pt x="6" y="31"/>
                    </a:lnTo>
                    <a:lnTo>
                      <a:pt x="4" y="34"/>
                    </a:lnTo>
                    <a:lnTo>
                      <a:pt x="4" y="34"/>
                    </a:lnTo>
                    <a:lnTo>
                      <a:pt x="2" y="38"/>
                    </a:lnTo>
                    <a:lnTo>
                      <a:pt x="2" y="40"/>
                    </a:lnTo>
                    <a:lnTo>
                      <a:pt x="0" y="41"/>
                    </a:lnTo>
                    <a:lnTo>
                      <a:pt x="11" y="74"/>
                    </a:lnTo>
                    <a:lnTo>
                      <a:pt x="13" y="7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78" name="Freeform 2328"/>
              <p:cNvSpPr>
                <a:spLocks/>
              </p:cNvSpPr>
              <p:nvPr/>
            </p:nvSpPr>
            <p:spPr bwMode="auto">
              <a:xfrm>
                <a:off x="3501" y="2277"/>
                <a:ext cx="4" cy="9"/>
              </a:xfrm>
              <a:custGeom>
                <a:avLst/>
                <a:gdLst>
                  <a:gd name="T0" fmla="*/ 0 w 4"/>
                  <a:gd name="T1" fmla="*/ 0 h 9"/>
                  <a:gd name="T2" fmla="*/ 0 w 4"/>
                  <a:gd name="T3" fmla="*/ 0 h 9"/>
                  <a:gd name="T4" fmla="*/ 0 w 4"/>
                  <a:gd name="T5" fmla="*/ 0 h 9"/>
                  <a:gd name="T6" fmla="*/ 0 w 4"/>
                  <a:gd name="T7" fmla="*/ 0 h 9"/>
                  <a:gd name="T8" fmla="*/ 0 w 4"/>
                  <a:gd name="T9" fmla="*/ 0 h 9"/>
                  <a:gd name="T10" fmla="*/ 0 w 4"/>
                  <a:gd name="T11" fmla="*/ 0 h 9"/>
                  <a:gd name="T12" fmla="*/ 0 w 4"/>
                  <a:gd name="T13" fmla="*/ 2 h 9"/>
                  <a:gd name="T14" fmla="*/ 0 w 4"/>
                  <a:gd name="T15" fmla="*/ 2 h 9"/>
                  <a:gd name="T16" fmla="*/ 0 w 4"/>
                  <a:gd name="T17" fmla="*/ 4 h 9"/>
                  <a:gd name="T18" fmla="*/ 0 w 4"/>
                  <a:gd name="T19" fmla="*/ 4 h 9"/>
                  <a:gd name="T20" fmla="*/ 0 w 4"/>
                  <a:gd name="T21" fmla="*/ 4 h 9"/>
                  <a:gd name="T22" fmla="*/ 0 w 4"/>
                  <a:gd name="T23" fmla="*/ 4 h 9"/>
                  <a:gd name="T24" fmla="*/ 0 w 4"/>
                  <a:gd name="T25" fmla="*/ 5 h 9"/>
                  <a:gd name="T26" fmla="*/ 0 w 4"/>
                  <a:gd name="T27" fmla="*/ 5 h 9"/>
                  <a:gd name="T28" fmla="*/ 2 w 4"/>
                  <a:gd name="T29" fmla="*/ 5 h 9"/>
                  <a:gd name="T30" fmla="*/ 2 w 4"/>
                  <a:gd name="T31" fmla="*/ 7 h 9"/>
                  <a:gd name="T32" fmla="*/ 2 w 4"/>
                  <a:gd name="T33" fmla="*/ 7 h 9"/>
                  <a:gd name="T34" fmla="*/ 2 w 4"/>
                  <a:gd name="T35" fmla="*/ 7 h 9"/>
                  <a:gd name="T36" fmla="*/ 2 w 4"/>
                  <a:gd name="T37" fmla="*/ 7 h 9"/>
                  <a:gd name="T38" fmla="*/ 2 w 4"/>
                  <a:gd name="T39" fmla="*/ 9 h 9"/>
                  <a:gd name="T40" fmla="*/ 2 w 4"/>
                  <a:gd name="T41" fmla="*/ 7 h 9"/>
                  <a:gd name="T42" fmla="*/ 2 w 4"/>
                  <a:gd name="T43" fmla="*/ 7 h 9"/>
                  <a:gd name="T44" fmla="*/ 4 w 4"/>
                  <a:gd name="T45" fmla="*/ 5 h 9"/>
                  <a:gd name="T46" fmla="*/ 4 w 4"/>
                  <a:gd name="T47" fmla="*/ 5 h 9"/>
                  <a:gd name="T48" fmla="*/ 4 w 4"/>
                  <a:gd name="T49" fmla="*/ 4 h 9"/>
                  <a:gd name="T50" fmla="*/ 4 w 4"/>
                  <a:gd name="T51" fmla="*/ 4 h 9"/>
                  <a:gd name="T52" fmla="*/ 4 w 4"/>
                  <a:gd name="T53" fmla="*/ 4 h 9"/>
                  <a:gd name="T54" fmla="*/ 4 w 4"/>
                  <a:gd name="T55" fmla="*/ 4 h 9"/>
                  <a:gd name="T56" fmla="*/ 4 w 4"/>
                  <a:gd name="T57" fmla="*/ 4 h 9"/>
                  <a:gd name="T58" fmla="*/ 4 w 4"/>
                  <a:gd name="T59" fmla="*/ 2 h 9"/>
                  <a:gd name="T60" fmla="*/ 4 w 4"/>
                  <a:gd name="T61" fmla="*/ 2 h 9"/>
                  <a:gd name="T62" fmla="*/ 4 w 4"/>
                  <a:gd name="T63" fmla="*/ 2 h 9"/>
                  <a:gd name="T64" fmla="*/ 4 w 4"/>
                  <a:gd name="T65" fmla="*/ 2 h 9"/>
                  <a:gd name="T66" fmla="*/ 2 w 4"/>
                  <a:gd name="T67" fmla="*/ 2 h 9"/>
                  <a:gd name="T68" fmla="*/ 2 w 4"/>
                  <a:gd name="T69" fmla="*/ 2 h 9"/>
                  <a:gd name="T70" fmla="*/ 2 w 4"/>
                  <a:gd name="T71" fmla="*/ 2 h 9"/>
                  <a:gd name="T72" fmla="*/ 2 w 4"/>
                  <a:gd name="T73" fmla="*/ 0 h 9"/>
                  <a:gd name="T74" fmla="*/ 2 w 4"/>
                  <a:gd name="T75" fmla="*/ 0 h 9"/>
                  <a:gd name="T76" fmla="*/ 2 w 4"/>
                  <a:gd name="T77" fmla="*/ 0 h 9"/>
                  <a:gd name="T78" fmla="*/ 4 w 4"/>
                  <a:gd name="T79" fmla="*/ 0 h 9"/>
                  <a:gd name="T80" fmla="*/ 4 w 4"/>
                  <a:gd name="T81" fmla="*/ 0 h 9"/>
                  <a:gd name="T82" fmla="*/ 2 w 4"/>
                  <a:gd name="T83" fmla="*/ 0 h 9"/>
                  <a:gd name="T84" fmla="*/ 2 w 4"/>
                  <a:gd name="T85" fmla="*/ 0 h 9"/>
                  <a:gd name="T86" fmla="*/ 2 w 4"/>
                  <a:gd name="T87" fmla="*/ 0 h 9"/>
                  <a:gd name="T88" fmla="*/ 2 w 4"/>
                  <a:gd name="T89" fmla="*/ 0 h 9"/>
                  <a:gd name="T90" fmla="*/ 2 w 4"/>
                  <a:gd name="T91" fmla="*/ 0 h 9"/>
                  <a:gd name="T92" fmla="*/ 0 w 4"/>
                  <a:gd name="T9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 h="9">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0" y="2"/>
                    </a:lnTo>
                    <a:lnTo>
                      <a:pt x="0" y="2"/>
                    </a:lnTo>
                    <a:lnTo>
                      <a:pt x="0" y="4"/>
                    </a:lnTo>
                    <a:lnTo>
                      <a:pt x="0" y="4"/>
                    </a:lnTo>
                    <a:lnTo>
                      <a:pt x="0" y="4"/>
                    </a:lnTo>
                    <a:lnTo>
                      <a:pt x="0" y="4"/>
                    </a:lnTo>
                    <a:lnTo>
                      <a:pt x="0" y="4"/>
                    </a:lnTo>
                    <a:lnTo>
                      <a:pt x="0" y="4"/>
                    </a:lnTo>
                    <a:lnTo>
                      <a:pt x="0" y="4"/>
                    </a:lnTo>
                    <a:lnTo>
                      <a:pt x="0" y="4"/>
                    </a:lnTo>
                    <a:lnTo>
                      <a:pt x="0" y="5"/>
                    </a:lnTo>
                    <a:lnTo>
                      <a:pt x="0" y="5"/>
                    </a:lnTo>
                    <a:lnTo>
                      <a:pt x="0" y="5"/>
                    </a:lnTo>
                    <a:lnTo>
                      <a:pt x="0" y="5"/>
                    </a:lnTo>
                    <a:lnTo>
                      <a:pt x="2" y="5"/>
                    </a:lnTo>
                    <a:lnTo>
                      <a:pt x="2" y="5"/>
                    </a:lnTo>
                    <a:lnTo>
                      <a:pt x="2" y="7"/>
                    </a:lnTo>
                    <a:lnTo>
                      <a:pt x="2" y="7"/>
                    </a:lnTo>
                    <a:lnTo>
                      <a:pt x="2" y="7"/>
                    </a:lnTo>
                    <a:lnTo>
                      <a:pt x="2" y="7"/>
                    </a:lnTo>
                    <a:lnTo>
                      <a:pt x="2" y="7"/>
                    </a:lnTo>
                    <a:lnTo>
                      <a:pt x="2" y="7"/>
                    </a:lnTo>
                    <a:lnTo>
                      <a:pt x="2" y="7"/>
                    </a:lnTo>
                    <a:lnTo>
                      <a:pt x="2" y="7"/>
                    </a:lnTo>
                    <a:lnTo>
                      <a:pt x="2" y="9"/>
                    </a:lnTo>
                    <a:lnTo>
                      <a:pt x="2" y="9"/>
                    </a:lnTo>
                    <a:lnTo>
                      <a:pt x="2" y="7"/>
                    </a:lnTo>
                    <a:lnTo>
                      <a:pt x="2" y="7"/>
                    </a:lnTo>
                    <a:lnTo>
                      <a:pt x="2" y="7"/>
                    </a:lnTo>
                    <a:lnTo>
                      <a:pt x="2" y="7"/>
                    </a:lnTo>
                    <a:lnTo>
                      <a:pt x="4" y="5"/>
                    </a:lnTo>
                    <a:lnTo>
                      <a:pt x="4" y="5"/>
                    </a:lnTo>
                    <a:lnTo>
                      <a:pt x="4" y="5"/>
                    </a:lnTo>
                    <a:lnTo>
                      <a:pt x="4" y="5"/>
                    </a:lnTo>
                    <a:lnTo>
                      <a:pt x="4" y="4"/>
                    </a:lnTo>
                    <a:lnTo>
                      <a:pt x="4" y="4"/>
                    </a:lnTo>
                    <a:lnTo>
                      <a:pt x="4" y="4"/>
                    </a:lnTo>
                    <a:lnTo>
                      <a:pt x="4" y="4"/>
                    </a:lnTo>
                    <a:lnTo>
                      <a:pt x="4" y="4"/>
                    </a:lnTo>
                    <a:lnTo>
                      <a:pt x="4" y="4"/>
                    </a:lnTo>
                    <a:lnTo>
                      <a:pt x="4" y="4"/>
                    </a:lnTo>
                    <a:lnTo>
                      <a:pt x="4" y="4"/>
                    </a:lnTo>
                    <a:lnTo>
                      <a:pt x="4" y="4"/>
                    </a:lnTo>
                    <a:lnTo>
                      <a:pt x="4" y="4"/>
                    </a:lnTo>
                    <a:lnTo>
                      <a:pt x="4" y="2"/>
                    </a:lnTo>
                    <a:lnTo>
                      <a:pt x="4" y="2"/>
                    </a:lnTo>
                    <a:lnTo>
                      <a:pt x="4" y="2"/>
                    </a:lnTo>
                    <a:lnTo>
                      <a:pt x="4" y="2"/>
                    </a:lnTo>
                    <a:lnTo>
                      <a:pt x="4" y="2"/>
                    </a:lnTo>
                    <a:lnTo>
                      <a:pt x="4" y="2"/>
                    </a:lnTo>
                    <a:lnTo>
                      <a:pt x="4" y="2"/>
                    </a:lnTo>
                    <a:lnTo>
                      <a:pt x="4" y="2"/>
                    </a:lnTo>
                    <a:lnTo>
                      <a:pt x="2" y="2"/>
                    </a:lnTo>
                    <a:lnTo>
                      <a:pt x="2" y="2"/>
                    </a:lnTo>
                    <a:lnTo>
                      <a:pt x="2" y="2"/>
                    </a:lnTo>
                    <a:lnTo>
                      <a:pt x="2" y="2"/>
                    </a:lnTo>
                    <a:lnTo>
                      <a:pt x="2" y="2"/>
                    </a:lnTo>
                    <a:lnTo>
                      <a:pt x="2" y="2"/>
                    </a:lnTo>
                    <a:lnTo>
                      <a:pt x="2" y="0"/>
                    </a:lnTo>
                    <a:lnTo>
                      <a:pt x="2" y="0"/>
                    </a:lnTo>
                    <a:lnTo>
                      <a:pt x="2" y="0"/>
                    </a:lnTo>
                    <a:lnTo>
                      <a:pt x="2" y="0"/>
                    </a:lnTo>
                    <a:lnTo>
                      <a:pt x="2" y="0"/>
                    </a:lnTo>
                    <a:lnTo>
                      <a:pt x="2" y="0"/>
                    </a:lnTo>
                    <a:lnTo>
                      <a:pt x="4" y="0"/>
                    </a:lnTo>
                    <a:lnTo>
                      <a:pt x="4" y="0"/>
                    </a:lnTo>
                    <a:lnTo>
                      <a:pt x="4" y="0"/>
                    </a:lnTo>
                    <a:lnTo>
                      <a:pt x="4" y="0"/>
                    </a:lnTo>
                    <a:lnTo>
                      <a:pt x="2" y="0"/>
                    </a:lnTo>
                    <a:lnTo>
                      <a:pt x="2" y="0"/>
                    </a:lnTo>
                    <a:lnTo>
                      <a:pt x="2" y="0"/>
                    </a:lnTo>
                    <a:lnTo>
                      <a:pt x="2" y="0"/>
                    </a:lnTo>
                    <a:lnTo>
                      <a:pt x="2" y="0"/>
                    </a:lnTo>
                    <a:lnTo>
                      <a:pt x="2" y="0"/>
                    </a:lnTo>
                    <a:lnTo>
                      <a:pt x="2" y="0"/>
                    </a:lnTo>
                    <a:lnTo>
                      <a:pt x="2" y="0"/>
                    </a:lnTo>
                    <a:lnTo>
                      <a:pt x="2" y="0"/>
                    </a:lnTo>
                    <a:lnTo>
                      <a:pt x="2" y="0"/>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79" name="Freeform 2329"/>
              <p:cNvSpPr>
                <a:spLocks/>
              </p:cNvSpPr>
              <p:nvPr/>
            </p:nvSpPr>
            <p:spPr bwMode="auto">
              <a:xfrm>
                <a:off x="2843" y="2154"/>
                <a:ext cx="253" cy="243"/>
              </a:xfrm>
              <a:custGeom>
                <a:avLst/>
                <a:gdLst>
                  <a:gd name="T0" fmla="*/ 33 w 253"/>
                  <a:gd name="T1" fmla="*/ 159 h 243"/>
                  <a:gd name="T2" fmla="*/ 17 w 253"/>
                  <a:gd name="T3" fmla="*/ 155 h 243"/>
                  <a:gd name="T4" fmla="*/ 12 w 253"/>
                  <a:gd name="T5" fmla="*/ 141 h 243"/>
                  <a:gd name="T6" fmla="*/ 1 w 253"/>
                  <a:gd name="T7" fmla="*/ 127 h 243"/>
                  <a:gd name="T8" fmla="*/ 8 w 253"/>
                  <a:gd name="T9" fmla="*/ 121 h 243"/>
                  <a:gd name="T10" fmla="*/ 0 w 253"/>
                  <a:gd name="T11" fmla="*/ 61 h 243"/>
                  <a:gd name="T12" fmla="*/ 3 w 253"/>
                  <a:gd name="T13" fmla="*/ 53 h 243"/>
                  <a:gd name="T14" fmla="*/ 7 w 253"/>
                  <a:gd name="T15" fmla="*/ 52 h 243"/>
                  <a:gd name="T16" fmla="*/ 16 w 253"/>
                  <a:gd name="T17" fmla="*/ 45 h 243"/>
                  <a:gd name="T18" fmla="*/ 14 w 253"/>
                  <a:gd name="T19" fmla="*/ 34 h 243"/>
                  <a:gd name="T20" fmla="*/ 16 w 253"/>
                  <a:gd name="T21" fmla="*/ 28 h 243"/>
                  <a:gd name="T22" fmla="*/ 23 w 253"/>
                  <a:gd name="T23" fmla="*/ 21 h 243"/>
                  <a:gd name="T24" fmla="*/ 35 w 253"/>
                  <a:gd name="T25" fmla="*/ 11 h 243"/>
                  <a:gd name="T26" fmla="*/ 49 w 253"/>
                  <a:gd name="T27" fmla="*/ 5 h 243"/>
                  <a:gd name="T28" fmla="*/ 62 w 253"/>
                  <a:gd name="T29" fmla="*/ 3 h 243"/>
                  <a:gd name="T30" fmla="*/ 69 w 253"/>
                  <a:gd name="T31" fmla="*/ 7 h 243"/>
                  <a:gd name="T32" fmla="*/ 94 w 253"/>
                  <a:gd name="T33" fmla="*/ 14 h 243"/>
                  <a:gd name="T34" fmla="*/ 98 w 253"/>
                  <a:gd name="T35" fmla="*/ 23 h 243"/>
                  <a:gd name="T36" fmla="*/ 142 w 253"/>
                  <a:gd name="T37" fmla="*/ 45 h 243"/>
                  <a:gd name="T38" fmla="*/ 155 w 253"/>
                  <a:gd name="T39" fmla="*/ 53 h 243"/>
                  <a:gd name="T40" fmla="*/ 166 w 253"/>
                  <a:gd name="T41" fmla="*/ 50 h 243"/>
                  <a:gd name="T42" fmla="*/ 173 w 253"/>
                  <a:gd name="T43" fmla="*/ 37 h 243"/>
                  <a:gd name="T44" fmla="*/ 171 w 253"/>
                  <a:gd name="T45" fmla="*/ 30 h 243"/>
                  <a:gd name="T46" fmla="*/ 169 w 253"/>
                  <a:gd name="T47" fmla="*/ 23 h 243"/>
                  <a:gd name="T48" fmla="*/ 187 w 253"/>
                  <a:gd name="T49" fmla="*/ 7 h 243"/>
                  <a:gd name="T50" fmla="*/ 216 w 253"/>
                  <a:gd name="T51" fmla="*/ 9 h 243"/>
                  <a:gd name="T52" fmla="*/ 219 w 253"/>
                  <a:gd name="T53" fmla="*/ 11 h 243"/>
                  <a:gd name="T54" fmla="*/ 219 w 253"/>
                  <a:gd name="T55" fmla="*/ 12 h 243"/>
                  <a:gd name="T56" fmla="*/ 219 w 253"/>
                  <a:gd name="T57" fmla="*/ 16 h 243"/>
                  <a:gd name="T58" fmla="*/ 224 w 253"/>
                  <a:gd name="T59" fmla="*/ 18 h 243"/>
                  <a:gd name="T60" fmla="*/ 249 w 253"/>
                  <a:gd name="T61" fmla="*/ 23 h 243"/>
                  <a:gd name="T62" fmla="*/ 253 w 253"/>
                  <a:gd name="T63" fmla="*/ 27 h 243"/>
                  <a:gd name="T64" fmla="*/ 251 w 253"/>
                  <a:gd name="T65" fmla="*/ 28 h 243"/>
                  <a:gd name="T66" fmla="*/ 248 w 253"/>
                  <a:gd name="T67" fmla="*/ 34 h 243"/>
                  <a:gd name="T68" fmla="*/ 249 w 253"/>
                  <a:gd name="T69" fmla="*/ 37 h 243"/>
                  <a:gd name="T70" fmla="*/ 249 w 253"/>
                  <a:gd name="T71" fmla="*/ 53 h 243"/>
                  <a:gd name="T72" fmla="*/ 246 w 253"/>
                  <a:gd name="T73" fmla="*/ 55 h 243"/>
                  <a:gd name="T74" fmla="*/ 248 w 253"/>
                  <a:gd name="T75" fmla="*/ 62 h 243"/>
                  <a:gd name="T76" fmla="*/ 248 w 253"/>
                  <a:gd name="T77" fmla="*/ 70 h 243"/>
                  <a:gd name="T78" fmla="*/ 253 w 253"/>
                  <a:gd name="T79" fmla="*/ 232 h 243"/>
                  <a:gd name="T80" fmla="*/ 239 w 253"/>
                  <a:gd name="T81" fmla="*/ 243 h 243"/>
                  <a:gd name="T82" fmla="*/ 110 w 253"/>
                  <a:gd name="T83" fmla="*/ 177 h 243"/>
                  <a:gd name="T84" fmla="*/ 85 w 253"/>
                  <a:gd name="T85" fmla="*/ 180 h 243"/>
                  <a:gd name="T86" fmla="*/ 80 w 253"/>
                  <a:gd name="T87" fmla="*/ 177 h 243"/>
                  <a:gd name="T88" fmla="*/ 42 w 253"/>
                  <a:gd name="T89" fmla="*/ 17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3" h="243">
                    <a:moveTo>
                      <a:pt x="41" y="173"/>
                    </a:moveTo>
                    <a:lnTo>
                      <a:pt x="33" y="159"/>
                    </a:lnTo>
                    <a:lnTo>
                      <a:pt x="25" y="155"/>
                    </a:lnTo>
                    <a:lnTo>
                      <a:pt x="17" y="155"/>
                    </a:lnTo>
                    <a:lnTo>
                      <a:pt x="12" y="152"/>
                    </a:lnTo>
                    <a:lnTo>
                      <a:pt x="12" y="141"/>
                    </a:lnTo>
                    <a:lnTo>
                      <a:pt x="3" y="130"/>
                    </a:lnTo>
                    <a:lnTo>
                      <a:pt x="1" y="127"/>
                    </a:lnTo>
                    <a:lnTo>
                      <a:pt x="1" y="125"/>
                    </a:lnTo>
                    <a:lnTo>
                      <a:pt x="8" y="121"/>
                    </a:lnTo>
                    <a:lnTo>
                      <a:pt x="7" y="70"/>
                    </a:lnTo>
                    <a:lnTo>
                      <a:pt x="0" y="61"/>
                    </a:lnTo>
                    <a:lnTo>
                      <a:pt x="0" y="55"/>
                    </a:lnTo>
                    <a:lnTo>
                      <a:pt x="3" y="53"/>
                    </a:lnTo>
                    <a:lnTo>
                      <a:pt x="3" y="52"/>
                    </a:lnTo>
                    <a:lnTo>
                      <a:pt x="7" y="52"/>
                    </a:lnTo>
                    <a:lnTo>
                      <a:pt x="14" y="46"/>
                    </a:lnTo>
                    <a:lnTo>
                      <a:pt x="16" y="45"/>
                    </a:lnTo>
                    <a:lnTo>
                      <a:pt x="16" y="41"/>
                    </a:lnTo>
                    <a:lnTo>
                      <a:pt x="14" y="34"/>
                    </a:lnTo>
                    <a:lnTo>
                      <a:pt x="14" y="30"/>
                    </a:lnTo>
                    <a:lnTo>
                      <a:pt x="16" y="28"/>
                    </a:lnTo>
                    <a:lnTo>
                      <a:pt x="21" y="25"/>
                    </a:lnTo>
                    <a:lnTo>
                      <a:pt x="23" y="21"/>
                    </a:lnTo>
                    <a:lnTo>
                      <a:pt x="33" y="14"/>
                    </a:lnTo>
                    <a:lnTo>
                      <a:pt x="35" y="11"/>
                    </a:lnTo>
                    <a:lnTo>
                      <a:pt x="33" y="0"/>
                    </a:lnTo>
                    <a:lnTo>
                      <a:pt x="49" y="5"/>
                    </a:lnTo>
                    <a:lnTo>
                      <a:pt x="55" y="5"/>
                    </a:lnTo>
                    <a:lnTo>
                      <a:pt x="62" y="3"/>
                    </a:lnTo>
                    <a:lnTo>
                      <a:pt x="66" y="5"/>
                    </a:lnTo>
                    <a:lnTo>
                      <a:pt x="69" y="7"/>
                    </a:lnTo>
                    <a:lnTo>
                      <a:pt x="73" y="7"/>
                    </a:lnTo>
                    <a:lnTo>
                      <a:pt x="94" y="14"/>
                    </a:lnTo>
                    <a:lnTo>
                      <a:pt x="96" y="16"/>
                    </a:lnTo>
                    <a:lnTo>
                      <a:pt x="98" y="23"/>
                    </a:lnTo>
                    <a:lnTo>
                      <a:pt x="105" y="34"/>
                    </a:lnTo>
                    <a:lnTo>
                      <a:pt x="142" y="45"/>
                    </a:lnTo>
                    <a:lnTo>
                      <a:pt x="149" y="52"/>
                    </a:lnTo>
                    <a:lnTo>
                      <a:pt x="155" y="53"/>
                    </a:lnTo>
                    <a:lnTo>
                      <a:pt x="158" y="53"/>
                    </a:lnTo>
                    <a:lnTo>
                      <a:pt x="166" y="50"/>
                    </a:lnTo>
                    <a:lnTo>
                      <a:pt x="173" y="39"/>
                    </a:lnTo>
                    <a:lnTo>
                      <a:pt x="173" y="37"/>
                    </a:lnTo>
                    <a:lnTo>
                      <a:pt x="171" y="34"/>
                    </a:lnTo>
                    <a:lnTo>
                      <a:pt x="171" y="30"/>
                    </a:lnTo>
                    <a:lnTo>
                      <a:pt x="169" y="28"/>
                    </a:lnTo>
                    <a:lnTo>
                      <a:pt x="169" y="23"/>
                    </a:lnTo>
                    <a:lnTo>
                      <a:pt x="171" y="20"/>
                    </a:lnTo>
                    <a:lnTo>
                      <a:pt x="187" y="7"/>
                    </a:lnTo>
                    <a:lnTo>
                      <a:pt x="205" y="3"/>
                    </a:lnTo>
                    <a:lnTo>
                      <a:pt x="216" y="9"/>
                    </a:lnTo>
                    <a:lnTo>
                      <a:pt x="217" y="9"/>
                    </a:lnTo>
                    <a:lnTo>
                      <a:pt x="219" y="11"/>
                    </a:lnTo>
                    <a:lnTo>
                      <a:pt x="221" y="12"/>
                    </a:lnTo>
                    <a:lnTo>
                      <a:pt x="219" y="12"/>
                    </a:lnTo>
                    <a:lnTo>
                      <a:pt x="219" y="12"/>
                    </a:lnTo>
                    <a:lnTo>
                      <a:pt x="219" y="16"/>
                    </a:lnTo>
                    <a:lnTo>
                      <a:pt x="223" y="18"/>
                    </a:lnTo>
                    <a:lnTo>
                      <a:pt x="224" y="18"/>
                    </a:lnTo>
                    <a:lnTo>
                      <a:pt x="224" y="18"/>
                    </a:lnTo>
                    <a:lnTo>
                      <a:pt x="249" y="23"/>
                    </a:lnTo>
                    <a:lnTo>
                      <a:pt x="251" y="23"/>
                    </a:lnTo>
                    <a:lnTo>
                      <a:pt x="253" y="27"/>
                    </a:lnTo>
                    <a:lnTo>
                      <a:pt x="253" y="28"/>
                    </a:lnTo>
                    <a:lnTo>
                      <a:pt x="251" y="28"/>
                    </a:lnTo>
                    <a:lnTo>
                      <a:pt x="251" y="30"/>
                    </a:lnTo>
                    <a:lnTo>
                      <a:pt x="248" y="34"/>
                    </a:lnTo>
                    <a:lnTo>
                      <a:pt x="248" y="34"/>
                    </a:lnTo>
                    <a:lnTo>
                      <a:pt x="249" y="37"/>
                    </a:lnTo>
                    <a:lnTo>
                      <a:pt x="249" y="52"/>
                    </a:lnTo>
                    <a:lnTo>
                      <a:pt x="249" y="53"/>
                    </a:lnTo>
                    <a:lnTo>
                      <a:pt x="248" y="53"/>
                    </a:lnTo>
                    <a:lnTo>
                      <a:pt x="246" y="55"/>
                    </a:lnTo>
                    <a:lnTo>
                      <a:pt x="246" y="57"/>
                    </a:lnTo>
                    <a:lnTo>
                      <a:pt x="248" y="62"/>
                    </a:lnTo>
                    <a:lnTo>
                      <a:pt x="249" y="66"/>
                    </a:lnTo>
                    <a:lnTo>
                      <a:pt x="248" y="70"/>
                    </a:lnTo>
                    <a:lnTo>
                      <a:pt x="253" y="75"/>
                    </a:lnTo>
                    <a:lnTo>
                      <a:pt x="253" y="232"/>
                    </a:lnTo>
                    <a:lnTo>
                      <a:pt x="239" y="232"/>
                    </a:lnTo>
                    <a:lnTo>
                      <a:pt x="239" y="243"/>
                    </a:lnTo>
                    <a:lnTo>
                      <a:pt x="235" y="243"/>
                    </a:lnTo>
                    <a:lnTo>
                      <a:pt x="110" y="177"/>
                    </a:lnTo>
                    <a:lnTo>
                      <a:pt x="89" y="184"/>
                    </a:lnTo>
                    <a:lnTo>
                      <a:pt x="85" y="180"/>
                    </a:lnTo>
                    <a:lnTo>
                      <a:pt x="82" y="177"/>
                    </a:lnTo>
                    <a:lnTo>
                      <a:pt x="80" y="177"/>
                    </a:lnTo>
                    <a:lnTo>
                      <a:pt x="78" y="175"/>
                    </a:lnTo>
                    <a:lnTo>
                      <a:pt x="42" y="173"/>
                    </a:lnTo>
                    <a:lnTo>
                      <a:pt x="41" y="17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80" name="Freeform 2330"/>
              <p:cNvSpPr>
                <a:spLocks/>
              </p:cNvSpPr>
              <p:nvPr/>
            </p:nvSpPr>
            <p:spPr bwMode="auto">
              <a:xfrm>
                <a:off x="2843" y="2154"/>
                <a:ext cx="253" cy="243"/>
              </a:xfrm>
              <a:custGeom>
                <a:avLst/>
                <a:gdLst>
                  <a:gd name="T0" fmla="*/ 33 w 253"/>
                  <a:gd name="T1" fmla="*/ 159 h 243"/>
                  <a:gd name="T2" fmla="*/ 17 w 253"/>
                  <a:gd name="T3" fmla="*/ 155 h 243"/>
                  <a:gd name="T4" fmla="*/ 12 w 253"/>
                  <a:gd name="T5" fmla="*/ 141 h 243"/>
                  <a:gd name="T6" fmla="*/ 1 w 253"/>
                  <a:gd name="T7" fmla="*/ 127 h 243"/>
                  <a:gd name="T8" fmla="*/ 8 w 253"/>
                  <a:gd name="T9" fmla="*/ 121 h 243"/>
                  <a:gd name="T10" fmla="*/ 0 w 253"/>
                  <a:gd name="T11" fmla="*/ 61 h 243"/>
                  <a:gd name="T12" fmla="*/ 3 w 253"/>
                  <a:gd name="T13" fmla="*/ 53 h 243"/>
                  <a:gd name="T14" fmla="*/ 7 w 253"/>
                  <a:gd name="T15" fmla="*/ 52 h 243"/>
                  <a:gd name="T16" fmla="*/ 16 w 253"/>
                  <a:gd name="T17" fmla="*/ 45 h 243"/>
                  <a:gd name="T18" fmla="*/ 14 w 253"/>
                  <a:gd name="T19" fmla="*/ 34 h 243"/>
                  <a:gd name="T20" fmla="*/ 16 w 253"/>
                  <a:gd name="T21" fmla="*/ 28 h 243"/>
                  <a:gd name="T22" fmla="*/ 23 w 253"/>
                  <a:gd name="T23" fmla="*/ 21 h 243"/>
                  <a:gd name="T24" fmla="*/ 35 w 253"/>
                  <a:gd name="T25" fmla="*/ 11 h 243"/>
                  <a:gd name="T26" fmla="*/ 49 w 253"/>
                  <a:gd name="T27" fmla="*/ 5 h 243"/>
                  <a:gd name="T28" fmla="*/ 62 w 253"/>
                  <a:gd name="T29" fmla="*/ 3 h 243"/>
                  <a:gd name="T30" fmla="*/ 69 w 253"/>
                  <a:gd name="T31" fmla="*/ 7 h 243"/>
                  <a:gd name="T32" fmla="*/ 94 w 253"/>
                  <a:gd name="T33" fmla="*/ 14 h 243"/>
                  <a:gd name="T34" fmla="*/ 98 w 253"/>
                  <a:gd name="T35" fmla="*/ 23 h 243"/>
                  <a:gd name="T36" fmla="*/ 142 w 253"/>
                  <a:gd name="T37" fmla="*/ 45 h 243"/>
                  <a:gd name="T38" fmla="*/ 155 w 253"/>
                  <a:gd name="T39" fmla="*/ 53 h 243"/>
                  <a:gd name="T40" fmla="*/ 166 w 253"/>
                  <a:gd name="T41" fmla="*/ 50 h 243"/>
                  <a:gd name="T42" fmla="*/ 173 w 253"/>
                  <a:gd name="T43" fmla="*/ 37 h 243"/>
                  <a:gd name="T44" fmla="*/ 171 w 253"/>
                  <a:gd name="T45" fmla="*/ 30 h 243"/>
                  <a:gd name="T46" fmla="*/ 169 w 253"/>
                  <a:gd name="T47" fmla="*/ 23 h 243"/>
                  <a:gd name="T48" fmla="*/ 187 w 253"/>
                  <a:gd name="T49" fmla="*/ 7 h 243"/>
                  <a:gd name="T50" fmla="*/ 216 w 253"/>
                  <a:gd name="T51" fmla="*/ 9 h 243"/>
                  <a:gd name="T52" fmla="*/ 219 w 253"/>
                  <a:gd name="T53" fmla="*/ 11 h 243"/>
                  <a:gd name="T54" fmla="*/ 219 w 253"/>
                  <a:gd name="T55" fmla="*/ 12 h 243"/>
                  <a:gd name="T56" fmla="*/ 219 w 253"/>
                  <a:gd name="T57" fmla="*/ 16 h 243"/>
                  <a:gd name="T58" fmla="*/ 224 w 253"/>
                  <a:gd name="T59" fmla="*/ 18 h 243"/>
                  <a:gd name="T60" fmla="*/ 249 w 253"/>
                  <a:gd name="T61" fmla="*/ 23 h 243"/>
                  <a:gd name="T62" fmla="*/ 253 w 253"/>
                  <a:gd name="T63" fmla="*/ 27 h 243"/>
                  <a:gd name="T64" fmla="*/ 251 w 253"/>
                  <a:gd name="T65" fmla="*/ 28 h 243"/>
                  <a:gd name="T66" fmla="*/ 248 w 253"/>
                  <a:gd name="T67" fmla="*/ 34 h 243"/>
                  <a:gd name="T68" fmla="*/ 249 w 253"/>
                  <a:gd name="T69" fmla="*/ 37 h 243"/>
                  <a:gd name="T70" fmla="*/ 249 w 253"/>
                  <a:gd name="T71" fmla="*/ 53 h 243"/>
                  <a:gd name="T72" fmla="*/ 246 w 253"/>
                  <a:gd name="T73" fmla="*/ 55 h 243"/>
                  <a:gd name="T74" fmla="*/ 248 w 253"/>
                  <a:gd name="T75" fmla="*/ 62 h 243"/>
                  <a:gd name="T76" fmla="*/ 248 w 253"/>
                  <a:gd name="T77" fmla="*/ 70 h 243"/>
                  <a:gd name="T78" fmla="*/ 253 w 253"/>
                  <a:gd name="T79" fmla="*/ 232 h 243"/>
                  <a:gd name="T80" fmla="*/ 239 w 253"/>
                  <a:gd name="T81" fmla="*/ 243 h 243"/>
                  <a:gd name="T82" fmla="*/ 110 w 253"/>
                  <a:gd name="T83" fmla="*/ 177 h 243"/>
                  <a:gd name="T84" fmla="*/ 85 w 253"/>
                  <a:gd name="T85" fmla="*/ 180 h 243"/>
                  <a:gd name="T86" fmla="*/ 80 w 253"/>
                  <a:gd name="T87" fmla="*/ 177 h 243"/>
                  <a:gd name="T88" fmla="*/ 42 w 253"/>
                  <a:gd name="T89" fmla="*/ 173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3" h="243">
                    <a:moveTo>
                      <a:pt x="41" y="173"/>
                    </a:moveTo>
                    <a:lnTo>
                      <a:pt x="33" y="159"/>
                    </a:lnTo>
                    <a:lnTo>
                      <a:pt x="25" y="155"/>
                    </a:lnTo>
                    <a:lnTo>
                      <a:pt x="17" y="155"/>
                    </a:lnTo>
                    <a:lnTo>
                      <a:pt x="12" y="152"/>
                    </a:lnTo>
                    <a:lnTo>
                      <a:pt x="12" y="141"/>
                    </a:lnTo>
                    <a:lnTo>
                      <a:pt x="3" y="130"/>
                    </a:lnTo>
                    <a:lnTo>
                      <a:pt x="1" y="127"/>
                    </a:lnTo>
                    <a:lnTo>
                      <a:pt x="1" y="125"/>
                    </a:lnTo>
                    <a:lnTo>
                      <a:pt x="8" y="121"/>
                    </a:lnTo>
                    <a:lnTo>
                      <a:pt x="7" y="70"/>
                    </a:lnTo>
                    <a:lnTo>
                      <a:pt x="0" y="61"/>
                    </a:lnTo>
                    <a:lnTo>
                      <a:pt x="0" y="55"/>
                    </a:lnTo>
                    <a:lnTo>
                      <a:pt x="3" y="53"/>
                    </a:lnTo>
                    <a:lnTo>
                      <a:pt x="3" y="52"/>
                    </a:lnTo>
                    <a:lnTo>
                      <a:pt x="7" y="52"/>
                    </a:lnTo>
                    <a:lnTo>
                      <a:pt x="14" y="46"/>
                    </a:lnTo>
                    <a:lnTo>
                      <a:pt x="16" y="45"/>
                    </a:lnTo>
                    <a:lnTo>
                      <a:pt x="16" y="41"/>
                    </a:lnTo>
                    <a:lnTo>
                      <a:pt x="14" y="34"/>
                    </a:lnTo>
                    <a:lnTo>
                      <a:pt x="14" y="30"/>
                    </a:lnTo>
                    <a:lnTo>
                      <a:pt x="16" y="28"/>
                    </a:lnTo>
                    <a:lnTo>
                      <a:pt x="21" y="25"/>
                    </a:lnTo>
                    <a:lnTo>
                      <a:pt x="23" y="21"/>
                    </a:lnTo>
                    <a:lnTo>
                      <a:pt x="33" y="14"/>
                    </a:lnTo>
                    <a:lnTo>
                      <a:pt x="35" y="11"/>
                    </a:lnTo>
                    <a:lnTo>
                      <a:pt x="33" y="0"/>
                    </a:lnTo>
                    <a:lnTo>
                      <a:pt x="49" y="5"/>
                    </a:lnTo>
                    <a:lnTo>
                      <a:pt x="55" y="5"/>
                    </a:lnTo>
                    <a:lnTo>
                      <a:pt x="62" y="3"/>
                    </a:lnTo>
                    <a:lnTo>
                      <a:pt x="66" y="5"/>
                    </a:lnTo>
                    <a:lnTo>
                      <a:pt x="69" y="7"/>
                    </a:lnTo>
                    <a:lnTo>
                      <a:pt x="73" y="7"/>
                    </a:lnTo>
                    <a:lnTo>
                      <a:pt x="94" y="14"/>
                    </a:lnTo>
                    <a:lnTo>
                      <a:pt x="96" y="16"/>
                    </a:lnTo>
                    <a:lnTo>
                      <a:pt x="98" y="23"/>
                    </a:lnTo>
                    <a:lnTo>
                      <a:pt x="105" y="34"/>
                    </a:lnTo>
                    <a:lnTo>
                      <a:pt x="142" y="45"/>
                    </a:lnTo>
                    <a:lnTo>
                      <a:pt x="149" y="52"/>
                    </a:lnTo>
                    <a:lnTo>
                      <a:pt x="155" y="53"/>
                    </a:lnTo>
                    <a:lnTo>
                      <a:pt x="158" y="53"/>
                    </a:lnTo>
                    <a:lnTo>
                      <a:pt x="166" y="50"/>
                    </a:lnTo>
                    <a:lnTo>
                      <a:pt x="173" y="39"/>
                    </a:lnTo>
                    <a:lnTo>
                      <a:pt x="173" y="37"/>
                    </a:lnTo>
                    <a:lnTo>
                      <a:pt x="171" y="34"/>
                    </a:lnTo>
                    <a:lnTo>
                      <a:pt x="171" y="30"/>
                    </a:lnTo>
                    <a:lnTo>
                      <a:pt x="169" y="28"/>
                    </a:lnTo>
                    <a:lnTo>
                      <a:pt x="169" y="23"/>
                    </a:lnTo>
                    <a:lnTo>
                      <a:pt x="171" y="20"/>
                    </a:lnTo>
                    <a:lnTo>
                      <a:pt x="187" y="7"/>
                    </a:lnTo>
                    <a:lnTo>
                      <a:pt x="205" y="3"/>
                    </a:lnTo>
                    <a:lnTo>
                      <a:pt x="216" y="9"/>
                    </a:lnTo>
                    <a:lnTo>
                      <a:pt x="217" y="9"/>
                    </a:lnTo>
                    <a:lnTo>
                      <a:pt x="219" y="11"/>
                    </a:lnTo>
                    <a:lnTo>
                      <a:pt x="221" y="12"/>
                    </a:lnTo>
                    <a:lnTo>
                      <a:pt x="219" y="12"/>
                    </a:lnTo>
                    <a:lnTo>
                      <a:pt x="219" y="12"/>
                    </a:lnTo>
                    <a:lnTo>
                      <a:pt x="219" y="16"/>
                    </a:lnTo>
                    <a:lnTo>
                      <a:pt x="223" y="18"/>
                    </a:lnTo>
                    <a:lnTo>
                      <a:pt x="224" y="18"/>
                    </a:lnTo>
                    <a:lnTo>
                      <a:pt x="224" y="18"/>
                    </a:lnTo>
                    <a:lnTo>
                      <a:pt x="249" y="23"/>
                    </a:lnTo>
                    <a:lnTo>
                      <a:pt x="251" y="23"/>
                    </a:lnTo>
                    <a:lnTo>
                      <a:pt x="253" y="27"/>
                    </a:lnTo>
                    <a:lnTo>
                      <a:pt x="253" y="28"/>
                    </a:lnTo>
                    <a:lnTo>
                      <a:pt x="251" y="28"/>
                    </a:lnTo>
                    <a:lnTo>
                      <a:pt x="251" y="30"/>
                    </a:lnTo>
                    <a:lnTo>
                      <a:pt x="248" y="34"/>
                    </a:lnTo>
                    <a:lnTo>
                      <a:pt x="248" y="34"/>
                    </a:lnTo>
                    <a:lnTo>
                      <a:pt x="249" y="37"/>
                    </a:lnTo>
                    <a:lnTo>
                      <a:pt x="249" y="52"/>
                    </a:lnTo>
                    <a:lnTo>
                      <a:pt x="249" y="53"/>
                    </a:lnTo>
                    <a:lnTo>
                      <a:pt x="248" y="53"/>
                    </a:lnTo>
                    <a:lnTo>
                      <a:pt x="246" y="55"/>
                    </a:lnTo>
                    <a:lnTo>
                      <a:pt x="246" y="57"/>
                    </a:lnTo>
                    <a:lnTo>
                      <a:pt x="248" y="62"/>
                    </a:lnTo>
                    <a:lnTo>
                      <a:pt x="249" y="66"/>
                    </a:lnTo>
                    <a:lnTo>
                      <a:pt x="248" y="70"/>
                    </a:lnTo>
                    <a:lnTo>
                      <a:pt x="253" y="75"/>
                    </a:lnTo>
                    <a:lnTo>
                      <a:pt x="253" y="232"/>
                    </a:lnTo>
                    <a:lnTo>
                      <a:pt x="239" y="232"/>
                    </a:lnTo>
                    <a:lnTo>
                      <a:pt x="239" y="243"/>
                    </a:lnTo>
                    <a:lnTo>
                      <a:pt x="235" y="243"/>
                    </a:lnTo>
                    <a:lnTo>
                      <a:pt x="110" y="177"/>
                    </a:lnTo>
                    <a:lnTo>
                      <a:pt x="89" y="184"/>
                    </a:lnTo>
                    <a:lnTo>
                      <a:pt x="85" y="180"/>
                    </a:lnTo>
                    <a:lnTo>
                      <a:pt x="82" y="177"/>
                    </a:lnTo>
                    <a:lnTo>
                      <a:pt x="80" y="177"/>
                    </a:lnTo>
                    <a:lnTo>
                      <a:pt x="78" y="175"/>
                    </a:lnTo>
                    <a:lnTo>
                      <a:pt x="42" y="173"/>
                    </a:lnTo>
                    <a:lnTo>
                      <a:pt x="41" y="17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81" name="Freeform 2331"/>
              <p:cNvSpPr>
                <a:spLocks/>
              </p:cNvSpPr>
              <p:nvPr/>
            </p:nvSpPr>
            <p:spPr bwMode="auto">
              <a:xfrm>
                <a:off x="3387" y="2893"/>
                <a:ext cx="5" cy="11"/>
              </a:xfrm>
              <a:custGeom>
                <a:avLst/>
                <a:gdLst>
                  <a:gd name="T0" fmla="*/ 4 w 5"/>
                  <a:gd name="T1" fmla="*/ 2 h 11"/>
                  <a:gd name="T2" fmla="*/ 4 w 5"/>
                  <a:gd name="T3" fmla="*/ 2 h 11"/>
                  <a:gd name="T4" fmla="*/ 4 w 5"/>
                  <a:gd name="T5" fmla="*/ 6 h 11"/>
                  <a:gd name="T6" fmla="*/ 5 w 5"/>
                  <a:gd name="T7" fmla="*/ 9 h 11"/>
                  <a:gd name="T8" fmla="*/ 5 w 5"/>
                  <a:gd name="T9" fmla="*/ 9 h 11"/>
                  <a:gd name="T10" fmla="*/ 4 w 5"/>
                  <a:gd name="T11" fmla="*/ 11 h 11"/>
                  <a:gd name="T12" fmla="*/ 4 w 5"/>
                  <a:gd name="T13" fmla="*/ 11 h 11"/>
                  <a:gd name="T14" fmla="*/ 2 w 5"/>
                  <a:gd name="T15" fmla="*/ 9 h 11"/>
                  <a:gd name="T16" fmla="*/ 2 w 5"/>
                  <a:gd name="T17" fmla="*/ 7 h 11"/>
                  <a:gd name="T18" fmla="*/ 0 w 5"/>
                  <a:gd name="T19" fmla="*/ 7 h 11"/>
                  <a:gd name="T20" fmla="*/ 2 w 5"/>
                  <a:gd name="T21" fmla="*/ 6 h 11"/>
                  <a:gd name="T22" fmla="*/ 2 w 5"/>
                  <a:gd name="T23" fmla="*/ 2 h 11"/>
                  <a:gd name="T24" fmla="*/ 2 w 5"/>
                  <a:gd name="T25" fmla="*/ 2 h 11"/>
                  <a:gd name="T26" fmla="*/ 4 w 5"/>
                  <a:gd name="T27" fmla="*/ 0 h 11"/>
                  <a:gd name="T28" fmla="*/ 4 w 5"/>
                  <a:gd name="T29"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11">
                    <a:moveTo>
                      <a:pt x="4" y="2"/>
                    </a:moveTo>
                    <a:lnTo>
                      <a:pt x="4" y="2"/>
                    </a:lnTo>
                    <a:lnTo>
                      <a:pt x="4" y="6"/>
                    </a:lnTo>
                    <a:lnTo>
                      <a:pt x="5" y="9"/>
                    </a:lnTo>
                    <a:lnTo>
                      <a:pt x="5" y="9"/>
                    </a:lnTo>
                    <a:lnTo>
                      <a:pt x="4" y="11"/>
                    </a:lnTo>
                    <a:lnTo>
                      <a:pt x="4" y="11"/>
                    </a:lnTo>
                    <a:lnTo>
                      <a:pt x="2" y="9"/>
                    </a:lnTo>
                    <a:lnTo>
                      <a:pt x="2" y="7"/>
                    </a:lnTo>
                    <a:lnTo>
                      <a:pt x="0" y="7"/>
                    </a:lnTo>
                    <a:lnTo>
                      <a:pt x="2" y="6"/>
                    </a:lnTo>
                    <a:lnTo>
                      <a:pt x="2" y="2"/>
                    </a:lnTo>
                    <a:lnTo>
                      <a:pt x="2" y="2"/>
                    </a:lnTo>
                    <a:lnTo>
                      <a:pt x="4" y="0"/>
                    </a:lnTo>
                    <a:lnTo>
                      <a:pt x="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82" name="Freeform 2332"/>
              <p:cNvSpPr>
                <a:spLocks/>
              </p:cNvSpPr>
              <p:nvPr/>
            </p:nvSpPr>
            <p:spPr bwMode="auto">
              <a:xfrm>
                <a:off x="3387" y="2893"/>
                <a:ext cx="5" cy="11"/>
              </a:xfrm>
              <a:custGeom>
                <a:avLst/>
                <a:gdLst>
                  <a:gd name="T0" fmla="*/ 4 w 5"/>
                  <a:gd name="T1" fmla="*/ 2 h 11"/>
                  <a:gd name="T2" fmla="*/ 4 w 5"/>
                  <a:gd name="T3" fmla="*/ 2 h 11"/>
                  <a:gd name="T4" fmla="*/ 4 w 5"/>
                  <a:gd name="T5" fmla="*/ 6 h 11"/>
                  <a:gd name="T6" fmla="*/ 5 w 5"/>
                  <a:gd name="T7" fmla="*/ 9 h 11"/>
                  <a:gd name="T8" fmla="*/ 5 w 5"/>
                  <a:gd name="T9" fmla="*/ 9 h 11"/>
                  <a:gd name="T10" fmla="*/ 4 w 5"/>
                  <a:gd name="T11" fmla="*/ 11 h 11"/>
                  <a:gd name="T12" fmla="*/ 4 w 5"/>
                  <a:gd name="T13" fmla="*/ 11 h 11"/>
                  <a:gd name="T14" fmla="*/ 2 w 5"/>
                  <a:gd name="T15" fmla="*/ 9 h 11"/>
                  <a:gd name="T16" fmla="*/ 2 w 5"/>
                  <a:gd name="T17" fmla="*/ 7 h 11"/>
                  <a:gd name="T18" fmla="*/ 0 w 5"/>
                  <a:gd name="T19" fmla="*/ 7 h 11"/>
                  <a:gd name="T20" fmla="*/ 2 w 5"/>
                  <a:gd name="T21" fmla="*/ 6 h 11"/>
                  <a:gd name="T22" fmla="*/ 2 w 5"/>
                  <a:gd name="T23" fmla="*/ 2 h 11"/>
                  <a:gd name="T24" fmla="*/ 2 w 5"/>
                  <a:gd name="T25" fmla="*/ 2 h 11"/>
                  <a:gd name="T26" fmla="*/ 4 w 5"/>
                  <a:gd name="T27" fmla="*/ 0 h 11"/>
                  <a:gd name="T28" fmla="*/ 4 w 5"/>
                  <a:gd name="T29"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11">
                    <a:moveTo>
                      <a:pt x="4" y="2"/>
                    </a:moveTo>
                    <a:lnTo>
                      <a:pt x="4" y="2"/>
                    </a:lnTo>
                    <a:lnTo>
                      <a:pt x="4" y="6"/>
                    </a:lnTo>
                    <a:lnTo>
                      <a:pt x="5" y="9"/>
                    </a:lnTo>
                    <a:lnTo>
                      <a:pt x="5" y="9"/>
                    </a:lnTo>
                    <a:lnTo>
                      <a:pt x="4" y="11"/>
                    </a:lnTo>
                    <a:lnTo>
                      <a:pt x="4" y="11"/>
                    </a:lnTo>
                    <a:lnTo>
                      <a:pt x="2" y="9"/>
                    </a:lnTo>
                    <a:lnTo>
                      <a:pt x="2" y="7"/>
                    </a:lnTo>
                    <a:lnTo>
                      <a:pt x="0" y="7"/>
                    </a:lnTo>
                    <a:lnTo>
                      <a:pt x="2" y="6"/>
                    </a:lnTo>
                    <a:lnTo>
                      <a:pt x="2" y="2"/>
                    </a:lnTo>
                    <a:lnTo>
                      <a:pt x="2" y="2"/>
                    </a:lnTo>
                    <a:lnTo>
                      <a:pt x="4" y="0"/>
                    </a:lnTo>
                    <a:lnTo>
                      <a:pt x="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83" name="Freeform 2333"/>
              <p:cNvSpPr>
                <a:spLocks/>
              </p:cNvSpPr>
              <p:nvPr/>
            </p:nvSpPr>
            <p:spPr bwMode="auto">
              <a:xfrm>
                <a:off x="3394" y="2909"/>
                <a:ext cx="4" cy="2"/>
              </a:xfrm>
              <a:custGeom>
                <a:avLst/>
                <a:gdLst>
                  <a:gd name="T0" fmla="*/ 4 w 4"/>
                  <a:gd name="T1" fmla="*/ 2 h 2"/>
                  <a:gd name="T2" fmla="*/ 4 w 4"/>
                  <a:gd name="T3" fmla="*/ 2 h 2"/>
                  <a:gd name="T4" fmla="*/ 2 w 4"/>
                  <a:gd name="T5" fmla="*/ 2 h 2"/>
                  <a:gd name="T6" fmla="*/ 2 w 4"/>
                  <a:gd name="T7" fmla="*/ 2 h 2"/>
                  <a:gd name="T8" fmla="*/ 0 w 4"/>
                  <a:gd name="T9" fmla="*/ 2 h 2"/>
                  <a:gd name="T10" fmla="*/ 0 w 4"/>
                  <a:gd name="T11" fmla="*/ 0 h 2"/>
                  <a:gd name="T12" fmla="*/ 0 w 4"/>
                  <a:gd name="T13" fmla="*/ 0 h 2"/>
                  <a:gd name="T14" fmla="*/ 4 w 4"/>
                  <a:gd name="T15" fmla="*/ 2 h 2"/>
                  <a:gd name="T16" fmla="*/ 4 w 4"/>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2"/>
                    </a:moveTo>
                    <a:lnTo>
                      <a:pt x="4" y="2"/>
                    </a:lnTo>
                    <a:lnTo>
                      <a:pt x="2" y="2"/>
                    </a:lnTo>
                    <a:lnTo>
                      <a:pt x="2" y="2"/>
                    </a:lnTo>
                    <a:lnTo>
                      <a:pt x="0" y="2"/>
                    </a:lnTo>
                    <a:lnTo>
                      <a:pt x="0" y="0"/>
                    </a:lnTo>
                    <a:lnTo>
                      <a:pt x="0" y="0"/>
                    </a:lnTo>
                    <a:lnTo>
                      <a:pt x="4" y="2"/>
                    </a:lnTo>
                    <a:lnTo>
                      <a:pt x="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84" name="Freeform 2334"/>
              <p:cNvSpPr>
                <a:spLocks/>
              </p:cNvSpPr>
              <p:nvPr/>
            </p:nvSpPr>
            <p:spPr bwMode="auto">
              <a:xfrm>
                <a:off x="3394" y="2909"/>
                <a:ext cx="4" cy="2"/>
              </a:xfrm>
              <a:custGeom>
                <a:avLst/>
                <a:gdLst>
                  <a:gd name="T0" fmla="*/ 4 w 4"/>
                  <a:gd name="T1" fmla="*/ 2 h 2"/>
                  <a:gd name="T2" fmla="*/ 4 w 4"/>
                  <a:gd name="T3" fmla="*/ 2 h 2"/>
                  <a:gd name="T4" fmla="*/ 2 w 4"/>
                  <a:gd name="T5" fmla="*/ 2 h 2"/>
                  <a:gd name="T6" fmla="*/ 2 w 4"/>
                  <a:gd name="T7" fmla="*/ 2 h 2"/>
                  <a:gd name="T8" fmla="*/ 0 w 4"/>
                  <a:gd name="T9" fmla="*/ 2 h 2"/>
                  <a:gd name="T10" fmla="*/ 0 w 4"/>
                  <a:gd name="T11" fmla="*/ 0 h 2"/>
                  <a:gd name="T12" fmla="*/ 0 w 4"/>
                  <a:gd name="T13" fmla="*/ 0 h 2"/>
                  <a:gd name="T14" fmla="*/ 4 w 4"/>
                  <a:gd name="T15" fmla="*/ 2 h 2"/>
                  <a:gd name="T16" fmla="*/ 4 w 4"/>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4" y="2"/>
                    </a:moveTo>
                    <a:lnTo>
                      <a:pt x="4" y="2"/>
                    </a:lnTo>
                    <a:lnTo>
                      <a:pt x="2" y="2"/>
                    </a:lnTo>
                    <a:lnTo>
                      <a:pt x="2" y="2"/>
                    </a:lnTo>
                    <a:lnTo>
                      <a:pt x="0" y="2"/>
                    </a:lnTo>
                    <a:lnTo>
                      <a:pt x="0" y="0"/>
                    </a:lnTo>
                    <a:lnTo>
                      <a:pt x="0" y="0"/>
                    </a:lnTo>
                    <a:lnTo>
                      <a:pt x="4" y="2"/>
                    </a:lnTo>
                    <a:lnTo>
                      <a:pt x="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85" name="Freeform 2335"/>
              <p:cNvSpPr>
                <a:spLocks/>
              </p:cNvSpPr>
              <p:nvPr/>
            </p:nvSpPr>
            <p:spPr bwMode="auto">
              <a:xfrm>
                <a:off x="3405" y="2907"/>
                <a:ext cx="4" cy="4"/>
              </a:xfrm>
              <a:custGeom>
                <a:avLst/>
                <a:gdLst>
                  <a:gd name="T0" fmla="*/ 4 w 4"/>
                  <a:gd name="T1" fmla="*/ 0 h 4"/>
                  <a:gd name="T2" fmla="*/ 4 w 4"/>
                  <a:gd name="T3" fmla="*/ 0 h 4"/>
                  <a:gd name="T4" fmla="*/ 4 w 4"/>
                  <a:gd name="T5" fmla="*/ 4 h 4"/>
                  <a:gd name="T6" fmla="*/ 4 w 4"/>
                  <a:gd name="T7" fmla="*/ 4 h 4"/>
                  <a:gd name="T8" fmla="*/ 2 w 4"/>
                  <a:gd name="T9" fmla="*/ 4 h 4"/>
                  <a:gd name="T10" fmla="*/ 2 w 4"/>
                  <a:gd name="T11" fmla="*/ 2 h 4"/>
                  <a:gd name="T12" fmla="*/ 2 w 4"/>
                  <a:gd name="T13" fmla="*/ 2 h 4"/>
                  <a:gd name="T14" fmla="*/ 0 w 4"/>
                  <a:gd name="T15" fmla="*/ 2 h 4"/>
                  <a:gd name="T16" fmla="*/ 0 w 4"/>
                  <a:gd name="T17" fmla="*/ 0 h 4"/>
                  <a:gd name="T18" fmla="*/ 2 w 4"/>
                  <a:gd name="T19" fmla="*/ 2 h 4"/>
                  <a:gd name="T20" fmla="*/ 2 w 4"/>
                  <a:gd name="T21" fmla="*/ 0 h 4"/>
                  <a:gd name="T22" fmla="*/ 4 w 4"/>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4" y="0"/>
                    </a:moveTo>
                    <a:lnTo>
                      <a:pt x="4" y="0"/>
                    </a:lnTo>
                    <a:lnTo>
                      <a:pt x="4" y="4"/>
                    </a:lnTo>
                    <a:lnTo>
                      <a:pt x="4" y="4"/>
                    </a:lnTo>
                    <a:lnTo>
                      <a:pt x="2" y="4"/>
                    </a:lnTo>
                    <a:lnTo>
                      <a:pt x="2" y="2"/>
                    </a:lnTo>
                    <a:lnTo>
                      <a:pt x="2" y="2"/>
                    </a:lnTo>
                    <a:lnTo>
                      <a:pt x="0" y="2"/>
                    </a:lnTo>
                    <a:lnTo>
                      <a:pt x="0" y="0"/>
                    </a:lnTo>
                    <a:lnTo>
                      <a:pt x="2" y="2"/>
                    </a:lnTo>
                    <a:lnTo>
                      <a:pt x="2" y="0"/>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86" name="Freeform 2336"/>
              <p:cNvSpPr>
                <a:spLocks/>
              </p:cNvSpPr>
              <p:nvPr/>
            </p:nvSpPr>
            <p:spPr bwMode="auto">
              <a:xfrm>
                <a:off x="3405" y="2907"/>
                <a:ext cx="4" cy="4"/>
              </a:xfrm>
              <a:custGeom>
                <a:avLst/>
                <a:gdLst>
                  <a:gd name="T0" fmla="*/ 4 w 4"/>
                  <a:gd name="T1" fmla="*/ 0 h 4"/>
                  <a:gd name="T2" fmla="*/ 4 w 4"/>
                  <a:gd name="T3" fmla="*/ 0 h 4"/>
                  <a:gd name="T4" fmla="*/ 4 w 4"/>
                  <a:gd name="T5" fmla="*/ 4 h 4"/>
                  <a:gd name="T6" fmla="*/ 4 w 4"/>
                  <a:gd name="T7" fmla="*/ 4 h 4"/>
                  <a:gd name="T8" fmla="*/ 2 w 4"/>
                  <a:gd name="T9" fmla="*/ 4 h 4"/>
                  <a:gd name="T10" fmla="*/ 2 w 4"/>
                  <a:gd name="T11" fmla="*/ 2 h 4"/>
                  <a:gd name="T12" fmla="*/ 2 w 4"/>
                  <a:gd name="T13" fmla="*/ 2 h 4"/>
                  <a:gd name="T14" fmla="*/ 0 w 4"/>
                  <a:gd name="T15" fmla="*/ 2 h 4"/>
                  <a:gd name="T16" fmla="*/ 0 w 4"/>
                  <a:gd name="T17" fmla="*/ 0 h 4"/>
                  <a:gd name="T18" fmla="*/ 2 w 4"/>
                  <a:gd name="T19" fmla="*/ 2 h 4"/>
                  <a:gd name="T20" fmla="*/ 2 w 4"/>
                  <a:gd name="T21" fmla="*/ 0 h 4"/>
                  <a:gd name="T22" fmla="*/ 4 w 4"/>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4">
                    <a:moveTo>
                      <a:pt x="4" y="0"/>
                    </a:moveTo>
                    <a:lnTo>
                      <a:pt x="4" y="0"/>
                    </a:lnTo>
                    <a:lnTo>
                      <a:pt x="4" y="4"/>
                    </a:lnTo>
                    <a:lnTo>
                      <a:pt x="4" y="4"/>
                    </a:lnTo>
                    <a:lnTo>
                      <a:pt x="2" y="4"/>
                    </a:lnTo>
                    <a:lnTo>
                      <a:pt x="2" y="2"/>
                    </a:lnTo>
                    <a:lnTo>
                      <a:pt x="2" y="2"/>
                    </a:lnTo>
                    <a:lnTo>
                      <a:pt x="0" y="2"/>
                    </a:lnTo>
                    <a:lnTo>
                      <a:pt x="0" y="0"/>
                    </a:lnTo>
                    <a:lnTo>
                      <a:pt x="2" y="2"/>
                    </a:lnTo>
                    <a:lnTo>
                      <a:pt x="2" y="0"/>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87" name="Freeform 2337"/>
              <p:cNvSpPr>
                <a:spLocks/>
              </p:cNvSpPr>
              <p:nvPr/>
            </p:nvSpPr>
            <p:spPr bwMode="auto">
              <a:xfrm>
                <a:off x="3417" y="2916"/>
                <a:ext cx="4" cy="6"/>
              </a:xfrm>
              <a:custGeom>
                <a:avLst/>
                <a:gdLst>
                  <a:gd name="T0" fmla="*/ 4 w 4"/>
                  <a:gd name="T1" fmla="*/ 2 h 6"/>
                  <a:gd name="T2" fmla="*/ 2 w 4"/>
                  <a:gd name="T3" fmla="*/ 4 h 6"/>
                  <a:gd name="T4" fmla="*/ 4 w 4"/>
                  <a:gd name="T5" fmla="*/ 4 h 6"/>
                  <a:gd name="T6" fmla="*/ 2 w 4"/>
                  <a:gd name="T7" fmla="*/ 6 h 6"/>
                  <a:gd name="T8" fmla="*/ 2 w 4"/>
                  <a:gd name="T9" fmla="*/ 6 h 6"/>
                  <a:gd name="T10" fmla="*/ 0 w 4"/>
                  <a:gd name="T11" fmla="*/ 6 h 6"/>
                  <a:gd name="T12" fmla="*/ 0 w 4"/>
                  <a:gd name="T13" fmla="*/ 4 h 6"/>
                  <a:gd name="T14" fmla="*/ 0 w 4"/>
                  <a:gd name="T15" fmla="*/ 2 h 6"/>
                  <a:gd name="T16" fmla="*/ 0 w 4"/>
                  <a:gd name="T17" fmla="*/ 2 h 6"/>
                  <a:gd name="T18" fmla="*/ 0 w 4"/>
                  <a:gd name="T19" fmla="*/ 0 h 6"/>
                  <a:gd name="T20" fmla="*/ 0 w 4"/>
                  <a:gd name="T21" fmla="*/ 0 h 6"/>
                  <a:gd name="T22" fmla="*/ 4 w 4"/>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4" y="2"/>
                    </a:moveTo>
                    <a:lnTo>
                      <a:pt x="2" y="4"/>
                    </a:lnTo>
                    <a:lnTo>
                      <a:pt x="4" y="4"/>
                    </a:lnTo>
                    <a:lnTo>
                      <a:pt x="2" y="6"/>
                    </a:lnTo>
                    <a:lnTo>
                      <a:pt x="2" y="6"/>
                    </a:lnTo>
                    <a:lnTo>
                      <a:pt x="0" y="6"/>
                    </a:lnTo>
                    <a:lnTo>
                      <a:pt x="0" y="4"/>
                    </a:lnTo>
                    <a:lnTo>
                      <a:pt x="0" y="2"/>
                    </a:lnTo>
                    <a:lnTo>
                      <a:pt x="0" y="2"/>
                    </a:lnTo>
                    <a:lnTo>
                      <a:pt x="0" y="0"/>
                    </a:lnTo>
                    <a:lnTo>
                      <a:pt x="0" y="0"/>
                    </a:lnTo>
                    <a:lnTo>
                      <a:pt x="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88" name="Freeform 2338"/>
              <p:cNvSpPr>
                <a:spLocks/>
              </p:cNvSpPr>
              <p:nvPr/>
            </p:nvSpPr>
            <p:spPr bwMode="auto">
              <a:xfrm>
                <a:off x="3417" y="2916"/>
                <a:ext cx="4" cy="6"/>
              </a:xfrm>
              <a:custGeom>
                <a:avLst/>
                <a:gdLst>
                  <a:gd name="T0" fmla="*/ 4 w 4"/>
                  <a:gd name="T1" fmla="*/ 2 h 6"/>
                  <a:gd name="T2" fmla="*/ 2 w 4"/>
                  <a:gd name="T3" fmla="*/ 4 h 6"/>
                  <a:gd name="T4" fmla="*/ 4 w 4"/>
                  <a:gd name="T5" fmla="*/ 4 h 6"/>
                  <a:gd name="T6" fmla="*/ 2 w 4"/>
                  <a:gd name="T7" fmla="*/ 6 h 6"/>
                  <a:gd name="T8" fmla="*/ 2 w 4"/>
                  <a:gd name="T9" fmla="*/ 6 h 6"/>
                  <a:gd name="T10" fmla="*/ 0 w 4"/>
                  <a:gd name="T11" fmla="*/ 6 h 6"/>
                  <a:gd name="T12" fmla="*/ 0 w 4"/>
                  <a:gd name="T13" fmla="*/ 4 h 6"/>
                  <a:gd name="T14" fmla="*/ 0 w 4"/>
                  <a:gd name="T15" fmla="*/ 2 h 6"/>
                  <a:gd name="T16" fmla="*/ 0 w 4"/>
                  <a:gd name="T17" fmla="*/ 2 h 6"/>
                  <a:gd name="T18" fmla="*/ 0 w 4"/>
                  <a:gd name="T19" fmla="*/ 0 h 6"/>
                  <a:gd name="T20" fmla="*/ 0 w 4"/>
                  <a:gd name="T21" fmla="*/ 0 h 6"/>
                  <a:gd name="T22" fmla="*/ 4 w 4"/>
                  <a:gd name="T23"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6">
                    <a:moveTo>
                      <a:pt x="4" y="2"/>
                    </a:moveTo>
                    <a:lnTo>
                      <a:pt x="2" y="4"/>
                    </a:lnTo>
                    <a:lnTo>
                      <a:pt x="4" y="4"/>
                    </a:lnTo>
                    <a:lnTo>
                      <a:pt x="2" y="6"/>
                    </a:lnTo>
                    <a:lnTo>
                      <a:pt x="2" y="6"/>
                    </a:lnTo>
                    <a:lnTo>
                      <a:pt x="0" y="6"/>
                    </a:lnTo>
                    <a:lnTo>
                      <a:pt x="0" y="4"/>
                    </a:lnTo>
                    <a:lnTo>
                      <a:pt x="0" y="2"/>
                    </a:lnTo>
                    <a:lnTo>
                      <a:pt x="0" y="2"/>
                    </a:lnTo>
                    <a:lnTo>
                      <a:pt x="0" y="0"/>
                    </a:lnTo>
                    <a:lnTo>
                      <a:pt x="0" y="0"/>
                    </a:lnTo>
                    <a:lnTo>
                      <a:pt x="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489" name="Freeform 2339"/>
              <p:cNvSpPr>
                <a:spLocks/>
              </p:cNvSpPr>
              <p:nvPr/>
            </p:nvSpPr>
            <p:spPr bwMode="auto">
              <a:xfrm>
                <a:off x="2439" y="2534"/>
                <a:ext cx="4" cy="4"/>
              </a:xfrm>
              <a:custGeom>
                <a:avLst/>
                <a:gdLst>
                  <a:gd name="T0" fmla="*/ 4 w 4"/>
                  <a:gd name="T1" fmla="*/ 2 h 4"/>
                  <a:gd name="T2" fmla="*/ 2 w 4"/>
                  <a:gd name="T3" fmla="*/ 0 h 4"/>
                  <a:gd name="T4" fmla="*/ 0 w 4"/>
                  <a:gd name="T5" fmla="*/ 2 h 4"/>
                  <a:gd name="T6" fmla="*/ 0 w 4"/>
                  <a:gd name="T7" fmla="*/ 4 h 4"/>
                  <a:gd name="T8" fmla="*/ 2 w 4"/>
                  <a:gd name="T9" fmla="*/ 2 h 4"/>
                  <a:gd name="T10" fmla="*/ 4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4" y="2"/>
                    </a:moveTo>
                    <a:lnTo>
                      <a:pt x="2" y="0"/>
                    </a:lnTo>
                    <a:lnTo>
                      <a:pt x="0" y="2"/>
                    </a:lnTo>
                    <a:lnTo>
                      <a:pt x="0" y="4"/>
                    </a:lnTo>
                    <a:lnTo>
                      <a:pt x="2" y="2"/>
                    </a:lnTo>
                    <a:lnTo>
                      <a:pt x="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grpSp>
        <p:grpSp>
          <p:nvGrpSpPr>
            <p:cNvPr id="143" name="Group 2541"/>
            <p:cNvGrpSpPr>
              <a:grpSpLocks/>
            </p:cNvGrpSpPr>
            <p:nvPr/>
          </p:nvGrpSpPr>
          <p:grpSpPr bwMode="auto">
            <a:xfrm>
              <a:off x="3908747" y="3060189"/>
              <a:ext cx="4124767" cy="2579187"/>
              <a:chOff x="2291" y="1702"/>
              <a:chExt cx="2562" cy="1602"/>
            </a:xfrm>
            <a:solidFill>
              <a:srgbClr val="D9D9D9"/>
            </a:solidFill>
          </p:grpSpPr>
          <p:sp>
            <p:nvSpPr>
              <p:cNvPr id="1090" name="Freeform 2341"/>
              <p:cNvSpPr>
                <a:spLocks/>
              </p:cNvSpPr>
              <p:nvPr/>
            </p:nvSpPr>
            <p:spPr bwMode="auto">
              <a:xfrm>
                <a:off x="2439" y="2534"/>
                <a:ext cx="4" cy="4"/>
              </a:xfrm>
              <a:custGeom>
                <a:avLst/>
                <a:gdLst>
                  <a:gd name="T0" fmla="*/ 4 w 4"/>
                  <a:gd name="T1" fmla="*/ 2 h 4"/>
                  <a:gd name="T2" fmla="*/ 2 w 4"/>
                  <a:gd name="T3" fmla="*/ 0 h 4"/>
                  <a:gd name="T4" fmla="*/ 0 w 4"/>
                  <a:gd name="T5" fmla="*/ 2 h 4"/>
                  <a:gd name="T6" fmla="*/ 0 w 4"/>
                  <a:gd name="T7" fmla="*/ 4 h 4"/>
                  <a:gd name="T8" fmla="*/ 2 w 4"/>
                  <a:gd name="T9" fmla="*/ 2 h 4"/>
                  <a:gd name="T10" fmla="*/ 4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4" y="2"/>
                    </a:moveTo>
                    <a:lnTo>
                      <a:pt x="2" y="0"/>
                    </a:lnTo>
                    <a:lnTo>
                      <a:pt x="0" y="2"/>
                    </a:lnTo>
                    <a:lnTo>
                      <a:pt x="0" y="4"/>
                    </a:lnTo>
                    <a:lnTo>
                      <a:pt x="2" y="2"/>
                    </a:lnTo>
                    <a:lnTo>
                      <a:pt x="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91" name="Freeform 2342"/>
              <p:cNvSpPr>
                <a:spLocks/>
              </p:cNvSpPr>
              <p:nvPr/>
            </p:nvSpPr>
            <p:spPr bwMode="auto">
              <a:xfrm>
                <a:off x="2832" y="2652"/>
                <a:ext cx="7" cy="9"/>
              </a:xfrm>
              <a:custGeom>
                <a:avLst/>
                <a:gdLst>
                  <a:gd name="T0" fmla="*/ 7 w 7"/>
                  <a:gd name="T1" fmla="*/ 2 h 9"/>
                  <a:gd name="T2" fmla="*/ 7 w 7"/>
                  <a:gd name="T3" fmla="*/ 4 h 9"/>
                  <a:gd name="T4" fmla="*/ 5 w 7"/>
                  <a:gd name="T5" fmla="*/ 7 h 9"/>
                  <a:gd name="T6" fmla="*/ 5 w 7"/>
                  <a:gd name="T7" fmla="*/ 9 h 9"/>
                  <a:gd name="T8" fmla="*/ 3 w 7"/>
                  <a:gd name="T9" fmla="*/ 9 h 9"/>
                  <a:gd name="T10" fmla="*/ 2 w 7"/>
                  <a:gd name="T11" fmla="*/ 9 h 9"/>
                  <a:gd name="T12" fmla="*/ 0 w 7"/>
                  <a:gd name="T13" fmla="*/ 7 h 9"/>
                  <a:gd name="T14" fmla="*/ 0 w 7"/>
                  <a:gd name="T15" fmla="*/ 5 h 9"/>
                  <a:gd name="T16" fmla="*/ 2 w 7"/>
                  <a:gd name="T17" fmla="*/ 0 h 9"/>
                  <a:gd name="T18" fmla="*/ 3 w 7"/>
                  <a:gd name="T19" fmla="*/ 0 h 9"/>
                  <a:gd name="T20" fmla="*/ 7 w 7"/>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9">
                    <a:moveTo>
                      <a:pt x="7" y="2"/>
                    </a:moveTo>
                    <a:lnTo>
                      <a:pt x="7" y="4"/>
                    </a:lnTo>
                    <a:lnTo>
                      <a:pt x="5" y="7"/>
                    </a:lnTo>
                    <a:lnTo>
                      <a:pt x="5" y="9"/>
                    </a:lnTo>
                    <a:lnTo>
                      <a:pt x="3" y="9"/>
                    </a:lnTo>
                    <a:lnTo>
                      <a:pt x="2" y="9"/>
                    </a:lnTo>
                    <a:lnTo>
                      <a:pt x="0" y="7"/>
                    </a:lnTo>
                    <a:lnTo>
                      <a:pt x="0" y="5"/>
                    </a:lnTo>
                    <a:lnTo>
                      <a:pt x="2" y="0"/>
                    </a:lnTo>
                    <a:lnTo>
                      <a:pt x="3" y="0"/>
                    </a:lnTo>
                    <a:lnTo>
                      <a:pt x="7"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92" name="Freeform 2343"/>
              <p:cNvSpPr>
                <a:spLocks/>
              </p:cNvSpPr>
              <p:nvPr/>
            </p:nvSpPr>
            <p:spPr bwMode="auto">
              <a:xfrm>
                <a:off x="2832" y="2652"/>
                <a:ext cx="7" cy="9"/>
              </a:xfrm>
              <a:custGeom>
                <a:avLst/>
                <a:gdLst>
                  <a:gd name="T0" fmla="*/ 7 w 7"/>
                  <a:gd name="T1" fmla="*/ 2 h 9"/>
                  <a:gd name="T2" fmla="*/ 7 w 7"/>
                  <a:gd name="T3" fmla="*/ 4 h 9"/>
                  <a:gd name="T4" fmla="*/ 5 w 7"/>
                  <a:gd name="T5" fmla="*/ 7 h 9"/>
                  <a:gd name="T6" fmla="*/ 5 w 7"/>
                  <a:gd name="T7" fmla="*/ 9 h 9"/>
                  <a:gd name="T8" fmla="*/ 3 w 7"/>
                  <a:gd name="T9" fmla="*/ 9 h 9"/>
                  <a:gd name="T10" fmla="*/ 2 w 7"/>
                  <a:gd name="T11" fmla="*/ 9 h 9"/>
                  <a:gd name="T12" fmla="*/ 0 w 7"/>
                  <a:gd name="T13" fmla="*/ 7 h 9"/>
                  <a:gd name="T14" fmla="*/ 0 w 7"/>
                  <a:gd name="T15" fmla="*/ 5 h 9"/>
                  <a:gd name="T16" fmla="*/ 2 w 7"/>
                  <a:gd name="T17" fmla="*/ 0 h 9"/>
                  <a:gd name="T18" fmla="*/ 3 w 7"/>
                  <a:gd name="T19" fmla="*/ 0 h 9"/>
                  <a:gd name="T20" fmla="*/ 7 w 7"/>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9">
                    <a:moveTo>
                      <a:pt x="7" y="2"/>
                    </a:moveTo>
                    <a:lnTo>
                      <a:pt x="7" y="4"/>
                    </a:lnTo>
                    <a:lnTo>
                      <a:pt x="5" y="7"/>
                    </a:lnTo>
                    <a:lnTo>
                      <a:pt x="5" y="9"/>
                    </a:lnTo>
                    <a:lnTo>
                      <a:pt x="3" y="9"/>
                    </a:lnTo>
                    <a:lnTo>
                      <a:pt x="2" y="9"/>
                    </a:lnTo>
                    <a:lnTo>
                      <a:pt x="0" y="7"/>
                    </a:lnTo>
                    <a:lnTo>
                      <a:pt x="0" y="5"/>
                    </a:lnTo>
                    <a:lnTo>
                      <a:pt x="2" y="0"/>
                    </a:lnTo>
                    <a:lnTo>
                      <a:pt x="3" y="0"/>
                    </a:lnTo>
                    <a:lnTo>
                      <a:pt x="7"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93" name="Freeform 2344"/>
              <p:cNvSpPr>
                <a:spLocks/>
              </p:cNvSpPr>
              <p:nvPr/>
            </p:nvSpPr>
            <p:spPr bwMode="auto">
              <a:xfrm>
                <a:off x="2785" y="2734"/>
                <a:ext cx="2" cy="2"/>
              </a:xfrm>
              <a:custGeom>
                <a:avLst/>
                <a:gdLst>
                  <a:gd name="T0" fmla="*/ 0 w 2"/>
                  <a:gd name="T1" fmla="*/ 0 h 2"/>
                  <a:gd name="T2" fmla="*/ 2 w 2"/>
                  <a:gd name="T3" fmla="*/ 0 h 2"/>
                  <a:gd name="T4" fmla="*/ 2 w 2"/>
                  <a:gd name="T5" fmla="*/ 0 h 2"/>
                  <a:gd name="T6" fmla="*/ 2 w 2"/>
                  <a:gd name="T7" fmla="*/ 2 h 2"/>
                  <a:gd name="T8" fmla="*/ 0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0"/>
                    </a:lnTo>
                    <a:lnTo>
                      <a:pt x="2" y="2"/>
                    </a:lnTo>
                    <a:lnTo>
                      <a:pt x="0"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94" name="Freeform 2345"/>
              <p:cNvSpPr>
                <a:spLocks/>
              </p:cNvSpPr>
              <p:nvPr/>
            </p:nvSpPr>
            <p:spPr bwMode="auto">
              <a:xfrm>
                <a:off x="2785" y="2734"/>
                <a:ext cx="2" cy="2"/>
              </a:xfrm>
              <a:custGeom>
                <a:avLst/>
                <a:gdLst>
                  <a:gd name="T0" fmla="*/ 0 w 2"/>
                  <a:gd name="T1" fmla="*/ 0 h 2"/>
                  <a:gd name="T2" fmla="*/ 2 w 2"/>
                  <a:gd name="T3" fmla="*/ 0 h 2"/>
                  <a:gd name="T4" fmla="*/ 2 w 2"/>
                  <a:gd name="T5" fmla="*/ 0 h 2"/>
                  <a:gd name="T6" fmla="*/ 2 w 2"/>
                  <a:gd name="T7" fmla="*/ 2 h 2"/>
                  <a:gd name="T8" fmla="*/ 0 w 2"/>
                  <a:gd name="T9" fmla="*/ 2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0"/>
                    </a:lnTo>
                    <a:lnTo>
                      <a:pt x="2" y="2"/>
                    </a:lnTo>
                    <a:lnTo>
                      <a:pt x="0"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95" name="Freeform 2346"/>
              <p:cNvSpPr>
                <a:spLocks/>
              </p:cNvSpPr>
              <p:nvPr/>
            </p:nvSpPr>
            <p:spPr bwMode="auto">
              <a:xfrm>
                <a:off x="3335" y="2452"/>
                <a:ext cx="2" cy="4"/>
              </a:xfrm>
              <a:custGeom>
                <a:avLst/>
                <a:gdLst>
                  <a:gd name="T0" fmla="*/ 0 w 2"/>
                  <a:gd name="T1" fmla="*/ 2 h 4"/>
                  <a:gd name="T2" fmla="*/ 0 w 2"/>
                  <a:gd name="T3" fmla="*/ 2 h 4"/>
                  <a:gd name="T4" fmla="*/ 0 w 2"/>
                  <a:gd name="T5" fmla="*/ 2 h 4"/>
                  <a:gd name="T6" fmla="*/ 0 w 2"/>
                  <a:gd name="T7" fmla="*/ 2 h 4"/>
                  <a:gd name="T8" fmla="*/ 0 w 2"/>
                  <a:gd name="T9" fmla="*/ 4 h 4"/>
                  <a:gd name="T10" fmla="*/ 0 w 2"/>
                  <a:gd name="T11" fmla="*/ 4 h 4"/>
                  <a:gd name="T12" fmla="*/ 2 w 2"/>
                  <a:gd name="T13" fmla="*/ 4 h 4"/>
                  <a:gd name="T14" fmla="*/ 2 w 2"/>
                  <a:gd name="T15" fmla="*/ 4 h 4"/>
                  <a:gd name="T16" fmla="*/ 2 w 2"/>
                  <a:gd name="T17" fmla="*/ 4 h 4"/>
                  <a:gd name="T18" fmla="*/ 2 w 2"/>
                  <a:gd name="T19" fmla="*/ 2 h 4"/>
                  <a:gd name="T20" fmla="*/ 0 w 2"/>
                  <a:gd name="T21" fmla="*/ 0 h 4"/>
                  <a:gd name="T22" fmla="*/ 0 w 2"/>
                  <a:gd name="T23" fmla="*/ 2 h 4"/>
                  <a:gd name="T24" fmla="*/ 0 w 2"/>
                  <a:gd name="T2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2"/>
                    </a:moveTo>
                    <a:lnTo>
                      <a:pt x="0" y="2"/>
                    </a:lnTo>
                    <a:lnTo>
                      <a:pt x="0" y="2"/>
                    </a:lnTo>
                    <a:lnTo>
                      <a:pt x="0" y="2"/>
                    </a:lnTo>
                    <a:lnTo>
                      <a:pt x="0" y="4"/>
                    </a:lnTo>
                    <a:lnTo>
                      <a:pt x="0" y="4"/>
                    </a:lnTo>
                    <a:lnTo>
                      <a:pt x="2" y="4"/>
                    </a:lnTo>
                    <a:lnTo>
                      <a:pt x="2" y="4"/>
                    </a:lnTo>
                    <a:lnTo>
                      <a:pt x="2" y="4"/>
                    </a:lnTo>
                    <a:lnTo>
                      <a:pt x="2" y="2"/>
                    </a:lnTo>
                    <a:lnTo>
                      <a:pt x="0" y="0"/>
                    </a:lnTo>
                    <a:lnTo>
                      <a:pt x="0" y="2"/>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96" name="Freeform 2347"/>
              <p:cNvSpPr>
                <a:spLocks/>
              </p:cNvSpPr>
              <p:nvPr/>
            </p:nvSpPr>
            <p:spPr bwMode="auto">
              <a:xfrm>
                <a:off x="3335" y="2452"/>
                <a:ext cx="2" cy="4"/>
              </a:xfrm>
              <a:custGeom>
                <a:avLst/>
                <a:gdLst>
                  <a:gd name="T0" fmla="*/ 0 w 2"/>
                  <a:gd name="T1" fmla="*/ 2 h 4"/>
                  <a:gd name="T2" fmla="*/ 0 w 2"/>
                  <a:gd name="T3" fmla="*/ 2 h 4"/>
                  <a:gd name="T4" fmla="*/ 0 w 2"/>
                  <a:gd name="T5" fmla="*/ 2 h 4"/>
                  <a:gd name="T6" fmla="*/ 0 w 2"/>
                  <a:gd name="T7" fmla="*/ 2 h 4"/>
                  <a:gd name="T8" fmla="*/ 0 w 2"/>
                  <a:gd name="T9" fmla="*/ 4 h 4"/>
                  <a:gd name="T10" fmla="*/ 0 w 2"/>
                  <a:gd name="T11" fmla="*/ 4 h 4"/>
                  <a:gd name="T12" fmla="*/ 2 w 2"/>
                  <a:gd name="T13" fmla="*/ 4 h 4"/>
                  <a:gd name="T14" fmla="*/ 2 w 2"/>
                  <a:gd name="T15" fmla="*/ 4 h 4"/>
                  <a:gd name="T16" fmla="*/ 2 w 2"/>
                  <a:gd name="T17" fmla="*/ 4 h 4"/>
                  <a:gd name="T18" fmla="*/ 2 w 2"/>
                  <a:gd name="T19" fmla="*/ 2 h 4"/>
                  <a:gd name="T20" fmla="*/ 0 w 2"/>
                  <a:gd name="T21" fmla="*/ 0 h 4"/>
                  <a:gd name="T22" fmla="*/ 0 w 2"/>
                  <a:gd name="T23" fmla="*/ 2 h 4"/>
                  <a:gd name="T24" fmla="*/ 0 w 2"/>
                  <a:gd name="T2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4">
                    <a:moveTo>
                      <a:pt x="0" y="2"/>
                    </a:moveTo>
                    <a:lnTo>
                      <a:pt x="0" y="2"/>
                    </a:lnTo>
                    <a:lnTo>
                      <a:pt x="0" y="2"/>
                    </a:lnTo>
                    <a:lnTo>
                      <a:pt x="0" y="2"/>
                    </a:lnTo>
                    <a:lnTo>
                      <a:pt x="0" y="4"/>
                    </a:lnTo>
                    <a:lnTo>
                      <a:pt x="0" y="4"/>
                    </a:lnTo>
                    <a:lnTo>
                      <a:pt x="2" y="4"/>
                    </a:lnTo>
                    <a:lnTo>
                      <a:pt x="2" y="4"/>
                    </a:lnTo>
                    <a:lnTo>
                      <a:pt x="2" y="4"/>
                    </a:lnTo>
                    <a:lnTo>
                      <a:pt x="2" y="2"/>
                    </a:lnTo>
                    <a:lnTo>
                      <a:pt x="0" y="0"/>
                    </a:lnTo>
                    <a:lnTo>
                      <a:pt x="0" y="2"/>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97" name="Freeform 2348"/>
              <p:cNvSpPr>
                <a:spLocks/>
              </p:cNvSpPr>
              <p:nvPr/>
            </p:nvSpPr>
            <p:spPr bwMode="auto">
              <a:xfrm>
                <a:off x="3334" y="2457"/>
                <a:ext cx="8" cy="6"/>
              </a:xfrm>
              <a:custGeom>
                <a:avLst/>
                <a:gdLst>
                  <a:gd name="T0" fmla="*/ 5 w 8"/>
                  <a:gd name="T1" fmla="*/ 4 h 6"/>
                  <a:gd name="T2" fmla="*/ 5 w 8"/>
                  <a:gd name="T3" fmla="*/ 4 h 6"/>
                  <a:gd name="T4" fmla="*/ 5 w 8"/>
                  <a:gd name="T5" fmla="*/ 4 h 6"/>
                  <a:gd name="T6" fmla="*/ 5 w 8"/>
                  <a:gd name="T7" fmla="*/ 4 h 6"/>
                  <a:gd name="T8" fmla="*/ 3 w 8"/>
                  <a:gd name="T9" fmla="*/ 2 h 6"/>
                  <a:gd name="T10" fmla="*/ 3 w 8"/>
                  <a:gd name="T11" fmla="*/ 0 h 6"/>
                  <a:gd name="T12" fmla="*/ 1 w 8"/>
                  <a:gd name="T13" fmla="*/ 0 h 6"/>
                  <a:gd name="T14" fmla="*/ 1 w 8"/>
                  <a:gd name="T15" fmla="*/ 0 h 6"/>
                  <a:gd name="T16" fmla="*/ 0 w 8"/>
                  <a:gd name="T17" fmla="*/ 2 h 6"/>
                  <a:gd name="T18" fmla="*/ 0 w 8"/>
                  <a:gd name="T19" fmla="*/ 2 h 6"/>
                  <a:gd name="T20" fmla="*/ 1 w 8"/>
                  <a:gd name="T21" fmla="*/ 2 h 6"/>
                  <a:gd name="T22" fmla="*/ 1 w 8"/>
                  <a:gd name="T23" fmla="*/ 2 h 6"/>
                  <a:gd name="T24" fmla="*/ 1 w 8"/>
                  <a:gd name="T25" fmla="*/ 4 h 6"/>
                  <a:gd name="T26" fmla="*/ 1 w 8"/>
                  <a:gd name="T27" fmla="*/ 4 h 6"/>
                  <a:gd name="T28" fmla="*/ 1 w 8"/>
                  <a:gd name="T29" fmla="*/ 4 h 6"/>
                  <a:gd name="T30" fmla="*/ 1 w 8"/>
                  <a:gd name="T31" fmla="*/ 4 h 6"/>
                  <a:gd name="T32" fmla="*/ 1 w 8"/>
                  <a:gd name="T33" fmla="*/ 4 h 6"/>
                  <a:gd name="T34" fmla="*/ 8 w 8"/>
                  <a:gd name="T35" fmla="*/ 6 h 6"/>
                  <a:gd name="T36" fmla="*/ 8 w 8"/>
                  <a:gd name="T37" fmla="*/ 4 h 6"/>
                  <a:gd name="T38" fmla="*/ 8 w 8"/>
                  <a:gd name="T39" fmla="*/ 4 h 6"/>
                  <a:gd name="T40" fmla="*/ 7 w 8"/>
                  <a:gd name="T41" fmla="*/ 4 h 6"/>
                  <a:gd name="T42" fmla="*/ 7 w 8"/>
                  <a:gd name="T43" fmla="*/ 2 h 6"/>
                  <a:gd name="T44" fmla="*/ 5 w 8"/>
                  <a:gd name="T45" fmla="*/ 2 h 6"/>
                  <a:gd name="T46" fmla="*/ 5 w 8"/>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6">
                    <a:moveTo>
                      <a:pt x="5" y="4"/>
                    </a:moveTo>
                    <a:lnTo>
                      <a:pt x="5" y="4"/>
                    </a:lnTo>
                    <a:lnTo>
                      <a:pt x="5" y="4"/>
                    </a:lnTo>
                    <a:lnTo>
                      <a:pt x="5" y="4"/>
                    </a:lnTo>
                    <a:lnTo>
                      <a:pt x="3" y="2"/>
                    </a:lnTo>
                    <a:lnTo>
                      <a:pt x="3" y="0"/>
                    </a:lnTo>
                    <a:lnTo>
                      <a:pt x="1" y="0"/>
                    </a:lnTo>
                    <a:lnTo>
                      <a:pt x="1" y="0"/>
                    </a:lnTo>
                    <a:lnTo>
                      <a:pt x="0" y="2"/>
                    </a:lnTo>
                    <a:lnTo>
                      <a:pt x="0" y="2"/>
                    </a:lnTo>
                    <a:lnTo>
                      <a:pt x="1" y="2"/>
                    </a:lnTo>
                    <a:lnTo>
                      <a:pt x="1" y="2"/>
                    </a:lnTo>
                    <a:lnTo>
                      <a:pt x="1" y="4"/>
                    </a:lnTo>
                    <a:lnTo>
                      <a:pt x="1" y="4"/>
                    </a:lnTo>
                    <a:lnTo>
                      <a:pt x="1" y="4"/>
                    </a:lnTo>
                    <a:lnTo>
                      <a:pt x="1" y="4"/>
                    </a:lnTo>
                    <a:lnTo>
                      <a:pt x="1" y="4"/>
                    </a:lnTo>
                    <a:lnTo>
                      <a:pt x="8" y="6"/>
                    </a:lnTo>
                    <a:lnTo>
                      <a:pt x="8" y="4"/>
                    </a:lnTo>
                    <a:lnTo>
                      <a:pt x="8" y="4"/>
                    </a:lnTo>
                    <a:lnTo>
                      <a:pt x="7" y="4"/>
                    </a:lnTo>
                    <a:lnTo>
                      <a:pt x="7" y="2"/>
                    </a:lnTo>
                    <a:lnTo>
                      <a:pt x="5" y="2"/>
                    </a:lnTo>
                    <a:lnTo>
                      <a:pt x="5"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98" name="Freeform 2349"/>
              <p:cNvSpPr>
                <a:spLocks/>
              </p:cNvSpPr>
              <p:nvPr/>
            </p:nvSpPr>
            <p:spPr bwMode="auto">
              <a:xfrm>
                <a:off x="3334" y="2457"/>
                <a:ext cx="8" cy="6"/>
              </a:xfrm>
              <a:custGeom>
                <a:avLst/>
                <a:gdLst>
                  <a:gd name="T0" fmla="*/ 5 w 8"/>
                  <a:gd name="T1" fmla="*/ 4 h 6"/>
                  <a:gd name="T2" fmla="*/ 5 w 8"/>
                  <a:gd name="T3" fmla="*/ 4 h 6"/>
                  <a:gd name="T4" fmla="*/ 5 w 8"/>
                  <a:gd name="T5" fmla="*/ 4 h 6"/>
                  <a:gd name="T6" fmla="*/ 5 w 8"/>
                  <a:gd name="T7" fmla="*/ 4 h 6"/>
                  <a:gd name="T8" fmla="*/ 3 w 8"/>
                  <a:gd name="T9" fmla="*/ 2 h 6"/>
                  <a:gd name="T10" fmla="*/ 3 w 8"/>
                  <a:gd name="T11" fmla="*/ 0 h 6"/>
                  <a:gd name="T12" fmla="*/ 1 w 8"/>
                  <a:gd name="T13" fmla="*/ 0 h 6"/>
                  <a:gd name="T14" fmla="*/ 1 w 8"/>
                  <a:gd name="T15" fmla="*/ 0 h 6"/>
                  <a:gd name="T16" fmla="*/ 0 w 8"/>
                  <a:gd name="T17" fmla="*/ 2 h 6"/>
                  <a:gd name="T18" fmla="*/ 0 w 8"/>
                  <a:gd name="T19" fmla="*/ 2 h 6"/>
                  <a:gd name="T20" fmla="*/ 1 w 8"/>
                  <a:gd name="T21" fmla="*/ 2 h 6"/>
                  <a:gd name="T22" fmla="*/ 1 w 8"/>
                  <a:gd name="T23" fmla="*/ 2 h 6"/>
                  <a:gd name="T24" fmla="*/ 1 w 8"/>
                  <a:gd name="T25" fmla="*/ 4 h 6"/>
                  <a:gd name="T26" fmla="*/ 1 w 8"/>
                  <a:gd name="T27" fmla="*/ 4 h 6"/>
                  <a:gd name="T28" fmla="*/ 1 w 8"/>
                  <a:gd name="T29" fmla="*/ 4 h 6"/>
                  <a:gd name="T30" fmla="*/ 1 w 8"/>
                  <a:gd name="T31" fmla="*/ 4 h 6"/>
                  <a:gd name="T32" fmla="*/ 1 w 8"/>
                  <a:gd name="T33" fmla="*/ 4 h 6"/>
                  <a:gd name="T34" fmla="*/ 8 w 8"/>
                  <a:gd name="T35" fmla="*/ 6 h 6"/>
                  <a:gd name="T36" fmla="*/ 8 w 8"/>
                  <a:gd name="T37" fmla="*/ 4 h 6"/>
                  <a:gd name="T38" fmla="*/ 8 w 8"/>
                  <a:gd name="T39" fmla="*/ 4 h 6"/>
                  <a:gd name="T40" fmla="*/ 7 w 8"/>
                  <a:gd name="T41" fmla="*/ 4 h 6"/>
                  <a:gd name="T42" fmla="*/ 7 w 8"/>
                  <a:gd name="T43" fmla="*/ 2 h 6"/>
                  <a:gd name="T44" fmla="*/ 5 w 8"/>
                  <a:gd name="T45" fmla="*/ 2 h 6"/>
                  <a:gd name="T46" fmla="*/ 5 w 8"/>
                  <a:gd name="T47"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 h="6">
                    <a:moveTo>
                      <a:pt x="5" y="4"/>
                    </a:moveTo>
                    <a:lnTo>
                      <a:pt x="5" y="4"/>
                    </a:lnTo>
                    <a:lnTo>
                      <a:pt x="5" y="4"/>
                    </a:lnTo>
                    <a:lnTo>
                      <a:pt x="5" y="4"/>
                    </a:lnTo>
                    <a:lnTo>
                      <a:pt x="3" y="2"/>
                    </a:lnTo>
                    <a:lnTo>
                      <a:pt x="3" y="0"/>
                    </a:lnTo>
                    <a:lnTo>
                      <a:pt x="1" y="0"/>
                    </a:lnTo>
                    <a:lnTo>
                      <a:pt x="1" y="0"/>
                    </a:lnTo>
                    <a:lnTo>
                      <a:pt x="0" y="2"/>
                    </a:lnTo>
                    <a:lnTo>
                      <a:pt x="0" y="2"/>
                    </a:lnTo>
                    <a:lnTo>
                      <a:pt x="1" y="2"/>
                    </a:lnTo>
                    <a:lnTo>
                      <a:pt x="1" y="2"/>
                    </a:lnTo>
                    <a:lnTo>
                      <a:pt x="1" y="4"/>
                    </a:lnTo>
                    <a:lnTo>
                      <a:pt x="1" y="4"/>
                    </a:lnTo>
                    <a:lnTo>
                      <a:pt x="1" y="4"/>
                    </a:lnTo>
                    <a:lnTo>
                      <a:pt x="1" y="4"/>
                    </a:lnTo>
                    <a:lnTo>
                      <a:pt x="1" y="4"/>
                    </a:lnTo>
                    <a:lnTo>
                      <a:pt x="8" y="6"/>
                    </a:lnTo>
                    <a:lnTo>
                      <a:pt x="8" y="4"/>
                    </a:lnTo>
                    <a:lnTo>
                      <a:pt x="8" y="4"/>
                    </a:lnTo>
                    <a:lnTo>
                      <a:pt x="7" y="4"/>
                    </a:lnTo>
                    <a:lnTo>
                      <a:pt x="7" y="2"/>
                    </a:lnTo>
                    <a:lnTo>
                      <a:pt x="5" y="2"/>
                    </a:lnTo>
                    <a:lnTo>
                      <a:pt x="5"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99" name="Freeform 2350"/>
              <p:cNvSpPr>
                <a:spLocks/>
              </p:cNvSpPr>
              <p:nvPr/>
            </p:nvSpPr>
            <p:spPr bwMode="auto">
              <a:xfrm>
                <a:off x="2910" y="2331"/>
                <a:ext cx="172" cy="264"/>
              </a:xfrm>
              <a:custGeom>
                <a:avLst/>
                <a:gdLst>
                  <a:gd name="T0" fmla="*/ 29 w 172"/>
                  <a:gd name="T1" fmla="*/ 34 h 264"/>
                  <a:gd name="T2" fmla="*/ 31 w 172"/>
                  <a:gd name="T3" fmla="*/ 41 h 264"/>
                  <a:gd name="T4" fmla="*/ 41 w 172"/>
                  <a:gd name="T5" fmla="*/ 50 h 264"/>
                  <a:gd name="T6" fmla="*/ 32 w 172"/>
                  <a:gd name="T7" fmla="*/ 109 h 264"/>
                  <a:gd name="T8" fmla="*/ 6 w 172"/>
                  <a:gd name="T9" fmla="*/ 143 h 264"/>
                  <a:gd name="T10" fmla="*/ 4 w 172"/>
                  <a:gd name="T11" fmla="*/ 146 h 264"/>
                  <a:gd name="T12" fmla="*/ 0 w 172"/>
                  <a:gd name="T13" fmla="*/ 148 h 264"/>
                  <a:gd name="T14" fmla="*/ 6 w 172"/>
                  <a:gd name="T15" fmla="*/ 151 h 264"/>
                  <a:gd name="T16" fmla="*/ 9 w 172"/>
                  <a:gd name="T17" fmla="*/ 155 h 264"/>
                  <a:gd name="T18" fmla="*/ 11 w 172"/>
                  <a:gd name="T19" fmla="*/ 164 h 264"/>
                  <a:gd name="T20" fmla="*/ 20 w 172"/>
                  <a:gd name="T21" fmla="*/ 164 h 264"/>
                  <a:gd name="T22" fmla="*/ 25 w 172"/>
                  <a:gd name="T23" fmla="*/ 166 h 264"/>
                  <a:gd name="T24" fmla="*/ 27 w 172"/>
                  <a:gd name="T25" fmla="*/ 171 h 264"/>
                  <a:gd name="T26" fmla="*/ 24 w 172"/>
                  <a:gd name="T27" fmla="*/ 175 h 264"/>
                  <a:gd name="T28" fmla="*/ 20 w 172"/>
                  <a:gd name="T29" fmla="*/ 178 h 264"/>
                  <a:gd name="T30" fmla="*/ 25 w 172"/>
                  <a:gd name="T31" fmla="*/ 191 h 264"/>
                  <a:gd name="T32" fmla="*/ 31 w 172"/>
                  <a:gd name="T33" fmla="*/ 218 h 264"/>
                  <a:gd name="T34" fmla="*/ 31 w 172"/>
                  <a:gd name="T35" fmla="*/ 223 h 264"/>
                  <a:gd name="T36" fmla="*/ 20 w 172"/>
                  <a:gd name="T37" fmla="*/ 221 h 264"/>
                  <a:gd name="T38" fmla="*/ 13 w 172"/>
                  <a:gd name="T39" fmla="*/ 223 h 264"/>
                  <a:gd name="T40" fmla="*/ 11 w 172"/>
                  <a:gd name="T41" fmla="*/ 228 h 264"/>
                  <a:gd name="T42" fmla="*/ 15 w 172"/>
                  <a:gd name="T43" fmla="*/ 237 h 264"/>
                  <a:gd name="T44" fmla="*/ 24 w 172"/>
                  <a:gd name="T45" fmla="*/ 241 h 264"/>
                  <a:gd name="T46" fmla="*/ 31 w 172"/>
                  <a:gd name="T47" fmla="*/ 262 h 264"/>
                  <a:gd name="T48" fmla="*/ 32 w 172"/>
                  <a:gd name="T49" fmla="*/ 262 h 264"/>
                  <a:gd name="T50" fmla="*/ 40 w 172"/>
                  <a:gd name="T51" fmla="*/ 262 h 264"/>
                  <a:gd name="T52" fmla="*/ 45 w 172"/>
                  <a:gd name="T53" fmla="*/ 260 h 264"/>
                  <a:gd name="T54" fmla="*/ 49 w 172"/>
                  <a:gd name="T55" fmla="*/ 257 h 264"/>
                  <a:gd name="T56" fmla="*/ 50 w 172"/>
                  <a:gd name="T57" fmla="*/ 257 h 264"/>
                  <a:gd name="T58" fmla="*/ 52 w 172"/>
                  <a:gd name="T59" fmla="*/ 257 h 264"/>
                  <a:gd name="T60" fmla="*/ 54 w 172"/>
                  <a:gd name="T61" fmla="*/ 259 h 264"/>
                  <a:gd name="T62" fmla="*/ 57 w 172"/>
                  <a:gd name="T63" fmla="*/ 260 h 264"/>
                  <a:gd name="T64" fmla="*/ 63 w 172"/>
                  <a:gd name="T65" fmla="*/ 259 h 264"/>
                  <a:gd name="T66" fmla="*/ 72 w 172"/>
                  <a:gd name="T67" fmla="*/ 253 h 264"/>
                  <a:gd name="T68" fmla="*/ 77 w 172"/>
                  <a:gd name="T69" fmla="*/ 253 h 264"/>
                  <a:gd name="T70" fmla="*/ 84 w 172"/>
                  <a:gd name="T71" fmla="*/ 253 h 264"/>
                  <a:gd name="T72" fmla="*/ 86 w 172"/>
                  <a:gd name="T73" fmla="*/ 250 h 264"/>
                  <a:gd name="T74" fmla="*/ 90 w 172"/>
                  <a:gd name="T75" fmla="*/ 250 h 264"/>
                  <a:gd name="T76" fmla="*/ 91 w 172"/>
                  <a:gd name="T77" fmla="*/ 246 h 264"/>
                  <a:gd name="T78" fmla="*/ 91 w 172"/>
                  <a:gd name="T79" fmla="*/ 243 h 264"/>
                  <a:gd name="T80" fmla="*/ 90 w 172"/>
                  <a:gd name="T81" fmla="*/ 241 h 264"/>
                  <a:gd name="T82" fmla="*/ 109 w 172"/>
                  <a:gd name="T83" fmla="*/ 235 h 264"/>
                  <a:gd name="T84" fmla="*/ 115 w 172"/>
                  <a:gd name="T85" fmla="*/ 235 h 264"/>
                  <a:gd name="T86" fmla="*/ 122 w 172"/>
                  <a:gd name="T87" fmla="*/ 230 h 264"/>
                  <a:gd name="T88" fmla="*/ 124 w 172"/>
                  <a:gd name="T89" fmla="*/ 226 h 264"/>
                  <a:gd name="T90" fmla="*/ 129 w 172"/>
                  <a:gd name="T91" fmla="*/ 221 h 264"/>
                  <a:gd name="T92" fmla="*/ 132 w 172"/>
                  <a:gd name="T93" fmla="*/ 218 h 264"/>
                  <a:gd name="T94" fmla="*/ 134 w 172"/>
                  <a:gd name="T95" fmla="*/ 212 h 264"/>
                  <a:gd name="T96" fmla="*/ 138 w 172"/>
                  <a:gd name="T97" fmla="*/ 207 h 264"/>
                  <a:gd name="T98" fmla="*/ 152 w 172"/>
                  <a:gd name="T99" fmla="*/ 198 h 264"/>
                  <a:gd name="T100" fmla="*/ 149 w 172"/>
                  <a:gd name="T101" fmla="*/ 196 h 264"/>
                  <a:gd name="T102" fmla="*/ 143 w 172"/>
                  <a:gd name="T103" fmla="*/ 182 h 264"/>
                  <a:gd name="T104" fmla="*/ 138 w 172"/>
                  <a:gd name="T105" fmla="*/ 178 h 264"/>
                  <a:gd name="T106" fmla="*/ 138 w 172"/>
                  <a:gd name="T107" fmla="*/ 171 h 264"/>
                  <a:gd name="T108" fmla="*/ 140 w 172"/>
                  <a:gd name="T109" fmla="*/ 159 h 264"/>
                  <a:gd name="T110" fmla="*/ 143 w 172"/>
                  <a:gd name="T111" fmla="*/ 157 h 264"/>
                  <a:gd name="T112" fmla="*/ 143 w 172"/>
                  <a:gd name="T113" fmla="*/ 155 h 264"/>
                  <a:gd name="T114" fmla="*/ 152 w 172"/>
                  <a:gd name="T115" fmla="*/ 135 h 264"/>
                  <a:gd name="T116" fmla="*/ 154 w 172"/>
                  <a:gd name="T117" fmla="*/ 128 h 264"/>
                  <a:gd name="T118" fmla="*/ 172 w 172"/>
                  <a:gd name="T119" fmla="*/ 66 h 264"/>
                  <a:gd name="T120" fmla="*/ 43 w 172"/>
                  <a:gd name="T121" fmla="*/ 0 h 264"/>
                  <a:gd name="T122" fmla="*/ 27 w 172"/>
                  <a:gd name="T123" fmla="*/ 3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264">
                    <a:moveTo>
                      <a:pt x="27" y="30"/>
                    </a:moveTo>
                    <a:lnTo>
                      <a:pt x="29" y="34"/>
                    </a:lnTo>
                    <a:lnTo>
                      <a:pt x="29" y="35"/>
                    </a:lnTo>
                    <a:lnTo>
                      <a:pt x="31" y="41"/>
                    </a:lnTo>
                    <a:lnTo>
                      <a:pt x="32" y="44"/>
                    </a:lnTo>
                    <a:lnTo>
                      <a:pt x="41" y="50"/>
                    </a:lnTo>
                    <a:lnTo>
                      <a:pt x="38" y="57"/>
                    </a:lnTo>
                    <a:lnTo>
                      <a:pt x="32" y="109"/>
                    </a:lnTo>
                    <a:lnTo>
                      <a:pt x="6" y="139"/>
                    </a:lnTo>
                    <a:lnTo>
                      <a:pt x="6" y="143"/>
                    </a:lnTo>
                    <a:lnTo>
                      <a:pt x="4" y="143"/>
                    </a:lnTo>
                    <a:lnTo>
                      <a:pt x="4" y="146"/>
                    </a:lnTo>
                    <a:lnTo>
                      <a:pt x="0" y="146"/>
                    </a:lnTo>
                    <a:lnTo>
                      <a:pt x="0" y="148"/>
                    </a:lnTo>
                    <a:lnTo>
                      <a:pt x="0" y="151"/>
                    </a:lnTo>
                    <a:lnTo>
                      <a:pt x="6" y="151"/>
                    </a:lnTo>
                    <a:lnTo>
                      <a:pt x="6" y="153"/>
                    </a:lnTo>
                    <a:lnTo>
                      <a:pt x="9" y="155"/>
                    </a:lnTo>
                    <a:lnTo>
                      <a:pt x="11" y="157"/>
                    </a:lnTo>
                    <a:lnTo>
                      <a:pt x="11" y="164"/>
                    </a:lnTo>
                    <a:lnTo>
                      <a:pt x="16" y="164"/>
                    </a:lnTo>
                    <a:lnTo>
                      <a:pt x="20" y="164"/>
                    </a:lnTo>
                    <a:lnTo>
                      <a:pt x="24" y="166"/>
                    </a:lnTo>
                    <a:lnTo>
                      <a:pt x="25" y="166"/>
                    </a:lnTo>
                    <a:lnTo>
                      <a:pt x="29" y="169"/>
                    </a:lnTo>
                    <a:lnTo>
                      <a:pt x="27" y="171"/>
                    </a:lnTo>
                    <a:lnTo>
                      <a:pt x="27" y="173"/>
                    </a:lnTo>
                    <a:lnTo>
                      <a:pt x="24" y="175"/>
                    </a:lnTo>
                    <a:lnTo>
                      <a:pt x="20" y="176"/>
                    </a:lnTo>
                    <a:lnTo>
                      <a:pt x="20" y="178"/>
                    </a:lnTo>
                    <a:lnTo>
                      <a:pt x="22" y="185"/>
                    </a:lnTo>
                    <a:lnTo>
                      <a:pt x="25" y="191"/>
                    </a:lnTo>
                    <a:lnTo>
                      <a:pt x="24" y="205"/>
                    </a:lnTo>
                    <a:lnTo>
                      <a:pt x="31" y="218"/>
                    </a:lnTo>
                    <a:lnTo>
                      <a:pt x="31" y="221"/>
                    </a:lnTo>
                    <a:lnTo>
                      <a:pt x="31" y="223"/>
                    </a:lnTo>
                    <a:lnTo>
                      <a:pt x="29" y="223"/>
                    </a:lnTo>
                    <a:lnTo>
                      <a:pt x="20" y="221"/>
                    </a:lnTo>
                    <a:lnTo>
                      <a:pt x="15" y="223"/>
                    </a:lnTo>
                    <a:lnTo>
                      <a:pt x="13" y="223"/>
                    </a:lnTo>
                    <a:lnTo>
                      <a:pt x="11" y="225"/>
                    </a:lnTo>
                    <a:lnTo>
                      <a:pt x="11" y="228"/>
                    </a:lnTo>
                    <a:lnTo>
                      <a:pt x="11" y="232"/>
                    </a:lnTo>
                    <a:lnTo>
                      <a:pt x="15" y="237"/>
                    </a:lnTo>
                    <a:lnTo>
                      <a:pt x="16" y="239"/>
                    </a:lnTo>
                    <a:lnTo>
                      <a:pt x="24" y="241"/>
                    </a:lnTo>
                    <a:lnTo>
                      <a:pt x="24" y="241"/>
                    </a:lnTo>
                    <a:lnTo>
                      <a:pt x="31" y="262"/>
                    </a:lnTo>
                    <a:lnTo>
                      <a:pt x="32" y="264"/>
                    </a:lnTo>
                    <a:lnTo>
                      <a:pt x="32" y="262"/>
                    </a:lnTo>
                    <a:lnTo>
                      <a:pt x="38" y="262"/>
                    </a:lnTo>
                    <a:lnTo>
                      <a:pt x="40" y="262"/>
                    </a:lnTo>
                    <a:lnTo>
                      <a:pt x="41" y="262"/>
                    </a:lnTo>
                    <a:lnTo>
                      <a:pt x="45" y="260"/>
                    </a:lnTo>
                    <a:lnTo>
                      <a:pt x="49" y="259"/>
                    </a:lnTo>
                    <a:lnTo>
                      <a:pt x="49" y="257"/>
                    </a:lnTo>
                    <a:lnTo>
                      <a:pt x="50" y="257"/>
                    </a:lnTo>
                    <a:lnTo>
                      <a:pt x="50" y="257"/>
                    </a:lnTo>
                    <a:lnTo>
                      <a:pt x="52" y="257"/>
                    </a:lnTo>
                    <a:lnTo>
                      <a:pt x="52" y="257"/>
                    </a:lnTo>
                    <a:lnTo>
                      <a:pt x="54" y="259"/>
                    </a:lnTo>
                    <a:lnTo>
                      <a:pt x="54" y="259"/>
                    </a:lnTo>
                    <a:lnTo>
                      <a:pt x="56" y="260"/>
                    </a:lnTo>
                    <a:lnTo>
                      <a:pt x="57" y="260"/>
                    </a:lnTo>
                    <a:lnTo>
                      <a:pt x="57" y="259"/>
                    </a:lnTo>
                    <a:lnTo>
                      <a:pt x="63" y="259"/>
                    </a:lnTo>
                    <a:lnTo>
                      <a:pt x="65" y="257"/>
                    </a:lnTo>
                    <a:lnTo>
                      <a:pt x="72" y="253"/>
                    </a:lnTo>
                    <a:lnTo>
                      <a:pt x="75" y="255"/>
                    </a:lnTo>
                    <a:lnTo>
                      <a:pt x="77" y="253"/>
                    </a:lnTo>
                    <a:lnTo>
                      <a:pt x="84" y="253"/>
                    </a:lnTo>
                    <a:lnTo>
                      <a:pt x="84" y="253"/>
                    </a:lnTo>
                    <a:lnTo>
                      <a:pt x="86" y="251"/>
                    </a:lnTo>
                    <a:lnTo>
                      <a:pt x="86" y="250"/>
                    </a:lnTo>
                    <a:lnTo>
                      <a:pt x="88" y="250"/>
                    </a:lnTo>
                    <a:lnTo>
                      <a:pt x="90" y="250"/>
                    </a:lnTo>
                    <a:lnTo>
                      <a:pt x="90" y="246"/>
                    </a:lnTo>
                    <a:lnTo>
                      <a:pt x="91" y="246"/>
                    </a:lnTo>
                    <a:lnTo>
                      <a:pt x="91" y="244"/>
                    </a:lnTo>
                    <a:lnTo>
                      <a:pt x="91" y="243"/>
                    </a:lnTo>
                    <a:lnTo>
                      <a:pt x="90" y="241"/>
                    </a:lnTo>
                    <a:lnTo>
                      <a:pt x="90" y="241"/>
                    </a:lnTo>
                    <a:lnTo>
                      <a:pt x="90" y="239"/>
                    </a:lnTo>
                    <a:lnTo>
                      <a:pt x="109" y="235"/>
                    </a:lnTo>
                    <a:lnTo>
                      <a:pt x="111" y="235"/>
                    </a:lnTo>
                    <a:lnTo>
                      <a:pt x="115" y="235"/>
                    </a:lnTo>
                    <a:lnTo>
                      <a:pt x="116" y="232"/>
                    </a:lnTo>
                    <a:lnTo>
                      <a:pt x="122" y="230"/>
                    </a:lnTo>
                    <a:lnTo>
                      <a:pt x="122" y="230"/>
                    </a:lnTo>
                    <a:lnTo>
                      <a:pt x="124" y="226"/>
                    </a:lnTo>
                    <a:lnTo>
                      <a:pt x="129" y="221"/>
                    </a:lnTo>
                    <a:lnTo>
                      <a:pt x="129" y="221"/>
                    </a:lnTo>
                    <a:lnTo>
                      <a:pt x="131" y="221"/>
                    </a:lnTo>
                    <a:lnTo>
                      <a:pt x="132" y="218"/>
                    </a:lnTo>
                    <a:lnTo>
                      <a:pt x="134" y="218"/>
                    </a:lnTo>
                    <a:lnTo>
                      <a:pt x="134" y="212"/>
                    </a:lnTo>
                    <a:lnTo>
                      <a:pt x="136" y="209"/>
                    </a:lnTo>
                    <a:lnTo>
                      <a:pt x="138" y="207"/>
                    </a:lnTo>
                    <a:lnTo>
                      <a:pt x="152" y="203"/>
                    </a:lnTo>
                    <a:lnTo>
                      <a:pt x="152" y="198"/>
                    </a:lnTo>
                    <a:lnTo>
                      <a:pt x="150" y="198"/>
                    </a:lnTo>
                    <a:lnTo>
                      <a:pt x="149" y="196"/>
                    </a:lnTo>
                    <a:lnTo>
                      <a:pt x="149" y="196"/>
                    </a:lnTo>
                    <a:lnTo>
                      <a:pt x="143" y="182"/>
                    </a:lnTo>
                    <a:lnTo>
                      <a:pt x="143" y="176"/>
                    </a:lnTo>
                    <a:lnTo>
                      <a:pt x="138" y="178"/>
                    </a:lnTo>
                    <a:lnTo>
                      <a:pt x="136" y="178"/>
                    </a:lnTo>
                    <a:lnTo>
                      <a:pt x="138" y="171"/>
                    </a:lnTo>
                    <a:lnTo>
                      <a:pt x="140" y="166"/>
                    </a:lnTo>
                    <a:lnTo>
                      <a:pt x="140" y="159"/>
                    </a:lnTo>
                    <a:lnTo>
                      <a:pt x="141" y="157"/>
                    </a:lnTo>
                    <a:lnTo>
                      <a:pt x="143" y="157"/>
                    </a:lnTo>
                    <a:lnTo>
                      <a:pt x="143" y="157"/>
                    </a:lnTo>
                    <a:lnTo>
                      <a:pt x="143" y="155"/>
                    </a:lnTo>
                    <a:lnTo>
                      <a:pt x="143" y="148"/>
                    </a:lnTo>
                    <a:lnTo>
                      <a:pt x="152" y="135"/>
                    </a:lnTo>
                    <a:lnTo>
                      <a:pt x="154" y="130"/>
                    </a:lnTo>
                    <a:lnTo>
                      <a:pt x="154" y="128"/>
                    </a:lnTo>
                    <a:lnTo>
                      <a:pt x="170" y="128"/>
                    </a:lnTo>
                    <a:lnTo>
                      <a:pt x="172" y="66"/>
                    </a:lnTo>
                    <a:lnTo>
                      <a:pt x="168" y="66"/>
                    </a:lnTo>
                    <a:lnTo>
                      <a:pt x="43" y="0"/>
                    </a:lnTo>
                    <a:lnTo>
                      <a:pt x="27" y="5"/>
                    </a:lnTo>
                    <a:lnTo>
                      <a:pt x="27" y="3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00" name="Freeform 2351"/>
              <p:cNvSpPr>
                <a:spLocks/>
              </p:cNvSpPr>
              <p:nvPr/>
            </p:nvSpPr>
            <p:spPr bwMode="auto">
              <a:xfrm>
                <a:off x="2910" y="2331"/>
                <a:ext cx="172" cy="264"/>
              </a:xfrm>
              <a:custGeom>
                <a:avLst/>
                <a:gdLst>
                  <a:gd name="T0" fmla="*/ 29 w 172"/>
                  <a:gd name="T1" fmla="*/ 34 h 264"/>
                  <a:gd name="T2" fmla="*/ 31 w 172"/>
                  <a:gd name="T3" fmla="*/ 41 h 264"/>
                  <a:gd name="T4" fmla="*/ 41 w 172"/>
                  <a:gd name="T5" fmla="*/ 50 h 264"/>
                  <a:gd name="T6" fmla="*/ 32 w 172"/>
                  <a:gd name="T7" fmla="*/ 109 h 264"/>
                  <a:gd name="T8" fmla="*/ 6 w 172"/>
                  <a:gd name="T9" fmla="*/ 143 h 264"/>
                  <a:gd name="T10" fmla="*/ 4 w 172"/>
                  <a:gd name="T11" fmla="*/ 146 h 264"/>
                  <a:gd name="T12" fmla="*/ 0 w 172"/>
                  <a:gd name="T13" fmla="*/ 148 h 264"/>
                  <a:gd name="T14" fmla="*/ 6 w 172"/>
                  <a:gd name="T15" fmla="*/ 151 h 264"/>
                  <a:gd name="T16" fmla="*/ 9 w 172"/>
                  <a:gd name="T17" fmla="*/ 155 h 264"/>
                  <a:gd name="T18" fmla="*/ 11 w 172"/>
                  <a:gd name="T19" fmla="*/ 164 h 264"/>
                  <a:gd name="T20" fmla="*/ 20 w 172"/>
                  <a:gd name="T21" fmla="*/ 164 h 264"/>
                  <a:gd name="T22" fmla="*/ 25 w 172"/>
                  <a:gd name="T23" fmla="*/ 166 h 264"/>
                  <a:gd name="T24" fmla="*/ 27 w 172"/>
                  <a:gd name="T25" fmla="*/ 171 h 264"/>
                  <a:gd name="T26" fmla="*/ 24 w 172"/>
                  <a:gd name="T27" fmla="*/ 175 h 264"/>
                  <a:gd name="T28" fmla="*/ 20 w 172"/>
                  <a:gd name="T29" fmla="*/ 178 h 264"/>
                  <a:gd name="T30" fmla="*/ 25 w 172"/>
                  <a:gd name="T31" fmla="*/ 191 h 264"/>
                  <a:gd name="T32" fmla="*/ 31 w 172"/>
                  <a:gd name="T33" fmla="*/ 218 h 264"/>
                  <a:gd name="T34" fmla="*/ 31 w 172"/>
                  <a:gd name="T35" fmla="*/ 223 h 264"/>
                  <a:gd name="T36" fmla="*/ 20 w 172"/>
                  <a:gd name="T37" fmla="*/ 221 h 264"/>
                  <a:gd name="T38" fmla="*/ 13 w 172"/>
                  <a:gd name="T39" fmla="*/ 223 h 264"/>
                  <a:gd name="T40" fmla="*/ 11 w 172"/>
                  <a:gd name="T41" fmla="*/ 228 h 264"/>
                  <a:gd name="T42" fmla="*/ 15 w 172"/>
                  <a:gd name="T43" fmla="*/ 237 h 264"/>
                  <a:gd name="T44" fmla="*/ 24 w 172"/>
                  <a:gd name="T45" fmla="*/ 241 h 264"/>
                  <a:gd name="T46" fmla="*/ 31 w 172"/>
                  <a:gd name="T47" fmla="*/ 262 h 264"/>
                  <a:gd name="T48" fmla="*/ 32 w 172"/>
                  <a:gd name="T49" fmla="*/ 262 h 264"/>
                  <a:gd name="T50" fmla="*/ 40 w 172"/>
                  <a:gd name="T51" fmla="*/ 262 h 264"/>
                  <a:gd name="T52" fmla="*/ 45 w 172"/>
                  <a:gd name="T53" fmla="*/ 260 h 264"/>
                  <a:gd name="T54" fmla="*/ 49 w 172"/>
                  <a:gd name="T55" fmla="*/ 257 h 264"/>
                  <a:gd name="T56" fmla="*/ 50 w 172"/>
                  <a:gd name="T57" fmla="*/ 257 h 264"/>
                  <a:gd name="T58" fmla="*/ 52 w 172"/>
                  <a:gd name="T59" fmla="*/ 257 h 264"/>
                  <a:gd name="T60" fmla="*/ 54 w 172"/>
                  <a:gd name="T61" fmla="*/ 259 h 264"/>
                  <a:gd name="T62" fmla="*/ 57 w 172"/>
                  <a:gd name="T63" fmla="*/ 260 h 264"/>
                  <a:gd name="T64" fmla="*/ 63 w 172"/>
                  <a:gd name="T65" fmla="*/ 259 h 264"/>
                  <a:gd name="T66" fmla="*/ 72 w 172"/>
                  <a:gd name="T67" fmla="*/ 253 h 264"/>
                  <a:gd name="T68" fmla="*/ 77 w 172"/>
                  <a:gd name="T69" fmla="*/ 253 h 264"/>
                  <a:gd name="T70" fmla="*/ 84 w 172"/>
                  <a:gd name="T71" fmla="*/ 253 h 264"/>
                  <a:gd name="T72" fmla="*/ 86 w 172"/>
                  <a:gd name="T73" fmla="*/ 250 h 264"/>
                  <a:gd name="T74" fmla="*/ 90 w 172"/>
                  <a:gd name="T75" fmla="*/ 250 h 264"/>
                  <a:gd name="T76" fmla="*/ 91 w 172"/>
                  <a:gd name="T77" fmla="*/ 246 h 264"/>
                  <a:gd name="T78" fmla="*/ 91 w 172"/>
                  <a:gd name="T79" fmla="*/ 243 h 264"/>
                  <a:gd name="T80" fmla="*/ 90 w 172"/>
                  <a:gd name="T81" fmla="*/ 241 h 264"/>
                  <a:gd name="T82" fmla="*/ 109 w 172"/>
                  <a:gd name="T83" fmla="*/ 235 h 264"/>
                  <a:gd name="T84" fmla="*/ 115 w 172"/>
                  <a:gd name="T85" fmla="*/ 235 h 264"/>
                  <a:gd name="T86" fmla="*/ 122 w 172"/>
                  <a:gd name="T87" fmla="*/ 230 h 264"/>
                  <a:gd name="T88" fmla="*/ 124 w 172"/>
                  <a:gd name="T89" fmla="*/ 226 h 264"/>
                  <a:gd name="T90" fmla="*/ 129 w 172"/>
                  <a:gd name="T91" fmla="*/ 221 h 264"/>
                  <a:gd name="T92" fmla="*/ 132 w 172"/>
                  <a:gd name="T93" fmla="*/ 218 h 264"/>
                  <a:gd name="T94" fmla="*/ 134 w 172"/>
                  <a:gd name="T95" fmla="*/ 212 h 264"/>
                  <a:gd name="T96" fmla="*/ 138 w 172"/>
                  <a:gd name="T97" fmla="*/ 207 h 264"/>
                  <a:gd name="T98" fmla="*/ 152 w 172"/>
                  <a:gd name="T99" fmla="*/ 198 h 264"/>
                  <a:gd name="T100" fmla="*/ 149 w 172"/>
                  <a:gd name="T101" fmla="*/ 196 h 264"/>
                  <a:gd name="T102" fmla="*/ 143 w 172"/>
                  <a:gd name="T103" fmla="*/ 182 h 264"/>
                  <a:gd name="T104" fmla="*/ 138 w 172"/>
                  <a:gd name="T105" fmla="*/ 178 h 264"/>
                  <a:gd name="T106" fmla="*/ 138 w 172"/>
                  <a:gd name="T107" fmla="*/ 171 h 264"/>
                  <a:gd name="T108" fmla="*/ 140 w 172"/>
                  <a:gd name="T109" fmla="*/ 159 h 264"/>
                  <a:gd name="T110" fmla="*/ 143 w 172"/>
                  <a:gd name="T111" fmla="*/ 157 h 264"/>
                  <a:gd name="T112" fmla="*/ 143 w 172"/>
                  <a:gd name="T113" fmla="*/ 155 h 264"/>
                  <a:gd name="T114" fmla="*/ 152 w 172"/>
                  <a:gd name="T115" fmla="*/ 135 h 264"/>
                  <a:gd name="T116" fmla="*/ 154 w 172"/>
                  <a:gd name="T117" fmla="*/ 128 h 264"/>
                  <a:gd name="T118" fmla="*/ 172 w 172"/>
                  <a:gd name="T119" fmla="*/ 66 h 264"/>
                  <a:gd name="T120" fmla="*/ 43 w 172"/>
                  <a:gd name="T121" fmla="*/ 0 h 264"/>
                  <a:gd name="T122" fmla="*/ 27 w 172"/>
                  <a:gd name="T123" fmla="*/ 3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2" h="264">
                    <a:moveTo>
                      <a:pt x="27" y="30"/>
                    </a:moveTo>
                    <a:lnTo>
                      <a:pt x="29" y="34"/>
                    </a:lnTo>
                    <a:lnTo>
                      <a:pt x="29" y="35"/>
                    </a:lnTo>
                    <a:lnTo>
                      <a:pt x="31" y="41"/>
                    </a:lnTo>
                    <a:lnTo>
                      <a:pt x="32" y="44"/>
                    </a:lnTo>
                    <a:lnTo>
                      <a:pt x="41" y="50"/>
                    </a:lnTo>
                    <a:lnTo>
                      <a:pt x="38" y="57"/>
                    </a:lnTo>
                    <a:lnTo>
                      <a:pt x="32" y="109"/>
                    </a:lnTo>
                    <a:lnTo>
                      <a:pt x="6" y="139"/>
                    </a:lnTo>
                    <a:lnTo>
                      <a:pt x="6" y="143"/>
                    </a:lnTo>
                    <a:lnTo>
                      <a:pt x="4" y="143"/>
                    </a:lnTo>
                    <a:lnTo>
                      <a:pt x="4" y="146"/>
                    </a:lnTo>
                    <a:lnTo>
                      <a:pt x="0" y="146"/>
                    </a:lnTo>
                    <a:lnTo>
                      <a:pt x="0" y="148"/>
                    </a:lnTo>
                    <a:lnTo>
                      <a:pt x="0" y="151"/>
                    </a:lnTo>
                    <a:lnTo>
                      <a:pt x="6" y="151"/>
                    </a:lnTo>
                    <a:lnTo>
                      <a:pt x="6" y="153"/>
                    </a:lnTo>
                    <a:lnTo>
                      <a:pt x="9" y="155"/>
                    </a:lnTo>
                    <a:lnTo>
                      <a:pt x="11" y="157"/>
                    </a:lnTo>
                    <a:lnTo>
                      <a:pt x="11" y="164"/>
                    </a:lnTo>
                    <a:lnTo>
                      <a:pt x="16" y="164"/>
                    </a:lnTo>
                    <a:lnTo>
                      <a:pt x="20" y="164"/>
                    </a:lnTo>
                    <a:lnTo>
                      <a:pt x="24" y="166"/>
                    </a:lnTo>
                    <a:lnTo>
                      <a:pt x="25" y="166"/>
                    </a:lnTo>
                    <a:lnTo>
                      <a:pt x="29" y="169"/>
                    </a:lnTo>
                    <a:lnTo>
                      <a:pt x="27" y="171"/>
                    </a:lnTo>
                    <a:lnTo>
                      <a:pt x="27" y="173"/>
                    </a:lnTo>
                    <a:lnTo>
                      <a:pt x="24" y="175"/>
                    </a:lnTo>
                    <a:lnTo>
                      <a:pt x="20" y="176"/>
                    </a:lnTo>
                    <a:lnTo>
                      <a:pt x="20" y="178"/>
                    </a:lnTo>
                    <a:lnTo>
                      <a:pt x="22" y="185"/>
                    </a:lnTo>
                    <a:lnTo>
                      <a:pt x="25" y="191"/>
                    </a:lnTo>
                    <a:lnTo>
                      <a:pt x="24" y="205"/>
                    </a:lnTo>
                    <a:lnTo>
                      <a:pt x="31" y="218"/>
                    </a:lnTo>
                    <a:lnTo>
                      <a:pt x="31" y="221"/>
                    </a:lnTo>
                    <a:lnTo>
                      <a:pt x="31" y="223"/>
                    </a:lnTo>
                    <a:lnTo>
                      <a:pt x="29" y="223"/>
                    </a:lnTo>
                    <a:lnTo>
                      <a:pt x="20" y="221"/>
                    </a:lnTo>
                    <a:lnTo>
                      <a:pt x="15" y="223"/>
                    </a:lnTo>
                    <a:lnTo>
                      <a:pt x="13" y="223"/>
                    </a:lnTo>
                    <a:lnTo>
                      <a:pt x="11" y="225"/>
                    </a:lnTo>
                    <a:lnTo>
                      <a:pt x="11" y="228"/>
                    </a:lnTo>
                    <a:lnTo>
                      <a:pt x="11" y="232"/>
                    </a:lnTo>
                    <a:lnTo>
                      <a:pt x="15" y="237"/>
                    </a:lnTo>
                    <a:lnTo>
                      <a:pt x="16" y="239"/>
                    </a:lnTo>
                    <a:lnTo>
                      <a:pt x="24" y="241"/>
                    </a:lnTo>
                    <a:lnTo>
                      <a:pt x="24" y="241"/>
                    </a:lnTo>
                    <a:lnTo>
                      <a:pt x="31" y="262"/>
                    </a:lnTo>
                    <a:lnTo>
                      <a:pt x="32" y="264"/>
                    </a:lnTo>
                    <a:lnTo>
                      <a:pt x="32" y="262"/>
                    </a:lnTo>
                    <a:lnTo>
                      <a:pt x="38" y="262"/>
                    </a:lnTo>
                    <a:lnTo>
                      <a:pt x="40" y="262"/>
                    </a:lnTo>
                    <a:lnTo>
                      <a:pt x="41" y="262"/>
                    </a:lnTo>
                    <a:lnTo>
                      <a:pt x="45" y="260"/>
                    </a:lnTo>
                    <a:lnTo>
                      <a:pt x="49" y="259"/>
                    </a:lnTo>
                    <a:lnTo>
                      <a:pt x="49" y="257"/>
                    </a:lnTo>
                    <a:lnTo>
                      <a:pt x="50" y="257"/>
                    </a:lnTo>
                    <a:lnTo>
                      <a:pt x="50" y="257"/>
                    </a:lnTo>
                    <a:lnTo>
                      <a:pt x="52" y="257"/>
                    </a:lnTo>
                    <a:lnTo>
                      <a:pt x="52" y="257"/>
                    </a:lnTo>
                    <a:lnTo>
                      <a:pt x="54" y="259"/>
                    </a:lnTo>
                    <a:lnTo>
                      <a:pt x="54" y="259"/>
                    </a:lnTo>
                    <a:lnTo>
                      <a:pt x="56" y="260"/>
                    </a:lnTo>
                    <a:lnTo>
                      <a:pt x="57" y="260"/>
                    </a:lnTo>
                    <a:lnTo>
                      <a:pt x="57" y="259"/>
                    </a:lnTo>
                    <a:lnTo>
                      <a:pt x="63" y="259"/>
                    </a:lnTo>
                    <a:lnTo>
                      <a:pt x="65" y="257"/>
                    </a:lnTo>
                    <a:lnTo>
                      <a:pt x="72" y="253"/>
                    </a:lnTo>
                    <a:lnTo>
                      <a:pt x="75" y="255"/>
                    </a:lnTo>
                    <a:lnTo>
                      <a:pt x="77" y="253"/>
                    </a:lnTo>
                    <a:lnTo>
                      <a:pt x="84" y="253"/>
                    </a:lnTo>
                    <a:lnTo>
                      <a:pt x="84" y="253"/>
                    </a:lnTo>
                    <a:lnTo>
                      <a:pt x="86" y="251"/>
                    </a:lnTo>
                    <a:lnTo>
                      <a:pt x="86" y="250"/>
                    </a:lnTo>
                    <a:lnTo>
                      <a:pt x="88" y="250"/>
                    </a:lnTo>
                    <a:lnTo>
                      <a:pt x="90" y="250"/>
                    </a:lnTo>
                    <a:lnTo>
                      <a:pt x="90" y="246"/>
                    </a:lnTo>
                    <a:lnTo>
                      <a:pt x="91" y="246"/>
                    </a:lnTo>
                    <a:lnTo>
                      <a:pt x="91" y="244"/>
                    </a:lnTo>
                    <a:lnTo>
                      <a:pt x="91" y="243"/>
                    </a:lnTo>
                    <a:lnTo>
                      <a:pt x="90" y="241"/>
                    </a:lnTo>
                    <a:lnTo>
                      <a:pt x="90" y="241"/>
                    </a:lnTo>
                    <a:lnTo>
                      <a:pt x="90" y="239"/>
                    </a:lnTo>
                    <a:lnTo>
                      <a:pt x="109" y="235"/>
                    </a:lnTo>
                    <a:lnTo>
                      <a:pt x="111" y="235"/>
                    </a:lnTo>
                    <a:lnTo>
                      <a:pt x="115" y="235"/>
                    </a:lnTo>
                    <a:lnTo>
                      <a:pt x="116" y="232"/>
                    </a:lnTo>
                    <a:lnTo>
                      <a:pt x="122" y="230"/>
                    </a:lnTo>
                    <a:lnTo>
                      <a:pt x="122" y="230"/>
                    </a:lnTo>
                    <a:lnTo>
                      <a:pt x="124" y="226"/>
                    </a:lnTo>
                    <a:lnTo>
                      <a:pt x="129" y="221"/>
                    </a:lnTo>
                    <a:lnTo>
                      <a:pt x="129" y="221"/>
                    </a:lnTo>
                    <a:lnTo>
                      <a:pt x="131" y="221"/>
                    </a:lnTo>
                    <a:lnTo>
                      <a:pt x="132" y="218"/>
                    </a:lnTo>
                    <a:lnTo>
                      <a:pt x="134" y="218"/>
                    </a:lnTo>
                    <a:lnTo>
                      <a:pt x="134" y="212"/>
                    </a:lnTo>
                    <a:lnTo>
                      <a:pt x="136" y="209"/>
                    </a:lnTo>
                    <a:lnTo>
                      <a:pt x="138" y="207"/>
                    </a:lnTo>
                    <a:lnTo>
                      <a:pt x="152" y="203"/>
                    </a:lnTo>
                    <a:lnTo>
                      <a:pt x="152" y="198"/>
                    </a:lnTo>
                    <a:lnTo>
                      <a:pt x="150" y="198"/>
                    </a:lnTo>
                    <a:lnTo>
                      <a:pt x="149" y="196"/>
                    </a:lnTo>
                    <a:lnTo>
                      <a:pt x="149" y="196"/>
                    </a:lnTo>
                    <a:lnTo>
                      <a:pt x="143" y="182"/>
                    </a:lnTo>
                    <a:lnTo>
                      <a:pt x="143" y="176"/>
                    </a:lnTo>
                    <a:lnTo>
                      <a:pt x="138" y="178"/>
                    </a:lnTo>
                    <a:lnTo>
                      <a:pt x="136" y="178"/>
                    </a:lnTo>
                    <a:lnTo>
                      <a:pt x="138" y="171"/>
                    </a:lnTo>
                    <a:lnTo>
                      <a:pt x="140" y="166"/>
                    </a:lnTo>
                    <a:lnTo>
                      <a:pt x="140" y="159"/>
                    </a:lnTo>
                    <a:lnTo>
                      <a:pt x="141" y="157"/>
                    </a:lnTo>
                    <a:lnTo>
                      <a:pt x="143" y="157"/>
                    </a:lnTo>
                    <a:lnTo>
                      <a:pt x="143" y="157"/>
                    </a:lnTo>
                    <a:lnTo>
                      <a:pt x="143" y="155"/>
                    </a:lnTo>
                    <a:lnTo>
                      <a:pt x="143" y="148"/>
                    </a:lnTo>
                    <a:lnTo>
                      <a:pt x="152" y="135"/>
                    </a:lnTo>
                    <a:lnTo>
                      <a:pt x="154" y="130"/>
                    </a:lnTo>
                    <a:lnTo>
                      <a:pt x="154" y="128"/>
                    </a:lnTo>
                    <a:lnTo>
                      <a:pt x="170" y="128"/>
                    </a:lnTo>
                    <a:lnTo>
                      <a:pt x="172" y="66"/>
                    </a:lnTo>
                    <a:lnTo>
                      <a:pt x="168" y="66"/>
                    </a:lnTo>
                    <a:lnTo>
                      <a:pt x="43" y="0"/>
                    </a:lnTo>
                    <a:lnTo>
                      <a:pt x="27" y="5"/>
                    </a:lnTo>
                    <a:lnTo>
                      <a:pt x="27" y="3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01" name="Freeform 2352"/>
              <p:cNvSpPr>
                <a:spLocks/>
              </p:cNvSpPr>
              <p:nvPr/>
            </p:nvSpPr>
            <p:spPr bwMode="auto">
              <a:xfrm>
                <a:off x="2428" y="2490"/>
                <a:ext cx="48" cy="14"/>
              </a:xfrm>
              <a:custGeom>
                <a:avLst/>
                <a:gdLst>
                  <a:gd name="T0" fmla="*/ 0 w 48"/>
                  <a:gd name="T1" fmla="*/ 14 h 14"/>
                  <a:gd name="T2" fmla="*/ 2 w 48"/>
                  <a:gd name="T3" fmla="*/ 10 h 14"/>
                  <a:gd name="T4" fmla="*/ 16 w 48"/>
                  <a:gd name="T5" fmla="*/ 10 h 14"/>
                  <a:gd name="T6" fmla="*/ 16 w 48"/>
                  <a:gd name="T7" fmla="*/ 10 h 14"/>
                  <a:gd name="T8" fmla="*/ 16 w 48"/>
                  <a:gd name="T9" fmla="*/ 9 h 14"/>
                  <a:gd name="T10" fmla="*/ 18 w 48"/>
                  <a:gd name="T11" fmla="*/ 7 h 14"/>
                  <a:gd name="T12" fmla="*/ 20 w 48"/>
                  <a:gd name="T13" fmla="*/ 9 h 14"/>
                  <a:gd name="T14" fmla="*/ 22 w 48"/>
                  <a:gd name="T15" fmla="*/ 9 h 14"/>
                  <a:gd name="T16" fmla="*/ 25 w 48"/>
                  <a:gd name="T17" fmla="*/ 7 h 14"/>
                  <a:gd name="T18" fmla="*/ 27 w 48"/>
                  <a:gd name="T19" fmla="*/ 5 h 14"/>
                  <a:gd name="T20" fmla="*/ 27 w 48"/>
                  <a:gd name="T21" fmla="*/ 5 h 14"/>
                  <a:gd name="T22" fmla="*/ 29 w 48"/>
                  <a:gd name="T23" fmla="*/ 5 h 14"/>
                  <a:gd name="T24" fmla="*/ 31 w 48"/>
                  <a:gd name="T25" fmla="*/ 7 h 14"/>
                  <a:gd name="T26" fmla="*/ 32 w 48"/>
                  <a:gd name="T27" fmla="*/ 7 h 14"/>
                  <a:gd name="T28" fmla="*/ 34 w 48"/>
                  <a:gd name="T29" fmla="*/ 9 h 14"/>
                  <a:gd name="T30" fmla="*/ 36 w 48"/>
                  <a:gd name="T31" fmla="*/ 9 h 14"/>
                  <a:gd name="T32" fmla="*/ 40 w 48"/>
                  <a:gd name="T33" fmla="*/ 10 h 14"/>
                  <a:gd name="T34" fmla="*/ 41 w 48"/>
                  <a:gd name="T35" fmla="*/ 9 h 14"/>
                  <a:gd name="T36" fmla="*/ 41 w 48"/>
                  <a:gd name="T37" fmla="*/ 10 h 14"/>
                  <a:gd name="T38" fmla="*/ 43 w 48"/>
                  <a:gd name="T39" fmla="*/ 9 h 14"/>
                  <a:gd name="T40" fmla="*/ 47 w 48"/>
                  <a:gd name="T41" fmla="*/ 9 h 14"/>
                  <a:gd name="T42" fmla="*/ 48 w 48"/>
                  <a:gd name="T43" fmla="*/ 7 h 14"/>
                  <a:gd name="T44" fmla="*/ 48 w 48"/>
                  <a:gd name="T45" fmla="*/ 7 h 14"/>
                  <a:gd name="T46" fmla="*/ 48 w 48"/>
                  <a:gd name="T47" fmla="*/ 5 h 14"/>
                  <a:gd name="T48" fmla="*/ 48 w 48"/>
                  <a:gd name="T49" fmla="*/ 5 h 14"/>
                  <a:gd name="T50" fmla="*/ 47 w 48"/>
                  <a:gd name="T51" fmla="*/ 5 h 14"/>
                  <a:gd name="T52" fmla="*/ 47 w 48"/>
                  <a:gd name="T53" fmla="*/ 5 h 14"/>
                  <a:gd name="T54" fmla="*/ 45 w 48"/>
                  <a:gd name="T55" fmla="*/ 5 h 14"/>
                  <a:gd name="T56" fmla="*/ 41 w 48"/>
                  <a:gd name="T57" fmla="*/ 7 h 14"/>
                  <a:gd name="T58" fmla="*/ 40 w 48"/>
                  <a:gd name="T59" fmla="*/ 5 h 14"/>
                  <a:gd name="T60" fmla="*/ 38 w 48"/>
                  <a:gd name="T61" fmla="*/ 5 h 14"/>
                  <a:gd name="T62" fmla="*/ 36 w 48"/>
                  <a:gd name="T63" fmla="*/ 3 h 14"/>
                  <a:gd name="T64" fmla="*/ 36 w 48"/>
                  <a:gd name="T65" fmla="*/ 3 h 14"/>
                  <a:gd name="T66" fmla="*/ 32 w 48"/>
                  <a:gd name="T67" fmla="*/ 3 h 14"/>
                  <a:gd name="T68" fmla="*/ 31 w 48"/>
                  <a:gd name="T69" fmla="*/ 1 h 14"/>
                  <a:gd name="T70" fmla="*/ 29 w 48"/>
                  <a:gd name="T71" fmla="*/ 0 h 14"/>
                  <a:gd name="T72" fmla="*/ 27 w 48"/>
                  <a:gd name="T73" fmla="*/ 0 h 14"/>
                  <a:gd name="T74" fmla="*/ 25 w 48"/>
                  <a:gd name="T75" fmla="*/ 1 h 14"/>
                  <a:gd name="T76" fmla="*/ 23 w 48"/>
                  <a:gd name="T77" fmla="*/ 1 h 14"/>
                  <a:gd name="T78" fmla="*/ 22 w 48"/>
                  <a:gd name="T79" fmla="*/ 1 h 14"/>
                  <a:gd name="T80" fmla="*/ 20 w 48"/>
                  <a:gd name="T81" fmla="*/ 3 h 14"/>
                  <a:gd name="T82" fmla="*/ 4 w 48"/>
                  <a:gd name="T83" fmla="*/ 3 h 14"/>
                  <a:gd name="T84" fmla="*/ 4 w 48"/>
                  <a:gd name="T85" fmla="*/ 5 h 14"/>
                  <a:gd name="T86" fmla="*/ 4 w 48"/>
                  <a:gd name="T87" fmla="*/ 7 h 14"/>
                  <a:gd name="T88" fmla="*/ 2 w 48"/>
                  <a:gd name="T89" fmla="*/ 5 h 14"/>
                  <a:gd name="T90" fmla="*/ 2 w 48"/>
                  <a:gd name="T91" fmla="*/ 7 h 14"/>
                  <a:gd name="T92" fmla="*/ 0 w 48"/>
                  <a:gd name="T93" fmla="*/ 7 h 14"/>
                  <a:gd name="T94" fmla="*/ 0 w 48"/>
                  <a:gd name="T95" fmla="*/ 9 h 14"/>
                  <a:gd name="T96" fmla="*/ 0 w 48"/>
                  <a:gd name="T97" fmla="*/ 12 h 14"/>
                  <a:gd name="T98" fmla="*/ 0 w 48"/>
                  <a:gd name="T99" fmla="*/ 14 h 14"/>
                  <a:gd name="T100" fmla="*/ 0 w 48"/>
                  <a:gd name="T10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14">
                    <a:moveTo>
                      <a:pt x="0" y="14"/>
                    </a:moveTo>
                    <a:lnTo>
                      <a:pt x="2" y="10"/>
                    </a:lnTo>
                    <a:lnTo>
                      <a:pt x="16" y="10"/>
                    </a:lnTo>
                    <a:lnTo>
                      <a:pt x="16" y="10"/>
                    </a:lnTo>
                    <a:lnTo>
                      <a:pt x="16" y="9"/>
                    </a:lnTo>
                    <a:lnTo>
                      <a:pt x="18" y="7"/>
                    </a:lnTo>
                    <a:lnTo>
                      <a:pt x="20" y="9"/>
                    </a:lnTo>
                    <a:lnTo>
                      <a:pt x="22" y="9"/>
                    </a:lnTo>
                    <a:lnTo>
                      <a:pt x="25" y="7"/>
                    </a:lnTo>
                    <a:lnTo>
                      <a:pt x="27" y="5"/>
                    </a:lnTo>
                    <a:lnTo>
                      <a:pt x="27" y="5"/>
                    </a:lnTo>
                    <a:lnTo>
                      <a:pt x="29" y="5"/>
                    </a:lnTo>
                    <a:lnTo>
                      <a:pt x="31" y="7"/>
                    </a:lnTo>
                    <a:lnTo>
                      <a:pt x="32" y="7"/>
                    </a:lnTo>
                    <a:lnTo>
                      <a:pt x="34" y="9"/>
                    </a:lnTo>
                    <a:lnTo>
                      <a:pt x="36" y="9"/>
                    </a:lnTo>
                    <a:lnTo>
                      <a:pt x="40" y="10"/>
                    </a:lnTo>
                    <a:lnTo>
                      <a:pt x="41" y="9"/>
                    </a:lnTo>
                    <a:lnTo>
                      <a:pt x="41" y="10"/>
                    </a:lnTo>
                    <a:lnTo>
                      <a:pt x="43" y="9"/>
                    </a:lnTo>
                    <a:lnTo>
                      <a:pt x="47" y="9"/>
                    </a:lnTo>
                    <a:lnTo>
                      <a:pt x="48" y="7"/>
                    </a:lnTo>
                    <a:lnTo>
                      <a:pt x="48" y="7"/>
                    </a:lnTo>
                    <a:lnTo>
                      <a:pt x="48" y="5"/>
                    </a:lnTo>
                    <a:lnTo>
                      <a:pt x="48" y="5"/>
                    </a:lnTo>
                    <a:lnTo>
                      <a:pt x="47" y="5"/>
                    </a:lnTo>
                    <a:lnTo>
                      <a:pt x="47" y="5"/>
                    </a:lnTo>
                    <a:lnTo>
                      <a:pt x="45" y="5"/>
                    </a:lnTo>
                    <a:lnTo>
                      <a:pt x="41" y="7"/>
                    </a:lnTo>
                    <a:lnTo>
                      <a:pt x="40" y="5"/>
                    </a:lnTo>
                    <a:lnTo>
                      <a:pt x="38" y="5"/>
                    </a:lnTo>
                    <a:lnTo>
                      <a:pt x="36" y="3"/>
                    </a:lnTo>
                    <a:lnTo>
                      <a:pt x="36" y="3"/>
                    </a:lnTo>
                    <a:lnTo>
                      <a:pt x="32" y="3"/>
                    </a:lnTo>
                    <a:lnTo>
                      <a:pt x="31" y="1"/>
                    </a:lnTo>
                    <a:lnTo>
                      <a:pt x="29" y="0"/>
                    </a:lnTo>
                    <a:lnTo>
                      <a:pt x="27" y="0"/>
                    </a:lnTo>
                    <a:lnTo>
                      <a:pt x="25" y="1"/>
                    </a:lnTo>
                    <a:lnTo>
                      <a:pt x="23" y="1"/>
                    </a:lnTo>
                    <a:lnTo>
                      <a:pt x="22" y="1"/>
                    </a:lnTo>
                    <a:lnTo>
                      <a:pt x="20" y="3"/>
                    </a:lnTo>
                    <a:lnTo>
                      <a:pt x="4" y="3"/>
                    </a:lnTo>
                    <a:lnTo>
                      <a:pt x="4" y="5"/>
                    </a:lnTo>
                    <a:lnTo>
                      <a:pt x="4" y="7"/>
                    </a:lnTo>
                    <a:lnTo>
                      <a:pt x="2" y="5"/>
                    </a:lnTo>
                    <a:lnTo>
                      <a:pt x="2" y="7"/>
                    </a:lnTo>
                    <a:lnTo>
                      <a:pt x="0" y="7"/>
                    </a:lnTo>
                    <a:lnTo>
                      <a:pt x="0" y="9"/>
                    </a:lnTo>
                    <a:lnTo>
                      <a:pt x="0" y="12"/>
                    </a:lnTo>
                    <a:lnTo>
                      <a:pt x="0" y="14"/>
                    </a:lnTo>
                    <a:lnTo>
                      <a:pt x="0" y="1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02" name="Freeform 2353"/>
              <p:cNvSpPr>
                <a:spLocks/>
              </p:cNvSpPr>
              <p:nvPr/>
            </p:nvSpPr>
            <p:spPr bwMode="auto">
              <a:xfrm>
                <a:off x="2428" y="2490"/>
                <a:ext cx="48" cy="14"/>
              </a:xfrm>
              <a:custGeom>
                <a:avLst/>
                <a:gdLst>
                  <a:gd name="T0" fmla="*/ 0 w 48"/>
                  <a:gd name="T1" fmla="*/ 14 h 14"/>
                  <a:gd name="T2" fmla="*/ 2 w 48"/>
                  <a:gd name="T3" fmla="*/ 10 h 14"/>
                  <a:gd name="T4" fmla="*/ 16 w 48"/>
                  <a:gd name="T5" fmla="*/ 10 h 14"/>
                  <a:gd name="T6" fmla="*/ 16 w 48"/>
                  <a:gd name="T7" fmla="*/ 10 h 14"/>
                  <a:gd name="T8" fmla="*/ 16 w 48"/>
                  <a:gd name="T9" fmla="*/ 9 h 14"/>
                  <a:gd name="T10" fmla="*/ 18 w 48"/>
                  <a:gd name="T11" fmla="*/ 7 h 14"/>
                  <a:gd name="T12" fmla="*/ 20 w 48"/>
                  <a:gd name="T13" fmla="*/ 9 h 14"/>
                  <a:gd name="T14" fmla="*/ 22 w 48"/>
                  <a:gd name="T15" fmla="*/ 9 h 14"/>
                  <a:gd name="T16" fmla="*/ 25 w 48"/>
                  <a:gd name="T17" fmla="*/ 7 h 14"/>
                  <a:gd name="T18" fmla="*/ 27 w 48"/>
                  <a:gd name="T19" fmla="*/ 5 h 14"/>
                  <a:gd name="T20" fmla="*/ 27 w 48"/>
                  <a:gd name="T21" fmla="*/ 5 h 14"/>
                  <a:gd name="T22" fmla="*/ 29 w 48"/>
                  <a:gd name="T23" fmla="*/ 5 h 14"/>
                  <a:gd name="T24" fmla="*/ 31 w 48"/>
                  <a:gd name="T25" fmla="*/ 7 h 14"/>
                  <a:gd name="T26" fmla="*/ 32 w 48"/>
                  <a:gd name="T27" fmla="*/ 7 h 14"/>
                  <a:gd name="T28" fmla="*/ 34 w 48"/>
                  <a:gd name="T29" fmla="*/ 9 h 14"/>
                  <a:gd name="T30" fmla="*/ 36 w 48"/>
                  <a:gd name="T31" fmla="*/ 9 h 14"/>
                  <a:gd name="T32" fmla="*/ 40 w 48"/>
                  <a:gd name="T33" fmla="*/ 10 h 14"/>
                  <a:gd name="T34" fmla="*/ 41 w 48"/>
                  <a:gd name="T35" fmla="*/ 9 h 14"/>
                  <a:gd name="T36" fmla="*/ 41 w 48"/>
                  <a:gd name="T37" fmla="*/ 10 h 14"/>
                  <a:gd name="T38" fmla="*/ 43 w 48"/>
                  <a:gd name="T39" fmla="*/ 9 h 14"/>
                  <a:gd name="T40" fmla="*/ 47 w 48"/>
                  <a:gd name="T41" fmla="*/ 9 h 14"/>
                  <a:gd name="T42" fmla="*/ 48 w 48"/>
                  <a:gd name="T43" fmla="*/ 7 h 14"/>
                  <a:gd name="T44" fmla="*/ 48 w 48"/>
                  <a:gd name="T45" fmla="*/ 7 h 14"/>
                  <a:gd name="T46" fmla="*/ 48 w 48"/>
                  <a:gd name="T47" fmla="*/ 5 h 14"/>
                  <a:gd name="T48" fmla="*/ 48 w 48"/>
                  <a:gd name="T49" fmla="*/ 5 h 14"/>
                  <a:gd name="T50" fmla="*/ 47 w 48"/>
                  <a:gd name="T51" fmla="*/ 5 h 14"/>
                  <a:gd name="T52" fmla="*/ 47 w 48"/>
                  <a:gd name="T53" fmla="*/ 5 h 14"/>
                  <a:gd name="T54" fmla="*/ 45 w 48"/>
                  <a:gd name="T55" fmla="*/ 5 h 14"/>
                  <a:gd name="T56" fmla="*/ 41 w 48"/>
                  <a:gd name="T57" fmla="*/ 7 h 14"/>
                  <a:gd name="T58" fmla="*/ 40 w 48"/>
                  <a:gd name="T59" fmla="*/ 5 h 14"/>
                  <a:gd name="T60" fmla="*/ 38 w 48"/>
                  <a:gd name="T61" fmla="*/ 5 h 14"/>
                  <a:gd name="T62" fmla="*/ 36 w 48"/>
                  <a:gd name="T63" fmla="*/ 3 h 14"/>
                  <a:gd name="T64" fmla="*/ 36 w 48"/>
                  <a:gd name="T65" fmla="*/ 3 h 14"/>
                  <a:gd name="T66" fmla="*/ 32 w 48"/>
                  <a:gd name="T67" fmla="*/ 3 h 14"/>
                  <a:gd name="T68" fmla="*/ 31 w 48"/>
                  <a:gd name="T69" fmla="*/ 1 h 14"/>
                  <a:gd name="T70" fmla="*/ 29 w 48"/>
                  <a:gd name="T71" fmla="*/ 0 h 14"/>
                  <a:gd name="T72" fmla="*/ 27 w 48"/>
                  <a:gd name="T73" fmla="*/ 0 h 14"/>
                  <a:gd name="T74" fmla="*/ 25 w 48"/>
                  <a:gd name="T75" fmla="*/ 1 h 14"/>
                  <a:gd name="T76" fmla="*/ 23 w 48"/>
                  <a:gd name="T77" fmla="*/ 1 h 14"/>
                  <a:gd name="T78" fmla="*/ 22 w 48"/>
                  <a:gd name="T79" fmla="*/ 1 h 14"/>
                  <a:gd name="T80" fmla="*/ 20 w 48"/>
                  <a:gd name="T81" fmla="*/ 3 h 14"/>
                  <a:gd name="T82" fmla="*/ 4 w 48"/>
                  <a:gd name="T83" fmla="*/ 3 h 14"/>
                  <a:gd name="T84" fmla="*/ 4 w 48"/>
                  <a:gd name="T85" fmla="*/ 5 h 14"/>
                  <a:gd name="T86" fmla="*/ 4 w 48"/>
                  <a:gd name="T87" fmla="*/ 7 h 14"/>
                  <a:gd name="T88" fmla="*/ 2 w 48"/>
                  <a:gd name="T89" fmla="*/ 5 h 14"/>
                  <a:gd name="T90" fmla="*/ 2 w 48"/>
                  <a:gd name="T91" fmla="*/ 7 h 14"/>
                  <a:gd name="T92" fmla="*/ 0 w 48"/>
                  <a:gd name="T93" fmla="*/ 7 h 14"/>
                  <a:gd name="T94" fmla="*/ 0 w 48"/>
                  <a:gd name="T95" fmla="*/ 9 h 14"/>
                  <a:gd name="T96" fmla="*/ 0 w 48"/>
                  <a:gd name="T97" fmla="*/ 12 h 14"/>
                  <a:gd name="T98" fmla="*/ 0 w 48"/>
                  <a:gd name="T99" fmla="*/ 14 h 14"/>
                  <a:gd name="T100" fmla="*/ 0 w 48"/>
                  <a:gd name="T10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14">
                    <a:moveTo>
                      <a:pt x="0" y="14"/>
                    </a:moveTo>
                    <a:lnTo>
                      <a:pt x="2" y="10"/>
                    </a:lnTo>
                    <a:lnTo>
                      <a:pt x="16" y="10"/>
                    </a:lnTo>
                    <a:lnTo>
                      <a:pt x="16" y="10"/>
                    </a:lnTo>
                    <a:lnTo>
                      <a:pt x="16" y="9"/>
                    </a:lnTo>
                    <a:lnTo>
                      <a:pt x="18" y="7"/>
                    </a:lnTo>
                    <a:lnTo>
                      <a:pt x="20" y="9"/>
                    </a:lnTo>
                    <a:lnTo>
                      <a:pt x="22" y="9"/>
                    </a:lnTo>
                    <a:lnTo>
                      <a:pt x="25" y="7"/>
                    </a:lnTo>
                    <a:lnTo>
                      <a:pt x="27" y="5"/>
                    </a:lnTo>
                    <a:lnTo>
                      <a:pt x="27" y="5"/>
                    </a:lnTo>
                    <a:lnTo>
                      <a:pt x="29" y="5"/>
                    </a:lnTo>
                    <a:lnTo>
                      <a:pt x="31" y="7"/>
                    </a:lnTo>
                    <a:lnTo>
                      <a:pt x="32" y="7"/>
                    </a:lnTo>
                    <a:lnTo>
                      <a:pt x="34" y="9"/>
                    </a:lnTo>
                    <a:lnTo>
                      <a:pt x="36" y="9"/>
                    </a:lnTo>
                    <a:lnTo>
                      <a:pt x="40" y="10"/>
                    </a:lnTo>
                    <a:lnTo>
                      <a:pt x="41" y="9"/>
                    </a:lnTo>
                    <a:lnTo>
                      <a:pt x="41" y="10"/>
                    </a:lnTo>
                    <a:lnTo>
                      <a:pt x="43" y="9"/>
                    </a:lnTo>
                    <a:lnTo>
                      <a:pt x="47" y="9"/>
                    </a:lnTo>
                    <a:lnTo>
                      <a:pt x="48" y="7"/>
                    </a:lnTo>
                    <a:lnTo>
                      <a:pt x="48" y="7"/>
                    </a:lnTo>
                    <a:lnTo>
                      <a:pt x="48" y="5"/>
                    </a:lnTo>
                    <a:lnTo>
                      <a:pt x="48" y="5"/>
                    </a:lnTo>
                    <a:lnTo>
                      <a:pt x="47" y="5"/>
                    </a:lnTo>
                    <a:lnTo>
                      <a:pt x="47" y="5"/>
                    </a:lnTo>
                    <a:lnTo>
                      <a:pt x="45" y="5"/>
                    </a:lnTo>
                    <a:lnTo>
                      <a:pt x="41" y="7"/>
                    </a:lnTo>
                    <a:lnTo>
                      <a:pt x="40" y="5"/>
                    </a:lnTo>
                    <a:lnTo>
                      <a:pt x="38" y="5"/>
                    </a:lnTo>
                    <a:lnTo>
                      <a:pt x="36" y="3"/>
                    </a:lnTo>
                    <a:lnTo>
                      <a:pt x="36" y="3"/>
                    </a:lnTo>
                    <a:lnTo>
                      <a:pt x="32" y="3"/>
                    </a:lnTo>
                    <a:lnTo>
                      <a:pt x="31" y="1"/>
                    </a:lnTo>
                    <a:lnTo>
                      <a:pt x="29" y="0"/>
                    </a:lnTo>
                    <a:lnTo>
                      <a:pt x="27" y="0"/>
                    </a:lnTo>
                    <a:lnTo>
                      <a:pt x="25" y="1"/>
                    </a:lnTo>
                    <a:lnTo>
                      <a:pt x="23" y="1"/>
                    </a:lnTo>
                    <a:lnTo>
                      <a:pt x="22" y="1"/>
                    </a:lnTo>
                    <a:lnTo>
                      <a:pt x="20" y="3"/>
                    </a:lnTo>
                    <a:lnTo>
                      <a:pt x="4" y="3"/>
                    </a:lnTo>
                    <a:lnTo>
                      <a:pt x="4" y="5"/>
                    </a:lnTo>
                    <a:lnTo>
                      <a:pt x="4" y="7"/>
                    </a:lnTo>
                    <a:lnTo>
                      <a:pt x="2" y="5"/>
                    </a:lnTo>
                    <a:lnTo>
                      <a:pt x="2" y="7"/>
                    </a:lnTo>
                    <a:lnTo>
                      <a:pt x="0" y="7"/>
                    </a:lnTo>
                    <a:lnTo>
                      <a:pt x="0" y="9"/>
                    </a:lnTo>
                    <a:lnTo>
                      <a:pt x="0" y="12"/>
                    </a:lnTo>
                    <a:lnTo>
                      <a:pt x="0" y="14"/>
                    </a:lnTo>
                    <a:lnTo>
                      <a:pt x="0" y="1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03" name="Freeform 2354"/>
              <p:cNvSpPr>
                <a:spLocks/>
              </p:cNvSpPr>
              <p:nvPr/>
            </p:nvSpPr>
            <p:spPr bwMode="auto">
              <a:xfrm>
                <a:off x="2428" y="2507"/>
                <a:ext cx="50" cy="31"/>
              </a:xfrm>
              <a:custGeom>
                <a:avLst/>
                <a:gdLst>
                  <a:gd name="T0" fmla="*/ 50 w 50"/>
                  <a:gd name="T1" fmla="*/ 0 h 31"/>
                  <a:gd name="T2" fmla="*/ 50 w 50"/>
                  <a:gd name="T3" fmla="*/ 4 h 31"/>
                  <a:gd name="T4" fmla="*/ 50 w 50"/>
                  <a:gd name="T5" fmla="*/ 6 h 31"/>
                  <a:gd name="T6" fmla="*/ 50 w 50"/>
                  <a:gd name="T7" fmla="*/ 6 h 31"/>
                  <a:gd name="T8" fmla="*/ 50 w 50"/>
                  <a:gd name="T9" fmla="*/ 8 h 31"/>
                  <a:gd name="T10" fmla="*/ 48 w 50"/>
                  <a:gd name="T11" fmla="*/ 9 h 31"/>
                  <a:gd name="T12" fmla="*/ 48 w 50"/>
                  <a:gd name="T13" fmla="*/ 9 h 31"/>
                  <a:gd name="T14" fmla="*/ 47 w 50"/>
                  <a:gd name="T15" fmla="*/ 9 h 31"/>
                  <a:gd name="T16" fmla="*/ 47 w 50"/>
                  <a:gd name="T17" fmla="*/ 9 h 31"/>
                  <a:gd name="T18" fmla="*/ 48 w 50"/>
                  <a:gd name="T19" fmla="*/ 11 h 31"/>
                  <a:gd name="T20" fmla="*/ 48 w 50"/>
                  <a:gd name="T21" fmla="*/ 13 h 31"/>
                  <a:gd name="T22" fmla="*/ 50 w 50"/>
                  <a:gd name="T23" fmla="*/ 18 h 31"/>
                  <a:gd name="T24" fmla="*/ 48 w 50"/>
                  <a:gd name="T25" fmla="*/ 18 h 31"/>
                  <a:gd name="T26" fmla="*/ 47 w 50"/>
                  <a:gd name="T27" fmla="*/ 18 h 31"/>
                  <a:gd name="T28" fmla="*/ 41 w 50"/>
                  <a:gd name="T29" fmla="*/ 18 h 31"/>
                  <a:gd name="T30" fmla="*/ 36 w 50"/>
                  <a:gd name="T31" fmla="*/ 22 h 31"/>
                  <a:gd name="T32" fmla="*/ 34 w 50"/>
                  <a:gd name="T33" fmla="*/ 22 h 31"/>
                  <a:gd name="T34" fmla="*/ 31 w 50"/>
                  <a:gd name="T35" fmla="*/ 29 h 31"/>
                  <a:gd name="T36" fmla="*/ 29 w 50"/>
                  <a:gd name="T37" fmla="*/ 29 h 31"/>
                  <a:gd name="T38" fmla="*/ 27 w 50"/>
                  <a:gd name="T39" fmla="*/ 31 h 31"/>
                  <a:gd name="T40" fmla="*/ 27 w 50"/>
                  <a:gd name="T41" fmla="*/ 29 h 31"/>
                  <a:gd name="T42" fmla="*/ 29 w 50"/>
                  <a:gd name="T43" fmla="*/ 29 h 31"/>
                  <a:gd name="T44" fmla="*/ 25 w 50"/>
                  <a:gd name="T45" fmla="*/ 29 h 31"/>
                  <a:gd name="T46" fmla="*/ 23 w 50"/>
                  <a:gd name="T47" fmla="*/ 29 h 31"/>
                  <a:gd name="T48" fmla="*/ 23 w 50"/>
                  <a:gd name="T49" fmla="*/ 27 h 31"/>
                  <a:gd name="T50" fmla="*/ 22 w 50"/>
                  <a:gd name="T51" fmla="*/ 24 h 31"/>
                  <a:gd name="T52" fmla="*/ 23 w 50"/>
                  <a:gd name="T53" fmla="*/ 22 h 31"/>
                  <a:gd name="T54" fmla="*/ 22 w 50"/>
                  <a:gd name="T55" fmla="*/ 18 h 31"/>
                  <a:gd name="T56" fmla="*/ 23 w 50"/>
                  <a:gd name="T57" fmla="*/ 17 h 31"/>
                  <a:gd name="T58" fmla="*/ 31 w 50"/>
                  <a:gd name="T59" fmla="*/ 17 h 31"/>
                  <a:gd name="T60" fmla="*/ 31 w 50"/>
                  <a:gd name="T61" fmla="*/ 15 h 31"/>
                  <a:gd name="T62" fmla="*/ 22 w 50"/>
                  <a:gd name="T63" fmla="*/ 17 h 31"/>
                  <a:gd name="T64" fmla="*/ 18 w 50"/>
                  <a:gd name="T65" fmla="*/ 18 h 31"/>
                  <a:gd name="T66" fmla="*/ 15 w 50"/>
                  <a:gd name="T67" fmla="*/ 18 h 31"/>
                  <a:gd name="T68" fmla="*/ 15 w 50"/>
                  <a:gd name="T69" fmla="*/ 18 h 31"/>
                  <a:gd name="T70" fmla="*/ 15 w 50"/>
                  <a:gd name="T71" fmla="*/ 15 h 31"/>
                  <a:gd name="T72" fmla="*/ 13 w 50"/>
                  <a:gd name="T73" fmla="*/ 17 h 31"/>
                  <a:gd name="T74" fmla="*/ 9 w 50"/>
                  <a:gd name="T75" fmla="*/ 15 h 31"/>
                  <a:gd name="T76" fmla="*/ 7 w 50"/>
                  <a:gd name="T77" fmla="*/ 15 h 31"/>
                  <a:gd name="T78" fmla="*/ 7 w 50"/>
                  <a:gd name="T79" fmla="*/ 11 h 31"/>
                  <a:gd name="T80" fmla="*/ 2 w 50"/>
                  <a:gd name="T81" fmla="*/ 9 h 31"/>
                  <a:gd name="T82" fmla="*/ 0 w 50"/>
                  <a:gd name="T83" fmla="*/ 8 h 31"/>
                  <a:gd name="T84" fmla="*/ 0 w 50"/>
                  <a:gd name="T85" fmla="*/ 6 h 31"/>
                  <a:gd name="T86" fmla="*/ 2 w 50"/>
                  <a:gd name="T87" fmla="*/ 8 h 31"/>
                  <a:gd name="T88" fmla="*/ 2 w 50"/>
                  <a:gd name="T89" fmla="*/ 8 h 31"/>
                  <a:gd name="T90" fmla="*/ 4 w 50"/>
                  <a:gd name="T91" fmla="*/ 8 h 31"/>
                  <a:gd name="T92" fmla="*/ 9 w 50"/>
                  <a:gd name="T93" fmla="*/ 6 h 31"/>
                  <a:gd name="T94" fmla="*/ 18 w 50"/>
                  <a:gd name="T95" fmla="*/ 6 h 31"/>
                  <a:gd name="T96" fmla="*/ 27 w 50"/>
                  <a:gd name="T97" fmla="*/ 2 h 31"/>
                  <a:gd name="T98" fmla="*/ 50 w 50"/>
                  <a:gd name="T9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31">
                    <a:moveTo>
                      <a:pt x="50" y="0"/>
                    </a:moveTo>
                    <a:lnTo>
                      <a:pt x="50" y="4"/>
                    </a:lnTo>
                    <a:lnTo>
                      <a:pt x="50" y="6"/>
                    </a:lnTo>
                    <a:lnTo>
                      <a:pt x="50" y="6"/>
                    </a:lnTo>
                    <a:lnTo>
                      <a:pt x="50" y="8"/>
                    </a:lnTo>
                    <a:lnTo>
                      <a:pt x="48" y="9"/>
                    </a:lnTo>
                    <a:lnTo>
                      <a:pt x="48" y="9"/>
                    </a:lnTo>
                    <a:lnTo>
                      <a:pt x="47" y="9"/>
                    </a:lnTo>
                    <a:lnTo>
                      <a:pt x="47" y="9"/>
                    </a:lnTo>
                    <a:lnTo>
                      <a:pt x="48" y="11"/>
                    </a:lnTo>
                    <a:lnTo>
                      <a:pt x="48" y="13"/>
                    </a:lnTo>
                    <a:lnTo>
                      <a:pt x="50" y="18"/>
                    </a:lnTo>
                    <a:lnTo>
                      <a:pt x="48" y="18"/>
                    </a:lnTo>
                    <a:lnTo>
                      <a:pt x="47" y="18"/>
                    </a:lnTo>
                    <a:lnTo>
                      <a:pt x="41" y="18"/>
                    </a:lnTo>
                    <a:lnTo>
                      <a:pt x="36" y="22"/>
                    </a:lnTo>
                    <a:lnTo>
                      <a:pt x="34" y="22"/>
                    </a:lnTo>
                    <a:lnTo>
                      <a:pt x="31" y="29"/>
                    </a:lnTo>
                    <a:lnTo>
                      <a:pt x="29" y="29"/>
                    </a:lnTo>
                    <a:lnTo>
                      <a:pt x="27" y="31"/>
                    </a:lnTo>
                    <a:lnTo>
                      <a:pt x="27" y="29"/>
                    </a:lnTo>
                    <a:lnTo>
                      <a:pt x="29" y="29"/>
                    </a:lnTo>
                    <a:lnTo>
                      <a:pt x="25" y="29"/>
                    </a:lnTo>
                    <a:lnTo>
                      <a:pt x="23" y="29"/>
                    </a:lnTo>
                    <a:lnTo>
                      <a:pt x="23" y="27"/>
                    </a:lnTo>
                    <a:lnTo>
                      <a:pt x="22" y="24"/>
                    </a:lnTo>
                    <a:lnTo>
                      <a:pt x="23" y="22"/>
                    </a:lnTo>
                    <a:lnTo>
                      <a:pt x="22" y="18"/>
                    </a:lnTo>
                    <a:lnTo>
                      <a:pt x="23" y="17"/>
                    </a:lnTo>
                    <a:lnTo>
                      <a:pt x="31" y="17"/>
                    </a:lnTo>
                    <a:lnTo>
                      <a:pt x="31" y="15"/>
                    </a:lnTo>
                    <a:lnTo>
                      <a:pt x="22" y="17"/>
                    </a:lnTo>
                    <a:lnTo>
                      <a:pt x="18" y="18"/>
                    </a:lnTo>
                    <a:lnTo>
                      <a:pt x="15" y="18"/>
                    </a:lnTo>
                    <a:lnTo>
                      <a:pt x="15" y="18"/>
                    </a:lnTo>
                    <a:lnTo>
                      <a:pt x="15" y="15"/>
                    </a:lnTo>
                    <a:lnTo>
                      <a:pt x="13" y="17"/>
                    </a:lnTo>
                    <a:lnTo>
                      <a:pt x="9" y="15"/>
                    </a:lnTo>
                    <a:lnTo>
                      <a:pt x="7" y="15"/>
                    </a:lnTo>
                    <a:lnTo>
                      <a:pt x="7" y="11"/>
                    </a:lnTo>
                    <a:lnTo>
                      <a:pt x="2" y="9"/>
                    </a:lnTo>
                    <a:lnTo>
                      <a:pt x="0" y="8"/>
                    </a:lnTo>
                    <a:lnTo>
                      <a:pt x="0" y="6"/>
                    </a:lnTo>
                    <a:lnTo>
                      <a:pt x="2" y="8"/>
                    </a:lnTo>
                    <a:lnTo>
                      <a:pt x="2" y="8"/>
                    </a:lnTo>
                    <a:lnTo>
                      <a:pt x="4" y="8"/>
                    </a:lnTo>
                    <a:lnTo>
                      <a:pt x="9" y="6"/>
                    </a:lnTo>
                    <a:lnTo>
                      <a:pt x="18" y="6"/>
                    </a:lnTo>
                    <a:lnTo>
                      <a:pt x="27" y="2"/>
                    </a:lnTo>
                    <a:lnTo>
                      <a:pt x="5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04" name="Freeform 2355"/>
              <p:cNvSpPr>
                <a:spLocks/>
              </p:cNvSpPr>
              <p:nvPr/>
            </p:nvSpPr>
            <p:spPr bwMode="auto">
              <a:xfrm>
                <a:off x="2428" y="2507"/>
                <a:ext cx="50" cy="31"/>
              </a:xfrm>
              <a:custGeom>
                <a:avLst/>
                <a:gdLst>
                  <a:gd name="T0" fmla="*/ 50 w 50"/>
                  <a:gd name="T1" fmla="*/ 0 h 31"/>
                  <a:gd name="T2" fmla="*/ 50 w 50"/>
                  <a:gd name="T3" fmla="*/ 4 h 31"/>
                  <a:gd name="T4" fmla="*/ 50 w 50"/>
                  <a:gd name="T5" fmla="*/ 6 h 31"/>
                  <a:gd name="T6" fmla="*/ 50 w 50"/>
                  <a:gd name="T7" fmla="*/ 6 h 31"/>
                  <a:gd name="T8" fmla="*/ 50 w 50"/>
                  <a:gd name="T9" fmla="*/ 8 h 31"/>
                  <a:gd name="T10" fmla="*/ 48 w 50"/>
                  <a:gd name="T11" fmla="*/ 9 h 31"/>
                  <a:gd name="T12" fmla="*/ 48 w 50"/>
                  <a:gd name="T13" fmla="*/ 9 h 31"/>
                  <a:gd name="T14" fmla="*/ 47 w 50"/>
                  <a:gd name="T15" fmla="*/ 9 h 31"/>
                  <a:gd name="T16" fmla="*/ 47 w 50"/>
                  <a:gd name="T17" fmla="*/ 9 h 31"/>
                  <a:gd name="T18" fmla="*/ 48 w 50"/>
                  <a:gd name="T19" fmla="*/ 11 h 31"/>
                  <a:gd name="T20" fmla="*/ 48 w 50"/>
                  <a:gd name="T21" fmla="*/ 13 h 31"/>
                  <a:gd name="T22" fmla="*/ 50 w 50"/>
                  <a:gd name="T23" fmla="*/ 18 h 31"/>
                  <a:gd name="T24" fmla="*/ 48 w 50"/>
                  <a:gd name="T25" fmla="*/ 18 h 31"/>
                  <a:gd name="T26" fmla="*/ 47 w 50"/>
                  <a:gd name="T27" fmla="*/ 18 h 31"/>
                  <a:gd name="T28" fmla="*/ 41 w 50"/>
                  <a:gd name="T29" fmla="*/ 18 h 31"/>
                  <a:gd name="T30" fmla="*/ 36 w 50"/>
                  <a:gd name="T31" fmla="*/ 22 h 31"/>
                  <a:gd name="T32" fmla="*/ 34 w 50"/>
                  <a:gd name="T33" fmla="*/ 22 h 31"/>
                  <a:gd name="T34" fmla="*/ 31 w 50"/>
                  <a:gd name="T35" fmla="*/ 29 h 31"/>
                  <a:gd name="T36" fmla="*/ 29 w 50"/>
                  <a:gd name="T37" fmla="*/ 29 h 31"/>
                  <a:gd name="T38" fmla="*/ 27 w 50"/>
                  <a:gd name="T39" fmla="*/ 31 h 31"/>
                  <a:gd name="T40" fmla="*/ 27 w 50"/>
                  <a:gd name="T41" fmla="*/ 29 h 31"/>
                  <a:gd name="T42" fmla="*/ 29 w 50"/>
                  <a:gd name="T43" fmla="*/ 29 h 31"/>
                  <a:gd name="T44" fmla="*/ 25 w 50"/>
                  <a:gd name="T45" fmla="*/ 29 h 31"/>
                  <a:gd name="T46" fmla="*/ 23 w 50"/>
                  <a:gd name="T47" fmla="*/ 29 h 31"/>
                  <a:gd name="T48" fmla="*/ 23 w 50"/>
                  <a:gd name="T49" fmla="*/ 27 h 31"/>
                  <a:gd name="T50" fmla="*/ 22 w 50"/>
                  <a:gd name="T51" fmla="*/ 24 h 31"/>
                  <a:gd name="T52" fmla="*/ 23 w 50"/>
                  <a:gd name="T53" fmla="*/ 22 h 31"/>
                  <a:gd name="T54" fmla="*/ 22 w 50"/>
                  <a:gd name="T55" fmla="*/ 18 h 31"/>
                  <a:gd name="T56" fmla="*/ 23 w 50"/>
                  <a:gd name="T57" fmla="*/ 17 h 31"/>
                  <a:gd name="T58" fmla="*/ 31 w 50"/>
                  <a:gd name="T59" fmla="*/ 17 h 31"/>
                  <a:gd name="T60" fmla="*/ 31 w 50"/>
                  <a:gd name="T61" fmla="*/ 15 h 31"/>
                  <a:gd name="T62" fmla="*/ 22 w 50"/>
                  <a:gd name="T63" fmla="*/ 17 h 31"/>
                  <a:gd name="T64" fmla="*/ 18 w 50"/>
                  <a:gd name="T65" fmla="*/ 18 h 31"/>
                  <a:gd name="T66" fmla="*/ 15 w 50"/>
                  <a:gd name="T67" fmla="*/ 18 h 31"/>
                  <a:gd name="T68" fmla="*/ 15 w 50"/>
                  <a:gd name="T69" fmla="*/ 18 h 31"/>
                  <a:gd name="T70" fmla="*/ 15 w 50"/>
                  <a:gd name="T71" fmla="*/ 15 h 31"/>
                  <a:gd name="T72" fmla="*/ 13 w 50"/>
                  <a:gd name="T73" fmla="*/ 17 h 31"/>
                  <a:gd name="T74" fmla="*/ 9 w 50"/>
                  <a:gd name="T75" fmla="*/ 15 h 31"/>
                  <a:gd name="T76" fmla="*/ 7 w 50"/>
                  <a:gd name="T77" fmla="*/ 15 h 31"/>
                  <a:gd name="T78" fmla="*/ 7 w 50"/>
                  <a:gd name="T79" fmla="*/ 11 h 31"/>
                  <a:gd name="T80" fmla="*/ 2 w 50"/>
                  <a:gd name="T81" fmla="*/ 9 h 31"/>
                  <a:gd name="T82" fmla="*/ 0 w 50"/>
                  <a:gd name="T83" fmla="*/ 8 h 31"/>
                  <a:gd name="T84" fmla="*/ 0 w 50"/>
                  <a:gd name="T85" fmla="*/ 6 h 31"/>
                  <a:gd name="T86" fmla="*/ 2 w 50"/>
                  <a:gd name="T87" fmla="*/ 8 h 31"/>
                  <a:gd name="T88" fmla="*/ 2 w 50"/>
                  <a:gd name="T89" fmla="*/ 8 h 31"/>
                  <a:gd name="T90" fmla="*/ 4 w 50"/>
                  <a:gd name="T91" fmla="*/ 8 h 31"/>
                  <a:gd name="T92" fmla="*/ 9 w 50"/>
                  <a:gd name="T93" fmla="*/ 6 h 31"/>
                  <a:gd name="T94" fmla="*/ 18 w 50"/>
                  <a:gd name="T95" fmla="*/ 6 h 31"/>
                  <a:gd name="T96" fmla="*/ 27 w 50"/>
                  <a:gd name="T97" fmla="*/ 2 h 31"/>
                  <a:gd name="T98" fmla="*/ 50 w 50"/>
                  <a:gd name="T9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0" h="31">
                    <a:moveTo>
                      <a:pt x="50" y="0"/>
                    </a:moveTo>
                    <a:lnTo>
                      <a:pt x="50" y="4"/>
                    </a:lnTo>
                    <a:lnTo>
                      <a:pt x="50" y="6"/>
                    </a:lnTo>
                    <a:lnTo>
                      <a:pt x="50" y="6"/>
                    </a:lnTo>
                    <a:lnTo>
                      <a:pt x="50" y="8"/>
                    </a:lnTo>
                    <a:lnTo>
                      <a:pt x="48" y="9"/>
                    </a:lnTo>
                    <a:lnTo>
                      <a:pt x="48" y="9"/>
                    </a:lnTo>
                    <a:lnTo>
                      <a:pt x="47" y="9"/>
                    </a:lnTo>
                    <a:lnTo>
                      <a:pt x="47" y="9"/>
                    </a:lnTo>
                    <a:lnTo>
                      <a:pt x="48" y="11"/>
                    </a:lnTo>
                    <a:lnTo>
                      <a:pt x="48" y="13"/>
                    </a:lnTo>
                    <a:lnTo>
                      <a:pt x="50" y="18"/>
                    </a:lnTo>
                    <a:lnTo>
                      <a:pt x="48" y="18"/>
                    </a:lnTo>
                    <a:lnTo>
                      <a:pt x="47" y="18"/>
                    </a:lnTo>
                    <a:lnTo>
                      <a:pt x="41" y="18"/>
                    </a:lnTo>
                    <a:lnTo>
                      <a:pt x="36" y="22"/>
                    </a:lnTo>
                    <a:lnTo>
                      <a:pt x="34" y="22"/>
                    </a:lnTo>
                    <a:lnTo>
                      <a:pt x="31" y="29"/>
                    </a:lnTo>
                    <a:lnTo>
                      <a:pt x="29" y="29"/>
                    </a:lnTo>
                    <a:lnTo>
                      <a:pt x="27" y="31"/>
                    </a:lnTo>
                    <a:lnTo>
                      <a:pt x="27" y="29"/>
                    </a:lnTo>
                    <a:lnTo>
                      <a:pt x="29" y="29"/>
                    </a:lnTo>
                    <a:lnTo>
                      <a:pt x="25" y="29"/>
                    </a:lnTo>
                    <a:lnTo>
                      <a:pt x="23" y="29"/>
                    </a:lnTo>
                    <a:lnTo>
                      <a:pt x="23" y="27"/>
                    </a:lnTo>
                    <a:lnTo>
                      <a:pt x="22" y="24"/>
                    </a:lnTo>
                    <a:lnTo>
                      <a:pt x="23" y="22"/>
                    </a:lnTo>
                    <a:lnTo>
                      <a:pt x="22" y="18"/>
                    </a:lnTo>
                    <a:lnTo>
                      <a:pt x="23" y="17"/>
                    </a:lnTo>
                    <a:lnTo>
                      <a:pt x="31" y="17"/>
                    </a:lnTo>
                    <a:lnTo>
                      <a:pt x="31" y="15"/>
                    </a:lnTo>
                    <a:lnTo>
                      <a:pt x="22" y="17"/>
                    </a:lnTo>
                    <a:lnTo>
                      <a:pt x="18" y="18"/>
                    </a:lnTo>
                    <a:lnTo>
                      <a:pt x="15" y="18"/>
                    </a:lnTo>
                    <a:lnTo>
                      <a:pt x="15" y="18"/>
                    </a:lnTo>
                    <a:lnTo>
                      <a:pt x="15" y="15"/>
                    </a:lnTo>
                    <a:lnTo>
                      <a:pt x="13" y="17"/>
                    </a:lnTo>
                    <a:lnTo>
                      <a:pt x="9" y="15"/>
                    </a:lnTo>
                    <a:lnTo>
                      <a:pt x="7" y="15"/>
                    </a:lnTo>
                    <a:lnTo>
                      <a:pt x="7" y="11"/>
                    </a:lnTo>
                    <a:lnTo>
                      <a:pt x="2" y="9"/>
                    </a:lnTo>
                    <a:lnTo>
                      <a:pt x="0" y="8"/>
                    </a:lnTo>
                    <a:lnTo>
                      <a:pt x="0" y="6"/>
                    </a:lnTo>
                    <a:lnTo>
                      <a:pt x="2" y="8"/>
                    </a:lnTo>
                    <a:lnTo>
                      <a:pt x="2" y="8"/>
                    </a:lnTo>
                    <a:lnTo>
                      <a:pt x="4" y="8"/>
                    </a:lnTo>
                    <a:lnTo>
                      <a:pt x="9" y="6"/>
                    </a:lnTo>
                    <a:lnTo>
                      <a:pt x="18" y="6"/>
                    </a:lnTo>
                    <a:lnTo>
                      <a:pt x="27" y="2"/>
                    </a:lnTo>
                    <a:lnTo>
                      <a:pt x="5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05" name="Freeform 2356"/>
              <p:cNvSpPr>
                <a:spLocks/>
              </p:cNvSpPr>
              <p:nvPr/>
            </p:nvSpPr>
            <p:spPr bwMode="auto">
              <a:xfrm>
                <a:off x="2512" y="2575"/>
                <a:ext cx="66" cy="68"/>
              </a:xfrm>
              <a:custGeom>
                <a:avLst/>
                <a:gdLst>
                  <a:gd name="T0" fmla="*/ 2 w 66"/>
                  <a:gd name="T1" fmla="*/ 25 h 68"/>
                  <a:gd name="T2" fmla="*/ 4 w 66"/>
                  <a:gd name="T3" fmla="*/ 24 h 68"/>
                  <a:gd name="T4" fmla="*/ 4 w 66"/>
                  <a:gd name="T5" fmla="*/ 22 h 68"/>
                  <a:gd name="T6" fmla="*/ 6 w 66"/>
                  <a:gd name="T7" fmla="*/ 22 h 68"/>
                  <a:gd name="T8" fmla="*/ 11 w 66"/>
                  <a:gd name="T9" fmla="*/ 16 h 68"/>
                  <a:gd name="T10" fmla="*/ 14 w 66"/>
                  <a:gd name="T11" fmla="*/ 15 h 68"/>
                  <a:gd name="T12" fmla="*/ 14 w 66"/>
                  <a:gd name="T13" fmla="*/ 13 h 68"/>
                  <a:gd name="T14" fmla="*/ 16 w 66"/>
                  <a:gd name="T15" fmla="*/ 9 h 68"/>
                  <a:gd name="T16" fmla="*/ 20 w 66"/>
                  <a:gd name="T17" fmla="*/ 6 h 68"/>
                  <a:gd name="T18" fmla="*/ 20 w 66"/>
                  <a:gd name="T19" fmla="*/ 6 h 68"/>
                  <a:gd name="T20" fmla="*/ 22 w 66"/>
                  <a:gd name="T21" fmla="*/ 4 h 68"/>
                  <a:gd name="T22" fmla="*/ 23 w 66"/>
                  <a:gd name="T23" fmla="*/ 0 h 68"/>
                  <a:gd name="T24" fmla="*/ 25 w 66"/>
                  <a:gd name="T25" fmla="*/ 2 h 68"/>
                  <a:gd name="T26" fmla="*/ 29 w 66"/>
                  <a:gd name="T27" fmla="*/ 2 h 68"/>
                  <a:gd name="T28" fmla="*/ 29 w 66"/>
                  <a:gd name="T29" fmla="*/ 2 h 68"/>
                  <a:gd name="T30" fmla="*/ 32 w 66"/>
                  <a:gd name="T31" fmla="*/ 4 h 68"/>
                  <a:gd name="T32" fmla="*/ 34 w 66"/>
                  <a:gd name="T33" fmla="*/ 7 h 68"/>
                  <a:gd name="T34" fmla="*/ 34 w 66"/>
                  <a:gd name="T35" fmla="*/ 13 h 68"/>
                  <a:gd name="T36" fmla="*/ 34 w 66"/>
                  <a:gd name="T37" fmla="*/ 18 h 68"/>
                  <a:gd name="T38" fmla="*/ 32 w 66"/>
                  <a:gd name="T39" fmla="*/ 20 h 68"/>
                  <a:gd name="T40" fmla="*/ 34 w 66"/>
                  <a:gd name="T41" fmla="*/ 20 h 68"/>
                  <a:gd name="T42" fmla="*/ 36 w 66"/>
                  <a:gd name="T43" fmla="*/ 20 h 68"/>
                  <a:gd name="T44" fmla="*/ 39 w 66"/>
                  <a:gd name="T45" fmla="*/ 22 h 68"/>
                  <a:gd name="T46" fmla="*/ 43 w 66"/>
                  <a:gd name="T47" fmla="*/ 22 h 68"/>
                  <a:gd name="T48" fmla="*/ 45 w 66"/>
                  <a:gd name="T49" fmla="*/ 18 h 68"/>
                  <a:gd name="T50" fmla="*/ 47 w 66"/>
                  <a:gd name="T51" fmla="*/ 15 h 68"/>
                  <a:gd name="T52" fmla="*/ 50 w 66"/>
                  <a:gd name="T53" fmla="*/ 18 h 68"/>
                  <a:gd name="T54" fmla="*/ 50 w 66"/>
                  <a:gd name="T55" fmla="*/ 22 h 68"/>
                  <a:gd name="T56" fmla="*/ 52 w 66"/>
                  <a:gd name="T57" fmla="*/ 24 h 68"/>
                  <a:gd name="T58" fmla="*/ 52 w 66"/>
                  <a:gd name="T59" fmla="*/ 29 h 68"/>
                  <a:gd name="T60" fmla="*/ 48 w 66"/>
                  <a:gd name="T61" fmla="*/ 34 h 68"/>
                  <a:gd name="T62" fmla="*/ 48 w 66"/>
                  <a:gd name="T63" fmla="*/ 34 h 68"/>
                  <a:gd name="T64" fmla="*/ 50 w 66"/>
                  <a:gd name="T65" fmla="*/ 34 h 68"/>
                  <a:gd name="T66" fmla="*/ 50 w 66"/>
                  <a:gd name="T67" fmla="*/ 36 h 68"/>
                  <a:gd name="T68" fmla="*/ 54 w 66"/>
                  <a:gd name="T69" fmla="*/ 36 h 68"/>
                  <a:gd name="T70" fmla="*/ 57 w 66"/>
                  <a:gd name="T71" fmla="*/ 38 h 68"/>
                  <a:gd name="T72" fmla="*/ 59 w 66"/>
                  <a:gd name="T73" fmla="*/ 40 h 68"/>
                  <a:gd name="T74" fmla="*/ 61 w 66"/>
                  <a:gd name="T75" fmla="*/ 43 h 68"/>
                  <a:gd name="T76" fmla="*/ 64 w 66"/>
                  <a:gd name="T77" fmla="*/ 45 h 68"/>
                  <a:gd name="T78" fmla="*/ 66 w 66"/>
                  <a:gd name="T79" fmla="*/ 45 h 68"/>
                  <a:gd name="T80" fmla="*/ 66 w 66"/>
                  <a:gd name="T81" fmla="*/ 49 h 68"/>
                  <a:gd name="T82" fmla="*/ 66 w 66"/>
                  <a:gd name="T83" fmla="*/ 52 h 68"/>
                  <a:gd name="T84" fmla="*/ 66 w 66"/>
                  <a:gd name="T85" fmla="*/ 52 h 68"/>
                  <a:gd name="T86" fmla="*/ 64 w 66"/>
                  <a:gd name="T87" fmla="*/ 56 h 68"/>
                  <a:gd name="T88" fmla="*/ 64 w 66"/>
                  <a:gd name="T89" fmla="*/ 57 h 68"/>
                  <a:gd name="T90" fmla="*/ 64 w 66"/>
                  <a:gd name="T91" fmla="*/ 59 h 68"/>
                  <a:gd name="T92" fmla="*/ 57 w 66"/>
                  <a:gd name="T93" fmla="*/ 66 h 68"/>
                  <a:gd name="T94" fmla="*/ 43 w 66"/>
                  <a:gd name="T95" fmla="*/ 59 h 68"/>
                  <a:gd name="T96" fmla="*/ 36 w 66"/>
                  <a:gd name="T97" fmla="*/ 56 h 68"/>
                  <a:gd name="T98" fmla="*/ 11 w 66"/>
                  <a:gd name="T99" fmla="*/ 36 h 68"/>
                  <a:gd name="T100" fmla="*/ 6 w 66"/>
                  <a:gd name="T101" fmla="*/ 32 h 68"/>
                  <a:gd name="T102" fmla="*/ 6 w 66"/>
                  <a:gd name="T103" fmla="*/ 29 h 68"/>
                  <a:gd name="T104" fmla="*/ 2 w 66"/>
                  <a:gd name="T105" fmla="*/ 27 h 68"/>
                  <a:gd name="T106" fmla="*/ 0 w 66"/>
                  <a:gd name="T107" fmla="*/ 27 h 68"/>
                  <a:gd name="T108" fmla="*/ 2 w 66"/>
                  <a:gd name="T109" fmla="*/ 2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6" h="68">
                    <a:moveTo>
                      <a:pt x="2" y="25"/>
                    </a:moveTo>
                    <a:lnTo>
                      <a:pt x="2" y="25"/>
                    </a:lnTo>
                    <a:lnTo>
                      <a:pt x="4" y="25"/>
                    </a:lnTo>
                    <a:lnTo>
                      <a:pt x="4" y="24"/>
                    </a:lnTo>
                    <a:lnTo>
                      <a:pt x="4" y="24"/>
                    </a:lnTo>
                    <a:lnTo>
                      <a:pt x="4" y="22"/>
                    </a:lnTo>
                    <a:lnTo>
                      <a:pt x="4" y="22"/>
                    </a:lnTo>
                    <a:lnTo>
                      <a:pt x="6" y="22"/>
                    </a:lnTo>
                    <a:lnTo>
                      <a:pt x="9" y="18"/>
                    </a:lnTo>
                    <a:lnTo>
                      <a:pt x="11" y="16"/>
                    </a:lnTo>
                    <a:lnTo>
                      <a:pt x="13" y="15"/>
                    </a:lnTo>
                    <a:lnTo>
                      <a:pt x="14" y="15"/>
                    </a:lnTo>
                    <a:lnTo>
                      <a:pt x="14" y="15"/>
                    </a:lnTo>
                    <a:lnTo>
                      <a:pt x="14" y="13"/>
                    </a:lnTo>
                    <a:lnTo>
                      <a:pt x="14" y="9"/>
                    </a:lnTo>
                    <a:lnTo>
                      <a:pt x="16" y="9"/>
                    </a:lnTo>
                    <a:lnTo>
                      <a:pt x="18" y="7"/>
                    </a:lnTo>
                    <a:lnTo>
                      <a:pt x="20" y="6"/>
                    </a:lnTo>
                    <a:lnTo>
                      <a:pt x="20" y="6"/>
                    </a:lnTo>
                    <a:lnTo>
                      <a:pt x="20" y="6"/>
                    </a:lnTo>
                    <a:lnTo>
                      <a:pt x="20" y="4"/>
                    </a:lnTo>
                    <a:lnTo>
                      <a:pt x="22" y="4"/>
                    </a:lnTo>
                    <a:lnTo>
                      <a:pt x="22" y="2"/>
                    </a:lnTo>
                    <a:lnTo>
                      <a:pt x="23" y="0"/>
                    </a:lnTo>
                    <a:lnTo>
                      <a:pt x="25" y="2"/>
                    </a:lnTo>
                    <a:lnTo>
                      <a:pt x="25" y="2"/>
                    </a:lnTo>
                    <a:lnTo>
                      <a:pt x="27" y="2"/>
                    </a:lnTo>
                    <a:lnTo>
                      <a:pt x="29" y="2"/>
                    </a:lnTo>
                    <a:lnTo>
                      <a:pt x="29" y="2"/>
                    </a:lnTo>
                    <a:lnTo>
                      <a:pt x="29" y="2"/>
                    </a:lnTo>
                    <a:lnTo>
                      <a:pt x="31" y="4"/>
                    </a:lnTo>
                    <a:lnTo>
                      <a:pt x="32" y="4"/>
                    </a:lnTo>
                    <a:lnTo>
                      <a:pt x="32" y="7"/>
                    </a:lnTo>
                    <a:lnTo>
                      <a:pt x="34" y="7"/>
                    </a:lnTo>
                    <a:lnTo>
                      <a:pt x="34" y="13"/>
                    </a:lnTo>
                    <a:lnTo>
                      <a:pt x="34" y="13"/>
                    </a:lnTo>
                    <a:lnTo>
                      <a:pt x="34" y="18"/>
                    </a:lnTo>
                    <a:lnTo>
                      <a:pt x="34" y="18"/>
                    </a:lnTo>
                    <a:lnTo>
                      <a:pt x="32" y="20"/>
                    </a:lnTo>
                    <a:lnTo>
                      <a:pt x="32" y="20"/>
                    </a:lnTo>
                    <a:lnTo>
                      <a:pt x="32" y="20"/>
                    </a:lnTo>
                    <a:lnTo>
                      <a:pt x="34" y="20"/>
                    </a:lnTo>
                    <a:lnTo>
                      <a:pt x="36" y="20"/>
                    </a:lnTo>
                    <a:lnTo>
                      <a:pt x="36" y="20"/>
                    </a:lnTo>
                    <a:lnTo>
                      <a:pt x="39" y="24"/>
                    </a:lnTo>
                    <a:lnTo>
                      <a:pt x="39" y="22"/>
                    </a:lnTo>
                    <a:lnTo>
                      <a:pt x="41" y="22"/>
                    </a:lnTo>
                    <a:lnTo>
                      <a:pt x="43" y="22"/>
                    </a:lnTo>
                    <a:lnTo>
                      <a:pt x="43" y="20"/>
                    </a:lnTo>
                    <a:lnTo>
                      <a:pt x="45" y="18"/>
                    </a:lnTo>
                    <a:lnTo>
                      <a:pt x="45" y="16"/>
                    </a:lnTo>
                    <a:lnTo>
                      <a:pt x="47" y="15"/>
                    </a:lnTo>
                    <a:lnTo>
                      <a:pt x="48" y="15"/>
                    </a:lnTo>
                    <a:lnTo>
                      <a:pt x="50" y="18"/>
                    </a:lnTo>
                    <a:lnTo>
                      <a:pt x="50" y="22"/>
                    </a:lnTo>
                    <a:lnTo>
                      <a:pt x="50" y="22"/>
                    </a:lnTo>
                    <a:lnTo>
                      <a:pt x="52" y="24"/>
                    </a:lnTo>
                    <a:lnTo>
                      <a:pt x="52" y="24"/>
                    </a:lnTo>
                    <a:lnTo>
                      <a:pt x="52" y="24"/>
                    </a:lnTo>
                    <a:lnTo>
                      <a:pt x="52" y="29"/>
                    </a:lnTo>
                    <a:lnTo>
                      <a:pt x="48" y="32"/>
                    </a:lnTo>
                    <a:lnTo>
                      <a:pt x="48" y="34"/>
                    </a:lnTo>
                    <a:lnTo>
                      <a:pt x="48" y="34"/>
                    </a:lnTo>
                    <a:lnTo>
                      <a:pt x="48" y="34"/>
                    </a:lnTo>
                    <a:lnTo>
                      <a:pt x="48" y="34"/>
                    </a:lnTo>
                    <a:lnTo>
                      <a:pt x="50" y="34"/>
                    </a:lnTo>
                    <a:lnTo>
                      <a:pt x="50" y="34"/>
                    </a:lnTo>
                    <a:lnTo>
                      <a:pt x="50" y="36"/>
                    </a:lnTo>
                    <a:lnTo>
                      <a:pt x="52" y="36"/>
                    </a:lnTo>
                    <a:lnTo>
                      <a:pt x="54" y="36"/>
                    </a:lnTo>
                    <a:lnTo>
                      <a:pt x="57" y="36"/>
                    </a:lnTo>
                    <a:lnTo>
                      <a:pt x="57" y="38"/>
                    </a:lnTo>
                    <a:lnTo>
                      <a:pt x="59" y="40"/>
                    </a:lnTo>
                    <a:lnTo>
                      <a:pt x="59" y="40"/>
                    </a:lnTo>
                    <a:lnTo>
                      <a:pt x="59" y="40"/>
                    </a:lnTo>
                    <a:lnTo>
                      <a:pt x="61" y="43"/>
                    </a:lnTo>
                    <a:lnTo>
                      <a:pt x="63" y="43"/>
                    </a:lnTo>
                    <a:lnTo>
                      <a:pt x="64" y="45"/>
                    </a:lnTo>
                    <a:lnTo>
                      <a:pt x="66" y="45"/>
                    </a:lnTo>
                    <a:lnTo>
                      <a:pt x="66" y="45"/>
                    </a:lnTo>
                    <a:lnTo>
                      <a:pt x="66" y="47"/>
                    </a:lnTo>
                    <a:lnTo>
                      <a:pt x="66" y="49"/>
                    </a:lnTo>
                    <a:lnTo>
                      <a:pt x="66" y="50"/>
                    </a:lnTo>
                    <a:lnTo>
                      <a:pt x="66" y="52"/>
                    </a:lnTo>
                    <a:lnTo>
                      <a:pt x="66" y="52"/>
                    </a:lnTo>
                    <a:lnTo>
                      <a:pt x="66" y="52"/>
                    </a:lnTo>
                    <a:lnTo>
                      <a:pt x="64" y="54"/>
                    </a:lnTo>
                    <a:lnTo>
                      <a:pt x="64" y="56"/>
                    </a:lnTo>
                    <a:lnTo>
                      <a:pt x="64" y="56"/>
                    </a:lnTo>
                    <a:lnTo>
                      <a:pt x="64" y="57"/>
                    </a:lnTo>
                    <a:lnTo>
                      <a:pt x="64" y="59"/>
                    </a:lnTo>
                    <a:lnTo>
                      <a:pt x="64" y="59"/>
                    </a:lnTo>
                    <a:lnTo>
                      <a:pt x="64" y="68"/>
                    </a:lnTo>
                    <a:lnTo>
                      <a:pt x="57" y="66"/>
                    </a:lnTo>
                    <a:lnTo>
                      <a:pt x="56" y="65"/>
                    </a:lnTo>
                    <a:lnTo>
                      <a:pt x="43" y="59"/>
                    </a:lnTo>
                    <a:lnTo>
                      <a:pt x="39" y="57"/>
                    </a:lnTo>
                    <a:lnTo>
                      <a:pt x="36" y="56"/>
                    </a:lnTo>
                    <a:lnTo>
                      <a:pt x="18" y="40"/>
                    </a:lnTo>
                    <a:lnTo>
                      <a:pt x="11" y="36"/>
                    </a:lnTo>
                    <a:lnTo>
                      <a:pt x="9" y="32"/>
                    </a:lnTo>
                    <a:lnTo>
                      <a:pt x="6" y="32"/>
                    </a:lnTo>
                    <a:lnTo>
                      <a:pt x="6" y="31"/>
                    </a:lnTo>
                    <a:lnTo>
                      <a:pt x="6" y="29"/>
                    </a:lnTo>
                    <a:lnTo>
                      <a:pt x="6" y="29"/>
                    </a:lnTo>
                    <a:lnTo>
                      <a:pt x="2" y="27"/>
                    </a:lnTo>
                    <a:lnTo>
                      <a:pt x="2" y="27"/>
                    </a:lnTo>
                    <a:lnTo>
                      <a:pt x="0" y="27"/>
                    </a:lnTo>
                    <a:lnTo>
                      <a:pt x="2" y="27"/>
                    </a:lnTo>
                    <a:lnTo>
                      <a:pt x="2" y="2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06" name="Freeform 2357"/>
              <p:cNvSpPr>
                <a:spLocks/>
              </p:cNvSpPr>
              <p:nvPr/>
            </p:nvSpPr>
            <p:spPr bwMode="auto">
              <a:xfrm>
                <a:off x="2512" y="2575"/>
                <a:ext cx="66" cy="68"/>
              </a:xfrm>
              <a:custGeom>
                <a:avLst/>
                <a:gdLst>
                  <a:gd name="T0" fmla="*/ 2 w 66"/>
                  <a:gd name="T1" fmla="*/ 25 h 68"/>
                  <a:gd name="T2" fmla="*/ 4 w 66"/>
                  <a:gd name="T3" fmla="*/ 24 h 68"/>
                  <a:gd name="T4" fmla="*/ 4 w 66"/>
                  <a:gd name="T5" fmla="*/ 22 h 68"/>
                  <a:gd name="T6" fmla="*/ 6 w 66"/>
                  <a:gd name="T7" fmla="*/ 22 h 68"/>
                  <a:gd name="T8" fmla="*/ 11 w 66"/>
                  <a:gd name="T9" fmla="*/ 16 h 68"/>
                  <a:gd name="T10" fmla="*/ 14 w 66"/>
                  <a:gd name="T11" fmla="*/ 15 h 68"/>
                  <a:gd name="T12" fmla="*/ 14 w 66"/>
                  <a:gd name="T13" fmla="*/ 13 h 68"/>
                  <a:gd name="T14" fmla="*/ 16 w 66"/>
                  <a:gd name="T15" fmla="*/ 9 h 68"/>
                  <a:gd name="T16" fmla="*/ 20 w 66"/>
                  <a:gd name="T17" fmla="*/ 6 h 68"/>
                  <a:gd name="T18" fmla="*/ 20 w 66"/>
                  <a:gd name="T19" fmla="*/ 6 h 68"/>
                  <a:gd name="T20" fmla="*/ 22 w 66"/>
                  <a:gd name="T21" fmla="*/ 4 h 68"/>
                  <a:gd name="T22" fmla="*/ 23 w 66"/>
                  <a:gd name="T23" fmla="*/ 0 h 68"/>
                  <a:gd name="T24" fmla="*/ 25 w 66"/>
                  <a:gd name="T25" fmla="*/ 2 h 68"/>
                  <a:gd name="T26" fmla="*/ 29 w 66"/>
                  <a:gd name="T27" fmla="*/ 2 h 68"/>
                  <a:gd name="T28" fmla="*/ 29 w 66"/>
                  <a:gd name="T29" fmla="*/ 2 h 68"/>
                  <a:gd name="T30" fmla="*/ 32 w 66"/>
                  <a:gd name="T31" fmla="*/ 4 h 68"/>
                  <a:gd name="T32" fmla="*/ 34 w 66"/>
                  <a:gd name="T33" fmla="*/ 7 h 68"/>
                  <a:gd name="T34" fmla="*/ 34 w 66"/>
                  <a:gd name="T35" fmla="*/ 13 h 68"/>
                  <a:gd name="T36" fmla="*/ 34 w 66"/>
                  <a:gd name="T37" fmla="*/ 18 h 68"/>
                  <a:gd name="T38" fmla="*/ 32 w 66"/>
                  <a:gd name="T39" fmla="*/ 20 h 68"/>
                  <a:gd name="T40" fmla="*/ 34 w 66"/>
                  <a:gd name="T41" fmla="*/ 20 h 68"/>
                  <a:gd name="T42" fmla="*/ 36 w 66"/>
                  <a:gd name="T43" fmla="*/ 20 h 68"/>
                  <a:gd name="T44" fmla="*/ 39 w 66"/>
                  <a:gd name="T45" fmla="*/ 22 h 68"/>
                  <a:gd name="T46" fmla="*/ 43 w 66"/>
                  <a:gd name="T47" fmla="*/ 22 h 68"/>
                  <a:gd name="T48" fmla="*/ 45 w 66"/>
                  <a:gd name="T49" fmla="*/ 18 h 68"/>
                  <a:gd name="T50" fmla="*/ 47 w 66"/>
                  <a:gd name="T51" fmla="*/ 15 h 68"/>
                  <a:gd name="T52" fmla="*/ 50 w 66"/>
                  <a:gd name="T53" fmla="*/ 18 h 68"/>
                  <a:gd name="T54" fmla="*/ 50 w 66"/>
                  <a:gd name="T55" fmla="*/ 22 h 68"/>
                  <a:gd name="T56" fmla="*/ 52 w 66"/>
                  <a:gd name="T57" fmla="*/ 24 h 68"/>
                  <a:gd name="T58" fmla="*/ 52 w 66"/>
                  <a:gd name="T59" fmla="*/ 29 h 68"/>
                  <a:gd name="T60" fmla="*/ 48 w 66"/>
                  <a:gd name="T61" fmla="*/ 34 h 68"/>
                  <a:gd name="T62" fmla="*/ 48 w 66"/>
                  <a:gd name="T63" fmla="*/ 34 h 68"/>
                  <a:gd name="T64" fmla="*/ 50 w 66"/>
                  <a:gd name="T65" fmla="*/ 34 h 68"/>
                  <a:gd name="T66" fmla="*/ 50 w 66"/>
                  <a:gd name="T67" fmla="*/ 36 h 68"/>
                  <a:gd name="T68" fmla="*/ 54 w 66"/>
                  <a:gd name="T69" fmla="*/ 36 h 68"/>
                  <a:gd name="T70" fmla="*/ 57 w 66"/>
                  <a:gd name="T71" fmla="*/ 38 h 68"/>
                  <a:gd name="T72" fmla="*/ 59 w 66"/>
                  <a:gd name="T73" fmla="*/ 40 h 68"/>
                  <a:gd name="T74" fmla="*/ 61 w 66"/>
                  <a:gd name="T75" fmla="*/ 43 h 68"/>
                  <a:gd name="T76" fmla="*/ 64 w 66"/>
                  <a:gd name="T77" fmla="*/ 45 h 68"/>
                  <a:gd name="T78" fmla="*/ 66 w 66"/>
                  <a:gd name="T79" fmla="*/ 45 h 68"/>
                  <a:gd name="T80" fmla="*/ 66 w 66"/>
                  <a:gd name="T81" fmla="*/ 49 h 68"/>
                  <a:gd name="T82" fmla="*/ 66 w 66"/>
                  <a:gd name="T83" fmla="*/ 52 h 68"/>
                  <a:gd name="T84" fmla="*/ 66 w 66"/>
                  <a:gd name="T85" fmla="*/ 52 h 68"/>
                  <a:gd name="T86" fmla="*/ 64 w 66"/>
                  <a:gd name="T87" fmla="*/ 56 h 68"/>
                  <a:gd name="T88" fmla="*/ 64 w 66"/>
                  <a:gd name="T89" fmla="*/ 57 h 68"/>
                  <a:gd name="T90" fmla="*/ 64 w 66"/>
                  <a:gd name="T91" fmla="*/ 59 h 68"/>
                  <a:gd name="T92" fmla="*/ 57 w 66"/>
                  <a:gd name="T93" fmla="*/ 66 h 68"/>
                  <a:gd name="T94" fmla="*/ 43 w 66"/>
                  <a:gd name="T95" fmla="*/ 59 h 68"/>
                  <a:gd name="T96" fmla="*/ 36 w 66"/>
                  <a:gd name="T97" fmla="*/ 56 h 68"/>
                  <a:gd name="T98" fmla="*/ 11 w 66"/>
                  <a:gd name="T99" fmla="*/ 36 h 68"/>
                  <a:gd name="T100" fmla="*/ 6 w 66"/>
                  <a:gd name="T101" fmla="*/ 32 h 68"/>
                  <a:gd name="T102" fmla="*/ 6 w 66"/>
                  <a:gd name="T103" fmla="*/ 29 h 68"/>
                  <a:gd name="T104" fmla="*/ 2 w 66"/>
                  <a:gd name="T105" fmla="*/ 27 h 68"/>
                  <a:gd name="T106" fmla="*/ 0 w 66"/>
                  <a:gd name="T107" fmla="*/ 27 h 68"/>
                  <a:gd name="T108" fmla="*/ 2 w 66"/>
                  <a:gd name="T109" fmla="*/ 2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6" h="68">
                    <a:moveTo>
                      <a:pt x="2" y="25"/>
                    </a:moveTo>
                    <a:lnTo>
                      <a:pt x="2" y="25"/>
                    </a:lnTo>
                    <a:lnTo>
                      <a:pt x="4" y="25"/>
                    </a:lnTo>
                    <a:lnTo>
                      <a:pt x="4" y="24"/>
                    </a:lnTo>
                    <a:lnTo>
                      <a:pt x="4" y="24"/>
                    </a:lnTo>
                    <a:lnTo>
                      <a:pt x="4" y="22"/>
                    </a:lnTo>
                    <a:lnTo>
                      <a:pt x="4" y="22"/>
                    </a:lnTo>
                    <a:lnTo>
                      <a:pt x="6" y="22"/>
                    </a:lnTo>
                    <a:lnTo>
                      <a:pt x="9" y="18"/>
                    </a:lnTo>
                    <a:lnTo>
                      <a:pt x="11" y="16"/>
                    </a:lnTo>
                    <a:lnTo>
                      <a:pt x="13" y="15"/>
                    </a:lnTo>
                    <a:lnTo>
                      <a:pt x="14" y="15"/>
                    </a:lnTo>
                    <a:lnTo>
                      <a:pt x="14" y="15"/>
                    </a:lnTo>
                    <a:lnTo>
                      <a:pt x="14" y="13"/>
                    </a:lnTo>
                    <a:lnTo>
                      <a:pt x="14" y="9"/>
                    </a:lnTo>
                    <a:lnTo>
                      <a:pt x="16" y="9"/>
                    </a:lnTo>
                    <a:lnTo>
                      <a:pt x="18" y="7"/>
                    </a:lnTo>
                    <a:lnTo>
                      <a:pt x="20" y="6"/>
                    </a:lnTo>
                    <a:lnTo>
                      <a:pt x="20" y="6"/>
                    </a:lnTo>
                    <a:lnTo>
                      <a:pt x="20" y="6"/>
                    </a:lnTo>
                    <a:lnTo>
                      <a:pt x="20" y="4"/>
                    </a:lnTo>
                    <a:lnTo>
                      <a:pt x="22" y="4"/>
                    </a:lnTo>
                    <a:lnTo>
                      <a:pt x="22" y="2"/>
                    </a:lnTo>
                    <a:lnTo>
                      <a:pt x="23" y="0"/>
                    </a:lnTo>
                    <a:lnTo>
                      <a:pt x="25" y="2"/>
                    </a:lnTo>
                    <a:lnTo>
                      <a:pt x="25" y="2"/>
                    </a:lnTo>
                    <a:lnTo>
                      <a:pt x="27" y="2"/>
                    </a:lnTo>
                    <a:lnTo>
                      <a:pt x="29" y="2"/>
                    </a:lnTo>
                    <a:lnTo>
                      <a:pt x="29" y="2"/>
                    </a:lnTo>
                    <a:lnTo>
                      <a:pt x="29" y="2"/>
                    </a:lnTo>
                    <a:lnTo>
                      <a:pt x="31" y="4"/>
                    </a:lnTo>
                    <a:lnTo>
                      <a:pt x="32" y="4"/>
                    </a:lnTo>
                    <a:lnTo>
                      <a:pt x="32" y="7"/>
                    </a:lnTo>
                    <a:lnTo>
                      <a:pt x="34" y="7"/>
                    </a:lnTo>
                    <a:lnTo>
                      <a:pt x="34" y="13"/>
                    </a:lnTo>
                    <a:lnTo>
                      <a:pt x="34" y="13"/>
                    </a:lnTo>
                    <a:lnTo>
                      <a:pt x="34" y="18"/>
                    </a:lnTo>
                    <a:lnTo>
                      <a:pt x="34" y="18"/>
                    </a:lnTo>
                    <a:lnTo>
                      <a:pt x="32" y="20"/>
                    </a:lnTo>
                    <a:lnTo>
                      <a:pt x="32" y="20"/>
                    </a:lnTo>
                    <a:lnTo>
                      <a:pt x="32" y="20"/>
                    </a:lnTo>
                    <a:lnTo>
                      <a:pt x="34" y="20"/>
                    </a:lnTo>
                    <a:lnTo>
                      <a:pt x="36" y="20"/>
                    </a:lnTo>
                    <a:lnTo>
                      <a:pt x="36" y="20"/>
                    </a:lnTo>
                    <a:lnTo>
                      <a:pt x="39" y="24"/>
                    </a:lnTo>
                    <a:lnTo>
                      <a:pt x="39" y="22"/>
                    </a:lnTo>
                    <a:lnTo>
                      <a:pt x="41" y="22"/>
                    </a:lnTo>
                    <a:lnTo>
                      <a:pt x="43" y="22"/>
                    </a:lnTo>
                    <a:lnTo>
                      <a:pt x="43" y="20"/>
                    </a:lnTo>
                    <a:lnTo>
                      <a:pt x="45" y="18"/>
                    </a:lnTo>
                    <a:lnTo>
                      <a:pt x="45" y="16"/>
                    </a:lnTo>
                    <a:lnTo>
                      <a:pt x="47" y="15"/>
                    </a:lnTo>
                    <a:lnTo>
                      <a:pt x="48" y="15"/>
                    </a:lnTo>
                    <a:lnTo>
                      <a:pt x="50" y="18"/>
                    </a:lnTo>
                    <a:lnTo>
                      <a:pt x="50" y="22"/>
                    </a:lnTo>
                    <a:lnTo>
                      <a:pt x="50" y="22"/>
                    </a:lnTo>
                    <a:lnTo>
                      <a:pt x="52" y="24"/>
                    </a:lnTo>
                    <a:lnTo>
                      <a:pt x="52" y="24"/>
                    </a:lnTo>
                    <a:lnTo>
                      <a:pt x="52" y="24"/>
                    </a:lnTo>
                    <a:lnTo>
                      <a:pt x="52" y="29"/>
                    </a:lnTo>
                    <a:lnTo>
                      <a:pt x="48" y="32"/>
                    </a:lnTo>
                    <a:lnTo>
                      <a:pt x="48" y="34"/>
                    </a:lnTo>
                    <a:lnTo>
                      <a:pt x="48" y="34"/>
                    </a:lnTo>
                    <a:lnTo>
                      <a:pt x="48" y="34"/>
                    </a:lnTo>
                    <a:lnTo>
                      <a:pt x="48" y="34"/>
                    </a:lnTo>
                    <a:lnTo>
                      <a:pt x="50" y="34"/>
                    </a:lnTo>
                    <a:lnTo>
                      <a:pt x="50" y="34"/>
                    </a:lnTo>
                    <a:lnTo>
                      <a:pt x="50" y="36"/>
                    </a:lnTo>
                    <a:lnTo>
                      <a:pt x="52" y="36"/>
                    </a:lnTo>
                    <a:lnTo>
                      <a:pt x="54" y="36"/>
                    </a:lnTo>
                    <a:lnTo>
                      <a:pt x="57" y="36"/>
                    </a:lnTo>
                    <a:lnTo>
                      <a:pt x="57" y="38"/>
                    </a:lnTo>
                    <a:lnTo>
                      <a:pt x="59" y="40"/>
                    </a:lnTo>
                    <a:lnTo>
                      <a:pt x="59" y="40"/>
                    </a:lnTo>
                    <a:lnTo>
                      <a:pt x="59" y="40"/>
                    </a:lnTo>
                    <a:lnTo>
                      <a:pt x="61" y="43"/>
                    </a:lnTo>
                    <a:lnTo>
                      <a:pt x="63" y="43"/>
                    </a:lnTo>
                    <a:lnTo>
                      <a:pt x="64" y="45"/>
                    </a:lnTo>
                    <a:lnTo>
                      <a:pt x="66" y="45"/>
                    </a:lnTo>
                    <a:lnTo>
                      <a:pt x="66" y="45"/>
                    </a:lnTo>
                    <a:lnTo>
                      <a:pt x="66" y="47"/>
                    </a:lnTo>
                    <a:lnTo>
                      <a:pt x="66" y="49"/>
                    </a:lnTo>
                    <a:lnTo>
                      <a:pt x="66" y="50"/>
                    </a:lnTo>
                    <a:lnTo>
                      <a:pt x="66" y="52"/>
                    </a:lnTo>
                    <a:lnTo>
                      <a:pt x="66" y="52"/>
                    </a:lnTo>
                    <a:lnTo>
                      <a:pt x="66" y="52"/>
                    </a:lnTo>
                    <a:lnTo>
                      <a:pt x="64" y="54"/>
                    </a:lnTo>
                    <a:lnTo>
                      <a:pt x="64" y="56"/>
                    </a:lnTo>
                    <a:lnTo>
                      <a:pt x="64" y="56"/>
                    </a:lnTo>
                    <a:lnTo>
                      <a:pt x="64" y="57"/>
                    </a:lnTo>
                    <a:lnTo>
                      <a:pt x="64" y="59"/>
                    </a:lnTo>
                    <a:lnTo>
                      <a:pt x="64" y="59"/>
                    </a:lnTo>
                    <a:lnTo>
                      <a:pt x="64" y="68"/>
                    </a:lnTo>
                    <a:lnTo>
                      <a:pt x="57" y="66"/>
                    </a:lnTo>
                    <a:lnTo>
                      <a:pt x="56" y="65"/>
                    </a:lnTo>
                    <a:lnTo>
                      <a:pt x="43" y="59"/>
                    </a:lnTo>
                    <a:lnTo>
                      <a:pt x="39" y="57"/>
                    </a:lnTo>
                    <a:lnTo>
                      <a:pt x="36" y="56"/>
                    </a:lnTo>
                    <a:lnTo>
                      <a:pt x="18" y="40"/>
                    </a:lnTo>
                    <a:lnTo>
                      <a:pt x="11" y="36"/>
                    </a:lnTo>
                    <a:lnTo>
                      <a:pt x="9" y="32"/>
                    </a:lnTo>
                    <a:lnTo>
                      <a:pt x="6" y="32"/>
                    </a:lnTo>
                    <a:lnTo>
                      <a:pt x="6" y="31"/>
                    </a:lnTo>
                    <a:lnTo>
                      <a:pt x="6" y="29"/>
                    </a:lnTo>
                    <a:lnTo>
                      <a:pt x="6" y="29"/>
                    </a:lnTo>
                    <a:lnTo>
                      <a:pt x="2" y="27"/>
                    </a:lnTo>
                    <a:lnTo>
                      <a:pt x="2" y="27"/>
                    </a:lnTo>
                    <a:lnTo>
                      <a:pt x="0" y="27"/>
                    </a:lnTo>
                    <a:lnTo>
                      <a:pt x="2" y="27"/>
                    </a:lnTo>
                    <a:lnTo>
                      <a:pt x="2" y="2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07" name="Freeform 2358"/>
              <p:cNvSpPr>
                <a:spLocks/>
              </p:cNvSpPr>
              <p:nvPr/>
            </p:nvSpPr>
            <p:spPr bwMode="auto">
              <a:xfrm>
                <a:off x="2646" y="2534"/>
                <a:ext cx="72" cy="104"/>
              </a:xfrm>
              <a:custGeom>
                <a:avLst/>
                <a:gdLst>
                  <a:gd name="T0" fmla="*/ 70 w 72"/>
                  <a:gd name="T1" fmla="*/ 82 h 104"/>
                  <a:gd name="T2" fmla="*/ 59 w 72"/>
                  <a:gd name="T3" fmla="*/ 27 h 104"/>
                  <a:gd name="T4" fmla="*/ 55 w 72"/>
                  <a:gd name="T5" fmla="*/ 16 h 104"/>
                  <a:gd name="T6" fmla="*/ 48 w 72"/>
                  <a:gd name="T7" fmla="*/ 9 h 104"/>
                  <a:gd name="T8" fmla="*/ 50 w 72"/>
                  <a:gd name="T9" fmla="*/ 6 h 104"/>
                  <a:gd name="T10" fmla="*/ 50 w 72"/>
                  <a:gd name="T11" fmla="*/ 2 h 104"/>
                  <a:gd name="T12" fmla="*/ 48 w 72"/>
                  <a:gd name="T13" fmla="*/ 2 h 104"/>
                  <a:gd name="T14" fmla="*/ 47 w 72"/>
                  <a:gd name="T15" fmla="*/ 0 h 104"/>
                  <a:gd name="T16" fmla="*/ 39 w 72"/>
                  <a:gd name="T17" fmla="*/ 4 h 104"/>
                  <a:gd name="T18" fmla="*/ 5 w 72"/>
                  <a:gd name="T19" fmla="*/ 2 h 104"/>
                  <a:gd name="T20" fmla="*/ 4 w 72"/>
                  <a:gd name="T21" fmla="*/ 7 h 104"/>
                  <a:gd name="T22" fmla="*/ 5 w 72"/>
                  <a:gd name="T23" fmla="*/ 11 h 104"/>
                  <a:gd name="T24" fmla="*/ 7 w 72"/>
                  <a:gd name="T25" fmla="*/ 13 h 104"/>
                  <a:gd name="T26" fmla="*/ 7 w 72"/>
                  <a:gd name="T27" fmla="*/ 20 h 104"/>
                  <a:gd name="T28" fmla="*/ 9 w 72"/>
                  <a:gd name="T29" fmla="*/ 27 h 104"/>
                  <a:gd name="T30" fmla="*/ 7 w 72"/>
                  <a:gd name="T31" fmla="*/ 29 h 104"/>
                  <a:gd name="T32" fmla="*/ 7 w 72"/>
                  <a:gd name="T33" fmla="*/ 32 h 104"/>
                  <a:gd name="T34" fmla="*/ 9 w 72"/>
                  <a:gd name="T35" fmla="*/ 32 h 104"/>
                  <a:gd name="T36" fmla="*/ 13 w 72"/>
                  <a:gd name="T37" fmla="*/ 47 h 104"/>
                  <a:gd name="T38" fmla="*/ 11 w 72"/>
                  <a:gd name="T39" fmla="*/ 48 h 104"/>
                  <a:gd name="T40" fmla="*/ 9 w 72"/>
                  <a:gd name="T41" fmla="*/ 50 h 104"/>
                  <a:gd name="T42" fmla="*/ 4 w 72"/>
                  <a:gd name="T43" fmla="*/ 57 h 104"/>
                  <a:gd name="T44" fmla="*/ 4 w 72"/>
                  <a:gd name="T45" fmla="*/ 65 h 104"/>
                  <a:gd name="T46" fmla="*/ 0 w 72"/>
                  <a:gd name="T47" fmla="*/ 68 h 104"/>
                  <a:gd name="T48" fmla="*/ 4 w 72"/>
                  <a:gd name="T49" fmla="*/ 86 h 104"/>
                  <a:gd name="T50" fmla="*/ 7 w 72"/>
                  <a:gd name="T51" fmla="*/ 88 h 104"/>
                  <a:gd name="T52" fmla="*/ 7 w 72"/>
                  <a:gd name="T53" fmla="*/ 97 h 104"/>
                  <a:gd name="T54" fmla="*/ 5 w 72"/>
                  <a:gd name="T55" fmla="*/ 97 h 104"/>
                  <a:gd name="T56" fmla="*/ 2 w 72"/>
                  <a:gd name="T57" fmla="*/ 97 h 104"/>
                  <a:gd name="T58" fmla="*/ 20 w 72"/>
                  <a:gd name="T59" fmla="*/ 104 h 104"/>
                  <a:gd name="T60" fmla="*/ 39 w 72"/>
                  <a:gd name="T61" fmla="*/ 97 h 104"/>
                  <a:gd name="T62" fmla="*/ 63 w 72"/>
                  <a:gd name="T63" fmla="*/ 86 h 104"/>
                  <a:gd name="T64" fmla="*/ 66 w 72"/>
                  <a:gd name="T65" fmla="*/ 88 h 104"/>
                  <a:gd name="T66" fmla="*/ 72 w 72"/>
                  <a:gd name="T67" fmla="*/ 8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104">
                    <a:moveTo>
                      <a:pt x="72" y="82"/>
                    </a:moveTo>
                    <a:lnTo>
                      <a:pt x="70" y="82"/>
                    </a:lnTo>
                    <a:lnTo>
                      <a:pt x="63" y="73"/>
                    </a:lnTo>
                    <a:lnTo>
                      <a:pt x="59" y="27"/>
                    </a:lnTo>
                    <a:lnTo>
                      <a:pt x="57" y="27"/>
                    </a:lnTo>
                    <a:lnTo>
                      <a:pt x="55" y="16"/>
                    </a:lnTo>
                    <a:lnTo>
                      <a:pt x="52" y="9"/>
                    </a:lnTo>
                    <a:lnTo>
                      <a:pt x="48" y="9"/>
                    </a:lnTo>
                    <a:lnTo>
                      <a:pt x="48" y="7"/>
                    </a:lnTo>
                    <a:lnTo>
                      <a:pt x="50" y="6"/>
                    </a:lnTo>
                    <a:lnTo>
                      <a:pt x="50" y="4"/>
                    </a:lnTo>
                    <a:lnTo>
                      <a:pt x="50" y="2"/>
                    </a:lnTo>
                    <a:lnTo>
                      <a:pt x="50" y="2"/>
                    </a:lnTo>
                    <a:lnTo>
                      <a:pt x="48" y="2"/>
                    </a:lnTo>
                    <a:lnTo>
                      <a:pt x="47" y="0"/>
                    </a:lnTo>
                    <a:lnTo>
                      <a:pt x="47" y="0"/>
                    </a:lnTo>
                    <a:lnTo>
                      <a:pt x="43" y="0"/>
                    </a:lnTo>
                    <a:lnTo>
                      <a:pt x="39" y="4"/>
                    </a:lnTo>
                    <a:lnTo>
                      <a:pt x="38" y="4"/>
                    </a:lnTo>
                    <a:lnTo>
                      <a:pt x="5" y="2"/>
                    </a:lnTo>
                    <a:lnTo>
                      <a:pt x="4" y="6"/>
                    </a:lnTo>
                    <a:lnTo>
                      <a:pt x="4" y="7"/>
                    </a:lnTo>
                    <a:lnTo>
                      <a:pt x="5" y="9"/>
                    </a:lnTo>
                    <a:lnTo>
                      <a:pt x="5" y="11"/>
                    </a:lnTo>
                    <a:lnTo>
                      <a:pt x="5" y="13"/>
                    </a:lnTo>
                    <a:lnTo>
                      <a:pt x="7" y="13"/>
                    </a:lnTo>
                    <a:lnTo>
                      <a:pt x="5" y="16"/>
                    </a:lnTo>
                    <a:lnTo>
                      <a:pt x="7" y="20"/>
                    </a:lnTo>
                    <a:lnTo>
                      <a:pt x="7" y="23"/>
                    </a:lnTo>
                    <a:lnTo>
                      <a:pt x="9" y="27"/>
                    </a:lnTo>
                    <a:lnTo>
                      <a:pt x="9" y="29"/>
                    </a:lnTo>
                    <a:lnTo>
                      <a:pt x="7" y="29"/>
                    </a:lnTo>
                    <a:lnTo>
                      <a:pt x="9" y="31"/>
                    </a:lnTo>
                    <a:lnTo>
                      <a:pt x="7" y="32"/>
                    </a:lnTo>
                    <a:lnTo>
                      <a:pt x="7" y="32"/>
                    </a:lnTo>
                    <a:lnTo>
                      <a:pt x="9" y="32"/>
                    </a:lnTo>
                    <a:lnTo>
                      <a:pt x="9" y="34"/>
                    </a:lnTo>
                    <a:lnTo>
                      <a:pt x="13" y="47"/>
                    </a:lnTo>
                    <a:lnTo>
                      <a:pt x="11" y="47"/>
                    </a:lnTo>
                    <a:lnTo>
                      <a:pt x="11" y="48"/>
                    </a:lnTo>
                    <a:lnTo>
                      <a:pt x="9" y="48"/>
                    </a:lnTo>
                    <a:lnTo>
                      <a:pt x="9" y="50"/>
                    </a:lnTo>
                    <a:lnTo>
                      <a:pt x="7" y="50"/>
                    </a:lnTo>
                    <a:lnTo>
                      <a:pt x="4" y="57"/>
                    </a:lnTo>
                    <a:lnTo>
                      <a:pt x="4" y="63"/>
                    </a:lnTo>
                    <a:lnTo>
                      <a:pt x="4" y="65"/>
                    </a:lnTo>
                    <a:lnTo>
                      <a:pt x="2" y="66"/>
                    </a:lnTo>
                    <a:lnTo>
                      <a:pt x="0" y="68"/>
                    </a:lnTo>
                    <a:lnTo>
                      <a:pt x="0" y="75"/>
                    </a:lnTo>
                    <a:lnTo>
                      <a:pt x="4" y="86"/>
                    </a:lnTo>
                    <a:lnTo>
                      <a:pt x="4" y="88"/>
                    </a:lnTo>
                    <a:lnTo>
                      <a:pt x="7" y="88"/>
                    </a:lnTo>
                    <a:lnTo>
                      <a:pt x="7" y="90"/>
                    </a:lnTo>
                    <a:lnTo>
                      <a:pt x="7" y="97"/>
                    </a:lnTo>
                    <a:lnTo>
                      <a:pt x="5" y="97"/>
                    </a:lnTo>
                    <a:lnTo>
                      <a:pt x="5" y="97"/>
                    </a:lnTo>
                    <a:lnTo>
                      <a:pt x="4" y="97"/>
                    </a:lnTo>
                    <a:lnTo>
                      <a:pt x="2" y="97"/>
                    </a:lnTo>
                    <a:lnTo>
                      <a:pt x="2" y="98"/>
                    </a:lnTo>
                    <a:lnTo>
                      <a:pt x="20" y="104"/>
                    </a:lnTo>
                    <a:lnTo>
                      <a:pt x="27" y="98"/>
                    </a:lnTo>
                    <a:lnTo>
                      <a:pt x="39" y="97"/>
                    </a:lnTo>
                    <a:lnTo>
                      <a:pt x="55" y="88"/>
                    </a:lnTo>
                    <a:lnTo>
                      <a:pt x="63" y="86"/>
                    </a:lnTo>
                    <a:lnTo>
                      <a:pt x="64" y="88"/>
                    </a:lnTo>
                    <a:lnTo>
                      <a:pt x="66" y="88"/>
                    </a:lnTo>
                    <a:lnTo>
                      <a:pt x="70" y="82"/>
                    </a:lnTo>
                    <a:lnTo>
                      <a:pt x="72" y="8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08" name="Freeform 2359"/>
              <p:cNvSpPr>
                <a:spLocks/>
              </p:cNvSpPr>
              <p:nvPr/>
            </p:nvSpPr>
            <p:spPr bwMode="auto">
              <a:xfrm>
                <a:off x="2646" y="2534"/>
                <a:ext cx="72" cy="104"/>
              </a:xfrm>
              <a:custGeom>
                <a:avLst/>
                <a:gdLst>
                  <a:gd name="T0" fmla="*/ 70 w 72"/>
                  <a:gd name="T1" fmla="*/ 82 h 104"/>
                  <a:gd name="T2" fmla="*/ 59 w 72"/>
                  <a:gd name="T3" fmla="*/ 27 h 104"/>
                  <a:gd name="T4" fmla="*/ 55 w 72"/>
                  <a:gd name="T5" fmla="*/ 16 h 104"/>
                  <a:gd name="T6" fmla="*/ 48 w 72"/>
                  <a:gd name="T7" fmla="*/ 9 h 104"/>
                  <a:gd name="T8" fmla="*/ 50 w 72"/>
                  <a:gd name="T9" fmla="*/ 6 h 104"/>
                  <a:gd name="T10" fmla="*/ 50 w 72"/>
                  <a:gd name="T11" fmla="*/ 2 h 104"/>
                  <a:gd name="T12" fmla="*/ 48 w 72"/>
                  <a:gd name="T13" fmla="*/ 2 h 104"/>
                  <a:gd name="T14" fmla="*/ 47 w 72"/>
                  <a:gd name="T15" fmla="*/ 0 h 104"/>
                  <a:gd name="T16" fmla="*/ 39 w 72"/>
                  <a:gd name="T17" fmla="*/ 4 h 104"/>
                  <a:gd name="T18" fmla="*/ 5 w 72"/>
                  <a:gd name="T19" fmla="*/ 2 h 104"/>
                  <a:gd name="T20" fmla="*/ 4 w 72"/>
                  <a:gd name="T21" fmla="*/ 7 h 104"/>
                  <a:gd name="T22" fmla="*/ 5 w 72"/>
                  <a:gd name="T23" fmla="*/ 11 h 104"/>
                  <a:gd name="T24" fmla="*/ 7 w 72"/>
                  <a:gd name="T25" fmla="*/ 13 h 104"/>
                  <a:gd name="T26" fmla="*/ 7 w 72"/>
                  <a:gd name="T27" fmla="*/ 20 h 104"/>
                  <a:gd name="T28" fmla="*/ 9 w 72"/>
                  <a:gd name="T29" fmla="*/ 27 h 104"/>
                  <a:gd name="T30" fmla="*/ 7 w 72"/>
                  <a:gd name="T31" fmla="*/ 29 h 104"/>
                  <a:gd name="T32" fmla="*/ 7 w 72"/>
                  <a:gd name="T33" fmla="*/ 32 h 104"/>
                  <a:gd name="T34" fmla="*/ 9 w 72"/>
                  <a:gd name="T35" fmla="*/ 32 h 104"/>
                  <a:gd name="T36" fmla="*/ 13 w 72"/>
                  <a:gd name="T37" fmla="*/ 47 h 104"/>
                  <a:gd name="T38" fmla="*/ 11 w 72"/>
                  <a:gd name="T39" fmla="*/ 48 h 104"/>
                  <a:gd name="T40" fmla="*/ 9 w 72"/>
                  <a:gd name="T41" fmla="*/ 50 h 104"/>
                  <a:gd name="T42" fmla="*/ 4 w 72"/>
                  <a:gd name="T43" fmla="*/ 57 h 104"/>
                  <a:gd name="T44" fmla="*/ 4 w 72"/>
                  <a:gd name="T45" fmla="*/ 65 h 104"/>
                  <a:gd name="T46" fmla="*/ 0 w 72"/>
                  <a:gd name="T47" fmla="*/ 68 h 104"/>
                  <a:gd name="T48" fmla="*/ 4 w 72"/>
                  <a:gd name="T49" fmla="*/ 86 h 104"/>
                  <a:gd name="T50" fmla="*/ 7 w 72"/>
                  <a:gd name="T51" fmla="*/ 88 h 104"/>
                  <a:gd name="T52" fmla="*/ 7 w 72"/>
                  <a:gd name="T53" fmla="*/ 97 h 104"/>
                  <a:gd name="T54" fmla="*/ 5 w 72"/>
                  <a:gd name="T55" fmla="*/ 97 h 104"/>
                  <a:gd name="T56" fmla="*/ 2 w 72"/>
                  <a:gd name="T57" fmla="*/ 97 h 104"/>
                  <a:gd name="T58" fmla="*/ 20 w 72"/>
                  <a:gd name="T59" fmla="*/ 104 h 104"/>
                  <a:gd name="T60" fmla="*/ 39 w 72"/>
                  <a:gd name="T61" fmla="*/ 97 h 104"/>
                  <a:gd name="T62" fmla="*/ 63 w 72"/>
                  <a:gd name="T63" fmla="*/ 86 h 104"/>
                  <a:gd name="T64" fmla="*/ 66 w 72"/>
                  <a:gd name="T65" fmla="*/ 88 h 104"/>
                  <a:gd name="T66" fmla="*/ 72 w 72"/>
                  <a:gd name="T67" fmla="*/ 8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104">
                    <a:moveTo>
                      <a:pt x="72" y="82"/>
                    </a:moveTo>
                    <a:lnTo>
                      <a:pt x="70" y="82"/>
                    </a:lnTo>
                    <a:lnTo>
                      <a:pt x="63" y="73"/>
                    </a:lnTo>
                    <a:lnTo>
                      <a:pt x="59" y="27"/>
                    </a:lnTo>
                    <a:lnTo>
                      <a:pt x="57" y="27"/>
                    </a:lnTo>
                    <a:lnTo>
                      <a:pt x="55" y="16"/>
                    </a:lnTo>
                    <a:lnTo>
                      <a:pt x="52" y="9"/>
                    </a:lnTo>
                    <a:lnTo>
                      <a:pt x="48" y="9"/>
                    </a:lnTo>
                    <a:lnTo>
                      <a:pt x="48" y="7"/>
                    </a:lnTo>
                    <a:lnTo>
                      <a:pt x="50" y="6"/>
                    </a:lnTo>
                    <a:lnTo>
                      <a:pt x="50" y="4"/>
                    </a:lnTo>
                    <a:lnTo>
                      <a:pt x="50" y="2"/>
                    </a:lnTo>
                    <a:lnTo>
                      <a:pt x="50" y="2"/>
                    </a:lnTo>
                    <a:lnTo>
                      <a:pt x="48" y="2"/>
                    </a:lnTo>
                    <a:lnTo>
                      <a:pt x="47" y="0"/>
                    </a:lnTo>
                    <a:lnTo>
                      <a:pt x="47" y="0"/>
                    </a:lnTo>
                    <a:lnTo>
                      <a:pt x="43" y="0"/>
                    </a:lnTo>
                    <a:lnTo>
                      <a:pt x="39" y="4"/>
                    </a:lnTo>
                    <a:lnTo>
                      <a:pt x="38" y="4"/>
                    </a:lnTo>
                    <a:lnTo>
                      <a:pt x="5" y="2"/>
                    </a:lnTo>
                    <a:lnTo>
                      <a:pt x="4" y="6"/>
                    </a:lnTo>
                    <a:lnTo>
                      <a:pt x="4" y="7"/>
                    </a:lnTo>
                    <a:lnTo>
                      <a:pt x="5" y="9"/>
                    </a:lnTo>
                    <a:lnTo>
                      <a:pt x="5" y="11"/>
                    </a:lnTo>
                    <a:lnTo>
                      <a:pt x="5" y="13"/>
                    </a:lnTo>
                    <a:lnTo>
                      <a:pt x="7" y="13"/>
                    </a:lnTo>
                    <a:lnTo>
                      <a:pt x="5" y="16"/>
                    </a:lnTo>
                    <a:lnTo>
                      <a:pt x="7" y="20"/>
                    </a:lnTo>
                    <a:lnTo>
                      <a:pt x="7" y="23"/>
                    </a:lnTo>
                    <a:lnTo>
                      <a:pt x="9" y="27"/>
                    </a:lnTo>
                    <a:lnTo>
                      <a:pt x="9" y="29"/>
                    </a:lnTo>
                    <a:lnTo>
                      <a:pt x="7" y="29"/>
                    </a:lnTo>
                    <a:lnTo>
                      <a:pt x="9" y="31"/>
                    </a:lnTo>
                    <a:lnTo>
                      <a:pt x="7" y="32"/>
                    </a:lnTo>
                    <a:lnTo>
                      <a:pt x="7" y="32"/>
                    </a:lnTo>
                    <a:lnTo>
                      <a:pt x="9" y="32"/>
                    </a:lnTo>
                    <a:lnTo>
                      <a:pt x="9" y="34"/>
                    </a:lnTo>
                    <a:lnTo>
                      <a:pt x="13" y="47"/>
                    </a:lnTo>
                    <a:lnTo>
                      <a:pt x="11" y="47"/>
                    </a:lnTo>
                    <a:lnTo>
                      <a:pt x="11" y="48"/>
                    </a:lnTo>
                    <a:lnTo>
                      <a:pt x="9" y="48"/>
                    </a:lnTo>
                    <a:lnTo>
                      <a:pt x="9" y="50"/>
                    </a:lnTo>
                    <a:lnTo>
                      <a:pt x="7" y="50"/>
                    </a:lnTo>
                    <a:lnTo>
                      <a:pt x="4" y="57"/>
                    </a:lnTo>
                    <a:lnTo>
                      <a:pt x="4" y="63"/>
                    </a:lnTo>
                    <a:lnTo>
                      <a:pt x="4" y="65"/>
                    </a:lnTo>
                    <a:lnTo>
                      <a:pt x="2" y="66"/>
                    </a:lnTo>
                    <a:lnTo>
                      <a:pt x="0" y="68"/>
                    </a:lnTo>
                    <a:lnTo>
                      <a:pt x="0" y="75"/>
                    </a:lnTo>
                    <a:lnTo>
                      <a:pt x="4" y="86"/>
                    </a:lnTo>
                    <a:lnTo>
                      <a:pt x="4" y="88"/>
                    </a:lnTo>
                    <a:lnTo>
                      <a:pt x="7" y="88"/>
                    </a:lnTo>
                    <a:lnTo>
                      <a:pt x="7" y="90"/>
                    </a:lnTo>
                    <a:lnTo>
                      <a:pt x="7" y="97"/>
                    </a:lnTo>
                    <a:lnTo>
                      <a:pt x="5" y="97"/>
                    </a:lnTo>
                    <a:lnTo>
                      <a:pt x="5" y="97"/>
                    </a:lnTo>
                    <a:lnTo>
                      <a:pt x="4" y="97"/>
                    </a:lnTo>
                    <a:lnTo>
                      <a:pt x="2" y="97"/>
                    </a:lnTo>
                    <a:lnTo>
                      <a:pt x="2" y="98"/>
                    </a:lnTo>
                    <a:lnTo>
                      <a:pt x="20" y="104"/>
                    </a:lnTo>
                    <a:lnTo>
                      <a:pt x="27" y="98"/>
                    </a:lnTo>
                    <a:lnTo>
                      <a:pt x="39" y="97"/>
                    </a:lnTo>
                    <a:lnTo>
                      <a:pt x="55" y="88"/>
                    </a:lnTo>
                    <a:lnTo>
                      <a:pt x="63" y="86"/>
                    </a:lnTo>
                    <a:lnTo>
                      <a:pt x="64" y="88"/>
                    </a:lnTo>
                    <a:lnTo>
                      <a:pt x="66" y="88"/>
                    </a:lnTo>
                    <a:lnTo>
                      <a:pt x="70" y="82"/>
                    </a:lnTo>
                    <a:lnTo>
                      <a:pt x="72" y="8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09" name="Freeform 2360"/>
              <p:cNvSpPr>
                <a:spLocks/>
              </p:cNvSpPr>
              <p:nvPr/>
            </p:nvSpPr>
            <p:spPr bwMode="auto">
              <a:xfrm>
                <a:off x="2741" y="2491"/>
                <a:ext cx="185" cy="154"/>
              </a:xfrm>
              <a:custGeom>
                <a:avLst/>
                <a:gdLst>
                  <a:gd name="T0" fmla="*/ 12 w 185"/>
                  <a:gd name="T1" fmla="*/ 22 h 154"/>
                  <a:gd name="T2" fmla="*/ 14 w 185"/>
                  <a:gd name="T3" fmla="*/ 18 h 154"/>
                  <a:gd name="T4" fmla="*/ 18 w 185"/>
                  <a:gd name="T5" fmla="*/ 16 h 154"/>
                  <a:gd name="T6" fmla="*/ 27 w 185"/>
                  <a:gd name="T7" fmla="*/ 2 h 154"/>
                  <a:gd name="T8" fmla="*/ 57 w 185"/>
                  <a:gd name="T9" fmla="*/ 6 h 154"/>
                  <a:gd name="T10" fmla="*/ 66 w 185"/>
                  <a:gd name="T11" fmla="*/ 13 h 154"/>
                  <a:gd name="T12" fmla="*/ 71 w 185"/>
                  <a:gd name="T13" fmla="*/ 11 h 154"/>
                  <a:gd name="T14" fmla="*/ 82 w 185"/>
                  <a:gd name="T15" fmla="*/ 8 h 154"/>
                  <a:gd name="T16" fmla="*/ 105 w 185"/>
                  <a:gd name="T17" fmla="*/ 16 h 154"/>
                  <a:gd name="T18" fmla="*/ 119 w 185"/>
                  <a:gd name="T19" fmla="*/ 8 h 154"/>
                  <a:gd name="T20" fmla="*/ 150 w 185"/>
                  <a:gd name="T21" fmla="*/ 9 h 154"/>
                  <a:gd name="T22" fmla="*/ 155 w 185"/>
                  <a:gd name="T23" fmla="*/ 9 h 154"/>
                  <a:gd name="T24" fmla="*/ 157 w 185"/>
                  <a:gd name="T25" fmla="*/ 6 h 154"/>
                  <a:gd name="T26" fmla="*/ 160 w 185"/>
                  <a:gd name="T27" fmla="*/ 4 h 154"/>
                  <a:gd name="T28" fmla="*/ 164 w 185"/>
                  <a:gd name="T29" fmla="*/ 0 h 154"/>
                  <a:gd name="T30" fmla="*/ 166 w 185"/>
                  <a:gd name="T31" fmla="*/ 0 h 154"/>
                  <a:gd name="T32" fmla="*/ 173 w 185"/>
                  <a:gd name="T33" fmla="*/ 9 h 154"/>
                  <a:gd name="T34" fmla="*/ 180 w 185"/>
                  <a:gd name="T35" fmla="*/ 20 h 154"/>
                  <a:gd name="T36" fmla="*/ 184 w 185"/>
                  <a:gd name="T37" fmla="*/ 24 h 154"/>
                  <a:gd name="T38" fmla="*/ 185 w 185"/>
                  <a:gd name="T39" fmla="*/ 25 h 154"/>
                  <a:gd name="T40" fmla="*/ 180 w 185"/>
                  <a:gd name="T41" fmla="*/ 38 h 154"/>
                  <a:gd name="T42" fmla="*/ 173 w 185"/>
                  <a:gd name="T43" fmla="*/ 41 h 154"/>
                  <a:gd name="T44" fmla="*/ 159 w 185"/>
                  <a:gd name="T45" fmla="*/ 81 h 154"/>
                  <a:gd name="T46" fmla="*/ 151 w 185"/>
                  <a:gd name="T47" fmla="*/ 86 h 154"/>
                  <a:gd name="T48" fmla="*/ 135 w 185"/>
                  <a:gd name="T49" fmla="*/ 118 h 154"/>
                  <a:gd name="T50" fmla="*/ 128 w 185"/>
                  <a:gd name="T51" fmla="*/ 116 h 154"/>
                  <a:gd name="T52" fmla="*/ 128 w 185"/>
                  <a:gd name="T53" fmla="*/ 115 h 154"/>
                  <a:gd name="T54" fmla="*/ 123 w 185"/>
                  <a:gd name="T55" fmla="*/ 111 h 154"/>
                  <a:gd name="T56" fmla="*/ 109 w 185"/>
                  <a:gd name="T57" fmla="*/ 113 h 154"/>
                  <a:gd name="T58" fmla="*/ 103 w 185"/>
                  <a:gd name="T59" fmla="*/ 118 h 154"/>
                  <a:gd name="T60" fmla="*/ 94 w 185"/>
                  <a:gd name="T61" fmla="*/ 133 h 154"/>
                  <a:gd name="T62" fmla="*/ 93 w 185"/>
                  <a:gd name="T63" fmla="*/ 143 h 154"/>
                  <a:gd name="T64" fmla="*/ 89 w 185"/>
                  <a:gd name="T65" fmla="*/ 147 h 154"/>
                  <a:gd name="T66" fmla="*/ 87 w 185"/>
                  <a:gd name="T67" fmla="*/ 145 h 154"/>
                  <a:gd name="T68" fmla="*/ 85 w 185"/>
                  <a:gd name="T69" fmla="*/ 150 h 154"/>
                  <a:gd name="T70" fmla="*/ 69 w 185"/>
                  <a:gd name="T71" fmla="*/ 149 h 154"/>
                  <a:gd name="T72" fmla="*/ 68 w 185"/>
                  <a:gd name="T73" fmla="*/ 150 h 154"/>
                  <a:gd name="T74" fmla="*/ 64 w 185"/>
                  <a:gd name="T75" fmla="*/ 152 h 154"/>
                  <a:gd name="T76" fmla="*/ 62 w 185"/>
                  <a:gd name="T77" fmla="*/ 152 h 154"/>
                  <a:gd name="T78" fmla="*/ 60 w 185"/>
                  <a:gd name="T79" fmla="*/ 152 h 154"/>
                  <a:gd name="T80" fmla="*/ 55 w 185"/>
                  <a:gd name="T81" fmla="*/ 154 h 154"/>
                  <a:gd name="T82" fmla="*/ 52 w 185"/>
                  <a:gd name="T83" fmla="*/ 152 h 154"/>
                  <a:gd name="T84" fmla="*/ 48 w 185"/>
                  <a:gd name="T85" fmla="*/ 152 h 154"/>
                  <a:gd name="T86" fmla="*/ 43 w 185"/>
                  <a:gd name="T87" fmla="*/ 145 h 154"/>
                  <a:gd name="T88" fmla="*/ 43 w 185"/>
                  <a:gd name="T89" fmla="*/ 136 h 154"/>
                  <a:gd name="T90" fmla="*/ 39 w 185"/>
                  <a:gd name="T91" fmla="*/ 134 h 154"/>
                  <a:gd name="T92" fmla="*/ 37 w 185"/>
                  <a:gd name="T93" fmla="*/ 131 h 154"/>
                  <a:gd name="T94" fmla="*/ 35 w 185"/>
                  <a:gd name="T95" fmla="*/ 129 h 154"/>
                  <a:gd name="T96" fmla="*/ 32 w 185"/>
                  <a:gd name="T97" fmla="*/ 125 h 154"/>
                  <a:gd name="T98" fmla="*/ 0 w 185"/>
                  <a:gd name="T99" fmla="*/ 122 h 154"/>
                  <a:gd name="T100" fmla="*/ 0 w 185"/>
                  <a:gd name="T101" fmla="*/ 86 h 154"/>
                  <a:gd name="T102" fmla="*/ 7 w 185"/>
                  <a:gd name="T103" fmla="*/ 68 h 154"/>
                  <a:gd name="T104" fmla="*/ 12 w 185"/>
                  <a:gd name="T105" fmla="*/ 61 h 154"/>
                  <a:gd name="T106" fmla="*/ 14 w 185"/>
                  <a:gd name="T107" fmla="*/ 59 h 154"/>
                  <a:gd name="T108" fmla="*/ 12 w 185"/>
                  <a:gd name="T109" fmla="*/ 58 h 154"/>
                  <a:gd name="T110" fmla="*/ 12 w 185"/>
                  <a:gd name="T111" fmla="*/ 56 h 154"/>
                  <a:gd name="T112" fmla="*/ 16 w 185"/>
                  <a:gd name="T113" fmla="*/ 54 h 154"/>
                  <a:gd name="T114" fmla="*/ 14 w 185"/>
                  <a:gd name="T115" fmla="*/ 43 h 154"/>
                  <a:gd name="T116" fmla="*/ 10 w 185"/>
                  <a:gd name="T117" fmla="*/ 40 h 154"/>
                  <a:gd name="T118" fmla="*/ 12 w 185"/>
                  <a:gd name="T119"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5" h="154">
                    <a:moveTo>
                      <a:pt x="12" y="34"/>
                    </a:moveTo>
                    <a:lnTo>
                      <a:pt x="12" y="22"/>
                    </a:lnTo>
                    <a:lnTo>
                      <a:pt x="14" y="20"/>
                    </a:lnTo>
                    <a:lnTo>
                      <a:pt x="14" y="18"/>
                    </a:lnTo>
                    <a:lnTo>
                      <a:pt x="16" y="18"/>
                    </a:lnTo>
                    <a:lnTo>
                      <a:pt x="18" y="16"/>
                    </a:lnTo>
                    <a:lnTo>
                      <a:pt x="21" y="6"/>
                    </a:lnTo>
                    <a:lnTo>
                      <a:pt x="27" y="2"/>
                    </a:lnTo>
                    <a:lnTo>
                      <a:pt x="46" y="0"/>
                    </a:lnTo>
                    <a:lnTo>
                      <a:pt x="57" y="6"/>
                    </a:lnTo>
                    <a:lnTo>
                      <a:pt x="66" y="13"/>
                    </a:lnTo>
                    <a:lnTo>
                      <a:pt x="66" y="13"/>
                    </a:lnTo>
                    <a:lnTo>
                      <a:pt x="69" y="13"/>
                    </a:lnTo>
                    <a:lnTo>
                      <a:pt x="71" y="11"/>
                    </a:lnTo>
                    <a:lnTo>
                      <a:pt x="78" y="8"/>
                    </a:lnTo>
                    <a:lnTo>
                      <a:pt x="82" y="8"/>
                    </a:lnTo>
                    <a:lnTo>
                      <a:pt x="94" y="15"/>
                    </a:lnTo>
                    <a:lnTo>
                      <a:pt x="105" y="16"/>
                    </a:lnTo>
                    <a:lnTo>
                      <a:pt x="109" y="16"/>
                    </a:lnTo>
                    <a:lnTo>
                      <a:pt x="119" y="8"/>
                    </a:lnTo>
                    <a:lnTo>
                      <a:pt x="141" y="6"/>
                    </a:lnTo>
                    <a:lnTo>
                      <a:pt x="150" y="9"/>
                    </a:lnTo>
                    <a:lnTo>
                      <a:pt x="153" y="9"/>
                    </a:lnTo>
                    <a:lnTo>
                      <a:pt x="155" y="9"/>
                    </a:lnTo>
                    <a:lnTo>
                      <a:pt x="157" y="6"/>
                    </a:lnTo>
                    <a:lnTo>
                      <a:pt x="157" y="6"/>
                    </a:lnTo>
                    <a:lnTo>
                      <a:pt x="159" y="4"/>
                    </a:lnTo>
                    <a:lnTo>
                      <a:pt x="160" y="4"/>
                    </a:lnTo>
                    <a:lnTo>
                      <a:pt x="164" y="4"/>
                    </a:lnTo>
                    <a:lnTo>
                      <a:pt x="164" y="0"/>
                    </a:lnTo>
                    <a:lnTo>
                      <a:pt x="166" y="0"/>
                    </a:lnTo>
                    <a:lnTo>
                      <a:pt x="166" y="0"/>
                    </a:lnTo>
                    <a:lnTo>
                      <a:pt x="169" y="8"/>
                    </a:lnTo>
                    <a:lnTo>
                      <a:pt x="173" y="9"/>
                    </a:lnTo>
                    <a:lnTo>
                      <a:pt x="176" y="18"/>
                    </a:lnTo>
                    <a:lnTo>
                      <a:pt x="180" y="20"/>
                    </a:lnTo>
                    <a:lnTo>
                      <a:pt x="180" y="22"/>
                    </a:lnTo>
                    <a:lnTo>
                      <a:pt x="184" y="24"/>
                    </a:lnTo>
                    <a:lnTo>
                      <a:pt x="185" y="24"/>
                    </a:lnTo>
                    <a:lnTo>
                      <a:pt x="185" y="25"/>
                    </a:lnTo>
                    <a:lnTo>
                      <a:pt x="185" y="34"/>
                    </a:lnTo>
                    <a:lnTo>
                      <a:pt x="180" y="38"/>
                    </a:lnTo>
                    <a:lnTo>
                      <a:pt x="180" y="40"/>
                    </a:lnTo>
                    <a:lnTo>
                      <a:pt x="173" y="41"/>
                    </a:lnTo>
                    <a:lnTo>
                      <a:pt x="169" y="45"/>
                    </a:lnTo>
                    <a:lnTo>
                      <a:pt x="159" y="81"/>
                    </a:lnTo>
                    <a:lnTo>
                      <a:pt x="155" y="83"/>
                    </a:lnTo>
                    <a:lnTo>
                      <a:pt x="151" y="86"/>
                    </a:lnTo>
                    <a:lnTo>
                      <a:pt x="137" y="118"/>
                    </a:lnTo>
                    <a:lnTo>
                      <a:pt x="135" y="118"/>
                    </a:lnTo>
                    <a:lnTo>
                      <a:pt x="132" y="118"/>
                    </a:lnTo>
                    <a:lnTo>
                      <a:pt x="128" y="116"/>
                    </a:lnTo>
                    <a:lnTo>
                      <a:pt x="128" y="116"/>
                    </a:lnTo>
                    <a:lnTo>
                      <a:pt x="128" y="115"/>
                    </a:lnTo>
                    <a:lnTo>
                      <a:pt x="127" y="115"/>
                    </a:lnTo>
                    <a:lnTo>
                      <a:pt x="123" y="111"/>
                    </a:lnTo>
                    <a:lnTo>
                      <a:pt x="109" y="113"/>
                    </a:lnTo>
                    <a:lnTo>
                      <a:pt x="109" y="113"/>
                    </a:lnTo>
                    <a:lnTo>
                      <a:pt x="107" y="116"/>
                    </a:lnTo>
                    <a:lnTo>
                      <a:pt x="103" y="118"/>
                    </a:lnTo>
                    <a:lnTo>
                      <a:pt x="100" y="124"/>
                    </a:lnTo>
                    <a:lnTo>
                      <a:pt x="94" y="133"/>
                    </a:lnTo>
                    <a:lnTo>
                      <a:pt x="94" y="138"/>
                    </a:lnTo>
                    <a:lnTo>
                      <a:pt x="93" y="143"/>
                    </a:lnTo>
                    <a:lnTo>
                      <a:pt x="91" y="145"/>
                    </a:lnTo>
                    <a:lnTo>
                      <a:pt x="89" y="147"/>
                    </a:lnTo>
                    <a:lnTo>
                      <a:pt x="89" y="145"/>
                    </a:lnTo>
                    <a:lnTo>
                      <a:pt x="87" y="145"/>
                    </a:lnTo>
                    <a:lnTo>
                      <a:pt x="85" y="147"/>
                    </a:lnTo>
                    <a:lnTo>
                      <a:pt x="85" y="150"/>
                    </a:lnTo>
                    <a:lnTo>
                      <a:pt x="77" y="150"/>
                    </a:lnTo>
                    <a:lnTo>
                      <a:pt x="69" y="149"/>
                    </a:lnTo>
                    <a:lnTo>
                      <a:pt x="68" y="150"/>
                    </a:lnTo>
                    <a:lnTo>
                      <a:pt x="68" y="150"/>
                    </a:lnTo>
                    <a:lnTo>
                      <a:pt x="66" y="152"/>
                    </a:lnTo>
                    <a:lnTo>
                      <a:pt x="64" y="152"/>
                    </a:lnTo>
                    <a:lnTo>
                      <a:pt x="64" y="152"/>
                    </a:lnTo>
                    <a:lnTo>
                      <a:pt x="62" y="152"/>
                    </a:lnTo>
                    <a:lnTo>
                      <a:pt x="62" y="152"/>
                    </a:lnTo>
                    <a:lnTo>
                      <a:pt x="60" y="152"/>
                    </a:lnTo>
                    <a:lnTo>
                      <a:pt x="60" y="152"/>
                    </a:lnTo>
                    <a:lnTo>
                      <a:pt x="55" y="154"/>
                    </a:lnTo>
                    <a:lnTo>
                      <a:pt x="53" y="152"/>
                    </a:lnTo>
                    <a:lnTo>
                      <a:pt x="52" y="152"/>
                    </a:lnTo>
                    <a:lnTo>
                      <a:pt x="52" y="152"/>
                    </a:lnTo>
                    <a:lnTo>
                      <a:pt x="48" y="152"/>
                    </a:lnTo>
                    <a:lnTo>
                      <a:pt x="46" y="149"/>
                    </a:lnTo>
                    <a:lnTo>
                      <a:pt x="43" y="145"/>
                    </a:lnTo>
                    <a:lnTo>
                      <a:pt x="41" y="136"/>
                    </a:lnTo>
                    <a:lnTo>
                      <a:pt x="43" y="136"/>
                    </a:lnTo>
                    <a:lnTo>
                      <a:pt x="41" y="136"/>
                    </a:lnTo>
                    <a:lnTo>
                      <a:pt x="39" y="134"/>
                    </a:lnTo>
                    <a:lnTo>
                      <a:pt x="39" y="133"/>
                    </a:lnTo>
                    <a:lnTo>
                      <a:pt x="37" y="131"/>
                    </a:lnTo>
                    <a:lnTo>
                      <a:pt x="37" y="129"/>
                    </a:lnTo>
                    <a:lnTo>
                      <a:pt x="35" y="129"/>
                    </a:lnTo>
                    <a:lnTo>
                      <a:pt x="35" y="127"/>
                    </a:lnTo>
                    <a:lnTo>
                      <a:pt x="32" y="125"/>
                    </a:lnTo>
                    <a:lnTo>
                      <a:pt x="23" y="120"/>
                    </a:lnTo>
                    <a:lnTo>
                      <a:pt x="0" y="122"/>
                    </a:lnTo>
                    <a:lnTo>
                      <a:pt x="0" y="120"/>
                    </a:lnTo>
                    <a:lnTo>
                      <a:pt x="0" y="86"/>
                    </a:lnTo>
                    <a:lnTo>
                      <a:pt x="5" y="77"/>
                    </a:lnTo>
                    <a:lnTo>
                      <a:pt x="7" y="68"/>
                    </a:lnTo>
                    <a:lnTo>
                      <a:pt x="12" y="63"/>
                    </a:lnTo>
                    <a:lnTo>
                      <a:pt x="12" y="61"/>
                    </a:lnTo>
                    <a:lnTo>
                      <a:pt x="14" y="61"/>
                    </a:lnTo>
                    <a:lnTo>
                      <a:pt x="14" y="59"/>
                    </a:lnTo>
                    <a:lnTo>
                      <a:pt x="14" y="59"/>
                    </a:lnTo>
                    <a:lnTo>
                      <a:pt x="12" y="58"/>
                    </a:lnTo>
                    <a:lnTo>
                      <a:pt x="12" y="58"/>
                    </a:lnTo>
                    <a:lnTo>
                      <a:pt x="12" y="56"/>
                    </a:lnTo>
                    <a:lnTo>
                      <a:pt x="14" y="54"/>
                    </a:lnTo>
                    <a:lnTo>
                      <a:pt x="16" y="54"/>
                    </a:lnTo>
                    <a:lnTo>
                      <a:pt x="16" y="54"/>
                    </a:lnTo>
                    <a:lnTo>
                      <a:pt x="14" y="43"/>
                    </a:lnTo>
                    <a:lnTo>
                      <a:pt x="12" y="40"/>
                    </a:lnTo>
                    <a:lnTo>
                      <a:pt x="10" y="40"/>
                    </a:lnTo>
                    <a:lnTo>
                      <a:pt x="12" y="36"/>
                    </a:lnTo>
                    <a:lnTo>
                      <a:pt x="12" y="3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10" name="Freeform 2361"/>
              <p:cNvSpPr>
                <a:spLocks/>
              </p:cNvSpPr>
              <p:nvPr/>
            </p:nvSpPr>
            <p:spPr bwMode="auto">
              <a:xfrm>
                <a:off x="2741" y="2491"/>
                <a:ext cx="185" cy="154"/>
              </a:xfrm>
              <a:custGeom>
                <a:avLst/>
                <a:gdLst>
                  <a:gd name="T0" fmla="*/ 12 w 185"/>
                  <a:gd name="T1" fmla="*/ 22 h 154"/>
                  <a:gd name="T2" fmla="*/ 14 w 185"/>
                  <a:gd name="T3" fmla="*/ 18 h 154"/>
                  <a:gd name="T4" fmla="*/ 18 w 185"/>
                  <a:gd name="T5" fmla="*/ 16 h 154"/>
                  <a:gd name="T6" fmla="*/ 27 w 185"/>
                  <a:gd name="T7" fmla="*/ 2 h 154"/>
                  <a:gd name="T8" fmla="*/ 57 w 185"/>
                  <a:gd name="T9" fmla="*/ 6 h 154"/>
                  <a:gd name="T10" fmla="*/ 66 w 185"/>
                  <a:gd name="T11" fmla="*/ 13 h 154"/>
                  <a:gd name="T12" fmla="*/ 71 w 185"/>
                  <a:gd name="T13" fmla="*/ 11 h 154"/>
                  <a:gd name="T14" fmla="*/ 82 w 185"/>
                  <a:gd name="T15" fmla="*/ 8 h 154"/>
                  <a:gd name="T16" fmla="*/ 105 w 185"/>
                  <a:gd name="T17" fmla="*/ 16 h 154"/>
                  <a:gd name="T18" fmla="*/ 119 w 185"/>
                  <a:gd name="T19" fmla="*/ 8 h 154"/>
                  <a:gd name="T20" fmla="*/ 150 w 185"/>
                  <a:gd name="T21" fmla="*/ 9 h 154"/>
                  <a:gd name="T22" fmla="*/ 155 w 185"/>
                  <a:gd name="T23" fmla="*/ 9 h 154"/>
                  <a:gd name="T24" fmla="*/ 157 w 185"/>
                  <a:gd name="T25" fmla="*/ 6 h 154"/>
                  <a:gd name="T26" fmla="*/ 160 w 185"/>
                  <a:gd name="T27" fmla="*/ 4 h 154"/>
                  <a:gd name="T28" fmla="*/ 164 w 185"/>
                  <a:gd name="T29" fmla="*/ 0 h 154"/>
                  <a:gd name="T30" fmla="*/ 166 w 185"/>
                  <a:gd name="T31" fmla="*/ 0 h 154"/>
                  <a:gd name="T32" fmla="*/ 173 w 185"/>
                  <a:gd name="T33" fmla="*/ 9 h 154"/>
                  <a:gd name="T34" fmla="*/ 180 w 185"/>
                  <a:gd name="T35" fmla="*/ 20 h 154"/>
                  <a:gd name="T36" fmla="*/ 184 w 185"/>
                  <a:gd name="T37" fmla="*/ 24 h 154"/>
                  <a:gd name="T38" fmla="*/ 185 w 185"/>
                  <a:gd name="T39" fmla="*/ 25 h 154"/>
                  <a:gd name="T40" fmla="*/ 180 w 185"/>
                  <a:gd name="T41" fmla="*/ 38 h 154"/>
                  <a:gd name="T42" fmla="*/ 173 w 185"/>
                  <a:gd name="T43" fmla="*/ 41 h 154"/>
                  <a:gd name="T44" fmla="*/ 159 w 185"/>
                  <a:gd name="T45" fmla="*/ 81 h 154"/>
                  <a:gd name="T46" fmla="*/ 151 w 185"/>
                  <a:gd name="T47" fmla="*/ 86 h 154"/>
                  <a:gd name="T48" fmla="*/ 135 w 185"/>
                  <a:gd name="T49" fmla="*/ 118 h 154"/>
                  <a:gd name="T50" fmla="*/ 128 w 185"/>
                  <a:gd name="T51" fmla="*/ 116 h 154"/>
                  <a:gd name="T52" fmla="*/ 128 w 185"/>
                  <a:gd name="T53" fmla="*/ 115 h 154"/>
                  <a:gd name="T54" fmla="*/ 123 w 185"/>
                  <a:gd name="T55" fmla="*/ 111 h 154"/>
                  <a:gd name="T56" fmla="*/ 109 w 185"/>
                  <a:gd name="T57" fmla="*/ 113 h 154"/>
                  <a:gd name="T58" fmla="*/ 103 w 185"/>
                  <a:gd name="T59" fmla="*/ 118 h 154"/>
                  <a:gd name="T60" fmla="*/ 94 w 185"/>
                  <a:gd name="T61" fmla="*/ 133 h 154"/>
                  <a:gd name="T62" fmla="*/ 93 w 185"/>
                  <a:gd name="T63" fmla="*/ 143 h 154"/>
                  <a:gd name="T64" fmla="*/ 89 w 185"/>
                  <a:gd name="T65" fmla="*/ 147 h 154"/>
                  <a:gd name="T66" fmla="*/ 87 w 185"/>
                  <a:gd name="T67" fmla="*/ 145 h 154"/>
                  <a:gd name="T68" fmla="*/ 85 w 185"/>
                  <a:gd name="T69" fmla="*/ 150 h 154"/>
                  <a:gd name="T70" fmla="*/ 69 w 185"/>
                  <a:gd name="T71" fmla="*/ 149 h 154"/>
                  <a:gd name="T72" fmla="*/ 68 w 185"/>
                  <a:gd name="T73" fmla="*/ 150 h 154"/>
                  <a:gd name="T74" fmla="*/ 64 w 185"/>
                  <a:gd name="T75" fmla="*/ 152 h 154"/>
                  <a:gd name="T76" fmla="*/ 62 w 185"/>
                  <a:gd name="T77" fmla="*/ 152 h 154"/>
                  <a:gd name="T78" fmla="*/ 60 w 185"/>
                  <a:gd name="T79" fmla="*/ 152 h 154"/>
                  <a:gd name="T80" fmla="*/ 55 w 185"/>
                  <a:gd name="T81" fmla="*/ 154 h 154"/>
                  <a:gd name="T82" fmla="*/ 52 w 185"/>
                  <a:gd name="T83" fmla="*/ 152 h 154"/>
                  <a:gd name="T84" fmla="*/ 48 w 185"/>
                  <a:gd name="T85" fmla="*/ 152 h 154"/>
                  <a:gd name="T86" fmla="*/ 43 w 185"/>
                  <a:gd name="T87" fmla="*/ 145 h 154"/>
                  <a:gd name="T88" fmla="*/ 43 w 185"/>
                  <a:gd name="T89" fmla="*/ 136 h 154"/>
                  <a:gd name="T90" fmla="*/ 39 w 185"/>
                  <a:gd name="T91" fmla="*/ 134 h 154"/>
                  <a:gd name="T92" fmla="*/ 37 w 185"/>
                  <a:gd name="T93" fmla="*/ 131 h 154"/>
                  <a:gd name="T94" fmla="*/ 35 w 185"/>
                  <a:gd name="T95" fmla="*/ 129 h 154"/>
                  <a:gd name="T96" fmla="*/ 32 w 185"/>
                  <a:gd name="T97" fmla="*/ 125 h 154"/>
                  <a:gd name="T98" fmla="*/ 0 w 185"/>
                  <a:gd name="T99" fmla="*/ 122 h 154"/>
                  <a:gd name="T100" fmla="*/ 0 w 185"/>
                  <a:gd name="T101" fmla="*/ 86 h 154"/>
                  <a:gd name="T102" fmla="*/ 7 w 185"/>
                  <a:gd name="T103" fmla="*/ 68 h 154"/>
                  <a:gd name="T104" fmla="*/ 12 w 185"/>
                  <a:gd name="T105" fmla="*/ 61 h 154"/>
                  <a:gd name="T106" fmla="*/ 14 w 185"/>
                  <a:gd name="T107" fmla="*/ 59 h 154"/>
                  <a:gd name="T108" fmla="*/ 12 w 185"/>
                  <a:gd name="T109" fmla="*/ 58 h 154"/>
                  <a:gd name="T110" fmla="*/ 12 w 185"/>
                  <a:gd name="T111" fmla="*/ 56 h 154"/>
                  <a:gd name="T112" fmla="*/ 16 w 185"/>
                  <a:gd name="T113" fmla="*/ 54 h 154"/>
                  <a:gd name="T114" fmla="*/ 14 w 185"/>
                  <a:gd name="T115" fmla="*/ 43 h 154"/>
                  <a:gd name="T116" fmla="*/ 10 w 185"/>
                  <a:gd name="T117" fmla="*/ 40 h 154"/>
                  <a:gd name="T118" fmla="*/ 12 w 185"/>
                  <a:gd name="T119" fmla="*/ 3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5" h="154">
                    <a:moveTo>
                      <a:pt x="12" y="34"/>
                    </a:moveTo>
                    <a:lnTo>
                      <a:pt x="12" y="22"/>
                    </a:lnTo>
                    <a:lnTo>
                      <a:pt x="14" y="20"/>
                    </a:lnTo>
                    <a:lnTo>
                      <a:pt x="14" y="18"/>
                    </a:lnTo>
                    <a:lnTo>
                      <a:pt x="16" y="18"/>
                    </a:lnTo>
                    <a:lnTo>
                      <a:pt x="18" y="16"/>
                    </a:lnTo>
                    <a:lnTo>
                      <a:pt x="21" y="6"/>
                    </a:lnTo>
                    <a:lnTo>
                      <a:pt x="27" y="2"/>
                    </a:lnTo>
                    <a:lnTo>
                      <a:pt x="46" y="0"/>
                    </a:lnTo>
                    <a:lnTo>
                      <a:pt x="57" y="6"/>
                    </a:lnTo>
                    <a:lnTo>
                      <a:pt x="66" y="13"/>
                    </a:lnTo>
                    <a:lnTo>
                      <a:pt x="66" y="13"/>
                    </a:lnTo>
                    <a:lnTo>
                      <a:pt x="69" y="13"/>
                    </a:lnTo>
                    <a:lnTo>
                      <a:pt x="71" y="11"/>
                    </a:lnTo>
                    <a:lnTo>
                      <a:pt x="78" y="8"/>
                    </a:lnTo>
                    <a:lnTo>
                      <a:pt x="82" y="8"/>
                    </a:lnTo>
                    <a:lnTo>
                      <a:pt x="94" y="15"/>
                    </a:lnTo>
                    <a:lnTo>
                      <a:pt x="105" y="16"/>
                    </a:lnTo>
                    <a:lnTo>
                      <a:pt x="109" y="16"/>
                    </a:lnTo>
                    <a:lnTo>
                      <a:pt x="119" y="8"/>
                    </a:lnTo>
                    <a:lnTo>
                      <a:pt x="141" y="6"/>
                    </a:lnTo>
                    <a:lnTo>
                      <a:pt x="150" y="9"/>
                    </a:lnTo>
                    <a:lnTo>
                      <a:pt x="153" y="9"/>
                    </a:lnTo>
                    <a:lnTo>
                      <a:pt x="155" y="9"/>
                    </a:lnTo>
                    <a:lnTo>
                      <a:pt x="157" y="6"/>
                    </a:lnTo>
                    <a:lnTo>
                      <a:pt x="157" y="6"/>
                    </a:lnTo>
                    <a:lnTo>
                      <a:pt x="159" y="4"/>
                    </a:lnTo>
                    <a:lnTo>
                      <a:pt x="160" y="4"/>
                    </a:lnTo>
                    <a:lnTo>
                      <a:pt x="164" y="4"/>
                    </a:lnTo>
                    <a:lnTo>
                      <a:pt x="164" y="0"/>
                    </a:lnTo>
                    <a:lnTo>
                      <a:pt x="166" y="0"/>
                    </a:lnTo>
                    <a:lnTo>
                      <a:pt x="166" y="0"/>
                    </a:lnTo>
                    <a:lnTo>
                      <a:pt x="169" y="8"/>
                    </a:lnTo>
                    <a:lnTo>
                      <a:pt x="173" y="9"/>
                    </a:lnTo>
                    <a:lnTo>
                      <a:pt x="176" y="18"/>
                    </a:lnTo>
                    <a:lnTo>
                      <a:pt x="180" y="20"/>
                    </a:lnTo>
                    <a:lnTo>
                      <a:pt x="180" y="22"/>
                    </a:lnTo>
                    <a:lnTo>
                      <a:pt x="184" y="24"/>
                    </a:lnTo>
                    <a:lnTo>
                      <a:pt x="185" y="24"/>
                    </a:lnTo>
                    <a:lnTo>
                      <a:pt x="185" y="25"/>
                    </a:lnTo>
                    <a:lnTo>
                      <a:pt x="185" y="34"/>
                    </a:lnTo>
                    <a:lnTo>
                      <a:pt x="180" y="38"/>
                    </a:lnTo>
                    <a:lnTo>
                      <a:pt x="180" y="40"/>
                    </a:lnTo>
                    <a:lnTo>
                      <a:pt x="173" y="41"/>
                    </a:lnTo>
                    <a:lnTo>
                      <a:pt x="169" y="45"/>
                    </a:lnTo>
                    <a:lnTo>
                      <a:pt x="159" y="81"/>
                    </a:lnTo>
                    <a:lnTo>
                      <a:pt x="155" y="83"/>
                    </a:lnTo>
                    <a:lnTo>
                      <a:pt x="151" y="86"/>
                    </a:lnTo>
                    <a:lnTo>
                      <a:pt x="137" y="118"/>
                    </a:lnTo>
                    <a:lnTo>
                      <a:pt x="135" y="118"/>
                    </a:lnTo>
                    <a:lnTo>
                      <a:pt x="132" y="118"/>
                    </a:lnTo>
                    <a:lnTo>
                      <a:pt x="128" y="116"/>
                    </a:lnTo>
                    <a:lnTo>
                      <a:pt x="128" y="116"/>
                    </a:lnTo>
                    <a:lnTo>
                      <a:pt x="128" y="115"/>
                    </a:lnTo>
                    <a:lnTo>
                      <a:pt x="127" y="115"/>
                    </a:lnTo>
                    <a:lnTo>
                      <a:pt x="123" y="111"/>
                    </a:lnTo>
                    <a:lnTo>
                      <a:pt x="109" y="113"/>
                    </a:lnTo>
                    <a:lnTo>
                      <a:pt x="109" y="113"/>
                    </a:lnTo>
                    <a:lnTo>
                      <a:pt x="107" y="116"/>
                    </a:lnTo>
                    <a:lnTo>
                      <a:pt x="103" y="118"/>
                    </a:lnTo>
                    <a:lnTo>
                      <a:pt x="100" y="124"/>
                    </a:lnTo>
                    <a:lnTo>
                      <a:pt x="94" y="133"/>
                    </a:lnTo>
                    <a:lnTo>
                      <a:pt x="94" y="138"/>
                    </a:lnTo>
                    <a:lnTo>
                      <a:pt x="93" y="143"/>
                    </a:lnTo>
                    <a:lnTo>
                      <a:pt x="91" y="145"/>
                    </a:lnTo>
                    <a:lnTo>
                      <a:pt x="89" y="147"/>
                    </a:lnTo>
                    <a:lnTo>
                      <a:pt x="89" y="145"/>
                    </a:lnTo>
                    <a:lnTo>
                      <a:pt x="87" y="145"/>
                    </a:lnTo>
                    <a:lnTo>
                      <a:pt x="85" y="147"/>
                    </a:lnTo>
                    <a:lnTo>
                      <a:pt x="85" y="150"/>
                    </a:lnTo>
                    <a:lnTo>
                      <a:pt x="77" y="150"/>
                    </a:lnTo>
                    <a:lnTo>
                      <a:pt x="69" y="149"/>
                    </a:lnTo>
                    <a:lnTo>
                      <a:pt x="68" y="150"/>
                    </a:lnTo>
                    <a:lnTo>
                      <a:pt x="68" y="150"/>
                    </a:lnTo>
                    <a:lnTo>
                      <a:pt x="66" y="152"/>
                    </a:lnTo>
                    <a:lnTo>
                      <a:pt x="64" y="152"/>
                    </a:lnTo>
                    <a:lnTo>
                      <a:pt x="64" y="152"/>
                    </a:lnTo>
                    <a:lnTo>
                      <a:pt x="62" y="152"/>
                    </a:lnTo>
                    <a:lnTo>
                      <a:pt x="62" y="152"/>
                    </a:lnTo>
                    <a:lnTo>
                      <a:pt x="60" y="152"/>
                    </a:lnTo>
                    <a:lnTo>
                      <a:pt x="60" y="152"/>
                    </a:lnTo>
                    <a:lnTo>
                      <a:pt x="55" y="154"/>
                    </a:lnTo>
                    <a:lnTo>
                      <a:pt x="53" y="152"/>
                    </a:lnTo>
                    <a:lnTo>
                      <a:pt x="52" y="152"/>
                    </a:lnTo>
                    <a:lnTo>
                      <a:pt x="52" y="152"/>
                    </a:lnTo>
                    <a:lnTo>
                      <a:pt x="48" y="152"/>
                    </a:lnTo>
                    <a:lnTo>
                      <a:pt x="46" y="149"/>
                    </a:lnTo>
                    <a:lnTo>
                      <a:pt x="43" y="145"/>
                    </a:lnTo>
                    <a:lnTo>
                      <a:pt x="41" y="136"/>
                    </a:lnTo>
                    <a:lnTo>
                      <a:pt x="43" y="136"/>
                    </a:lnTo>
                    <a:lnTo>
                      <a:pt x="41" y="136"/>
                    </a:lnTo>
                    <a:lnTo>
                      <a:pt x="39" y="134"/>
                    </a:lnTo>
                    <a:lnTo>
                      <a:pt x="39" y="133"/>
                    </a:lnTo>
                    <a:lnTo>
                      <a:pt x="37" y="131"/>
                    </a:lnTo>
                    <a:lnTo>
                      <a:pt x="37" y="129"/>
                    </a:lnTo>
                    <a:lnTo>
                      <a:pt x="35" y="129"/>
                    </a:lnTo>
                    <a:lnTo>
                      <a:pt x="35" y="127"/>
                    </a:lnTo>
                    <a:lnTo>
                      <a:pt x="32" y="125"/>
                    </a:lnTo>
                    <a:lnTo>
                      <a:pt x="23" y="120"/>
                    </a:lnTo>
                    <a:lnTo>
                      <a:pt x="0" y="122"/>
                    </a:lnTo>
                    <a:lnTo>
                      <a:pt x="0" y="120"/>
                    </a:lnTo>
                    <a:lnTo>
                      <a:pt x="0" y="86"/>
                    </a:lnTo>
                    <a:lnTo>
                      <a:pt x="5" y="77"/>
                    </a:lnTo>
                    <a:lnTo>
                      <a:pt x="7" y="68"/>
                    </a:lnTo>
                    <a:lnTo>
                      <a:pt x="12" y="63"/>
                    </a:lnTo>
                    <a:lnTo>
                      <a:pt x="12" y="61"/>
                    </a:lnTo>
                    <a:lnTo>
                      <a:pt x="14" y="61"/>
                    </a:lnTo>
                    <a:lnTo>
                      <a:pt x="14" y="59"/>
                    </a:lnTo>
                    <a:lnTo>
                      <a:pt x="14" y="59"/>
                    </a:lnTo>
                    <a:lnTo>
                      <a:pt x="12" y="58"/>
                    </a:lnTo>
                    <a:lnTo>
                      <a:pt x="12" y="58"/>
                    </a:lnTo>
                    <a:lnTo>
                      <a:pt x="12" y="56"/>
                    </a:lnTo>
                    <a:lnTo>
                      <a:pt x="14" y="54"/>
                    </a:lnTo>
                    <a:lnTo>
                      <a:pt x="16" y="54"/>
                    </a:lnTo>
                    <a:lnTo>
                      <a:pt x="16" y="54"/>
                    </a:lnTo>
                    <a:lnTo>
                      <a:pt x="14" y="43"/>
                    </a:lnTo>
                    <a:lnTo>
                      <a:pt x="12" y="40"/>
                    </a:lnTo>
                    <a:lnTo>
                      <a:pt x="10" y="40"/>
                    </a:lnTo>
                    <a:lnTo>
                      <a:pt x="12" y="36"/>
                    </a:lnTo>
                    <a:lnTo>
                      <a:pt x="12" y="3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11" name="Freeform 2362"/>
              <p:cNvSpPr>
                <a:spLocks/>
              </p:cNvSpPr>
              <p:nvPr/>
            </p:nvSpPr>
            <p:spPr bwMode="auto">
              <a:xfrm>
                <a:off x="2873" y="2654"/>
                <a:ext cx="121" cy="139"/>
              </a:xfrm>
              <a:custGeom>
                <a:avLst/>
                <a:gdLst>
                  <a:gd name="T0" fmla="*/ 119 w 121"/>
                  <a:gd name="T1" fmla="*/ 2 h 139"/>
                  <a:gd name="T2" fmla="*/ 100 w 121"/>
                  <a:gd name="T3" fmla="*/ 0 h 139"/>
                  <a:gd name="T4" fmla="*/ 84 w 121"/>
                  <a:gd name="T5" fmla="*/ 9 h 139"/>
                  <a:gd name="T6" fmla="*/ 80 w 121"/>
                  <a:gd name="T7" fmla="*/ 16 h 139"/>
                  <a:gd name="T8" fmla="*/ 80 w 121"/>
                  <a:gd name="T9" fmla="*/ 32 h 139"/>
                  <a:gd name="T10" fmla="*/ 71 w 121"/>
                  <a:gd name="T11" fmla="*/ 27 h 139"/>
                  <a:gd name="T12" fmla="*/ 61 w 121"/>
                  <a:gd name="T13" fmla="*/ 27 h 139"/>
                  <a:gd name="T14" fmla="*/ 36 w 121"/>
                  <a:gd name="T15" fmla="*/ 25 h 139"/>
                  <a:gd name="T16" fmla="*/ 34 w 121"/>
                  <a:gd name="T17" fmla="*/ 39 h 139"/>
                  <a:gd name="T18" fmla="*/ 41 w 121"/>
                  <a:gd name="T19" fmla="*/ 34 h 139"/>
                  <a:gd name="T20" fmla="*/ 52 w 121"/>
                  <a:gd name="T21" fmla="*/ 39 h 139"/>
                  <a:gd name="T22" fmla="*/ 46 w 121"/>
                  <a:gd name="T23" fmla="*/ 55 h 139"/>
                  <a:gd name="T24" fmla="*/ 52 w 121"/>
                  <a:gd name="T25" fmla="*/ 71 h 139"/>
                  <a:gd name="T26" fmla="*/ 43 w 121"/>
                  <a:gd name="T27" fmla="*/ 98 h 139"/>
                  <a:gd name="T28" fmla="*/ 30 w 121"/>
                  <a:gd name="T29" fmla="*/ 93 h 139"/>
                  <a:gd name="T30" fmla="*/ 25 w 121"/>
                  <a:gd name="T31" fmla="*/ 89 h 139"/>
                  <a:gd name="T32" fmla="*/ 11 w 121"/>
                  <a:gd name="T33" fmla="*/ 100 h 139"/>
                  <a:gd name="T34" fmla="*/ 9 w 121"/>
                  <a:gd name="T35" fmla="*/ 105 h 139"/>
                  <a:gd name="T36" fmla="*/ 9 w 121"/>
                  <a:gd name="T37" fmla="*/ 114 h 139"/>
                  <a:gd name="T38" fmla="*/ 3 w 121"/>
                  <a:gd name="T39" fmla="*/ 116 h 139"/>
                  <a:gd name="T40" fmla="*/ 0 w 121"/>
                  <a:gd name="T41" fmla="*/ 121 h 139"/>
                  <a:gd name="T42" fmla="*/ 11 w 121"/>
                  <a:gd name="T43" fmla="*/ 130 h 139"/>
                  <a:gd name="T44" fmla="*/ 21 w 121"/>
                  <a:gd name="T45" fmla="*/ 136 h 139"/>
                  <a:gd name="T46" fmla="*/ 27 w 121"/>
                  <a:gd name="T47" fmla="*/ 128 h 139"/>
                  <a:gd name="T48" fmla="*/ 30 w 121"/>
                  <a:gd name="T49" fmla="*/ 134 h 139"/>
                  <a:gd name="T50" fmla="*/ 39 w 121"/>
                  <a:gd name="T51" fmla="*/ 136 h 139"/>
                  <a:gd name="T52" fmla="*/ 43 w 121"/>
                  <a:gd name="T53" fmla="*/ 130 h 139"/>
                  <a:gd name="T54" fmla="*/ 52 w 121"/>
                  <a:gd name="T55" fmla="*/ 130 h 139"/>
                  <a:gd name="T56" fmla="*/ 55 w 121"/>
                  <a:gd name="T57" fmla="*/ 136 h 139"/>
                  <a:gd name="T58" fmla="*/ 71 w 121"/>
                  <a:gd name="T59" fmla="*/ 125 h 139"/>
                  <a:gd name="T60" fmla="*/ 84 w 121"/>
                  <a:gd name="T61" fmla="*/ 93 h 139"/>
                  <a:gd name="T62" fmla="*/ 107 w 121"/>
                  <a:gd name="T63" fmla="*/ 70 h 139"/>
                  <a:gd name="T64" fmla="*/ 121 w 121"/>
                  <a:gd name="T65" fmla="*/ 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39">
                    <a:moveTo>
                      <a:pt x="121" y="0"/>
                    </a:moveTo>
                    <a:lnTo>
                      <a:pt x="119" y="2"/>
                    </a:lnTo>
                    <a:lnTo>
                      <a:pt x="111" y="3"/>
                    </a:lnTo>
                    <a:lnTo>
                      <a:pt x="100" y="0"/>
                    </a:lnTo>
                    <a:lnTo>
                      <a:pt x="94" y="0"/>
                    </a:lnTo>
                    <a:lnTo>
                      <a:pt x="84" y="9"/>
                    </a:lnTo>
                    <a:lnTo>
                      <a:pt x="80" y="14"/>
                    </a:lnTo>
                    <a:lnTo>
                      <a:pt x="80" y="16"/>
                    </a:lnTo>
                    <a:lnTo>
                      <a:pt x="80" y="28"/>
                    </a:lnTo>
                    <a:lnTo>
                      <a:pt x="80" y="32"/>
                    </a:lnTo>
                    <a:lnTo>
                      <a:pt x="78" y="34"/>
                    </a:lnTo>
                    <a:lnTo>
                      <a:pt x="71" y="27"/>
                    </a:lnTo>
                    <a:lnTo>
                      <a:pt x="68" y="28"/>
                    </a:lnTo>
                    <a:lnTo>
                      <a:pt x="61" y="27"/>
                    </a:lnTo>
                    <a:lnTo>
                      <a:pt x="57" y="25"/>
                    </a:lnTo>
                    <a:lnTo>
                      <a:pt x="36" y="25"/>
                    </a:lnTo>
                    <a:lnTo>
                      <a:pt x="34" y="28"/>
                    </a:lnTo>
                    <a:lnTo>
                      <a:pt x="34" y="39"/>
                    </a:lnTo>
                    <a:lnTo>
                      <a:pt x="36" y="41"/>
                    </a:lnTo>
                    <a:lnTo>
                      <a:pt x="41" y="34"/>
                    </a:lnTo>
                    <a:lnTo>
                      <a:pt x="48" y="36"/>
                    </a:lnTo>
                    <a:lnTo>
                      <a:pt x="52" y="39"/>
                    </a:lnTo>
                    <a:lnTo>
                      <a:pt x="52" y="46"/>
                    </a:lnTo>
                    <a:lnTo>
                      <a:pt x="46" y="55"/>
                    </a:lnTo>
                    <a:lnTo>
                      <a:pt x="46" y="59"/>
                    </a:lnTo>
                    <a:lnTo>
                      <a:pt x="52" y="71"/>
                    </a:lnTo>
                    <a:lnTo>
                      <a:pt x="48" y="96"/>
                    </a:lnTo>
                    <a:lnTo>
                      <a:pt x="43" y="98"/>
                    </a:lnTo>
                    <a:lnTo>
                      <a:pt x="37" y="93"/>
                    </a:lnTo>
                    <a:lnTo>
                      <a:pt x="30" y="93"/>
                    </a:lnTo>
                    <a:lnTo>
                      <a:pt x="27" y="89"/>
                    </a:lnTo>
                    <a:lnTo>
                      <a:pt x="25" y="89"/>
                    </a:lnTo>
                    <a:lnTo>
                      <a:pt x="19" y="95"/>
                    </a:lnTo>
                    <a:lnTo>
                      <a:pt x="11" y="100"/>
                    </a:lnTo>
                    <a:lnTo>
                      <a:pt x="9" y="102"/>
                    </a:lnTo>
                    <a:lnTo>
                      <a:pt x="9" y="105"/>
                    </a:lnTo>
                    <a:lnTo>
                      <a:pt x="11" y="112"/>
                    </a:lnTo>
                    <a:lnTo>
                      <a:pt x="9" y="114"/>
                    </a:lnTo>
                    <a:lnTo>
                      <a:pt x="5" y="114"/>
                    </a:lnTo>
                    <a:lnTo>
                      <a:pt x="3" y="116"/>
                    </a:lnTo>
                    <a:lnTo>
                      <a:pt x="2" y="118"/>
                    </a:lnTo>
                    <a:lnTo>
                      <a:pt x="0" y="121"/>
                    </a:lnTo>
                    <a:lnTo>
                      <a:pt x="3" y="123"/>
                    </a:lnTo>
                    <a:lnTo>
                      <a:pt x="11" y="130"/>
                    </a:lnTo>
                    <a:lnTo>
                      <a:pt x="14" y="139"/>
                    </a:lnTo>
                    <a:lnTo>
                      <a:pt x="21" y="136"/>
                    </a:lnTo>
                    <a:lnTo>
                      <a:pt x="23" y="130"/>
                    </a:lnTo>
                    <a:lnTo>
                      <a:pt x="27" y="128"/>
                    </a:lnTo>
                    <a:lnTo>
                      <a:pt x="30" y="130"/>
                    </a:lnTo>
                    <a:lnTo>
                      <a:pt x="30" y="134"/>
                    </a:lnTo>
                    <a:lnTo>
                      <a:pt x="36" y="136"/>
                    </a:lnTo>
                    <a:lnTo>
                      <a:pt x="39" y="136"/>
                    </a:lnTo>
                    <a:lnTo>
                      <a:pt x="41" y="132"/>
                    </a:lnTo>
                    <a:lnTo>
                      <a:pt x="43" y="130"/>
                    </a:lnTo>
                    <a:lnTo>
                      <a:pt x="52" y="128"/>
                    </a:lnTo>
                    <a:lnTo>
                      <a:pt x="52" y="130"/>
                    </a:lnTo>
                    <a:lnTo>
                      <a:pt x="52" y="134"/>
                    </a:lnTo>
                    <a:lnTo>
                      <a:pt x="55" y="136"/>
                    </a:lnTo>
                    <a:lnTo>
                      <a:pt x="62" y="134"/>
                    </a:lnTo>
                    <a:lnTo>
                      <a:pt x="71" y="125"/>
                    </a:lnTo>
                    <a:lnTo>
                      <a:pt x="80" y="114"/>
                    </a:lnTo>
                    <a:lnTo>
                      <a:pt x="84" y="93"/>
                    </a:lnTo>
                    <a:lnTo>
                      <a:pt x="96" y="77"/>
                    </a:lnTo>
                    <a:lnTo>
                      <a:pt x="107" y="70"/>
                    </a:lnTo>
                    <a:lnTo>
                      <a:pt x="112" y="28"/>
                    </a:lnTo>
                    <a:lnTo>
                      <a:pt x="121" y="5"/>
                    </a:lnTo>
                    <a:lnTo>
                      <a:pt x="12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12" name="Freeform 2363"/>
              <p:cNvSpPr>
                <a:spLocks/>
              </p:cNvSpPr>
              <p:nvPr/>
            </p:nvSpPr>
            <p:spPr bwMode="auto">
              <a:xfrm>
                <a:off x="2873" y="2654"/>
                <a:ext cx="121" cy="139"/>
              </a:xfrm>
              <a:custGeom>
                <a:avLst/>
                <a:gdLst>
                  <a:gd name="T0" fmla="*/ 119 w 121"/>
                  <a:gd name="T1" fmla="*/ 2 h 139"/>
                  <a:gd name="T2" fmla="*/ 100 w 121"/>
                  <a:gd name="T3" fmla="*/ 0 h 139"/>
                  <a:gd name="T4" fmla="*/ 84 w 121"/>
                  <a:gd name="T5" fmla="*/ 9 h 139"/>
                  <a:gd name="T6" fmla="*/ 80 w 121"/>
                  <a:gd name="T7" fmla="*/ 16 h 139"/>
                  <a:gd name="T8" fmla="*/ 80 w 121"/>
                  <a:gd name="T9" fmla="*/ 32 h 139"/>
                  <a:gd name="T10" fmla="*/ 71 w 121"/>
                  <a:gd name="T11" fmla="*/ 27 h 139"/>
                  <a:gd name="T12" fmla="*/ 61 w 121"/>
                  <a:gd name="T13" fmla="*/ 27 h 139"/>
                  <a:gd name="T14" fmla="*/ 36 w 121"/>
                  <a:gd name="T15" fmla="*/ 25 h 139"/>
                  <a:gd name="T16" fmla="*/ 34 w 121"/>
                  <a:gd name="T17" fmla="*/ 39 h 139"/>
                  <a:gd name="T18" fmla="*/ 41 w 121"/>
                  <a:gd name="T19" fmla="*/ 34 h 139"/>
                  <a:gd name="T20" fmla="*/ 52 w 121"/>
                  <a:gd name="T21" fmla="*/ 39 h 139"/>
                  <a:gd name="T22" fmla="*/ 46 w 121"/>
                  <a:gd name="T23" fmla="*/ 55 h 139"/>
                  <a:gd name="T24" fmla="*/ 52 w 121"/>
                  <a:gd name="T25" fmla="*/ 71 h 139"/>
                  <a:gd name="T26" fmla="*/ 43 w 121"/>
                  <a:gd name="T27" fmla="*/ 98 h 139"/>
                  <a:gd name="T28" fmla="*/ 30 w 121"/>
                  <a:gd name="T29" fmla="*/ 93 h 139"/>
                  <a:gd name="T30" fmla="*/ 25 w 121"/>
                  <a:gd name="T31" fmla="*/ 89 h 139"/>
                  <a:gd name="T32" fmla="*/ 11 w 121"/>
                  <a:gd name="T33" fmla="*/ 100 h 139"/>
                  <a:gd name="T34" fmla="*/ 9 w 121"/>
                  <a:gd name="T35" fmla="*/ 105 h 139"/>
                  <a:gd name="T36" fmla="*/ 9 w 121"/>
                  <a:gd name="T37" fmla="*/ 114 h 139"/>
                  <a:gd name="T38" fmla="*/ 3 w 121"/>
                  <a:gd name="T39" fmla="*/ 116 h 139"/>
                  <a:gd name="T40" fmla="*/ 0 w 121"/>
                  <a:gd name="T41" fmla="*/ 121 h 139"/>
                  <a:gd name="T42" fmla="*/ 11 w 121"/>
                  <a:gd name="T43" fmla="*/ 130 h 139"/>
                  <a:gd name="T44" fmla="*/ 21 w 121"/>
                  <a:gd name="T45" fmla="*/ 136 h 139"/>
                  <a:gd name="T46" fmla="*/ 27 w 121"/>
                  <a:gd name="T47" fmla="*/ 128 h 139"/>
                  <a:gd name="T48" fmla="*/ 30 w 121"/>
                  <a:gd name="T49" fmla="*/ 134 h 139"/>
                  <a:gd name="T50" fmla="*/ 39 w 121"/>
                  <a:gd name="T51" fmla="*/ 136 h 139"/>
                  <a:gd name="T52" fmla="*/ 43 w 121"/>
                  <a:gd name="T53" fmla="*/ 130 h 139"/>
                  <a:gd name="T54" fmla="*/ 52 w 121"/>
                  <a:gd name="T55" fmla="*/ 130 h 139"/>
                  <a:gd name="T56" fmla="*/ 55 w 121"/>
                  <a:gd name="T57" fmla="*/ 136 h 139"/>
                  <a:gd name="T58" fmla="*/ 71 w 121"/>
                  <a:gd name="T59" fmla="*/ 125 h 139"/>
                  <a:gd name="T60" fmla="*/ 84 w 121"/>
                  <a:gd name="T61" fmla="*/ 93 h 139"/>
                  <a:gd name="T62" fmla="*/ 107 w 121"/>
                  <a:gd name="T63" fmla="*/ 70 h 139"/>
                  <a:gd name="T64" fmla="*/ 121 w 121"/>
                  <a:gd name="T65" fmla="*/ 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39">
                    <a:moveTo>
                      <a:pt x="121" y="0"/>
                    </a:moveTo>
                    <a:lnTo>
                      <a:pt x="119" y="2"/>
                    </a:lnTo>
                    <a:lnTo>
                      <a:pt x="111" y="3"/>
                    </a:lnTo>
                    <a:lnTo>
                      <a:pt x="100" y="0"/>
                    </a:lnTo>
                    <a:lnTo>
                      <a:pt x="94" y="0"/>
                    </a:lnTo>
                    <a:lnTo>
                      <a:pt x="84" y="9"/>
                    </a:lnTo>
                    <a:lnTo>
                      <a:pt x="80" y="14"/>
                    </a:lnTo>
                    <a:lnTo>
                      <a:pt x="80" y="16"/>
                    </a:lnTo>
                    <a:lnTo>
                      <a:pt x="80" y="28"/>
                    </a:lnTo>
                    <a:lnTo>
                      <a:pt x="80" y="32"/>
                    </a:lnTo>
                    <a:lnTo>
                      <a:pt x="78" y="34"/>
                    </a:lnTo>
                    <a:lnTo>
                      <a:pt x="71" y="27"/>
                    </a:lnTo>
                    <a:lnTo>
                      <a:pt x="68" y="28"/>
                    </a:lnTo>
                    <a:lnTo>
                      <a:pt x="61" y="27"/>
                    </a:lnTo>
                    <a:lnTo>
                      <a:pt x="57" y="25"/>
                    </a:lnTo>
                    <a:lnTo>
                      <a:pt x="36" y="25"/>
                    </a:lnTo>
                    <a:lnTo>
                      <a:pt x="34" y="28"/>
                    </a:lnTo>
                    <a:lnTo>
                      <a:pt x="34" y="39"/>
                    </a:lnTo>
                    <a:lnTo>
                      <a:pt x="36" y="41"/>
                    </a:lnTo>
                    <a:lnTo>
                      <a:pt x="41" y="34"/>
                    </a:lnTo>
                    <a:lnTo>
                      <a:pt x="48" y="36"/>
                    </a:lnTo>
                    <a:lnTo>
                      <a:pt x="52" y="39"/>
                    </a:lnTo>
                    <a:lnTo>
                      <a:pt x="52" y="46"/>
                    </a:lnTo>
                    <a:lnTo>
                      <a:pt x="46" y="55"/>
                    </a:lnTo>
                    <a:lnTo>
                      <a:pt x="46" y="59"/>
                    </a:lnTo>
                    <a:lnTo>
                      <a:pt x="52" y="71"/>
                    </a:lnTo>
                    <a:lnTo>
                      <a:pt x="48" y="96"/>
                    </a:lnTo>
                    <a:lnTo>
                      <a:pt x="43" y="98"/>
                    </a:lnTo>
                    <a:lnTo>
                      <a:pt x="37" y="93"/>
                    </a:lnTo>
                    <a:lnTo>
                      <a:pt x="30" y="93"/>
                    </a:lnTo>
                    <a:lnTo>
                      <a:pt x="27" y="89"/>
                    </a:lnTo>
                    <a:lnTo>
                      <a:pt x="25" y="89"/>
                    </a:lnTo>
                    <a:lnTo>
                      <a:pt x="19" y="95"/>
                    </a:lnTo>
                    <a:lnTo>
                      <a:pt x="11" y="100"/>
                    </a:lnTo>
                    <a:lnTo>
                      <a:pt x="9" y="102"/>
                    </a:lnTo>
                    <a:lnTo>
                      <a:pt x="9" y="105"/>
                    </a:lnTo>
                    <a:lnTo>
                      <a:pt x="11" y="112"/>
                    </a:lnTo>
                    <a:lnTo>
                      <a:pt x="9" y="114"/>
                    </a:lnTo>
                    <a:lnTo>
                      <a:pt x="5" y="114"/>
                    </a:lnTo>
                    <a:lnTo>
                      <a:pt x="3" y="116"/>
                    </a:lnTo>
                    <a:lnTo>
                      <a:pt x="2" y="118"/>
                    </a:lnTo>
                    <a:lnTo>
                      <a:pt x="0" y="121"/>
                    </a:lnTo>
                    <a:lnTo>
                      <a:pt x="3" y="123"/>
                    </a:lnTo>
                    <a:lnTo>
                      <a:pt x="11" y="130"/>
                    </a:lnTo>
                    <a:lnTo>
                      <a:pt x="14" y="139"/>
                    </a:lnTo>
                    <a:lnTo>
                      <a:pt x="21" y="136"/>
                    </a:lnTo>
                    <a:lnTo>
                      <a:pt x="23" y="130"/>
                    </a:lnTo>
                    <a:lnTo>
                      <a:pt x="27" y="128"/>
                    </a:lnTo>
                    <a:lnTo>
                      <a:pt x="30" y="130"/>
                    </a:lnTo>
                    <a:lnTo>
                      <a:pt x="30" y="134"/>
                    </a:lnTo>
                    <a:lnTo>
                      <a:pt x="36" y="136"/>
                    </a:lnTo>
                    <a:lnTo>
                      <a:pt x="39" y="136"/>
                    </a:lnTo>
                    <a:lnTo>
                      <a:pt x="41" y="132"/>
                    </a:lnTo>
                    <a:lnTo>
                      <a:pt x="43" y="130"/>
                    </a:lnTo>
                    <a:lnTo>
                      <a:pt x="52" y="128"/>
                    </a:lnTo>
                    <a:lnTo>
                      <a:pt x="52" y="130"/>
                    </a:lnTo>
                    <a:lnTo>
                      <a:pt x="52" y="134"/>
                    </a:lnTo>
                    <a:lnTo>
                      <a:pt x="55" y="136"/>
                    </a:lnTo>
                    <a:lnTo>
                      <a:pt x="62" y="134"/>
                    </a:lnTo>
                    <a:lnTo>
                      <a:pt x="71" y="125"/>
                    </a:lnTo>
                    <a:lnTo>
                      <a:pt x="80" y="114"/>
                    </a:lnTo>
                    <a:lnTo>
                      <a:pt x="84" y="93"/>
                    </a:lnTo>
                    <a:lnTo>
                      <a:pt x="96" y="77"/>
                    </a:lnTo>
                    <a:lnTo>
                      <a:pt x="107" y="70"/>
                    </a:lnTo>
                    <a:lnTo>
                      <a:pt x="112" y="28"/>
                    </a:lnTo>
                    <a:lnTo>
                      <a:pt x="121" y="5"/>
                    </a:lnTo>
                    <a:lnTo>
                      <a:pt x="12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13" name="Freeform 2364"/>
              <p:cNvSpPr>
                <a:spLocks/>
              </p:cNvSpPr>
              <p:nvPr/>
            </p:nvSpPr>
            <p:spPr bwMode="auto">
              <a:xfrm>
                <a:off x="2846" y="2677"/>
                <a:ext cx="30" cy="20"/>
              </a:xfrm>
              <a:custGeom>
                <a:avLst/>
                <a:gdLst>
                  <a:gd name="T0" fmla="*/ 30 w 30"/>
                  <a:gd name="T1" fmla="*/ 0 h 20"/>
                  <a:gd name="T2" fmla="*/ 5 w 30"/>
                  <a:gd name="T3" fmla="*/ 2 h 20"/>
                  <a:gd name="T4" fmla="*/ 5 w 30"/>
                  <a:gd name="T5" fmla="*/ 4 h 20"/>
                  <a:gd name="T6" fmla="*/ 4 w 30"/>
                  <a:gd name="T7" fmla="*/ 7 h 20"/>
                  <a:gd name="T8" fmla="*/ 2 w 30"/>
                  <a:gd name="T9" fmla="*/ 11 h 20"/>
                  <a:gd name="T10" fmla="*/ 0 w 30"/>
                  <a:gd name="T11" fmla="*/ 16 h 20"/>
                  <a:gd name="T12" fmla="*/ 4 w 30"/>
                  <a:gd name="T13" fmla="*/ 18 h 20"/>
                  <a:gd name="T14" fmla="*/ 4 w 30"/>
                  <a:gd name="T15" fmla="*/ 20 h 20"/>
                  <a:gd name="T16" fmla="*/ 4 w 30"/>
                  <a:gd name="T17" fmla="*/ 20 h 20"/>
                  <a:gd name="T18" fmla="*/ 2 w 30"/>
                  <a:gd name="T19" fmla="*/ 20 h 20"/>
                  <a:gd name="T20" fmla="*/ 30 w 30"/>
                  <a:gd name="T21" fmla="*/ 18 h 20"/>
                  <a:gd name="T22" fmla="*/ 30 w 30"/>
                  <a:gd name="T23" fmla="*/ 18 h 20"/>
                  <a:gd name="T24" fmla="*/ 29 w 30"/>
                  <a:gd name="T25" fmla="*/ 4 h 20"/>
                  <a:gd name="T26" fmla="*/ 30 w 30"/>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0">
                    <a:moveTo>
                      <a:pt x="30" y="0"/>
                    </a:moveTo>
                    <a:lnTo>
                      <a:pt x="5" y="2"/>
                    </a:lnTo>
                    <a:lnTo>
                      <a:pt x="5" y="4"/>
                    </a:lnTo>
                    <a:lnTo>
                      <a:pt x="4" y="7"/>
                    </a:lnTo>
                    <a:lnTo>
                      <a:pt x="2" y="11"/>
                    </a:lnTo>
                    <a:lnTo>
                      <a:pt x="0" y="16"/>
                    </a:lnTo>
                    <a:lnTo>
                      <a:pt x="4" y="18"/>
                    </a:lnTo>
                    <a:lnTo>
                      <a:pt x="4" y="20"/>
                    </a:lnTo>
                    <a:lnTo>
                      <a:pt x="4" y="20"/>
                    </a:lnTo>
                    <a:lnTo>
                      <a:pt x="2" y="20"/>
                    </a:lnTo>
                    <a:lnTo>
                      <a:pt x="30" y="18"/>
                    </a:lnTo>
                    <a:lnTo>
                      <a:pt x="30" y="18"/>
                    </a:lnTo>
                    <a:lnTo>
                      <a:pt x="29" y="4"/>
                    </a:lnTo>
                    <a:lnTo>
                      <a:pt x="3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14" name="Freeform 2365"/>
              <p:cNvSpPr>
                <a:spLocks/>
              </p:cNvSpPr>
              <p:nvPr/>
            </p:nvSpPr>
            <p:spPr bwMode="auto">
              <a:xfrm>
                <a:off x="2846" y="2677"/>
                <a:ext cx="30" cy="20"/>
              </a:xfrm>
              <a:custGeom>
                <a:avLst/>
                <a:gdLst>
                  <a:gd name="T0" fmla="*/ 30 w 30"/>
                  <a:gd name="T1" fmla="*/ 0 h 20"/>
                  <a:gd name="T2" fmla="*/ 5 w 30"/>
                  <a:gd name="T3" fmla="*/ 2 h 20"/>
                  <a:gd name="T4" fmla="*/ 5 w 30"/>
                  <a:gd name="T5" fmla="*/ 4 h 20"/>
                  <a:gd name="T6" fmla="*/ 4 w 30"/>
                  <a:gd name="T7" fmla="*/ 7 h 20"/>
                  <a:gd name="T8" fmla="*/ 2 w 30"/>
                  <a:gd name="T9" fmla="*/ 11 h 20"/>
                  <a:gd name="T10" fmla="*/ 0 w 30"/>
                  <a:gd name="T11" fmla="*/ 16 h 20"/>
                  <a:gd name="T12" fmla="*/ 4 w 30"/>
                  <a:gd name="T13" fmla="*/ 18 h 20"/>
                  <a:gd name="T14" fmla="*/ 4 w 30"/>
                  <a:gd name="T15" fmla="*/ 20 h 20"/>
                  <a:gd name="T16" fmla="*/ 4 w 30"/>
                  <a:gd name="T17" fmla="*/ 20 h 20"/>
                  <a:gd name="T18" fmla="*/ 2 w 30"/>
                  <a:gd name="T19" fmla="*/ 20 h 20"/>
                  <a:gd name="T20" fmla="*/ 30 w 30"/>
                  <a:gd name="T21" fmla="*/ 18 h 20"/>
                  <a:gd name="T22" fmla="*/ 30 w 30"/>
                  <a:gd name="T23" fmla="*/ 18 h 20"/>
                  <a:gd name="T24" fmla="*/ 29 w 30"/>
                  <a:gd name="T25" fmla="*/ 4 h 20"/>
                  <a:gd name="T26" fmla="*/ 30 w 30"/>
                  <a:gd name="T2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0">
                    <a:moveTo>
                      <a:pt x="30" y="0"/>
                    </a:moveTo>
                    <a:lnTo>
                      <a:pt x="5" y="2"/>
                    </a:lnTo>
                    <a:lnTo>
                      <a:pt x="5" y="4"/>
                    </a:lnTo>
                    <a:lnTo>
                      <a:pt x="4" y="7"/>
                    </a:lnTo>
                    <a:lnTo>
                      <a:pt x="2" y="11"/>
                    </a:lnTo>
                    <a:lnTo>
                      <a:pt x="0" y="16"/>
                    </a:lnTo>
                    <a:lnTo>
                      <a:pt x="4" y="18"/>
                    </a:lnTo>
                    <a:lnTo>
                      <a:pt x="4" y="20"/>
                    </a:lnTo>
                    <a:lnTo>
                      <a:pt x="4" y="20"/>
                    </a:lnTo>
                    <a:lnTo>
                      <a:pt x="2" y="20"/>
                    </a:lnTo>
                    <a:lnTo>
                      <a:pt x="30" y="18"/>
                    </a:lnTo>
                    <a:lnTo>
                      <a:pt x="30" y="18"/>
                    </a:lnTo>
                    <a:lnTo>
                      <a:pt x="29" y="4"/>
                    </a:lnTo>
                    <a:lnTo>
                      <a:pt x="3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15" name="Freeform 2366"/>
              <p:cNvSpPr>
                <a:spLocks/>
              </p:cNvSpPr>
              <p:nvPr/>
            </p:nvSpPr>
            <p:spPr bwMode="auto">
              <a:xfrm>
                <a:off x="3280" y="2420"/>
                <a:ext cx="105" cy="95"/>
              </a:xfrm>
              <a:custGeom>
                <a:avLst/>
                <a:gdLst>
                  <a:gd name="T0" fmla="*/ 29 w 105"/>
                  <a:gd name="T1" fmla="*/ 7 h 95"/>
                  <a:gd name="T2" fmla="*/ 14 w 105"/>
                  <a:gd name="T3" fmla="*/ 14 h 95"/>
                  <a:gd name="T4" fmla="*/ 9 w 105"/>
                  <a:gd name="T5" fmla="*/ 16 h 95"/>
                  <a:gd name="T6" fmla="*/ 0 w 105"/>
                  <a:gd name="T7" fmla="*/ 64 h 95"/>
                  <a:gd name="T8" fmla="*/ 5 w 105"/>
                  <a:gd name="T9" fmla="*/ 64 h 95"/>
                  <a:gd name="T10" fmla="*/ 7 w 105"/>
                  <a:gd name="T11" fmla="*/ 64 h 95"/>
                  <a:gd name="T12" fmla="*/ 9 w 105"/>
                  <a:gd name="T13" fmla="*/ 62 h 95"/>
                  <a:gd name="T14" fmla="*/ 12 w 105"/>
                  <a:gd name="T15" fmla="*/ 61 h 95"/>
                  <a:gd name="T16" fmla="*/ 12 w 105"/>
                  <a:gd name="T17" fmla="*/ 64 h 95"/>
                  <a:gd name="T18" fmla="*/ 21 w 105"/>
                  <a:gd name="T19" fmla="*/ 54 h 95"/>
                  <a:gd name="T20" fmla="*/ 27 w 105"/>
                  <a:gd name="T21" fmla="*/ 57 h 95"/>
                  <a:gd name="T22" fmla="*/ 27 w 105"/>
                  <a:gd name="T23" fmla="*/ 59 h 95"/>
                  <a:gd name="T24" fmla="*/ 32 w 105"/>
                  <a:gd name="T25" fmla="*/ 62 h 95"/>
                  <a:gd name="T26" fmla="*/ 37 w 105"/>
                  <a:gd name="T27" fmla="*/ 61 h 95"/>
                  <a:gd name="T28" fmla="*/ 39 w 105"/>
                  <a:gd name="T29" fmla="*/ 59 h 95"/>
                  <a:gd name="T30" fmla="*/ 43 w 105"/>
                  <a:gd name="T31" fmla="*/ 59 h 95"/>
                  <a:gd name="T32" fmla="*/ 43 w 105"/>
                  <a:gd name="T33" fmla="*/ 61 h 95"/>
                  <a:gd name="T34" fmla="*/ 46 w 105"/>
                  <a:gd name="T35" fmla="*/ 61 h 95"/>
                  <a:gd name="T36" fmla="*/ 48 w 105"/>
                  <a:gd name="T37" fmla="*/ 59 h 95"/>
                  <a:gd name="T38" fmla="*/ 52 w 105"/>
                  <a:gd name="T39" fmla="*/ 61 h 95"/>
                  <a:gd name="T40" fmla="*/ 54 w 105"/>
                  <a:gd name="T41" fmla="*/ 62 h 95"/>
                  <a:gd name="T42" fmla="*/ 59 w 105"/>
                  <a:gd name="T43" fmla="*/ 61 h 95"/>
                  <a:gd name="T44" fmla="*/ 68 w 105"/>
                  <a:gd name="T45" fmla="*/ 66 h 95"/>
                  <a:gd name="T46" fmla="*/ 82 w 105"/>
                  <a:gd name="T47" fmla="*/ 82 h 95"/>
                  <a:gd name="T48" fmla="*/ 91 w 105"/>
                  <a:gd name="T49" fmla="*/ 91 h 95"/>
                  <a:gd name="T50" fmla="*/ 95 w 105"/>
                  <a:gd name="T51" fmla="*/ 93 h 95"/>
                  <a:gd name="T52" fmla="*/ 104 w 105"/>
                  <a:gd name="T53" fmla="*/ 86 h 95"/>
                  <a:gd name="T54" fmla="*/ 100 w 105"/>
                  <a:gd name="T55" fmla="*/ 86 h 95"/>
                  <a:gd name="T56" fmla="*/ 98 w 105"/>
                  <a:gd name="T57" fmla="*/ 82 h 95"/>
                  <a:gd name="T58" fmla="*/ 96 w 105"/>
                  <a:gd name="T59" fmla="*/ 82 h 95"/>
                  <a:gd name="T60" fmla="*/ 93 w 105"/>
                  <a:gd name="T61" fmla="*/ 77 h 95"/>
                  <a:gd name="T62" fmla="*/ 93 w 105"/>
                  <a:gd name="T63" fmla="*/ 75 h 95"/>
                  <a:gd name="T64" fmla="*/ 89 w 105"/>
                  <a:gd name="T65" fmla="*/ 75 h 95"/>
                  <a:gd name="T66" fmla="*/ 87 w 105"/>
                  <a:gd name="T67" fmla="*/ 71 h 95"/>
                  <a:gd name="T68" fmla="*/ 84 w 105"/>
                  <a:gd name="T69" fmla="*/ 70 h 95"/>
                  <a:gd name="T70" fmla="*/ 84 w 105"/>
                  <a:gd name="T71" fmla="*/ 70 h 95"/>
                  <a:gd name="T72" fmla="*/ 77 w 105"/>
                  <a:gd name="T73" fmla="*/ 59 h 95"/>
                  <a:gd name="T74" fmla="*/ 71 w 105"/>
                  <a:gd name="T75" fmla="*/ 57 h 95"/>
                  <a:gd name="T76" fmla="*/ 68 w 105"/>
                  <a:gd name="T77" fmla="*/ 57 h 95"/>
                  <a:gd name="T78" fmla="*/ 66 w 105"/>
                  <a:gd name="T79" fmla="*/ 54 h 95"/>
                  <a:gd name="T80" fmla="*/ 62 w 105"/>
                  <a:gd name="T81" fmla="*/ 52 h 95"/>
                  <a:gd name="T82" fmla="*/ 61 w 105"/>
                  <a:gd name="T83" fmla="*/ 54 h 95"/>
                  <a:gd name="T84" fmla="*/ 57 w 105"/>
                  <a:gd name="T85" fmla="*/ 50 h 95"/>
                  <a:gd name="T86" fmla="*/ 57 w 105"/>
                  <a:gd name="T87" fmla="*/ 48 h 95"/>
                  <a:gd name="T88" fmla="*/ 57 w 105"/>
                  <a:gd name="T89" fmla="*/ 45 h 95"/>
                  <a:gd name="T90" fmla="*/ 55 w 105"/>
                  <a:gd name="T91" fmla="*/ 45 h 95"/>
                  <a:gd name="T92" fmla="*/ 52 w 105"/>
                  <a:gd name="T93" fmla="*/ 45 h 95"/>
                  <a:gd name="T94" fmla="*/ 54 w 105"/>
                  <a:gd name="T95" fmla="*/ 48 h 95"/>
                  <a:gd name="T96" fmla="*/ 52 w 105"/>
                  <a:gd name="T97" fmla="*/ 50 h 95"/>
                  <a:gd name="T98" fmla="*/ 52 w 105"/>
                  <a:gd name="T99" fmla="*/ 48 h 95"/>
                  <a:gd name="T100" fmla="*/ 50 w 105"/>
                  <a:gd name="T101" fmla="*/ 46 h 95"/>
                  <a:gd name="T102" fmla="*/ 48 w 105"/>
                  <a:gd name="T103" fmla="*/ 43 h 95"/>
                  <a:gd name="T104" fmla="*/ 46 w 105"/>
                  <a:gd name="T105" fmla="*/ 41 h 95"/>
                  <a:gd name="T106" fmla="*/ 46 w 105"/>
                  <a:gd name="T107" fmla="*/ 39 h 95"/>
                  <a:gd name="T108" fmla="*/ 43 w 105"/>
                  <a:gd name="T109" fmla="*/ 36 h 95"/>
                  <a:gd name="T110" fmla="*/ 32 w 105"/>
                  <a:gd name="T11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5" h="95">
                    <a:moveTo>
                      <a:pt x="32" y="0"/>
                    </a:moveTo>
                    <a:lnTo>
                      <a:pt x="29" y="7"/>
                    </a:lnTo>
                    <a:lnTo>
                      <a:pt x="16" y="12"/>
                    </a:lnTo>
                    <a:lnTo>
                      <a:pt x="14" y="14"/>
                    </a:lnTo>
                    <a:lnTo>
                      <a:pt x="12" y="16"/>
                    </a:lnTo>
                    <a:lnTo>
                      <a:pt x="9" y="16"/>
                    </a:lnTo>
                    <a:lnTo>
                      <a:pt x="0" y="59"/>
                    </a:lnTo>
                    <a:lnTo>
                      <a:pt x="0" y="64"/>
                    </a:lnTo>
                    <a:lnTo>
                      <a:pt x="2" y="64"/>
                    </a:lnTo>
                    <a:lnTo>
                      <a:pt x="5" y="64"/>
                    </a:lnTo>
                    <a:lnTo>
                      <a:pt x="7" y="64"/>
                    </a:lnTo>
                    <a:lnTo>
                      <a:pt x="7" y="64"/>
                    </a:lnTo>
                    <a:lnTo>
                      <a:pt x="9" y="64"/>
                    </a:lnTo>
                    <a:lnTo>
                      <a:pt x="9" y="62"/>
                    </a:lnTo>
                    <a:lnTo>
                      <a:pt x="9" y="61"/>
                    </a:lnTo>
                    <a:lnTo>
                      <a:pt x="12" y="61"/>
                    </a:lnTo>
                    <a:lnTo>
                      <a:pt x="12" y="62"/>
                    </a:lnTo>
                    <a:lnTo>
                      <a:pt x="12" y="64"/>
                    </a:lnTo>
                    <a:lnTo>
                      <a:pt x="16" y="68"/>
                    </a:lnTo>
                    <a:lnTo>
                      <a:pt x="21" y="54"/>
                    </a:lnTo>
                    <a:lnTo>
                      <a:pt x="25" y="57"/>
                    </a:lnTo>
                    <a:lnTo>
                      <a:pt x="27" y="57"/>
                    </a:lnTo>
                    <a:lnTo>
                      <a:pt x="27" y="57"/>
                    </a:lnTo>
                    <a:lnTo>
                      <a:pt x="27" y="59"/>
                    </a:lnTo>
                    <a:lnTo>
                      <a:pt x="30" y="62"/>
                    </a:lnTo>
                    <a:lnTo>
                      <a:pt x="32" y="62"/>
                    </a:lnTo>
                    <a:lnTo>
                      <a:pt x="34" y="61"/>
                    </a:lnTo>
                    <a:lnTo>
                      <a:pt x="37" y="61"/>
                    </a:lnTo>
                    <a:lnTo>
                      <a:pt x="39" y="59"/>
                    </a:lnTo>
                    <a:lnTo>
                      <a:pt x="39" y="59"/>
                    </a:lnTo>
                    <a:lnTo>
                      <a:pt x="41" y="59"/>
                    </a:lnTo>
                    <a:lnTo>
                      <a:pt x="43" y="59"/>
                    </a:lnTo>
                    <a:lnTo>
                      <a:pt x="43" y="61"/>
                    </a:lnTo>
                    <a:lnTo>
                      <a:pt x="43" y="61"/>
                    </a:lnTo>
                    <a:lnTo>
                      <a:pt x="45" y="61"/>
                    </a:lnTo>
                    <a:lnTo>
                      <a:pt x="46" y="61"/>
                    </a:lnTo>
                    <a:lnTo>
                      <a:pt x="48" y="59"/>
                    </a:lnTo>
                    <a:lnTo>
                      <a:pt x="48" y="59"/>
                    </a:lnTo>
                    <a:lnTo>
                      <a:pt x="50" y="61"/>
                    </a:lnTo>
                    <a:lnTo>
                      <a:pt x="52" y="61"/>
                    </a:lnTo>
                    <a:lnTo>
                      <a:pt x="54" y="62"/>
                    </a:lnTo>
                    <a:lnTo>
                      <a:pt x="54" y="62"/>
                    </a:lnTo>
                    <a:lnTo>
                      <a:pt x="55" y="61"/>
                    </a:lnTo>
                    <a:lnTo>
                      <a:pt x="59" y="61"/>
                    </a:lnTo>
                    <a:lnTo>
                      <a:pt x="64" y="66"/>
                    </a:lnTo>
                    <a:lnTo>
                      <a:pt x="68" y="66"/>
                    </a:lnTo>
                    <a:lnTo>
                      <a:pt x="75" y="75"/>
                    </a:lnTo>
                    <a:lnTo>
                      <a:pt x="82" y="82"/>
                    </a:lnTo>
                    <a:lnTo>
                      <a:pt x="86" y="87"/>
                    </a:lnTo>
                    <a:lnTo>
                      <a:pt x="91" y="91"/>
                    </a:lnTo>
                    <a:lnTo>
                      <a:pt x="95" y="95"/>
                    </a:lnTo>
                    <a:lnTo>
                      <a:pt x="95" y="93"/>
                    </a:lnTo>
                    <a:lnTo>
                      <a:pt x="105" y="87"/>
                    </a:lnTo>
                    <a:lnTo>
                      <a:pt x="104" y="86"/>
                    </a:lnTo>
                    <a:lnTo>
                      <a:pt x="102" y="87"/>
                    </a:lnTo>
                    <a:lnTo>
                      <a:pt x="100" y="86"/>
                    </a:lnTo>
                    <a:lnTo>
                      <a:pt x="100" y="86"/>
                    </a:lnTo>
                    <a:lnTo>
                      <a:pt x="98" y="82"/>
                    </a:lnTo>
                    <a:lnTo>
                      <a:pt x="98" y="82"/>
                    </a:lnTo>
                    <a:lnTo>
                      <a:pt x="96" y="82"/>
                    </a:lnTo>
                    <a:lnTo>
                      <a:pt x="95" y="82"/>
                    </a:lnTo>
                    <a:lnTo>
                      <a:pt x="93" y="77"/>
                    </a:lnTo>
                    <a:lnTo>
                      <a:pt x="93" y="77"/>
                    </a:lnTo>
                    <a:lnTo>
                      <a:pt x="93" y="75"/>
                    </a:lnTo>
                    <a:lnTo>
                      <a:pt x="91" y="75"/>
                    </a:lnTo>
                    <a:lnTo>
                      <a:pt x="89" y="75"/>
                    </a:lnTo>
                    <a:lnTo>
                      <a:pt x="87" y="71"/>
                    </a:lnTo>
                    <a:lnTo>
                      <a:pt x="87" y="71"/>
                    </a:lnTo>
                    <a:lnTo>
                      <a:pt x="86" y="71"/>
                    </a:lnTo>
                    <a:lnTo>
                      <a:pt x="84" y="70"/>
                    </a:lnTo>
                    <a:lnTo>
                      <a:pt x="84" y="70"/>
                    </a:lnTo>
                    <a:lnTo>
                      <a:pt x="84" y="70"/>
                    </a:lnTo>
                    <a:lnTo>
                      <a:pt x="84" y="68"/>
                    </a:lnTo>
                    <a:lnTo>
                      <a:pt x="77" y="59"/>
                    </a:lnTo>
                    <a:lnTo>
                      <a:pt x="75" y="57"/>
                    </a:lnTo>
                    <a:lnTo>
                      <a:pt x="71" y="57"/>
                    </a:lnTo>
                    <a:lnTo>
                      <a:pt x="70" y="57"/>
                    </a:lnTo>
                    <a:lnTo>
                      <a:pt x="68" y="57"/>
                    </a:lnTo>
                    <a:lnTo>
                      <a:pt x="68" y="55"/>
                    </a:lnTo>
                    <a:lnTo>
                      <a:pt x="66" y="54"/>
                    </a:lnTo>
                    <a:lnTo>
                      <a:pt x="64" y="52"/>
                    </a:lnTo>
                    <a:lnTo>
                      <a:pt x="62" y="52"/>
                    </a:lnTo>
                    <a:lnTo>
                      <a:pt x="61" y="54"/>
                    </a:lnTo>
                    <a:lnTo>
                      <a:pt x="61" y="54"/>
                    </a:lnTo>
                    <a:lnTo>
                      <a:pt x="59" y="54"/>
                    </a:lnTo>
                    <a:lnTo>
                      <a:pt x="57" y="50"/>
                    </a:lnTo>
                    <a:lnTo>
                      <a:pt x="57" y="48"/>
                    </a:lnTo>
                    <a:lnTo>
                      <a:pt x="57" y="48"/>
                    </a:lnTo>
                    <a:lnTo>
                      <a:pt x="57" y="46"/>
                    </a:lnTo>
                    <a:lnTo>
                      <a:pt x="57" y="45"/>
                    </a:lnTo>
                    <a:lnTo>
                      <a:pt x="55" y="45"/>
                    </a:lnTo>
                    <a:lnTo>
                      <a:pt x="55" y="45"/>
                    </a:lnTo>
                    <a:lnTo>
                      <a:pt x="54" y="45"/>
                    </a:lnTo>
                    <a:lnTo>
                      <a:pt x="52" y="45"/>
                    </a:lnTo>
                    <a:lnTo>
                      <a:pt x="54" y="46"/>
                    </a:lnTo>
                    <a:lnTo>
                      <a:pt x="54" y="48"/>
                    </a:lnTo>
                    <a:lnTo>
                      <a:pt x="54" y="50"/>
                    </a:lnTo>
                    <a:lnTo>
                      <a:pt x="52" y="50"/>
                    </a:lnTo>
                    <a:lnTo>
                      <a:pt x="52" y="48"/>
                    </a:lnTo>
                    <a:lnTo>
                      <a:pt x="52" y="48"/>
                    </a:lnTo>
                    <a:lnTo>
                      <a:pt x="52" y="46"/>
                    </a:lnTo>
                    <a:lnTo>
                      <a:pt x="50" y="46"/>
                    </a:lnTo>
                    <a:lnTo>
                      <a:pt x="50" y="43"/>
                    </a:lnTo>
                    <a:lnTo>
                      <a:pt x="48" y="43"/>
                    </a:lnTo>
                    <a:lnTo>
                      <a:pt x="48" y="43"/>
                    </a:lnTo>
                    <a:lnTo>
                      <a:pt x="46" y="41"/>
                    </a:lnTo>
                    <a:lnTo>
                      <a:pt x="46" y="41"/>
                    </a:lnTo>
                    <a:lnTo>
                      <a:pt x="46" y="39"/>
                    </a:lnTo>
                    <a:lnTo>
                      <a:pt x="46" y="37"/>
                    </a:lnTo>
                    <a:lnTo>
                      <a:pt x="43" y="36"/>
                    </a:lnTo>
                    <a:lnTo>
                      <a:pt x="37" y="9"/>
                    </a:lnTo>
                    <a:lnTo>
                      <a:pt x="32" y="0"/>
                    </a:lnTo>
                    <a:lnTo>
                      <a:pt x="3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16" name="Freeform 2367"/>
              <p:cNvSpPr>
                <a:spLocks/>
              </p:cNvSpPr>
              <p:nvPr/>
            </p:nvSpPr>
            <p:spPr bwMode="auto">
              <a:xfrm>
                <a:off x="3280" y="2420"/>
                <a:ext cx="105" cy="95"/>
              </a:xfrm>
              <a:custGeom>
                <a:avLst/>
                <a:gdLst>
                  <a:gd name="T0" fmla="*/ 29 w 105"/>
                  <a:gd name="T1" fmla="*/ 7 h 95"/>
                  <a:gd name="T2" fmla="*/ 14 w 105"/>
                  <a:gd name="T3" fmla="*/ 14 h 95"/>
                  <a:gd name="T4" fmla="*/ 9 w 105"/>
                  <a:gd name="T5" fmla="*/ 16 h 95"/>
                  <a:gd name="T6" fmla="*/ 0 w 105"/>
                  <a:gd name="T7" fmla="*/ 64 h 95"/>
                  <a:gd name="T8" fmla="*/ 5 w 105"/>
                  <a:gd name="T9" fmla="*/ 64 h 95"/>
                  <a:gd name="T10" fmla="*/ 7 w 105"/>
                  <a:gd name="T11" fmla="*/ 64 h 95"/>
                  <a:gd name="T12" fmla="*/ 9 w 105"/>
                  <a:gd name="T13" fmla="*/ 62 h 95"/>
                  <a:gd name="T14" fmla="*/ 12 w 105"/>
                  <a:gd name="T15" fmla="*/ 61 h 95"/>
                  <a:gd name="T16" fmla="*/ 12 w 105"/>
                  <a:gd name="T17" fmla="*/ 64 h 95"/>
                  <a:gd name="T18" fmla="*/ 21 w 105"/>
                  <a:gd name="T19" fmla="*/ 54 h 95"/>
                  <a:gd name="T20" fmla="*/ 27 w 105"/>
                  <a:gd name="T21" fmla="*/ 57 h 95"/>
                  <a:gd name="T22" fmla="*/ 27 w 105"/>
                  <a:gd name="T23" fmla="*/ 59 h 95"/>
                  <a:gd name="T24" fmla="*/ 32 w 105"/>
                  <a:gd name="T25" fmla="*/ 62 h 95"/>
                  <a:gd name="T26" fmla="*/ 37 w 105"/>
                  <a:gd name="T27" fmla="*/ 61 h 95"/>
                  <a:gd name="T28" fmla="*/ 39 w 105"/>
                  <a:gd name="T29" fmla="*/ 59 h 95"/>
                  <a:gd name="T30" fmla="*/ 43 w 105"/>
                  <a:gd name="T31" fmla="*/ 59 h 95"/>
                  <a:gd name="T32" fmla="*/ 43 w 105"/>
                  <a:gd name="T33" fmla="*/ 61 h 95"/>
                  <a:gd name="T34" fmla="*/ 46 w 105"/>
                  <a:gd name="T35" fmla="*/ 61 h 95"/>
                  <a:gd name="T36" fmla="*/ 48 w 105"/>
                  <a:gd name="T37" fmla="*/ 59 h 95"/>
                  <a:gd name="T38" fmla="*/ 52 w 105"/>
                  <a:gd name="T39" fmla="*/ 61 h 95"/>
                  <a:gd name="T40" fmla="*/ 54 w 105"/>
                  <a:gd name="T41" fmla="*/ 62 h 95"/>
                  <a:gd name="T42" fmla="*/ 59 w 105"/>
                  <a:gd name="T43" fmla="*/ 61 h 95"/>
                  <a:gd name="T44" fmla="*/ 68 w 105"/>
                  <a:gd name="T45" fmla="*/ 66 h 95"/>
                  <a:gd name="T46" fmla="*/ 82 w 105"/>
                  <a:gd name="T47" fmla="*/ 82 h 95"/>
                  <a:gd name="T48" fmla="*/ 91 w 105"/>
                  <a:gd name="T49" fmla="*/ 91 h 95"/>
                  <a:gd name="T50" fmla="*/ 95 w 105"/>
                  <a:gd name="T51" fmla="*/ 93 h 95"/>
                  <a:gd name="T52" fmla="*/ 104 w 105"/>
                  <a:gd name="T53" fmla="*/ 86 h 95"/>
                  <a:gd name="T54" fmla="*/ 100 w 105"/>
                  <a:gd name="T55" fmla="*/ 86 h 95"/>
                  <a:gd name="T56" fmla="*/ 98 w 105"/>
                  <a:gd name="T57" fmla="*/ 82 h 95"/>
                  <a:gd name="T58" fmla="*/ 96 w 105"/>
                  <a:gd name="T59" fmla="*/ 82 h 95"/>
                  <a:gd name="T60" fmla="*/ 93 w 105"/>
                  <a:gd name="T61" fmla="*/ 77 h 95"/>
                  <a:gd name="T62" fmla="*/ 93 w 105"/>
                  <a:gd name="T63" fmla="*/ 75 h 95"/>
                  <a:gd name="T64" fmla="*/ 89 w 105"/>
                  <a:gd name="T65" fmla="*/ 75 h 95"/>
                  <a:gd name="T66" fmla="*/ 87 w 105"/>
                  <a:gd name="T67" fmla="*/ 71 h 95"/>
                  <a:gd name="T68" fmla="*/ 84 w 105"/>
                  <a:gd name="T69" fmla="*/ 70 h 95"/>
                  <a:gd name="T70" fmla="*/ 84 w 105"/>
                  <a:gd name="T71" fmla="*/ 70 h 95"/>
                  <a:gd name="T72" fmla="*/ 77 w 105"/>
                  <a:gd name="T73" fmla="*/ 59 h 95"/>
                  <a:gd name="T74" fmla="*/ 71 w 105"/>
                  <a:gd name="T75" fmla="*/ 57 h 95"/>
                  <a:gd name="T76" fmla="*/ 68 w 105"/>
                  <a:gd name="T77" fmla="*/ 57 h 95"/>
                  <a:gd name="T78" fmla="*/ 66 w 105"/>
                  <a:gd name="T79" fmla="*/ 54 h 95"/>
                  <a:gd name="T80" fmla="*/ 62 w 105"/>
                  <a:gd name="T81" fmla="*/ 52 h 95"/>
                  <a:gd name="T82" fmla="*/ 61 w 105"/>
                  <a:gd name="T83" fmla="*/ 54 h 95"/>
                  <a:gd name="T84" fmla="*/ 57 w 105"/>
                  <a:gd name="T85" fmla="*/ 50 h 95"/>
                  <a:gd name="T86" fmla="*/ 57 w 105"/>
                  <a:gd name="T87" fmla="*/ 48 h 95"/>
                  <a:gd name="T88" fmla="*/ 57 w 105"/>
                  <a:gd name="T89" fmla="*/ 45 h 95"/>
                  <a:gd name="T90" fmla="*/ 55 w 105"/>
                  <a:gd name="T91" fmla="*/ 45 h 95"/>
                  <a:gd name="T92" fmla="*/ 52 w 105"/>
                  <a:gd name="T93" fmla="*/ 45 h 95"/>
                  <a:gd name="T94" fmla="*/ 54 w 105"/>
                  <a:gd name="T95" fmla="*/ 48 h 95"/>
                  <a:gd name="T96" fmla="*/ 52 w 105"/>
                  <a:gd name="T97" fmla="*/ 50 h 95"/>
                  <a:gd name="T98" fmla="*/ 52 w 105"/>
                  <a:gd name="T99" fmla="*/ 48 h 95"/>
                  <a:gd name="T100" fmla="*/ 50 w 105"/>
                  <a:gd name="T101" fmla="*/ 46 h 95"/>
                  <a:gd name="T102" fmla="*/ 48 w 105"/>
                  <a:gd name="T103" fmla="*/ 43 h 95"/>
                  <a:gd name="T104" fmla="*/ 46 w 105"/>
                  <a:gd name="T105" fmla="*/ 41 h 95"/>
                  <a:gd name="T106" fmla="*/ 46 w 105"/>
                  <a:gd name="T107" fmla="*/ 39 h 95"/>
                  <a:gd name="T108" fmla="*/ 43 w 105"/>
                  <a:gd name="T109" fmla="*/ 36 h 95"/>
                  <a:gd name="T110" fmla="*/ 32 w 105"/>
                  <a:gd name="T111"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5" h="95">
                    <a:moveTo>
                      <a:pt x="32" y="0"/>
                    </a:moveTo>
                    <a:lnTo>
                      <a:pt x="29" y="7"/>
                    </a:lnTo>
                    <a:lnTo>
                      <a:pt x="16" y="12"/>
                    </a:lnTo>
                    <a:lnTo>
                      <a:pt x="14" y="14"/>
                    </a:lnTo>
                    <a:lnTo>
                      <a:pt x="12" y="16"/>
                    </a:lnTo>
                    <a:lnTo>
                      <a:pt x="9" y="16"/>
                    </a:lnTo>
                    <a:lnTo>
                      <a:pt x="0" y="59"/>
                    </a:lnTo>
                    <a:lnTo>
                      <a:pt x="0" y="64"/>
                    </a:lnTo>
                    <a:lnTo>
                      <a:pt x="2" y="64"/>
                    </a:lnTo>
                    <a:lnTo>
                      <a:pt x="5" y="64"/>
                    </a:lnTo>
                    <a:lnTo>
                      <a:pt x="7" y="64"/>
                    </a:lnTo>
                    <a:lnTo>
                      <a:pt x="7" y="64"/>
                    </a:lnTo>
                    <a:lnTo>
                      <a:pt x="9" y="64"/>
                    </a:lnTo>
                    <a:lnTo>
                      <a:pt x="9" y="62"/>
                    </a:lnTo>
                    <a:lnTo>
                      <a:pt x="9" y="61"/>
                    </a:lnTo>
                    <a:lnTo>
                      <a:pt x="12" y="61"/>
                    </a:lnTo>
                    <a:lnTo>
                      <a:pt x="12" y="62"/>
                    </a:lnTo>
                    <a:lnTo>
                      <a:pt x="12" y="64"/>
                    </a:lnTo>
                    <a:lnTo>
                      <a:pt x="16" y="68"/>
                    </a:lnTo>
                    <a:lnTo>
                      <a:pt x="21" y="54"/>
                    </a:lnTo>
                    <a:lnTo>
                      <a:pt x="25" y="57"/>
                    </a:lnTo>
                    <a:lnTo>
                      <a:pt x="27" y="57"/>
                    </a:lnTo>
                    <a:lnTo>
                      <a:pt x="27" y="57"/>
                    </a:lnTo>
                    <a:lnTo>
                      <a:pt x="27" y="59"/>
                    </a:lnTo>
                    <a:lnTo>
                      <a:pt x="30" y="62"/>
                    </a:lnTo>
                    <a:lnTo>
                      <a:pt x="32" y="62"/>
                    </a:lnTo>
                    <a:lnTo>
                      <a:pt x="34" y="61"/>
                    </a:lnTo>
                    <a:lnTo>
                      <a:pt x="37" y="61"/>
                    </a:lnTo>
                    <a:lnTo>
                      <a:pt x="39" y="59"/>
                    </a:lnTo>
                    <a:lnTo>
                      <a:pt x="39" y="59"/>
                    </a:lnTo>
                    <a:lnTo>
                      <a:pt x="41" y="59"/>
                    </a:lnTo>
                    <a:lnTo>
                      <a:pt x="43" y="59"/>
                    </a:lnTo>
                    <a:lnTo>
                      <a:pt x="43" y="61"/>
                    </a:lnTo>
                    <a:lnTo>
                      <a:pt x="43" y="61"/>
                    </a:lnTo>
                    <a:lnTo>
                      <a:pt x="45" y="61"/>
                    </a:lnTo>
                    <a:lnTo>
                      <a:pt x="46" y="61"/>
                    </a:lnTo>
                    <a:lnTo>
                      <a:pt x="48" y="59"/>
                    </a:lnTo>
                    <a:lnTo>
                      <a:pt x="48" y="59"/>
                    </a:lnTo>
                    <a:lnTo>
                      <a:pt x="50" y="61"/>
                    </a:lnTo>
                    <a:lnTo>
                      <a:pt x="52" y="61"/>
                    </a:lnTo>
                    <a:lnTo>
                      <a:pt x="54" y="62"/>
                    </a:lnTo>
                    <a:lnTo>
                      <a:pt x="54" y="62"/>
                    </a:lnTo>
                    <a:lnTo>
                      <a:pt x="55" y="61"/>
                    </a:lnTo>
                    <a:lnTo>
                      <a:pt x="59" y="61"/>
                    </a:lnTo>
                    <a:lnTo>
                      <a:pt x="64" y="66"/>
                    </a:lnTo>
                    <a:lnTo>
                      <a:pt x="68" y="66"/>
                    </a:lnTo>
                    <a:lnTo>
                      <a:pt x="75" y="75"/>
                    </a:lnTo>
                    <a:lnTo>
                      <a:pt x="82" y="82"/>
                    </a:lnTo>
                    <a:lnTo>
                      <a:pt x="86" y="87"/>
                    </a:lnTo>
                    <a:lnTo>
                      <a:pt x="91" y="91"/>
                    </a:lnTo>
                    <a:lnTo>
                      <a:pt x="95" y="95"/>
                    </a:lnTo>
                    <a:lnTo>
                      <a:pt x="95" y="93"/>
                    </a:lnTo>
                    <a:lnTo>
                      <a:pt x="105" y="87"/>
                    </a:lnTo>
                    <a:lnTo>
                      <a:pt x="104" y="86"/>
                    </a:lnTo>
                    <a:lnTo>
                      <a:pt x="102" y="87"/>
                    </a:lnTo>
                    <a:lnTo>
                      <a:pt x="100" y="86"/>
                    </a:lnTo>
                    <a:lnTo>
                      <a:pt x="100" y="86"/>
                    </a:lnTo>
                    <a:lnTo>
                      <a:pt x="98" y="82"/>
                    </a:lnTo>
                    <a:lnTo>
                      <a:pt x="98" y="82"/>
                    </a:lnTo>
                    <a:lnTo>
                      <a:pt x="96" y="82"/>
                    </a:lnTo>
                    <a:lnTo>
                      <a:pt x="95" y="82"/>
                    </a:lnTo>
                    <a:lnTo>
                      <a:pt x="93" y="77"/>
                    </a:lnTo>
                    <a:lnTo>
                      <a:pt x="93" y="77"/>
                    </a:lnTo>
                    <a:lnTo>
                      <a:pt x="93" y="75"/>
                    </a:lnTo>
                    <a:lnTo>
                      <a:pt x="91" y="75"/>
                    </a:lnTo>
                    <a:lnTo>
                      <a:pt x="89" y="75"/>
                    </a:lnTo>
                    <a:lnTo>
                      <a:pt x="87" y="71"/>
                    </a:lnTo>
                    <a:lnTo>
                      <a:pt x="87" y="71"/>
                    </a:lnTo>
                    <a:lnTo>
                      <a:pt x="86" y="71"/>
                    </a:lnTo>
                    <a:lnTo>
                      <a:pt x="84" y="70"/>
                    </a:lnTo>
                    <a:lnTo>
                      <a:pt x="84" y="70"/>
                    </a:lnTo>
                    <a:lnTo>
                      <a:pt x="84" y="70"/>
                    </a:lnTo>
                    <a:lnTo>
                      <a:pt x="84" y="68"/>
                    </a:lnTo>
                    <a:lnTo>
                      <a:pt x="77" y="59"/>
                    </a:lnTo>
                    <a:lnTo>
                      <a:pt x="75" y="57"/>
                    </a:lnTo>
                    <a:lnTo>
                      <a:pt x="71" y="57"/>
                    </a:lnTo>
                    <a:lnTo>
                      <a:pt x="70" y="57"/>
                    </a:lnTo>
                    <a:lnTo>
                      <a:pt x="68" y="57"/>
                    </a:lnTo>
                    <a:lnTo>
                      <a:pt x="68" y="55"/>
                    </a:lnTo>
                    <a:lnTo>
                      <a:pt x="66" y="54"/>
                    </a:lnTo>
                    <a:lnTo>
                      <a:pt x="64" y="52"/>
                    </a:lnTo>
                    <a:lnTo>
                      <a:pt x="62" y="52"/>
                    </a:lnTo>
                    <a:lnTo>
                      <a:pt x="61" y="54"/>
                    </a:lnTo>
                    <a:lnTo>
                      <a:pt x="61" y="54"/>
                    </a:lnTo>
                    <a:lnTo>
                      <a:pt x="59" y="54"/>
                    </a:lnTo>
                    <a:lnTo>
                      <a:pt x="57" y="50"/>
                    </a:lnTo>
                    <a:lnTo>
                      <a:pt x="57" y="48"/>
                    </a:lnTo>
                    <a:lnTo>
                      <a:pt x="57" y="48"/>
                    </a:lnTo>
                    <a:lnTo>
                      <a:pt x="57" y="46"/>
                    </a:lnTo>
                    <a:lnTo>
                      <a:pt x="57" y="45"/>
                    </a:lnTo>
                    <a:lnTo>
                      <a:pt x="55" y="45"/>
                    </a:lnTo>
                    <a:lnTo>
                      <a:pt x="55" y="45"/>
                    </a:lnTo>
                    <a:lnTo>
                      <a:pt x="54" y="45"/>
                    </a:lnTo>
                    <a:lnTo>
                      <a:pt x="52" y="45"/>
                    </a:lnTo>
                    <a:lnTo>
                      <a:pt x="54" y="46"/>
                    </a:lnTo>
                    <a:lnTo>
                      <a:pt x="54" y="48"/>
                    </a:lnTo>
                    <a:lnTo>
                      <a:pt x="54" y="50"/>
                    </a:lnTo>
                    <a:lnTo>
                      <a:pt x="52" y="50"/>
                    </a:lnTo>
                    <a:lnTo>
                      <a:pt x="52" y="48"/>
                    </a:lnTo>
                    <a:lnTo>
                      <a:pt x="52" y="48"/>
                    </a:lnTo>
                    <a:lnTo>
                      <a:pt x="52" y="46"/>
                    </a:lnTo>
                    <a:lnTo>
                      <a:pt x="50" y="46"/>
                    </a:lnTo>
                    <a:lnTo>
                      <a:pt x="50" y="43"/>
                    </a:lnTo>
                    <a:lnTo>
                      <a:pt x="48" y="43"/>
                    </a:lnTo>
                    <a:lnTo>
                      <a:pt x="48" y="43"/>
                    </a:lnTo>
                    <a:lnTo>
                      <a:pt x="46" y="41"/>
                    </a:lnTo>
                    <a:lnTo>
                      <a:pt x="46" y="41"/>
                    </a:lnTo>
                    <a:lnTo>
                      <a:pt x="46" y="39"/>
                    </a:lnTo>
                    <a:lnTo>
                      <a:pt x="46" y="37"/>
                    </a:lnTo>
                    <a:lnTo>
                      <a:pt x="43" y="36"/>
                    </a:lnTo>
                    <a:lnTo>
                      <a:pt x="37" y="9"/>
                    </a:lnTo>
                    <a:lnTo>
                      <a:pt x="32" y="0"/>
                    </a:lnTo>
                    <a:lnTo>
                      <a:pt x="3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17" name="Freeform 2368"/>
              <p:cNvSpPr>
                <a:spLocks/>
              </p:cNvSpPr>
              <p:nvPr/>
            </p:nvSpPr>
            <p:spPr bwMode="auto">
              <a:xfrm>
                <a:off x="3162" y="2749"/>
                <a:ext cx="29" cy="33"/>
              </a:xfrm>
              <a:custGeom>
                <a:avLst/>
                <a:gdLst>
                  <a:gd name="T0" fmla="*/ 25 w 29"/>
                  <a:gd name="T1" fmla="*/ 1 h 33"/>
                  <a:gd name="T2" fmla="*/ 25 w 29"/>
                  <a:gd name="T3" fmla="*/ 1 h 33"/>
                  <a:gd name="T4" fmla="*/ 23 w 29"/>
                  <a:gd name="T5" fmla="*/ 0 h 33"/>
                  <a:gd name="T6" fmla="*/ 23 w 29"/>
                  <a:gd name="T7" fmla="*/ 0 h 33"/>
                  <a:gd name="T8" fmla="*/ 22 w 29"/>
                  <a:gd name="T9" fmla="*/ 0 h 33"/>
                  <a:gd name="T10" fmla="*/ 18 w 29"/>
                  <a:gd name="T11" fmla="*/ 1 h 33"/>
                  <a:gd name="T12" fmla="*/ 14 w 29"/>
                  <a:gd name="T13" fmla="*/ 1 h 33"/>
                  <a:gd name="T14" fmla="*/ 14 w 29"/>
                  <a:gd name="T15" fmla="*/ 1 h 33"/>
                  <a:gd name="T16" fmla="*/ 14 w 29"/>
                  <a:gd name="T17" fmla="*/ 3 h 33"/>
                  <a:gd name="T18" fmla="*/ 14 w 29"/>
                  <a:gd name="T19" fmla="*/ 5 h 33"/>
                  <a:gd name="T20" fmla="*/ 13 w 29"/>
                  <a:gd name="T21" fmla="*/ 7 h 33"/>
                  <a:gd name="T22" fmla="*/ 11 w 29"/>
                  <a:gd name="T23" fmla="*/ 7 h 33"/>
                  <a:gd name="T24" fmla="*/ 9 w 29"/>
                  <a:gd name="T25" fmla="*/ 7 h 33"/>
                  <a:gd name="T26" fmla="*/ 7 w 29"/>
                  <a:gd name="T27" fmla="*/ 7 h 33"/>
                  <a:gd name="T28" fmla="*/ 7 w 29"/>
                  <a:gd name="T29" fmla="*/ 7 h 33"/>
                  <a:gd name="T30" fmla="*/ 5 w 29"/>
                  <a:gd name="T31" fmla="*/ 3 h 33"/>
                  <a:gd name="T32" fmla="*/ 4 w 29"/>
                  <a:gd name="T33" fmla="*/ 3 h 33"/>
                  <a:gd name="T34" fmla="*/ 2 w 29"/>
                  <a:gd name="T35" fmla="*/ 3 h 33"/>
                  <a:gd name="T36" fmla="*/ 2 w 29"/>
                  <a:gd name="T37" fmla="*/ 3 h 33"/>
                  <a:gd name="T38" fmla="*/ 2 w 29"/>
                  <a:gd name="T39" fmla="*/ 7 h 33"/>
                  <a:gd name="T40" fmla="*/ 0 w 29"/>
                  <a:gd name="T41" fmla="*/ 7 h 33"/>
                  <a:gd name="T42" fmla="*/ 4 w 29"/>
                  <a:gd name="T43" fmla="*/ 10 h 33"/>
                  <a:gd name="T44" fmla="*/ 4 w 29"/>
                  <a:gd name="T45" fmla="*/ 17 h 33"/>
                  <a:gd name="T46" fmla="*/ 5 w 29"/>
                  <a:gd name="T47" fmla="*/ 17 h 33"/>
                  <a:gd name="T48" fmla="*/ 5 w 29"/>
                  <a:gd name="T49" fmla="*/ 30 h 33"/>
                  <a:gd name="T50" fmla="*/ 9 w 29"/>
                  <a:gd name="T51" fmla="*/ 33 h 33"/>
                  <a:gd name="T52" fmla="*/ 11 w 29"/>
                  <a:gd name="T53" fmla="*/ 33 h 33"/>
                  <a:gd name="T54" fmla="*/ 18 w 29"/>
                  <a:gd name="T55" fmla="*/ 32 h 33"/>
                  <a:gd name="T56" fmla="*/ 29 w 29"/>
                  <a:gd name="T57" fmla="*/ 14 h 33"/>
                  <a:gd name="T58" fmla="*/ 29 w 29"/>
                  <a:gd name="T59" fmla="*/ 12 h 33"/>
                  <a:gd name="T60" fmla="*/ 27 w 29"/>
                  <a:gd name="T61" fmla="*/ 10 h 33"/>
                  <a:gd name="T62" fmla="*/ 27 w 29"/>
                  <a:gd name="T63" fmla="*/ 8 h 33"/>
                  <a:gd name="T64" fmla="*/ 25 w 29"/>
                  <a:gd name="T65" fmla="*/ 8 h 33"/>
                  <a:gd name="T66" fmla="*/ 23 w 29"/>
                  <a:gd name="T67" fmla="*/ 7 h 33"/>
                  <a:gd name="T68" fmla="*/ 23 w 29"/>
                  <a:gd name="T69" fmla="*/ 5 h 33"/>
                  <a:gd name="T70" fmla="*/ 23 w 29"/>
                  <a:gd name="T71" fmla="*/ 3 h 33"/>
                  <a:gd name="T72" fmla="*/ 25 w 29"/>
                  <a:gd name="T73"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 h="33">
                    <a:moveTo>
                      <a:pt x="25" y="1"/>
                    </a:moveTo>
                    <a:lnTo>
                      <a:pt x="25" y="1"/>
                    </a:lnTo>
                    <a:lnTo>
                      <a:pt x="23" y="0"/>
                    </a:lnTo>
                    <a:lnTo>
                      <a:pt x="23" y="0"/>
                    </a:lnTo>
                    <a:lnTo>
                      <a:pt x="22" y="0"/>
                    </a:lnTo>
                    <a:lnTo>
                      <a:pt x="18" y="1"/>
                    </a:lnTo>
                    <a:lnTo>
                      <a:pt x="14" y="1"/>
                    </a:lnTo>
                    <a:lnTo>
                      <a:pt x="14" y="1"/>
                    </a:lnTo>
                    <a:lnTo>
                      <a:pt x="14" y="3"/>
                    </a:lnTo>
                    <a:lnTo>
                      <a:pt x="14" y="5"/>
                    </a:lnTo>
                    <a:lnTo>
                      <a:pt x="13" y="7"/>
                    </a:lnTo>
                    <a:lnTo>
                      <a:pt x="11" y="7"/>
                    </a:lnTo>
                    <a:lnTo>
                      <a:pt x="9" y="7"/>
                    </a:lnTo>
                    <a:lnTo>
                      <a:pt x="7" y="7"/>
                    </a:lnTo>
                    <a:lnTo>
                      <a:pt x="7" y="7"/>
                    </a:lnTo>
                    <a:lnTo>
                      <a:pt x="5" y="3"/>
                    </a:lnTo>
                    <a:lnTo>
                      <a:pt x="4" y="3"/>
                    </a:lnTo>
                    <a:lnTo>
                      <a:pt x="2" y="3"/>
                    </a:lnTo>
                    <a:lnTo>
                      <a:pt x="2" y="3"/>
                    </a:lnTo>
                    <a:lnTo>
                      <a:pt x="2" y="7"/>
                    </a:lnTo>
                    <a:lnTo>
                      <a:pt x="0" y="7"/>
                    </a:lnTo>
                    <a:lnTo>
                      <a:pt x="4" y="10"/>
                    </a:lnTo>
                    <a:lnTo>
                      <a:pt x="4" y="17"/>
                    </a:lnTo>
                    <a:lnTo>
                      <a:pt x="5" y="17"/>
                    </a:lnTo>
                    <a:lnTo>
                      <a:pt x="5" y="30"/>
                    </a:lnTo>
                    <a:lnTo>
                      <a:pt x="9" y="33"/>
                    </a:lnTo>
                    <a:lnTo>
                      <a:pt x="11" y="33"/>
                    </a:lnTo>
                    <a:lnTo>
                      <a:pt x="18" y="32"/>
                    </a:lnTo>
                    <a:lnTo>
                      <a:pt x="29" y="14"/>
                    </a:lnTo>
                    <a:lnTo>
                      <a:pt x="29" y="12"/>
                    </a:lnTo>
                    <a:lnTo>
                      <a:pt x="27" y="10"/>
                    </a:lnTo>
                    <a:lnTo>
                      <a:pt x="27" y="8"/>
                    </a:lnTo>
                    <a:lnTo>
                      <a:pt x="25" y="8"/>
                    </a:lnTo>
                    <a:lnTo>
                      <a:pt x="23" y="7"/>
                    </a:lnTo>
                    <a:lnTo>
                      <a:pt x="23" y="5"/>
                    </a:lnTo>
                    <a:lnTo>
                      <a:pt x="23" y="3"/>
                    </a:lnTo>
                    <a:lnTo>
                      <a:pt x="25"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18" name="Freeform 2369"/>
              <p:cNvSpPr>
                <a:spLocks/>
              </p:cNvSpPr>
              <p:nvPr/>
            </p:nvSpPr>
            <p:spPr bwMode="auto">
              <a:xfrm>
                <a:off x="3162" y="2749"/>
                <a:ext cx="29" cy="33"/>
              </a:xfrm>
              <a:custGeom>
                <a:avLst/>
                <a:gdLst>
                  <a:gd name="T0" fmla="*/ 25 w 29"/>
                  <a:gd name="T1" fmla="*/ 1 h 33"/>
                  <a:gd name="T2" fmla="*/ 25 w 29"/>
                  <a:gd name="T3" fmla="*/ 1 h 33"/>
                  <a:gd name="T4" fmla="*/ 23 w 29"/>
                  <a:gd name="T5" fmla="*/ 0 h 33"/>
                  <a:gd name="T6" fmla="*/ 23 w 29"/>
                  <a:gd name="T7" fmla="*/ 0 h 33"/>
                  <a:gd name="T8" fmla="*/ 22 w 29"/>
                  <a:gd name="T9" fmla="*/ 0 h 33"/>
                  <a:gd name="T10" fmla="*/ 18 w 29"/>
                  <a:gd name="T11" fmla="*/ 1 h 33"/>
                  <a:gd name="T12" fmla="*/ 14 w 29"/>
                  <a:gd name="T13" fmla="*/ 1 h 33"/>
                  <a:gd name="T14" fmla="*/ 14 w 29"/>
                  <a:gd name="T15" fmla="*/ 1 h 33"/>
                  <a:gd name="T16" fmla="*/ 14 w 29"/>
                  <a:gd name="T17" fmla="*/ 3 h 33"/>
                  <a:gd name="T18" fmla="*/ 14 w 29"/>
                  <a:gd name="T19" fmla="*/ 5 h 33"/>
                  <a:gd name="T20" fmla="*/ 13 w 29"/>
                  <a:gd name="T21" fmla="*/ 7 h 33"/>
                  <a:gd name="T22" fmla="*/ 11 w 29"/>
                  <a:gd name="T23" fmla="*/ 7 h 33"/>
                  <a:gd name="T24" fmla="*/ 9 w 29"/>
                  <a:gd name="T25" fmla="*/ 7 h 33"/>
                  <a:gd name="T26" fmla="*/ 7 w 29"/>
                  <a:gd name="T27" fmla="*/ 7 h 33"/>
                  <a:gd name="T28" fmla="*/ 7 w 29"/>
                  <a:gd name="T29" fmla="*/ 7 h 33"/>
                  <a:gd name="T30" fmla="*/ 5 w 29"/>
                  <a:gd name="T31" fmla="*/ 3 h 33"/>
                  <a:gd name="T32" fmla="*/ 4 w 29"/>
                  <a:gd name="T33" fmla="*/ 3 h 33"/>
                  <a:gd name="T34" fmla="*/ 2 w 29"/>
                  <a:gd name="T35" fmla="*/ 3 h 33"/>
                  <a:gd name="T36" fmla="*/ 2 w 29"/>
                  <a:gd name="T37" fmla="*/ 3 h 33"/>
                  <a:gd name="T38" fmla="*/ 2 w 29"/>
                  <a:gd name="T39" fmla="*/ 7 h 33"/>
                  <a:gd name="T40" fmla="*/ 0 w 29"/>
                  <a:gd name="T41" fmla="*/ 7 h 33"/>
                  <a:gd name="T42" fmla="*/ 4 w 29"/>
                  <a:gd name="T43" fmla="*/ 10 h 33"/>
                  <a:gd name="T44" fmla="*/ 4 w 29"/>
                  <a:gd name="T45" fmla="*/ 17 h 33"/>
                  <a:gd name="T46" fmla="*/ 5 w 29"/>
                  <a:gd name="T47" fmla="*/ 17 h 33"/>
                  <a:gd name="T48" fmla="*/ 5 w 29"/>
                  <a:gd name="T49" fmla="*/ 30 h 33"/>
                  <a:gd name="T50" fmla="*/ 9 w 29"/>
                  <a:gd name="T51" fmla="*/ 33 h 33"/>
                  <a:gd name="T52" fmla="*/ 11 w 29"/>
                  <a:gd name="T53" fmla="*/ 33 h 33"/>
                  <a:gd name="T54" fmla="*/ 18 w 29"/>
                  <a:gd name="T55" fmla="*/ 32 h 33"/>
                  <a:gd name="T56" fmla="*/ 29 w 29"/>
                  <a:gd name="T57" fmla="*/ 14 h 33"/>
                  <a:gd name="T58" fmla="*/ 29 w 29"/>
                  <a:gd name="T59" fmla="*/ 12 h 33"/>
                  <a:gd name="T60" fmla="*/ 27 w 29"/>
                  <a:gd name="T61" fmla="*/ 10 h 33"/>
                  <a:gd name="T62" fmla="*/ 27 w 29"/>
                  <a:gd name="T63" fmla="*/ 8 h 33"/>
                  <a:gd name="T64" fmla="*/ 25 w 29"/>
                  <a:gd name="T65" fmla="*/ 8 h 33"/>
                  <a:gd name="T66" fmla="*/ 23 w 29"/>
                  <a:gd name="T67" fmla="*/ 7 h 33"/>
                  <a:gd name="T68" fmla="*/ 23 w 29"/>
                  <a:gd name="T69" fmla="*/ 5 h 33"/>
                  <a:gd name="T70" fmla="*/ 23 w 29"/>
                  <a:gd name="T71" fmla="*/ 3 h 33"/>
                  <a:gd name="T72" fmla="*/ 25 w 29"/>
                  <a:gd name="T73"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 h="33">
                    <a:moveTo>
                      <a:pt x="25" y="1"/>
                    </a:moveTo>
                    <a:lnTo>
                      <a:pt x="25" y="1"/>
                    </a:lnTo>
                    <a:lnTo>
                      <a:pt x="23" y="0"/>
                    </a:lnTo>
                    <a:lnTo>
                      <a:pt x="23" y="0"/>
                    </a:lnTo>
                    <a:lnTo>
                      <a:pt x="22" y="0"/>
                    </a:lnTo>
                    <a:lnTo>
                      <a:pt x="18" y="1"/>
                    </a:lnTo>
                    <a:lnTo>
                      <a:pt x="14" y="1"/>
                    </a:lnTo>
                    <a:lnTo>
                      <a:pt x="14" y="1"/>
                    </a:lnTo>
                    <a:lnTo>
                      <a:pt x="14" y="3"/>
                    </a:lnTo>
                    <a:lnTo>
                      <a:pt x="14" y="5"/>
                    </a:lnTo>
                    <a:lnTo>
                      <a:pt x="13" y="7"/>
                    </a:lnTo>
                    <a:lnTo>
                      <a:pt x="11" y="7"/>
                    </a:lnTo>
                    <a:lnTo>
                      <a:pt x="9" y="7"/>
                    </a:lnTo>
                    <a:lnTo>
                      <a:pt x="7" y="7"/>
                    </a:lnTo>
                    <a:lnTo>
                      <a:pt x="7" y="7"/>
                    </a:lnTo>
                    <a:lnTo>
                      <a:pt x="5" y="3"/>
                    </a:lnTo>
                    <a:lnTo>
                      <a:pt x="4" y="3"/>
                    </a:lnTo>
                    <a:lnTo>
                      <a:pt x="2" y="3"/>
                    </a:lnTo>
                    <a:lnTo>
                      <a:pt x="2" y="3"/>
                    </a:lnTo>
                    <a:lnTo>
                      <a:pt x="2" y="7"/>
                    </a:lnTo>
                    <a:lnTo>
                      <a:pt x="0" y="7"/>
                    </a:lnTo>
                    <a:lnTo>
                      <a:pt x="4" y="10"/>
                    </a:lnTo>
                    <a:lnTo>
                      <a:pt x="4" y="17"/>
                    </a:lnTo>
                    <a:lnTo>
                      <a:pt x="5" y="17"/>
                    </a:lnTo>
                    <a:lnTo>
                      <a:pt x="5" y="30"/>
                    </a:lnTo>
                    <a:lnTo>
                      <a:pt x="9" y="33"/>
                    </a:lnTo>
                    <a:lnTo>
                      <a:pt x="11" y="33"/>
                    </a:lnTo>
                    <a:lnTo>
                      <a:pt x="18" y="32"/>
                    </a:lnTo>
                    <a:lnTo>
                      <a:pt x="29" y="14"/>
                    </a:lnTo>
                    <a:lnTo>
                      <a:pt x="29" y="12"/>
                    </a:lnTo>
                    <a:lnTo>
                      <a:pt x="27" y="10"/>
                    </a:lnTo>
                    <a:lnTo>
                      <a:pt x="27" y="8"/>
                    </a:lnTo>
                    <a:lnTo>
                      <a:pt x="25" y="8"/>
                    </a:lnTo>
                    <a:lnTo>
                      <a:pt x="23" y="7"/>
                    </a:lnTo>
                    <a:lnTo>
                      <a:pt x="23" y="5"/>
                    </a:lnTo>
                    <a:lnTo>
                      <a:pt x="23" y="3"/>
                    </a:lnTo>
                    <a:lnTo>
                      <a:pt x="25"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19" name="Freeform 2370"/>
              <p:cNvSpPr>
                <a:spLocks/>
              </p:cNvSpPr>
              <p:nvPr/>
            </p:nvSpPr>
            <p:spPr bwMode="auto">
              <a:xfrm>
                <a:off x="3221" y="2863"/>
                <a:ext cx="50" cy="125"/>
              </a:xfrm>
              <a:custGeom>
                <a:avLst/>
                <a:gdLst>
                  <a:gd name="T0" fmla="*/ 16 w 50"/>
                  <a:gd name="T1" fmla="*/ 3 h 125"/>
                  <a:gd name="T2" fmla="*/ 14 w 50"/>
                  <a:gd name="T3" fmla="*/ 2 h 125"/>
                  <a:gd name="T4" fmla="*/ 11 w 50"/>
                  <a:gd name="T5" fmla="*/ 3 h 125"/>
                  <a:gd name="T6" fmla="*/ 7 w 50"/>
                  <a:gd name="T7" fmla="*/ 2 h 125"/>
                  <a:gd name="T8" fmla="*/ 4 w 50"/>
                  <a:gd name="T9" fmla="*/ 0 h 125"/>
                  <a:gd name="T10" fmla="*/ 4 w 50"/>
                  <a:gd name="T11" fmla="*/ 2 h 125"/>
                  <a:gd name="T12" fmla="*/ 7 w 50"/>
                  <a:gd name="T13" fmla="*/ 3 h 125"/>
                  <a:gd name="T14" fmla="*/ 11 w 50"/>
                  <a:gd name="T15" fmla="*/ 11 h 125"/>
                  <a:gd name="T16" fmla="*/ 13 w 50"/>
                  <a:gd name="T17" fmla="*/ 18 h 125"/>
                  <a:gd name="T18" fmla="*/ 14 w 50"/>
                  <a:gd name="T19" fmla="*/ 21 h 125"/>
                  <a:gd name="T20" fmla="*/ 13 w 50"/>
                  <a:gd name="T21" fmla="*/ 23 h 125"/>
                  <a:gd name="T22" fmla="*/ 11 w 50"/>
                  <a:gd name="T23" fmla="*/ 25 h 125"/>
                  <a:gd name="T24" fmla="*/ 7 w 50"/>
                  <a:gd name="T25" fmla="*/ 34 h 125"/>
                  <a:gd name="T26" fmla="*/ 9 w 50"/>
                  <a:gd name="T27" fmla="*/ 48 h 125"/>
                  <a:gd name="T28" fmla="*/ 11 w 50"/>
                  <a:gd name="T29" fmla="*/ 50 h 125"/>
                  <a:gd name="T30" fmla="*/ 7 w 50"/>
                  <a:gd name="T31" fmla="*/ 52 h 125"/>
                  <a:gd name="T32" fmla="*/ 5 w 50"/>
                  <a:gd name="T33" fmla="*/ 53 h 125"/>
                  <a:gd name="T34" fmla="*/ 2 w 50"/>
                  <a:gd name="T35" fmla="*/ 66 h 125"/>
                  <a:gd name="T36" fmla="*/ 0 w 50"/>
                  <a:gd name="T37" fmla="*/ 69 h 125"/>
                  <a:gd name="T38" fmla="*/ 2 w 50"/>
                  <a:gd name="T39" fmla="*/ 73 h 125"/>
                  <a:gd name="T40" fmla="*/ 5 w 50"/>
                  <a:gd name="T41" fmla="*/ 75 h 125"/>
                  <a:gd name="T42" fmla="*/ 7 w 50"/>
                  <a:gd name="T43" fmla="*/ 75 h 125"/>
                  <a:gd name="T44" fmla="*/ 11 w 50"/>
                  <a:gd name="T45" fmla="*/ 80 h 125"/>
                  <a:gd name="T46" fmla="*/ 14 w 50"/>
                  <a:gd name="T47" fmla="*/ 84 h 125"/>
                  <a:gd name="T48" fmla="*/ 27 w 50"/>
                  <a:gd name="T49" fmla="*/ 82 h 125"/>
                  <a:gd name="T50" fmla="*/ 29 w 50"/>
                  <a:gd name="T51" fmla="*/ 96 h 125"/>
                  <a:gd name="T52" fmla="*/ 27 w 50"/>
                  <a:gd name="T53" fmla="*/ 100 h 125"/>
                  <a:gd name="T54" fmla="*/ 25 w 50"/>
                  <a:gd name="T55" fmla="*/ 103 h 125"/>
                  <a:gd name="T56" fmla="*/ 25 w 50"/>
                  <a:gd name="T57" fmla="*/ 107 h 125"/>
                  <a:gd name="T58" fmla="*/ 29 w 50"/>
                  <a:gd name="T59" fmla="*/ 112 h 125"/>
                  <a:gd name="T60" fmla="*/ 34 w 50"/>
                  <a:gd name="T61" fmla="*/ 119 h 125"/>
                  <a:gd name="T62" fmla="*/ 38 w 50"/>
                  <a:gd name="T63" fmla="*/ 121 h 125"/>
                  <a:gd name="T64" fmla="*/ 36 w 50"/>
                  <a:gd name="T65" fmla="*/ 125 h 125"/>
                  <a:gd name="T66" fmla="*/ 41 w 50"/>
                  <a:gd name="T67" fmla="*/ 125 h 125"/>
                  <a:gd name="T68" fmla="*/ 41 w 50"/>
                  <a:gd name="T69" fmla="*/ 121 h 125"/>
                  <a:gd name="T70" fmla="*/ 39 w 50"/>
                  <a:gd name="T71" fmla="*/ 118 h 125"/>
                  <a:gd name="T72" fmla="*/ 39 w 50"/>
                  <a:gd name="T73" fmla="*/ 114 h 125"/>
                  <a:gd name="T74" fmla="*/ 41 w 50"/>
                  <a:gd name="T75" fmla="*/ 112 h 125"/>
                  <a:gd name="T76" fmla="*/ 48 w 50"/>
                  <a:gd name="T77" fmla="*/ 107 h 125"/>
                  <a:gd name="T78" fmla="*/ 50 w 50"/>
                  <a:gd name="T79" fmla="*/ 98 h 125"/>
                  <a:gd name="T80" fmla="*/ 50 w 50"/>
                  <a:gd name="T81" fmla="*/ 89 h 125"/>
                  <a:gd name="T82" fmla="*/ 34 w 50"/>
                  <a:gd name="T83" fmla="*/ 66 h 125"/>
                  <a:gd name="T84" fmla="*/ 32 w 50"/>
                  <a:gd name="T85" fmla="*/ 69 h 125"/>
                  <a:gd name="T86" fmla="*/ 36 w 50"/>
                  <a:gd name="T87" fmla="*/ 71 h 125"/>
                  <a:gd name="T88" fmla="*/ 39 w 50"/>
                  <a:gd name="T89" fmla="*/ 80 h 125"/>
                  <a:gd name="T90" fmla="*/ 38 w 50"/>
                  <a:gd name="T91" fmla="*/ 82 h 125"/>
                  <a:gd name="T92" fmla="*/ 36 w 50"/>
                  <a:gd name="T93" fmla="*/ 78 h 125"/>
                  <a:gd name="T94" fmla="*/ 34 w 50"/>
                  <a:gd name="T95" fmla="*/ 77 h 125"/>
                  <a:gd name="T96" fmla="*/ 32 w 50"/>
                  <a:gd name="T97" fmla="*/ 77 h 125"/>
                  <a:gd name="T98" fmla="*/ 30 w 50"/>
                  <a:gd name="T99" fmla="*/ 78 h 125"/>
                  <a:gd name="T100" fmla="*/ 29 w 50"/>
                  <a:gd name="T101" fmla="*/ 78 h 125"/>
                  <a:gd name="T102" fmla="*/ 29 w 50"/>
                  <a:gd name="T103" fmla="*/ 75 h 125"/>
                  <a:gd name="T104" fmla="*/ 29 w 50"/>
                  <a:gd name="T105" fmla="*/ 71 h 125"/>
                  <a:gd name="T106" fmla="*/ 25 w 50"/>
                  <a:gd name="T107" fmla="*/ 64 h 125"/>
                  <a:gd name="T108" fmla="*/ 25 w 50"/>
                  <a:gd name="T109" fmla="*/ 61 h 125"/>
                  <a:gd name="T110" fmla="*/ 20 w 50"/>
                  <a:gd name="T111" fmla="*/ 46 h 125"/>
                  <a:gd name="T112" fmla="*/ 23 w 50"/>
                  <a:gd name="T113" fmla="*/ 37 h 125"/>
                  <a:gd name="T114" fmla="*/ 23 w 50"/>
                  <a:gd name="T115" fmla="*/ 18 h 125"/>
                  <a:gd name="T116" fmla="*/ 21 w 50"/>
                  <a:gd name="T117" fmla="*/ 14 h 125"/>
                  <a:gd name="T118" fmla="*/ 18 w 50"/>
                  <a:gd name="T119" fmla="*/ 9 h 125"/>
                  <a:gd name="T120" fmla="*/ 20 w 50"/>
                  <a:gd name="T121" fmla="*/ 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 h="125">
                    <a:moveTo>
                      <a:pt x="18" y="5"/>
                    </a:moveTo>
                    <a:lnTo>
                      <a:pt x="16" y="3"/>
                    </a:lnTo>
                    <a:lnTo>
                      <a:pt x="16" y="2"/>
                    </a:lnTo>
                    <a:lnTo>
                      <a:pt x="14" y="2"/>
                    </a:lnTo>
                    <a:lnTo>
                      <a:pt x="11" y="3"/>
                    </a:lnTo>
                    <a:lnTo>
                      <a:pt x="11" y="3"/>
                    </a:lnTo>
                    <a:lnTo>
                      <a:pt x="9" y="2"/>
                    </a:lnTo>
                    <a:lnTo>
                      <a:pt x="7" y="2"/>
                    </a:lnTo>
                    <a:lnTo>
                      <a:pt x="4" y="0"/>
                    </a:lnTo>
                    <a:lnTo>
                      <a:pt x="4" y="0"/>
                    </a:lnTo>
                    <a:lnTo>
                      <a:pt x="4" y="2"/>
                    </a:lnTo>
                    <a:lnTo>
                      <a:pt x="4" y="2"/>
                    </a:lnTo>
                    <a:lnTo>
                      <a:pt x="4" y="3"/>
                    </a:lnTo>
                    <a:lnTo>
                      <a:pt x="7" y="3"/>
                    </a:lnTo>
                    <a:lnTo>
                      <a:pt x="9" y="9"/>
                    </a:lnTo>
                    <a:lnTo>
                      <a:pt x="11" y="11"/>
                    </a:lnTo>
                    <a:lnTo>
                      <a:pt x="13" y="12"/>
                    </a:lnTo>
                    <a:lnTo>
                      <a:pt x="13" y="18"/>
                    </a:lnTo>
                    <a:lnTo>
                      <a:pt x="14" y="19"/>
                    </a:lnTo>
                    <a:lnTo>
                      <a:pt x="14" y="21"/>
                    </a:lnTo>
                    <a:lnTo>
                      <a:pt x="14" y="21"/>
                    </a:lnTo>
                    <a:lnTo>
                      <a:pt x="13" y="23"/>
                    </a:lnTo>
                    <a:lnTo>
                      <a:pt x="11" y="23"/>
                    </a:lnTo>
                    <a:lnTo>
                      <a:pt x="11" y="25"/>
                    </a:lnTo>
                    <a:lnTo>
                      <a:pt x="9" y="30"/>
                    </a:lnTo>
                    <a:lnTo>
                      <a:pt x="7" y="34"/>
                    </a:lnTo>
                    <a:lnTo>
                      <a:pt x="9" y="46"/>
                    </a:lnTo>
                    <a:lnTo>
                      <a:pt x="9" y="48"/>
                    </a:lnTo>
                    <a:lnTo>
                      <a:pt x="11" y="48"/>
                    </a:lnTo>
                    <a:lnTo>
                      <a:pt x="11" y="50"/>
                    </a:lnTo>
                    <a:lnTo>
                      <a:pt x="11" y="50"/>
                    </a:lnTo>
                    <a:lnTo>
                      <a:pt x="7" y="52"/>
                    </a:lnTo>
                    <a:lnTo>
                      <a:pt x="7" y="52"/>
                    </a:lnTo>
                    <a:lnTo>
                      <a:pt x="5" y="53"/>
                    </a:lnTo>
                    <a:lnTo>
                      <a:pt x="4" y="53"/>
                    </a:lnTo>
                    <a:lnTo>
                      <a:pt x="2" y="66"/>
                    </a:lnTo>
                    <a:lnTo>
                      <a:pt x="0" y="68"/>
                    </a:lnTo>
                    <a:lnTo>
                      <a:pt x="0" y="69"/>
                    </a:lnTo>
                    <a:lnTo>
                      <a:pt x="0" y="71"/>
                    </a:lnTo>
                    <a:lnTo>
                      <a:pt x="2" y="73"/>
                    </a:lnTo>
                    <a:lnTo>
                      <a:pt x="2" y="75"/>
                    </a:lnTo>
                    <a:lnTo>
                      <a:pt x="5" y="75"/>
                    </a:lnTo>
                    <a:lnTo>
                      <a:pt x="5" y="75"/>
                    </a:lnTo>
                    <a:lnTo>
                      <a:pt x="7" y="75"/>
                    </a:lnTo>
                    <a:lnTo>
                      <a:pt x="7" y="77"/>
                    </a:lnTo>
                    <a:lnTo>
                      <a:pt x="11" y="80"/>
                    </a:lnTo>
                    <a:lnTo>
                      <a:pt x="13" y="84"/>
                    </a:lnTo>
                    <a:lnTo>
                      <a:pt x="14" y="84"/>
                    </a:lnTo>
                    <a:lnTo>
                      <a:pt x="25" y="82"/>
                    </a:lnTo>
                    <a:lnTo>
                      <a:pt x="27" y="82"/>
                    </a:lnTo>
                    <a:lnTo>
                      <a:pt x="27" y="84"/>
                    </a:lnTo>
                    <a:lnTo>
                      <a:pt x="29" y="96"/>
                    </a:lnTo>
                    <a:lnTo>
                      <a:pt x="29" y="98"/>
                    </a:lnTo>
                    <a:lnTo>
                      <a:pt x="27" y="100"/>
                    </a:lnTo>
                    <a:lnTo>
                      <a:pt x="27" y="102"/>
                    </a:lnTo>
                    <a:lnTo>
                      <a:pt x="25" y="103"/>
                    </a:lnTo>
                    <a:lnTo>
                      <a:pt x="25" y="107"/>
                    </a:lnTo>
                    <a:lnTo>
                      <a:pt x="25" y="107"/>
                    </a:lnTo>
                    <a:lnTo>
                      <a:pt x="27" y="112"/>
                    </a:lnTo>
                    <a:lnTo>
                      <a:pt x="29" y="112"/>
                    </a:lnTo>
                    <a:lnTo>
                      <a:pt x="29" y="114"/>
                    </a:lnTo>
                    <a:lnTo>
                      <a:pt x="34" y="119"/>
                    </a:lnTo>
                    <a:lnTo>
                      <a:pt x="36" y="121"/>
                    </a:lnTo>
                    <a:lnTo>
                      <a:pt x="38" y="121"/>
                    </a:lnTo>
                    <a:lnTo>
                      <a:pt x="38" y="123"/>
                    </a:lnTo>
                    <a:lnTo>
                      <a:pt x="36" y="125"/>
                    </a:lnTo>
                    <a:lnTo>
                      <a:pt x="38" y="125"/>
                    </a:lnTo>
                    <a:lnTo>
                      <a:pt x="41" y="125"/>
                    </a:lnTo>
                    <a:lnTo>
                      <a:pt x="41" y="125"/>
                    </a:lnTo>
                    <a:lnTo>
                      <a:pt x="41" y="121"/>
                    </a:lnTo>
                    <a:lnTo>
                      <a:pt x="39" y="119"/>
                    </a:lnTo>
                    <a:lnTo>
                      <a:pt x="39" y="118"/>
                    </a:lnTo>
                    <a:lnTo>
                      <a:pt x="39" y="116"/>
                    </a:lnTo>
                    <a:lnTo>
                      <a:pt x="39" y="114"/>
                    </a:lnTo>
                    <a:lnTo>
                      <a:pt x="39" y="112"/>
                    </a:lnTo>
                    <a:lnTo>
                      <a:pt x="41" y="112"/>
                    </a:lnTo>
                    <a:lnTo>
                      <a:pt x="48" y="109"/>
                    </a:lnTo>
                    <a:lnTo>
                      <a:pt x="48" y="107"/>
                    </a:lnTo>
                    <a:lnTo>
                      <a:pt x="48" y="100"/>
                    </a:lnTo>
                    <a:lnTo>
                      <a:pt x="50" y="98"/>
                    </a:lnTo>
                    <a:lnTo>
                      <a:pt x="48" y="94"/>
                    </a:lnTo>
                    <a:lnTo>
                      <a:pt x="50" y="89"/>
                    </a:lnTo>
                    <a:lnTo>
                      <a:pt x="50" y="86"/>
                    </a:lnTo>
                    <a:lnTo>
                      <a:pt x="34" y="66"/>
                    </a:lnTo>
                    <a:lnTo>
                      <a:pt x="32" y="68"/>
                    </a:lnTo>
                    <a:lnTo>
                      <a:pt x="32" y="69"/>
                    </a:lnTo>
                    <a:lnTo>
                      <a:pt x="34" y="71"/>
                    </a:lnTo>
                    <a:lnTo>
                      <a:pt x="36" y="71"/>
                    </a:lnTo>
                    <a:lnTo>
                      <a:pt x="36" y="73"/>
                    </a:lnTo>
                    <a:lnTo>
                      <a:pt x="39" y="80"/>
                    </a:lnTo>
                    <a:lnTo>
                      <a:pt x="39" y="82"/>
                    </a:lnTo>
                    <a:lnTo>
                      <a:pt x="38" y="82"/>
                    </a:lnTo>
                    <a:lnTo>
                      <a:pt x="38" y="82"/>
                    </a:lnTo>
                    <a:lnTo>
                      <a:pt x="36" y="78"/>
                    </a:lnTo>
                    <a:lnTo>
                      <a:pt x="34" y="78"/>
                    </a:lnTo>
                    <a:lnTo>
                      <a:pt x="34" y="77"/>
                    </a:lnTo>
                    <a:lnTo>
                      <a:pt x="34" y="77"/>
                    </a:lnTo>
                    <a:lnTo>
                      <a:pt x="32" y="77"/>
                    </a:lnTo>
                    <a:lnTo>
                      <a:pt x="32" y="78"/>
                    </a:lnTo>
                    <a:lnTo>
                      <a:pt x="30" y="78"/>
                    </a:lnTo>
                    <a:lnTo>
                      <a:pt x="29" y="78"/>
                    </a:lnTo>
                    <a:lnTo>
                      <a:pt x="29" y="78"/>
                    </a:lnTo>
                    <a:lnTo>
                      <a:pt x="29" y="77"/>
                    </a:lnTo>
                    <a:lnTo>
                      <a:pt x="29" y="75"/>
                    </a:lnTo>
                    <a:lnTo>
                      <a:pt x="29" y="71"/>
                    </a:lnTo>
                    <a:lnTo>
                      <a:pt x="29" y="71"/>
                    </a:lnTo>
                    <a:lnTo>
                      <a:pt x="25" y="68"/>
                    </a:lnTo>
                    <a:lnTo>
                      <a:pt x="25" y="64"/>
                    </a:lnTo>
                    <a:lnTo>
                      <a:pt x="25" y="61"/>
                    </a:lnTo>
                    <a:lnTo>
                      <a:pt x="25" y="61"/>
                    </a:lnTo>
                    <a:lnTo>
                      <a:pt x="20" y="48"/>
                    </a:lnTo>
                    <a:lnTo>
                      <a:pt x="20" y="46"/>
                    </a:lnTo>
                    <a:lnTo>
                      <a:pt x="20" y="44"/>
                    </a:lnTo>
                    <a:lnTo>
                      <a:pt x="23" y="37"/>
                    </a:lnTo>
                    <a:lnTo>
                      <a:pt x="21" y="19"/>
                    </a:lnTo>
                    <a:lnTo>
                      <a:pt x="23" y="18"/>
                    </a:lnTo>
                    <a:lnTo>
                      <a:pt x="23" y="16"/>
                    </a:lnTo>
                    <a:lnTo>
                      <a:pt x="21" y="14"/>
                    </a:lnTo>
                    <a:lnTo>
                      <a:pt x="20" y="12"/>
                    </a:lnTo>
                    <a:lnTo>
                      <a:pt x="18" y="9"/>
                    </a:lnTo>
                    <a:lnTo>
                      <a:pt x="18" y="5"/>
                    </a:lnTo>
                    <a:lnTo>
                      <a:pt x="20" y="3"/>
                    </a:lnTo>
                    <a:lnTo>
                      <a:pt x="18"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20" name="Freeform 2371"/>
              <p:cNvSpPr>
                <a:spLocks/>
              </p:cNvSpPr>
              <p:nvPr/>
            </p:nvSpPr>
            <p:spPr bwMode="auto">
              <a:xfrm>
                <a:off x="3221" y="2863"/>
                <a:ext cx="50" cy="125"/>
              </a:xfrm>
              <a:custGeom>
                <a:avLst/>
                <a:gdLst>
                  <a:gd name="T0" fmla="*/ 16 w 50"/>
                  <a:gd name="T1" fmla="*/ 3 h 125"/>
                  <a:gd name="T2" fmla="*/ 14 w 50"/>
                  <a:gd name="T3" fmla="*/ 2 h 125"/>
                  <a:gd name="T4" fmla="*/ 11 w 50"/>
                  <a:gd name="T5" fmla="*/ 3 h 125"/>
                  <a:gd name="T6" fmla="*/ 7 w 50"/>
                  <a:gd name="T7" fmla="*/ 2 h 125"/>
                  <a:gd name="T8" fmla="*/ 4 w 50"/>
                  <a:gd name="T9" fmla="*/ 0 h 125"/>
                  <a:gd name="T10" fmla="*/ 4 w 50"/>
                  <a:gd name="T11" fmla="*/ 2 h 125"/>
                  <a:gd name="T12" fmla="*/ 7 w 50"/>
                  <a:gd name="T13" fmla="*/ 3 h 125"/>
                  <a:gd name="T14" fmla="*/ 11 w 50"/>
                  <a:gd name="T15" fmla="*/ 11 h 125"/>
                  <a:gd name="T16" fmla="*/ 13 w 50"/>
                  <a:gd name="T17" fmla="*/ 18 h 125"/>
                  <a:gd name="T18" fmla="*/ 14 w 50"/>
                  <a:gd name="T19" fmla="*/ 21 h 125"/>
                  <a:gd name="T20" fmla="*/ 13 w 50"/>
                  <a:gd name="T21" fmla="*/ 23 h 125"/>
                  <a:gd name="T22" fmla="*/ 11 w 50"/>
                  <a:gd name="T23" fmla="*/ 25 h 125"/>
                  <a:gd name="T24" fmla="*/ 7 w 50"/>
                  <a:gd name="T25" fmla="*/ 34 h 125"/>
                  <a:gd name="T26" fmla="*/ 9 w 50"/>
                  <a:gd name="T27" fmla="*/ 48 h 125"/>
                  <a:gd name="T28" fmla="*/ 11 w 50"/>
                  <a:gd name="T29" fmla="*/ 50 h 125"/>
                  <a:gd name="T30" fmla="*/ 7 w 50"/>
                  <a:gd name="T31" fmla="*/ 52 h 125"/>
                  <a:gd name="T32" fmla="*/ 5 w 50"/>
                  <a:gd name="T33" fmla="*/ 53 h 125"/>
                  <a:gd name="T34" fmla="*/ 2 w 50"/>
                  <a:gd name="T35" fmla="*/ 66 h 125"/>
                  <a:gd name="T36" fmla="*/ 0 w 50"/>
                  <a:gd name="T37" fmla="*/ 69 h 125"/>
                  <a:gd name="T38" fmla="*/ 2 w 50"/>
                  <a:gd name="T39" fmla="*/ 73 h 125"/>
                  <a:gd name="T40" fmla="*/ 5 w 50"/>
                  <a:gd name="T41" fmla="*/ 75 h 125"/>
                  <a:gd name="T42" fmla="*/ 7 w 50"/>
                  <a:gd name="T43" fmla="*/ 75 h 125"/>
                  <a:gd name="T44" fmla="*/ 11 w 50"/>
                  <a:gd name="T45" fmla="*/ 80 h 125"/>
                  <a:gd name="T46" fmla="*/ 14 w 50"/>
                  <a:gd name="T47" fmla="*/ 84 h 125"/>
                  <a:gd name="T48" fmla="*/ 27 w 50"/>
                  <a:gd name="T49" fmla="*/ 82 h 125"/>
                  <a:gd name="T50" fmla="*/ 29 w 50"/>
                  <a:gd name="T51" fmla="*/ 96 h 125"/>
                  <a:gd name="T52" fmla="*/ 27 w 50"/>
                  <a:gd name="T53" fmla="*/ 100 h 125"/>
                  <a:gd name="T54" fmla="*/ 25 w 50"/>
                  <a:gd name="T55" fmla="*/ 103 h 125"/>
                  <a:gd name="T56" fmla="*/ 25 w 50"/>
                  <a:gd name="T57" fmla="*/ 107 h 125"/>
                  <a:gd name="T58" fmla="*/ 29 w 50"/>
                  <a:gd name="T59" fmla="*/ 112 h 125"/>
                  <a:gd name="T60" fmla="*/ 34 w 50"/>
                  <a:gd name="T61" fmla="*/ 119 h 125"/>
                  <a:gd name="T62" fmla="*/ 38 w 50"/>
                  <a:gd name="T63" fmla="*/ 121 h 125"/>
                  <a:gd name="T64" fmla="*/ 36 w 50"/>
                  <a:gd name="T65" fmla="*/ 125 h 125"/>
                  <a:gd name="T66" fmla="*/ 41 w 50"/>
                  <a:gd name="T67" fmla="*/ 125 h 125"/>
                  <a:gd name="T68" fmla="*/ 41 w 50"/>
                  <a:gd name="T69" fmla="*/ 121 h 125"/>
                  <a:gd name="T70" fmla="*/ 39 w 50"/>
                  <a:gd name="T71" fmla="*/ 118 h 125"/>
                  <a:gd name="T72" fmla="*/ 39 w 50"/>
                  <a:gd name="T73" fmla="*/ 114 h 125"/>
                  <a:gd name="T74" fmla="*/ 41 w 50"/>
                  <a:gd name="T75" fmla="*/ 112 h 125"/>
                  <a:gd name="T76" fmla="*/ 48 w 50"/>
                  <a:gd name="T77" fmla="*/ 107 h 125"/>
                  <a:gd name="T78" fmla="*/ 50 w 50"/>
                  <a:gd name="T79" fmla="*/ 98 h 125"/>
                  <a:gd name="T80" fmla="*/ 50 w 50"/>
                  <a:gd name="T81" fmla="*/ 89 h 125"/>
                  <a:gd name="T82" fmla="*/ 34 w 50"/>
                  <a:gd name="T83" fmla="*/ 66 h 125"/>
                  <a:gd name="T84" fmla="*/ 32 w 50"/>
                  <a:gd name="T85" fmla="*/ 69 h 125"/>
                  <a:gd name="T86" fmla="*/ 36 w 50"/>
                  <a:gd name="T87" fmla="*/ 71 h 125"/>
                  <a:gd name="T88" fmla="*/ 39 w 50"/>
                  <a:gd name="T89" fmla="*/ 80 h 125"/>
                  <a:gd name="T90" fmla="*/ 38 w 50"/>
                  <a:gd name="T91" fmla="*/ 82 h 125"/>
                  <a:gd name="T92" fmla="*/ 36 w 50"/>
                  <a:gd name="T93" fmla="*/ 78 h 125"/>
                  <a:gd name="T94" fmla="*/ 34 w 50"/>
                  <a:gd name="T95" fmla="*/ 77 h 125"/>
                  <a:gd name="T96" fmla="*/ 32 w 50"/>
                  <a:gd name="T97" fmla="*/ 77 h 125"/>
                  <a:gd name="T98" fmla="*/ 30 w 50"/>
                  <a:gd name="T99" fmla="*/ 78 h 125"/>
                  <a:gd name="T100" fmla="*/ 29 w 50"/>
                  <a:gd name="T101" fmla="*/ 78 h 125"/>
                  <a:gd name="T102" fmla="*/ 29 w 50"/>
                  <a:gd name="T103" fmla="*/ 75 h 125"/>
                  <a:gd name="T104" fmla="*/ 29 w 50"/>
                  <a:gd name="T105" fmla="*/ 71 h 125"/>
                  <a:gd name="T106" fmla="*/ 25 w 50"/>
                  <a:gd name="T107" fmla="*/ 64 h 125"/>
                  <a:gd name="T108" fmla="*/ 25 w 50"/>
                  <a:gd name="T109" fmla="*/ 61 h 125"/>
                  <a:gd name="T110" fmla="*/ 20 w 50"/>
                  <a:gd name="T111" fmla="*/ 46 h 125"/>
                  <a:gd name="T112" fmla="*/ 23 w 50"/>
                  <a:gd name="T113" fmla="*/ 37 h 125"/>
                  <a:gd name="T114" fmla="*/ 23 w 50"/>
                  <a:gd name="T115" fmla="*/ 18 h 125"/>
                  <a:gd name="T116" fmla="*/ 21 w 50"/>
                  <a:gd name="T117" fmla="*/ 14 h 125"/>
                  <a:gd name="T118" fmla="*/ 18 w 50"/>
                  <a:gd name="T119" fmla="*/ 9 h 125"/>
                  <a:gd name="T120" fmla="*/ 20 w 50"/>
                  <a:gd name="T121" fmla="*/ 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 h="125">
                    <a:moveTo>
                      <a:pt x="18" y="5"/>
                    </a:moveTo>
                    <a:lnTo>
                      <a:pt x="16" y="3"/>
                    </a:lnTo>
                    <a:lnTo>
                      <a:pt x="16" y="2"/>
                    </a:lnTo>
                    <a:lnTo>
                      <a:pt x="14" y="2"/>
                    </a:lnTo>
                    <a:lnTo>
                      <a:pt x="11" y="3"/>
                    </a:lnTo>
                    <a:lnTo>
                      <a:pt x="11" y="3"/>
                    </a:lnTo>
                    <a:lnTo>
                      <a:pt x="9" y="2"/>
                    </a:lnTo>
                    <a:lnTo>
                      <a:pt x="7" y="2"/>
                    </a:lnTo>
                    <a:lnTo>
                      <a:pt x="4" y="0"/>
                    </a:lnTo>
                    <a:lnTo>
                      <a:pt x="4" y="0"/>
                    </a:lnTo>
                    <a:lnTo>
                      <a:pt x="4" y="2"/>
                    </a:lnTo>
                    <a:lnTo>
                      <a:pt x="4" y="2"/>
                    </a:lnTo>
                    <a:lnTo>
                      <a:pt x="4" y="3"/>
                    </a:lnTo>
                    <a:lnTo>
                      <a:pt x="7" y="3"/>
                    </a:lnTo>
                    <a:lnTo>
                      <a:pt x="9" y="9"/>
                    </a:lnTo>
                    <a:lnTo>
                      <a:pt x="11" y="11"/>
                    </a:lnTo>
                    <a:lnTo>
                      <a:pt x="13" y="12"/>
                    </a:lnTo>
                    <a:lnTo>
                      <a:pt x="13" y="18"/>
                    </a:lnTo>
                    <a:lnTo>
                      <a:pt x="14" y="19"/>
                    </a:lnTo>
                    <a:lnTo>
                      <a:pt x="14" y="21"/>
                    </a:lnTo>
                    <a:lnTo>
                      <a:pt x="14" y="21"/>
                    </a:lnTo>
                    <a:lnTo>
                      <a:pt x="13" y="23"/>
                    </a:lnTo>
                    <a:lnTo>
                      <a:pt x="11" y="23"/>
                    </a:lnTo>
                    <a:lnTo>
                      <a:pt x="11" y="25"/>
                    </a:lnTo>
                    <a:lnTo>
                      <a:pt x="9" y="30"/>
                    </a:lnTo>
                    <a:lnTo>
                      <a:pt x="7" y="34"/>
                    </a:lnTo>
                    <a:lnTo>
                      <a:pt x="9" y="46"/>
                    </a:lnTo>
                    <a:lnTo>
                      <a:pt x="9" y="48"/>
                    </a:lnTo>
                    <a:lnTo>
                      <a:pt x="11" y="48"/>
                    </a:lnTo>
                    <a:lnTo>
                      <a:pt x="11" y="50"/>
                    </a:lnTo>
                    <a:lnTo>
                      <a:pt x="11" y="50"/>
                    </a:lnTo>
                    <a:lnTo>
                      <a:pt x="7" y="52"/>
                    </a:lnTo>
                    <a:lnTo>
                      <a:pt x="7" y="52"/>
                    </a:lnTo>
                    <a:lnTo>
                      <a:pt x="5" y="53"/>
                    </a:lnTo>
                    <a:lnTo>
                      <a:pt x="4" y="53"/>
                    </a:lnTo>
                    <a:lnTo>
                      <a:pt x="2" y="66"/>
                    </a:lnTo>
                    <a:lnTo>
                      <a:pt x="0" y="68"/>
                    </a:lnTo>
                    <a:lnTo>
                      <a:pt x="0" y="69"/>
                    </a:lnTo>
                    <a:lnTo>
                      <a:pt x="0" y="71"/>
                    </a:lnTo>
                    <a:lnTo>
                      <a:pt x="2" y="73"/>
                    </a:lnTo>
                    <a:lnTo>
                      <a:pt x="2" y="75"/>
                    </a:lnTo>
                    <a:lnTo>
                      <a:pt x="5" y="75"/>
                    </a:lnTo>
                    <a:lnTo>
                      <a:pt x="5" y="75"/>
                    </a:lnTo>
                    <a:lnTo>
                      <a:pt x="7" y="75"/>
                    </a:lnTo>
                    <a:lnTo>
                      <a:pt x="7" y="77"/>
                    </a:lnTo>
                    <a:lnTo>
                      <a:pt x="11" y="80"/>
                    </a:lnTo>
                    <a:lnTo>
                      <a:pt x="13" y="84"/>
                    </a:lnTo>
                    <a:lnTo>
                      <a:pt x="14" y="84"/>
                    </a:lnTo>
                    <a:lnTo>
                      <a:pt x="25" y="82"/>
                    </a:lnTo>
                    <a:lnTo>
                      <a:pt x="27" y="82"/>
                    </a:lnTo>
                    <a:lnTo>
                      <a:pt x="27" y="84"/>
                    </a:lnTo>
                    <a:lnTo>
                      <a:pt x="29" y="96"/>
                    </a:lnTo>
                    <a:lnTo>
                      <a:pt x="29" y="98"/>
                    </a:lnTo>
                    <a:lnTo>
                      <a:pt x="27" y="100"/>
                    </a:lnTo>
                    <a:lnTo>
                      <a:pt x="27" y="102"/>
                    </a:lnTo>
                    <a:lnTo>
                      <a:pt x="25" y="103"/>
                    </a:lnTo>
                    <a:lnTo>
                      <a:pt x="25" y="107"/>
                    </a:lnTo>
                    <a:lnTo>
                      <a:pt x="25" y="107"/>
                    </a:lnTo>
                    <a:lnTo>
                      <a:pt x="27" y="112"/>
                    </a:lnTo>
                    <a:lnTo>
                      <a:pt x="29" y="112"/>
                    </a:lnTo>
                    <a:lnTo>
                      <a:pt x="29" y="114"/>
                    </a:lnTo>
                    <a:lnTo>
                      <a:pt x="34" y="119"/>
                    </a:lnTo>
                    <a:lnTo>
                      <a:pt x="36" y="121"/>
                    </a:lnTo>
                    <a:lnTo>
                      <a:pt x="38" y="121"/>
                    </a:lnTo>
                    <a:lnTo>
                      <a:pt x="38" y="123"/>
                    </a:lnTo>
                    <a:lnTo>
                      <a:pt x="36" y="125"/>
                    </a:lnTo>
                    <a:lnTo>
                      <a:pt x="38" y="125"/>
                    </a:lnTo>
                    <a:lnTo>
                      <a:pt x="41" y="125"/>
                    </a:lnTo>
                    <a:lnTo>
                      <a:pt x="41" y="125"/>
                    </a:lnTo>
                    <a:lnTo>
                      <a:pt x="41" y="121"/>
                    </a:lnTo>
                    <a:lnTo>
                      <a:pt x="39" y="119"/>
                    </a:lnTo>
                    <a:lnTo>
                      <a:pt x="39" y="118"/>
                    </a:lnTo>
                    <a:lnTo>
                      <a:pt x="39" y="116"/>
                    </a:lnTo>
                    <a:lnTo>
                      <a:pt x="39" y="114"/>
                    </a:lnTo>
                    <a:lnTo>
                      <a:pt x="39" y="112"/>
                    </a:lnTo>
                    <a:lnTo>
                      <a:pt x="41" y="112"/>
                    </a:lnTo>
                    <a:lnTo>
                      <a:pt x="48" y="109"/>
                    </a:lnTo>
                    <a:lnTo>
                      <a:pt x="48" y="107"/>
                    </a:lnTo>
                    <a:lnTo>
                      <a:pt x="48" y="100"/>
                    </a:lnTo>
                    <a:lnTo>
                      <a:pt x="50" y="98"/>
                    </a:lnTo>
                    <a:lnTo>
                      <a:pt x="48" y="94"/>
                    </a:lnTo>
                    <a:lnTo>
                      <a:pt x="50" y="89"/>
                    </a:lnTo>
                    <a:lnTo>
                      <a:pt x="50" y="86"/>
                    </a:lnTo>
                    <a:lnTo>
                      <a:pt x="34" y="66"/>
                    </a:lnTo>
                    <a:lnTo>
                      <a:pt x="32" y="68"/>
                    </a:lnTo>
                    <a:lnTo>
                      <a:pt x="32" y="69"/>
                    </a:lnTo>
                    <a:lnTo>
                      <a:pt x="34" y="71"/>
                    </a:lnTo>
                    <a:lnTo>
                      <a:pt x="36" y="71"/>
                    </a:lnTo>
                    <a:lnTo>
                      <a:pt x="36" y="73"/>
                    </a:lnTo>
                    <a:lnTo>
                      <a:pt x="39" y="80"/>
                    </a:lnTo>
                    <a:lnTo>
                      <a:pt x="39" y="82"/>
                    </a:lnTo>
                    <a:lnTo>
                      <a:pt x="38" y="82"/>
                    </a:lnTo>
                    <a:lnTo>
                      <a:pt x="38" y="82"/>
                    </a:lnTo>
                    <a:lnTo>
                      <a:pt x="36" y="78"/>
                    </a:lnTo>
                    <a:lnTo>
                      <a:pt x="34" y="78"/>
                    </a:lnTo>
                    <a:lnTo>
                      <a:pt x="34" y="77"/>
                    </a:lnTo>
                    <a:lnTo>
                      <a:pt x="34" y="77"/>
                    </a:lnTo>
                    <a:lnTo>
                      <a:pt x="32" y="77"/>
                    </a:lnTo>
                    <a:lnTo>
                      <a:pt x="32" y="78"/>
                    </a:lnTo>
                    <a:lnTo>
                      <a:pt x="30" y="78"/>
                    </a:lnTo>
                    <a:lnTo>
                      <a:pt x="29" y="78"/>
                    </a:lnTo>
                    <a:lnTo>
                      <a:pt x="29" y="78"/>
                    </a:lnTo>
                    <a:lnTo>
                      <a:pt x="29" y="77"/>
                    </a:lnTo>
                    <a:lnTo>
                      <a:pt x="29" y="75"/>
                    </a:lnTo>
                    <a:lnTo>
                      <a:pt x="29" y="71"/>
                    </a:lnTo>
                    <a:lnTo>
                      <a:pt x="29" y="71"/>
                    </a:lnTo>
                    <a:lnTo>
                      <a:pt x="25" y="68"/>
                    </a:lnTo>
                    <a:lnTo>
                      <a:pt x="25" y="64"/>
                    </a:lnTo>
                    <a:lnTo>
                      <a:pt x="25" y="61"/>
                    </a:lnTo>
                    <a:lnTo>
                      <a:pt x="25" y="61"/>
                    </a:lnTo>
                    <a:lnTo>
                      <a:pt x="20" y="48"/>
                    </a:lnTo>
                    <a:lnTo>
                      <a:pt x="20" y="46"/>
                    </a:lnTo>
                    <a:lnTo>
                      <a:pt x="20" y="44"/>
                    </a:lnTo>
                    <a:lnTo>
                      <a:pt x="23" y="37"/>
                    </a:lnTo>
                    <a:lnTo>
                      <a:pt x="21" y="19"/>
                    </a:lnTo>
                    <a:lnTo>
                      <a:pt x="23" y="18"/>
                    </a:lnTo>
                    <a:lnTo>
                      <a:pt x="23" y="16"/>
                    </a:lnTo>
                    <a:lnTo>
                      <a:pt x="21" y="14"/>
                    </a:lnTo>
                    <a:lnTo>
                      <a:pt x="20" y="12"/>
                    </a:lnTo>
                    <a:lnTo>
                      <a:pt x="18" y="9"/>
                    </a:lnTo>
                    <a:lnTo>
                      <a:pt x="18" y="5"/>
                    </a:lnTo>
                    <a:lnTo>
                      <a:pt x="20" y="3"/>
                    </a:lnTo>
                    <a:lnTo>
                      <a:pt x="18"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21" name="Freeform 2372"/>
              <p:cNvSpPr>
                <a:spLocks/>
              </p:cNvSpPr>
              <p:nvPr/>
            </p:nvSpPr>
            <p:spPr bwMode="auto">
              <a:xfrm>
                <a:off x="3173" y="2647"/>
                <a:ext cx="84" cy="87"/>
              </a:xfrm>
              <a:custGeom>
                <a:avLst/>
                <a:gdLst>
                  <a:gd name="T0" fmla="*/ 68 w 84"/>
                  <a:gd name="T1" fmla="*/ 2 h 87"/>
                  <a:gd name="T2" fmla="*/ 68 w 84"/>
                  <a:gd name="T3" fmla="*/ 0 h 87"/>
                  <a:gd name="T4" fmla="*/ 68 w 84"/>
                  <a:gd name="T5" fmla="*/ 0 h 87"/>
                  <a:gd name="T6" fmla="*/ 59 w 84"/>
                  <a:gd name="T7" fmla="*/ 5 h 87"/>
                  <a:gd name="T8" fmla="*/ 36 w 84"/>
                  <a:gd name="T9" fmla="*/ 9 h 87"/>
                  <a:gd name="T10" fmla="*/ 34 w 84"/>
                  <a:gd name="T11" fmla="*/ 7 h 87"/>
                  <a:gd name="T12" fmla="*/ 30 w 84"/>
                  <a:gd name="T13" fmla="*/ 7 h 87"/>
                  <a:gd name="T14" fmla="*/ 28 w 84"/>
                  <a:gd name="T15" fmla="*/ 7 h 87"/>
                  <a:gd name="T16" fmla="*/ 25 w 84"/>
                  <a:gd name="T17" fmla="*/ 7 h 87"/>
                  <a:gd name="T18" fmla="*/ 21 w 84"/>
                  <a:gd name="T19" fmla="*/ 7 h 87"/>
                  <a:gd name="T20" fmla="*/ 18 w 84"/>
                  <a:gd name="T21" fmla="*/ 7 h 87"/>
                  <a:gd name="T22" fmla="*/ 18 w 84"/>
                  <a:gd name="T23" fmla="*/ 23 h 87"/>
                  <a:gd name="T24" fmla="*/ 18 w 84"/>
                  <a:gd name="T25" fmla="*/ 27 h 87"/>
                  <a:gd name="T26" fmla="*/ 21 w 84"/>
                  <a:gd name="T27" fmla="*/ 28 h 87"/>
                  <a:gd name="T28" fmla="*/ 23 w 84"/>
                  <a:gd name="T29" fmla="*/ 28 h 87"/>
                  <a:gd name="T30" fmla="*/ 25 w 84"/>
                  <a:gd name="T31" fmla="*/ 30 h 87"/>
                  <a:gd name="T32" fmla="*/ 25 w 84"/>
                  <a:gd name="T33" fmla="*/ 32 h 87"/>
                  <a:gd name="T34" fmla="*/ 23 w 84"/>
                  <a:gd name="T35" fmla="*/ 35 h 87"/>
                  <a:gd name="T36" fmla="*/ 19 w 84"/>
                  <a:gd name="T37" fmla="*/ 39 h 87"/>
                  <a:gd name="T38" fmla="*/ 16 w 84"/>
                  <a:gd name="T39" fmla="*/ 41 h 87"/>
                  <a:gd name="T40" fmla="*/ 3 w 84"/>
                  <a:gd name="T41" fmla="*/ 55 h 87"/>
                  <a:gd name="T42" fmla="*/ 0 w 84"/>
                  <a:gd name="T43" fmla="*/ 85 h 87"/>
                  <a:gd name="T44" fmla="*/ 0 w 84"/>
                  <a:gd name="T45" fmla="*/ 87 h 87"/>
                  <a:gd name="T46" fmla="*/ 2 w 84"/>
                  <a:gd name="T47" fmla="*/ 87 h 87"/>
                  <a:gd name="T48" fmla="*/ 5 w 84"/>
                  <a:gd name="T49" fmla="*/ 87 h 87"/>
                  <a:gd name="T50" fmla="*/ 7 w 84"/>
                  <a:gd name="T51" fmla="*/ 84 h 87"/>
                  <a:gd name="T52" fmla="*/ 7 w 84"/>
                  <a:gd name="T53" fmla="*/ 84 h 87"/>
                  <a:gd name="T54" fmla="*/ 11 w 84"/>
                  <a:gd name="T55" fmla="*/ 82 h 87"/>
                  <a:gd name="T56" fmla="*/ 11 w 84"/>
                  <a:gd name="T57" fmla="*/ 82 h 87"/>
                  <a:gd name="T58" fmla="*/ 18 w 84"/>
                  <a:gd name="T59" fmla="*/ 82 h 87"/>
                  <a:gd name="T60" fmla="*/ 19 w 84"/>
                  <a:gd name="T61" fmla="*/ 82 h 87"/>
                  <a:gd name="T62" fmla="*/ 19 w 84"/>
                  <a:gd name="T63" fmla="*/ 80 h 87"/>
                  <a:gd name="T64" fmla="*/ 34 w 84"/>
                  <a:gd name="T65" fmla="*/ 82 h 87"/>
                  <a:gd name="T66" fmla="*/ 32 w 84"/>
                  <a:gd name="T67" fmla="*/ 80 h 87"/>
                  <a:gd name="T68" fmla="*/ 36 w 84"/>
                  <a:gd name="T69" fmla="*/ 71 h 87"/>
                  <a:gd name="T70" fmla="*/ 34 w 84"/>
                  <a:gd name="T71" fmla="*/ 69 h 87"/>
                  <a:gd name="T72" fmla="*/ 34 w 84"/>
                  <a:gd name="T73" fmla="*/ 68 h 87"/>
                  <a:gd name="T74" fmla="*/ 41 w 84"/>
                  <a:gd name="T75" fmla="*/ 66 h 87"/>
                  <a:gd name="T76" fmla="*/ 43 w 84"/>
                  <a:gd name="T77" fmla="*/ 64 h 87"/>
                  <a:gd name="T78" fmla="*/ 44 w 84"/>
                  <a:gd name="T79" fmla="*/ 64 h 87"/>
                  <a:gd name="T80" fmla="*/ 44 w 84"/>
                  <a:gd name="T81" fmla="*/ 64 h 87"/>
                  <a:gd name="T82" fmla="*/ 46 w 84"/>
                  <a:gd name="T83" fmla="*/ 62 h 87"/>
                  <a:gd name="T84" fmla="*/ 46 w 84"/>
                  <a:gd name="T85" fmla="*/ 64 h 87"/>
                  <a:gd name="T86" fmla="*/ 50 w 84"/>
                  <a:gd name="T87" fmla="*/ 64 h 87"/>
                  <a:gd name="T88" fmla="*/ 52 w 84"/>
                  <a:gd name="T89" fmla="*/ 64 h 87"/>
                  <a:gd name="T90" fmla="*/ 55 w 84"/>
                  <a:gd name="T91" fmla="*/ 60 h 87"/>
                  <a:gd name="T92" fmla="*/ 62 w 84"/>
                  <a:gd name="T93" fmla="*/ 62 h 87"/>
                  <a:gd name="T94" fmla="*/ 64 w 84"/>
                  <a:gd name="T95" fmla="*/ 62 h 87"/>
                  <a:gd name="T96" fmla="*/ 68 w 84"/>
                  <a:gd name="T97" fmla="*/ 62 h 87"/>
                  <a:gd name="T98" fmla="*/ 82 w 84"/>
                  <a:gd name="T99" fmla="*/ 41 h 87"/>
                  <a:gd name="T100" fmla="*/ 84 w 84"/>
                  <a:gd name="T101" fmla="*/ 23 h 87"/>
                  <a:gd name="T102" fmla="*/ 82 w 84"/>
                  <a:gd name="T103" fmla="*/ 21 h 87"/>
                  <a:gd name="T104" fmla="*/ 80 w 84"/>
                  <a:gd name="T105" fmla="*/ 19 h 87"/>
                  <a:gd name="T106" fmla="*/ 77 w 84"/>
                  <a:gd name="T107" fmla="*/ 18 h 87"/>
                  <a:gd name="T108" fmla="*/ 77 w 84"/>
                  <a:gd name="T109" fmla="*/ 16 h 87"/>
                  <a:gd name="T110" fmla="*/ 73 w 84"/>
                  <a:gd name="T111" fmla="*/ 7 h 87"/>
                  <a:gd name="T112" fmla="*/ 73 w 84"/>
                  <a:gd name="T113" fmla="*/ 5 h 87"/>
                  <a:gd name="T114" fmla="*/ 73 w 84"/>
                  <a:gd name="T115" fmla="*/ 5 h 87"/>
                  <a:gd name="T116" fmla="*/ 73 w 84"/>
                  <a:gd name="T117" fmla="*/ 3 h 87"/>
                  <a:gd name="T118" fmla="*/ 71 w 84"/>
                  <a:gd name="T119" fmla="*/ 2 h 87"/>
                  <a:gd name="T120" fmla="*/ 68 w 84"/>
                  <a:gd name="T121" fmla="*/ 2 h 87"/>
                  <a:gd name="T122" fmla="*/ 68 w 84"/>
                  <a:gd name="T123" fmla="*/ 2 h 87"/>
                  <a:gd name="T124" fmla="*/ 68 w 84"/>
                  <a:gd name="T125" fmla="*/ 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87">
                    <a:moveTo>
                      <a:pt x="68" y="2"/>
                    </a:moveTo>
                    <a:lnTo>
                      <a:pt x="68" y="0"/>
                    </a:lnTo>
                    <a:lnTo>
                      <a:pt x="68" y="0"/>
                    </a:lnTo>
                    <a:lnTo>
                      <a:pt x="59" y="5"/>
                    </a:lnTo>
                    <a:lnTo>
                      <a:pt x="36" y="9"/>
                    </a:lnTo>
                    <a:lnTo>
                      <a:pt x="34" y="7"/>
                    </a:lnTo>
                    <a:lnTo>
                      <a:pt x="30" y="7"/>
                    </a:lnTo>
                    <a:lnTo>
                      <a:pt x="28" y="7"/>
                    </a:lnTo>
                    <a:lnTo>
                      <a:pt x="25" y="7"/>
                    </a:lnTo>
                    <a:lnTo>
                      <a:pt x="21" y="7"/>
                    </a:lnTo>
                    <a:lnTo>
                      <a:pt x="18" y="7"/>
                    </a:lnTo>
                    <a:lnTo>
                      <a:pt x="18" y="23"/>
                    </a:lnTo>
                    <a:lnTo>
                      <a:pt x="18" y="27"/>
                    </a:lnTo>
                    <a:lnTo>
                      <a:pt x="21" y="28"/>
                    </a:lnTo>
                    <a:lnTo>
                      <a:pt x="23" y="28"/>
                    </a:lnTo>
                    <a:lnTo>
                      <a:pt x="25" y="30"/>
                    </a:lnTo>
                    <a:lnTo>
                      <a:pt x="25" y="32"/>
                    </a:lnTo>
                    <a:lnTo>
                      <a:pt x="23" y="35"/>
                    </a:lnTo>
                    <a:lnTo>
                      <a:pt x="19" y="39"/>
                    </a:lnTo>
                    <a:lnTo>
                      <a:pt x="16" y="41"/>
                    </a:lnTo>
                    <a:lnTo>
                      <a:pt x="3" y="55"/>
                    </a:lnTo>
                    <a:lnTo>
                      <a:pt x="0" y="85"/>
                    </a:lnTo>
                    <a:lnTo>
                      <a:pt x="0" y="87"/>
                    </a:lnTo>
                    <a:lnTo>
                      <a:pt x="2" y="87"/>
                    </a:lnTo>
                    <a:lnTo>
                      <a:pt x="5" y="87"/>
                    </a:lnTo>
                    <a:lnTo>
                      <a:pt x="7" y="84"/>
                    </a:lnTo>
                    <a:lnTo>
                      <a:pt x="7" y="84"/>
                    </a:lnTo>
                    <a:lnTo>
                      <a:pt x="11" y="82"/>
                    </a:lnTo>
                    <a:lnTo>
                      <a:pt x="11" y="82"/>
                    </a:lnTo>
                    <a:lnTo>
                      <a:pt x="18" y="82"/>
                    </a:lnTo>
                    <a:lnTo>
                      <a:pt x="19" y="82"/>
                    </a:lnTo>
                    <a:lnTo>
                      <a:pt x="19" y="80"/>
                    </a:lnTo>
                    <a:lnTo>
                      <a:pt x="34" y="82"/>
                    </a:lnTo>
                    <a:lnTo>
                      <a:pt x="32" y="80"/>
                    </a:lnTo>
                    <a:lnTo>
                      <a:pt x="36" y="71"/>
                    </a:lnTo>
                    <a:lnTo>
                      <a:pt x="34" y="69"/>
                    </a:lnTo>
                    <a:lnTo>
                      <a:pt x="34" y="68"/>
                    </a:lnTo>
                    <a:lnTo>
                      <a:pt x="41" y="66"/>
                    </a:lnTo>
                    <a:lnTo>
                      <a:pt x="43" y="64"/>
                    </a:lnTo>
                    <a:lnTo>
                      <a:pt x="44" y="64"/>
                    </a:lnTo>
                    <a:lnTo>
                      <a:pt x="44" y="64"/>
                    </a:lnTo>
                    <a:lnTo>
                      <a:pt x="46" y="62"/>
                    </a:lnTo>
                    <a:lnTo>
                      <a:pt x="46" y="64"/>
                    </a:lnTo>
                    <a:lnTo>
                      <a:pt x="50" y="64"/>
                    </a:lnTo>
                    <a:lnTo>
                      <a:pt x="52" y="64"/>
                    </a:lnTo>
                    <a:lnTo>
                      <a:pt x="55" y="60"/>
                    </a:lnTo>
                    <a:lnTo>
                      <a:pt x="62" y="62"/>
                    </a:lnTo>
                    <a:lnTo>
                      <a:pt x="64" y="62"/>
                    </a:lnTo>
                    <a:lnTo>
                      <a:pt x="68" y="62"/>
                    </a:lnTo>
                    <a:lnTo>
                      <a:pt x="82" y="41"/>
                    </a:lnTo>
                    <a:lnTo>
                      <a:pt x="84" y="23"/>
                    </a:lnTo>
                    <a:lnTo>
                      <a:pt x="82" y="21"/>
                    </a:lnTo>
                    <a:lnTo>
                      <a:pt x="80" y="19"/>
                    </a:lnTo>
                    <a:lnTo>
                      <a:pt x="77" y="18"/>
                    </a:lnTo>
                    <a:lnTo>
                      <a:pt x="77" y="16"/>
                    </a:lnTo>
                    <a:lnTo>
                      <a:pt x="73" y="7"/>
                    </a:lnTo>
                    <a:lnTo>
                      <a:pt x="73" y="5"/>
                    </a:lnTo>
                    <a:lnTo>
                      <a:pt x="73" y="5"/>
                    </a:lnTo>
                    <a:lnTo>
                      <a:pt x="73" y="3"/>
                    </a:lnTo>
                    <a:lnTo>
                      <a:pt x="71" y="2"/>
                    </a:lnTo>
                    <a:lnTo>
                      <a:pt x="68" y="2"/>
                    </a:lnTo>
                    <a:lnTo>
                      <a:pt x="68" y="2"/>
                    </a:lnTo>
                    <a:lnTo>
                      <a:pt x="68"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22" name="Freeform 2373"/>
              <p:cNvSpPr>
                <a:spLocks/>
              </p:cNvSpPr>
              <p:nvPr/>
            </p:nvSpPr>
            <p:spPr bwMode="auto">
              <a:xfrm>
                <a:off x="3173" y="2647"/>
                <a:ext cx="84" cy="87"/>
              </a:xfrm>
              <a:custGeom>
                <a:avLst/>
                <a:gdLst>
                  <a:gd name="T0" fmla="*/ 68 w 84"/>
                  <a:gd name="T1" fmla="*/ 2 h 87"/>
                  <a:gd name="T2" fmla="*/ 68 w 84"/>
                  <a:gd name="T3" fmla="*/ 0 h 87"/>
                  <a:gd name="T4" fmla="*/ 68 w 84"/>
                  <a:gd name="T5" fmla="*/ 0 h 87"/>
                  <a:gd name="T6" fmla="*/ 59 w 84"/>
                  <a:gd name="T7" fmla="*/ 5 h 87"/>
                  <a:gd name="T8" fmla="*/ 36 w 84"/>
                  <a:gd name="T9" fmla="*/ 9 h 87"/>
                  <a:gd name="T10" fmla="*/ 34 w 84"/>
                  <a:gd name="T11" fmla="*/ 7 h 87"/>
                  <a:gd name="T12" fmla="*/ 30 w 84"/>
                  <a:gd name="T13" fmla="*/ 7 h 87"/>
                  <a:gd name="T14" fmla="*/ 28 w 84"/>
                  <a:gd name="T15" fmla="*/ 7 h 87"/>
                  <a:gd name="T16" fmla="*/ 25 w 84"/>
                  <a:gd name="T17" fmla="*/ 7 h 87"/>
                  <a:gd name="T18" fmla="*/ 21 w 84"/>
                  <a:gd name="T19" fmla="*/ 7 h 87"/>
                  <a:gd name="T20" fmla="*/ 18 w 84"/>
                  <a:gd name="T21" fmla="*/ 7 h 87"/>
                  <a:gd name="T22" fmla="*/ 18 w 84"/>
                  <a:gd name="T23" fmla="*/ 23 h 87"/>
                  <a:gd name="T24" fmla="*/ 18 w 84"/>
                  <a:gd name="T25" fmla="*/ 27 h 87"/>
                  <a:gd name="T26" fmla="*/ 21 w 84"/>
                  <a:gd name="T27" fmla="*/ 28 h 87"/>
                  <a:gd name="T28" fmla="*/ 23 w 84"/>
                  <a:gd name="T29" fmla="*/ 28 h 87"/>
                  <a:gd name="T30" fmla="*/ 25 w 84"/>
                  <a:gd name="T31" fmla="*/ 30 h 87"/>
                  <a:gd name="T32" fmla="*/ 25 w 84"/>
                  <a:gd name="T33" fmla="*/ 32 h 87"/>
                  <a:gd name="T34" fmla="*/ 23 w 84"/>
                  <a:gd name="T35" fmla="*/ 35 h 87"/>
                  <a:gd name="T36" fmla="*/ 19 w 84"/>
                  <a:gd name="T37" fmla="*/ 39 h 87"/>
                  <a:gd name="T38" fmla="*/ 16 w 84"/>
                  <a:gd name="T39" fmla="*/ 41 h 87"/>
                  <a:gd name="T40" fmla="*/ 3 w 84"/>
                  <a:gd name="T41" fmla="*/ 55 h 87"/>
                  <a:gd name="T42" fmla="*/ 0 w 84"/>
                  <a:gd name="T43" fmla="*/ 85 h 87"/>
                  <a:gd name="T44" fmla="*/ 0 w 84"/>
                  <a:gd name="T45" fmla="*/ 87 h 87"/>
                  <a:gd name="T46" fmla="*/ 2 w 84"/>
                  <a:gd name="T47" fmla="*/ 87 h 87"/>
                  <a:gd name="T48" fmla="*/ 5 w 84"/>
                  <a:gd name="T49" fmla="*/ 87 h 87"/>
                  <a:gd name="T50" fmla="*/ 7 w 84"/>
                  <a:gd name="T51" fmla="*/ 84 h 87"/>
                  <a:gd name="T52" fmla="*/ 7 w 84"/>
                  <a:gd name="T53" fmla="*/ 84 h 87"/>
                  <a:gd name="T54" fmla="*/ 11 w 84"/>
                  <a:gd name="T55" fmla="*/ 82 h 87"/>
                  <a:gd name="T56" fmla="*/ 11 w 84"/>
                  <a:gd name="T57" fmla="*/ 82 h 87"/>
                  <a:gd name="T58" fmla="*/ 18 w 84"/>
                  <a:gd name="T59" fmla="*/ 82 h 87"/>
                  <a:gd name="T60" fmla="*/ 19 w 84"/>
                  <a:gd name="T61" fmla="*/ 82 h 87"/>
                  <a:gd name="T62" fmla="*/ 19 w 84"/>
                  <a:gd name="T63" fmla="*/ 80 h 87"/>
                  <a:gd name="T64" fmla="*/ 34 w 84"/>
                  <a:gd name="T65" fmla="*/ 82 h 87"/>
                  <a:gd name="T66" fmla="*/ 32 w 84"/>
                  <a:gd name="T67" fmla="*/ 80 h 87"/>
                  <a:gd name="T68" fmla="*/ 36 w 84"/>
                  <a:gd name="T69" fmla="*/ 71 h 87"/>
                  <a:gd name="T70" fmla="*/ 34 w 84"/>
                  <a:gd name="T71" fmla="*/ 69 h 87"/>
                  <a:gd name="T72" fmla="*/ 34 w 84"/>
                  <a:gd name="T73" fmla="*/ 68 h 87"/>
                  <a:gd name="T74" fmla="*/ 41 w 84"/>
                  <a:gd name="T75" fmla="*/ 66 h 87"/>
                  <a:gd name="T76" fmla="*/ 43 w 84"/>
                  <a:gd name="T77" fmla="*/ 64 h 87"/>
                  <a:gd name="T78" fmla="*/ 44 w 84"/>
                  <a:gd name="T79" fmla="*/ 64 h 87"/>
                  <a:gd name="T80" fmla="*/ 44 w 84"/>
                  <a:gd name="T81" fmla="*/ 64 h 87"/>
                  <a:gd name="T82" fmla="*/ 46 w 84"/>
                  <a:gd name="T83" fmla="*/ 62 h 87"/>
                  <a:gd name="T84" fmla="*/ 46 w 84"/>
                  <a:gd name="T85" fmla="*/ 64 h 87"/>
                  <a:gd name="T86" fmla="*/ 50 w 84"/>
                  <a:gd name="T87" fmla="*/ 64 h 87"/>
                  <a:gd name="T88" fmla="*/ 52 w 84"/>
                  <a:gd name="T89" fmla="*/ 64 h 87"/>
                  <a:gd name="T90" fmla="*/ 55 w 84"/>
                  <a:gd name="T91" fmla="*/ 60 h 87"/>
                  <a:gd name="T92" fmla="*/ 62 w 84"/>
                  <a:gd name="T93" fmla="*/ 62 h 87"/>
                  <a:gd name="T94" fmla="*/ 64 w 84"/>
                  <a:gd name="T95" fmla="*/ 62 h 87"/>
                  <a:gd name="T96" fmla="*/ 68 w 84"/>
                  <a:gd name="T97" fmla="*/ 62 h 87"/>
                  <a:gd name="T98" fmla="*/ 82 w 84"/>
                  <a:gd name="T99" fmla="*/ 41 h 87"/>
                  <a:gd name="T100" fmla="*/ 84 w 84"/>
                  <a:gd name="T101" fmla="*/ 23 h 87"/>
                  <a:gd name="T102" fmla="*/ 82 w 84"/>
                  <a:gd name="T103" fmla="*/ 21 h 87"/>
                  <a:gd name="T104" fmla="*/ 80 w 84"/>
                  <a:gd name="T105" fmla="*/ 19 h 87"/>
                  <a:gd name="T106" fmla="*/ 77 w 84"/>
                  <a:gd name="T107" fmla="*/ 18 h 87"/>
                  <a:gd name="T108" fmla="*/ 77 w 84"/>
                  <a:gd name="T109" fmla="*/ 16 h 87"/>
                  <a:gd name="T110" fmla="*/ 73 w 84"/>
                  <a:gd name="T111" fmla="*/ 7 h 87"/>
                  <a:gd name="T112" fmla="*/ 73 w 84"/>
                  <a:gd name="T113" fmla="*/ 5 h 87"/>
                  <a:gd name="T114" fmla="*/ 73 w 84"/>
                  <a:gd name="T115" fmla="*/ 5 h 87"/>
                  <a:gd name="T116" fmla="*/ 73 w 84"/>
                  <a:gd name="T117" fmla="*/ 3 h 87"/>
                  <a:gd name="T118" fmla="*/ 71 w 84"/>
                  <a:gd name="T119" fmla="*/ 2 h 87"/>
                  <a:gd name="T120" fmla="*/ 68 w 84"/>
                  <a:gd name="T121" fmla="*/ 2 h 87"/>
                  <a:gd name="T122" fmla="*/ 68 w 84"/>
                  <a:gd name="T123" fmla="*/ 2 h 87"/>
                  <a:gd name="T124" fmla="*/ 68 w 84"/>
                  <a:gd name="T125" fmla="*/ 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4" h="87">
                    <a:moveTo>
                      <a:pt x="68" y="2"/>
                    </a:moveTo>
                    <a:lnTo>
                      <a:pt x="68" y="0"/>
                    </a:lnTo>
                    <a:lnTo>
                      <a:pt x="68" y="0"/>
                    </a:lnTo>
                    <a:lnTo>
                      <a:pt x="59" y="5"/>
                    </a:lnTo>
                    <a:lnTo>
                      <a:pt x="36" y="9"/>
                    </a:lnTo>
                    <a:lnTo>
                      <a:pt x="34" y="7"/>
                    </a:lnTo>
                    <a:lnTo>
                      <a:pt x="30" y="7"/>
                    </a:lnTo>
                    <a:lnTo>
                      <a:pt x="28" y="7"/>
                    </a:lnTo>
                    <a:lnTo>
                      <a:pt x="25" y="7"/>
                    </a:lnTo>
                    <a:lnTo>
                      <a:pt x="21" y="7"/>
                    </a:lnTo>
                    <a:lnTo>
                      <a:pt x="18" y="7"/>
                    </a:lnTo>
                    <a:lnTo>
                      <a:pt x="18" y="23"/>
                    </a:lnTo>
                    <a:lnTo>
                      <a:pt x="18" y="27"/>
                    </a:lnTo>
                    <a:lnTo>
                      <a:pt x="21" y="28"/>
                    </a:lnTo>
                    <a:lnTo>
                      <a:pt x="23" y="28"/>
                    </a:lnTo>
                    <a:lnTo>
                      <a:pt x="25" y="30"/>
                    </a:lnTo>
                    <a:lnTo>
                      <a:pt x="25" y="32"/>
                    </a:lnTo>
                    <a:lnTo>
                      <a:pt x="23" y="35"/>
                    </a:lnTo>
                    <a:lnTo>
                      <a:pt x="19" y="39"/>
                    </a:lnTo>
                    <a:lnTo>
                      <a:pt x="16" y="41"/>
                    </a:lnTo>
                    <a:lnTo>
                      <a:pt x="3" y="55"/>
                    </a:lnTo>
                    <a:lnTo>
                      <a:pt x="0" y="85"/>
                    </a:lnTo>
                    <a:lnTo>
                      <a:pt x="0" y="87"/>
                    </a:lnTo>
                    <a:lnTo>
                      <a:pt x="2" y="87"/>
                    </a:lnTo>
                    <a:lnTo>
                      <a:pt x="5" y="87"/>
                    </a:lnTo>
                    <a:lnTo>
                      <a:pt x="7" y="84"/>
                    </a:lnTo>
                    <a:lnTo>
                      <a:pt x="7" y="84"/>
                    </a:lnTo>
                    <a:lnTo>
                      <a:pt x="11" y="82"/>
                    </a:lnTo>
                    <a:lnTo>
                      <a:pt x="11" y="82"/>
                    </a:lnTo>
                    <a:lnTo>
                      <a:pt x="18" y="82"/>
                    </a:lnTo>
                    <a:lnTo>
                      <a:pt x="19" y="82"/>
                    </a:lnTo>
                    <a:lnTo>
                      <a:pt x="19" y="80"/>
                    </a:lnTo>
                    <a:lnTo>
                      <a:pt x="34" y="82"/>
                    </a:lnTo>
                    <a:lnTo>
                      <a:pt x="32" y="80"/>
                    </a:lnTo>
                    <a:lnTo>
                      <a:pt x="36" y="71"/>
                    </a:lnTo>
                    <a:lnTo>
                      <a:pt x="34" y="69"/>
                    </a:lnTo>
                    <a:lnTo>
                      <a:pt x="34" y="68"/>
                    </a:lnTo>
                    <a:lnTo>
                      <a:pt x="41" y="66"/>
                    </a:lnTo>
                    <a:lnTo>
                      <a:pt x="43" y="64"/>
                    </a:lnTo>
                    <a:lnTo>
                      <a:pt x="44" y="64"/>
                    </a:lnTo>
                    <a:lnTo>
                      <a:pt x="44" y="64"/>
                    </a:lnTo>
                    <a:lnTo>
                      <a:pt x="46" y="62"/>
                    </a:lnTo>
                    <a:lnTo>
                      <a:pt x="46" y="64"/>
                    </a:lnTo>
                    <a:lnTo>
                      <a:pt x="50" y="64"/>
                    </a:lnTo>
                    <a:lnTo>
                      <a:pt x="52" y="64"/>
                    </a:lnTo>
                    <a:lnTo>
                      <a:pt x="55" y="60"/>
                    </a:lnTo>
                    <a:lnTo>
                      <a:pt x="62" y="62"/>
                    </a:lnTo>
                    <a:lnTo>
                      <a:pt x="64" y="62"/>
                    </a:lnTo>
                    <a:lnTo>
                      <a:pt x="68" y="62"/>
                    </a:lnTo>
                    <a:lnTo>
                      <a:pt x="82" y="41"/>
                    </a:lnTo>
                    <a:lnTo>
                      <a:pt x="84" y="23"/>
                    </a:lnTo>
                    <a:lnTo>
                      <a:pt x="82" y="21"/>
                    </a:lnTo>
                    <a:lnTo>
                      <a:pt x="80" y="19"/>
                    </a:lnTo>
                    <a:lnTo>
                      <a:pt x="77" y="18"/>
                    </a:lnTo>
                    <a:lnTo>
                      <a:pt x="77" y="16"/>
                    </a:lnTo>
                    <a:lnTo>
                      <a:pt x="73" y="7"/>
                    </a:lnTo>
                    <a:lnTo>
                      <a:pt x="73" y="5"/>
                    </a:lnTo>
                    <a:lnTo>
                      <a:pt x="73" y="5"/>
                    </a:lnTo>
                    <a:lnTo>
                      <a:pt x="73" y="3"/>
                    </a:lnTo>
                    <a:lnTo>
                      <a:pt x="71" y="2"/>
                    </a:lnTo>
                    <a:lnTo>
                      <a:pt x="68" y="2"/>
                    </a:lnTo>
                    <a:lnTo>
                      <a:pt x="68" y="2"/>
                    </a:lnTo>
                    <a:lnTo>
                      <a:pt x="68" y="2"/>
                    </a:lnTo>
                  </a:path>
                </a:pathLst>
              </a:custGeom>
              <a:solidFill>
                <a:srgbClr val="0E5990"/>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23" name="Freeform 2374"/>
              <p:cNvSpPr>
                <a:spLocks/>
              </p:cNvSpPr>
              <p:nvPr/>
            </p:nvSpPr>
            <p:spPr bwMode="auto">
              <a:xfrm>
                <a:off x="2882" y="2984"/>
                <a:ext cx="214" cy="211"/>
              </a:xfrm>
              <a:custGeom>
                <a:avLst/>
                <a:gdLst>
                  <a:gd name="T0" fmla="*/ 35 w 214"/>
                  <a:gd name="T1" fmla="*/ 9 h 211"/>
                  <a:gd name="T2" fmla="*/ 28 w 214"/>
                  <a:gd name="T3" fmla="*/ 4 h 211"/>
                  <a:gd name="T4" fmla="*/ 18 w 214"/>
                  <a:gd name="T5" fmla="*/ 0 h 211"/>
                  <a:gd name="T6" fmla="*/ 12 w 214"/>
                  <a:gd name="T7" fmla="*/ 6 h 211"/>
                  <a:gd name="T8" fmla="*/ 7 w 214"/>
                  <a:gd name="T9" fmla="*/ 4 h 211"/>
                  <a:gd name="T10" fmla="*/ 0 w 214"/>
                  <a:gd name="T11" fmla="*/ 16 h 211"/>
                  <a:gd name="T12" fmla="*/ 2 w 214"/>
                  <a:gd name="T13" fmla="*/ 22 h 211"/>
                  <a:gd name="T14" fmla="*/ 9 w 214"/>
                  <a:gd name="T15" fmla="*/ 32 h 211"/>
                  <a:gd name="T16" fmla="*/ 34 w 214"/>
                  <a:gd name="T17" fmla="*/ 82 h 211"/>
                  <a:gd name="T18" fmla="*/ 44 w 214"/>
                  <a:gd name="T19" fmla="*/ 127 h 211"/>
                  <a:gd name="T20" fmla="*/ 50 w 214"/>
                  <a:gd name="T21" fmla="*/ 152 h 211"/>
                  <a:gd name="T22" fmla="*/ 53 w 214"/>
                  <a:gd name="T23" fmla="*/ 163 h 211"/>
                  <a:gd name="T24" fmla="*/ 75 w 214"/>
                  <a:gd name="T25" fmla="*/ 204 h 211"/>
                  <a:gd name="T26" fmla="*/ 77 w 214"/>
                  <a:gd name="T27" fmla="*/ 206 h 211"/>
                  <a:gd name="T28" fmla="*/ 80 w 214"/>
                  <a:gd name="T29" fmla="*/ 204 h 211"/>
                  <a:gd name="T30" fmla="*/ 87 w 214"/>
                  <a:gd name="T31" fmla="*/ 198 h 211"/>
                  <a:gd name="T32" fmla="*/ 94 w 214"/>
                  <a:gd name="T33" fmla="*/ 207 h 211"/>
                  <a:gd name="T34" fmla="*/ 102 w 214"/>
                  <a:gd name="T35" fmla="*/ 211 h 211"/>
                  <a:gd name="T36" fmla="*/ 118 w 214"/>
                  <a:gd name="T37" fmla="*/ 211 h 211"/>
                  <a:gd name="T38" fmla="*/ 132 w 214"/>
                  <a:gd name="T39" fmla="*/ 202 h 211"/>
                  <a:gd name="T40" fmla="*/ 148 w 214"/>
                  <a:gd name="T41" fmla="*/ 88 h 211"/>
                  <a:gd name="T42" fmla="*/ 150 w 214"/>
                  <a:gd name="T43" fmla="*/ 25 h 211"/>
                  <a:gd name="T44" fmla="*/ 187 w 214"/>
                  <a:gd name="T45" fmla="*/ 22 h 211"/>
                  <a:gd name="T46" fmla="*/ 191 w 214"/>
                  <a:gd name="T47" fmla="*/ 31 h 211"/>
                  <a:gd name="T48" fmla="*/ 200 w 214"/>
                  <a:gd name="T49" fmla="*/ 22 h 211"/>
                  <a:gd name="T50" fmla="*/ 209 w 214"/>
                  <a:gd name="T51" fmla="*/ 16 h 211"/>
                  <a:gd name="T52" fmla="*/ 214 w 214"/>
                  <a:gd name="T53" fmla="*/ 16 h 211"/>
                  <a:gd name="T54" fmla="*/ 210 w 214"/>
                  <a:gd name="T55" fmla="*/ 11 h 211"/>
                  <a:gd name="T56" fmla="*/ 200 w 214"/>
                  <a:gd name="T57" fmla="*/ 9 h 211"/>
                  <a:gd name="T58" fmla="*/ 185 w 214"/>
                  <a:gd name="T59" fmla="*/ 13 h 211"/>
                  <a:gd name="T60" fmla="*/ 157 w 214"/>
                  <a:gd name="T61" fmla="*/ 20 h 211"/>
                  <a:gd name="T62" fmla="*/ 112 w 214"/>
                  <a:gd name="T63" fmla="*/ 11 h 211"/>
                  <a:gd name="T64" fmla="*/ 102 w 214"/>
                  <a:gd name="T65" fmla="*/ 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4" h="211">
                    <a:moveTo>
                      <a:pt x="102" y="9"/>
                    </a:moveTo>
                    <a:lnTo>
                      <a:pt x="35" y="9"/>
                    </a:lnTo>
                    <a:lnTo>
                      <a:pt x="32" y="6"/>
                    </a:lnTo>
                    <a:lnTo>
                      <a:pt x="28" y="4"/>
                    </a:lnTo>
                    <a:lnTo>
                      <a:pt x="27" y="2"/>
                    </a:lnTo>
                    <a:lnTo>
                      <a:pt x="18" y="0"/>
                    </a:lnTo>
                    <a:lnTo>
                      <a:pt x="14" y="2"/>
                    </a:lnTo>
                    <a:lnTo>
                      <a:pt x="12" y="6"/>
                    </a:lnTo>
                    <a:lnTo>
                      <a:pt x="10" y="6"/>
                    </a:lnTo>
                    <a:lnTo>
                      <a:pt x="7" y="4"/>
                    </a:lnTo>
                    <a:lnTo>
                      <a:pt x="0" y="9"/>
                    </a:lnTo>
                    <a:lnTo>
                      <a:pt x="0" y="16"/>
                    </a:lnTo>
                    <a:lnTo>
                      <a:pt x="2" y="20"/>
                    </a:lnTo>
                    <a:lnTo>
                      <a:pt x="2" y="22"/>
                    </a:lnTo>
                    <a:lnTo>
                      <a:pt x="5" y="31"/>
                    </a:lnTo>
                    <a:lnTo>
                      <a:pt x="9" y="32"/>
                    </a:lnTo>
                    <a:lnTo>
                      <a:pt x="34" y="81"/>
                    </a:lnTo>
                    <a:lnTo>
                      <a:pt x="34" y="82"/>
                    </a:lnTo>
                    <a:lnTo>
                      <a:pt x="44" y="97"/>
                    </a:lnTo>
                    <a:lnTo>
                      <a:pt x="44" y="127"/>
                    </a:lnTo>
                    <a:lnTo>
                      <a:pt x="50" y="140"/>
                    </a:lnTo>
                    <a:lnTo>
                      <a:pt x="50" y="152"/>
                    </a:lnTo>
                    <a:lnTo>
                      <a:pt x="53" y="159"/>
                    </a:lnTo>
                    <a:lnTo>
                      <a:pt x="53" y="163"/>
                    </a:lnTo>
                    <a:lnTo>
                      <a:pt x="57" y="182"/>
                    </a:lnTo>
                    <a:lnTo>
                      <a:pt x="75" y="204"/>
                    </a:lnTo>
                    <a:lnTo>
                      <a:pt x="77" y="204"/>
                    </a:lnTo>
                    <a:lnTo>
                      <a:pt x="77" y="206"/>
                    </a:lnTo>
                    <a:lnTo>
                      <a:pt x="78" y="206"/>
                    </a:lnTo>
                    <a:lnTo>
                      <a:pt x="80" y="204"/>
                    </a:lnTo>
                    <a:lnTo>
                      <a:pt x="84" y="198"/>
                    </a:lnTo>
                    <a:lnTo>
                      <a:pt x="87" y="198"/>
                    </a:lnTo>
                    <a:lnTo>
                      <a:pt x="94" y="204"/>
                    </a:lnTo>
                    <a:lnTo>
                      <a:pt x="94" y="207"/>
                    </a:lnTo>
                    <a:lnTo>
                      <a:pt x="98" y="211"/>
                    </a:lnTo>
                    <a:lnTo>
                      <a:pt x="102" y="211"/>
                    </a:lnTo>
                    <a:lnTo>
                      <a:pt x="107" y="211"/>
                    </a:lnTo>
                    <a:lnTo>
                      <a:pt x="118" y="211"/>
                    </a:lnTo>
                    <a:lnTo>
                      <a:pt x="127" y="204"/>
                    </a:lnTo>
                    <a:lnTo>
                      <a:pt x="132" y="202"/>
                    </a:lnTo>
                    <a:lnTo>
                      <a:pt x="132" y="88"/>
                    </a:lnTo>
                    <a:lnTo>
                      <a:pt x="148" y="88"/>
                    </a:lnTo>
                    <a:lnTo>
                      <a:pt x="148" y="27"/>
                    </a:lnTo>
                    <a:lnTo>
                      <a:pt x="150" y="25"/>
                    </a:lnTo>
                    <a:lnTo>
                      <a:pt x="185" y="22"/>
                    </a:lnTo>
                    <a:lnTo>
                      <a:pt x="187" y="22"/>
                    </a:lnTo>
                    <a:lnTo>
                      <a:pt x="189" y="25"/>
                    </a:lnTo>
                    <a:lnTo>
                      <a:pt x="191" y="31"/>
                    </a:lnTo>
                    <a:lnTo>
                      <a:pt x="194" y="25"/>
                    </a:lnTo>
                    <a:lnTo>
                      <a:pt x="200" y="22"/>
                    </a:lnTo>
                    <a:lnTo>
                      <a:pt x="207" y="18"/>
                    </a:lnTo>
                    <a:lnTo>
                      <a:pt x="209" y="16"/>
                    </a:lnTo>
                    <a:lnTo>
                      <a:pt x="210" y="16"/>
                    </a:lnTo>
                    <a:lnTo>
                      <a:pt x="214" y="16"/>
                    </a:lnTo>
                    <a:lnTo>
                      <a:pt x="212" y="13"/>
                    </a:lnTo>
                    <a:lnTo>
                      <a:pt x="210" y="11"/>
                    </a:lnTo>
                    <a:lnTo>
                      <a:pt x="202" y="11"/>
                    </a:lnTo>
                    <a:lnTo>
                      <a:pt x="200" y="9"/>
                    </a:lnTo>
                    <a:lnTo>
                      <a:pt x="185" y="13"/>
                    </a:lnTo>
                    <a:lnTo>
                      <a:pt x="185" y="13"/>
                    </a:lnTo>
                    <a:lnTo>
                      <a:pt x="157" y="20"/>
                    </a:lnTo>
                    <a:lnTo>
                      <a:pt x="157" y="20"/>
                    </a:lnTo>
                    <a:lnTo>
                      <a:pt x="114" y="15"/>
                    </a:lnTo>
                    <a:lnTo>
                      <a:pt x="112" y="11"/>
                    </a:lnTo>
                    <a:lnTo>
                      <a:pt x="107" y="9"/>
                    </a:lnTo>
                    <a:lnTo>
                      <a:pt x="102"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24" name="Freeform 2375"/>
              <p:cNvSpPr>
                <a:spLocks/>
              </p:cNvSpPr>
              <p:nvPr/>
            </p:nvSpPr>
            <p:spPr bwMode="auto">
              <a:xfrm>
                <a:off x="2882" y="2984"/>
                <a:ext cx="214" cy="211"/>
              </a:xfrm>
              <a:custGeom>
                <a:avLst/>
                <a:gdLst>
                  <a:gd name="T0" fmla="*/ 35 w 214"/>
                  <a:gd name="T1" fmla="*/ 9 h 211"/>
                  <a:gd name="T2" fmla="*/ 28 w 214"/>
                  <a:gd name="T3" fmla="*/ 4 h 211"/>
                  <a:gd name="T4" fmla="*/ 18 w 214"/>
                  <a:gd name="T5" fmla="*/ 0 h 211"/>
                  <a:gd name="T6" fmla="*/ 12 w 214"/>
                  <a:gd name="T7" fmla="*/ 6 h 211"/>
                  <a:gd name="T8" fmla="*/ 7 w 214"/>
                  <a:gd name="T9" fmla="*/ 4 h 211"/>
                  <a:gd name="T10" fmla="*/ 0 w 214"/>
                  <a:gd name="T11" fmla="*/ 16 h 211"/>
                  <a:gd name="T12" fmla="*/ 2 w 214"/>
                  <a:gd name="T13" fmla="*/ 22 h 211"/>
                  <a:gd name="T14" fmla="*/ 9 w 214"/>
                  <a:gd name="T15" fmla="*/ 32 h 211"/>
                  <a:gd name="T16" fmla="*/ 34 w 214"/>
                  <a:gd name="T17" fmla="*/ 82 h 211"/>
                  <a:gd name="T18" fmla="*/ 44 w 214"/>
                  <a:gd name="T19" fmla="*/ 127 h 211"/>
                  <a:gd name="T20" fmla="*/ 50 w 214"/>
                  <a:gd name="T21" fmla="*/ 152 h 211"/>
                  <a:gd name="T22" fmla="*/ 53 w 214"/>
                  <a:gd name="T23" fmla="*/ 163 h 211"/>
                  <a:gd name="T24" fmla="*/ 75 w 214"/>
                  <a:gd name="T25" fmla="*/ 204 h 211"/>
                  <a:gd name="T26" fmla="*/ 77 w 214"/>
                  <a:gd name="T27" fmla="*/ 206 h 211"/>
                  <a:gd name="T28" fmla="*/ 80 w 214"/>
                  <a:gd name="T29" fmla="*/ 204 h 211"/>
                  <a:gd name="T30" fmla="*/ 87 w 214"/>
                  <a:gd name="T31" fmla="*/ 198 h 211"/>
                  <a:gd name="T32" fmla="*/ 94 w 214"/>
                  <a:gd name="T33" fmla="*/ 207 h 211"/>
                  <a:gd name="T34" fmla="*/ 102 w 214"/>
                  <a:gd name="T35" fmla="*/ 211 h 211"/>
                  <a:gd name="T36" fmla="*/ 118 w 214"/>
                  <a:gd name="T37" fmla="*/ 211 h 211"/>
                  <a:gd name="T38" fmla="*/ 132 w 214"/>
                  <a:gd name="T39" fmla="*/ 202 h 211"/>
                  <a:gd name="T40" fmla="*/ 148 w 214"/>
                  <a:gd name="T41" fmla="*/ 88 h 211"/>
                  <a:gd name="T42" fmla="*/ 150 w 214"/>
                  <a:gd name="T43" fmla="*/ 25 h 211"/>
                  <a:gd name="T44" fmla="*/ 187 w 214"/>
                  <a:gd name="T45" fmla="*/ 22 h 211"/>
                  <a:gd name="T46" fmla="*/ 191 w 214"/>
                  <a:gd name="T47" fmla="*/ 31 h 211"/>
                  <a:gd name="T48" fmla="*/ 200 w 214"/>
                  <a:gd name="T49" fmla="*/ 22 h 211"/>
                  <a:gd name="T50" fmla="*/ 209 w 214"/>
                  <a:gd name="T51" fmla="*/ 16 h 211"/>
                  <a:gd name="T52" fmla="*/ 214 w 214"/>
                  <a:gd name="T53" fmla="*/ 16 h 211"/>
                  <a:gd name="T54" fmla="*/ 210 w 214"/>
                  <a:gd name="T55" fmla="*/ 11 h 211"/>
                  <a:gd name="T56" fmla="*/ 200 w 214"/>
                  <a:gd name="T57" fmla="*/ 9 h 211"/>
                  <a:gd name="T58" fmla="*/ 185 w 214"/>
                  <a:gd name="T59" fmla="*/ 13 h 211"/>
                  <a:gd name="T60" fmla="*/ 157 w 214"/>
                  <a:gd name="T61" fmla="*/ 20 h 211"/>
                  <a:gd name="T62" fmla="*/ 112 w 214"/>
                  <a:gd name="T63" fmla="*/ 11 h 211"/>
                  <a:gd name="T64" fmla="*/ 102 w 214"/>
                  <a:gd name="T65" fmla="*/ 9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4" h="211">
                    <a:moveTo>
                      <a:pt x="102" y="9"/>
                    </a:moveTo>
                    <a:lnTo>
                      <a:pt x="35" y="9"/>
                    </a:lnTo>
                    <a:lnTo>
                      <a:pt x="32" y="6"/>
                    </a:lnTo>
                    <a:lnTo>
                      <a:pt x="28" y="4"/>
                    </a:lnTo>
                    <a:lnTo>
                      <a:pt x="27" y="2"/>
                    </a:lnTo>
                    <a:lnTo>
                      <a:pt x="18" y="0"/>
                    </a:lnTo>
                    <a:lnTo>
                      <a:pt x="14" y="2"/>
                    </a:lnTo>
                    <a:lnTo>
                      <a:pt x="12" y="6"/>
                    </a:lnTo>
                    <a:lnTo>
                      <a:pt x="10" y="6"/>
                    </a:lnTo>
                    <a:lnTo>
                      <a:pt x="7" y="4"/>
                    </a:lnTo>
                    <a:lnTo>
                      <a:pt x="0" y="9"/>
                    </a:lnTo>
                    <a:lnTo>
                      <a:pt x="0" y="16"/>
                    </a:lnTo>
                    <a:lnTo>
                      <a:pt x="2" y="20"/>
                    </a:lnTo>
                    <a:lnTo>
                      <a:pt x="2" y="22"/>
                    </a:lnTo>
                    <a:lnTo>
                      <a:pt x="5" y="31"/>
                    </a:lnTo>
                    <a:lnTo>
                      <a:pt x="9" y="32"/>
                    </a:lnTo>
                    <a:lnTo>
                      <a:pt x="34" y="81"/>
                    </a:lnTo>
                    <a:lnTo>
                      <a:pt x="34" y="82"/>
                    </a:lnTo>
                    <a:lnTo>
                      <a:pt x="44" y="97"/>
                    </a:lnTo>
                    <a:lnTo>
                      <a:pt x="44" y="127"/>
                    </a:lnTo>
                    <a:lnTo>
                      <a:pt x="50" y="140"/>
                    </a:lnTo>
                    <a:lnTo>
                      <a:pt x="50" y="152"/>
                    </a:lnTo>
                    <a:lnTo>
                      <a:pt x="53" y="159"/>
                    </a:lnTo>
                    <a:lnTo>
                      <a:pt x="53" y="163"/>
                    </a:lnTo>
                    <a:lnTo>
                      <a:pt x="57" y="182"/>
                    </a:lnTo>
                    <a:lnTo>
                      <a:pt x="75" y="204"/>
                    </a:lnTo>
                    <a:lnTo>
                      <a:pt x="77" y="204"/>
                    </a:lnTo>
                    <a:lnTo>
                      <a:pt x="77" y="206"/>
                    </a:lnTo>
                    <a:lnTo>
                      <a:pt x="78" y="206"/>
                    </a:lnTo>
                    <a:lnTo>
                      <a:pt x="80" y="204"/>
                    </a:lnTo>
                    <a:lnTo>
                      <a:pt x="84" y="198"/>
                    </a:lnTo>
                    <a:lnTo>
                      <a:pt x="87" y="198"/>
                    </a:lnTo>
                    <a:lnTo>
                      <a:pt x="94" y="204"/>
                    </a:lnTo>
                    <a:lnTo>
                      <a:pt x="94" y="207"/>
                    </a:lnTo>
                    <a:lnTo>
                      <a:pt x="98" y="211"/>
                    </a:lnTo>
                    <a:lnTo>
                      <a:pt x="102" y="211"/>
                    </a:lnTo>
                    <a:lnTo>
                      <a:pt x="107" y="211"/>
                    </a:lnTo>
                    <a:lnTo>
                      <a:pt x="118" y="211"/>
                    </a:lnTo>
                    <a:lnTo>
                      <a:pt x="127" y="204"/>
                    </a:lnTo>
                    <a:lnTo>
                      <a:pt x="132" y="202"/>
                    </a:lnTo>
                    <a:lnTo>
                      <a:pt x="132" y="88"/>
                    </a:lnTo>
                    <a:lnTo>
                      <a:pt x="148" y="88"/>
                    </a:lnTo>
                    <a:lnTo>
                      <a:pt x="148" y="27"/>
                    </a:lnTo>
                    <a:lnTo>
                      <a:pt x="150" y="25"/>
                    </a:lnTo>
                    <a:lnTo>
                      <a:pt x="185" y="22"/>
                    </a:lnTo>
                    <a:lnTo>
                      <a:pt x="187" y="22"/>
                    </a:lnTo>
                    <a:lnTo>
                      <a:pt x="189" y="25"/>
                    </a:lnTo>
                    <a:lnTo>
                      <a:pt x="191" y="31"/>
                    </a:lnTo>
                    <a:lnTo>
                      <a:pt x="194" y="25"/>
                    </a:lnTo>
                    <a:lnTo>
                      <a:pt x="200" y="22"/>
                    </a:lnTo>
                    <a:lnTo>
                      <a:pt x="207" y="18"/>
                    </a:lnTo>
                    <a:lnTo>
                      <a:pt x="209" y="16"/>
                    </a:lnTo>
                    <a:lnTo>
                      <a:pt x="210" y="16"/>
                    </a:lnTo>
                    <a:lnTo>
                      <a:pt x="214" y="16"/>
                    </a:lnTo>
                    <a:lnTo>
                      <a:pt x="212" y="13"/>
                    </a:lnTo>
                    <a:lnTo>
                      <a:pt x="210" y="11"/>
                    </a:lnTo>
                    <a:lnTo>
                      <a:pt x="202" y="11"/>
                    </a:lnTo>
                    <a:lnTo>
                      <a:pt x="200" y="9"/>
                    </a:lnTo>
                    <a:lnTo>
                      <a:pt x="185" y="13"/>
                    </a:lnTo>
                    <a:lnTo>
                      <a:pt x="185" y="13"/>
                    </a:lnTo>
                    <a:lnTo>
                      <a:pt x="157" y="20"/>
                    </a:lnTo>
                    <a:lnTo>
                      <a:pt x="157" y="20"/>
                    </a:lnTo>
                    <a:lnTo>
                      <a:pt x="114" y="15"/>
                    </a:lnTo>
                    <a:lnTo>
                      <a:pt x="112" y="11"/>
                    </a:lnTo>
                    <a:lnTo>
                      <a:pt x="107" y="9"/>
                    </a:lnTo>
                    <a:lnTo>
                      <a:pt x="102"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25" name="Freeform 2376"/>
              <p:cNvSpPr>
                <a:spLocks/>
              </p:cNvSpPr>
              <p:nvPr/>
            </p:nvSpPr>
            <p:spPr bwMode="auto">
              <a:xfrm>
                <a:off x="3189" y="3136"/>
                <a:ext cx="20" cy="27"/>
              </a:xfrm>
              <a:custGeom>
                <a:avLst/>
                <a:gdLst>
                  <a:gd name="T0" fmla="*/ 20 w 20"/>
                  <a:gd name="T1" fmla="*/ 18 h 27"/>
                  <a:gd name="T2" fmla="*/ 20 w 20"/>
                  <a:gd name="T3" fmla="*/ 2 h 27"/>
                  <a:gd name="T4" fmla="*/ 16 w 20"/>
                  <a:gd name="T5" fmla="*/ 4 h 27"/>
                  <a:gd name="T6" fmla="*/ 11 w 20"/>
                  <a:gd name="T7" fmla="*/ 0 h 27"/>
                  <a:gd name="T8" fmla="*/ 5 w 20"/>
                  <a:gd name="T9" fmla="*/ 2 h 27"/>
                  <a:gd name="T10" fmla="*/ 0 w 20"/>
                  <a:gd name="T11" fmla="*/ 16 h 27"/>
                  <a:gd name="T12" fmla="*/ 3 w 20"/>
                  <a:gd name="T13" fmla="*/ 25 h 27"/>
                  <a:gd name="T14" fmla="*/ 14 w 20"/>
                  <a:gd name="T15" fmla="*/ 27 h 27"/>
                  <a:gd name="T16" fmla="*/ 16 w 20"/>
                  <a:gd name="T17" fmla="*/ 23 h 27"/>
                  <a:gd name="T18" fmla="*/ 18 w 20"/>
                  <a:gd name="T19" fmla="*/ 20 h 27"/>
                  <a:gd name="T20" fmla="*/ 20 w 20"/>
                  <a:gd name="T21"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7">
                    <a:moveTo>
                      <a:pt x="20" y="18"/>
                    </a:moveTo>
                    <a:lnTo>
                      <a:pt x="20" y="2"/>
                    </a:lnTo>
                    <a:lnTo>
                      <a:pt x="16" y="4"/>
                    </a:lnTo>
                    <a:lnTo>
                      <a:pt x="11" y="0"/>
                    </a:lnTo>
                    <a:lnTo>
                      <a:pt x="5" y="2"/>
                    </a:lnTo>
                    <a:lnTo>
                      <a:pt x="0" y="16"/>
                    </a:lnTo>
                    <a:lnTo>
                      <a:pt x="3" y="25"/>
                    </a:lnTo>
                    <a:lnTo>
                      <a:pt x="14" y="27"/>
                    </a:lnTo>
                    <a:lnTo>
                      <a:pt x="16" y="23"/>
                    </a:lnTo>
                    <a:lnTo>
                      <a:pt x="18" y="20"/>
                    </a:lnTo>
                    <a:lnTo>
                      <a:pt x="20" y="1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26" name="Freeform 2377"/>
              <p:cNvSpPr>
                <a:spLocks/>
              </p:cNvSpPr>
              <p:nvPr/>
            </p:nvSpPr>
            <p:spPr bwMode="auto">
              <a:xfrm>
                <a:off x="3189" y="3136"/>
                <a:ext cx="20" cy="27"/>
              </a:xfrm>
              <a:custGeom>
                <a:avLst/>
                <a:gdLst>
                  <a:gd name="T0" fmla="*/ 20 w 20"/>
                  <a:gd name="T1" fmla="*/ 18 h 27"/>
                  <a:gd name="T2" fmla="*/ 20 w 20"/>
                  <a:gd name="T3" fmla="*/ 2 h 27"/>
                  <a:gd name="T4" fmla="*/ 16 w 20"/>
                  <a:gd name="T5" fmla="*/ 4 h 27"/>
                  <a:gd name="T6" fmla="*/ 11 w 20"/>
                  <a:gd name="T7" fmla="*/ 0 h 27"/>
                  <a:gd name="T8" fmla="*/ 5 w 20"/>
                  <a:gd name="T9" fmla="*/ 2 h 27"/>
                  <a:gd name="T10" fmla="*/ 0 w 20"/>
                  <a:gd name="T11" fmla="*/ 16 h 27"/>
                  <a:gd name="T12" fmla="*/ 3 w 20"/>
                  <a:gd name="T13" fmla="*/ 25 h 27"/>
                  <a:gd name="T14" fmla="*/ 14 w 20"/>
                  <a:gd name="T15" fmla="*/ 27 h 27"/>
                  <a:gd name="T16" fmla="*/ 16 w 20"/>
                  <a:gd name="T17" fmla="*/ 23 h 27"/>
                  <a:gd name="T18" fmla="*/ 18 w 20"/>
                  <a:gd name="T19" fmla="*/ 20 h 27"/>
                  <a:gd name="T20" fmla="*/ 20 w 20"/>
                  <a:gd name="T21"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7">
                    <a:moveTo>
                      <a:pt x="20" y="18"/>
                    </a:moveTo>
                    <a:lnTo>
                      <a:pt x="20" y="2"/>
                    </a:lnTo>
                    <a:lnTo>
                      <a:pt x="16" y="4"/>
                    </a:lnTo>
                    <a:lnTo>
                      <a:pt x="11" y="0"/>
                    </a:lnTo>
                    <a:lnTo>
                      <a:pt x="5" y="2"/>
                    </a:lnTo>
                    <a:lnTo>
                      <a:pt x="0" y="16"/>
                    </a:lnTo>
                    <a:lnTo>
                      <a:pt x="3" y="25"/>
                    </a:lnTo>
                    <a:lnTo>
                      <a:pt x="14" y="27"/>
                    </a:lnTo>
                    <a:lnTo>
                      <a:pt x="16" y="23"/>
                    </a:lnTo>
                    <a:lnTo>
                      <a:pt x="18" y="20"/>
                    </a:lnTo>
                    <a:lnTo>
                      <a:pt x="20" y="1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27" name="Freeform 2378"/>
              <p:cNvSpPr>
                <a:spLocks/>
              </p:cNvSpPr>
              <p:nvPr/>
            </p:nvSpPr>
            <p:spPr bwMode="auto">
              <a:xfrm>
                <a:off x="3612" y="3038"/>
                <a:ext cx="7" cy="9"/>
              </a:xfrm>
              <a:custGeom>
                <a:avLst/>
                <a:gdLst>
                  <a:gd name="T0" fmla="*/ 2 w 7"/>
                  <a:gd name="T1" fmla="*/ 2 h 9"/>
                  <a:gd name="T2" fmla="*/ 4 w 7"/>
                  <a:gd name="T3" fmla="*/ 0 h 9"/>
                  <a:gd name="T4" fmla="*/ 5 w 7"/>
                  <a:gd name="T5" fmla="*/ 0 h 9"/>
                  <a:gd name="T6" fmla="*/ 5 w 7"/>
                  <a:gd name="T7" fmla="*/ 2 h 9"/>
                  <a:gd name="T8" fmla="*/ 7 w 7"/>
                  <a:gd name="T9" fmla="*/ 3 h 9"/>
                  <a:gd name="T10" fmla="*/ 5 w 7"/>
                  <a:gd name="T11" fmla="*/ 7 h 9"/>
                  <a:gd name="T12" fmla="*/ 4 w 7"/>
                  <a:gd name="T13" fmla="*/ 9 h 9"/>
                  <a:gd name="T14" fmla="*/ 0 w 7"/>
                  <a:gd name="T15" fmla="*/ 9 h 9"/>
                  <a:gd name="T16" fmla="*/ 0 w 7"/>
                  <a:gd name="T17" fmla="*/ 5 h 9"/>
                  <a:gd name="T18" fmla="*/ 2 w 7"/>
                  <a:gd name="T19" fmla="*/ 2 h 9"/>
                  <a:gd name="T20" fmla="*/ 2 w 7"/>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9">
                    <a:moveTo>
                      <a:pt x="2" y="2"/>
                    </a:moveTo>
                    <a:lnTo>
                      <a:pt x="4" y="0"/>
                    </a:lnTo>
                    <a:lnTo>
                      <a:pt x="5" y="0"/>
                    </a:lnTo>
                    <a:lnTo>
                      <a:pt x="5" y="2"/>
                    </a:lnTo>
                    <a:lnTo>
                      <a:pt x="7" y="3"/>
                    </a:lnTo>
                    <a:lnTo>
                      <a:pt x="5" y="7"/>
                    </a:lnTo>
                    <a:lnTo>
                      <a:pt x="4" y="9"/>
                    </a:lnTo>
                    <a:lnTo>
                      <a:pt x="0" y="9"/>
                    </a:lnTo>
                    <a:lnTo>
                      <a:pt x="0" y="5"/>
                    </a:lnTo>
                    <a:lnTo>
                      <a:pt x="2" y="2"/>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28" name="Freeform 2379"/>
              <p:cNvSpPr>
                <a:spLocks/>
              </p:cNvSpPr>
              <p:nvPr/>
            </p:nvSpPr>
            <p:spPr bwMode="auto">
              <a:xfrm>
                <a:off x="3612" y="3038"/>
                <a:ext cx="7" cy="9"/>
              </a:xfrm>
              <a:custGeom>
                <a:avLst/>
                <a:gdLst>
                  <a:gd name="T0" fmla="*/ 2 w 7"/>
                  <a:gd name="T1" fmla="*/ 2 h 9"/>
                  <a:gd name="T2" fmla="*/ 4 w 7"/>
                  <a:gd name="T3" fmla="*/ 0 h 9"/>
                  <a:gd name="T4" fmla="*/ 5 w 7"/>
                  <a:gd name="T5" fmla="*/ 0 h 9"/>
                  <a:gd name="T6" fmla="*/ 5 w 7"/>
                  <a:gd name="T7" fmla="*/ 2 h 9"/>
                  <a:gd name="T8" fmla="*/ 7 w 7"/>
                  <a:gd name="T9" fmla="*/ 3 h 9"/>
                  <a:gd name="T10" fmla="*/ 5 w 7"/>
                  <a:gd name="T11" fmla="*/ 7 h 9"/>
                  <a:gd name="T12" fmla="*/ 4 w 7"/>
                  <a:gd name="T13" fmla="*/ 9 h 9"/>
                  <a:gd name="T14" fmla="*/ 0 w 7"/>
                  <a:gd name="T15" fmla="*/ 9 h 9"/>
                  <a:gd name="T16" fmla="*/ 0 w 7"/>
                  <a:gd name="T17" fmla="*/ 5 h 9"/>
                  <a:gd name="T18" fmla="*/ 2 w 7"/>
                  <a:gd name="T19" fmla="*/ 2 h 9"/>
                  <a:gd name="T20" fmla="*/ 2 w 7"/>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9">
                    <a:moveTo>
                      <a:pt x="2" y="2"/>
                    </a:moveTo>
                    <a:lnTo>
                      <a:pt x="4" y="0"/>
                    </a:lnTo>
                    <a:lnTo>
                      <a:pt x="5" y="0"/>
                    </a:lnTo>
                    <a:lnTo>
                      <a:pt x="5" y="2"/>
                    </a:lnTo>
                    <a:lnTo>
                      <a:pt x="7" y="3"/>
                    </a:lnTo>
                    <a:lnTo>
                      <a:pt x="5" y="7"/>
                    </a:lnTo>
                    <a:lnTo>
                      <a:pt x="4" y="9"/>
                    </a:lnTo>
                    <a:lnTo>
                      <a:pt x="0" y="9"/>
                    </a:lnTo>
                    <a:lnTo>
                      <a:pt x="0" y="5"/>
                    </a:lnTo>
                    <a:lnTo>
                      <a:pt x="2" y="2"/>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29" name="Freeform 2380"/>
              <p:cNvSpPr>
                <a:spLocks/>
              </p:cNvSpPr>
              <p:nvPr/>
            </p:nvSpPr>
            <p:spPr bwMode="auto">
              <a:xfrm>
                <a:off x="2493" y="2593"/>
                <a:ext cx="5" cy="2"/>
              </a:xfrm>
              <a:custGeom>
                <a:avLst/>
                <a:gdLst>
                  <a:gd name="T0" fmla="*/ 5 w 5"/>
                  <a:gd name="T1" fmla="*/ 0 h 2"/>
                  <a:gd name="T2" fmla="*/ 5 w 5"/>
                  <a:gd name="T3" fmla="*/ 0 h 2"/>
                  <a:gd name="T4" fmla="*/ 3 w 5"/>
                  <a:gd name="T5" fmla="*/ 0 h 2"/>
                  <a:gd name="T6" fmla="*/ 1 w 5"/>
                  <a:gd name="T7" fmla="*/ 0 h 2"/>
                  <a:gd name="T8" fmla="*/ 0 w 5"/>
                  <a:gd name="T9" fmla="*/ 0 h 2"/>
                  <a:gd name="T10" fmla="*/ 0 w 5"/>
                  <a:gd name="T11" fmla="*/ 2 h 2"/>
                  <a:gd name="T12" fmla="*/ 1 w 5"/>
                  <a:gd name="T13" fmla="*/ 2 h 2"/>
                  <a:gd name="T14" fmla="*/ 3 w 5"/>
                  <a:gd name="T15" fmla="*/ 2 h 2"/>
                  <a:gd name="T16" fmla="*/ 5 w 5"/>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
                    <a:moveTo>
                      <a:pt x="5" y="0"/>
                    </a:moveTo>
                    <a:lnTo>
                      <a:pt x="5" y="0"/>
                    </a:lnTo>
                    <a:lnTo>
                      <a:pt x="3" y="0"/>
                    </a:lnTo>
                    <a:lnTo>
                      <a:pt x="1" y="0"/>
                    </a:lnTo>
                    <a:lnTo>
                      <a:pt x="0" y="0"/>
                    </a:lnTo>
                    <a:lnTo>
                      <a:pt x="0" y="2"/>
                    </a:lnTo>
                    <a:lnTo>
                      <a:pt x="1" y="2"/>
                    </a:lnTo>
                    <a:lnTo>
                      <a:pt x="3" y="2"/>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30" name="Freeform 2381"/>
              <p:cNvSpPr>
                <a:spLocks/>
              </p:cNvSpPr>
              <p:nvPr/>
            </p:nvSpPr>
            <p:spPr bwMode="auto">
              <a:xfrm>
                <a:off x="2493" y="2593"/>
                <a:ext cx="5" cy="2"/>
              </a:xfrm>
              <a:custGeom>
                <a:avLst/>
                <a:gdLst>
                  <a:gd name="T0" fmla="*/ 5 w 5"/>
                  <a:gd name="T1" fmla="*/ 0 h 2"/>
                  <a:gd name="T2" fmla="*/ 5 w 5"/>
                  <a:gd name="T3" fmla="*/ 0 h 2"/>
                  <a:gd name="T4" fmla="*/ 3 w 5"/>
                  <a:gd name="T5" fmla="*/ 0 h 2"/>
                  <a:gd name="T6" fmla="*/ 1 w 5"/>
                  <a:gd name="T7" fmla="*/ 0 h 2"/>
                  <a:gd name="T8" fmla="*/ 0 w 5"/>
                  <a:gd name="T9" fmla="*/ 0 h 2"/>
                  <a:gd name="T10" fmla="*/ 0 w 5"/>
                  <a:gd name="T11" fmla="*/ 2 h 2"/>
                  <a:gd name="T12" fmla="*/ 1 w 5"/>
                  <a:gd name="T13" fmla="*/ 2 h 2"/>
                  <a:gd name="T14" fmla="*/ 3 w 5"/>
                  <a:gd name="T15" fmla="*/ 2 h 2"/>
                  <a:gd name="T16" fmla="*/ 5 w 5"/>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
                    <a:moveTo>
                      <a:pt x="5" y="0"/>
                    </a:moveTo>
                    <a:lnTo>
                      <a:pt x="5" y="0"/>
                    </a:lnTo>
                    <a:lnTo>
                      <a:pt x="3" y="0"/>
                    </a:lnTo>
                    <a:lnTo>
                      <a:pt x="1" y="0"/>
                    </a:lnTo>
                    <a:lnTo>
                      <a:pt x="0" y="0"/>
                    </a:lnTo>
                    <a:lnTo>
                      <a:pt x="0" y="2"/>
                    </a:lnTo>
                    <a:lnTo>
                      <a:pt x="1" y="2"/>
                    </a:lnTo>
                    <a:lnTo>
                      <a:pt x="3" y="2"/>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31" name="Freeform 2382"/>
              <p:cNvSpPr>
                <a:spLocks/>
              </p:cNvSpPr>
              <p:nvPr/>
            </p:nvSpPr>
            <p:spPr bwMode="auto">
              <a:xfrm>
                <a:off x="3332" y="2791"/>
                <a:ext cx="3" cy="8"/>
              </a:xfrm>
              <a:custGeom>
                <a:avLst/>
                <a:gdLst>
                  <a:gd name="T0" fmla="*/ 3 w 3"/>
                  <a:gd name="T1" fmla="*/ 2 h 8"/>
                  <a:gd name="T2" fmla="*/ 3 w 3"/>
                  <a:gd name="T3" fmla="*/ 4 h 8"/>
                  <a:gd name="T4" fmla="*/ 2 w 3"/>
                  <a:gd name="T5" fmla="*/ 8 h 8"/>
                  <a:gd name="T6" fmla="*/ 0 w 3"/>
                  <a:gd name="T7" fmla="*/ 8 h 8"/>
                  <a:gd name="T8" fmla="*/ 2 w 3"/>
                  <a:gd name="T9" fmla="*/ 0 h 8"/>
                  <a:gd name="T10" fmla="*/ 2 w 3"/>
                  <a:gd name="T11" fmla="*/ 0 h 8"/>
                  <a:gd name="T12" fmla="*/ 3 w 3"/>
                  <a:gd name="T13" fmla="*/ 0 h 8"/>
                  <a:gd name="T14" fmla="*/ 3 w 3"/>
                  <a:gd name="T15" fmla="*/ 2 h 8"/>
                  <a:gd name="T16" fmla="*/ 3 w 3"/>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3" y="2"/>
                    </a:moveTo>
                    <a:lnTo>
                      <a:pt x="3" y="4"/>
                    </a:lnTo>
                    <a:lnTo>
                      <a:pt x="2" y="8"/>
                    </a:lnTo>
                    <a:lnTo>
                      <a:pt x="0" y="8"/>
                    </a:lnTo>
                    <a:lnTo>
                      <a:pt x="2" y="0"/>
                    </a:lnTo>
                    <a:lnTo>
                      <a:pt x="2" y="0"/>
                    </a:lnTo>
                    <a:lnTo>
                      <a:pt x="3" y="0"/>
                    </a:lnTo>
                    <a:lnTo>
                      <a:pt x="3" y="2"/>
                    </a:lnTo>
                    <a:lnTo>
                      <a:pt x="3"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32" name="Freeform 2383"/>
              <p:cNvSpPr>
                <a:spLocks/>
              </p:cNvSpPr>
              <p:nvPr/>
            </p:nvSpPr>
            <p:spPr bwMode="auto">
              <a:xfrm>
                <a:off x="3332" y="2791"/>
                <a:ext cx="3" cy="8"/>
              </a:xfrm>
              <a:custGeom>
                <a:avLst/>
                <a:gdLst>
                  <a:gd name="T0" fmla="*/ 3 w 3"/>
                  <a:gd name="T1" fmla="*/ 2 h 8"/>
                  <a:gd name="T2" fmla="*/ 3 w 3"/>
                  <a:gd name="T3" fmla="*/ 4 h 8"/>
                  <a:gd name="T4" fmla="*/ 2 w 3"/>
                  <a:gd name="T5" fmla="*/ 8 h 8"/>
                  <a:gd name="T6" fmla="*/ 0 w 3"/>
                  <a:gd name="T7" fmla="*/ 8 h 8"/>
                  <a:gd name="T8" fmla="*/ 2 w 3"/>
                  <a:gd name="T9" fmla="*/ 0 h 8"/>
                  <a:gd name="T10" fmla="*/ 2 w 3"/>
                  <a:gd name="T11" fmla="*/ 0 h 8"/>
                  <a:gd name="T12" fmla="*/ 3 w 3"/>
                  <a:gd name="T13" fmla="*/ 0 h 8"/>
                  <a:gd name="T14" fmla="*/ 3 w 3"/>
                  <a:gd name="T15" fmla="*/ 2 h 8"/>
                  <a:gd name="T16" fmla="*/ 3 w 3"/>
                  <a:gd name="T17"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8">
                    <a:moveTo>
                      <a:pt x="3" y="2"/>
                    </a:moveTo>
                    <a:lnTo>
                      <a:pt x="3" y="4"/>
                    </a:lnTo>
                    <a:lnTo>
                      <a:pt x="2" y="8"/>
                    </a:lnTo>
                    <a:lnTo>
                      <a:pt x="0" y="8"/>
                    </a:lnTo>
                    <a:lnTo>
                      <a:pt x="2" y="0"/>
                    </a:lnTo>
                    <a:lnTo>
                      <a:pt x="2" y="0"/>
                    </a:lnTo>
                    <a:lnTo>
                      <a:pt x="3" y="0"/>
                    </a:lnTo>
                    <a:lnTo>
                      <a:pt x="3" y="2"/>
                    </a:lnTo>
                    <a:lnTo>
                      <a:pt x="3"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33" name="Freeform 2384"/>
              <p:cNvSpPr>
                <a:spLocks/>
              </p:cNvSpPr>
              <p:nvPr/>
            </p:nvSpPr>
            <p:spPr bwMode="auto">
              <a:xfrm>
                <a:off x="3326" y="2804"/>
                <a:ext cx="4" cy="11"/>
              </a:xfrm>
              <a:custGeom>
                <a:avLst/>
                <a:gdLst>
                  <a:gd name="T0" fmla="*/ 0 w 4"/>
                  <a:gd name="T1" fmla="*/ 0 h 11"/>
                  <a:gd name="T2" fmla="*/ 2 w 4"/>
                  <a:gd name="T3" fmla="*/ 7 h 11"/>
                  <a:gd name="T4" fmla="*/ 2 w 4"/>
                  <a:gd name="T5" fmla="*/ 7 h 11"/>
                  <a:gd name="T6" fmla="*/ 4 w 4"/>
                  <a:gd name="T7" fmla="*/ 7 h 11"/>
                  <a:gd name="T8" fmla="*/ 4 w 4"/>
                  <a:gd name="T9" fmla="*/ 11 h 11"/>
                  <a:gd name="T10" fmla="*/ 0 w 4"/>
                  <a:gd name="T11" fmla="*/ 9 h 11"/>
                  <a:gd name="T12" fmla="*/ 0 w 4"/>
                  <a:gd name="T13" fmla="*/ 3 h 11"/>
                  <a:gd name="T14" fmla="*/ 0 w 4"/>
                  <a:gd name="T15" fmla="*/ 0 h 11"/>
                  <a:gd name="T16" fmla="*/ 0 w 4"/>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1">
                    <a:moveTo>
                      <a:pt x="0" y="0"/>
                    </a:moveTo>
                    <a:lnTo>
                      <a:pt x="2" y="7"/>
                    </a:lnTo>
                    <a:lnTo>
                      <a:pt x="2" y="7"/>
                    </a:lnTo>
                    <a:lnTo>
                      <a:pt x="4" y="7"/>
                    </a:lnTo>
                    <a:lnTo>
                      <a:pt x="4" y="11"/>
                    </a:lnTo>
                    <a:lnTo>
                      <a:pt x="0" y="9"/>
                    </a:lnTo>
                    <a:lnTo>
                      <a:pt x="0" y="3"/>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34" name="Freeform 2385"/>
              <p:cNvSpPr>
                <a:spLocks/>
              </p:cNvSpPr>
              <p:nvPr/>
            </p:nvSpPr>
            <p:spPr bwMode="auto">
              <a:xfrm>
                <a:off x="3326" y="2804"/>
                <a:ext cx="4" cy="11"/>
              </a:xfrm>
              <a:custGeom>
                <a:avLst/>
                <a:gdLst>
                  <a:gd name="T0" fmla="*/ 0 w 4"/>
                  <a:gd name="T1" fmla="*/ 0 h 11"/>
                  <a:gd name="T2" fmla="*/ 2 w 4"/>
                  <a:gd name="T3" fmla="*/ 7 h 11"/>
                  <a:gd name="T4" fmla="*/ 2 w 4"/>
                  <a:gd name="T5" fmla="*/ 7 h 11"/>
                  <a:gd name="T6" fmla="*/ 4 w 4"/>
                  <a:gd name="T7" fmla="*/ 7 h 11"/>
                  <a:gd name="T8" fmla="*/ 4 w 4"/>
                  <a:gd name="T9" fmla="*/ 11 h 11"/>
                  <a:gd name="T10" fmla="*/ 0 w 4"/>
                  <a:gd name="T11" fmla="*/ 9 h 11"/>
                  <a:gd name="T12" fmla="*/ 0 w 4"/>
                  <a:gd name="T13" fmla="*/ 3 h 11"/>
                  <a:gd name="T14" fmla="*/ 0 w 4"/>
                  <a:gd name="T15" fmla="*/ 0 h 11"/>
                  <a:gd name="T16" fmla="*/ 0 w 4"/>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1">
                    <a:moveTo>
                      <a:pt x="0" y="0"/>
                    </a:moveTo>
                    <a:lnTo>
                      <a:pt x="2" y="7"/>
                    </a:lnTo>
                    <a:lnTo>
                      <a:pt x="2" y="7"/>
                    </a:lnTo>
                    <a:lnTo>
                      <a:pt x="4" y="7"/>
                    </a:lnTo>
                    <a:lnTo>
                      <a:pt x="4" y="11"/>
                    </a:lnTo>
                    <a:lnTo>
                      <a:pt x="0" y="9"/>
                    </a:lnTo>
                    <a:lnTo>
                      <a:pt x="0" y="3"/>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35" name="Freeform 2386"/>
              <p:cNvSpPr>
                <a:spLocks/>
              </p:cNvSpPr>
              <p:nvPr/>
            </p:nvSpPr>
            <p:spPr bwMode="auto">
              <a:xfrm>
                <a:off x="3530" y="2516"/>
                <a:ext cx="5" cy="2"/>
              </a:xfrm>
              <a:custGeom>
                <a:avLst/>
                <a:gdLst>
                  <a:gd name="T0" fmla="*/ 2 w 5"/>
                  <a:gd name="T1" fmla="*/ 2 h 2"/>
                  <a:gd name="T2" fmla="*/ 2 w 5"/>
                  <a:gd name="T3" fmla="*/ 2 h 2"/>
                  <a:gd name="T4" fmla="*/ 3 w 5"/>
                  <a:gd name="T5" fmla="*/ 2 h 2"/>
                  <a:gd name="T6" fmla="*/ 3 w 5"/>
                  <a:gd name="T7" fmla="*/ 2 h 2"/>
                  <a:gd name="T8" fmla="*/ 5 w 5"/>
                  <a:gd name="T9" fmla="*/ 2 h 2"/>
                  <a:gd name="T10" fmla="*/ 5 w 5"/>
                  <a:gd name="T11" fmla="*/ 2 h 2"/>
                  <a:gd name="T12" fmla="*/ 5 w 5"/>
                  <a:gd name="T13" fmla="*/ 0 h 2"/>
                  <a:gd name="T14" fmla="*/ 0 w 5"/>
                  <a:gd name="T15" fmla="*/ 0 h 2"/>
                  <a:gd name="T16" fmla="*/ 0 w 5"/>
                  <a:gd name="T17" fmla="*/ 0 h 2"/>
                  <a:gd name="T18" fmla="*/ 0 w 5"/>
                  <a:gd name="T19" fmla="*/ 2 h 2"/>
                  <a:gd name="T20" fmla="*/ 2 w 5"/>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2">
                    <a:moveTo>
                      <a:pt x="2" y="2"/>
                    </a:moveTo>
                    <a:lnTo>
                      <a:pt x="2" y="2"/>
                    </a:lnTo>
                    <a:lnTo>
                      <a:pt x="3" y="2"/>
                    </a:lnTo>
                    <a:lnTo>
                      <a:pt x="3" y="2"/>
                    </a:lnTo>
                    <a:lnTo>
                      <a:pt x="5" y="2"/>
                    </a:lnTo>
                    <a:lnTo>
                      <a:pt x="5" y="2"/>
                    </a:lnTo>
                    <a:lnTo>
                      <a:pt x="5" y="0"/>
                    </a:lnTo>
                    <a:lnTo>
                      <a:pt x="0" y="0"/>
                    </a:lnTo>
                    <a:lnTo>
                      <a:pt x="0" y="0"/>
                    </a:lnTo>
                    <a:lnTo>
                      <a:pt x="0" y="2"/>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36" name="Freeform 2387"/>
              <p:cNvSpPr>
                <a:spLocks/>
              </p:cNvSpPr>
              <p:nvPr/>
            </p:nvSpPr>
            <p:spPr bwMode="auto">
              <a:xfrm>
                <a:off x="3530" y="2516"/>
                <a:ext cx="5" cy="2"/>
              </a:xfrm>
              <a:custGeom>
                <a:avLst/>
                <a:gdLst>
                  <a:gd name="T0" fmla="*/ 2 w 5"/>
                  <a:gd name="T1" fmla="*/ 2 h 2"/>
                  <a:gd name="T2" fmla="*/ 2 w 5"/>
                  <a:gd name="T3" fmla="*/ 2 h 2"/>
                  <a:gd name="T4" fmla="*/ 3 w 5"/>
                  <a:gd name="T5" fmla="*/ 2 h 2"/>
                  <a:gd name="T6" fmla="*/ 3 w 5"/>
                  <a:gd name="T7" fmla="*/ 2 h 2"/>
                  <a:gd name="T8" fmla="*/ 5 w 5"/>
                  <a:gd name="T9" fmla="*/ 2 h 2"/>
                  <a:gd name="T10" fmla="*/ 5 w 5"/>
                  <a:gd name="T11" fmla="*/ 2 h 2"/>
                  <a:gd name="T12" fmla="*/ 5 w 5"/>
                  <a:gd name="T13" fmla="*/ 0 h 2"/>
                  <a:gd name="T14" fmla="*/ 0 w 5"/>
                  <a:gd name="T15" fmla="*/ 0 h 2"/>
                  <a:gd name="T16" fmla="*/ 0 w 5"/>
                  <a:gd name="T17" fmla="*/ 0 h 2"/>
                  <a:gd name="T18" fmla="*/ 0 w 5"/>
                  <a:gd name="T19" fmla="*/ 2 h 2"/>
                  <a:gd name="T20" fmla="*/ 2 w 5"/>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2">
                    <a:moveTo>
                      <a:pt x="2" y="2"/>
                    </a:moveTo>
                    <a:lnTo>
                      <a:pt x="2" y="2"/>
                    </a:lnTo>
                    <a:lnTo>
                      <a:pt x="3" y="2"/>
                    </a:lnTo>
                    <a:lnTo>
                      <a:pt x="3" y="2"/>
                    </a:lnTo>
                    <a:lnTo>
                      <a:pt x="5" y="2"/>
                    </a:lnTo>
                    <a:lnTo>
                      <a:pt x="5" y="2"/>
                    </a:lnTo>
                    <a:lnTo>
                      <a:pt x="5" y="0"/>
                    </a:lnTo>
                    <a:lnTo>
                      <a:pt x="0" y="0"/>
                    </a:lnTo>
                    <a:lnTo>
                      <a:pt x="0" y="0"/>
                    </a:lnTo>
                    <a:lnTo>
                      <a:pt x="0" y="2"/>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37" name="Freeform 2388"/>
              <p:cNvSpPr>
                <a:spLocks/>
              </p:cNvSpPr>
              <p:nvPr/>
            </p:nvSpPr>
            <p:spPr bwMode="auto">
              <a:xfrm>
                <a:off x="3551" y="2509"/>
                <a:ext cx="18" cy="7"/>
              </a:xfrm>
              <a:custGeom>
                <a:avLst/>
                <a:gdLst>
                  <a:gd name="T0" fmla="*/ 16 w 18"/>
                  <a:gd name="T1" fmla="*/ 2 h 7"/>
                  <a:gd name="T2" fmla="*/ 18 w 18"/>
                  <a:gd name="T3" fmla="*/ 2 h 7"/>
                  <a:gd name="T4" fmla="*/ 16 w 18"/>
                  <a:gd name="T5" fmla="*/ 4 h 7"/>
                  <a:gd name="T6" fmla="*/ 15 w 18"/>
                  <a:gd name="T7" fmla="*/ 6 h 7"/>
                  <a:gd name="T8" fmla="*/ 9 w 18"/>
                  <a:gd name="T9" fmla="*/ 7 h 7"/>
                  <a:gd name="T10" fmla="*/ 2 w 18"/>
                  <a:gd name="T11" fmla="*/ 6 h 7"/>
                  <a:gd name="T12" fmla="*/ 0 w 18"/>
                  <a:gd name="T13" fmla="*/ 4 h 7"/>
                  <a:gd name="T14" fmla="*/ 0 w 18"/>
                  <a:gd name="T15" fmla="*/ 0 h 7"/>
                  <a:gd name="T16" fmla="*/ 2 w 18"/>
                  <a:gd name="T17" fmla="*/ 0 h 7"/>
                  <a:gd name="T18" fmla="*/ 6 w 18"/>
                  <a:gd name="T19" fmla="*/ 2 h 7"/>
                  <a:gd name="T20" fmla="*/ 7 w 18"/>
                  <a:gd name="T21" fmla="*/ 2 h 7"/>
                  <a:gd name="T22" fmla="*/ 9 w 18"/>
                  <a:gd name="T23" fmla="*/ 2 h 7"/>
                  <a:gd name="T24" fmla="*/ 16 w 18"/>
                  <a:gd name="T2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7">
                    <a:moveTo>
                      <a:pt x="16" y="2"/>
                    </a:moveTo>
                    <a:lnTo>
                      <a:pt x="18" y="2"/>
                    </a:lnTo>
                    <a:lnTo>
                      <a:pt x="16" y="4"/>
                    </a:lnTo>
                    <a:lnTo>
                      <a:pt x="15" y="6"/>
                    </a:lnTo>
                    <a:lnTo>
                      <a:pt x="9" y="7"/>
                    </a:lnTo>
                    <a:lnTo>
                      <a:pt x="2" y="6"/>
                    </a:lnTo>
                    <a:lnTo>
                      <a:pt x="0" y="4"/>
                    </a:lnTo>
                    <a:lnTo>
                      <a:pt x="0" y="0"/>
                    </a:lnTo>
                    <a:lnTo>
                      <a:pt x="2" y="0"/>
                    </a:lnTo>
                    <a:lnTo>
                      <a:pt x="6" y="2"/>
                    </a:lnTo>
                    <a:lnTo>
                      <a:pt x="7" y="2"/>
                    </a:lnTo>
                    <a:lnTo>
                      <a:pt x="9" y="2"/>
                    </a:lnTo>
                    <a:lnTo>
                      <a:pt x="16"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38" name="Freeform 2389"/>
              <p:cNvSpPr>
                <a:spLocks/>
              </p:cNvSpPr>
              <p:nvPr/>
            </p:nvSpPr>
            <p:spPr bwMode="auto">
              <a:xfrm>
                <a:off x="3551" y="2509"/>
                <a:ext cx="18" cy="7"/>
              </a:xfrm>
              <a:custGeom>
                <a:avLst/>
                <a:gdLst>
                  <a:gd name="T0" fmla="*/ 16 w 18"/>
                  <a:gd name="T1" fmla="*/ 2 h 7"/>
                  <a:gd name="T2" fmla="*/ 18 w 18"/>
                  <a:gd name="T3" fmla="*/ 2 h 7"/>
                  <a:gd name="T4" fmla="*/ 16 w 18"/>
                  <a:gd name="T5" fmla="*/ 4 h 7"/>
                  <a:gd name="T6" fmla="*/ 15 w 18"/>
                  <a:gd name="T7" fmla="*/ 6 h 7"/>
                  <a:gd name="T8" fmla="*/ 9 w 18"/>
                  <a:gd name="T9" fmla="*/ 7 h 7"/>
                  <a:gd name="T10" fmla="*/ 2 w 18"/>
                  <a:gd name="T11" fmla="*/ 6 h 7"/>
                  <a:gd name="T12" fmla="*/ 0 w 18"/>
                  <a:gd name="T13" fmla="*/ 4 h 7"/>
                  <a:gd name="T14" fmla="*/ 0 w 18"/>
                  <a:gd name="T15" fmla="*/ 0 h 7"/>
                  <a:gd name="T16" fmla="*/ 2 w 18"/>
                  <a:gd name="T17" fmla="*/ 0 h 7"/>
                  <a:gd name="T18" fmla="*/ 6 w 18"/>
                  <a:gd name="T19" fmla="*/ 2 h 7"/>
                  <a:gd name="T20" fmla="*/ 7 w 18"/>
                  <a:gd name="T21" fmla="*/ 2 h 7"/>
                  <a:gd name="T22" fmla="*/ 9 w 18"/>
                  <a:gd name="T23" fmla="*/ 2 h 7"/>
                  <a:gd name="T24" fmla="*/ 16 w 18"/>
                  <a:gd name="T25"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7">
                    <a:moveTo>
                      <a:pt x="16" y="2"/>
                    </a:moveTo>
                    <a:lnTo>
                      <a:pt x="18" y="2"/>
                    </a:lnTo>
                    <a:lnTo>
                      <a:pt x="16" y="4"/>
                    </a:lnTo>
                    <a:lnTo>
                      <a:pt x="15" y="6"/>
                    </a:lnTo>
                    <a:lnTo>
                      <a:pt x="9" y="7"/>
                    </a:lnTo>
                    <a:lnTo>
                      <a:pt x="2" y="6"/>
                    </a:lnTo>
                    <a:lnTo>
                      <a:pt x="0" y="4"/>
                    </a:lnTo>
                    <a:lnTo>
                      <a:pt x="0" y="0"/>
                    </a:lnTo>
                    <a:lnTo>
                      <a:pt x="2" y="0"/>
                    </a:lnTo>
                    <a:lnTo>
                      <a:pt x="6" y="2"/>
                    </a:lnTo>
                    <a:lnTo>
                      <a:pt x="7" y="2"/>
                    </a:lnTo>
                    <a:lnTo>
                      <a:pt x="9" y="2"/>
                    </a:lnTo>
                    <a:lnTo>
                      <a:pt x="16"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39" name="Freeform 2390"/>
              <p:cNvSpPr>
                <a:spLocks/>
              </p:cNvSpPr>
              <p:nvPr/>
            </p:nvSpPr>
            <p:spPr bwMode="auto">
              <a:xfrm>
                <a:off x="2416" y="2443"/>
                <a:ext cx="100" cy="72"/>
              </a:xfrm>
              <a:custGeom>
                <a:avLst/>
                <a:gdLst>
                  <a:gd name="T0" fmla="*/ 14 w 100"/>
                  <a:gd name="T1" fmla="*/ 48 h 72"/>
                  <a:gd name="T2" fmla="*/ 3 w 100"/>
                  <a:gd name="T3" fmla="*/ 32 h 72"/>
                  <a:gd name="T4" fmla="*/ 2 w 100"/>
                  <a:gd name="T5" fmla="*/ 34 h 72"/>
                  <a:gd name="T6" fmla="*/ 0 w 100"/>
                  <a:gd name="T7" fmla="*/ 31 h 72"/>
                  <a:gd name="T8" fmla="*/ 10 w 100"/>
                  <a:gd name="T9" fmla="*/ 25 h 72"/>
                  <a:gd name="T10" fmla="*/ 16 w 100"/>
                  <a:gd name="T11" fmla="*/ 9 h 72"/>
                  <a:gd name="T12" fmla="*/ 21 w 100"/>
                  <a:gd name="T13" fmla="*/ 2 h 72"/>
                  <a:gd name="T14" fmla="*/ 30 w 100"/>
                  <a:gd name="T15" fmla="*/ 4 h 72"/>
                  <a:gd name="T16" fmla="*/ 35 w 100"/>
                  <a:gd name="T17" fmla="*/ 2 h 72"/>
                  <a:gd name="T18" fmla="*/ 39 w 100"/>
                  <a:gd name="T19" fmla="*/ 0 h 72"/>
                  <a:gd name="T20" fmla="*/ 43 w 100"/>
                  <a:gd name="T21" fmla="*/ 0 h 72"/>
                  <a:gd name="T22" fmla="*/ 50 w 100"/>
                  <a:gd name="T23" fmla="*/ 0 h 72"/>
                  <a:gd name="T24" fmla="*/ 57 w 100"/>
                  <a:gd name="T25" fmla="*/ 6 h 72"/>
                  <a:gd name="T26" fmla="*/ 62 w 100"/>
                  <a:gd name="T27" fmla="*/ 7 h 72"/>
                  <a:gd name="T28" fmla="*/ 64 w 100"/>
                  <a:gd name="T29" fmla="*/ 9 h 72"/>
                  <a:gd name="T30" fmla="*/ 69 w 100"/>
                  <a:gd name="T31" fmla="*/ 16 h 72"/>
                  <a:gd name="T32" fmla="*/ 71 w 100"/>
                  <a:gd name="T33" fmla="*/ 20 h 72"/>
                  <a:gd name="T34" fmla="*/ 73 w 100"/>
                  <a:gd name="T35" fmla="*/ 20 h 72"/>
                  <a:gd name="T36" fmla="*/ 77 w 100"/>
                  <a:gd name="T37" fmla="*/ 23 h 72"/>
                  <a:gd name="T38" fmla="*/ 77 w 100"/>
                  <a:gd name="T39" fmla="*/ 23 h 72"/>
                  <a:gd name="T40" fmla="*/ 78 w 100"/>
                  <a:gd name="T41" fmla="*/ 25 h 72"/>
                  <a:gd name="T42" fmla="*/ 82 w 100"/>
                  <a:gd name="T43" fmla="*/ 29 h 72"/>
                  <a:gd name="T44" fmla="*/ 87 w 100"/>
                  <a:gd name="T45" fmla="*/ 32 h 72"/>
                  <a:gd name="T46" fmla="*/ 87 w 100"/>
                  <a:gd name="T47" fmla="*/ 38 h 72"/>
                  <a:gd name="T48" fmla="*/ 87 w 100"/>
                  <a:gd name="T49" fmla="*/ 39 h 72"/>
                  <a:gd name="T50" fmla="*/ 91 w 100"/>
                  <a:gd name="T51" fmla="*/ 45 h 72"/>
                  <a:gd name="T52" fmla="*/ 89 w 100"/>
                  <a:gd name="T53" fmla="*/ 50 h 72"/>
                  <a:gd name="T54" fmla="*/ 93 w 100"/>
                  <a:gd name="T55" fmla="*/ 56 h 72"/>
                  <a:gd name="T56" fmla="*/ 96 w 100"/>
                  <a:gd name="T57" fmla="*/ 54 h 72"/>
                  <a:gd name="T58" fmla="*/ 96 w 100"/>
                  <a:gd name="T59" fmla="*/ 57 h 72"/>
                  <a:gd name="T60" fmla="*/ 100 w 100"/>
                  <a:gd name="T61" fmla="*/ 61 h 72"/>
                  <a:gd name="T62" fmla="*/ 100 w 100"/>
                  <a:gd name="T63" fmla="*/ 63 h 72"/>
                  <a:gd name="T64" fmla="*/ 100 w 100"/>
                  <a:gd name="T65" fmla="*/ 66 h 72"/>
                  <a:gd name="T66" fmla="*/ 100 w 100"/>
                  <a:gd name="T67" fmla="*/ 70 h 72"/>
                  <a:gd name="T68" fmla="*/ 94 w 100"/>
                  <a:gd name="T69" fmla="*/ 70 h 72"/>
                  <a:gd name="T70" fmla="*/ 87 w 100"/>
                  <a:gd name="T71" fmla="*/ 70 h 72"/>
                  <a:gd name="T72" fmla="*/ 82 w 100"/>
                  <a:gd name="T73" fmla="*/ 70 h 72"/>
                  <a:gd name="T74" fmla="*/ 77 w 100"/>
                  <a:gd name="T75" fmla="*/ 70 h 72"/>
                  <a:gd name="T76" fmla="*/ 75 w 100"/>
                  <a:gd name="T77" fmla="*/ 70 h 72"/>
                  <a:gd name="T78" fmla="*/ 71 w 100"/>
                  <a:gd name="T79" fmla="*/ 66 h 72"/>
                  <a:gd name="T80" fmla="*/ 66 w 100"/>
                  <a:gd name="T81" fmla="*/ 66 h 72"/>
                  <a:gd name="T82" fmla="*/ 21 w 100"/>
                  <a:gd name="T83" fmla="*/ 70 h 72"/>
                  <a:gd name="T84" fmla="*/ 14 w 100"/>
                  <a:gd name="T85" fmla="*/ 72 h 72"/>
                  <a:gd name="T86" fmla="*/ 12 w 100"/>
                  <a:gd name="T87" fmla="*/ 70 h 72"/>
                  <a:gd name="T88" fmla="*/ 14 w 100"/>
                  <a:gd name="T89" fmla="*/ 57 h 72"/>
                  <a:gd name="T90" fmla="*/ 28 w 100"/>
                  <a:gd name="T91" fmla="*/ 56 h 72"/>
                  <a:gd name="T92" fmla="*/ 34 w 100"/>
                  <a:gd name="T93" fmla="*/ 56 h 72"/>
                  <a:gd name="T94" fmla="*/ 39 w 100"/>
                  <a:gd name="T95" fmla="*/ 52 h 72"/>
                  <a:gd name="T96" fmla="*/ 44 w 100"/>
                  <a:gd name="T97" fmla="*/ 54 h 72"/>
                  <a:gd name="T98" fmla="*/ 52 w 100"/>
                  <a:gd name="T99" fmla="*/ 57 h 72"/>
                  <a:gd name="T100" fmla="*/ 55 w 100"/>
                  <a:gd name="T101" fmla="*/ 56 h 72"/>
                  <a:gd name="T102" fmla="*/ 60 w 100"/>
                  <a:gd name="T103" fmla="*/ 54 h 72"/>
                  <a:gd name="T104" fmla="*/ 59 w 100"/>
                  <a:gd name="T105" fmla="*/ 52 h 72"/>
                  <a:gd name="T106" fmla="*/ 53 w 100"/>
                  <a:gd name="T107" fmla="*/ 54 h 72"/>
                  <a:gd name="T108" fmla="*/ 48 w 100"/>
                  <a:gd name="T109" fmla="*/ 50 h 72"/>
                  <a:gd name="T110" fmla="*/ 43 w 100"/>
                  <a:gd name="T111" fmla="*/ 48 h 72"/>
                  <a:gd name="T112" fmla="*/ 37 w 100"/>
                  <a:gd name="T113" fmla="*/ 48 h 72"/>
                  <a:gd name="T114" fmla="*/ 32 w 100"/>
                  <a:gd name="T115"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 h="72">
                    <a:moveTo>
                      <a:pt x="16" y="50"/>
                    </a:moveTo>
                    <a:lnTo>
                      <a:pt x="16" y="50"/>
                    </a:lnTo>
                    <a:lnTo>
                      <a:pt x="14" y="48"/>
                    </a:lnTo>
                    <a:lnTo>
                      <a:pt x="12" y="47"/>
                    </a:lnTo>
                    <a:lnTo>
                      <a:pt x="12" y="43"/>
                    </a:lnTo>
                    <a:lnTo>
                      <a:pt x="3" y="32"/>
                    </a:lnTo>
                    <a:lnTo>
                      <a:pt x="3" y="32"/>
                    </a:lnTo>
                    <a:lnTo>
                      <a:pt x="2" y="32"/>
                    </a:lnTo>
                    <a:lnTo>
                      <a:pt x="2" y="34"/>
                    </a:lnTo>
                    <a:lnTo>
                      <a:pt x="0" y="32"/>
                    </a:lnTo>
                    <a:lnTo>
                      <a:pt x="0" y="32"/>
                    </a:lnTo>
                    <a:lnTo>
                      <a:pt x="0" y="31"/>
                    </a:lnTo>
                    <a:lnTo>
                      <a:pt x="2" y="31"/>
                    </a:lnTo>
                    <a:lnTo>
                      <a:pt x="5" y="31"/>
                    </a:lnTo>
                    <a:lnTo>
                      <a:pt x="10" y="25"/>
                    </a:lnTo>
                    <a:lnTo>
                      <a:pt x="16" y="16"/>
                    </a:lnTo>
                    <a:lnTo>
                      <a:pt x="16" y="9"/>
                    </a:lnTo>
                    <a:lnTo>
                      <a:pt x="16" y="9"/>
                    </a:lnTo>
                    <a:lnTo>
                      <a:pt x="19" y="6"/>
                    </a:lnTo>
                    <a:lnTo>
                      <a:pt x="19" y="2"/>
                    </a:lnTo>
                    <a:lnTo>
                      <a:pt x="21" y="2"/>
                    </a:lnTo>
                    <a:lnTo>
                      <a:pt x="21" y="2"/>
                    </a:lnTo>
                    <a:lnTo>
                      <a:pt x="27" y="2"/>
                    </a:lnTo>
                    <a:lnTo>
                      <a:pt x="30" y="4"/>
                    </a:lnTo>
                    <a:lnTo>
                      <a:pt x="32" y="2"/>
                    </a:lnTo>
                    <a:lnTo>
                      <a:pt x="32" y="2"/>
                    </a:lnTo>
                    <a:lnTo>
                      <a:pt x="35" y="2"/>
                    </a:lnTo>
                    <a:lnTo>
                      <a:pt x="39" y="2"/>
                    </a:lnTo>
                    <a:lnTo>
                      <a:pt x="39" y="2"/>
                    </a:lnTo>
                    <a:lnTo>
                      <a:pt x="39" y="0"/>
                    </a:lnTo>
                    <a:lnTo>
                      <a:pt x="39" y="0"/>
                    </a:lnTo>
                    <a:lnTo>
                      <a:pt x="41" y="0"/>
                    </a:lnTo>
                    <a:lnTo>
                      <a:pt x="43" y="0"/>
                    </a:lnTo>
                    <a:lnTo>
                      <a:pt x="48" y="0"/>
                    </a:lnTo>
                    <a:lnTo>
                      <a:pt x="50" y="0"/>
                    </a:lnTo>
                    <a:lnTo>
                      <a:pt x="50" y="0"/>
                    </a:lnTo>
                    <a:lnTo>
                      <a:pt x="52" y="2"/>
                    </a:lnTo>
                    <a:lnTo>
                      <a:pt x="53" y="2"/>
                    </a:lnTo>
                    <a:lnTo>
                      <a:pt x="57" y="6"/>
                    </a:lnTo>
                    <a:lnTo>
                      <a:pt x="57" y="7"/>
                    </a:lnTo>
                    <a:lnTo>
                      <a:pt x="59" y="9"/>
                    </a:lnTo>
                    <a:lnTo>
                      <a:pt x="62" y="7"/>
                    </a:lnTo>
                    <a:lnTo>
                      <a:pt x="62" y="9"/>
                    </a:lnTo>
                    <a:lnTo>
                      <a:pt x="62" y="9"/>
                    </a:lnTo>
                    <a:lnTo>
                      <a:pt x="64" y="9"/>
                    </a:lnTo>
                    <a:lnTo>
                      <a:pt x="66" y="9"/>
                    </a:lnTo>
                    <a:lnTo>
                      <a:pt x="69" y="16"/>
                    </a:lnTo>
                    <a:lnTo>
                      <a:pt x="69" y="16"/>
                    </a:lnTo>
                    <a:lnTo>
                      <a:pt x="71" y="18"/>
                    </a:lnTo>
                    <a:lnTo>
                      <a:pt x="71" y="18"/>
                    </a:lnTo>
                    <a:lnTo>
                      <a:pt x="71" y="20"/>
                    </a:lnTo>
                    <a:lnTo>
                      <a:pt x="73" y="20"/>
                    </a:lnTo>
                    <a:lnTo>
                      <a:pt x="73" y="20"/>
                    </a:lnTo>
                    <a:lnTo>
                      <a:pt x="73" y="20"/>
                    </a:lnTo>
                    <a:lnTo>
                      <a:pt x="75" y="22"/>
                    </a:lnTo>
                    <a:lnTo>
                      <a:pt x="75" y="22"/>
                    </a:lnTo>
                    <a:lnTo>
                      <a:pt x="77" y="23"/>
                    </a:lnTo>
                    <a:lnTo>
                      <a:pt x="75" y="23"/>
                    </a:lnTo>
                    <a:lnTo>
                      <a:pt x="75" y="23"/>
                    </a:lnTo>
                    <a:lnTo>
                      <a:pt x="77" y="23"/>
                    </a:lnTo>
                    <a:lnTo>
                      <a:pt x="77" y="25"/>
                    </a:lnTo>
                    <a:lnTo>
                      <a:pt x="78" y="25"/>
                    </a:lnTo>
                    <a:lnTo>
                      <a:pt x="78" y="25"/>
                    </a:lnTo>
                    <a:lnTo>
                      <a:pt x="80" y="27"/>
                    </a:lnTo>
                    <a:lnTo>
                      <a:pt x="82" y="27"/>
                    </a:lnTo>
                    <a:lnTo>
                      <a:pt x="82" y="29"/>
                    </a:lnTo>
                    <a:lnTo>
                      <a:pt x="82" y="29"/>
                    </a:lnTo>
                    <a:lnTo>
                      <a:pt x="84" y="31"/>
                    </a:lnTo>
                    <a:lnTo>
                      <a:pt x="87" y="32"/>
                    </a:lnTo>
                    <a:lnTo>
                      <a:pt x="87" y="34"/>
                    </a:lnTo>
                    <a:lnTo>
                      <a:pt x="87" y="36"/>
                    </a:lnTo>
                    <a:lnTo>
                      <a:pt x="87" y="38"/>
                    </a:lnTo>
                    <a:lnTo>
                      <a:pt x="87" y="38"/>
                    </a:lnTo>
                    <a:lnTo>
                      <a:pt x="87" y="39"/>
                    </a:lnTo>
                    <a:lnTo>
                      <a:pt x="87" y="39"/>
                    </a:lnTo>
                    <a:lnTo>
                      <a:pt x="89" y="39"/>
                    </a:lnTo>
                    <a:lnTo>
                      <a:pt x="89" y="43"/>
                    </a:lnTo>
                    <a:lnTo>
                      <a:pt x="91" y="45"/>
                    </a:lnTo>
                    <a:lnTo>
                      <a:pt x="91" y="47"/>
                    </a:lnTo>
                    <a:lnTo>
                      <a:pt x="89" y="48"/>
                    </a:lnTo>
                    <a:lnTo>
                      <a:pt x="89" y="50"/>
                    </a:lnTo>
                    <a:lnTo>
                      <a:pt x="91" y="52"/>
                    </a:lnTo>
                    <a:lnTo>
                      <a:pt x="93" y="54"/>
                    </a:lnTo>
                    <a:lnTo>
                      <a:pt x="93" y="56"/>
                    </a:lnTo>
                    <a:lnTo>
                      <a:pt x="93" y="56"/>
                    </a:lnTo>
                    <a:lnTo>
                      <a:pt x="94" y="54"/>
                    </a:lnTo>
                    <a:lnTo>
                      <a:pt x="96" y="54"/>
                    </a:lnTo>
                    <a:lnTo>
                      <a:pt x="96" y="56"/>
                    </a:lnTo>
                    <a:lnTo>
                      <a:pt x="96" y="56"/>
                    </a:lnTo>
                    <a:lnTo>
                      <a:pt x="96" y="57"/>
                    </a:lnTo>
                    <a:lnTo>
                      <a:pt x="98" y="57"/>
                    </a:lnTo>
                    <a:lnTo>
                      <a:pt x="98" y="59"/>
                    </a:lnTo>
                    <a:lnTo>
                      <a:pt x="100" y="61"/>
                    </a:lnTo>
                    <a:lnTo>
                      <a:pt x="100" y="63"/>
                    </a:lnTo>
                    <a:lnTo>
                      <a:pt x="100" y="63"/>
                    </a:lnTo>
                    <a:lnTo>
                      <a:pt x="100" y="63"/>
                    </a:lnTo>
                    <a:lnTo>
                      <a:pt x="100" y="63"/>
                    </a:lnTo>
                    <a:lnTo>
                      <a:pt x="100" y="64"/>
                    </a:lnTo>
                    <a:lnTo>
                      <a:pt x="100" y="66"/>
                    </a:lnTo>
                    <a:lnTo>
                      <a:pt x="100" y="68"/>
                    </a:lnTo>
                    <a:lnTo>
                      <a:pt x="100" y="68"/>
                    </a:lnTo>
                    <a:lnTo>
                      <a:pt x="100" y="70"/>
                    </a:lnTo>
                    <a:lnTo>
                      <a:pt x="100" y="70"/>
                    </a:lnTo>
                    <a:lnTo>
                      <a:pt x="96" y="70"/>
                    </a:lnTo>
                    <a:lnTo>
                      <a:pt x="94" y="70"/>
                    </a:lnTo>
                    <a:lnTo>
                      <a:pt x="91" y="70"/>
                    </a:lnTo>
                    <a:lnTo>
                      <a:pt x="89" y="70"/>
                    </a:lnTo>
                    <a:lnTo>
                      <a:pt x="87" y="70"/>
                    </a:lnTo>
                    <a:lnTo>
                      <a:pt x="85" y="72"/>
                    </a:lnTo>
                    <a:lnTo>
                      <a:pt x="84" y="72"/>
                    </a:lnTo>
                    <a:lnTo>
                      <a:pt x="82" y="70"/>
                    </a:lnTo>
                    <a:lnTo>
                      <a:pt x="82" y="70"/>
                    </a:lnTo>
                    <a:lnTo>
                      <a:pt x="78" y="70"/>
                    </a:lnTo>
                    <a:lnTo>
                      <a:pt x="77" y="70"/>
                    </a:lnTo>
                    <a:lnTo>
                      <a:pt x="75" y="68"/>
                    </a:lnTo>
                    <a:lnTo>
                      <a:pt x="75" y="68"/>
                    </a:lnTo>
                    <a:lnTo>
                      <a:pt x="75" y="70"/>
                    </a:lnTo>
                    <a:lnTo>
                      <a:pt x="73" y="70"/>
                    </a:lnTo>
                    <a:lnTo>
                      <a:pt x="73" y="68"/>
                    </a:lnTo>
                    <a:lnTo>
                      <a:pt x="71" y="66"/>
                    </a:lnTo>
                    <a:lnTo>
                      <a:pt x="69" y="66"/>
                    </a:lnTo>
                    <a:lnTo>
                      <a:pt x="68" y="66"/>
                    </a:lnTo>
                    <a:lnTo>
                      <a:pt x="66" y="66"/>
                    </a:lnTo>
                    <a:lnTo>
                      <a:pt x="39" y="66"/>
                    </a:lnTo>
                    <a:lnTo>
                      <a:pt x="30" y="70"/>
                    </a:lnTo>
                    <a:lnTo>
                      <a:pt x="21" y="70"/>
                    </a:lnTo>
                    <a:lnTo>
                      <a:pt x="16" y="72"/>
                    </a:lnTo>
                    <a:lnTo>
                      <a:pt x="14" y="72"/>
                    </a:lnTo>
                    <a:lnTo>
                      <a:pt x="14" y="72"/>
                    </a:lnTo>
                    <a:lnTo>
                      <a:pt x="12" y="70"/>
                    </a:lnTo>
                    <a:lnTo>
                      <a:pt x="12" y="70"/>
                    </a:lnTo>
                    <a:lnTo>
                      <a:pt x="12" y="70"/>
                    </a:lnTo>
                    <a:lnTo>
                      <a:pt x="12" y="70"/>
                    </a:lnTo>
                    <a:lnTo>
                      <a:pt x="12" y="61"/>
                    </a:lnTo>
                    <a:lnTo>
                      <a:pt x="14" y="57"/>
                    </a:lnTo>
                    <a:lnTo>
                      <a:pt x="28" y="57"/>
                    </a:lnTo>
                    <a:lnTo>
                      <a:pt x="28" y="57"/>
                    </a:lnTo>
                    <a:lnTo>
                      <a:pt x="28" y="56"/>
                    </a:lnTo>
                    <a:lnTo>
                      <a:pt x="30" y="54"/>
                    </a:lnTo>
                    <a:lnTo>
                      <a:pt x="32" y="56"/>
                    </a:lnTo>
                    <a:lnTo>
                      <a:pt x="34" y="56"/>
                    </a:lnTo>
                    <a:lnTo>
                      <a:pt x="37" y="54"/>
                    </a:lnTo>
                    <a:lnTo>
                      <a:pt x="39" y="52"/>
                    </a:lnTo>
                    <a:lnTo>
                      <a:pt x="39" y="52"/>
                    </a:lnTo>
                    <a:lnTo>
                      <a:pt x="41" y="52"/>
                    </a:lnTo>
                    <a:lnTo>
                      <a:pt x="43" y="54"/>
                    </a:lnTo>
                    <a:lnTo>
                      <a:pt x="44" y="54"/>
                    </a:lnTo>
                    <a:lnTo>
                      <a:pt x="46" y="56"/>
                    </a:lnTo>
                    <a:lnTo>
                      <a:pt x="48" y="56"/>
                    </a:lnTo>
                    <a:lnTo>
                      <a:pt x="52" y="57"/>
                    </a:lnTo>
                    <a:lnTo>
                      <a:pt x="53" y="56"/>
                    </a:lnTo>
                    <a:lnTo>
                      <a:pt x="53" y="57"/>
                    </a:lnTo>
                    <a:lnTo>
                      <a:pt x="55" y="56"/>
                    </a:lnTo>
                    <a:lnTo>
                      <a:pt x="59" y="56"/>
                    </a:lnTo>
                    <a:lnTo>
                      <a:pt x="60" y="54"/>
                    </a:lnTo>
                    <a:lnTo>
                      <a:pt x="60" y="54"/>
                    </a:lnTo>
                    <a:lnTo>
                      <a:pt x="60" y="52"/>
                    </a:lnTo>
                    <a:lnTo>
                      <a:pt x="60" y="52"/>
                    </a:lnTo>
                    <a:lnTo>
                      <a:pt x="59" y="52"/>
                    </a:lnTo>
                    <a:lnTo>
                      <a:pt x="59" y="52"/>
                    </a:lnTo>
                    <a:lnTo>
                      <a:pt x="57" y="52"/>
                    </a:lnTo>
                    <a:lnTo>
                      <a:pt x="53" y="54"/>
                    </a:lnTo>
                    <a:lnTo>
                      <a:pt x="52" y="52"/>
                    </a:lnTo>
                    <a:lnTo>
                      <a:pt x="50" y="52"/>
                    </a:lnTo>
                    <a:lnTo>
                      <a:pt x="48" y="50"/>
                    </a:lnTo>
                    <a:lnTo>
                      <a:pt x="48" y="50"/>
                    </a:lnTo>
                    <a:lnTo>
                      <a:pt x="44" y="50"/>
                    </a:lnTo>
                    <a:lnTo>
                      <a:pt x="43" y="48"/>
                    </a:lnTo>
                    <a:lnTo>
                      <a:pt x="41" y="47"/>
                    </a:lnTo>
                    <a:lnTo>
                      <a:pt x="39" y="47"/>
                    </a:lnTo>
                    <a:lnTo>
                      <a:pt x="37" y="48"/>
                    </a:lnTo>
                    <a:lnTo>
                      <a:pt x="35" y="48"/>
                    </a:lnTo>
                    <a:lnTo>
                      <a:pt x="34" y="48"/>
                    </a:lnTo>
                    <a:lnTo>
                      <a:pt x="32" y="50"/>
                    </a:lnTo>
                    <a:lnTo>
                      <a:pt x="16" y="5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40" name="Freeform 2391"/>
              <p:cNvSpPr>
                <a:spLocks/>
              </p:cNvSpPr>
              <p:nvPr/>
            </p:nvSpPr>
            <p:spPr bwMode="auto">
              <a:xfrm>
                <a:off x="2416" y="2443"/>
                <a:ext cx="100" cy="72"/>
              </a:xfrm>
              <a:custGeom>
                <a:avLst/>
                <a:gdLst>
                  <a:gd name="T0" fmla="*/ 14 w 100"/>
                  <a:gd name="T1" fmla="*/ 48 h 72"/>
                  <a:gd name="T2" fmla="*/ 3 w 100"/>
                  <a:gd name="T3" fmla="*/ 32 h 72"/>
                  <a:gd name="T4" fmla="*/ 2 w 100"/>
                  <a:gd name="T5" fmla="*/ 34 h 72"/>
                  <a:gd name="T6" fmla="*/ 0 w 100"/>
                  <a:gd name="T7" fmla="*/ 31 h 72"/>
                  <a:gd name="T8" fmla="*/ 10 w 100"/>
                  <a:gd name="T9" fmla="*/ 25 h 72"/>
                  <a:gd name="T10" fmla="*/ 16 w 100"/>
                  <a:gd name="T11" fmla="*/ 9 h 72"/>
                  <a:gd name="T12" fmla="*/ 21 w 100"/>
                  <a:gd name="T13" fmla="*/ 2 h 72"/>
                  <a:gd name="T14" fmla="*/ 30 w 100"/>
                  <a:gd name="T15" fmla="*/ 4 h 72"/>
                  <a:gd name="T16" fmla="*/ 35 w 100"/>
                  <a:gd name="T17" fmla="*/ 2 h 72"/>
                  <a:gd name="T18" fmla="*/ 39 w 100"/>
                  <a:gd name="T19" fmla="*/ 0 h 72"/>
                  <a:gd name="T20" fmla="*/ 43 w 100"/>
                  <a:gd name="T21" fmla="*/ 0 h 72"/>
                  <a:gd name="T22" fmla="*/ 50 w 100"/>
                  <a:gd name="T23" fmla="*/ 0 h 72"/>
                  <a:gd name="T24" fmla="*/ 57 w 100"/>
                  <a:gd name="T25" fmla="*/ 6 h 72"/>
                  <a:gd name="T26" fmla="*/ 62 w 100"/>
                  <a:gd name="T27" fmla="*/ 7 h 72"/>
                  <a:gd name="T28" fmla="*/ 64 w 100"/>
                  <a:gd name="T29" fmla="*/ 9 h 72"/>
                  <a:gd name="T30" fmla="*/ 69 w 100"/>
                  <a:gd name="T31" fmla="*/ 16 h 72"/>
                  <a:gd name="T32" fmla="*/ 71 w 100"/>
                  <a:gd name="T33" fmla="*/ 20 h 72"/>
                  <a:gd name="T34" fmla="*/ 73 w 100"/>
                  <a:gd name="T35" fmla="*/ 20 h 72"/>
                  <a:gd name="T36" fmla="*/ 77 w 100"/>
                  <a:gd name="T37" fmla="*/ 23 h 72"/>
                  <a:gd name="T38" fmla="*/ 77 w 100"/>
                  <a:gd name="T39" fmla="*/ 23 h 72"/>
                  <a:gd name="T40" fmla="*/ 78 w 100"/>
                  <a:gd name="T41" fmla="*/ 25 h 72"/>
                  <a:gd name="T42" fmla="*/ 82 w 100"/>
                  <a:gd name="T43" fmla="*/ 29 h 72"/>
                  <a:gd name="T44" fmla="*/ 87 w 100"/>
                  <a:gd name="T45" fmla="*/ 32 h 72"/>
                  <a:gd name="T46" fmla="*/ 87 w 100"/>
                  <a:gd name="T47" fmla="*/ 38 h 72"/>
                  <a:gd name="T48" fmla="*/ 87 w 100"/>
                  <a:gd name="T49" fmla="*/ 39 h 72"/>
                  <a:gd name="T50" fmla="*/ 91 w 100"/>
                  <a:gd name="T51" fmla="*/ 45 h 72"/>
                  <a:gd name="T52" fmla="*/ 89 w 100"/>
                  <a:gd name="T53" fmla="*/ 50 h 72"/>
                  <a:gd name="T54" fmla="*/ 93 w 100"/>
                  <a:gd name="T55" fmla="*/ 56 h 72"/>
                  <a:gd name="T56" fmla="*/ 96 w 100"/>
                  <a:gd name="T57" fmla="*/ 54 h 72"/>
                  <a:gd name="T58" fmla="*/ 96 w 100"/>
                  <a:gd name="T59" fmla="*/ 57 h 72"/>
                  <a:gd name="T60" fmla="*/ 100 w 100"/>
                  <a:gd name="T61" fmla="*/ 61 h 72"/>
                  <a:gd name="T62" fmla="*/ 100 w 100"/>
                  <a:gd name="T63" fmla="*/ 63 h 72"/>
                  <a:gd name="T64" fmla="*/ 100 w 100"/>
                  <a:gd name="T65" fmla="*/ 66 h 72"/>
                  <a:gd name="T66" fmla="*/ 100 w 100"/>
                  <a:gd name="T67" fmla="*/ 70 h 72"/>
                  <a:gd name="T68" fmla="*/ 94 w 100"/>
                  <a:gd name="T69" fmla="*/ 70 h 72"/>
                  <a:gd name="T70" fmla="*/ 87 w 100"/>
                  <a:gd name="T71" fmla="*/ 70 h 72"/>
                  <a:gd name="T72" fmla="*/ 82 w 100"/>
                  <a:gd name="T73" fmla="*/ 70 h 72"/>
                  <a:gd name="T74" fmla="*/ 77 w 100"/>
                  <a:gd name="T75" fmla="*/ 70 h 72"/>
                  <a:gd name="T76" fmla="*/ 75 w 100"/>
                  <a:gd name="T77" fmla="*/ 70 h 72"/>
                  <a:gd name="T78" fmla="*/ 71 w 100"/>
                  <a:gd name="T79" fmla="*/ 66 h 72"/>
                  <a:gd name="T80" fmla="*/ 66 w 100"/>
                  <a:gd name="T81" fmla="*/ 66 h 72"/>
                  <a:gd name="T82" fmla="*/ 21 w 100"/>
                  <a:gd name="T83" fmla="*/ 70 h 72"/>
                  <a:gd name="T84" fmla="*/ 14 w 100"/>
                  <a:gd name="T85" fmla="*/ 72 h 72"/>
                  <a:gd name="T86" fmla="*/ 12 w 100"/>
                  <a:gd name="T87" fmla="*/ 70 h 72"/>
                  <a:gd name="T88" fmla="*/ 14 w 100"/>
                  <a:gd name="T89" fmla="*/ 57 h 72"/>
                  <a:gd name="T90" fmla="*/ 28 w 100"/>
                  <a:gd name="T91" fmla="*/ 56 h 72"/>
                  <a:gd name="T92" fmla="*/ 34 w 100"/>
                  <a:gd name="T93" fmla="*/ 56 h 72"/>
                  <a:gd name="T94" fmla="*/ 39 w 100"/>
                  <a:gd name="T95" fmla="*/ 52 h 72"/>
                  <a:gd name="T96" fmla="*/ 44 w 100"/>
                  <a:gd name="T97" fmla="*/ 54 h 72"/>
                  <a:gd name="T98" fmla="*/ 52 w 100"/>
                  <a:gd name="T99" fmla="*/ 57 h 72"/>
                  <a:gd name="T100" fmla="*/ 55 w 100"/>
                  <a:gd name="T101" fmla="*/ 56 h 72"/>
                  <a:gd name="T102" fmla="*/ 60 w 100"/>
                  <a:gd name="T103" fmla="*/ 54 h 72"/>
                  <a:gd name="T104" fmla="*/ 59 w 100"/>
                  <a:gd name="T105" fmla="*/ 52 h 72"/>
                  <a:gd name="T106" fmla="*/ 53 w 100"/>
                  <a:gd name="T107" fmla="*/ 54 h 72"/>
                  <a:gd name="T108" fmla="*/ 48 w 100"/>
                  <a:gd name="T109" fmla="*/ 50 h 72"/>
                  <a:gd name="T110" fmla="*/ 43 w 100"/>
                  <a:gd name="T111" fmla="*/ 48 h 72"/>
                  <a:gd name="T112" fmla="*/ 37 w 100"/>
                  <a:gd name="T113" fmla="*/ 48 h 72"/>
                  <a:gd name="T114" fmla="*/ 32 w 100"/>
                  <a:gd name="T115" fmla="*/ 5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 h="72">
                    <a:moveTo>
                      <a:pt x="16" y="50"/>
                    </a:moveTo>
                    <a:lnTo>
                      <a:pt x="16" y="50"/>
                    </a:lnTo>
                    <a:lnTo>
                      <a:pt x="14" y="48"/>
                    </a:lnTo>
                    <a:lnTo>
                      <a:pt x="12" y="47"/>
                    </a:lnTo>
                    <a:lnTo>
                      <a:pt x="12" y="43"/>
                    </a:lnTo>
                    <a:lnTo>
                      <a:pt x="3" y="32"/>
                    </a:lnTo>
                    <a:lnTo>
                      <a:pt x="3" y="32"/>
                    </a:lnTo>
                    <a:lnTo>
                      <a:pt x="2" y="32"/>
                    </a:lnTo>
                    <a:lnTo>
                      <a:pt x="2" y="34"/>
                    </a:lnTo>
                    <a:lnTo>
                      <a:pt x="0" y="32"/>
                    </a:lnTo>
                    <a:lnTo>
                      <a:pt x="0" y="32"/>
                    </a:lnTo>
                    <a:lnTo>
                      <a:pt x="0" y="31"/>
                    </a:lnTo>
                    <a:lnTo>
                      <a:pt x="2" y="31"/>
                    </a:lnTo>
                    <a:lnTo>
                      <a:pt x="5" y="31"/>
                    </a:lnTo>
                    <a:lnTo>
                      <a:pt x="10" y="25"/>
                    </a:lnTo>
                    <a:lnTo>
                      <a:pt x="16" y="16"/>
                    </a:lnTo>
                    <a:lnTo>
                      <a:pt x="16" y="9"/>
                    </a:lnTo>
                    <a:lnTo>
                      <a:pt x="16" y="9"/>
                    </a:lnTo>
                    <a:lnTo>
                      <a:pt x="19" y="6"/>
                    </a:lnTo>
                    <a:lnTo>
                      <a:pt x="19" y="2"/>
                    </a:lnTo>
                    <a:lnTo>
                      <a:pt x="21" y="2"/>
                    </a:lnTo>
                    <a:lnTo>
                      <a:pt x="21" y="2"/>
                    </a:lnTo>
                    <a:lnTo>
                      <a:pt x="27" y="2"/>
                    </a:lnTo>
                    <a:lnTo>
                      <a:pt x="30" y="4"/>
                    </a:lnTo>
                    <a:lnTo>
                      <a:pt x="32" y="2"/>
                    </a:lnTo>
                    <a:lnTo>
                      <a:pt x="32" y="2"/>
                    </a:lnTo>
                    <a:lnTo>
                      <a:pt x="35" y="2"/>
                    </a:lnTo>
                    <a:lnTo>
                      <a:pt x="39" y="2"/>
                    </a:lnTo>
                    <a:lnTo>
                      <a:pt x="39" y="2"/>
                    </a:lnTo>
                    <a:lnTo>
                      <a:pt x="39" y="0"/>
                    </a:lnTo>
                    <a:lnTo>
                      <a:pt x="39" y="0"/>
                    </a:lnTo>
                    <a:lnTo>
                      <a:pt x="41" y="0"/>
                    </a:lnTo>
                    <a:lnTo>
                      <a:pt x="43" y="0"/>
                    </a:lnTo>
                    <a:lnTo>
                      <a:pt x="48" y="0"/>
                    </a:lnTo>
                    <a:lnTo>
                      <a:pt x="50" y="0"/>
                    </a:lnTo>
                    <a:lnTo>
                      <a:pt x="50" y="0"/>
                    </a:lnTo>
                    <a:lnTo>
                      <a:pt x="52" y="2"/>
                    </a:lnTo>
                    <a:lnTo>
                      <a:pt x="53" y="2"/>
                    </a:lnTo>
                    <a:lnTo>
                      <a:pt x="57" y="6"/>
                    </a:lnTo>
                    <a:lnTo>
                      <a:pt x="57" y="7"/>
                    </a:lnTo>
                    <a:lnTo>
                      <a:pt x="59" y="9"/>
                    </a:lnTo>
                    <a:lnTo>
                      <a:pt x="62" y="7"/>
                    </a:lnTo>
                    <a:lnTo>
                      <a:pt x="62" y="9"/>
                    </a:lnTo>
                    <a:lnTo>
                      <a:pt x="62" y="9"/>
                    </a:lnTo>
                    <a:lnTo>
                      <a:pt x="64" y="9"/>
                    </a:lnTo>
                    <a:lnTo>
                      <a:pt x="66" y="9"/>
                    </a:lnTo>
                    <a:lnTo>
                      <a:pt x="69" y="16"/>
                    </a:lnTo>
                    <a:lnTo>
                      <a:pt x="69" y="16"/>
                    </a:lnTo>
                    <a:lnTo>
                      <a:pt x="71" y="18"/>
                    </a:lnTo>
                    <a:lnTo>
                      <a:pt x="71" y="18"/>
                    </a:lnTo>
                    <a:lnTo>
                      <a:pt x="71" y="20"/>
                    </a:lnTo>
                    <a:lnTo>
                      <a:pt x="73" y="20"/>
                    </a:lnTo>
                    <a:lnTo>
                      <a:pt x="73" y="20"/>
                    </a:lnTo>
                    <a:lnTo>
                      <a:pt x="73" y="20"/>
                    </a:lnTo>
                    <a:lnTo>
                      <a:pt x="75" y="22"/>
                    </a:lnTo>
                    <a:lnTo>
                      <a:pt x="75" y="22"/>
                    </a:lnTo>
                    <a:lnTo>
                      <a:pt x="77" y="23"/>
                    </a:lnTo>
                    <a:lnTo>
                      <a:pt x="75" y="23"/>
                    </a:lnTo>
                    <a:lnTo>
                      <a:pt x="75" y="23"/>
                    </a:lnTo>
                    <a:lnTo>
                      <a:pt x="77" y="23"/>
                    </a:lnTo>
                    <a:lnTo>
                      <a:pt x="77" y="25"/>
                    </a:lnTo>
                    <a:lnTo>
                      <a:pt x="78" y="25"/>
                    </a:lnTo>
                    <a:lnTo>
                      <a:pt x="78" y="25"/>
                    </a:lnTo>
                    <a:lnTo>
                      <a:pt x="80" y="27"/>
                    </a:lnTo>
                    <a:lnTo>
                      <a:pt x="82" y="27"/>
                    </a:lnTo>
                    <a:lnTo>
                      <a:pt x="82" y="29"/>
                    </a:lnTo>
                    <a:lnTo>
                      <a:pt x="82" y="29"/>
                    </a:lnTo>
                    <a:lnTo>
                      <a:pt x="84" y="31"/>
                    </a:lnTo>
                    <a:lnTo>
                      <a:pt x="87" y="32"/>
                    </a:lnTo>
                    <a:lnTo>
                      <a:pt x="87" y="34"/>
                    </a:lnTo>
                    <a:lnTo>
                      <a:pt x="87" y="36"/>
                    </a:lnTo>
                    <a:lnTo>
                      <a:pt x="87" y="38"/>
                    </a:lnTo>
                    <a:lnTo>
                      <a:pt x="87" y="38"/>
                    </a:lnTo>
                    <a:lnTo>
                      <a:pt x="87" y="39"/>
                    </a:lnTo>
                    <a:lnTo>
                      <a:pt x="87" y="39"/>
                    </a:lnTo>
                    <a:lnTo>
                      <a:pt x="89" y="39"/>
                    </a:lnTo>
                    <a:lnTo>
                      <a:pt x="89" y="43"/>
                    </a:lnTo>
                    <a:lnTo>
                      <a:pt x="91" y="45"/>
                    </a:lnTo>
                    <a:lnTo>
                      <a:pt x="91" y="47"/>
                    </a:lnTo>
                    <a:lnTo>
                      <a:pt x="89" y="48"/>
                    </a:lnTo>
                    <a:lnTo>
                      <a:pt x="89" y="50"/>
                    </a:lnTo>
                    <a:lnTo>
                      <a:pt x="91" y="52"/>
                    </a:lnTo>
                    <a:lnTo>
                      <a:pt x="93" y="54"/>
                    </a:lnTo>
                    <a:lnTo>
                      <a:pt x="93" y="56"/>
                    </a:lnTo>
                    <a:lnTo>
                      <a:pt x="93" y="56"/>
                    </a:lnTo>
                    <a:lnTo>
                      <a:pt x="94" y="54"/>
                    </a:lnTo>
                    <a:lnTo>
                      <a:pt x="96" y="54"/>
                    </a:lnTo>
                    <a:lnTo>
                      <a:pt x="96" y="56"/>
                    </a:lnTo>
                    <a:lnTo>
                      <a:pt x="96" y="56"/>
                    </a:lnTo>
                    <a:lnTo>
                      <a:pt x="96" y="57"/>
                    </a:lnTo>
                    <a:lnTo>
                      <a:pt x="98" y="57"/>
                    </a:lnTo>
                    <a:lnTo>
                      <a:pt x="98" y="59"/>
                    </a:lnTo>
                    <a:lnTo>
                      <a:pt x="100" y="61"/>
                    </a:lnTo>
                    <a:lnTo>
                      <a:pt x="100" y="63"/>
                    </a:lnTo>
                    <a:lnTo>
                      <a:pt x="100" y="63"/>
                    </a:lnTo>
                    <a:lnTo>
                      <a:pt x="100" y="63"/>
                    </a:lnTo>
                    <a:lnTo>
                      <a:pt x="100" y="63"/>
                    </a:lnTo>
                    <a:lnTo>
                      <a:pt x="100" y="64"/>
                    </a:lnTo>
                    <a:lnTo>
                      <a:pt x="100" y="66"/>
                    </a:lnTo>
                    <a:lnTo>
                      <a:pt x="100" y="68"/>
                    </a:lnTo>
                    <a:lnTo>
                      <a:pt x="100" y="68"/>
                    </a:lnTo>
                    <a:lnTo>
                      <a:pt x="100" y="70"/>
                    </a:lnTo>
                    <a:lnTo>
                      <a:pt x="100" y="70"/>
                    </a:lnTo>
                    <a:lnTo>
                      <a:pt x="96" y="70"/>
                    </a:lnTo>
                    <a:lnTo>
                      <a:pt x="94" y="70"/>
                    </a:lnTo>
                    <a:lnTo>
                      <a:pt x="91" y="70"/>
                    </a:lnTo>
                    <a:lnTo>
                      <a:pt x="89" y="70"/>
                    </a:lnTo>
                    <a:lnTo>
                      <a:pt x="87" y="70"/>
                    </a:lnTo>
                    <a:lnTo>
                      <a:pt x="85" y="72"/>
                    </a:lnTo>
                    <a:lnTo>
                      <a:pt x="84" y="72"/>
                    </a:lnTo>
                    <a:lnTo>
                      <a:pt x="82" y="70"/>
                    </a:lnTo>
                    <a:lnTo>
                      <a:pt x="82" y="70"/>
                    </a:lnTo>
                    <a:lnTo>
                      <a:pt x="78" y="70"/>
                    </a:lnTo>
                    <a:lnTo>
                      <a:pt x="77" y="70"/>
                    </a:lnTo>
                    <a:lnTo>
                      <a:pt x="75" y="68"/>
                    </a:lnTo>
                    <a:lnTo>
                      <a:pt x="75" y="68"/>
                    </a:lnTo>
                    <a:lnTo>
                      <a:pt x="75" y="70"/>
                    </a:lnTo>
                    <a:lnTo>
                      <a:pt x="73" y="70"/>
                    </a:lnTo>
                    <a:lnTo>
                      <a:pt x="73" y="68"/>
                    </a:lnTo>
                    <a:lnTo>
                      <a:pt x="71" y="66"/>
                    </a:lnTo>
                    <a:lnTo>
                      <a:pt x="69" y="66"/>
                    </a:lnTo>
                    <a:lnTo>
                      <a:pt x="68" y="66"/>
                    </a:lnTo>
                    <a:lnTo>
                      <a:pt x="66" y="66"/>
                    </a:lnTo>
                    <a:lnTo>
                      <a:pt x="39" y="66"/>
                    </a:lnTo>
                    <a:lnTo>
                      <a:pt x="30" y="70"/>
                    </a:lnTo>
                    <a:lnTo>
                      <a:pt x="21" y="70"/>
                    </a:lnTo>
                    <a:lnTo>
                      <a:pt x="16" y="72"/>
                    </a:lnTo>
                    <a:lnTo>
                      <a:pt x="14" y="72"/>
                    </a:lnTo>
                    <a:lnTo>
                      <a:pt x="14" y="72"/>
                    </a:lnTo>
                    <a:lnTo>
                      <a:pt x="12" y="70"/>
                    </a:lnTo>
                    <a:lnTo>
                      <a:pt x="12" y="70"/>
                    </a:lnTo>
                    <a:lnTo>
                      <a:pt x="12" y="70"/>
                    </a:lnTo>
                    <a:lnTo>
                      <a:pt x="12" y="70"/>
                    </a:lnTo>
                    <a:lnTo>
                      <a:pt x="12" y="61"/>
                    </a:lnTo>
                    <a:lnTo>
                      <a:pt x="14" y="57"/>
                    </a:lnTo>
                    <a:lnTo>
                      <a:pt x="28" y="57"/>
                    </a:lnTo>
                    <a:lnTo>
                      <a:pt x="28" y="57"/>
                    </a:lnTo>
                    <a:lnTo>
                      <a:pt x="28" y="56"/>
                    </a:lnTo>
                    <a:lnTo>
                      <a:pt x="30" y="54"/>
                    </a:lnTo>
                    <a:lnTo>
                      <a:pt x="32" y="56"/>
                    </a:lnTo>
                    <a:lnTo>
                      <a:pt x="34" y="56"/>
                    </a:lnTo>
                    <a:lnTo>
                      <a:pt x="37" y="54"/>
                    </a:lnTo>
                    <a:lnTo>
                      <a:pt x="39" y="52"/>
                    </a:lnTo>
                    <a:lnTo>
                      <a:pt x="39" y="52"/>
                    </a:lnTo>
                    <a:lnTo>
                      <a:pt x="41" y="52"/>
                    </a:lnTo>
                    <a:lnTo>
                      <a:pt x="43" y="54"/>
                    </a:lnTo>
                    <a:lnTo>
                      <a:pt x="44" y="54"/>
                    </a:lnTo>
                    <a:lnTo>
                      <a:pt x="46" y="56"/>
                    </a:lnTo>
                    <a:lnTo>
                      <a:pt x="48" y="56"/>
                    </a:lnTo>
                    <a:lnTo>
                      <a:pt x="52" y="57"/>
                    </a:lnTo>
                    <a:lnTo>
                      <a:pt x="53" y="56"/>
                    </a:lnTo>
                    <a:lnTo>
                      <a:pt x="53" y="57"/>
                    </a:lnTo>
                    <a:lnTo>
                      <a:pt x="55" y="56"/>
                    </a:lnTo>
                    <a:lnTo>
                      <a:pt x="59" y="56"/>
                    </a:lnTo>
                    <a:lnTo>
                      <a:pt x="60" y="54"/>
                    </a:lnTo>
                    <a:lnTo>
                      <a:pt x="60" y="54"/>
                    </a:lnTo>
                    <a:lnTo>
                      <a:pt x="60" y="52"/>
                    </a:lnTo>
                    <a:lnTo>
                      <a:pt x="60" y="52"/>
                    </a:lnTo>
                    <a:lnTo>
                      <a:pt x="59" y="52"/>
                    </a:lnTo>
                    <a:lnTo>
                      <a:pt x="59" y="52"/>
                    </a:lnTo>
                    <a:lnTo>
                      <a:pt x="57" y="52"/>
                    </a:lnTo>
                    <a:lnTo>
                      <a:pt x="53" y="54"/>
                    </a:lnTo>
                    <a:lnTo>
                      <a:pt x="52" y="52"/>
                    </a:lnTo>
                    <a:lnTo>
                      <a:pt x="50" y="52"/>
                    </a:lnTo>
                    <a:lnTo>
                      <a:pt x="48" y="50"/>
                    </a:lnTo>
                    <a:lnTo>
                      <a:pt x="48" y="50"/>
                    </a:lnTo>
                    <a:lnTo>
                      <a:pt x="44" y="50"/>
                    </a:lnTo>
                    <a:lnTo>
                      <a:pt x="43" y="48"/>
                    </a:lnTo>
                    <a:lnTo>
                      <a:pt x="41" y="47"/>
                    </a:lnTo>
                    <a:lnTo>
                      <a:pt x="39" y="47"/>
                    </a:lnTo>
                    <a:lnTo>
                      <a:pt x="37" y="48"/>
                    </a:lnTo>
                    <a:lnTo>
                      <a:pt x="35" y="48"/>
                    </a:lnTo>
                    <a:lnTo>
                      <a:pt x="34" y="48"/>
                    </a:lnTo>
                    <a:lnTo>
                      <a:pt x="32" y="50"/>
                    </a:lnTo>
                    <a:lnTo>
                      <a:pt x="16" y="5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41" name="Freeform 2392"/>
              <p:cNvSpPr>
                <a:spLocks/>
              </p:cNvSpPr>
              <p:nvPr/>
            </p:nvSpPr>
            <p:spPr bwMode="auto">
              <a:xfrm>
                <a:off x="3171" y="2727"/>
                <a:ext cx="173" cy="173"/>
              </a:xfrm>
              <a:custGeom>
                <a:avLst/>
                <a:gdLst>
                  <a:gd name="T0" fmla="*/ 155 w 173"/>
                  <a:gd name="T1" fmla="*/ 59 h 173"/>
                  <a:gd name="T2" fmla="*/ 154 w 173"/>
                  <a:gd name="T3" fmla="*/ 91 h 173"/>
                  <a:gd name="T4" fmla="*/ 159 w 173"/>
                  <a:gd name="T5" fmla="*/ 98 h 173"/>
                  <a:gd name="T6" fmla="*/ 157 w 173"/>
                  <a:gd name="T7" fmla="*/ 102 h 173"/>
                  <a:gd name="T8" fmla="*/ 157 w 173"/>
                  <a:gd name="T9" fmla="*/ 111 h 173"/>
                  <a:gd name="T10" fmla="*/ 155 w 173"/>
                  <a:gd name="T11" fmla="*/ 116 h 173"/>
                  <a:gd name="T12" fmla="*/ 159 w 173"/>
                  <a:gd name="T13" fmla="*/ 125 h 173"/>
                  <a:gd name="T14" fmla="*/ 161 w 173"/>
                  <a:gd name="T15" fmla="*/ 134 h 173"/>
                  <a:gd name="T16" fmla="*/ 163 w 173"/>
                  <a:gd name="T17" fmla="*/ 139 h 173"/>
                  <a:gd name="T18" fmla="*/ 164 w 173"/>
                  <a:gd name="T19" fmla="*/ 143 h 173"/>
                  <a:gd name="T20" fmla="*/ 170 w 173"/>
                  <a:gd name="T21" fmla="*/ 150 h 173"/>
                  <a:gd name="T22" fmla="*/ 173 w 173"/>
                  <a:gd name="T23" fmla="*/ 152 h 173"/>
                  <a:gd name="T24" fmla="*/ 146 w 173"/>
                  <a:gd name="T25" fmla="*/ 168 h 173"/>
                  <a:gd name="T26" fmla="*/ 136 w 173"/>
                  <a:gd name="T27" fmla="*/ 166 h 173"/>
                  <a:gd name="T28" fmla="*/ 116 w 173"/>
                  <a:gd name="T29" fmla="*/ 170 h 173"/>
                  <a:gd name="T30" fmla="*/ 109 w 173"/>
                  <a:gd name="T31" fmla="*/ 173 h 173"/>
                  <a:gd name="T32" fmla="*/ 102 w 173"/>
                  <a:gd name="T33" fmla="*/ 170 h 173"/>
                  <a:gd name="T34" fmla="*/ 86 w 173"/>
                  <a:gd name="T35" fmla="*/ 172 h 173"/>
                  <a:gd name="T36" fmla="*/ 80 w 173"/>
                  <a:gd name="T37" fmla="*/ 164 h 173"/>
                  <a:gd name="T38" fmla="*/ 77 w 173"/>
                  <a:gd name="T39" fmla="*/ 143 h 173"/>
                  <a:gd name="T40" fmla="*/ 68 w 173"/>
                  <a:gd name="T41" fmla="*/ 141 h 173"/>
                  <a:gd name="T42" fmla="*/ 64 w 173"/>
                  <a:gd name="T43" fmla="*/ 138 h 173"/>
                  <a:gd name="T44" fmla="*/ 59 w 173"/>
                  <a:gd name="T45" fmla="*/ 138 h 173"/>
                  <a:gd name="T46" fmla="*/ 52 w 173"/>
                  <a:gd name="T47" fmla="*/ 134 h 173"/>
                  <a:gd name="T48" fmla="*/ 29 w 173"/>
                  <a:gd name="T49" fmla="*/ 123 h 173"/>
                  <a:gd name="T50" fmla="*/ 14 w 173"/>
                  <a:gd name="T51" fmla="*/ 104 h 173"/>
                  <a:gd name="T52" fmla="*/ 4 w 173"/>
                  <a:gd name="T53" fmla="*/ 88 h 173"/>
                  <a:gd name="T54" fmla="*/ 5 w 173"/>
                  <a:gd name="T55" fmla="*/ 80 h 173"/>
                  <a:gd name="T56" fmla="*/ 2 w 173"/>
                  <a:gd name="T57" fmla="*/ 66 h 173"/>
                  <a:gd name="T58" fmla="*/ 2 w 173"/>
                  <a:gd name="T59" fmla="*/ 55 h 173"/>
                  <a:gd name="T60" fmla="*/ 20 w 173"/>
                  <a:gd name="T61" fmla="*/ 34 h 173"/>
                  <a:gd name="T62" fmla="*/ 16 w 173"/>
                  <a:gd name="T63" fmla="*/ 30 h 173"/>
                  <a:gd name="T64" fmla="*/ 14 w 173"/>
                  <a:gd name="T65" fmla="*/ 25 h 173"/>
                  <a:gd name="T66" fmla="*/ 13 w 173"/>
                  <a:gd name="T67" fmla="*/ 2 h 173"/>
                  <a:gd name="T68" fmla="*/ 21 w 173"/>
                  <a:gd name="T69" fmla="*/ 0 h 173"/>
                  <a:gd name="T70" fmla="*/ 34 w 173"/>
                  <a:gd name="T71" fmla="*/ 25 h 173"/>
                  <a:gd name="T72" fmla="*/ 38 w 173"/>
                  <a:gd name="T73" fmla="*/ 29 h 173"/>
                  <a:gd name="T74" fmla="*/ 41 w 173"/>
                  <a:gd name="T75" fmla="*/ 23 h 173"/>
                  <a:gd name="T76" fmla="*/ 50 w 173"/>
                  <a:gd name="T77" fmla="*/ 25 h 173"/>
                  <a:gd name="T78" fmla="*/ 54 w 173"/>
                  <a:gd name="T79" fmla="*/ 30 h 173"/>
                  <a:gd name="T80" fmla="*/ 55 w 173"/>
                  <a:gd name="T81" fmla="*/ 25 h 173"/>
                  <a:gd name="T82" fmla="*/ 66 w 173"/>
                  <a:gd name="T83" fmla="*/ 22 h 173"/>
                  <a:gd name="T84" fmla="*/ 61 w 173"/>
                  <a:gd name="T85" fmla="*/ 20 h 173"/>
                  <a:gd name="T86" fmla="*/ 63 w 173"/>
                  <a:gd name="T87" fmla="*/ 16 h 173"/>
                  <a:gd name="T88" fmla="*/ 64 w 173"/>
                  <a:gd name="T89" fmla="*/ 14 h 173"/>
                  <a:gd name="T90" fmla="*/ 66 w 173"/>
                  <a:gd name="T91" fmla="*/ 9 h 173"/>
                  <a:gd name="T92" fmla="*/ 70 w 173"/>
                  <a:gd name="T93" fmla="*/ 7 h 173"/>
                  <a:gd name="T94" fmla="*/ 70 w 173"/>
                  <a:gd name="T95" fmla="*/ 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3" h="173">
                    <a:moveTo>
                      <a:pt x="129" y="34"/>
                    </a:moveTo>
                    <a:lnTo>
                      <a:pt x="132" y="47"/>
                    </a:lnTo>
                    <a:lnTo>
                      <a:pt x="155" y="59"/>
                    </a:lnTo>
                    <a:lnTo>
                      <a:pt x="148" y="82"/>
                    </a:lnTo>
                    <a:lnTo>
                      <a:pt x="148" y="88"/>
                    </a:lnTo>
                    <a:lnTo>
                      <a:pt x="154" y="91"/>
                    </a:lnTo>
                    <a:lnTo>
                      <a:pt x="155" y="93"/>
                    </a:lnTo>
                    <a:lnTo>
                      <a:pt x="157" y="95"/>
                    </a:lnTo>
                    <a:lnTo>
                      <a:pt x="159" y="98"/>
                    </a:lnTo>
                    <a:lnTo>
                      <a:pt x="159" y="100"/>
                    </a:lnTo>
                    <a:lnTo>
                      <a:pt x="159" y="100"/>
                    </a:lnTo>
                    <a:lnTo>
                      <a:pt x="157" y="102"/>
                    </a:lnTo>
                    <a:lnTo>
                      <a:pt x="155" y="109"/>
                    </a:lnTo>
                    <a:lnTo>
                      <a:pt x="157" y="109"/>
                    </a:lnTo>
                    <a:lnTo>
                      <a:pt x="157" y="111"/>
                    </a:lnTo>
                    <a:lnTo>
                      <a:pt x="157" y="113"/>
                    </a:lnTo>
                    <a:lnTo>
                      <a:pt x="157" y="116"/>
                    </a:lnTo>
                    <a:lnTo>
                      <a:pt x="155" y="116"/>
                    </a:lnTo>
                    <a:lnTo>
                      <a:pt x="155" y="118"/>
                    </a:lnTo>
                    <a:lnTo>
                      <a:pt x="157" y="125"/>
                    </a:lnTo>
                    <a:lnTo>
                      <a:pt x="159" y="125"/>
                    </a:lnTo>
                    <a:lnTo>
                      <a:pt x="159" y="127"/>
                    </a:lnTo>
                    <a:lnTo>
                      <a:pt x="157" y="127"/>
                    </a:lnTo>
                    <a:lnTo>
                      <a:pt x="161" y="134"/>
                    </a:lnTo>
                    <a:lnTo>
                      <a:pt x="161" y="136"/>
                    </a:lnTo>
                    <a:lnTo>
                      <a:pt x="161" y="138"/>
                    </a:lnTo>
                    <a:lnTo>
                      <a:pt x="163" y="139"/>
                    </a:lnTo>
                    <a:lnTo>
                      <a:pt x="163" y="141"/>
                    </a:lnTo>
                    <a:lnTo>
                      <a:pt x="163" y="143"/>
                    </a:lnTo>
                    <a:lnTo>
                      <a:pt x="164" y="143"/>
                    </a:lnTo>
                    <a:lnTo>
                      <a:pt x="164" y="145"/>
                    </a:lnTo>
                    <a:lnTo>
                      <a:pt x="168" y="147"/>
                    </a:lnTo>
                    <a:lnTo>
                      <a:pt x="170" y="150"/>
                    </a:lnTo>
                    <a:lnTo>
                      <a:pt x="171" y="150"/>
                    </a:lnTo>
                    <a:lnTo>
                      <a:pt x="173" y="152"/>
                    </a:lnTo>
                    <a:lnTo>
                      <a:pt x="173" y="152"/>
                    </a:lnTo>
                    <a:lnTo>
                      <a:pt x="173" y="154"/>
                    </a:lnTo>
                    <a:lnTo>
                      <a:pt x="164" y="161"/>
                    </a:lnTo>
                    <a:lnTo>
                      <a:pt x="146" y="168"/>
                    </a:lnTo>
                    <a:lnTo>
                      <a:pt x="143" y="168"/>
                    </a:lnTo>
                    <a:lnTo>
                      <a:pt x="139" y="166"/>
                    </a:lnTo>
                    <a:lnTo>
                      <a:pt x="136" y="166"/>
                    </a:lnTo>
                    <a:lnTo>
                      <a:pt x="132" y="166"/>
                    </a:lnTo>
                    <a:lnTo>
                      <a:pt x="129" y="170"/>
                    </a:lnTo>
                    <a:lnTo>
                      <a:pt x="116" y="170"/>
                    </a:lnTo>
                    <a:lnTo>
                      <a:pt x="113" y="173"/>
                    </a:lnTo>
                    <a:lnTo>
                      <a:pt x="111" y="173"/>
                    </a:lnTo>
                    <a:lnTo>
                      <a:pt x="109" y="173"/>
                    </a:lnTo>
                    <a:lnTo>
                      <a:pt x="107" y="173"/>
                    </a:lnTo>
                    <a:lnTo>
                      <a:pt x="104" y="170"/>
                    </a:lnTo>
                    <a:lnTo>
                      <a:pt x="102" y="170"/>
                    </a:lnTo>
                    <a:lnTo>
                      <a:pt x="100" y="170"/>
                    </a:lnTo>
                    <a:lnTo>
                      <a:pt x="98" y="172"/>
                    </a:lnTo>
                    <a:lnTo>
                      <a:pt x="86" y="172"/>
                    </a:lnTo>
                    <a:lnTo>
                      <a:pt x="86" y="170"/>
                    </a:lnTo>
                    <a:lnTo>
                      <a:pt x="84" y="168"/>
                    </a:lnTo>
                    <a:lnTo>
                      <a:pt x="80" y="164"/>
                    </a:lnTo>
                    <a:lnTo>
                      <a:pt x="80" y="163"/>
                    </a:lnTo>
                    <a:lnTo>
                      <a:pt x="80" y="157"/>
                    </a:lnTo>
                    <a:lnTo>
                      <a:pt x="77" y="143"/>
                    </a:lnTo>
                    <a:lnTo>
                      <a:pt x="73" y="139"/>
                    </a:lnTo>
                    <a:lnTo>
                      <a:pt x="70" y="139"/>
                    </a:lnTo>
                    <a:lnTo>
                      <a:pt x="68" y="141"/>
                    </a:lnTo>
                    <a:lnTo>
                      <a:pt x="66" y="139"/>
                    </a:lnTo>
                    <a:lnTo>
                      <a:pt x="66" y="138"/>
                    </a:lnTo>
                    <a:lnTo>
                      <a:pt x="64" y="138"/>
                    </a:lnTo>
                    <a:lnTo>
                      <a:pt x="61" y="139"/>
                    </a:lnTo>
                    <a:lnTo>
                      <a:pt x="61" y="139"/>
                    </a:lnTo>
                    <a:lnTo>
                      <a:pt x="59" y="138"/>
                    </a:lnTo>
                    <a:lnTo>
                      <a:pt x="57" y="138"/>
                    </a:lnTo>
                    <a:lnTo>
                      <a:pt x="54" y="136"/>
                    </a:lnTo>
                    <a:lnTo>
                      <a:pt x="52" y="134"/>
                    </a:lnTo>
                    <a:lnTo>
                      <a:pt x="52" y="134"/>
                    </a:lnTo>
                    <a:lnTo>
                      <a:pt x="34" y="129"/>
                    </a:lnTo>
                    <a:lnTo>
                      <a:pt x="29" y="123"/>
                    </a:lnTo>
                    <a:lnTo>
                      <a:pt x="25" y="122"/>
                    </a:lnTo>
                    <a:lnTo>
                      <a:pt x="23" y="122"/>
                    </a:lnTo>
                    <a:lnTo>
                      <a:pt x="14" y="104"/>
                    </a:lnTo>
                    <a:lnTo>
                      <a:pt x="14" y="97"/>
                    </a:lnTo>
                    <a:lnTo>
                      <a:pt x="9" y="91"/>
                    </a:lnTo>
                    <a:lnTo>
                      <a:pt x="4" y="88"/>
                    </a:lnTo>
                    <a:lnTo>
                      <a:pt x="2" y="84"/>
                    </a:lnTo>
                    <a:lnTo>
                      <a:pt x="4" y="82"/>
                    </a:lnTo>
                    <a:lnTo>
                      <a:pt x="5" y="80"/>
                    </a:lnTo>
                    <a:lnTo>
                      <a:pt x="4" y="73"/>
                    </a:lnTo>
                    <a:lnTo>
                      <a:pt x="4" y="68"/>
                    </a:lnTo>
                    <a:lnTo>
                      <a:pt x="2" y="66"/>
                    </a:lnTo>
                    <a:lnTo>
                      <a:pt x="0" y="66"/>
                    </a:lnTo>
                    <a:lnTo>
                      <a:pt x="0" y="55"/>
                    </a:lnTo>
                    <a:lnTo>
                      <a:pt x="2" y="55"/>
                    </a:lnTo>
                    <a:lnTo>
                      <a:pt x="9" y="54"/>
                    </a:lnTo>
                    <a:lnTo>
                      <a:pt x="20" y="36"/>
                    </a:lnTo>
                    <a:lnTo>
                      <a:pt x="20" y="34"/>
                    </a:lnTo>
                    <a:lnTo>
                      <a:pt x="18" y="32"/>
                    </a:lnTo>
                    <a:lnTo>
                      <a:pt x="18" y="30"/>
                    </a:lnTo>
                    <a:lnTo>
                      <a:pt x="16" y="30"/>
                    </a:lnTo>
                    <a:lnTo>
                      <a:pt x="14" y="29"/>
                    </a:lnTo>
                    <a:lnTo>
                      <a:pt x="14" y="27"/>
                    </a:lnTo>
                    <a:lnTo>
                      <a:pt x="14" y="25"/>
                    </a:lnTo>
                    <a:lnTo>
                      <a:pt x="20" y="20"/>
                    </a:lnTo>
                    <a:lnTo>
                      <a:pt x="20" y="16"/>
                    </a:lnTo>
                    <a:lnTo>
                      <a:pt x="13" y="2"/>
                    </a:lnTo>
                    <a:lnTo>
                      <a:pt x="20" y="2"/>
                    </a:lnTo>
                    <a:lnTo>
                      <a:pt x="21" y="2"/>
                    </a:lnTo>
                    <a:lnTo>
                      <a:pt x="21" y="0"/>
                    </a:lnTo>
                    <a:lnTo>
                      <a:pt x="36" y="2"/>
                    </a:lnTo>
                    <a:lnTo>
                      <a:pt x="34" y="18"/>
                    </a:lnTo>
                    <a:lnTo>
                      <a:pt x="34" y="25"/>
                    </a:lnTo>
                    <a:lnTo>
                      <a:pt x="34" y="27"/>
                    </a:lnTo>
                    <a:lnTo>
                      <a:pt x="36" y="30"/>
                    </a:lnTo>
                    <a:lnTo>
                      <a:pt x="38" y="29"/>
                    </a:lnTo>
                    <a:lnTo>
                      <a:pt x="39" y="27"/>
                    </a:lnTo>
                    <a:lnTo>
                      <a:pt x="41" y="27"/>
                    </a:lnTo>
                    <a:lnTo>
                      <a:pt x="41" y="23"/>
                    </a:lnTo>
                    <a:lnTo>
                      <a:pt x="43" y="22"/>
                    </a:lnTo>
                    <a:lnTo>
                      <a:pt x="48" y="27"/>
                    </a:lnTo>
                    <a:lnTo>
                      <a:pt x="50" y="25"/>
                    </a:lnTo>
                    <a:lnTo>
                      <a:pt x="52" y="27"/>
                    </a:lnTo>
                    <a:lnTo>
                      <a:pt x="52" y="32"/>
                    </a:lnTo>
                    <a:lnTo>
                      <a:pt x="54" y="30"/>
                    </a:lnTo>
                    <a:lnTo>
                      <a:pt x="54" y="29"/>
                    </a:lnTo>
                    <a:lnTo>
                      <a:pt x="54" y="25"/>
                    </a:lnTo>
                    <a:lnTo>
                      <a:pt x="55" y="25"/>
                    </a:lnTo>
                    <a:lnTo>
                      <a:pt x="61" y="25"/>
                    </a:lnTo>
                    <a:lnTo>
                      <a:pt x="63" y="23"/>
                    </a:lnTo>
                    <a:lnTo>
                      <a:pt x="66" y="22"/>
                    </a:lnTo>
                    <a:lnTo>
                      <a:pt x="66" y="22"/>
                    </a:lnTo>
                    <a:lnTo>
                      <a:pt x="66" y="20"/>
                    </a:lnTo>
                    <a:lnTo>
                      <a:pt x="61" y="20"/>
                    </a:lnTo>
                    <a:lnTo>
                      <a:pt x="59" y="18"/>
                    </a:lnTo>
                    <a:lnTo>
                      <a:pt x="59" y="18"/>
                    </a:lnTo>
                    <a:lnTo>
                      <a:pt x="63" y="16"/>
                    </a:lnTo>
                    <a:lnTo>
                      <a:pt x="61" y="14"/>
                    </a:lnTo>
                    <a:lnTo>
                      <a:pt x="63" y="14"/>
                    </a:lnTo>
                    <a:lnTo>
                      <a:pt x="64" y="14"/>
                    </a:lnTo>
                    <a:lnTo>
                      <a:pt x="64" y="13"/>
                    </a:lnTo>
                    <a:lnTo>
                      <a:pt x="66" y="11"/>
                    </a:lnTo>
                    <a:lnTo>
                      <a:pt x="66" y="9"/>
                    </a:lnTo>
                    <a:lnTo>
                      <a:pt x="68" y="9"/>
                    </a:lnTo>
                    <a:lnTo>
                      <a:pt x="68" y="7"/>
                    </a:lnTo>
                    <a:lnTo>
                      <a:pt x="70" y="7"/>
                    </a:lnTo>
                    <a:lnTo>
                      <a:pt x="70" y="5"/>
                    </a:lnTo>
                    <a:lnTo>
                      <a:pt x="70" y="4"/>
                    </a:lnTo>
                    <a:lnTo>
                      <a:pt x="70" y="2"/>
                    </a:lnTo>
                    <a:lnTo>
                      <a:pt x="73" y="0"/>
                    </a:lnTo>
                    <a:lnTo>
                      <a:pt x="129" y="3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42" name="Freeform 2393"/>
              <p:cNvSpPr>
                <a:spLocks/>
              </p:cNvSpPr>
              <p:nvPr/>
            </p:nvSpPr>
            <p:spPr bwMode="auto">
              <a:xfrm>
                <a:off x="3171" y="2727"/>
                <a:ext cx="173" cy="173"/>
              </a:xfrm>
              <a:custGeom>
                <a:avLst/>
                <a:gdLst>
                  <a:gd name="T0" fmla="*/ 155 w 173"/>
                  <a:gd name="T1" fmla="*/ 59 h 173"/>
                  <a:gd name="T2" fmla="*/ 154 w 173"/>
                  <a:gd name="T3" fmla="*/ 91 h 173"/>
                  <a:gd name="T4" fmla="*/ 159 w 173"/>
                  <a:gd name="T5" fmla="*/ 98 h 173"/>
                  <a:gd name="T6" fmla="*/ 157 w 173"/>
                  <a:gd name="T7" fmla="*/ 102 h 173"/>
                  <a:gd name="T8" fmla="*/ 157 w 173"/>
                  <a:gd name="T9" fmla="*/ 111 h 173"/>
                  <a:gd name="T10" fmla="*/ 155 w 173"/>
                  <a:gd name="T11" fmla="*/ 116 h 173"/>
                  <a:gd name="T12" fmla="*/ 159 w 173"/>
                  <a:gd name="T13" fmla="*/ 125 h 173"/>
                  <a:gd name="T14" fmla="*/ 161 w 173"/>
                  <a:gd name="T15" fmla="*/ 134 h 173"/>
                  <a:gd name="T16" fmla="*/ 163 w 173"/>
                  <a:gd name="T17" fmla="*/ 139 h 173"/>
                  <a:gd name="T18" fmla="*/ 164 w 173"/>
                  <a:gd name="T19" fmla="*/ 143 h 173"/>
                  <a:gd name="T20" fmla="*/ 170 w 173"/>
                  <a:gd name="T21" fmla="*/ 150 h 173"/>
                  <a:gd name="T22" fmla="*/ 173 w 173"/>
                  <a:gd name="T23" fmla="*/ 152 h 173"/>
                  <a:gd name="T24" fmla="*/ 146 w 173"/>
                  <a:gd name="T25" fmla="*/ 168 h 173"/>
                  <a:gd name="T26" fmla="*/ 136 w 173"/>
                  <a:gd name="T27" fmla="*/ 166 h 173"/>
                  <a:gd name="T28" fmla="*/ 116 w 173"/>
                  <a:gd name="T29" fmla="*/ 170 h 173"/>
                  <a:gd name="T30" fmla="*/ 109 w 173"/>
                  <a:gd name="T31" fmla="*/ 173 h 173"/>
                  <a:gd name="T32" fmla="*/ 102 w 173"/>
                  <a:gd name="T33" fmla="*/ 170 h 173"/>
                  <a:gd name="T34" fmla="*/ 86 w 173"/>
                  <a:gd name="T35" fmla="*/ 172 h 173"/>
                  <a:gd name="T36" fmla="*/ 80 w 173"/>
                  <a:gd name="T37" fmla="*/ 164 h 173"/>
                  <a:gd name="T38" fmla="*/ 77 w 173"/>
                  <a:gd name="T39" fmla="*/ 143 h 173"/>
                  <a:gd name="T40" fmla="*/ 68 w 173"/>
                  <a:gd name="T41" fmla="*/ 141 h 173"/>
                  <a:gd name="T42" fmla="*/ 64 w 173"/>
                  <a:gd name="T43" fmla="*/ 138 h 173"/>
                  <a:gd name="T44" fmla="*/ 59 w 173"/>
                  <a:gd name="T45" fmla="*/ 138 h 173"/>
                  <a:gd name="T46" fmla="*/ 52 w 173"/>
                  <a:gd name="T47" fmla="*/ 134 h 173"/>
                  <a:gd name="T48" fmla="*/ 29 w 173"/>
                  <a:gd name="T49" fmla="*/ 123 h 173"/>
                  <a:gd name="T50" fmla="*/ 14 w 173"/>
                  <a:gd name="T51" fmla="*/ 104 h 173"/>
                  <a:gd name="T52" fmla="*/ 4 w 173"/>
                  <a:gd name="T53" fmla="*/ 88 h 173"/>
                  <a:gd name="T54" fmla="*/ 5 w 173"/>
                  <a:gd name="T55" fmla="*/ 80 h 173"/>
                  <a:gd name="T56" fmla="*/ 2 w 173"/>
                  <a:gd name="T57" fmla="*/ 66 h 173"/>
                  <a:gd name="T58" fmla="*/ 2 w 173"/>
                  <a:gd name="T59" fmla="*/ 55 h 173"/>
                  <a:gd name="T60" fmla="*/ 20 w 173"/>
                  <a:gd name="T61" fmla="*/ 34 h 173"/>
                  <a:gd name="T62" fmla="*/ 16 w 173"/>
                  <a:gd name="T63" fmla="*/ 30 h 173"/>
                  <a:gd name="T64" fmla="*/ 14 w 173"/>
                  <a:gd name="T65" fmla="*/ 25 h 173"/>
                  <a:gd name="T66" fmla="*/ 13 w 173"/>
                  <a:gd name="T67" fmla="*/ 2 h 173"/>
                  <a:gd name="T68" fmla="*/ 21 w 173"/>
                  <a:gd name="T69" fmla="*/ 0 h 173"/>
                  <a:gd name="T70" fmla="*/ 34 w 173"/>
                  <a:gd name="T71" fmla="*/ 25 h 173"/>
                  <a:gd name="T72" fmla="*/ 38 w 173"/>
                  <a:gd name="T73" fmla="*/ 29 h 173"/>
                  <a:gd name="T74" fmla="*/ 41 w 173"/>
                  <a:gd name="T75" fmla="*/ 23 h 173"/>
                  <a:gd name="T76" fmla="*/ 50 w 173"/>
                  <a:gd name="T77" fmla="*/ 25 h 173"/>
                  <a:gd name="T78" fmla="*/ 54 w 173"/>
                  <a:gd name="T79" fmla="*/ 30 h 173"/>
                  <a:gd name="T80" fmla="*/ 55 w 173"/>
                  <a:gd name="T81" fmla="*/ 25 h 173"/>
                  <a:gd name="T82" fmla="*/ 66 w 173"/>
                  <a:gd name="T83" fmla="*/ 22 h 173"/>
                  <a:gd name="T84" fmla="*/ 61 w 173"/>
                  <a:gd name="T85" fmla="*/ 20 h 173"/>
                  <a:gd name="T86" fmla="*/ 63 w 173"/>
                  <a:gd name="T87" fmla="*/ 16 h 173"/>
                  <a:gd name="T88" fmla="*/ 64 w 173"/>
                  <a:gd name="T89" fmla="*/ 14 h 173"/>
                  <a:gd name="T90" fmla="*/ 66 w 173"/>
                  <a:gd name="T91" fmla="*/ 9 h 173"/>
                  <a:gd name="T92" fmla="*/ 70 w 173"/>
                  <a:gd name="T93" fmla="*/ 7 h 173"/>
                  <a:gd name="T94" fmla="*/ 70 w 173"/>
                  <a:gd name="T95" fmla="*/ 2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3" h="173">
                    <a:moveTo>
                      <a:pt x="129" y="34"/>
                    </a:moveTo>
                    <a:lnTo>
                      <a:pt x="132" y="47"/>
                    </a:lnTo>
                    <a:lnTo>
                      <a:pt x="155" y="59"/>
                    </a:lnTo>
                    <a:lnTo>
                      <a:pt x="148" y="82"/>
                    </a:lnTo>
                    <a:lnTo>
                      <a:pt x="148" y="88"/>
                    </a:lnTo>
                    <a:lnTo>
                      <a:pt x="154" y="91"/>
                    </a:lnTo>
                    <a:lnTo>
                      <a:pt x="155" y="93"/>
                    </a:lnTo>
                    <a:lnTo>
                      <a:pt x="157" y="95"/>
                    </a:lnTo>
                    <a:lnTo>
                      <a:pt x="159" y="98"/>
                    </a:lnTo>
                    <a:lnTo>
                      <a:pt x="159" y="100"/>
                    </a:lnTo>
                    <a:lnTo>
                      <a:pt x="159" y="100"/>
                    </a:lnTo>
                    <a:lnTo>
                      <a:pt x="157" y="102"/>
                    </a:lnTo>
                    <a:lnTo>
                      <a:pt x="155" y="109"/>
                    </a:lnTo>
                    <a:lnTo>
                      <a:pt x="157" y="109"/>
                    </a:lnTo>
                    <a:lnTo>
                      <a:pt x="157" y="111"/>
                    </a:lnTo>
                    <a:lnTo>
                      <a:pt x="157" y="113"/>
                    </a:lnTo>
                    <a:lnTo>
                      <a:pt x="157" y="116"/>
                    </a:lnTo>
                    <a:lnTo>
                      <a:pt x="155" y="116"/>
                    </a:lnTo>
                    <a:lnTo>
                      <a:pt x="155" y="118"/>
                    </a:lnTo>
                    <a:lnTo>
                      <a:pt x="157" y="125"/>
                    </a:lnTo>
                    <a:lnTo>
                      <a:pt x="159" y="125"/>
                    </a:lnTo>
                    <a:lnTo>
                      <a:pt x="159" y="127"/>
                    </a:lnTo>
                    <a:lnTo>
                      <a:pt x="157" y="127"/>
                    </a:lnTo>
                    <a:lnTo>
                      <a:pt x="161" y="134"/>
                    </a:lnTo>
                    <a:lnTo>
                      <a:pt x="161" y="136"/>
                    </a:lnTo>
                    <a:lnTo>
                      <a:pt x="161" y="138"/>
                    </a:lnTo>
                    <a:lnTo>
                      <a:pt x="163" y="139"/>
                    </a:lnTo>
                    <a:lnTo>
                      <a:pt x="163" y="141"/>
                    </a:lnTo>
                    <a:lnTo>
                      <a:pt x="163" y="143"/>
                    </a:lnTo>
                    <a:lnTo>
                      <a:pt x="164" y="143"/>
                    </a:lnTo>
                    <a:lnTo>
                      <a:pt x="164" y="145"/>
                    </a:lnTo>
                    <a:lnTo>
                      <a:pt x="168" y="147"/>
                    </a:lnTo>
                    <a:lnTo>
                      <a:pt x="170" y="150"/>
                    </a:lnTo>
                    <a:lnTo>
                      <a:pt x="171" y="150"/>
                    </a:lnTo>
                    <a:lnTo>
                      <a:pt x="173" y="152"/>
                    </a:lnTo>
                    <a:lnTo>
                      <a:pt x="173" y="152"/>
                    </a:lnTo>
                    <a:lnTo>
                      <a:pt x="173" y="154"/>
                    </a:lnTo>
                    <a:lnTo>
                      <a:pt x="164" y="161"/>
                    </a:lnTo>
                    <a:lnTo>
                      <a:pt x="146" y="168"/>
                    </a:lnTo>
                    <a:lnTo>
                      <a:pt x="143" y="168"/>
                    </a:lnTo>
                    <a:lnTo>
                      <a:pt x="139" y="166"/>
                    </a:lnTo>
                    <a:lnTo>
                      <a:pt x="136" y="166"/>
                    </a:lnTo>
                    <a:lnTo>
                      <a:pt x="132" y="166"/>
                    </a:lnTo>
                    <a:lnTo>
                      <a:pt x="129" y="170"/>
                    </a:lnTo>
                    <a:lnTo>
                      <a:pt x="116" y="170"/>
                    </a:lnTo>
                    <a:lnTo>
                      <a:pt x="113" y="173"/>
                    </a:lnTo>
                    <a:lnTo>
                      <a:pt x="111" y="173"/>
                    </a:lnTo>
                    <a:lnTo>
                      <a:pt x="109" y="173"/>
                    </a:lnTo>
                    <a:lnTo>
                      <a:pt x="107" y="173"/>
                    </a:lnTo>
                    <a:lnTo>
                      <a:pt x="104" y="170"/>
                    </a:lnTo>
                    <a:lnTo>
                      <a:pt x="102" y="170"/>
                    </a:lnTo>
                    <a:lnTo>
                      <a:pt x="100" y="170"/>
                    </a:lnTo>
                    <a:lnTo>
                      <a:pt x="98" y="172"/>
                    </a:lnTo>
                    <a:lnTo>
                      <a:pt x="86" y="172"/>
                    </a:lnTo>
                    <a:lnTo>
                      <a:pt x="86" y="170"/>
                    </a:lnTo>
                    <a:lnTo>
                      <a:pt x="84" y="168"/>
                    </a:lnTo>
                    <a:lnTo>
                      <a:pt x="80" y="164"/>
                    </a:lnTo>
                    <a:lnTo>
                      <a:pt x="80" y="163"/>
                    </a:lnTo>
                    <a:lnTo>
                      <a:pt x="80" y="157"/>
                    </a:lnTo>
                    <a:lnTo>
                      <a:pt x="77" y="143"/>
                    </a:lnTo>
                    <a:lnTo>
                      <a:pt x="73" y="139"/>
                    </a:lnTo>
                    <a:lnTo>
                      <a:pt x="70" y="139"/>
                    </a:lnTo>
                    <a:lnTo>
                      <a:pt x="68" y="141"/>
                    </a:lnTo>
                    <a:lnTo>
                      <a:pt x="66" y="139"/>
                    </a:lnTo>
                    <a:lnTo>
                      <a:pt x="66" y="138"/>
                    </a:lnTo>
                    <a:lnTo>
                      <a:pt x="64" y="138"/>
                    </a:lnTo>
                    <a:lnTo>
                      <a:pt x="61" y="139"/>
                    </a:lnTo>
                    <a:lnTo>
                      <a:pt x="61" y="139"/>
                    </a:lnTo>
                    <a:lnTo>
                      <a:pt x="59" y="138"/>
                    </a:lnTo>
                    <a:lnTo>
                      <a:pt x="57" y="138"/>
                    </a:lnTo>
                    <a:lnTo>
                      <a:pt x="54" y="136"/>
                    </a:lnTo>
                    <a:lnTo>
                      <a:pt x="52" y="134"/>
                    </a:lnTo>
                    <a:lnTo>
                      <a:pt x="52" y="134"/>
                    </a:lnTo>
                    <a:lnTo>
                      <a:pt x="34" y="129"/>
                    </a:lnTo>
                    <a:lnTo>
                      <a:pt x="29" y="123"/>
                    </a:lnTo>
                    <a:lnTo>
                      <a:pt x="25" y="122"/>
                    </a:lnTo>
                    <a:lnTo>
                      <a:pt x="23" y="122"/>
                    </a:lnTo>
                    <a:lnTo>
                      <a:pt x="14" y="104"/>
                    </a:lnTo>
                    <a:lnTo>
                      <a:pt x="14" y="97"/>
                    </a:lnTo>
                    <a:lnTo>
                      <a:pt x="9" y="91"/>
                    </a:lnTo>
                    <a:lnTo>
                      <a:pt x="4" y="88"/>
                    </a:lnTo>
                    <a:lnTo>
                      <a:pt x="2" y="84"/>
                    </a:lnTo>
                    <a:lnTo>
                      <a:pt x="4" y="82"/>
                    </a:lnTo>
                    <a:lnTo>
                      <a:pt x="5" y="80"/>
                    </a:lnTo>
                    <a:lnTo>
                      <a:pt x="4" y="73"/>
                    </a:lnTo>
                    <a:lnTo>
                      <a:pt x="4" y="68"/>
                    </a:lnTo>
                    <a:lnTo>
                      <a:pt x="2" y="66"/>
                    </a:lnTo>
                    <a:lnTo>
                      <a:pt x="0" y="66"/>
                    </a:lnTo>
                    <a:lnTo>
                      <a:pt x="0" y="55"/>
                    </a:lnTo>
                    <a:lnTo>
                      <a:pt x="2" y="55"/>
                    </a:lnTo>
                    <a:lnTo>
                      <a:pt x="9" y="54"/>
                    </a:lnTo>
                    <a:lnTo>
                      <a:pt x="20" y="36"/>
                    </a:lnTo>
                    <a:lnTo>
                      <a:pt x="20" y="34"/>
                    </a:lnTo>
                    <a:lnTo>
                      <a:pt x="18" y="32"/>
                    </a:lnTo>
                    <a:lnTo>
                      <a:pt x="18" y="30"/>
                    </a:lnTo>
                    <a:lnTo>
                      <a:pt x="16" y="30"/>
                    </a:lnTo>
                    <a:lnTo>
                      <a:pt x="14" y="29"/>
                    </a:lnTo>
                    <a:lnTo>
                      <a:pt x="14" y="27"/>
                    </a:lnTo>
                    <a:lnTo>
                      <a:pt x="14" y="25"/>
                    </a:lnTo>
                    <a:lnTo>
                      <a:pt x="20" y="20"/>
                    </a:lnTo>
                    <a:lnTo>
                      <a:pt x="20" y="16"/>
                    </a:lnTo>
                    <a:lnTo>
                      <a:pt x="13" y="2"/>
                    </a:lnTo>
                    <a:lnTo>
                      <a:pt x="20" y="2"/>
                    </a:lnTo>
                    <a:lnTo>
                      <a:pt x="21" y="2"/>
                    </a:lnTo>
                    <a:lnTo>
                      <a:pt x="21" y="0"/>
                    </a:lnTo>
                    <a:lnTo>
                      <a:pt x="36" y="2"/>
                    </a:lnTo>
                    <a:lnTo>
                      <a:pt x="34" y="18"/>
                    </a:lnTo>
                    <a:lnTo>
                      <a:pt x="34" y="25"/>
                    </a:lnTo>
                    <a:lnTo>
                      <a:pt x="34" y="27"/>
                    </a:lnTo>
                    <a:lnTo>
                      <a:pt x="36" y="30"/>
                    </a:lnTo>
                    <a:lnTo>
                      <a:pt x="38" y="29"/>
                    </a:lnTo>
                    <a:lnTo>
                      <a:pt x="39" y="27"/>
                    </a:lnTo>
                    <a:lnTo>
                      <a:pt x="41" y="27"/>
                    </a:lnTo>
                    <a:lnTo>
                      <a:pt x="41" y="23"/>
                    </a:lnTo>
                    <a:lnTo>
                      <a:pt x="43" y="22"/>
                    </a:lnTo>
                    <a:lnTo>
                      <a:pt x="48" y="27"/>
                    </a:lnTo>
                    <a:lnTo>
                      <a:pt x="50" y="25"/>
                    </a:lnTo>
                    <a:lnTo>
                      <a:pt x="52" y="27"/>
                    </a:lnTo>
                    <a:lnTo>
                      <a:pt x="52" y="32"/>
                    </a:lnTo>
                    <a:lnTo>
                      <a:pt x="54" y="30"/>
                    </a:lnTo>
                    <a:lnTo>
                      <a:pt x="54" y="29"/>
                    </a:lnTo>
                    <a:lnTo>
                      <a:pt x="54" y="25"/>
                    </a:lnTo>
                    <a:lnTo>
                      <a:pt x="55" y="25"/>
                    </a:lnTo>
                    <a:lnTo>
                      <a:pt x="61" y="25"/>
                    </a:lnTo>
                    <a:lnTo>
                      <a:pt x="63" y="23"/>
                    </a:lnTo>
                    <a:lnTo>
                      <a:pt x="66" y="22"/>
                    </a:lnTo>
                    <a:lnTo>
                      <a:pt x="66" y="22"/>
                    </a:lnTo>
                    <a:lnTo>
                      <a:pt x="66" y="20"/>
                    </a:lnTo>
                    <a:lnTo>
                      <a:pt x="61" y="20"/>
                    </a:lnTo>
                    <a:lnTo>
                      <a:pt x="59" y="18"/>
                    </a:lnTo>
                    <a:lnTo>
                      <a:pt x="59" y="18"/>
                    </a:lnTo>
                    <a:lnTo>
                      <a:pt x="63" y="16"/>
                    </a:lnTo>
                    <a:lnTo>
                      <a:pt x="61" y="14"/>
                    </a:lnTo>
                    <a:lnTo>
                      <a:pt x="63" y="14"/>
                    </a:lnTo>
                    <a:lnTo>
                      <a:pt x="64" y="14"/>
                    </a:lnTo>
                    <a:lnTo>
                      <a:pt x="64" y="13"/>
                    </a:lnTo>
                    <a:lnTo>
                      <a:pt x="66" y="11"/>
                    </a:lnTo>
                    <a:lnTo>
                      <a:pt x="66" y="9"/>
                    </a:lnTo>
                    <a:lnTo>
                      <a:pt x="68" y="9"/>
                    </a:lnTo>
                    <a:lnTo>
                      <a:pt x="68" y="7"/>
                    </a:lnTo>
                    <a:lnTo>
                      <a:pt x="70" y="7"/>
                    </a:lnTo>
                    <a:lnTo>
                      <a:pt x="70" y="5"/>
                    </a:lnTo>
                    <a:lnTo>
                      <a:pt x="70" y="4"/>
                    </a:lnTo>
                    <a:lnTo>
                      <a:pt x="70" y="2"/>
                    </a:lnTo>
                    <a:lnTo>
                      <a:pt x="73" y="0"/>
                    </a:lnTo>
                    <a:lnTo>
                      <a:pt x="129" y="34"/>
                    </a:lnTo>
                  </a:path>
                </a:pathLst>
              </a:custGeom>
              <a:solidFill>
                <a:srgbClr val="0E5990"/>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43" name="Freeform 2394"/>
              <p:cNvSpPr>
                <a:spLocks/>
              </p:cNvSpPr>
              <p:nvPr/>
            </p:nvSpPr>
            <p:spPr bwMode="auto">
              <a:xfrm>
                <a:off x="2484" y="2552"/>
                <a:ext cx="48" cy="48"/>
              </a:xfrm>
              <a:custGeom>
                <a:avLst/>
                <a:gdLst>
                  <a:gd name="T0" fmla="*/ 1 w 48"/>
                  <a:gd name="T1" fmla="*/ 16 h 48"/>
                  <a:gd name="T2" fmla="*/ 5 w 48"/>
                  <a:gd name="T3" fmla="*/ 14 h 48"/>
                  <a:gd name="T4" fmla="*/ 9 w 48"/>
                  <a:gd name="T5" fmla="*/ 13 h 48"/>
                  <a:gd name="T6" fmla="*/ 9 w 48"/>
                  <a:gd name="T7" fmla="*/ 11 h 48"/>
                  <a:gd name="T8" fmla="*/ 14 w 48"/>
                  <a:gd name="T9" fmla="*/ 5 h 48"/>
                  <a:gd name="T10" fmla="*/ 14 w 48"/>
                  <a:gd name="T11" fmla="*/ 2 h 48"/>
                  <a:gd name="T12" fmla="*/ 17 w 48"/>
                  <a:gd name="T13" fmla="*/ 4 h 48"/>
                  <a:gd name="T14" fmla="*/ 21 w 48"/>
                  <a:gd name="T15" fmla="*/ 0 h 48"/>
                  <a:gd name="T16" fmla="*/ 34 w 48"/>
                  <a:gd name="T17" fmla="*/ 4 h 48"/>
                  <a:gd name="T18" fmla="*/ 37 w 48"/>
                  <a:gd name="T19" fmla="*/ 5 h 48"/>
                  <a:gd name="T20" fmla="*/ 39 w 48"/>
                  <a:gd name="T21" fmla="*/ 7 h 48"/>
                  <a:gd name="T22" fmla="*/ 39 w 48"/>
                  <a:gd name="T23" fmla="*/ 9 h 48"/>
                  <a:gd name="T24" fmla="*/ 41 w 48"/>
                  <a:gd name="T25" fmla="*/ 11 h 48"/>
                  <a:gd name="T26" fmla="*/ 42 w 48"/>
                  <a:gd name="T27" fmla="*/ 11 h 48"/>
                  <a:gd name="T28" fmla="*/ 42 w 48"/>
                  <a:gd name="T29" fmla="*/ 14 h 48"/>
                  <a:gd name="T30" fmla="*/ 42 w 48"/>
                  <a:gd name="T31" fmla="*/ 16 h 48"/>
                  <a:gd name="T32" fmla="*/ 44 w 48"/>
                  <a:gd name="T33" fmla="*/ 16 h 48"/>
                  <a:gd name="T34" fmla="*/ 44 w 48"/>
                  <a:gd name="T35" fmla="*/ 22 h 48"/>
                  <a:gd name="T36" fmla="*/ 42 w 48"/>
                  <a:gd name="T37" fmla="*/ 22 h 48"/>
                  <a:gd name="T38" fmla="*/ 41 w 48"/>
                  <a:gd name="T39" fmla="*/ 27 h 48"/>
                  <a:gd name="T40" fmla="*/ 46 w 48"/>
                  <a:gd name="T41" fmla="*/ 25 h 48"/>
                  <a:gd name="T42" fmla="*/ 48 w 48"/>
                  <a:gd name="T43" fmla="*/ 25 h 48"/>
                  <a:gd name="T44" fmla="*/ 48 w 48"/>
                  <a:gd name="T45" fmla="*/ 29 h 48"/>
                  <a:gd name="T46" fmla="*/ 46 w 48"/>
                  <a:gd name="T47" fmla="*/ 30 h 48"/>
                  <a:gd name="T48" fmla="*/ 42 w 48"/>
                  <a:gd name="T49" fmla="*/ 32 h 48"/>
                  <a:gd name="T50" fmla="*/ 42 w 48"/>
                  <a:gd name="T51" fmla="*/ 38 h 48"/>
                  <a:gd name="T52" fmla="*/ 41 w 48"/>
                  <a:gd name="T53" fmla="*/ 38 h 48"/>
                  <a:gd name="T54" fmla="*/ 37 w 48"/>
                  <a:gd name="T55" fmla="*/ 41 h 48"/>
                  <a:gd name="T56" fmla="*/ 32 w 48"/>
                  <a:gd name="T57" fmla="*/ 45 h 48"/>
                  <a:gd name="T58" fmla="*/ 32 w 48"/>
                  <a:gd name="T59" fmla="*/ 47 h 48"/>
                  <a:gd name="T60" fmla="*/ 32 w 48"/>
                  <a:gd name="T61" fmla="*/ 48 h 48"/>
                  <a:gd name="T62" fmla="*/ 30 w 48"/>
                  <a:gd name="T63" fmla="*/ 48 h 48"/>
                  <a:gd name="T64" fmla="*/ 14 w 48"/>
                  <a:gd name="T65" fmla="*/ 41 h 48"/>
                  <a:gd name="T66" fmla="*/ 7 w 48"/>
                  <a:gd name="T67" fmla="*/ 36 h 48"/>
                  <a:gd name="T68" fmla="*/ 7 w 48"/>
                  <a:gd name="T69" fmla="*/ 32 h 48"/>
                  <a:gd name="T70" fmla="*/ 5 w 48"/>
                  <a:gd name="T71" fmla="*/ 30 h 48"/>
                  <a:gd name="T72" fmla="*/ 1 w 48"/>
                  <a:gd name="T73" fmla="*/ 27 h 48"/>
                  <a:gd name="T74" fmla="*/ 1 w 48"/>
                  <a:gd name="T75" fmla="*/ 25 h 48"/>
                  <a:gd name="T76" fmla="*/ 3 w 48"/>
                  <a:gd name="T77" fmla="*/ 27 h 48"/>
                  <a:gd name="T78" fmla="*/ 3 w 48"/>
                  <a:gd name="T79" fmla="*/ 25 h 48"/>
                  <a:gd name="T80" fmla="*/ 1 w 48"/>
                  <a:gd name="T81" fmla="*/ 23 h 48"/>
                  <a:gd name="T82" fmla="*/ 1 w 48"/>
                  <a:gd name="T83" fmla="*/ 20 h 48"/>
                  <a:gd name="T84" fmla="*/ 0 w 48"/>
                  <a:gd name="T85" fmla="*/ 18 h 48"/>
                  <a:gd name="T86" fmla="*/ 0 w 48"/>
                  <a:gd name="T8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 h="48">
                    <a:moveTo>
                      <a:pt x="0" y="14"/>
                    </a:moveTo>
                    <a:lnTo>
                      <a:pt x="1" y="16"/>
                    </a:lnTo>
                    <a:lnTo>
                      <a:pt x="5" y="16"/>
                    </a:lnTo>
                    <a:lnTo>
                      <a:pt x="5" y="14"/>
                    </a:lnTo>
                    <a:lnTo>
                      <a:pt x="7" y="13"/>
                    </a:lnTo>
                    <a:lnTo>
                      <a:pt x="9" y="13"/>
                    </a:lnTo>
                    <a:lnTo>
                      <a:pt x="9" y="11"/>
                    </a:lnTo>
                    <a:lnTo>
                      <a:pt x="9" y="11"/>
                    </a:lnTo>
                    <a:lnTo>
                      <a:pt x="10" y="9"/>
                    </a:lnTo>
                    <a:lnTo>
                      <a:pt x="14" y="5"/>
                    </a:lnTo>
                    <a:lnTo>
                      <a:pt x="12" y="4"/>
                    </a:lnTo>
                    <a:lnTo>
                      <a:pt x="14" y="2"/>
                    </a:lnTo>
                    <a:lnTo>
                      <a:pt x="16" y="2"/>
                    </a:lnTo>
                    <a:lnTo>
                      <a:pt x="17" y="4"/>
                    </a:lnTo>
                    <a:lnTo>
                      <a:pt x="21" y="2"/>
                    </a:lnTo>
                    <a:lnTo>
                      <a:pt x="21" y="0"/>
                    </a:lnTo>
                    <a:lnTo>
                      <a:pt x="34" y="2"/>
                    </a:lnTo>
                    <a:lnTo>
                      <a:pt x="34" y="4"/>
                    </a:lnTo>
                    <a:lnTo>
                      <a:pt x="35" y="4"/>
                    </a:lnTo>
                    <a:lnTo>
                      <a:pt x="37" y="5"/>
                    </a:lnTo>
                    <a:lnTo>
                      <a:pt x="39" y="7"/>
                    </a:lnTo>
                    <a:lnTo>
                      <a:pt x="39" y="7"/>
                    </a:lnTo>
                    <a:lnTo>
                      <a:pt x="39" y="9"/>
                    </a:lnTo>
                    <a:lnTo>
                      <a:pt x="39" y="9"/>
                    </a:lnTo>
                    <a:lnTo>
                      <a:pt x="39" y="11"/>
                    </a:lnTo>
                    <a:lnTo>
                      <a:pt x="41" y="11"/>
                    </a:lnTo>
                    <a:lnTo>
                      <a:pt x="42" y="11"/>
                    </a:lnTo>
                    <a:lnTo>
                      <a:pt x="42" y="11"/>
                    </a:lnTo>
                    <a:lnTo>
                      <a:pt x="41" y="13"/>
                    </a:lnTo>
                    <a:lnTo>
                      <a:pt x="42" y="14"/>
                    </a:lnTo>
                    <a:lnTo>
                      <a:pt x="42" y="14"/>
                    </a:lnTo>
                    <a:lnTo>
                      <a:pt x="42" y="16"/>
                    </a:lnTo>
                    <a:lnTo>
                      <a:pt x="42" y="16"/>
                    </a:lnTo>
                    <a:lnTo>
                      <a:pt x="44" y="16"/>
                    </a:lnTo>
                    <a:lnTo>
                      <a:pt x="44" y="18"/>
                    </a:lnTo>
                    <a:lnTo>
                      <a:pt x="44" y="22"/>
                    </a:lnTo>
                    <a:lnTo>
                      <a:pt x="44" y="22"/>
                    </a:lnTo>
                    <a:lnTo>
                      <a:pt x="42" y="22"/>
                    </a:lnTo>
                    <a:lnTo>
                      <a:pt x="41" y="27"/>
                    </a:lnTo>
                    <a:lnTo>
                      <a:pt x="41" y="27"/>
                    </a:lnTo>
                    <a:lnTo>
                      <a:pt x="46" y="27"/>
                    </a:lnTo>
                    <a:lnTo>
                      <a:pt x="46" y="25"/>
                    </a:lnTo>
                    <a:lnTo>
                      <a:pt x="48" y="25"/>
                    </a:lnTo>
                    <a:lnTo>
                      <a:pt x="48" y="25"/>
                    </a:lnTo>
                    <a:lnTo>
                      <a:pt x="48" y="29"/>
                    </a:lnTo>
                    <a:lnTo>
                      <a:pt x="48" y="29"/>
                    </a:lnTo>
                    <a:lnTo>
                      <a:pt x="48" y="29"/>
                    </a:lnTo>
                    <a:lnTo>
                      <a:pt x="46" y="30"/>
                    </a:lnTo>
                    <a:lnTo>
                      <a:pt x="44" y="32"/>
                    </a:lnTo>
                    <a:lnTo>
                      <a:pt x="42" y="32"/>
                    </a:lnTo>
                    <a:lnTo>
                      <a:pt x="42" y="36"/>
                    </a:lnTo>
                    <a:lnTo>
                      <a:pt x="42" y="38"/>
                    </a:lnTo>
                    <a:lnTo>
                      <a:pt x="42" y="38"/>
                    </a:lnTo>
                    <a:lnTo>
                      <a:pt x="41" y="38"/>
                    </a:lnTo>
                    <a:lnTo>
                      <a:pt x="39" y="39"/>
                    </a:lnTo>
                    <a:lnTo>
                      <a:pt x="37" y="41"/>
                    </a:lnTo>
                    <a:lnTo>
                      <a:pt x="34" y="45"/>
                    </a:lnTo>
                    <a:lnTo>
                      <a:pt x="32" y="45"/>
                    </a:lnTo>
                    <a:lnTo>
                      <a:pt x="32" y="45"/>
                    </a:lnTo>
                    <a:lnTo>
                      <a:pt x="32" y="47"/>
                    </a:lnTo>
                    <a:lnTo>
                      <a:pt x="32" y="47"/>
                    </a:lnTo>
                    <a:lnTo>
                      <a:pt x="32" y="48"/>
                    </a:lnTo>
                    <a:lnTo>
                      <a:pt x="30" y="48"/>
                    </a:lnTo>
                    <a:lnTo>
                      <a:pt x="30" y="48"/>
                    </a:lnTo>
                    <a:lnTo>
                      <a:pt x="16" y="43"/>
                    </a:lnTo>
                    <a:lnTo>
                      <a:pt x="14" y="41"/>
                    </a:lnTo>
                    <a:lnTo>
                      <a:pt x="14" y="39"/>
                    </a:lnTo>
                    <a:lnTo>
                      <a:pt x="7" y="36"/>
                    </a:lnTo>
                    <a:lnTo>
                      <a:pt x="7" y="34"/>
                    </a:lnTo>
                    <a:lnTo>
                      <a:pt x="7" y="32"/>
                    </a:lnTo>
                    <a:lnTo>
                      <a:pt x="5" y="32"/>
                    </a:lnTo>
                    <a:lnTo>
                      <a:pt x="5" y="30"/>
                    </a:lnTo>
                    <a:lnTo>
                      <a:pt x="3" y="30"/>
                    </a:lnTo>
                    <a:lnTo>
                      <a:pt x="1" y="27"/>
                    </a:lnTo>
                    <a:lnTo>
                      <a:pt x="1" y="25"/>
                    </a:lnTo>
                    <a:lnTo>
                      <a:pt x="1" y="25"/>
                    </a:lnTo>
                    <a:lnTo>
                      <a:pt x="3" y="27"/>
                    </a:lnTo>
                    <a:lnTo>
                      <a:pt x="3" y="27"/>
                    </a:lnTo>
                    <a:lnTo>
                      <a:pt x="3" y="25"/>
                    </a:lnTo>
                    <a:lnTo>
                      <a:pt x="3" y="25"/>
                    </a:lnTo>
                    <a:lnTo>
                      <a:pt x="1" y="25"/>
                    </a:lnTo>
                    <a:lnTo>
                      <a:pt x="1" y="23"/>
                    </a:lnTo>
                    <a:lnTo>
                      <a:pt x="1" y="22"/>
                    </a:lnTo>
                    <a:lnTo>
                      <a:pt x="1" y="20"/>
                    </a:lnTo>
                    <a:lnTo>
                      <a:pt x="1" y="20"/>
                    </a:lnTo>
                    <a:lnTo>
                      <a:pt x="0" y="18"/>
                    </a:lnTo>
                    <a:lnTo>
                      <a:pt x="0" y="16"/>
                    </a:lnTo>
                    <a:lnTo>
                      <a:pt x="0" y="1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44" name="Freeform 2395"/>
              <p:cNvSpPr>
                <a:spLocks/>
              </p:cNvSpPr>
              <p:nvPr/>
            </p:nvSpPr>
            <p:spPr bwMode="auto">
              <a:xfrm>
                <a:off x="2484" y="2552"/>
                <a:ext cx="48" cy="48"/>
              </a:xfrm>
              <a:custGeom>
                <a:avLst/>
                <a:gdLst>
                  <a:gd name="T0" fmla="*/ 1 w 48"/>
                  <a:gd name="T1" fmla="*/ 16 h 48"/>
                  <a:gd name="T2" fmla="*/ 5 w 48"/>
                  <a:gd name="T3" fmla="*/ 14 h 48"/>
                  <a:gd name="T4" fmla="*/ 9 w 48"/>
                  <a:gd name="T5" fmla="*/ 13 h 48"/>
                  <a:gd name="T6" fmla="*/ 9 w 48"/>
                  <a:gd name="T7" fmla="*/ 11 h 48"/>
                  <a:gd name="T8" fmla="*/ 14 w 48"/>
                  <a:gd name="T9" fmla="*/ 5 h 48"/>
                  <a:gd name="T10" fmla="*/ 14 w 48"/>
                  <a:gd name="T11" fmla="*/ 2 h 48"/>
                  <a:gd name="T12" fmla="*/ 17 w 48"/>
                  <a:gd name="T13" fmla="*/ 4 h 48"/>
                  <a:gd name="T14" fmla="*/ 21 w 48"/>
                  <a:gd name="T15" fmla="*/ 0 h 48"/>
                  <a:gd name="T16" fmla="*/ 34 w 48"/>
                  <a:gd name="T17" fmla="*/ 4 h 48"/>
                  <a:gd name="T18" fmla="*/ 37 w 48"/>
                  <a:gd name="T19" fmla="*/ 5 h 48"/>
                  <a:gd name="T20" fmla="*/ 39 w 48"/>
                  <a:gd name="T21" fmla="*/ 7 h 48"/>
                  <a:gd name="T22" fmla="*/ 39 w 48"/>
                  <a:gd name="T23" fmla="*/ 9 h 48"/>
                  <a:gd name="T24" fmla="*/ 41 w 48"/>
                  <a:gd name="T25" fmla="*/ 11 h 48"/>
                  <a:gd name="T26" fmla="*/ 42 w 48"/>
                  <a:gd name="T27" fmla="*/ 11 h 48"/>
                  <a:gd name="T28" fmla="*/ 42 w 48"/>
                  <a:gd name="T29" fmla="*/ 14 h 48"/>
                  <a:gd name="T30" fmla="*/ 42 w 48"/>
                  <a:gd name="T31" fmla="*/ 16 h 48"/>
                  <a:gd name="T32" fmla="*/ 44 w 48"/>
                  <a:gd name="T33" fmla="*/ 16 h 48"/>
                  <a:gd name="T34" fmla="*/ 44 w 48"/>
                  <a:gd name="T35" fmla="*/ 22 h 48"/>
                  <a:gd name="T36" fmla="*/ 42 w 48"/>
                  <a:gd name="T37" fmla="*/ 22 h 48"/>
                  <a:gd name="T38" fmla="*/ 41 w 48"/>
                  <a:gd name="T39" fmla="*/ 27 h 48"/>
                  <a:gd name="T40" fmla="*/ 46 w 48"/>
                  <a:gd name="T41" fmla="*/ 25 h 48"/>
                  <a:gd name="T42" fmla="*/ 48 w 48"/>
                  <a:gd name="T43" fmla="*/ 25 h 48"/>
                  <a:gd name="T44" fmla="*/ 48 w 48"/>
                  <a:gd name="T45" fmla="*/ 29 h 48"/>
                  <a:gd name="T46" fmla="*/ 46 w 48"/>
                  <a:gd name="T47" fmla="*/ 30 h 48"/>
                  <a:gd name="T48" fmla="*/ 42 w 48"/>
                  <a:gd name="T49" fmla="*/ 32 h 48"/>
                  <a:gd name="T50" fmla="*/ 42 w 48"/>
                  <a:gd name="T51" fmla="*/ 38 h 48"/>
                  <a:gd name="T52" fmla="*/ 41 w 48"/>
                  <a:gd name="T53" fmla="*/ 38 h 48"/>
                  <a:gd name="T54" fmla="*/ 37 w 48"/>
                  <a:gd name="T55" fmla="*/ 41 h 48"/>
                  <a:gd name="T56" fmla="*/ 32 w 48"/>
                  <a:gd name="T57" fmla="*/ 45 h 48"/>
                  <a:gd name="T58" fmla="*/ 32 w 48"/>
                  <a:gd name="T59" fmla="*/ 47 h 48"/>
                  <a:gd name="T60" fmla="*/ 32 w 48"/>
                  <a:gd name="T61" fmla="*/ 48 h 48"/>
                  <a:gd name="T62" fmla="*/ 30 w 48"/>
                  <a:gd name="T63" fmla="*/ 48 h 48"/>
                  <a:gd name="T64" fmla="*/ 14 w 48"/>
                  <a:gd name="T65" fmla="*/ 41 h 48"/>
                  <a:gd name="T66" fmla="*/ 7 w 48"/>
                  <a:gd name="T67" fmla="*/ 36 h 48"/>
                  <a:gd name="T68" fmla="*/ 7 w 48"/>
                  <a:gd name="T69" fmla="*/ 32 h 48"/>
                  <a:gd name="T70" fmla="*/ 5 w 48"/>
                  <a:gd name="T71" fmla="*/ 30 h 48"/>
                  <a:gd name="T72" fmla="*/ 1 w 48"/>
                  <a:gd name="T73" fmla="*/ 27 h 48"/>
                  <a:gd name="T74" fmla="*/ 1 w 48"/>
                  <a:gd name="T75" fmla="*/ 25 h 48"/>
                  <a:gd name="T76" fmla="*/ 3 w 48"/>
                  <a:gd name="T77" fmla="*/ 27 h 48"/>
                  <a:gd name="T78" fmla="*/ 3 w 48"/>
                  <a:gd name="T79" fmla="*/ 25 h 48"/>
                  <a:gd name="T80" fmla="*/ 1 w 48"/>
                  <a:gd name="T81" fmla="*/ 23 h 48"/>
                  <a:gd name="T82" fmla="*/ 1 w 48"/>
                  <a:gd name="T83" fmla="*/ 20 h 48"/>
                  <a:gd name="T84" fmla="*/ 0 w 48"/>
                  <a:gd name="T85" fmla="*/ 18 h 48"/>
                  <a:gd name="T86" fmla="*/ 0 w 48"/>
                  <a:gd name="T87"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 h="48">
                    <a:moveTo>
                      <a:pt x="0" y="14"/>
                    </a:moveTo>
                    <a:lnTo>
                      <a:pt x="1" y="16"/>
                    </a:lnTo>
                    <a:lnTo>
                      <a:pt x="5" y="16"/>
                    </a:lnTo>
                    <a:lnTo>
                      <a:pt x="5" y="14"/>
                    </a:lnTo>
                    <a:lnTo>
                      <a:pt x="7" y="13"/>
                    </a:lnTo>
                    <a:lnTo>
                      <a:pt x="9" y="13"/>
                    </a:lnTo>
                    <a:lnTo>
                      <a:pt x="9" y="11"/>
                    </a:lnTo>
                    <a:lnTo>
                      <a:pt x="9" y="11"/>
                    </a:lnTo>
                    <a:lnTo>
                      <a:pt x="10" y="9"/>
                    </a:lnTo>
                    <a:lnTo>
                      <a:pt x="14" y="5"/>
                    </a:lnTo>
                    <a:lnTo>
                      <a:pt x="12" y="4"/>
                    </a:lnTo>
                    <a:lnTo>
                      <a:pt x="14" y="2"/>
                    </a:lnTo>
                    <a:lnTo>
                      <a:pt x="16" y="2"/>
                    </a:lnTo>
                    <a:lnTo>
                      <a:pt x="17" y="4"/>
                    </a:lnTo>
                    <a:lnTo>
                      <a:pt x="21" y="2"/>
                    </a:lnTo>
                    <a:lnTo>
                      <a:pt x="21" y="0"/>
                    </a:lnTo>
                    <a:lnTo>
                      <a:pt x="34" y="2"/>
                    </a:lnTo>
                    <a:lnTo>
                      <a:pt x="34" y="4"/>
                    </a:lnTo>
                    <a:lnTo>
                      <a:pt x="35" y="4"/>
                    </a:lnTo>
                    <a:lnTo>
                      <a:pt x="37" y="5"/>
                    </a:lnTo>
                    <a:lnTo>
                      <a:pt x="39" y="7"/>
                    </a:lnTo>
                    <a:lnTo>
                      <a:pt x="39" y="7"/>
                    </a:lnTo>
                    <a:lnTo>
                      <a:pt x="39" y="9"/>
                    </a:lnTo>
                    <a:lnTo>
                      <a:pt x="39" y="9"/>
                    </a:lnTo>
                    <a:lnTo>
                      <a:pt x="39" y="11"/>
                    </a:lnTo>
                    <a:lnTo>
                      <a:pt x="41" y="11"/>
                    </a:lnTo>
                    <a:lnTo>
                      <a:pt x="42" y="11"/>
                    </a:lnTo>
                    <a:lnTo>
                      <a:pt x="42" y="11"/>
                    </a:lnTo>
                    <a:lnTo>
                      <a:pt x="41" y="13"/>
                    </a:lnTo>
                    <a:lnTo>
                      <a:pt x="42" y="14"/>
                    </a:lnTo>
                    <a:lnTo>
                      <a:pt x="42" y="14"/>
                    </a:lnTo>
                    <a:lnTo>
                      <a:pt x="42" y="16"/>
                    </a:lnTo>
                    <a:lnTo>
                      <a:pt x="42" y="16"/>
                    </a:lnTo>
                    <a:lnTo>
                      <a:pt x="44" y="16"/>
                    </a:lnTo>
                    <a:lnTo>
                      <a:pt x="44" y="18"/>
                    </a:lnTo>
                    <a:lnTo>
                      <a:pt x="44" y="22"/>
                    </a:lnTo>
                    <a:lnTo>
                      <a:pt x="44" y="22"/>
                    </a:lnTo>
                    <a:lnTo>
                      <a:pt x="42" y="22"/>
                    </a:lnTo>
                    <a:lnTo>
                      <a:pt x="41" y="27"/>
                    </a:lnTo>
                    <a:lnTo>
                      <a:pt x="41" y="27"/>
                    </a:lnTo>
                    <a:lnTo>
                      <a:pt x="46" y="27"/>
                    </a:lnTo>
                    <a:lnTo>
                      <a:pt x="46" y="25"/>
                    </a:lnTo>
                    <a:lnTo>
                      <a:pt x="48" y="25"/>
                    </a:lnTo>
                    <a:lnTo>
                      <a:pt x="48" y="25"/>
                    </a:lnTo>
                    <a:lnTo>
                      <a:pt x="48" y="29"/>
                    </a:lnTo>
                    <a:lnTo>
                      <a:pt x="48" y="29"/>
                    </a:lnTo>
                    <a:lnTo>
                      <a:pt x="48" y="29"/>
                    </a:lnTo>
                    <a:lnTo>
                      <a:pt x="46" y="30"/>
                    </a:lnTo>
                    <a:lnTo>
                      <a:pt x="44" y="32"/>
                    </a:lnTo>
                    <a:lnTo>
                      <a:pt x="42" y="32"/>
                    </a:lnTo>
                    <a:lnTo>
                      <a:pt x="42" y="36"/>
                    </a:lnTo>
                    <a:lnTo>
                      <a:pt x="42" y="38"/>
                    </a:lnTo>
                    <a:lnTo>
                      <a:pt x="42" y="38"/>
                    </a:lnTo>
                    <a:lnTo>
                      <a:pt x="41" y="38"/>
                    </a:lnTo>
                    <a:lnTo>
                      <a:pt x="39" y="39"/>
                    </a:lnTo>
                    <a:lnTo>
                      <a:pt x="37" y="41"/>
                    </a:lnTo>
                    <a:lnTo>
                      <a:pt x="34" y="45"/>
                    </a:lnTo>
                    <a:lnTo>
                      <a:pt x="32" y="45"/>
                    </a:lnTo>
                    <a:lnTo>
                      <a:pt x="32" y="45"/>
                    </a:lnTo>
                    <a:lnTo>
                      <a:pt x="32" y="47"/>
                    </a:lnTo>
                    <a:lnTo>
                      <a:pt x="32" y="47"/>
                    </a:lnTo>
                    <a:lnTo>
                      <a:pt x="32" y="48"/>
                    </a:lnTo>
                    <a:lnTo>
                      <a:pt x="30" y="48"/>
                    </a:lnTo>
                    <a:lnTo>
                      <a:pt x="30" y="48"/>
                    </a:lnTo>
                    <a:lnTo>
                      <a:pt x="16" y="43"/>
                    </a:lnTo>
                    <a:lnTo>
                      <a:pt x="14" y="41"/>
                    </a:lnTo>
                    <a:lnTo>
                      <a:pt x="14" y="39"/>
                    </a:lnTo>
                    <a:lnTo>
                      <a:pt x="7" y="36"/>
                    </a:lnTo>
                    <a:lnTo>
                      <a:pt x="7" y="34"/>
                    </a:lnTo>
                    <a:lnTo>
                      <a:pt x="7" y="32"/>
                    </a:lnTo>
                    <a:lnTo>
                      <a:pt x="5" y="32"/>
                    </a:lnTo>
                    <a:lnTo>
                      <a:pt x="5" y="30"/>
                    </a:lnTo>
                    <a:lnTo>
                      <a:pt x="3" y="30"/>
                    </a:lnTo>
                    <a:lnTo>
                      <a:pt x="1" y="27"/>
                    </a:lnTo>
                    <a:lnTo>
                      <a:pt x="1" y="25"/>
                    </a:lnTo>
                    <a:lnTo>
                      <a:pt x="1" y="25"/>
                    </a:lnTo>
                    <a:lnTo>
                      <a:pt x="3" y="27"/>
                    </a:lnTo>
                    <a:lnTo>
                      <a:pt x="3" y="27"/>
                    </a:lnTo>
                    <a:lnTo>
                      <a:pt x="3" y="25"/>
                    </a:lnTo>
                    <a:lnTo>
                      <a:pt x="3" y="25"/>
                    </a:lnTo>
                    <a:lnTo>
                      <a:pt x="1" y="25"/>
                    </a:lnTo>
                    <a:lnTo>
                      <a:pt x="1" y="23"/>
                    </a:lnTo>
                    <a:lnTo>
                      <a:pt x="1" y="22"/>
                    </a:lnTo>
                    <a:lnTo>
                      <a:pt x="1" y="20"/>
                    </a:lnTo>
                    <a:lnTo>
                      <a:pt x="1" y="20"/>
                    </a:lnTo>
                    <a:lnTo>
                      <a:pt x="0" y="18"/>
                    </a:lnTo>
                    <a:lnTo>
                      <a:pt x="0" y="16"/>
                    </a:lnTo>
                    <a:lnTo>
                      <a:pt x="0" y="1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45" name="Freeform 2396"/>
              <p:cNvSpPr>
                <a:spLocks/>
              </p:cNvSpPr>
              <p:nvPr/>
            </p:nvSpPr>
            <p:spPr bwMode="auto">
              <a:xfrm>
                <a:off x="2560" y="2541"/>
                <a:ext cx="99" cy="102"/>
              </a:xfrm>
              <a:custGeom>
                <a:avLst/>
                <a:gdLst>
                  <a:gd name="T0" fmla="*/ 70 w 99"/>
                  <a:gd name="T1" fmla="*/ 90 h 102"/>
                  <a:gd name="T2" fmla="*/ 91 w 99"/>
                  <a:gd name="T3" fmla="*/ 90 h 102"/>
                  <a:gd name="T4" fmla="*/ 93 w 99"/>
                  <a:gd name="T5" fmla="*/ 81 h 102"/>
                  <a:gd name="T6" fmla="*/ 86 w 99"/>
                  <a:gd name="T7" fmla="*/ 61 h 102"/>
                  <a:gd name="T8" fmla="*/ 90 w 99"/>
                  <a:gd name="T9" fmla="*/ 50 h 102"/>
                  <a:gd name="T10" fmla="*/ 97 w 99"/>
                  <a:gd name="T11" fmla="*/ 41 h 102"/>
                  <a:gd name="T12" fmla="*/ 95 w 99"/>
                  <a:gd name="T13" fmla="*/ 25 h 102"/>
                  <a:gd name="T14" fmla="*/ 93 w 99"/>
                  <a:gd name="T15" fmla="*/ 22 h 102"/>
                  <a:gd name="T16" fmla="*/ 91 w 99"/>
                  <a:gd name="T17" fmla="*/ 20 h 102"/>
                  <a:gd name="T18" fmla="*/ 86 w 99"/>
                  <a:gd name="T19" fmla="*/ 13 h 102"/>
                  <a:gd name="T20" fmla="*/ 68 w 99"/>
                  <a:gd name="T21" fmla="*/ 15 h 102"/>
                  <a:gd name="T22" fmla="*/ 65 w 99"/>
                  <a:gd name="T23" fmla="*/ 15 h 102"/>
                  <a:gd name="T24" fmla="*/ 61 w 99"/>
                  <a:gd name="T25" fmla="*/ 16 h 102"/>
                  <a:gd name="T26" fmla="*/ 58 w 99"/>
                  <a:gd name="T27" fmla="*/ 13 h 102"/>
                  <a:gd name="T28" fmla="*/ 56 w 99"/>
                  <a:gd name="T29" fmla="*/ 9 h 102"/>
                  <a:gd name="T30" fmla="*/ 54 w 99"/>
                  <a:gd name="T31" fmla="*/ 6 h 102"/>
                  <a:gd name="T32" fmla="*/ 49 w 99"/>
                  <a:gd name="T33" fmla="*/ 4 h 102"/>
                  <a:gd name="T34" fmla="*/ 41 w 99"/>
                  <a:gd name="T35" fmla="*/ 6 h 102"/>
                  <a:gd name="T36" fmla="*/ 38 w 99"/>
                  <a:gd name="T37" fmla="*/ 4 h 102"/>
                  <a:gd name="T38" fmla="*/ 36 w 99"/>
                  <a:gd name="T39" fmla="*/ 0 h 102"/>
                  <a:gd name="T40" fmla="*/ 33 w 99"/>
                  <a:gd name="T41" fmla="*/ 2 h 102"/>
                  <a:gd name="T42" fmla="*/ 29 w 99"/>
                  <a:gd name="T43" fmla="*/ 4 h 102"/>
                  <a:gd name="T44" fmla="*/ 25 w 99"/>
                  <a:gd name="T45" fmla="*/ 6 h 102"/>
                  <a:gd name="T46" fmla="*/ 22 w 99"/>
                  <a:gd name="T47" fmla="*/ 8 h 102"/>
                  <a:gd name="T48" fmla="*/ 18 w 99"/>
                  <a:gd name="T49" fmla="*/ 8 h 102"/>
                  <a:gd name="T50" fmla="*/ 16 w 99"/>
                  <a:gd name="T51" fmla="*/ 4 h 102"/>
                  <a:gd name="T52" fmla="*/ 13 w 99"/>
                  <a:gd name="T53" fmla="*/ 6 h 102"/>
                  <a:gd name="T54" fmla="*/ 9 w 99"/>
                  <a:gd name="T55" fmla="*/ 9 h 102"/>
                  <a:gd name="T56" fmla="*/ 6 w 99"/>
                  <a:gd name="T57" fmla="*/ 20 h 102"/>
                  <a:gd name="T58" fmla="*/ 11 w 99"/>
                  <a:gd name="T59" fmla="*/ 25 h 102"/>
                  <a:gd name="T60" fmla="*/ 11 w 99"/>
                  <a:gd name="T61" fmla="*/ 27 h 102"/>
                  <a:gd name="T62" fmla="*/ 11 w 99"/>
                  <a:gd name="T63" fmla="*/ 33 h 102"/>
                  <a:gd name="T64" fmla="*/ 13 w 99"/>
                  <a:gd name="T65" fmla="*/ 38 h 102"/>
                  <a:gd name="T66" fmla="*/ 11 w 99"/>
                  <a:gd name="T67" fmla="*/ 38 h 102"/>
                  <a:gd name="T68" fmla="*/ 4 w 99"/>
                  <a:gd name="T69" fmla="*/ 38 h 102"/>
                  <a:gd name="T70" fmla="*/ 6 w 99"/>
                  <a:gd name="T71" fmla="*/ 41 h 102"/>
                  <a:gd name="T72" fmla="*/ 8 w 99"/>
                  <a:gd name="T73" fmla="*/ 41 h 102"/>
                  <a:gd name="T74" fmla="*/ 8 w 99"/>
                  <a:gd name="T75" fmla="*/ 49 h 102"/>
                  <a:gd name="T76" fmla="*/ 0 w 99"/>
                  <a:gd name="T77" fmla="*/ 52 h 102"/>
                  <a:gd name="T78" fmla="*/ 4 w 99"/>
                  <a:gd name="T79" fmla="*/ 58 h 102"/>
                  <a:gd name="T80" fmla="*/ 0 w 99"/>
                  <a:gd name="T81" fmla="*/ 68 h 102"/>
                  <a:gd name="T82" fmla="*/ 2 w 99"/>
                  <a:gd name="T83" fmla="*/ 68 h 102"/>
                  <a:gd name="T84" fmla="*/ 6 w 99"/>
                  <a:gd name="T85" fmla="*/ 70 h 102"/>
                  <a:gd name="T86" fmla="*/ 11 w 99"/>
                  <a:gd name="T87" fmla="*/ 74 h 102"/>
                  <a:gd name="T88" fmla="*/ 16 w 99"/>
                  <a:gd name="T89" fmla="*/ 79 h 102"/>
                  <a:gd name="T90" fmla="*/ 18 w 99"/>
                  <a:gd name="T91" fmla="*/ 83 h 102"/>
                  <a:gd name="T92" fmla="*/ 18 w 99"/>
                  <a:gd name="T93" fmla="*/ 86 h 102"/>
                  <a:gd name="T94" fmla="*/ 16 w 99"/>
                  <a:gd name="T95" fmla="*/ 9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9" h="102">
                    <a:moveTo>
                      <a:pt x="16" y="102"/>
                    </a:moveTo>
                    <a:lnTo>
                      <a:pt x="16" y="102"/>
                    </a:lnTo>
                    <a:lnTo>
                      <a:pt x="20" y="102"/>
                    </a:lnTo>
                    <a:lnTo>
                      <a:pt x="70" y="90"/>
                    </a:lnTo>
                    <a:lnTo>
                      <a:pt x="86" y="91"/>
                    </a:lnTo>
                    <a:lnTo>
                      <a:pt x="88" y="90"/>
                    </a:lnTo>
                    <a:lnTo>
                      <a:pt x="90" y="90"/>
                    </a:lnTo>
                    <a:lnTo>
                      <a:pt x="91" y="90"/>
                    </a:lnTo>
                    <a:lnTo>
                      <a:pt x="91" y="90"/>
                    </a:lnTo>
                    <a:lnTo>
                      <a:pt x="93" y="90"/>
                    </a:lnTo>
                    <a:lnTo>
                      <a:pt x="93" y="83"/>
                    </a:lnTo>
                    <a:lnTo>
                      <a:pt x="93" y="81"/>
                    </a:lnTo>
                    <a:lnTo>
                      <a:pt x="90" y="81"/>
                    </a:lnTo>
                    <a:lnTo>
                      <a:pt x="90" y="79"/>
                    </a:lnTo>
                    <a:lnTo>
                      <a:pt x="86" y="68"/>
                    </a:lnTo>
                    <a:lnTo>
                      <a:pt x="86" y="61"/>
                    </a:lnTo>
                    <a:lnTo>
                      <a:pt x="88" y="59"/>
                    </a:lnTo>
                    <a:lnTo>
                      <a:pt x="90" y="58"/>
                    </a:lnTo>
                    <a:lnTo>
                      <a:pt x="90" y="56"/>
                    </a:lnTo>
                    <a:lnTo>
                      <a:pt x="90" y="50"/>
                    </a:lnTo>
                    <a:lnTo>
                      <a:pt x="93" y="43"/>
                    </a:lnTo>
                    <a:lnTo>
                      <a:pt x="95" y="43"/>
                    </a:lnTo>
                    <a:lnTo>
                      <a:pt x="95" y="41"/>
                    </a:lnTo>
                    <a:lnTo>
                      <a:pt x="97" y="41"/>
                    </a:lnTo>
                    <a:lnTo>
                      <a:pt x="97" y="40"/>
                    </a:lnTo>
                    <a:lnTo>
                      <a:pt x="99" y="40"/>
                    </a:lnTo>
                    <a:lnTo>
                      <a:pt x="95" y="27"/>
                    </a:lnTo>
                    <a:lnTo>
                      <a:pt x="95" y="25"/>
                    </a:lnTo>
                    <a:lnTo>
                      <a:pt x="93" y="25"/>
                    </a:lnTo>
                    <a:lnTo>
                      <a:pt x="93" y="25"/>
                    </a:lnTo>
                    <a:lnTo>
                      <a:pt x="95" y="24"/>
                    </a:lnTo>
                    <a:lnTo>
                      <a:pt x="93" y="22"/>
                    </a:lnTo>
                    <a:lnTo>
                      <a:pt x="95" y="22"/>
                    </a:lnTo>
                    <a:lnTo>
                      <a:pt x="95" y="20"/>
                    </a:lnTo>
                    <a:lnTo>
                      <a:pt x="93" y="20"/>
                    </a:lnTo>
                    <a:lnTo>
                      <a:pt x="91" y="20"/>
                    </a:lnTo>
                    <a:lnTo>
                      <a:pt x="91" y="20"/>
                    </a:lnTo>
                    <a:lnTo>
                      <a:pt x="90" y="15"/>
                    </a:lnTo>
                    <a:lnTo>
                      <a:pt x="88" y="15"/>
                    </a:lnTo>
                    <a:lnTo>
                      <a:pt x="86" y="13"/>
                    </a:lnTo>
                    <a:lnTo>
                      <a:pt x="86" y="13"/>
                    </a:lnTo>
                    <a:lnTo>
                      <a:pt x="84" y="13"/>
                    </a:lnTo>
                    <a:lnTo>
                      <a:pt x="79" y="11"/>
                    </a:lnTo>
                    <a:lnTo>
                      <a:pt x="68" y="15"/>
                    </a:lnTo>
                    <a:lnTo>
                      <a:pt x="68" y="16"/>
                    </a:lnTo>
                    <a:lnTo>
                      <a:pt x="66" y="18"/>
                    </a:lnTo>
                    <a:lnTo>
                      <a:pt x="65" y="16"/>
                    </a:lnTo>
                    <a:lnTo>
                      <a:pt x="65" y="15"/>
                    </a:lnTo>
                    <a:lnTo>
                      <a:pt x="63" y="15"/>
                    </a:lnTo>
                    <a:lnTo>
                      <a:pt x="63" y="16"/>
                    </a:lnTo>
                    <a:lnTo>
                      <a:pt x="61" y="16"/>
                    </a:lnTo>
                    <a:lnTo>
                      <a:pt x="61" y="16"/>
                    </a:lnTo>
                    <a:lnTo>
                      <a:pt x="59" y="15"/>
                    </a:lnTo>
                    <a:lnTo>
                      <a:pt x="59" y="15"/>
                    </a:lnTo>
                    <a:lnTo>
                      <a:pt x="58" y="13"/>
                    </a:lnTo>
                    <a:lnTo>
                      <a:pt x="58" y="13"/>
                    </a:lnTo>
                    <a:lnTo>
                      <a:pt x="58" y="11"/>
                    </a:lnTo>
                    <a:lnTo>
                      <a:pt x="58" y="11"/>
                    </a:lnTo>
                    <a:lnTo>
                      <a:pt x="56" y="11"/>
                    </a:lnTo>
                    <a:lnTo>
                      <a:pt x="56" y="9"/>
                    </a:lnTo>
                    <a:lnTo>
                      <a:pt x="54" y="9"/>
                    </a:lnTo>
                    <a:lnTo>
                      <a:pt x="54" y="8"/>
                    </a:lnTo>
                    <a:lnTo>
                      <a:pt x="54" y="6"/>
                    </a:lnTo>
                    <a:lnTo>
                      <a:pt x="54" y="6"/>
                    </a:lnTo>
                    <a:lnTo>
                      <a:pt x="54" y="6"/>
                    </a:lnTo>
                    <a:lnTo>
                      <a:pt x="50" y="6"/>
                    </a:lnTo>
                    <a:lnTo>
                      <a:pt x="49" y="6"/>
                    </a:lnTo>
                    <a:lnTo>
                      <a:pt x="49" y="4"/>
                    </a:lnTo>
                    <a:lnTo>
                      <a:pt x="47" y="4"/>
                    </a:lnTo>
                    <a:lnTo>
                      <a:pt x="43" y="4"/>
                    </a:lnTo>
                    <a:lnTo>
                      <a:pt x="43" y="6"/>
                    </a:lnTo>
                    <a:lnTo>
                      <a:pt x="41" y="6"/>
                    </a:lnTo>
                    <a:lnTo>
                      <a:pt x="40" y="8"/>
                    </a:lnTo>
                    <a:lnTo>
                      <a:pt x="38" y="8"/>
                    </a:lnTo>
                    <a:lnTo>
                      <a:pt x="38" y="8"/>
                    </a:lnTo>
                    <a:lnTo>
                      <a:pt x="38" y="4"/>
                    </a:lnTo>
                    <a:lnTo>
                      <a:pt x="38" y="2"/>
                    </a:lnTo>
                    <a:lnTo>
                      <a:pt x="38" y="2"/>
                    </a:lnTo>
                    <a:lnTo>
                      <a:pt x="38" y="0"/>
                    </a:lnTo>
                    <a:lnTo>
                      <a:pt x="36" y="0"/>
                    </a:lnTo>
                    <a:lnTo>
                      <a:pt x="36" y="0"/>
                    </a:lnTo>
                    <a:lnTo>
                      <a:pt x="34" y="0"/>
                    </a:lnTo>
                    <a:lnTo>
                      <a:pt x="33" y="2"/>
                    </a:lnTo>
                    <a:lnTo>
                      <a:pt x="33" y="2"/>
                    </a:lnTo>
                    <a:lnTo>
                      <a:pt x="31" y="0"/>
                    </a:lnTo>
                    <a:lnTo>
                      <a:pt x="31" y="0"/>
                    </a:lnTo>
                    <a:lnTo>
                      <a:pt x="29" y="2"/>
                    </a:lnTo>
                    <a:lnTo>
                      <a:pt x="29" y="4"/>
                    </a:lnTo>
                    <a:lnTo>
                      <a:pt x="31" y="4"/>
                    </a:lnTo>
                    <a:lnTo>
                      <a:pt x="29" y="6"/>
                    </a:lnTo>
                    <a:lnTo>
                      <a:pt x="27" y="6"/>
                    </a:lnTo>
                    <a:lnTo>
                      <a:pt x="25" y="6"/>
                    </a:lnTo>
                    <a:lnTo>
                      <a:pt x="25" y="8"/>
                    </a:lnTo>
                    <a:lnTo>
                      <a:pt x="24" y="9"/>
                    </a:lnTo>
                    <a:lnTo>
                      <a:pt x="24" y="9"/>
                    </a:lnTo>
                    <a:lnTo>
                      <a:pt x="22" y="8"/>
                    </a:lnTo>
                    <a:lnTo>
                      <a:pt x="20" y="8"/>
                    </a:lnTo>
                    <a:lnTo>
                      <a:pt x="20" y="6"/>
                    </a:lnTo>
                    <a:lnTo>
                      <a:pt x="20" y="8"/>
                    </a:lnTo>
                    <a:lnTo>
                      <a:pt x="18" y="8"/>
                    </a:lnTo>
                    <a:lnTo>
                      <a:pt x="18" y="8"/>
                    </a:lnTo>
                    <a:lnTo>
                      <a:pt x="18" y="6"/>
                    </a:lnTo>
                    <a:lnTo>
                      <a:pt x="16" y="4"/>
                    </a:lnTo>
                    <a:lnTo>
                      <a:pt x="16" y="4"/>
                    </a:lnTo>
                    <a:lnTo>
                      <a:pt x="15" y="4"/>
                    </a:lnTo>
                    <a:lnTo>
                      <a:pt x="13" y="4"/>
                    </a:lnTo>
                    <a:lnTo>
                      <a:pt x="13" y="4"/>
                    </a:lnTo>
                    <a:lnTo>
                      <a:pt x="13" y="6"/>
                    </a:lnTo>
                    <a:lnTo>
                      <a:pt x="11" y="8"/>
                    </a:lnTo>
                    <a:lnTo>
                      <a:pt x="11" y="8"/>
                    </a:lnTo>
                    <a:lnTo>
                      <a:pt x="9" y="8"/>
                    </a:lnTo>
                    <a:lnTo>
                      <a:pt x="9" y="9"/>
                    </a:lnTo>
                    <a:lnTo>
                      <a:pt x="8" y="11"/>
                    </a:lnTo>
                    <a:lnTo>
                      <a:pt x="8" y="11"/>
                    </a:lnTo>
                    <a:lnTo>
                      <a:pt x="6" y="13"/>
                    </a:lnTo>
                    <a:lnTo>
                      <a:pt x="6" y="20"/>
                    </a:lnTo>
                    <a:lnTo>
                      <a:pt x="6" y="20"/>
                    </a:lnTo>
                    <a:lnTo>
                      <a:pt x="9" y="22"/>
                    </a:lnTo>
                    <a:lnTo>
                      <a:pt x="11" y="22"/>
                    </a:lnTo>
                    <a:lnTo>
                      <a:pt x="11" y="25"/>
                    </a:lnTo>
                    <a:lnTo>
                      <a:pt x="11" y="25"/>
                    </a:lnTo>
                    <a:lnTo>
                      <a:pt x="13" y="27"/>
                    </a:lnTo>
                    <a:lnTo>
                      <a:pt x="13" y="27"/>
                    </a:lnTo>
                    <a:lnTo>
                      <a:pt x="11" y="27"/>
                    </a:lnTo>
                    <a:lnTo>
                      <a:pt x="11" y="29"/>
                    </a:lnTo>
                    <a:lnTo>
                      <a:pt x="9" y="31"/>
                    </a:lnTo>
                    <a:lnTo>
                      <a:pt x="11" y="31"/>
                    </a:lnTo>
                    <a:lnTo>
                      <a:pt x="11" y="33"/>
                    </a:lnTo>
                    <a:lnTo>
                      <a:pt x="13" y="33"/>
                    </a:lnTo>
                    <a:lnTo>
                      <a:pt x="13" y="33"/>
                    </a:lnTo>
                    <a:lnTo>
                      <a:pt x="13" y="34"/>
                    </a:lnTo>
                    <a:lnTo>
                      <a:pt x="13" y="38"/>
                    </a:lnTo>
                    <a:lnTo>
                      <a:pt x="13" y="38"/>
                    </a:lnTo>
                    <a:lnTo>
                      <a:pt x="13" y="36"/>
                    </a:lnTo>
                    <a:lnTo>
                      <a:pt x="11" y="38"/>
                    </a:lnTo>
                    <a:lnTo>
                      <a:pt x="11" y="38"/>
                    </a:lnTo>
                    <a:lnTo>
                      <a:pt x="9" y="36"/>
                    </a:lnTo>
                    <a:lnTo>
                      <a:pt x="8" y="36"/>
                    </a:lnTo>
                    <a:lnTo>
                      <a:pt x="4" y="36"/>
                    </a:lnTo>
                    <a:lnTo>
                      <a:pt x="4" y="38"/>
                    </a:lnTo>
                    <a:lnTo>
                      <a:pt x="6" y="38"/>
                    </a:lnTo>
                    <a:lnTo>
                      <a:pt x="6" y="38"/>
                    </a:lnTo>
                    <a:lnTo>
                      <a:pt x="4" y="40"/>
                    </a:lnTo>
                    <a:lnTo>
                      <a:pt x="6" y="41"/>
                    </a:lnTo>
                    <a:lnTo>
                      <a:pt x="8" y="40"/>
                    </a:lnTo>
                    <a:lnTo>
                      <a:pt x="8" y="41"/>
                    </a:lnTo>
                    <a:lnTo>
                      <a:pt x="9" y="41"/>
                    </a:lnTo>
                    <a:lnTo>
                      <a:pt x="8" y="41"/>
                    </a:lnTo>
                    <a:lnTo>
                      <a:pt x="9" y="43"/>
                    </a:lnTo>
                    <a:lnTo>
                      <a:pt x="9" y="43"/>
                    </a:lnTo>
                    <a:lnTo>
                      <a:pt x="8" y="43"/>
                    </a:lnTo>
                    <a:lnTo>
                      <a:pt x="8" y="49"/>
                    </a:lnTo>
                    <a:lnTo>
                      <a:pt x="6" y="50"/>
                    </a:lnTo>
                    <a:lnTo>
                      <a:pt x="6" y="50"/>
                    </a:lnTo>
                    <a:lnTo>
                      <a:pt x="2" y="50"/>
                    </a:lnTo>
                    <a:lnTo>
                      <a:pt x="0" y="52"/>
                    </a:lnTo>
                    <a:lnTo>
                      <a:pt x="2" y="56"/>
                    </a:lnTo>
                    <a:lnTo>
                      <a:pt x="2" y="56"/>
                    </a:lnTo>
                    <a:lnTo>
                      <a:pt x="4" y="58"/>
                    </a:lnTo>
                    <a:lnTo>
                      <a:pt x="4" y="58"/>
                    </a:lnTo>
                    <a:lnTo>
                      <a:pt x="4" y="58"/>
                    </a:lnTo>
                    <a:lnTo>
                      <a:pt x="4" y="63"/>
                    </a:lnTo>
                    <a:lnTo>
                      <a:pt x="0" y="66"/>
                    </a:lnTo>
                    <a:lnTo>
                      <a:pt x="0" y="68"/>
                    </a:lnTo>
                    <a:lnTo>
                      <a:pt x="0" y="68"/>
                    </a:lnTo>
                    <a:lnTo>
                      <a:pt x="0" y="68"/>
                    </a:lnTo>
                    <a:lnTo>
                      <a:pt x="0" y="68"/>
                    </a:lnTo>
                    <a:lnTo>
                      <a:pt x="2" y="68"/>
                    </a:lnTo>
                    <a:lnTo>
                      <a:pt x="2" y="68"/>
                    </a:lnTo>
                    <a:lnTo>
                      <a:pt x="2" y="70"/>
                    </a:lnTo>
                    <a:lnTo>
                      <a:pt x="4" y="70"/>
                    </a:lnTo>
                    <a:lnTo>
                      <a:pt x="6" y="70"/>
                    </a:lnTo>
                    <a:lnTo>
                      <a:pt x="9" y="70"/>
                    </a:lnTo>
                    <a:lnTo>
                      <a:pt x="9" y="72"/>
                    </a:lnTo>
                    <a:lnTo>
                      <a:pt x="11" y="74"/>
                    </a:lnTo>
                    <a:lnTo>
                      <a:pt x="11" y="74"/>
                    </a:lnTo>
                    <a:lnTo>
                      <a:pt x="11" y="74"/>
                    </a:lnTo>
                    <a:lnTo>
                      <a:pt x="13" y="77"/>
                    </a:lnTo>
                    <a:lnTo>
                      <a:pt x="15" y="77"/>
                    </a:lnTo>
                    <a:lnTo>
                      <a:pt x="16" y="79"/>
                    </a:lnTo>
                    <a:lnTo>
                      <a:pt x="18" y="79"/>
                    </a:lnTo>
                    <a:lnTo>
                      <a:pt x="18" y="79"/>
                    </a:lnTo>
                    <a:lnTo>
                      <a:pt x="18" y="81"/>
                    </a:lnTo>
                    <a:lnTo>
                      <a:pt x="18" y="83"/>
                    </a:lnTo>
                    <a:lnTo>
                      <a:pt x="18" y="84"/>
                    </a:lnTo>
                    <a:lnTo>
                      <a:pt x="18" y="86"/>
                    </a:lnTo>
                    <a:lnTo>
                      <a:pt x="18" y="86"/>
                    </a:lnTo>
                    <a:lnTo>
                      <a:pt x="18" y="86"/>
                    </a:lnTo>
                    <a:lnTo>
                      <a:pt x="16" y="88"/>
                    </a:lnTo>
                    <a:lnTo>
                      <a:pt x="16" y="90"/>
                    </a:lnTo>
                    <a:lnTo>
                      <a:pt x="16" y="90"/>
                    </a:lnTo>
                    <a:lnTo>
                      <a:pt x="16" y="91"/>
                    </a:lnTo>
                    <a:lnTo>
                      <a:pt x="16" y="93"/>
                    </a:lnTo>
                    <a:lnTo>
                      <a:pt x="16" y="93"/>
                    </a:lnTo>
                    <a:lnTo>
                      <a:pt x="16" y="10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46" name="Freeform 2397"/>
              <p:cNvSpPr>
                <a:spLocks/>
              </p:cNvSpPr>
              <p:nvPr/>
            </p:nvSpPr>
            <p:spPr bwMode="auto">
              <a:xfrm>
                <a:off x="2560" y="2541"/>
                <a:ext cx="99" cy="102"/>
              </a:xfrm>
              <a:custGeom>
                <a:avLst/>
                <a:gdLst>
                  <a:gd name="T0" fmla="*/ 70 w 99"/>
                  <a:gd name="T1" fmla="*/ 90 h 102"/>
                  <a:gd name="T2" fmla="*/ 91 w 99"/>
                  <a:gd name="T3" fmla="*/ 90 h 102"/>
                  <a:gd name="T4" fmla="*/ 93 w 99"/>
                  <a:gd name="T5" fmla="*/ 81 h 102"/>
                  <a:gd name="T6" fmla="*/ 86 w 99"/>
                  <a:gd name="T7" fmla="*/ 61 h 102"/>
                  <a:gd name="T8" fmla="*/ 90 w 99"/>
                  <a:gd name="T9" fmla="*/ 50 h 102"/>
                  <a:gd name="T10" fmla="*/ 97 w 99"/>
                  <a:gd name="T11" fmla="*/ 41 h 102"/>
                  <a:gd name="T12" fmla="*/ 95 w 99"/>
                  <a:gd name="T13" fmla="*/ 25 h 102"/>
                  <a:gd name="T14" fmla="*/ 93 w 99"/>
                  <a:gd name="T15" fmla="*/ 22 h 102"/>
                  <a:gd name="T16" fmla="*/ 91 w 99"/>
                  <a:gd name="T17" fmla="*/ 20 h 102"/>
                  <a:gd name="T18" fmla="*/ 86 w 99"/>
                  <a:gd name="T19" fmla="*/ 13 h 102"/>
                  <a:gd name="T20" fmla="*/ 68 w 99"/>
                  <a:gd name="T21" fmla="*/ 15 h 102"/>
                  <a:gd name="T22" fmla="*/ 65 w 99"/>
                  <a:gd name="T23" fmla="*/ 15 h 102"/>
                  <a:gd name="T24" fmla="*/ 61 w 99"/>
                  <a:gd name="T25" fmla="*/ 16 h 102"/>
                  <a:gd name="T26" fmla="*/ 58 w 99"/>
                  <a:gd name="T27" fmla="*/ 13 h 102"/>
                  <a:gd name="T28" fmla="*/ 56 w 99"/>
                  <a:gd name="T29" fmla="*/ 9 h 102"/>
                  <a:gd name="T30" fmla="*/ 54 w 99"/>
                  <a:gd name="T31" fmla="*/ 6 h 102"/>
                  <a:gd name="T32" fmla="*/ 49 w 99"/>
                  <a:gd name="T33" fmla="*/ 4 h 102"/>
                  <a:gd name="T34" fmla="*/ 41 w 99"/>
                  <a:gd name="T35" fmla="*/ 6 h 102"/>
                  <a:gd name="T36" fmla="*/ 38 w 99"/>
                  <a:gd name="T37" fmla="*/ 4 h 102"/>
                  <a:gd name="T38" fmla="*/ 36 w 99"/>
                  <a:gd name="T39" fmla="*/ 0 h 102"/>
                  <a:gd name="T40" fmla="*/ 33 w 99"/>
                  <a:gd name="T41" fmla="*/ 2 h 102"/>
                  <a:gd name="T42" fmla="*/ 29 w 99"/>
                  <a:gd name="T43" fmla="*/ 4 h 102"/>
                  <a:gd name="T44" fmla="*/ 25 w 99"/>
                  <a:gd name="T45" fmla="*/ 6 h 102"/>
                  <a:gd name="T46" fmla="*/ 22 w 99"/>
                  <a:gd name="T47" fmla="*/ 8 h 102"/>
                  <a:gd name="T48" fmla="*/ 18 w 99"/>
                  <a:gd name="T49" fmla="*/ 8 h 102"/>
                  <a:gd name="T50" fmla="*/ 16 w 99"/>
                  <a:gd name="T51" fmla="*/ 4 h 102"/>
                  <a:gd name="T52" fmla="*/ 13 w 99"/>
                  <a:gd name="T53" fmla="*/ 6 h 102"/>
                  <a:gd name="T54" fmla="*/ 9 w 99"/>
                  <a:gd name="T55" fmla="*/ 9 h 102"/>
                  <a:gd name="T56" fmla="*/ 6 w 99"/>
                  <a:gd name="T57" fmla="*/ 20 h 102"/>
                  <a:gd name="T58" fmla="*/ 11 w 99"/>
                  <a:gd name="T59" fmla="*/ 25 h 102"/>
                  <a:gd name="T60" fmla="*/ 11 w 99"/>
                  <a:gd name="T61" fmla="*/ 27 h 102"/>
                  <a:gd name="T62" fmla="*/ 11 w 99"/>
                  <a:gd name="T63" fmla="*/ 33 h 102"/>
                  <a:gd name="T64" fmla="*/ 13 w 99"/>
                  <a:gd name="T65" fmla="*/ 38 h 102"/>
                  <a:gd name="T66" fmla="*/ 11 w 99"/>
                  <a:gd name="T67" fmla="*/ 38 h 102"/>
                  <a:gd name="T68" fmla="*/ 4 w 99"/>
                  <a:gd name="T69" fmla="*/ 38 h 102"/>
                  <a:gd name="T70" fmla="*/ 6 w 99"/>
                  <a:gd name="T71" fmla="*/ 41 h 102"/>
                  <a:gd name="T72" fmla="*/ 8 w 99"/>
                  <a:gd name="T73" fmla="*/ 41 h 102"/>
                  <a:gd name="T74" fmla="*/ 8 w 99"/>
                  <a:gd name="T75" fmla="*/ 49 h 102"/>
                  <a:gd name="T76" fmla="*/ 0 w 99"/>
                  <a:gd name="T77" fmla="*/ 52 h 102"/>
                  <a:gd name="T78" fmla="*/ 4 w 99"/>
                  <a:gd name="T79" fmla="*/ 58 h 102"/>
                  <a:gd name="T80" fmla="*/ 0 w 99"/>
                  <a:gd name="T81" fmla="*/ 68 h 102"/>
                  <a:gd name="T82" fmla="*/ 2 w 99"/>
                  <a:gd name="T83" fmla="*/ 68 h 102"/>
                  <a:gd name="T84" fmla="*/ 6 w 99"/>
                  <a:gd name="T85" fmla="*/ 70 h 102"/>
                  <a:gd name="T86" fmla="*/ 11 w 99"/>
                  <a:gd name="T87" fmla="*/ 74 h 102"/>
                  <a:gd name="T88" fmla="*/ 16 w 99"/>
                  <a:gd name="T89" fmla="*/ 79 h 102"/>
                  <a:gd name="T90" fmla="*/ 18 w 99"/>
                  <a:gd name="T91" fmla="*/ 83 h 102"/>
                  <a:gd name="T92" fmla="*/ 18 w 99"/>
                  <a:gd name="T93" fmla="*/ 86 h 102"/>
                  <a:gd name="T94" fmla="*/ 16 w 99"/>
                  <a:gd name="T95" fmla="*/ 9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9" h="102">
                    <a:moveTo>
                      <a:pt x="16" y="102"/>
                    </a:moveTo>
                    <a:lnTo>
                      <a:pt x="16" y="102"/>
                    </a:lnTo>
                    <a:lnTo>
                      <a:pt x="20" y="102"/>
                    </a:lnTo>
                    <a:lnTo>
                      <a:pt x="70" y="90"/>
                    </a:lnTo>
                    <a:lnTo>
                      <a:pt x="86" y="91"/>
                    </a:lnTo>
                    <a:lnTo>
                      <a:pt x="88" y="90"/>
                    </a:lnTo>
                    <a:lnTo>
                      <a:pt x="90" y="90"/>
                    </a:lnTo>
                    <a:lnTo>
                      <a:pt x="91" y="90"/>
                    </a:lnTo>
                    <a:lnTo>
                      <a:pt x="91" y="90"/>
                    </a:lnTo>
                    <a:lnTo>
                      <a:pt x="93" y="90"/>
                    </a:lnTo>
                    <a:lnTo>
                      <a:pt x="93" y="83"/>
                    </a:lnTo>
                    <a:lnTo>
                      <a:pt x="93" y="81"/>
                    </a:lnTo>
                    <a:lnTo>
                      <a:pt x="90" y="81"/>
                    </a:lnTo>
                    <a:lnTo>
                      <a:pt x="90" y="79"/>
                    </a:lnTo>
                    <a:lnTo>
                      <a:pt x="86" y="68"/>
                    </a:lnTo>
                    <a:lnTo>
                      <a:pt x="86" y="61"/>
                    </a:lnTo>
                    <a:lnTo>
                      <a:pt x="88" y="59"/>
                    </a:lnTo>
                    <a:lnTo>
                      <a:pt x="90" y="58"/>
                    </a:lnTo>
                    <a:lnTo>
                      <a:pt x="90" y="56"/>
                    </a:lnTo>
                    <a:lnTo>
                      <a:pt x="90" y="50"/>
                    </a:lnTo>
                    <a:lnTo>
                      <a:pt x="93" y="43"/>
                    </a:lnTo>
                    <a:lnTo>
                      <a:pt x="95" y="43"/>
                    </a:lnTo>
                    <a:lnTo>
                      <a:pt x="95" y="41"/>
                    </a:lnTo>
                    <a:lnTo>
                      <a:pt x="97" y="41"/>
                    </a:lnTo>
                    <a:lnTo>
                      <a:pt x="97" y="40"/>
                    </a:lnTo>
                    <a:lnTo>
                      <a:pt x="99" y="40"/>
                    </a:lnTo>
                    <a:lnTo>
                      <a:pt x="95" y="27"/>
                    </a:lnTo>
                    <a:lnTo>
                      <a:pt x="95" y="25"/>
                    </a:lnTo>
                    <a:lnTo>
                      <a:pt x="93" y="25"/>
                    </a:lnTo>
                    <a:lnTo>
                      <a:pt x="93" y="25"/>
                    </a:lnTo>
                    <a:lnTo>
                      <a:pt x="95" y="24"/>
                    </a:lnTo>
                    <a:lnTo>
                      <a:pt x="93" y="22"/>
                    </a:lnTo>
                    <a:lnTo>
                      <a:pt x="95" y="22"/>
                    </a:lnTo>
                    <a:lnTo>
                      <a:pt x="95" y="20"/>
                    </a:lnTo>
                    <a:lnTo>
                      <a:pt x="93" y="20"/>
                    </a:lnTo>
                    <a:lnTo>
                      <a:pt x="91" y="20"/>
                    </a:lnTo>
                    <a:lnTo>
                      <a:pt x="91" y="20"/>
                    </a:lnTo>
                    <a:lnTo>
                      <a:pt x="90" y="15"/>
                    </a:lnTo>
                    <a:lnTo>
                      <a:pt x="88" y="15"/>
                    </a:lnTo>
                    <a:lnTo>
                      <a:pt x="86" y="13"/>
                    </a:lnTo>
                    <a:lnTo>
                      <a:pt x="86" y="13"/>
                    </a:lnTo>
                    <a:lnTo>
                      <a:pt x="84" y="13"/>
                    </a:lnTo>
                    <a:lnTo>
                      <a:pt x="79" y="11"/>
                    </a:lnTo>
                    <a:lnTo>
                      <a:pt x="68" y="15"/>
                    </a:lnTo>
                    <a:lnTo>
                      <a:pt x="68" y="16"/>
                    </a:lnTo>
                    <a:lnTo>
                      <a:pt x="66" y="18"/>
                    </a:lnTo>
                    <a:lnTo>
                      <a:pt x="65" y="16"/>
                    </a:lnTo>
                    <a:lnTo>
                      <a:pt x="65" y="15"/>
                    </a:lnTo>
                    <a:lnTo>
                      <a:pt x="63" y="15"/>
                    </a:lnTo>
                    <a:lnTo>
                      <a:pt x="63" y="16"/>
                    </a:lnTo>
                    <a:lnTo>
                      <a:pt x="61" y="16"/>
                    </a:lnTo>
                    <a:lnTo>
                      <a:pt x="61" y="16"/>
                    </a:lnTo>
                    <a:lnTo>
                      <a:pt x="59" y="15"/>
                    </a:lnTo>
                    <a:lnTo>
                      <a:pt x="59" y="15"/>
                    </a:lnTo>
                    <a:lnTo>
                      <a:pt x="58" y="13"/>
                    </a:lnTo>
                    <a:lnTo>
                      <a:pt x="58" y="13"/>
                    </a:lnTo>
                    <a:lnTo>
                      <a:pt x="58" y="11"/>
                    </a:lnTo>
                    <a:lnTo>
                      <a:pt x="58" y="11"/>
                    </a:lnTo>
                    <a:lnTo>
                      <a:pt x="56" y="11"/>
                    </a:lnTo>
                    <a:lnTo>
                      <a:pt x="56" y="9"/>
                    </a:lnTo>
                    <a:lnTo>
                      <a:pt x="54" y="9"/>
                    </a:lnTo>
                    <a:lnTo>
                      <a:pt x="54" y="8"/>
                    </a:lnTo>
                    <a:lnTo>
                      <a:pt x="54" y="6"/>
                    </a:lnTo>
                    <a:lnTo>
                      <a:pt x="54" y="6"/>
                    </a:lnTo>
                    <a:lnTo>
                      <a:pt x="54" y="6"/>
                    </a:lnTo>
                    <a:lnTo>
                      <a:pt x="50" y="6"/>
                    </a:lnTo>
                    <a:lnTo>
                      <a:pt x="49" y="6"/>
                    </a:lnTo>
                    <a:lnTo>
                      <a:pt x="49" y="4"/>
                    </a:lnTo>
                    <a:lnTo>
                      <a:pt x="47" y="4"/>
                    </a:lnTo>
                    <a:lnTo>
                      <a:pt x="43" y="4"/>
                    </a:lnTo>
                    <a:lnTo>
                      <a:pt x="43" y="6"/>
                    </a:lnTo>
                    <a:lnTo>
                      <a:pt x="41" y="6"/>
                    </a:lnTo>
                    <a:lnTo>
                      <a:pt x="40" y="8"/>
                    </a:lnTo>
                    <a:lnTo>
                      <a:pt x="38" y="8"/>
                    </a:lnTo>
                    <a:lnTo>
                      <a:pt x="38" y="8"/>
                    </a:lnTo>
                    <a:lnTo>
                      <a:pt x="38" y="4"/>
                    </a:lnTo>
                    <a:lnTo>
                      <a:pt x="38" y="2"/>
                    </a:lnTo>
                    <a:lnTo>
                      <a:pt x="38" y="2"/>
                    </a:lnTo>
                    <a:lnTo>
                      <a:pt x="38" y="0"/>
                    </a:lnTo>
                    <a:lnTo>
                      <a:pt x="36" y="0"/>
                    </a:lnTo>
                    <a:lnTo>
                      <a:pt x="36" y="0"/>
                    </a:lnTo>
                    <a:lnTo>
                      <a:pt x="34" y="0"/>
                    </a:lnTo>
                    <a:lnTo>
                      <a:pt x="33" y="2"/>
                    </a:lnTo>
                    <a:lnTo>
                      <a:pt x="33" y="2"/>
                    </a:lnTo>
                    <a:lnTo>
                      <a:pt x="31" y="0"/>
                    </a:lnTo>
                    <a:lnTo>
                      <a:pt x="31" y="0"/>
                    </a:lnTo>
                    <a:lnTo>
                      <a:pt x="29" y="2"/>
                    </a:lnTo>
                    <a:lnTo>
                      <a:pt x="29" y="4"/>
                    </a:lnTo>
                    <a:lnTo>
                      <a:pt x="31" y="4"/>
                    </a:lnTo>
                    <a:lnTo>
                      <a:pt x="29" y="6"/>
                    </a:lnTo>
                    <a:lnTo>
                      <a:pt x="27" y="6"/>
                    </a:lnTo>
                    <a:lnTo>
                      <a:pt x="25" y="6"/>
                    </a:lnTo>
                    <a:lnTo>
                      <a:pt x="25" y="8"/>
                    </a:lnTo>
                    <a:lnTo>
                      <a:pt x="24" y="9"/>
                    </a:lnTo>
                    <a:lnTo>
                      <a:pt x="24" y="9"/>
                    </a:lnTo>
                    <a:lnTo>
                      <a:pt x="22" y="8"/>
                    </a:lnTo>
                    <a:lnTo>
                      <a:pt x="20" y="8"/>
                    </a:lnTo>
                    <a:lnTo>
                      <a:pt x="20" y="6"/>
                    </a:lnTo>
                    <a:lnTo>
                      <a:pt x="20" y="8"/>
                    </a:lnTo>
                    <a:lnTo>
                      <a:pt x="18" y="8"/>
                    </a:lnTo>
                    <a:lnTo>
                      <a:pt x="18" y="8"/>
                    </a:lnTo>
                    <a:lnTo>
                      <a:pt x="18" y="6"/>
                    </a:lnTo>
                    <a:lnTo>
                      <a:pt x="16" y="4"/>
                    </a:lnTo>
                    <a:lnTo>
                      <a:pt x="16" y="4"/>
                    </a:lnTo>
                    <a:lnTo>
                      <a:pt x="15" y="4"/>
                    </a:lnTo>
                    <a:lnTo>
                      <a:pt x="13" y="4"/>
                    </a:lnTo>
                    <a:lnTo>
                      <a:pt x="13" y="4"/>
                    </a:lnTo>
                    <a:lnTo>
                      <a:pt x="13" y="6"/>
                    </a:lnTo>
                    <a:lnTo>
                      <a:pt x="11" y="8"/>
                    </a:lnTo>
                    <a:lnTo>
                      <a:pt x="11" y="8"/>
                    </a:lnTo>
                    <a:lnTo>
                      <a:pt x="9" y="8"/>
                    </a:lnTo>
                    <a:lnTo>
                      <a:pt x="9" y="9"/>
                    </a:lnTo>
                    <a:lnTo>
                      <a:pt x="8" y="11"/>
                    </a:lnTo>
                    <a:lnTo>
                      <a:pt x="8" y="11"/>
                    </a:lnTo>
                    <a:lnTo>
                      <a:pt x="6" y="13"/>
                    </a:lnTo>
                    <a:lnTo>
                      <a:pt x="6" y="20"/>
                    </a:lnTo>
                    <a:lnTo>
                      <a:pt x="6" y="20"/>
                    </a:lnTo>
                    <a:lnTo>
                      <a:pt x="9" y="22"/>
                    </a:lnTo>
                    <a:lnTo>
                      <a:pt x="11" y="22"/>
                    </a:lnTo>
                    <a:lnTo>
                      <a:pt x="11" y="25"/>
                    </a:lnTo>
                    <a:lnTo>
                      <a:pt x="11" y="25"/>
                    </a:lnTo>
                    <a:lnTo>
                      <a:pt x="13" y="27"/>
                    </a:lnTo>
                    <a:lnTo>
                      <a:pt x="13" y="27"/>
                    </a:lnTo>
                    <a:lnTo>
                      <a:pt x="11" y="27"/>
                    </a:lnTo>
                    <a:lnTo>
                      <a:pt x="11" y="29"/>
                    </a:lnTo>
                    <a:lnTo>
                      <a:pt x="9" y="31"/>
                    </a:lnTo>
                    <a:lnTo>
                      <a:pt x="11" y="31"/>
                    </a:lnTo>
                    <a:lnTo>
                      <a:pt x="11" y="33"/>
                    </a:lnTo>
                    <a:lnTo>
                      <a:pt x="13" y="33"/>
                    </a:lnTo>
                    <a:lnTo>
                      <a:pt x="13" y="33"/>
                    </a:lnTo>
                    <a:lnTo>
                      <a:pt x="13" y="34"/>
                    </a:lnTo>
                    <a:lnTo>
                      <a:pt x="13" y="38"/>
                    </a:lnTo>
                    <a:lnTo>
                      <a:pt x="13" y="38"/>
                    </a:lnTo>
                    <a:lnTo>
                      <a:pt x="13" y="36"/>
                    </a:lnTo>
                    <a:lnTo>
                      <a:pt x="11" y="38"/>
                    </a:lnTo>
                    <a:lnTo>
                      <a:pt x="11" y="38"/>
                    </a:lnTo>
                    <a:lnTo>
                      <a:pt x="9" y="36"/>
                    </a:lnTo>
                    <a:lnTo>
                      <a:pt x="8" y="36"/>
                    </a:lnTo>
                    <a:lnTo>
                      <a:pt x="4" y="36"/>
                    </a:lnTo>
                    <a:lnTo>
                      <a:pt x="4" y="38"/>
                    </a:lnTo>
                    <a:lnTo>
                      <a:pt x="6" y="38"/>
                    </a:lnTo>
                    <a:lnTo>
                      <a:pt x="6" y="38"/>
                    </a:lnTo>
                    <a:lnTo>
                      <a:pt x="4" y="40"/>
                    </a:lnTo>
                    <a:lnTo>
                      <a:pt x="6" y="41"/>
                    </a:lnTo>
                    <a:lnTo>
                      <a:pt x="8" y="40"/>
                    </a:lnTo>
                    <a:lnTo>
                      <a:pt x="8" y="41"/>
                    </a:lnTo>
                    <a:lnTo>
                      <a:pt x="9" y="41"/>
                    </a:lnTo>
                    <a:lnTo>
                      <a:pt x="8" y="41"/>
                    </a:lnTo>
                    <a:lnTo>
                      <a:pt x="9" y="43"/>
                    </a:lnTo>
                    <a:lnTo>
                      <a:pt x="9" y="43"/>
                    </a:lnTo>
                    <a:lnTo>
                      <a:pt x="8" y="43"/>
                    </a:lnTo>
                    <a:lnTo>
                      <a:pt x="8" y="49"/>
                    </a:lnTo>
                    <a:lnTo>
                      <a:pt x="6" y="50"/>
                    </a:lnTo>
                    <a:lnTo>
                      <a:pt x="6" y="50"/>
                    </a:lnTo>
                    <a:lnTo>
                      <a:pt x="2" y="50"/>
                    </a:lnTo>
                    <a:lnTo>
                      <a:pt x="0" y="52"/>
                    </a:lnTo>
                    <a:lnTo>
                      <a:pt x="2" y="56"/>
                    </a:lnTo>
                    <a:lnTo>
                      <a:pt x="2" y="56"/>
                    </a:lnTo>
                    <a:lnTo>
                      <a:pt x="4" y="58"/>
                    </a:lnTo>
                    <a:lnTo>
                      <a:pt x="4" y="58"/>
                    </a:lnTo>
                    <a:lnTo>
                      <a:pt x="4" y="58"/>
                    </a:lnTo>
                    <a:lnTo>
                      <a:pt x="4" y="63"/>
                    </a:lnTo>
                    <a:lnTo>
                      <a:pt x="0" y="66"/>
                    </a:lnTo>
                    <a:lnTo>
                      <a:pt x="0" y="68"/>
                    </a:lnTo>
                    <a:lnTo>
                      <a:pt x="0" y="68"/>
                    </a:lnTo>
                    <a:lnTo>
                      <a:pt x="0" y="68"/>
                    </a:lnTo>
                    <a:lnTo>
                      <a:pt x="0" y="68"/>
                    </a:lnTo>
                    <a:lnTo>
                      <a:pt x="2" y="68"/>
                    </a:lnTo>
                    <a:lnTo>
                      <a:pt x="2" y="68"/>
                    </a:lnTo>
                    <a:lnTo>
                      <a:pt x="2" y="70"/>
                    </a:lnTo>
                    <a:lnTo>
                      <a:pt x="4" y="70"/>
                    </a:lnTo>
                    <a:lnTo>
                      <a:pt x="6" y="70"/>
                    </a:lnTo>
                    <a:lnTo>
                      <a:pt x="9" y="70"/>
                    </a:lnTo>
                    <a:lnTo>
                      <a:pt x="9" y="72"/>
                    </a:lnTo>
                    <a:lnTo>
                      <a:pt x="11" y="74"/>
                    </a:lnTo>
                    <a:lnTo>
                      <a:pt x="11" y="74"/>
                    </a:lnTo>
                    <a:lnTo>
                      <a:pt x="11" y="74"/>
                    </a:lnTo>
                    <a:lnTo>
                      <a:pt x="13" y="77"/>
                    </a:lnTo>
                    <a:lnTo>
                      <a:pt x="15" y="77"/>
                    </a:lnTo>
                    <a:lnTo>
                      <a:pt x="16" y="79"/>
                    </a:lnTo>
                    <a:lnTo>
                      <a:pt x="18" y="79"/>
                    </a:lnTo>
                    <a:lnTo>
                      <a:pt x="18" y="79"/>
                    </a:lnTo>
                    <a:lnTo>
                      <a:pt x="18" y="81"/>
                    </a:lnTo>
                    <a:lnTo>
                      <a:pt x="18" y="83"/>
                    </a:lnTo>
                    <a:lnTo>
                      <a:pt x="18" y="84"/>
                    </a:lnTo>
                    <a:lnTo>
                      <a:pt x="18" y="86"/>
                    </a:lnTo>
                    <a:lnTo>
                      <a:pt x="18" y="86"/>
                    </a:lnTo>
                    <a:lnTo>
                      <a:pt x="18" y="86"/>
                    </a:lnTo>
                    <a:lnTo>
                      <a:pt x="16" y="88"/>
                    </a:lnTo>
                    <a:lnTo>
                      <a:pt x="16" y="90"/>
                    </a:lnTo>
                    <a:lnTo>
                      <a:pt x="16" y="90"/>
                    </a:lnTo>
                    <a:lnTo>
                      <a:pt x="16" y="91"/>
                    </a:lnTo>
                    <a:lnTo>
                      <a:pt x="16" y="93"/>
                    </a:lnTo>
                    <a:lnTo>
                      <a:pt x="16" y="93"/>
                    </a:lnTo>
                    <a:lnTo>
                      <a:pt x="16" y="10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47" name="Freeform 2398"/>
              <p:cNvSpPr>
                <a:spLocks/>
              </p:cNvSpPr>
              <p:nvPr/>
            </p:nvSpPr>
            <p:spPr bwMode="auto">
              <a:xfrm>
                <a:off x="2693" y="2534"/>
                <a:ext cx="35" cy="82"/>
              </a:xfrm>
              <a:custGeom>
                <a:avLst/>
                <a:gdLst>
                  <a:gd name="T0" fmla="*/ 25 w 35"/>
                  <a:gd name="T1" fmla="*/ 82 h 82"/>
                  <a:gd name="T2" fmla="*/ 23 w 35"/>
                  <a:gd name="T3" fmla="*/ 82 h 82"/>
                  <a:gd name="T4" fmla="*/ 16 w 35"/>
                  <a:gd name="T5" fmla="*/ 73 h 82"/>
                  <a:gd name="T6" fmla="*/ 12 w 35"/>
                  <a:gd name="T7" fmla="*/ 27 h 82"/>
                  <a:gd name="T8" fmla="*/ 10 w 35"/>
                  <a:gd name="T9" fmla="*/ 27 h 82"/>
                  <a:gd name="T10" fmla="*/ 8 w 35"/>
                  <a:gd name="T11" fmla="*/ 16 h 82"/>
                  <a:gd name="T12" fmla="*/ 5 w 35"/>
                  <a:gd name="T13" fmla="*/ 9 h 82"/>
                  <a:gd name="T14" fmla="*/ 1 w 35"/>
                  <a:gd name="T15" fmla="*/ 9 h 82"/>
                  <a:gd name="T16" fmla="*/ 1 w 35"/>
                  <a:gd name="T17" fmla="*/ 7 h 82"/>
                  <a:gd name="T18" fmla="*/ 3 w 35"/>
                  <a:gd name="T19" fmla="*/ 6 h 82"/>
                  <a:gd name="T20" fmla="*/ 3 w 35"/>
                  <a:gd name="T21" fmla="*/ 4 h 82"/>
                  <a:gd name="T22" fmla="*/ 3 w 35"/>
                  <a:gd name="T23" fmla="*/ 2 h 82"/>
                  <a:gd name="T24" fmla="*/ 3 w 35"/>
                  <a:gd name="T25" fmla="*/ 2 h 82"/>
                  <a:gd name="T26" fmla="*/ 1 w 35"/>
                  <a:gd name="T27" fmla="*/ 2 h 82"/>
                  <a:gd name="T28" fmla="*/ 0 w 35"/>
                  <a:gd name="T29" fmla="*/ 0 h 82"/>
                  <a:gd name="T30" fmla="*/ 0 w 35"/>
                  <a:gd name="T31" fmla="*/ 0 h 82"/>
                  <a:gd name="T32" fmla="*/ 0 w 35"/>
                  <a:gd name="T33" fmla="*/ 0 h 82"/>
                  <a:gd name="T34" fmla="*/ 10 w 35"/>
                  <a:gd name="T35" fmla="*/ 2 h 82"/>
                  <a:gd name="T36" fmla="*/ 12 w 35"/>
                  <a:gd name="T37" fmla="*/ 4 h 82"/>
                  <a:gd name="T38" fmla="*/ 12 w 35"/>
                  <a:gd name="T39" fmla="*/ 4 h 82"/>
                  <a:gd name="T40" fmla="*/ 14 w 35"/>
                  <a:gd name="T41" fmla="*/ 2 h 82"/>
                  <a:gd name="T42" fmla="*/ 17 w 35"/>
                  <a:gd name="T43" fmla="*/ 2 h 82"/>
                  <a:gd name="T44" fmla="*/ 17 w 35"/>
                  <a:gd name="T45" fmla="*/ 2 h 82"/>
                  <a:gd name="T46" fmla="*/ 17 w 35"/>
                  <a:gd name="T47" fmla="*/ 4 h 82"/>
                  <a:gd name="T48" fmla="*/ 17 w 35"/>
                  <a:gd name="T49" fmla="*/ 6 h 82"/>
                  <a:gd name="T50" fmla="*/ 16 w 35"/>
                  <a:gd name="T51" fmla="*/ 7 h 82"/>
                  <a:gd name="T52" fmla="*/ 16 w 35"/>
                  <a:gd name="T53" fmla="*/ 11 h 82"/>
                  <a:gd name="T54" fmla="*/ 16 w 35"/>
                  <a:gd name="T55" fmla="*/ 13 h 82"/>
                  <a:gd name="T56" fmla="*/ 17 w 35"/>
                  <a:gd name="T57" fmla="*/ 15 h 82"/>
                  <a:gd name="T58" fmla="*/ 19 w 35"/>
                  <a:gd name="T59" fmla="*/ 15 h 82"/>
                  <a:gd name="T60" fmla="*/ 19 w 35"/>
                  <a:gd name="T61" fmla="*/ 15 h 82"/>
                  <a:gd name="T62" fmla="*/ 21 w 35"/>
                  <a:gd name="T63" fmla="*/ 16 h 82"/>
                  <a:gd name="T64" fmla="*/ 25 w 35"/>
                  <a:gd name="T65" fmla="*/ 20 h 82"/>
                  <a:gd name="T66" fmla="*/ 32 w 35"/>
                  <a:gd name="T67" fmla="*/ 77 h 82"/>
                  <a:gd name="T68" fmla="*/ 33 w 35"/>
                  <a:gd name="T69" fmla="*/ 79 h 82"/>
                  <a:gd name="T70" fmla="*/ 35 w 35"/>
                  <a:gd name="T71" fmla="*/ 79 h 82"/>
                  <a:gd name="T72" fmla="*/ 25 w 35"/>
                  <a:gd name="T7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 h="82">
                    <a:moveTo>
                      <a:pt x="25" y="82"/>
                    </a:moveTo>
                    <a:lnTo>
                      <a:pt x="23" y="82"/>
                    </a:lnTo>
                    <a:lnTo>
                      <a:pt x="16" y="73"/>
                    </a:lnTo>
                    <a:lnTo>
                      <a:pt x="12" y="27"/>
                    </a:lnTo>
                    <a:lnTo>
                      <a:pt x="10" y="27"/>
                    </a:lnTo>
                    <a:lnTo>
                      <a:pt x="8" y="16"/>
                    </a:lnTo>
                    <a:lnTo>
                      <a:pt x="5" y="9"/>
                    </a:lnTo>
                    <a:lnTo>
                      <a:pt x="1" y="9"/>
                    </a:lnTo>
                    <a:lnTo>
                      <a:pt x="1" y="7"/>
                    </a:lnTo>
                    <a:lnTo>
                      <a:pt x="3" y="6"/>
                    </a:lnTo>
                    <a:lnTo>
                      <a:pt x="3" y="4"/>
                    </a:lnTo>
                    <a:lnTo>
                      <a:pt x="3" y="2"/>
                    </a:lnTo>
                    <a:lnTo>
                      <a:pt x="3" y="2"/>
                    </a:lnTo>
                    <a:lnTo>
                      <a:pt x="1" y="2"/>
                    </a:lnTo>
                    <a:lnTo>
                      <a:pt x="0" y="0"/>
                    </a:lnTo>
                    <a:lnTo>
                      <a:pt x="0" y="0"/>
                    </a:lnTo>
                    <a:lnTo>
                      <a:pt x="0" y="0"/>
                    </a:lnTo>
                    <a:lnTo>
                      <a:pt x="10" y="2"/>
                    </a:lnTo>
                    <a:lnTo>
                      <a:pt x="12" y="4"/>
                    </a:lnTo>
                    <a:lnTo>
                      <a:pt x="12" y="4"/>
                    </a:lnTo>
                    <a:lnTo>
                      <a:pt x="14" y="2"/>
                    </a:lnTo>
                    <a:lnTo>
                      <a:pt x="17" y="2"/>
                    </a:lnTo>
                    <a:lnTo>
                      <a:pt x="17" y="2"/>
                    </a:lnTo>
                    <a:lnTo>
                      <a:pt x="17" y="4"/>
                    </a:lnTo>
                    <a:lnTo>
                      <a:pt x="17" y="6"/>
                    </a:lnTo>
                    <a:lnTo>
                      <a:pt x="16" y="7"/>
                    </a:lnTo>
                    <a:lnTo>
                      <a:pt x="16" y="11"/>
                    </a:lnTo>
                    <a:lnTo>
                      <a:pt x="16" y="13"/>
                    </a:lnTo>
                    <a:lnTo>
                      <a:pt x="17" y="15"/>
                    </a:lnTo>
                    <a:lnTo>
                      <a:pt x="19" y="15"/>
                    </a:lnTo>
                    <a:lnTo>
                      <a:pt x="19" y="15"/>
                    </a:lnTo>
                    <a:lnTo>
                      <a:pt x="21" y="16"/>
                    </a:lnTo>
                    <a:lnTo>
                      <a:pt x="25" y="20"/>
                    </a:lnTo>
                    <a:lnTo>
                      <a:pt x="32" y="77"/>
                    </a:lnTo>
                    <a:lnTo>
                      <a:pt x="33" y="79"/>
                    </a:lnTo>
                    <a:lnTo>
                      <a:pt x="35" y="79"/>
                    </a:lnTo>
                    <a:lnTo>
                      <a:pt x="25" y="8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48" name="Freeform 2399"/>
              <p:cNvSpPr>
                <a:spLocks/>
              </p:cNvSpPr>
              <p:nvPr/>
            </p:nvSpPr>
            <p:spPr bwMode="auto">
              <a:xfrm>
                <a:off x="2693" y="2534"/>
                <a:ext cx="35" cy="82"/>
              </a:xfrm>
              <a:custGeom>
                <a:avLst/>
                <a:gdLst>
                  <a:gd name="T0" fmla="*/ 25 w 35"/>
                  <a:gd name="T1" fmla="*/ 82 h 82"/>
                  <a:gd name="T2" fmla="*/ 23 w 35"/>
                  <a:gd name="T3" fmla="*/ 82 h 82"/>
                  <a:gd name="T4" fmla="*/ 16 w 35"/>
                  <a:gd name="T5" fmla="*/ 73 h 82"/>
                  <a:gd name="T6" fmla="*/ 12 w 35"/>
                  <a:gd name="T7" fmla="*/ 27 h 82"/>
                  <a:gd name="T8" fmla="*/ 10 w 35"/>
                  <a:gd name="T9" fmla="*/ 27 h 82"/>
                  <a:gd name="T10" fmla="*/ 8 w 35"/>
                  <a:gd name="T11" fmla="*/ 16 h 82"/>
                  <a:gd name="T12" fmla="*/ 5 w 35"/>
                  <a:gd name="T13" fmla="*/ 9 h 82"/>
                  <a:gd name="T14" fmla="*/ 1 w 35"/>
                  <a:gd name="T15" fmla="*/ 9 h 82"/>
                  <a:gd name="T16" fmla="*/ 1 w 35"/>
                  <a:gd name="T17" fmla="*/ 7 h 82"/>
                  <a:gd name="T18" fmla="*/ 3 w 35"/>
                  <a:gd name="T19" fmla="*/ 6 h 82"/>
                  <a:gd name="T20" fmla="*/ 3 w 35"/>
                  <a:gd name="T21" fmla="*/ 4 h 82"/>
                  <a:gd name="T22" fmla="*/ 3 w 35"/>
                  <a:gd name="T23" fmla="*/ 2 h 82"/>
                  <a:gd name="T24" fmla="*/ 3 w 35"/>
                  <a:gd name="T25" fmla="*/ 2 h 82"/>
                  <a:gd name="T26" fmla="*/ 1 w 35"/>
                  <a:gd name="T27" fmla="*/ 2 h 82"/>
                  <a:gd name="T28" fmla="*/ 0 w 35"/>
                  <a:gd name="T29" fmla="*/ 0 h 82"/>
                  <a:gd name="T30" fmla="*/ 0 w 35"/>
                  <a:gd name="T31" fmla="*/ 0 h 82"/>
                  <a:gd name="T32" fmla="*/ 0 w 35"/>
                  <a:gd name="T33" fmla="*/ 0 h 82"/>
                  <a:gd name="T34" fmla="*/ 10 w 35"/>
                  <a:gd name="T35" fmla="*/ 2 h 82"/>
                  <a:gd name="T36" fmla="*/ 12 w 35"/>
                  <a:gd name="T37" fmla="*/ 4 h 82"/>
                  <a:gd name="T38" fmla="*/ 12 w 35"/>
                  <a:gd name="T39" fmla="*/ 4 h 82"/>
                  <a:gd name="T40" fmla="*/ 14 w 35"/>
                  <a:gd name="T41" fmla="*/ 2 h 82"/>
                  <a:gd name="T42" fmla="*/ 17 w 35"/>
                  <a:gd name="T43" fmla="*/ 2 h 82"/>
                  <a:gd name="T44" fmla="*/ 17 w 35"/>
                  <a:gd name="T45" fmla="*/ 2 h 82"/>
                  <a:gd name="T46" fmla="*/ 17 w 35"/>
                  <a:gd name="T47" fmla="*/ 4 h 82"/>
                  <a:gd name="T48" fmla="*/ 17 w 35"/>
                  <a:gd name="T49" fmla="*/ 6 h 82"/>
                  <a:gd name="T50" fmla="*/ 16 w 35"/>
                  <a:gd name="T51" fmla="*/ 7 h 82"/>
                  <a:gd name="T52" fmla="*/ 16 w 35"/>
                  <a:gd name="T53" fmla="*/ 11 h 82"/>
                  <a:gd name="T54" fmla="*/ 16 w 35"/>
                  <a:gd name="T55" fmla="*/ 13 h 82"/>
                  <a:gd name="T56" fmla="*/ 17 w 35"/>
                  <a:gd name="T57" fmla="*/ 15 h 82"/>
                  <a:gd name="T58" fmla="*/ 19 w 35"/>
                  <a:gd name="T59" fmla="*/ 15 h 82"/>
                  <a:gd name="T60" fmla="*/ 19 w 35"/>
                  <a:gd name="T61" fmla="*/ 15 h 82"/>
                  <a:gd name="T62" fmla="*/ 21 w 35"/>
                  <a:gd name="T63" fmla="*/ 16 h 82"/>
                  <a:gd name="T64" fmla="*/ 25 w 35"/>
                  <a:gd name="T65" fmla="*/ 20 h 82"/>
                  <a:gd name="T66" fmla="*/ 32 w 35"/>
                  <a:gd name="T67" fmla="*/ 77 h 82"/>
                  <a:gd name="T68" fmla="*/ 33 w 35"/>
                  <a:gd name="T69" fmla="*/ 79 h 82"/>
                  <a:gd name="T70" fmla="*/ 35 w 35"/>
                  <a:gd name="T71" fmla="*/ 79 h 82"/>
                  <a:gd name="T72" fmla="*/ 25 w 35"/>
                  <a:gd name="T7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 h="82">
                    <a:moveTo>
                      <a:pt x="25" y="82"/>
                    </a:moveTo>
                    <a:lnTo>
                      <a:pt x="23" y="82"/>
                    </a:lnTo>
                    <a:lnTo>
                      <a:pt x="16" y="73"/>
                    </a:lnTo>
                    <a:lnTo>
                      <a:pt x="12" y="27"/>
                    </a:lnTo>
                    <a:lnTo>
                      <a:pt x="10" y="27"/>
                    </a:lnTo>
                    <a:lnTo>
                      <a:pt x="8" y="16"/>
                    </a:lnTo>
                    <a:lnTo>
                      <a:pt x="5" y="9"/>
                    </a:lnTo>
                    <a:lnTo>
                      <a:pt x="1" y="9"/>
                    </a:lnTo>
                    <a:lnTo>
                      <a:pt x="1" y="7"/>
                    </a:lnTo>
                    <a:lnTo>
                      <a:pt x="3" y="6"/>
                    </a:lnTo>
                    <a:lnTo>
                      <a:pt x="3" y="4"/>
                    </a:lnTo>
                    <a:lnTo>
                      <a:pt x="3" y="2"/>
                    </a:lnTo>
                    <a:lnTo>
                      <a:pt x="3" y="2"/>
                    </a:lnTo>
                    <a:lnTo>
                      <a:pt x="1" y="2"/>
                    </a:lnTo>
                    <a:lnTo>
                      <a:pt x="0" y="0"/>
                    </a:lnTo>
                    <a:lnTo>
                      <a:pt x="0" y="0"/>
                    </a:lnTo>
                    <a:lnTo>
                      <a:pt x="0" y="0"/>
                    </a:lnTo>
                    <a:lnTo>
                      <a:pt x="10" y="2"/>
                    </a:lnTo>
                    <a:lnTo>
                      <a:pt x="12" y="4"/>
                    </a:lnTo>
                    <a:lnTo>
                      <a:pt x="12" y="4"/>
                    </a:lnTo>
                    <a:lnTo>
                      <a:pt x="14" y="2"/>
                    </a:lnTo>
                    <a:lnTo>
                      <a:pt x="17" y="2"/>
                    </a:lnTo>
                    <a:lnTo>
                      <a:pt x="17" y="2"/>
                    </a:lnTo>
                    <a:lnTo>
                      <a:pt x="17" y="4"/>
                    </a:lnTo>
                    <a:lnTo>
                      <a:pt x="17" y="6"/>
                    </a:lnTo>
                    <a:lnTo>
                      <a:pt x="16" y="7"/>
                    </a:lnTo>
                    <a:lnTo>
                      <a:pt x="16" y="11"/>
                    </a:lnTo>
                    <a:lnTo>
                      <a:pt x="16" y="13"/>
                    </a:lnTo>
                    <a:lnTo>
                      <a:pt x="17" y="15"/>
                    </a:lnTo>
                    <a:lnTo>
                      <a:pt x="19" y="15"/>
                    </a:lnTo>
                    <a:lnTo>
                      <a:pt x="19" y="15"/>
                    </a:lnTo>
                    <a:lnTo>
                      <a:pt x="21" y="16"/>
                    </a:lnTo>
                    <a:lnTo>
                      <a:pt x="25" y="20"/>
                    </a:lnTo>
                    <a:lnTo>
                      <a:pt x="32" y="77"/>
                    </a:lnTo>
                    <a:lnTo>
                      <a:pt x="33" y="79"/>
                    </a:lnTo>
                    <a:lnTo>
                      <a:pt x="35" y="79"/>
                    </a:lnTo>
                    <a:lnTo>
                      <a:pt x="25" y="8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49" name="Freeform 2400"/>
              <p:cNvSpPr>
                <a:spLocks/>
              </p:cNvSpPr>
              <p:nvPr/>
            </p:nvSpPr>
            <p:spPr bwMode="auto">
              <a:xfrm>
                <a:off x="3353" y="2522"/>
                <a:ext cx="164" cy="218"/>
              </a:xfrm>
              <a:custGeom>
                <a:avLst/>
                <a:gdLst>
                  <a:gd name="T0" fmla="*/ 9 w 164"/>
                  <a:gd name="T1" fmla="*/ 216 h 218"/>
                  <a:gd name="T2" fmla="*/ 0 w 164"/>
                  <a:gd name="T3" fmla="*/ 146 h 218"/>
                  <a:gd name="T4" fmla="*/ 13 w 164"/>
                  <a:gd name="T5" fmla="*/ 130 h 218"/>
                  <a:gd name="T6" fmla="*/ 14 w 164"/>
                  <a:gd name="T7" fmla="*/ 127 h 218"/>
                  <a:gd name="T8" fmla="*/ 38 w 164"/>
                  <a:gd name="T9" fmla="*/ 116 h 218"/>
                  <a:gd name="T10" fmla="*/ 64 w 164"/>
                  <a:gd name="T11" fmla="*/ 110 h 218"/>
                  <a:gd name="T12" fmla="*/ 113 w 164"/>
                  <a:gd name="T13" fmla="*/ 62 h 218"/>
                  <a:gd name="T14" fmla="*/ 48 w 164"/>
                  <a:gd name="T15" fmla="*/ 46 h 218"/>
                  <a:gd name="T16" fmla="*/ 41 w 164"/>
                  <a:gd name="T17" fmla="*/ 39 h 218"/>
                  <a:gd name="T18" fmla="*/ 36 w 164"/>
                  <a:gd name="T19" fmla="*/ 35 h 218"/>
                  <a:gd name="T20" fmla="*/ 32 w 164"/>
                  <a:gd name="T21" fmla="*/ 30 h 218"/>
                  <a:gd name="T22" fmla="*/ 31 w 164"/>
                  <a:gd name="T23" fmla="*/ 27 h 218"/>
                  <a:gd name="T24" fmla="*/ 34 w 164"/>
                  <a:gd name="T25" fmla="*/ 9 h 218"/>
                  <a:gd name="T26" fmla="*/ 36 w 164"/>
                  <a:gd name="T27" fmla="*/ 9 h 218"/>
                  <a:gd name="T28" fmla="*/ 48 w 164"/>
                  <a:gd name="T29" fmla="*/ 21 h 218"/>
                  <a:gd name="T30" fmla="*/ 56 w 164"/>
                  <a:gd name="T31" fmla="*/ 25 h 218"/>
                  <a:gd name="T32" fmla="*/ 73 w 164"/>
                  <a:gd name="T33" fmla="*/ 19 h 218"/>
                  <a:gd name="T34" fmla="*/ 75 w 164"/>
                  <a:gd name="T35" fmla="*/ 18 h 218"/>
                  <a:gd name="T36" fmla="*/ 77 w 164"/>
                  <a:gd name="T37" fmla="*/ 18 h 218"/>
                  <a:gd name="T38" fmla="*/ 79 w 164"/>
                  <a:gd name="T39" fmla="*/ 19 h 218"/>
                  <a:gd name="T40" fmla="*/ 84 w 164"/>
                  <a:gd name="T41" fmla="*/ 19 h 218"/>
                  <a:gd name="T42" fmla="*/ 93 w 164"/>
                  <a:gd name="T43" fmla="*/ 18 h 218"/>
                  <a:gd name="T44" fmla="*/ 98 w 164"/>
                  <a:gd name="T45" fmla="*/ 14 h 218"/>
                  <a:gd name="T46" fmla="*/ 105 w 164"/>
                  <a:gd name="T47" fmla="*/ 14 h 218"/>
                  <a:gd name="T48" fmla="*/ 120 w 164"/>
                  <a:gd name="T49" fmla="*/ 10 h 218"/>
                  <a:gd name="T50" fmla="*/ 130 w 164"/>
                  <a:gd name="T51" fmla="*/ 9 h 218"/>
                  <a:gd name="T52" fmla="*/ 134 w 164"/>
                  <a:gd name="T53" fmla="*/ 9 h 218"/>
                  <a:gd name="T54" fmla="*/ 150 w 164"/>
                  <a:gd name="T55" fmla="*/ 3 h 218"/>
                  <a:gd name="T56" fmla="*/ 154 w 164"/>
                  <a:gd name="T57" fmla="*/ 0 h 218"/>
                  <a:gd name="T58" fmla="*/ 159 w 164"/>
                  <a:gd name="T59" fmla="*/ 3 h 218"/>
                  <a:gd name="T60" fmla="*/ 163 w 164"/>
                  <a:gd name="T61" fmla="*/ 3 h 218"/>
                  <a:gd name="T62" fmla="*/ 163 w 164"/>
                  <a:gd name="T63" fmla="*/ 7 h 218"/>
                  <a:gd name="T64" fmla="*/ 159 w 164"/>
                  <a:gd name="T65" fmla="*/ 10 h 218"/>
                  <a:gd name="T66" fmla="*/ 161 w 164"/>
                  <a:gd name="T67" fmla="*/ 14 h 218"/>
                  <a:gd name="T68" fmla="*/ 161 w 164"/>
                  <a:gd name="T69" fmla="*/ 18 h 218"/>
                  <a:gd name="T70" fmla="*/ 161 w 164"/>
                  <a:gd name="T71" fmla="*/ 23 h 218"/>
                  <a:gd name="T72" fmla="*/ 159 w 164"/>
                  <a:gd name="T73" fmla="*/ 25 h 218"/>
                  <a:gd name="T74" fmla="*/ 161 w 164"/>
                  <a:gd name="T75" fmla="*/ 25 h 218"/>
                  <a:gd name="T76" fmla="*/ 161 w 164"/>
                  <a:gd name="T77" fmla="*/ 25 h 218"/>
                  <a:gd name="T78" fmla="*/ 164 w 164"/>
                  <a:gd name="T79" fmla="*/ 25 h 218"/>
                  <a:gd name="T80" fmla="*/ 163 w 164"/>
                  <a:gd name="T81" fmla="*/ 27 h 218"/>
                  <a:gd name="T82" fmla="*/ 161 w 164"/>
                  <a:gd name="T83" fmla="*/ 27 h 218"/>
                  <a:gd name="T84" fmla="*/ 157 w 164"/>
                  <a:gd name="T85" fmla="*/ 27 h 218"/>
                  <a:gd name="T86" fmla="*/ 155 w 164"/>
                  <a:gd name="T87" fmla="*/ 41 h 218"/>
                  <a:gd name="T88" fmla="*/ 154 w 164"/>
                  <a:gd name="T89" fmla="*/ 46 h 218"/>
                  <a:gd name="T90" fmla="*/ 145 w 164"/>
                  <a:gd name="T91" fmla="*/ 60 h 218"/>
                  <a:gd name="T92" fmla="*/ 139 w 164"/>
                  <a:gd name="T93" fmla="*/ 66 h 218"/>
                  <a:gd name="T94" fmla="*/ 125 w 164"/>
                  <a:gd name="T95" fmla="*/ 102 h 218"/>
                  <a:gd name="T96" fmla="*/ 122 w 164"/>
                  <a:gd name="T97" fmla="*/ 103 h 218"/>
                  <a:gd name="T98" fmla="*/ 120 w 164"/>
                  <a:gd name="T99" fmla="*/ 105 h 218"/>
                  <a:gd name="T100" fmla="*/ 113 w 164"/>
                  <a:gd name="T101" fmla="*/ 114 h 218"/>
                  <a:gd name="T102" fmla="*/ 105 w 164"/>
                  <a:gd name="T103" fmla="*/ 127 h 218"/>
                  <a:gd name="T104" fmla="*/ 86 w 164"/>
                  <a:gd name="T105" fmla="*/ 144 h 218"/>
                  <a:gd name="T106" fmla="*/ 81 w 164"/>
                  <a:gd name="T107" fmla="*/ 153 h 218"/>
                  <a:gd name="T108" fmla="*/ 66 w 164"/>
                  <a:gd name="T109" fmla="*/ 160 h 218"/>
                  <a:gd name="T110" fmla="*/ 31 w 164"/>
                  <a:gd name="T111" fmla="*/ 193 h 218"/>
                  <a:gd name="T112" fmla="*/ 25 w 164"/>
                  <a:gd name="T113" fmla="*/ 193 h 218"/>
                  <a:gd name="T114" fmla="*/ 25 w 164"/>
                  <a:gd name="T115" fmla="*/ 194 h 218"/>
                  <a:gd name="T116" fmla="*/ 25 w 164"/>
                  <a:gd name="T117" fmla="*/ 196 h 218"/>
                  <a:gd name="T118" fmla="*/ 23 w 164"/>
                  <a:gd name="T119" fmla="*/ 200 h 218"/>
                  <a:gd name="T120" fmla="*/ 9 w 164"/>
                  <a:gd name="T12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4" h="218">
                    <a:moveTo>
                      <a:pt x="9" y="218"/>
                    </a:moveTo>
                    <a:lnTo>
                      <a:pt x="9" y="216"/>
                    </a:lnTo>
                    <a:lnTo>
                      <a:pt x="0" y="205"/>
                    </a:lnTo>
                    <a:lnTo>
                      <a:pt x="0" y="146"/>
                    </a:lnTo>
                    <a:lnTo>
                      <a:pt x="0" y="146"/>
                    </a:lnTo>
                    <a:lnTo>
                      <a:pt x="13" y="130"/>
                    </a:lnTo>
                    <a:lnTo>
                      <a:pt x="14" y="128"/>
                    </a:lnTo>
                    <a:lnTo>
                      <a:pt x="14" y="127"/>
                    </a:lnTo>
                    <a:lnTo>
                      <a:pt x="29" y="121"/>
                    </a:lnTo>
                    <a:lnTo>
                      <a:pt x="38" y="116"/>
                    </a:lnTo>
                    <a:lnTo>
                      <a:pt x="45" y="112"/>
                    </a:lnTo>
                    <a:lnTo>
                      <a:pt x="64" y="110"/>
                    </a:lnTo>
                    <a:lnTo>
                      <a:pt x="111" y="64"/>
                    </a:lnTo>
                    <a:lnTo>
                      <a:pt x="113" y="62"/>
                    </a:lnTo>
                    <a:lnTo>
                      <a:pt x="97" y="62"/>
                    </a:lnTo>
                    <a:lnTo>
                      <a:pt x="48" y="46"/>
                    </a:lnTo>
                    <a:lnTo>
                      <a:pt x="47" y="43"/>
                    </a:lnTo>
                    <a:lnTo>
                      <a:pt x="41" y="39"/>
                    </a:lnTo>
                    <a:lnTo>
                      <a:pt x="38" y="35"/>
                    </a:lnTo>
                    <a:lnTo>
                      <a:pt x="36" y="35"/>
                    </a:lnTo>
                    <a:lnTo>
                      <a:pt x="36" y="34"/>
                    </a:lnTo>
                    <a:lnTo>
                      <a:pt x="32" y="30"/>
                    </a:lnTo>
                    <a:lnTo>
                      <a:pt x="32" y="28"/>
                    </a:lnTo>
                    <a:lnTo>
                      <a:pt x="31" y="27"/>
                    </a:lnTo>
                    <a:lnTo>
                      <a:pt x="29" y="19"/>
                    </a:lnTo>
                    <a:lnTo>
                      <a:pt x="34" y="9"/>
                    </a:lnTo>
                    <a:lnTo>
                      <a:pt x="36" y="7"/>
                    </a:lnTo>
                    <a:lnTo>
                      <a:pt x="36" y="9"/>
                    </a:lnTo>
                    <a:lnTo>
                      <a:pt x="38" y="9"/>
                    </a:lnTo>
                    <a:lnTo>
                      <a:pt x="48" y="21"/>
                    </a:lnTo>
                    <a:lnTo>
                      <a:pt x="54" y="25"/>
                    </a:lnTo>
                    <a:lnTo>
                      <a:pt x="56" y="25"/>
                    </a:lnTo>
                    <a:lnTo>
                      <a:pt x="63" y="25"/>
                    </a:lnTo>
                    <a:lnTo>
                      <a:pt x="73" y="19"/>
                    </a:lnTo>
                    <a:lnTo>
                      <a:pt x="75" y="18"/>
                    </a:lnTo>
                    <a:lnTo>
                      <a:pt x="75" y="18"/>
                    </a:lnTo>
                    <a:lnTo>
                      <a:pt x="75" y="18"/>
                    </a:lnTo>
                    <a:lnTo>
                      <a:pt x="77" y="18"/>
                    </a:lnTo>
                    <a:lnTo>
                      <a:pt x="79" y="18"/>
                    </a:lnTo>
                    <a:lnTo>
                      <a:pt x="79" y="19"/>
                    </a:lnTo>
                    <a:lnTo>
                      <a:pt x="82" y="19"/>
                    </a:lnTo>
                    <a:lnTo>
                      <a:pt x="84" y="19"/>
                    </a:lnTo>
                    <a:lnTo>
                      <a:pt x="91" y="19"/>
                    </a:lnTo>
                    <a:lnTo>
                      <a:pt x="93" y="18"/>
                    </a:lnTo>
                    <a:lnTo>
                      <a:pt x="97" y="16"/>
                    </a:lnTo>
                    <a:lnTo>
                      <a:pt x="98" y="14"/>
                    </a:lnTo>
                    <a:lnTo>
                      <a:pt x="104" y="12"/>
                    </a:lnTo>
                    <a:lnTo>
                      <a:pt x="105" y="14"/>
                    </a:lnTo>
                    <a:lnTo>
                      <a:pt x="116" y="12"/>
                    </a:lnTo>
                    <a:lnTo>
                      <a:pt x="120" y="10"/>
                    </a:lnTo>
                    <a:lnTo>
                      <a:pt x="125" y="10"/>
                    </a:lnTo>
                    <a:lnTo>
                      <a:pt x="130" y="9"/>
                    </a:lnTo>
                    <a:lnTo>
                      <a:pt x="134" y="9"/>
                    </a:lnTo>
                    <a:lnTo>
                      <a:pt x="134" y="9"/>
                    </a:lnTo>
                    <a:lnTo>
                      <a:pt x="145" y="7"/>
                    </a:lnTo>
                    <a:lnTo>
                      <a:pt x="150" y="3"/>
                    </a:lnTo>
                    <a:lnTo>
                      <a:pt x="152" y="2"/>
                    </a:lnTo>
                    <a:lnTo>
                      <a:pt x="154" y="0"/>
                    </a:lnTo>
                    <a:lnTo>
                      <a:pt x="155" y="0"/>
                    </a:lnTo>
                    <a:lnTo>
                      <a:pt x="159" y="3"/>
                    </a:lnTo>
                    <a:lnTo>
                      <a:pt x="161" y="3"/>
                    </a:lnTo>
                    <a:lnTo>
                      <a:pt x="163" y="3"/>
                    </a:lnTo>
                    <a:lnTo>
                      <a:pt x="161" y="5"/>
                    </a:lnTo>
                    <a:lnTo>
                      <a:pt x="163" y="7"/>
                    </a:lnTo>
                    <a:lnTo>
                      <a:pt x="161" y="9"/>
                    </a:lnTo>
                    <a:lnTo>
                      <a:pt x="159" y="10"/>
                    </a:lnTo>
                    <a:lnTo>
                      <a:pt x="159" y="12"/>
                    </a:lnTo>
                    <a:lnTo>
                      <a:pt x="161" y="14"/>
                    </a:lnTo>
                    <a:lnTo>
                      <a:pt x="161" y="16"/>
                    </a:lnTo>
                    <a:lnTo>
                      <a:pt x="161" y="18"/>
                    </a:lnTo>
                    <a:lnTo>
                      <a:pt x="161" y="19"/>
                    </a:lnTo>
                    <a:lnTo>
                      <a:pt x="161" y="23"/>
                    </a:lnTo>
                    <a:lnTo>
                      <a:pt x="161" y="23"/>
                    </a:lnTo>
                    <a:lnTo>
                      <a:pt x="159" y="25"/>
                    </a:lnTo>
                    <a:lnTo>
                      <a:pt x="159" y="25"/>
                    </a:lnTo>
                    <a:lnTo>
                      <a:pt x="161" y="25"/>
                    </a:lnTo>
                    <a:lnTo>
                      <a:pt x="161" y="25"/>
                    </a:lnTo>
                    <a:lnTo>
                      <a:pt x="161" y="25"/>
                    </a:lnTo>
                    <a:lnTo>
                      <a:pt x="163" y="25"/>
                    </a:lnTo>
                    <a:lnTo>
                      <a:pt x="164" y="25"/>
                    </a:lnTo>
                    <a:lnTo>
                      <a:pt x="164" y="27"/>
                    </a:lnTo>
                    <a:lnTo>
                      <a:pt x="163" y="27"/>
                    </a:lnTo>
                    <a:lnTo>
                      <a:pt x="163" y="27"/>
                    </a:lnTo>
                    <a:lnTo>
                      <a:pt x="161" y="27"/>
                    </a:lnTo>
                    <a:lnTo>
                      <a:pt x="159" y="27"/>
                    </a:lnTo>
                    <a:lnTo>
                      <a:pt x="157" y="27"/>
                    </a:lnTo>
                    <a:lnTo>
                      <a:pt x="157" y="28"/>
                    </a:lnTo>
                    <a:lnTo>
                      <a:pt x="155" y="41"/>
                    </a:lnTo>
                    <a:lnTo>
                      <a:pt x="154" y="43"/>
                    </a:lnTo>
                    <a:lnTo>
                      <a:pt x="154" y="46"/>
                    </a:lnTo>
                    <a:lnTo>
                      <a:pt x="152" y="48"/>
                    </a:lnTo>
                    <a:lnTo>
                      <a:pt x="145" y="60"/>
                    </a:lnTo>
                    <a:lnTo>
                      <a:pt x="141" y="62"/>
                    </a:lnTo>
                    <a:lnTo>
                      <a:pt x="139" y="66"/>
                    </a:lnTo>
                    <a:lnTo>
                      <a:pt x="139" y="69"/>
                    </a:lnTo>
                    <a:lnTo>
                      <a:pt x="125" y="102"/>
                    </a:lnTo>
                    <a:lnTo>
                      <a:pt x="123" y="103"/>
                    </a:lnTo>
                    <a:lnTo>
                      <a:pt x="122" y="103"/>
                    </a:lnTo>
                    <a:lnTo>
                      <a:pt x="122" y="105"/>
                    </a:lnTo>
                    <a:lnTo>
                      <a:pt x="120" y="105"/>
                    </a:lnTo>
                    <a:lnTo>
                      <a:pt x="114" y="110"/>
                    </a:lnTo>
                    <a:lnTo>
                      <a:pt x="113" y="114"/>
                    </a:lnTo>
                    <a:lnTo>
                      <a:pt x="113" y="114"/>
                    </a:lnTo>
                    <a:lnTo>
                      <a:pt x="105" y="127"/>
                    </a:lnTo>
                    <a:lnTo>
                      <a:pt x="105" y="127"/>
                    </a:lnTo>
                    <a:lnTo>
                      <a:pt x="86" y="144"/>
                    </a:lnTo>
                    <a:lnTo>
                      <a:pt x="86" y="144"/>
                    </a:lnTo>
                    <a:lnTo>
                      <a:pt x="81" y="153"/>
                    </a:lnTo>
                    <a:lnTo>
                      <a:pt x="73" y="159"/>
                    </a:lnTo>
                    <a:lnTo>
                      <a:pt x="66" y="160"/>
                    </a:lnTo>
                    <a:lnTo>
                      <a:pt x="64" y="160"/>
                    </a:lnTo>
                    <a:lnTo>
                      <a:pt x="31" y="193"/>
                    </a:lnTo>
                    <a:lnTo>
                      <a:pt x="27" y="194"/>
                    </a:lnTo>
                    <a:lnTo>
                      <a:pt x="25" y="193"/>
                    </a:lnTo>
                    <a:lnTo>
                      <a:pt x="25" y="194"/>
                    </a:lnTo>
                    <a:lnTo>
                      <a:pt x="25" y="194"/>
                    </a:lnTo>
                    <a:lnTo>
                      <a:pt x="25" y="196"/>
                    </a:lnTo>
                    <a:lnTo>
                      <a:pt x="25" y="196"/>
                    </a:lnTo>
                    <a:lnTo>
                      <a:pt x="23" y="198"/>
                    </a:lnTo>
                    <a:lnTo>
                      <a:pt x="23" y="200"/>
                    </a:lnTo>
                    <a:lnTo>
                      <a:pt x="9" y="216"/>
                    </a:lnTo>
                    <a:lnTo>
                      <a:pt x="9" y="21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50" name="Freeform 2401"/>
              <p:cNvSpPr>
                <a:spLocks/>
              </p:cNvSpPr>
              <p:nvPr/>
            </p:nvSpPr>
            <p:spPr bwMode="auto">
              <a:xfrm>
                <a:off x="3353" y="2522"/>
                <a:ext cx="164" cy="218"/>
              </a:xfrm>
              <a:custGeom>
                <a:avLst/>
                <a:gdLst>
                  <a:gd name="T0" fmla="*/ 9 w 164"/>
                  <a:gd name="T1" fmla="*/ 216 h 218"/>
                  <a:gd name="T2" fmla="*/ 0 w 164"/>
                  <a:gd name="T3" fmla="*/ 146 h 218"/>
                  <a:gd name="T4" fmla="*/ 13 w 164"/>
                  <a:gd name="T5" fmla="*/ 130 h 218"/>
                  <a:gd name="T6" fmla="*/ 14 w 164"/>
                  <a:gd name="T7" fmla="*/ 127 h 218"/>
                  <a:gd name="T8" fmla="*/ 38 w 164"/>
                  <a:gd name="T9" fmla="*/ 116 h 218"/>
                  <a:gd name="T10" fmla="*/ 64 w 164"/>
                  <a:gd name="T11" fmla="*/ 110 h 218"/>
                  <a:gd name="T12" fmla="*/ 113 w 164"/>
                  <a:gd name="T13" fmla="*/ 62 h 218"/>
                  <a:gd name="T14" fmla="*/ 48 w 164"/>
                  <a:gd name="T15" fmla="*/ 46 h 218"/>
                  <a:gd name="T16" fmla="*/ 41 w 164"/>
                  <a:gd name="T17" fmla="*/ 39 h 218"/>
                  <a:gd name="T18" fmla="*/ 36 w 164"/>
                  <a:gd name="T19" fmla="*/ 35 h 218"/>
                  <a:gd name="T20" fmla="*/ 32 w 164"/>
                  <a:gd name="T21" fmla="*/ 30 h 218"/>
                  <a:gd name="T22" fmla="*/ 31 w 164"/>
                  <a:gd name="T23" fmla="*/ 27 h 218"/>
                  <a:gd name="T24" fmla="*/ 34 w 164"/>
                  <a:gd name="T25" fmla="*/ 9 h 218"/>
                  <a:gd name="T26" fmla="*/ 36 w 164"/>
                  <a:gd name="T27" fmla="*/ 9 h 218"/>
                  <a:gd name="T28" fmla="*/ 48 w 164"/>
                  <a:gd name="T29" fmla="*/ 21 h 218"/>
                  <a:gd name="T30" fmla="*/ 56 w 164"/>
                  <a:gd name="T31" fmla="*/ 25 h 218"/>
                  <a:gd name="T32" fmla="*/ 73 w 164"/>
                  <a:gd name="T33" fmla="*/ 19 h 218"/>
                  <a:gd name="T34" fmla="*/ 75 w 164"/>
                  <a:gd name="T35" fmla="*/ 18 h 218"/>
                  <a:gd name="T36" fmla="*/ 77 w 164"/>
                  <a:gd name="T37" fmla="*/ 18 h 218"/>
                  <a:gd name="T38" fmla="*/ 79 w 164"/>
                  <a:gd name="T39" fmla="*/ 19 h 218"/>
                  <a:gd name="T40" fmla="*/ 84 w 164"/>
                  <a:gd name="T41" fmla="*/ 19 h 218"/>
                  <a:gd name="T42" fmla="*/ 93 w 164"/>
                  <a:gd name="T43" fmla="*/ 18 h 218"/>
                  <a:gd name="T44" fmla="*/ 98 w 164"/>
                  <a:gd name="T45" fmla="*/ 14 h 218"/>
                  <a:gd name="T46" fmla="*/ 105 w 164"/>
                  <a:gd name="T47" fmla="*/ 14 h 218"/>
                  <a:gd name="T48" fmla="*/ 120 w 164"/>
                  <a:gd name="T49" fmla="*/ 10 h 218"/>
                  <a:gd name="T50" fmla="*/ 130 w 164"/>
                  <a:gd name="T51" fmla="*/ 9 h 218"/>
                  <a:gd name="T52" fmla="*/ 134 w 164"/>
                  <a:gd name="T53" fmla="*/ 9 h 218"/>
                  <a:gd name="T54" fmla="*/ 150 w 164"/>
                  <a:gd name="T55" fmla="*/ 3 h 218"/>
                  <a:gd name="T56" fmla="*/ 154 w 164"/>
                  <a:gd name="T57" fmla="*/ 0 h 218"/>
                  <a:gd name="T58" fmla="*/ 159 w 164"/>
                  <a:gd name="T59" fmla="*/ 3 h 218"/>
                  <a:gd name="T60" fmla="*/ 163 w 164"/>
                  <a:gd name="T61" fmla="*/ 3 h 218"/>
                  <a:gd name="T62" fmla="*/ 163 w 164"/>
                  <a:gd name="T63" fmla="*/ 7 h 218"/>
                  <a:gd name="T64" fmla="*/ 159 w 164"/>
                  <a:gd name="T65" fmla="*/ 10 h 218"/>
                  <a:gd name="T66" fmla="*/ 161 w 164"/>
                  <a:gd name="T67" fmla="*/ 14 h 218"/>
                  <a:gd name="T68" fmla="*/ 161 w 164"/>
                  <a:gd name="T69" fmla="*/ 18 h 218"/>
                  <a:gd name="T70" fmla="*/ 161 w 164"/>
                  <a:gd name="T71" fmla="*/ 23 h 218"/>
                  <a:gd name="T72" fmla="*/ 159 w 164"/>
                  <a:gd name="T73" fmla="*/ 25 h 218"/>
                  <a:gd name="T74" fmla="*/ 161 w 164"/>
                  <a:gd name="T75" fmla="*/ 25 h 218"/>
                  <a:gd name="T76" fmla="*/ 161 w 164"/>
                  <a:gd name="T77" fmla="*/ 25 h 218"/>
                  <a:gd name="T78" fmla="*/ 164 w 164"/>
                  <a:gd name="T79" fmla="*/ 25 h 218"/>
                  <a:gd name="T80" fmla="*/ 163 w 164"/>
                  <a:gd name="T81" fmla="*/ 27 h 218"/>
                  <a:gd name="T82" fmla="*/ 161 w 164"/>
                  <a:gd name="T83" fmla="*/ 27 h 218"/>
                  <a:gd name="T84" fmla="*/ 157 w 164"/>
                  <a:gd name="T85" fmla="*/ 27 h 218"/>
                  <a:gd name="T86" fmla="*/ 155 w 164"/>
                  <a:gd name="T87" fmla="*/ 41 h 218"/>
                  <a:gd name="T88" fmla="*/ 154 w 164"/>
                  <a:gd name="T89" fmla="*/ 46 h 218"/>
                  <a:gd name="T90" fmla="*/ 145 w 164"/>
                  <a:gd name="T91" fmla="*/ 60 h 218"/>
                  <a:gd name="T92" fmla="*/ 139 w 164"/>
                  <a:gd name="T93" fmla="*/ 66 h 218"/>
                  <a:gd name="T94" fmla="*/ 125 w 164"/>
                  <a:gd name="T95" fmla="*/ 102 h 218"/>
                  <a:gd name="T96" fmla="*/ 122 w 164"/>
                  <a:gd name="T97" fmla="*/ 103 h 218"/>
                  <a:gd name="T98" fmla="*/ 120 w 164"/>
                  <a:gd name="T99" fmla="*/ 105 h 218"/>
                  <a:gd name="T100" fmla="*/ 113 w 164"/>
                  <a:gd name="T101" fmla="*/ 114 h 218"/>
                  <a:gd name="T102" fmla="*/ 105 w 164"/>
                  <a:gd name="T103" fmla="*/ 127 h 218"/>
                  <a:gd name="T104" fmla="*/ 86 w 164"/>
                  <a:gd name="T105" fmla="*/ 144 h 218"/>
                  <a:gd name="T106" fmla="*/ 81 w 164"/>
                  <a:gd name="T107" fmla="*/ 153 h 218"/>
                  <a:gd name="T108" fmla="*/ 66 w 164"/>
                  <a:gd name="T109" fmla="*/ 160 h 218"/>
                  <a:gd name="T110" fmla="*/ 31 w 164"/>
                  <a:gd name="T111" fmla="*/ 193 h 218"/>
                  <a:gd name="T112" fmla="*/ 25 w 164"/>
                  <a:gd name="T113" fmla="*/ 193 h 218"/>
                  <a:gd name="T114" fmla="*/ 25 w 164"/>
                  <a:gd name="T115" fmla="*/ 194 h 218"/>
                  <a:gd name="T116" fmla="*/ 25 w 164"/>
                  <a:gd name="T117" fmla="*/ 196 h 218"/>
                  <a:gd name="T118" fmla="*/ 23 w 164"/>
                  <a:gd name="T119" fmla="*/ 200 h 218"/>
                  <a:gd name="T120" fmla="*/ 9 w 164"/>
                  <a:gd name="T121"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4" h="218">
                    <a:moveTo>
                      <a:pt x="9" y="218"/>
                    </a:moveTo>
                    <a:lnTo>
                      <a:pt x="9" y="216"/>
                    </a:lnTo>
                    <a:lnTo>
                      <a:pt x="0" y="205"/>
                    </a:lnTo>
                    <a:lnTo>
                      <a:pt x="0" y="146"/>
                    </a:lnTo>
                    <a:lnTo>
                      <a:pt x="0" y="146"/>
                    </a:lnTo>
                    <a:lnTo>
                      <a:pt x="13" y="130"/>
                    </a:lnTo>
                    <a:lnTo>
                      <a:pt x="14" y="128"/>
                    </a:lnTo>
                    <a:lnTo>
                      <a:pt x="14" y="127"/>
                    </a:lnTo>
                    <a:lnTo>
                      <a:pt x="29" y="121"/>
                    </a:lnTo>
                    <a:lnTo>
                      <a:pt x="38" y="116"/>
                    </a:lnTo>
                    <a:lnTo>
                      <a:pt x="45" y="112"/>
                    </a:lnTo>
                    <a:lnTo>
                      <a:pt x="64" y="110"/>
                    </a:lnTo>
                    <a:lnTo>
                      <a:pt x="111" y="64"/>
                    </a:lnTo>
                    <a:lnTo>
                      <a:pt x="113" y="62"/>
                    </a:lnTo>
                    <a:lnTo>
                      <a:pt x="97" y="62"/>
                    </a:lnTo>
                    <a:lnTo>
                      <a:pt x="48" y="46"/>
                    </a:lnTo>
                    <a:lnTo>
                      <a:pt x="47" y="43"/>
                    </a:lnTo>
                    <a:lnTo>
                      <a:pt x="41" y="39"/>
                    </a:lnTo>
                    <a:lnTo>
                      <a:pt x="38" y="35"/>
                    </a:lnTo>
                    <a:lnTo>
                      <a:pt x="36" y="35"/>
                    </a:lnTo>
                    <a:lnTo>
                      <a:pt x="36" y="34"/>
                    </a:lnTo>
                    <a:lnTo>
                      <a:pt x="32" y="30"/>
                    </a:lnTo>
                    <a:lnTo>
                      <a:pt x="32" y="28"/>
                    </a:lnTo>
                    <a:lnTo>
                      <a:pt x="31" y="27"/>
                    </a:lnTo>
                    <a:lnTo>
                      <a:pt x="29" y="19"/>
                    </a:lnTo>
                    <a:lnTo>
                      <a:pt x="34" y="9"/>
                    </a:lnTo>
                    <a:lnTo>
                      <a:pt x="36" y="7"/>
                    </a:lnTo>
                    <a:lnTo>
                      <a:pt x="36" y="9"/>
                    </a:lnTo>
                    <a:lnTo>
                      <a:pt x="38" y="9"/>
                    </a:lnTo>
                    <a:lnTo>
                      <a:pt x="48" y="21"/>
                    </a:lnTo>
                    <a:lnTo>
                      <a:pt x="54" y="25"/>
                    </a:lnTo>
                    <a:lnTo>
                      <a:pt x="56" y="25"/>
                    </a:lnTo>
                    <a:lnTo>
                      <a:pt x="63" y="25"/>
                    </a:lnTo>
                    <a:lnTo>
                      <a:pt x="73" y="19"/>
                    </a:lnTo>
                    <a:lnTo>
                      <a:pt x="75" y="18"/>
                    </a:lnTo>
                    <a:lnTo>
                      <a:pt x="75" y="18"/>
                    </a:lnTo>
                    <a:lnTo>
                      <a:pt x="75" y="18"/>
                    </a:lnTo>
                    <a:lnTo>
                      <a:pt x="77" y="18"/>
                    </a:lnTo>
                    <a:lnTo>
                      <a:pt x="79" y="18"/>
                    </a:lnTo>
                    <a:lnTo>
                      <a:pt x="79" y="19"/>
                    </a:lnTo>
                    <a:lnTo>
                      <a:pt x="82" y="19"/>
                    </a:lnTo>
                    <a:lnTo>
                      <a:pt x="84" y="19"/>
                    </a:lnTo>
                    <a:lnTo>
                      <a:pt x="91" y="19"/>
                    </a:lnTo>
                    <a:lnTo>
                      <a:pt x="93" y="18"/>
                    </a:lnTo>
                    <a:lnTo>
                      <a:pt x="97" y="16"/>
                    </a:lnTo>
                    <a:lnTo>
                      <a:pt x="98" y="14"/>
                    </a:lnTo>
                    <a:lnTo>
                      <a:pt x="104" y="12"/>
                    </a:lnTo>
                    <a:lnTo>
                      <a:pt x="105" y="14"/>
                    </a:lnTo>
                    <a:lnTo>
                      <a:pt x="116" y="12"/>
                    </a:lnTo>
                    <a:lnTo>
                      <a:pt x="120" y="10"/>
                    </a:lnTo>
                    <a:lnTo>
                      <a:pt x="125" y="10"/>
                    </a:lnTo>
                    <a:lnTo>
                      <a:pt x="130" y="9"/>
                    </a:lnTo>
                    <a:lnTo>
                      <a:pt x="134" y="9"/>
                    </a:lnTo>
                    <a:lnTo>
                      <a:pt x="134" y="9"/>
                    </a:lnTo>
                    <a:lnTo>
                      <a:pt x="145" y="7"/>
                    </a:lnTo>
                    <a:lnTo>
                      <a:pt x="150" y="3"/>
                    </a:lnTo>
                    <a:lnTo>
                      <a:pt x="152" y="2"/>
                    </a:lnTo>
                    <a:lnTo>
                      <a:pt x="154" y="0"/>
                    </a:lnTo>
                    <a:lnTo>
                      <a:pt x="155" y="0"/>
                    </a:lnTo>
                    <a:lnTo>
                      <a:pt x="159" y="3"/>
                    </a:lnTo>
                    <a:lnTo>
                      <a:pt x="161" y="3"/>
                    </a:lnTo>
                    <a:lnTo>
                      <a:pt x="163" y="3"/>
                    </a:lnTo>
                    <a:lnTo>
                      <a:pt x="161" y="5"/>
                    </a:lnTo>
                    <a:lnTo>
                      <a:pt x="163" y="7"/>
                    </a:lnTo>
                    <a:lnTo>
                      <a:pt x="161" y="9"/>
                    </a:lnTo>
                    <a:lnTo>
                      <a:pt x="159" y="10"/>
                    </a:lnTo>
                    <a:lnTo>
                      <a:pt x="159" y="12"/>
                    </a:lnTo>
                    <a:lnTo>
                      <a:pt x="161" y="14"/>
                    </a:lnTo>
                    <a:lnTo>
                      <a:pt x="161" y="16"/>
                    </a:lnTo>
                    <a:lnTo>
                      <a:pt x="161" y="18"/>
                    </a:lnTo>
                    <a:lnTo>
                      <a:pt x="161" y="19"/>
                    </a:lnTo>
                    <a:lnTo>
                      <a:pt x="161" y="23"/>
                    </a:lnTo>
                    <a:lnTo>
                      <a:pt x="161" y="23"/>
                    </a:lnTo>
                    <a:lnTo>
                      <a:pt x="159" y="25"/>
                    </a:lnTo>
                    <a:lnTo>
                      <a:pt x="159" y="25"/>
                    </a:lnTo>
                    <a:lnTo>
                      <a:pt x="161" y="25"/>
                    </a:lnTo>
                    <a:lnTo>
                      <a:pt x="161" y="25"/>
                    </a:lnTo>
                    <a:lnTo>
                      <a:pt x="161" y="25"/>
                    </a:lnTo>
                    <a:lnTo>
                      <a:pt x="163" y="25"/>
                    </a:lnTo>
                    <a:lnTo>
                      <a:pt x="164" y="25"/>
                    </a:lnTo>
                    <a:lnTo>
                      <a:pt x="164" y="27"/>
                    </a:lnTo>
                    <a:lnTo>
                      <a:pt x="163" y="27"/>
                    </a:lnTo>
                    <a:lnTo>
                      <a:pt x="163" y="27"/>
                    </a:lnTo>
                    <a:lnTo>
                      <a:pt x="161" y="27"/>
                    </a:lnTo>
                    <a:lnTo>
                      <a:pt x="159" y="27"/>
                    </a:lnTo>
                    <a:lnTo>
                      <a:pt x="157" y="27"/>
                    </a:lnTo>
                    <a:lnTo>
                      <a:pt x="157" y="28"/>
                    </a:lnTo>
                    <a:lnTo>
                      <a:pt x="155" y="41"/>
                    </a:lnTo>
                    <a:lnTo>
                      <a:pt x="154" y="43"/>
                    </a:lnTo>
                    <a:lnTo>
                      <a:pt x="154" y="46"/>
                    </a:lnTo>
                    <a:lnTo>
                      <a:pt x="152" y="48"/>
                    </a:lnTo>
                    <a:lnTo>
                      <a:pt x="145" y="60"/>
                    </a:lnTo>
                    <a:lnTo>
                      <a:pt x="141" y="62"/>
                    </a:lnTo>
                    <a:lnTo>
                      <a:pt x="139" y="66"/>
                    </a:lnTo>
                    <a:lnTo>
                      <a:pt x="139" y="69"/>
                    </a:lnTo>
                    <a:lnTo>
                      <a:pt x="125" y="102"/>
                    </a:lnTo>
                    <a:lnTo>
                      <a:pt x="123" y="103"/>
                    </a:lnTo>
                    <a:lnTo>
                      <a:pt x="122" y="103"/>
                    </a:lnTo>
                    <a:lnTo>
                      <a:pt x="122" y="105"/>
                    </a:lnTo>
                    <a:lnTo>
                      <a:pt x="120" y="105"/>
                    </a:lnTo>
                    <a:lnTo>
                      <a:pt x="114" y="110"/>
                    </a:lnTo>
                    <a:lnTo>
                      <a:pt x="113" y="114"/>
                    </a:lnTo>
                    <a:lnTo>
                      <a:pt x="113" y="114"/>
                    </a:lnTo>
                    <a:lnTo>
                      <a:pt x="105" y="127"/>
                    </a:lnTo>
                    <a:lnTo>
                      <a:pt x="105" y="127"/>
                    </a:lnTo>
                    <a:lnTo>
                      <a:pt x="86" y="144"/>
                    </a:lnTo>
                    <a:lnTo>
                      <a:pt x="86" y="144"/>
                    </a:lnTo>
                    <a:lnTo>
                      <a:pt x="81" y="153"/>
                    </a:lnTo>
                    <a:lnTo>
                      <a:pt x="73" y="159"/>
                    </a:lnTo>
                    <a:lnTo>
                      <a:pt x="66" y="160"/>
                    </a:lnTo>
                    <a:lnTo>
                      <a:pt x="64" y="160"/>
                    </a:lnTo>
                    <a:lnTo>
                      <a:pt x="31" y="193"/>
                    </a:lnTo>
                    <a:lnTo>
                      <a:pt x="27" y="194"/>
                    </a:lnTo>
                    <a:lnTo>
                      <a:pt x="25" y="193"/>
                    </a:lnTo>
                    <a:lnTo>
                      <a:pt x="25" y="194"/>
                    </a:lnTo>
                    <a:lnTo>
                      <a:pt x="25" y="194"/>
                    </a:lnTo>
                    <a:lnTo>
                      <a:pt x="25" y="196"/>
                    </a:lnTo>
                    <a:lnTo>
                      <a:pt x="25" y="196"/>
                    </a:lnTo>
                    <a:lnTo>
                      <a:pt x="23" y="198"/>
                    </a:lnTo>
                    <a:lnTo>
                      <a:pt x="23" y="200"/>
                    </a:lnTo>
                    <a:lnTo>
                      <a:pt x="9" y="216"/>
                    </a:lnTo>
                    <a:lnTo>
                      <a:pt x="9" y="21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51" name="Freeform 2402"/>
              <p:cNvSpPr>
                <a:spLocks/>
              </p:cNvSpPr>
              <p:nvPr/>
            </p:nvSpPr>
            <p:spPr bwMode="auto">
              <a:xfrm>
                <a:off x="3098" y="2963"/>
                <a:ext cx="127" cy="119"/>
              </a:xfrm>
              <a:custGeom>
                <a:avLst/>
                <a:gdLst>
                  <a:gd name="T0" fmla="*/ 59 w 127"/>
                  <a:gd name="T1" fmla="*/ 18 h 119"/>
                  <a:gd name="T2" fmla="*/ 59 w 127"/>
                  <a:gd name="T3" fmla="*/ 19 h 119"/>
                  <a:gd name="T4" fmla="*/ 57 w 127"/>
                  <a:gd name="T5" fmla="*/ 21 h 119"/>
                  <a:gd name="T6" fmla="*/ 53 w 127"/>
                  <a:gd name="T7" fmla="*/ 19 h 119"/>
                  <a:gd name="T8" fmla="*/ 52 w 127"/>
                  <a:gd name="T9" fmla="*/ 21 h 119"/>
                  <a:gd name="T10" fmla="*/ 50 w 127"/>
                  <a:gd name="T11" fmla="*/ 21 h 119"/>
                  <a:gd name="T12" fmla="*/ 48 w 127"/>
                  <a:gd name="T13" fmla="*/ 21 h 119"/>
                  <a:gd name="T14" fmla="*/ 46 w 127"/>
                  <a:gd name="T15" fmla="*/ 23 h 119"/>
                  <a:gd name="T16" fmla="*/ 46 w 127"/>
                  <a:gd name="T17" fmla="*/ 25 h 119"/>
                  <a:gd name="T18" fmla="*/ 46 w 127"/>
                  <a:gd name="T19" fmla="*/ 27 h 119"/>
                  <a:gd name="T20" fmla="*/ 43 w 127"/>
                  <a:gd name="T21" fmla="*/ 27 h 119"/>
                  <a:gd name="T22" fmla="*/ 41 w 127"/>
                  <a:gd name="T23" fmla="*/ 28 h 119"/>
                  <a:gd name="T24" fmla="*/ 39 w 127"/>
                  <a:gd name="T25" fmla="*/ 30 h 119"/>
                  <a:gd name="T26" fmla="*/ 36 w 127"/>
                  <a:gd name="T27" fmla="*/ 32 h 119"/>
                  <a:gd name="T28" fmla="*/ 34 w 127"/>
                  <a:gd name="T29" fmla="*/ 34 h 119"/>
                  <a:gd name="T30" fmla="*/ 30 w 127"/>
                  <a:gd name="T31" fmla="*/ 37 h 119"/>
                  <a:gd name="T32" fmla="*/ 28 w 127"/>
                  <a:gd name="T33" fmla="*/ 41 h 119"/>
                  <a:gd name="T34" fmla="*/ 23 w 127"/>
                  <a:gd name="T35" fmla="*/ 41 h 119"/>
                  <a:gd name="T36" fmla="*/ 21 w 127"/>
                  <a:gd name="T37" fmla="*/ 39 h 119"/>
                  <a:gd name="T38" fmla="*/ 18 w 127"/>
                  <a:gd name="T39" fmla="*/ 39 h 119"/>
                  <a:gd name="T40" fmla="*/ 12 w 127"/>
                  <a:gd name="T41" fmla="*/ 39 h 119"/>
                  <a:gd name="T42" fmla="*/ 3 w 127"/>
                  <a:gd name="T43" fmla="*/ 39 h 119"/>
                  <a:gd name="T44" fmla="*/ 0 w 127"/>
                  <a:gd name="T45" fmla="*/ 37 h 119"/>
                  <a:gd name="T46" fmla="*/ 5 w 127"/>
                  <a:gd name="T47" fmla="*/ 48 h 119"/>
                  <a:gd name="T48" fmla="*/ 9 w 127"/>
                  <a:gd name="T49" fmla="*/ 53 h 119"/>
                  <a:gd name="T50" fmla="*/ 28 w 127"/>
                  <a:gd name="T51" fmla="*/ 75 h 119"/>
                  <a:gd name="T52" fmla="*/ 34 w 127"/>
                  <a:gd name="T53" fmla="*/ 80 h 119"/>
                  <a:gd name="T54" fmla="*/ 41 w 127"/>
                  <a:gd name="T55" fmla="*/ 86 h 119"/>
                  <a:gd name="T56" fmla="*/ 44 w 127"/>
                  <a:gd name="T57" fmla="*/ 100 h 119"/>
                  <a:gd name="T58" fmla="*/ 57 w 127"/>
                  <a:gd name="T59" fmla="*/ 105 h 119"/>
                  <a:gd name="T60" fmla="*/ 71 w 127"/>
                  <a:gd name="T61" fmla="*/ 109 h 119"/>
                  <a:gd name="T62" fmla="*/ 91 w 127"/>
                  <a:gd name="T63" fmla="*/ 112 h 119"/>
                  <a:gd name="T64" fmla="*/ 102 w 127"/>
                  <a:gd name="T65" fmla="*/ 118 h 119"/>
                  <a:gd name="T66" fmla="*/ 103 w 127"/>
                  <a:gd name="T67" fmla="*/ 119 h 119"/>
                  <a:gd name="T68" fmla="*/ 103 w 127"/>
                  <a:gd name="T69" fmla="*/ 114 h 119"/>
                  <a:gd name="T70" fmla="*/ 105 w 127"/>
                  <a:gd name="T71" fmla="*/ 109 h 119"/>
                  <a:gd name="T72" fmla="*/ 123 w 127"/>
                  <a:gd name="T73" fmla="*/ 75 h 119"/>
                  <a:gd name="T74" fmla="*/ 125 w 127"/>
                  <a:gd name="T75" fmla="*/ 52 h 119"/>
                  <a:gd name="T76" fmla="*/ 123 w 127"/>
                  <a:gd name="T77" fmla="*/ 18 h 119"/>
                  <a:gd name="T78" fmla="*/ 94 w 127"/>
                  <a:gd name="T79" fmla="*/ 7 h 119"/>
                  <a:gd name="T80" fmla="*/ 82 w 127"/>
                  <a:gd name="T81" fmla="*/ 2 h 119"/>
                  <a:gd name="T82" fmla="*/ 80 w 127"/>
                  <a:gd name="T83" fmla="*/ 2 h 119"/>
                  <a:gd name="T84" fmla="*/ 77 w 127"/>
                  <a:gd name="T85" fmla="*/ 2 h 119"/>
                  <a:gd name="T86" fmla="*/ 73 w 127"/>
                  <a:gd name="T87" fmla="*/ 0 h 119"/>
                  <a:gd name="T88" fmla="*/ 64 w 127"/>
                  <a:gd name="T89" fmla="*/ 3 h 119"/>
                  <a:gd name="T90" fmla="*/ 59 w 127"/>
                  <a:gd name="T91" fmla="*/ 7 h 119"/>
                  <a:gd name="T92" fmla="*/ 57 w 127"/>
                  <a:gd name="T93" fmla="*/ 1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7" h="119">
                    <a:moveTo>
                      <a:pt x="57" y="16"/>
                    </a:moveTo>
                    <a:lnTo>
                      <a:pt x="59" y="18"/>
                    </a:lnTo>
                    <a:lnTo>
                      <a:pt x="61" y="19"/>
                    </a:lnTo>
                    <a:lnTo>
                      <a:pt x="59" y="19"/>
                    </a:lnTo>
                    <a:lnTo>
                      <a:pt x="57" y="21"/>
                    </a:lnTo>
                    <a:lnTo>
                      <a:pt x="57" y="21"/>
                    </a:lnTo>
                    <a:lnTo>
                      <a:pt x="53" y="19"/>
                    </a:lnTo>
                    <a:lnTo>
                      <a:pt x="53" y="19"/>
                    </a:lnTo>
                    <a:lnTo>
                      <a:pt x="52" y="21"/>
                    </a:lnTo>
                    <a:lnTo>
                      <a:pt x="52" y="21"/>
                    </a:lnTo>
                    <a:lnTo>
                      <a:pt x="50" y="21"/>
                    </a:lnTo>
                    <a:lnTo>
                      <a:pt x="50" y="21"/>
                    </a:lnTo>
                    <a:lnTo>
                      <a:pt x="50" y="21"/>
                    </a:lnTo>
                    <a:lnTo>
                      <a:pt x="48" y="21"/>
                    </a:lnTo>
                    <a:lnTo>
                      <a:pt x="46" y="23"/>
                    </a:lnTo>
                    <a:lnTo>
                      <a:pt x="46" y="23"/>
                    </a:lnTo>
                    <a:lnTo>
                      <a:pt x="46" y="25"/>
                    </a:lnTo>
                    <a:lnTo>
                      <a:pt x="46" y="25"/>
                    </a:lnTo>
                    <a:lnTo>
                      <a:pt x="46" y="25"/>
                    </a:lnTo>
                    <a:lnTo>
                      <a:pt x="46" y="27"/>
                    </a:lnTo>
                    <a:lnTo>
                      <a:pt x="44" y="25"/>
                    </a:lnTo>
                    <a:lnTo>
                      <a:pt x="43" y="27"/>
                    </a:lnTo>
                    <a:lnTo>
                      <a:pt x="41" y="27"/>
                    </a:lnTo>
                    <a:lnTo>
                      <a:pt x="41" y="28"/>
                    </a:lnTo>
                    <a:lnTo>
                      <a:pt x="39" y="28"/>
                    </a:lnTo>
                    <a:lnTo>
                      <a:pt x="39" y="30"/>
                    </a:lnTo>
                    <a:lnTo>
                      <a:pt x="37" y="32"/>
                    </a:lnTo>
                    <a:lnTo>
                      <a:pt x="36" y="32"/>
                    </a:lnTo>
                    <a:lnTo>
                      <a:pt x="36" y="34"/>
                    </a:lnTo>
                    <a:lnTo>
                      <a:pt x="34" y="34"/>
                    </a:lnTo>
                    <a:lnTo>
                      <a:pt x="34" y="37"/>
                    </a:lnTo>
                    <a:lnTo>
                      <a:pt x="30" y="37"/>
                    </a:lnTo>
                    <a:lnTo>
                      <a:pt x="30" y="37"/>
                    </a:lnTo>
                    <a:lnTo>
                      <a:pt x="28" y="41"/>
                    </a:lnTo>
                    <a:lnTo>
                      <a:pt x="27" y="41"/>
                    </a:lnTo>
                    <a:lnTo>
                      <a:pt x="23" y="41"/>
                    </a:lnTo>
                    <a:lnTo>
                      <a:pt x="23" y="41"/>
                    </a:lnTo>
                    <a:lnTo>
                      <a:pt x="21" y="39"/>
                    </a:lnTo>
                    <a:lnTo>
                      <a:pt x="21" y="39"/>
                    </a:lnTo>
                    <a:lnTo>
                      <a:pt x="18" y="39"/>
                    </a:lnTo>
                    <a:lnTo>
                      <a:pt x="18" y="39"/>
                    </a:lnTo>
                    <a:lnTo>
                      <a:pt x="12" y="39"/>
                    </a:lnTo>
                    <a:lnTo>
                      <a:pt x="9" y="37"/>
                    </a:lnTo>
                    <a:lnTo>
                      <a:pt x="3" y="39"/>
                    </a:lnTo>
                    <a:lnTo>
                      <a:pt x="2" y="37"/>
                    </a:lnTo>
                    <a:lnTo>
                      <a:pt x="0" y="37"/>
                    </a:lnTo>
                    <a:lnTo>
                      <a:pt x="0" y="39"/>
                    </a:lnTo>
                    <a:lnTo>
                      <a:pt x="5" y="48"/>
                    </a:lnTo>
                    <a:lnTo>
                      <a:pt x="9" y="52"/>
                    </a:lnTo>
                    <a:lnTo>
                      <a:pt x="9" y="53"/>
                    </a:lnTo>
                    <a:lnTo>
                      <a:pt x="23" y="73"/>
                    </a:lnTo>
                    <a:lnTo>
                      <a:pt x="28" y="75"/>
                    </a:lnTo>
                    <a:lnTo>
                      <a:pt x="32" y="77"/>
                    </a:lnTo>
                    <a:lnTo>
                      <a:pt x="34" y="80"/>
                    </a:lnTo>
                    <a:lnTo>
                      <a:pt x="39" y="82"/>
                    </a:lnTo>
                    <a:lnTo>
                      <a:pt x="41" y="86"/>
                    </a:lnTo>
                    <a:lnTo>
                      <a:pt x="43" y="96"/>
                    </a:lnTo>
                    <a:lnTo>
                      <a:pt x="44" y="100"/>
                    </a:lnTo>
                    <a:lnTo>
                      <a:pt x="50" y="105"/>
                    </a:lnTo>
                    <a:lnTo>
                      <a:pt x="57" y="105"/>
                    </a:lnTo>
                    <a:lnTo>
                      <a:pt x="68" y="111"/>
                    </a:lnTo>
                    <a:lnTo>
                      <a:pt x="71" y="109"/>
                    </a:lnTo>
                    <a:lnTo>
                      <a:pt x="80" y="112"/>
                    </a:lnTo>
                    <a:lnTo>
                      <a:pt x="91" y="112"/>
                    </a:lnTo>
                    <a:lnTo>
                      <a:pt x="96" y="114"/>
                    </a:lnTo>
                    <a:lnTo>
                      <a:pt x="102" y="118"/>
                    </a:lnTo>
                    <a:lnTo>
                      <a:pt x="102" y="119"/>
                    </a:lnTo>
                    <a:lnTo>
                      <a:pt x="103" y="119"/>
                    </a:lnTo>
                    <a:lnTo>
                      <a:pt x="103" y="119"/>
                    </a:lnTo>
                    <a:lnTo>
                      <a:pt x="103" y="114"/>
                    </a:lnTo>
                    <a:lnTo>
                      <a:pt x="103" y="111"/>
                    </a:lnTo>
                    <a:lnTo>
                      <a:pt x="105" y="109"/>
                    </a:lnTo>
                    <a:lnTo>
                      <a:pt x="111" y="103"/>
                    </a:lnTo>
                    <a:lnTo>
                      <a:pt x="123" y="75"/>
                    </a:lnTo>
                    <a:lnTo>
                      <a:pt x="121" y="57"/>
                    </a:lnTo>
                    <a:lnTo>
                      <a:pt x="125" y="52"/>
                    </a:lnTo>
                    <a:lnTo>
                      <a:pt x="127" y="32"/>
                    </a:lnTo>
                    <a:lnTo>
                      <a:pt x="123" y="18"/>
                    </a:lnTo>
                    <a:lnTo>
                      <a:pt x="121" y="16"/>
                    </a:lnTo>
                    <a:lnTo>
                      <a:pt x="94" y="7"/>
                    </a:lnTo>
                    <a:lnTo>
                      <a:pt x="82" y="7"/>
                    </a:lnTo>
                    <a:lnTo>
                      <a:pt x="82" y="2"/>
                    </a:lnTo>
                    <a:lnTo>
                      <a:pt x="82" y="2"/>
                    </a:lnTo>
                    <a:lnTo>
                      <a:pt x="80" y="2"/>
                    </a:lnTo>
                    <a:lnTo>
                      <a:pt x="78" y="2"/>
                    </a:lnTo>
                    <a:lnTo>
                      <a:pt x="77" y="2"/>
                    </a:lnTo>
                    <a:lnTo>
                      <a:pt x="75" y="2"/>
                    </a:lnTo>
                    <a:lnTo>
                      <a:pt x="73" y="0"/>
                    </a:lnTo>
                    <a:lnTo>
                      <a:pt x="69" y="2"/>
                    </a:lnTo>
                    <a:lnTo>
                      <a:pt x="64" y="3"/>
                    </a:lnTo>
                    <a:lnTo>
                      <a:pt x="61" y="5"/>
                    </a:lnTo>
                    <a:lnTo>
                      <a:pt x="59" y="7"/>
                    </a:lnTo>
                    <a:lnTo>
                      <a:pt x="57" y="7"/>
                    </a:lnTo>
                    <a:lnTo>
                      <a:pt x="57" y="1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52" name="Freeform 2403"/>
              <p:cNvSpPr>
                <a:spLocks/>
              </p:cNvSpPr>
              <p:nvPr/>
            </p:nvSpPr>
            <p:spPr bwMode="auto">
              <a:xfrm>
                <a:off x="3098" y="2963"/>
                <a:ext cx="127" cy="119"/>
              </a:xfrm>
              <a:custGeom>
                <a:avLst/>
                <a:gdLst>
                  <a:gd name="T0" fmla="*/ 59 w 127"/>
                  <a:gd name="T1" fmla="*/ 18 h 119"/>
                  <a:gd name="T2" fmla="*/ 59 w 127"/>
                  <a:gd name="T3" fmla="*/ 19 h 119"/>
                  <a:gd name="T4" fmla="*/ 57 w 127"/>
                  <a:gd name="T5" fmla="*/ 21 h 119"/>
                  <a:gd name="T6" fmla="*/ 53 w 127"/>
                  <a:gd name="T7" fmla="*/ 19 h 119"/>
                  <a:gd name="T8" fmla="*/ 52 w 127"/>
                  <a:gd name="T9" fmla="*/ 21 h 119"/>
                  <a:gd name="T10" fmla="*/ 50 w 127"/>
                  <a:gd name="T11" fmla="*/ 21 h 119"/>
                  <a:gd name="T12" fmla="*/ 48 w 127"/>
                  <a:gd name="T13" fmla="*/ 21 h 119"/>
                  <a:gd name="T14" fmla="*/ 46 w 127"/>
                  <a:gd name="T15" fmla="*/ 23 h 119"/>
                  <a:gd name="T16" fmla="*/ 46 w 127"/>
                  <a:gd name="T17" fmla="*/ 25 h 119"/>
                  <a:gd name="T18" fmla="*/ 46 w 127"/>
                  <a:gd name="T19" fmla="*/ 27 h 119"/>
                  <a:gd name="T20" fmla="*/ 43 w 127"/>
                  <a:gd name="T21" fmla="*/ 27 h 119"/>
                  <a:gd name="T22" fmla="*/ 41 w 127"/>
                  <a:gd name="T23" fmla="*/ 28 h 119"/>
                  <a:gd name="T24" fmla="*/ 39 w 127"/>
                  <a:gd name="T25" fmla="*/ 30 h 119"/>
                  <a:gd name="T26" fmla="*/ 36 w 127"/>
                  <a:gd name="T27" fmla="*/ 32 h 119"/>
                  <a:gd name="T28" fmla="*/ 34 w 127"/>
                  <a:gd name="T29" fmla="*/ 34 h 119"/>
                  <a:gd name="T30" fmla="*/ 30 w 127"/>
                  <a:gd name="T31" fmla="*/ 37 h 119"/>
                  <a:gd name="T32" fmla="*/ 28 w 127"/>
                  <a:gd name="T33" fmla="*/ 41 h 119"/>
                  <a:gd name="T34" fmla="*/ 23 w 127"/>
                  <a:gd name="T35" fmla="*/ 41 h 119"/>
                  <a:gd name="T36" fmla="*/ 21 w 127"/>
                  <a:gd name="T37" fmla="*/ 39 h 119"/>
                  <a:gd name="T38" fmla="*/ 18 w 127"/>
                  <a:gd name="T39" fmla="*/ 39 h 119"/>
                  <a:gd name="T40" fmla="*/ 12 w 127"/>
                  <a:gd name="T41" fmla="*/ 39 h 119"/>
                  <a:gd name="T42" fmla="*/ 3 w 127"/>
                  <a:gd name="T43" fmla="*/ 39 h 119"/>
                  <a:gd name="T44" fmla="*/ 0 w 127"/>
                  <a:gd name="T45" fmla="*/ 37 h 119"/>
                  <a:gd name="T46" fmla="*/ 5 w 127"/>
                  <a:gd name="T47" fmla="*/ 48 h 119"/>
                  <a:gd name="T48" fmla="*/ 9 w 127"/>
                  <a:gd name="T49" fmla="*/ 53 h 119"/>
                  <a:gd name="T50" fmla="*/ 28 w 127"/>
                  <a:gd name="T51" fmla="*/ 75 h 119"/>
                  <a:gd name="T52" fmla="*/ 34 w 127"/>
                  <a:gd name="T53" fmla="*/ 80 h 119"/>
                  <a:gd name="T54" fmla="*/ 41 w 127"/>
                  <a:gd name="T55" fmla="*/ 86 h 119"/>
                  <a:gd name="T56" fmla="*/ 44 w 127"/>
                  <a:gd name="T57" fmla="*/ 100 h 119"/>
                  <a:gd name="T58" fmla="*/ 57 w 127"/>
                  <a:gd name="T59" fmla="*/ 105 h 119"/>
                  <a:gd name="T60" fmla="*/ 71 w 127"/>
                  <a:gd name="T61" fmla="*/ 109 h 119"/>
                  <a:gd name="T62" fmla="*/ 91 w 127"/>
                  <a:gd name="T63" fmla="*/ 112 h 119"/>
                  <a:gd name="T64" fmla="*/ 102 w 127"/>
                  <a:gd name="T65" fmla="*/ 118 h 119"/>
                  <a:gd name="T66" fmla="*/ 103 w 127"/>
                  <a:gd name="T67" fmla="*/ 119 h 119"/>
                  <a:gd name="T68" fmla="*/ 103 w 127"/>
                  <a:gd name="T69" fmla="*/ 114 h 119"/>
                  <a:gd name="T70" fmla="*/ 105 w 127"/>
                  <a:gd name="T71" fmla="*/ 109 h 119"/>
                  <a:gd name="T72" fmla="*/ 123 w 127"/>
                  <a:gd name="T73" fmla="*/ 75 h 119"/>
                  <a:gd name="T74" fmla="*/ 125 w 127"/>
                  <a:gd name="T75" fmla="*/ 52 h 119"/>
                  <a:gd name="T76" fmla="*/ 123 w 127"/>
                  <a:gd name="T77" fmla="*/ 18 h 119"/>
                  <a:gd name="T78" fmla="*/ 94 w 127"/>
                  <a:gd name="T79" fmla="*/ 7 h 119"/>
                  <a:gd name="T80" fmla="*/ 82 w 127"/>
                  <a:gd name="T81" fmla="*/ 2 h 119"/>
                  <a:gd name="T82" fmla="*/ 80 w 127"/>
                  <a:gd name="T83" fmla="*/ 2 h 119"/>
                  <a:gd name="T84" fmla="*/ 77 w 127"/>
                  <a:gd name="T85" fmla="*/ 2 h 119"/>
                  <a:gd name="T86" fmla="*/ 73 w 127"/>
                  <a:gd name="T87" fmla="*/ 0 h 119"/>
                  <a:gd name="T88" fmla="*/ 64 w 127"/>
                  <a:gd name="T89" fmla="*/ 3 h 119"/>
                  <a:gd name="T90" fmla="*/ 59 w 127"/>
                  <a:gd name="T91" fmla="*/ 7 h 119"/>
                  <a:gd name="T92" fmla="*/ 57 w 127"/>
                  <a:gd name="T93" fmla="*/ 16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7" h="119">
                    <a:moveTo>
                      <a:pt x="57" y="16"/>
                    </a:moveTo>
                    <a:lnTo>
                      <a:pt x="59" y="18"/>
                    </a:lnTo>
                    <a:lnTo>
                      <a:pt x="61" y="19"/>
                    </a:lnTo>
                    <a:lnTo>
                      <a:pt x="59" y="19"/>
                    </a:lnTo>
                    <a:lnTo>
                      <a:pt x="57" y="21"/>
                    </a:lnTo>
                    <a:lnTo>
                      <a:pt x="57" y="21"/>
                    </a:lnTo>
                    <a:lnTo>
                      <a:pt x="53" y="19"/>
                    </a:lnTo>
                    <a:lnTo>
                      <a:pt x="53" y="19"/>
                    </a:lnTo>
                    <a:lnTo>
                      <a:pt x="52" y="21"/>
                    </a:lnTo>
                    <a:lnTo>
                      <a:pt x="52" y="21"/>
                    </a:lnTo>
                    <a:lnTo>
                      <a:pt x="50" y="21"/>
                    </a:lnTo>
                    <a:lnTo>
                      <a:pt x="50" y="21"/>
                    </a:lnTo>
                    <a:lnTo>
                      <a:pt x="50" y="21"/>
                    </a:lnTo>
                    <a:lnTo>
                      <a:pt x="48" y="21"/>
                    </a:lnTo>
                    <a:lnTo>
                      <a:pt x="46" y="23"/>
                    </a:lnTo>
                    <a:lnTo>
                      <a:pt x="46" y="23"/>
                    </a:lnTo>
                    <a:lnTo>
                      <a:pt x="46" y="25"/>
                    </a:lnTo>
                    <a:lnTo>
                      <a:pt x="46" y="25"/>
                    </a:lnTo>
                    <a:lnTo>
                      <a:pt x="46" y="25"/>
                    </a:lnTo>
                    <a:lnTo>
                      <a:pt x="46" y="27"/>
                    </a:lnTo>
                    <a:lnTo>
                      <a:pt x="44" y="25"/>
                    </a:lnTo>
                    <a:lnTo>
                      <a:pt x="43" y="27"/>
                    </a:lnTo>
                    <a:lnTo>
                      <a:pt x="41" y="27"/>
                    </a:lnTo>
                    <a:lnTo>
                      <a:pt x="41" y="28"/>
                    </a:lnTo>
                    <a:lnTo>
                      <a:pt x="39" y="28"/>
                    </a:lnTo>
                    <a:lnTo>
                      <a:pt x="39" y="30"/>
                    </a:lnTo>
                    <a:lnTo>
                      <a:pt x="37" y="32"/>
                    </a:lnTo>
                    <a:lnTo>
                      <a:pt x="36" y="32"/>
                    </a:lnTo>
                    <a:lnTo>
                      <a:pt x="36" y="34"/>
                    </a:lnTo>
                    <a:lnTo>
                      <a:pt x="34" y="34"/>
                    </a:lnTo>
                    <a:lnTo>
                      <a:pt x="34" y="37"/>
                    </a:lnTo>
                    <a:lnTo>
                      <a:pt x="30" y="37"/>
                    </a:lnTo>
                    <a:lnTo>
                      <a:pt x="30" y="37"/>
                    </a:lnTo>
                    <a:lnTo>
                      <a:pt x="28" y="41"/>
                    </a:lnTo>
                    <a:lnTo>
                      <a:pt x="27" y="41"/>
                    </a:lnTo>
                    <a:lnTo>
                      <a:pt x="23" y="41"/>
                    </a:lnTo>
                    <a:lnTo>
                      <a:pt x="23" y="41"/>
                    </a:lnTo>
                    <a:lnTo>
                      <a:pt x="21" y="39"/>
                    </a:lnTo>
                    <a:lnTo>
                      <a:pt x="21" y="39"/>
                    </a:lnTo>
                    <a:lnTo>
                      <a:pt x="18" y="39"/>
                    </a:lnTo>
                    <a:lnTo>
                      <a:pt x="18" y="39"/>
                    </a:lnTo>
                    <a:lnTo>
                      <a:pt x="12" y="39"/>
                    </a:lnTo>
                    <a:lnTo>
                      <a:pt x="9" y="37"/>
                    </a:lnTo>
                    <a:lnTo>
                      <a:pt x="3" y="39"/>
                    </a:lnTo>
                    <a:lnTo>
                      <a:pt x="2" y="37"/>
                    </a:lnTo>
                    <a:lnTo>
                      <a:pt x="0" y="37"/>
                    </a:lnTo>
                    <a:lnTo>
                      <a:pt x="0" y="39"/>
                    </a:lnTo>
                    <a:lnTo>
                      <a:pt x="5" y="48"/>
                    </a:lnTo>
                    <a:lnTo>
                      <a:pt x="9" y="52"/>
                    </a:lnTo>
                    <a:lnTo>
                      <a:pt x="9" y="53"/>
                    </a:lnTo>
                    <a:lnTo>
                      <a:pt x="23" y="73"/>
                    </a:lnTo>
                    <a:lnTo>
                      <a:pt x="28" y="75"/>
                    </a:lnTo>
                    <a:lnTo>
                      <a:pt x="32" y="77"/>
                    </a:lnTo>
                    <a:lnTo>
                      <a:pt x="34" y="80"/>
                    </a:lnTo>
                    <a:lnTo>
                      <a:pt x="39" y="82"/>
                    </a:lnTo>
                    <a:lnTo>
                      <a:pt x="41" y="86"/>
                    </a:lnTo>
                    <a:lnTo>
                      <a:pt x="43" y="96"/>
                    </a:lnTo>
                    <a:lnTo>
                      <a:pt x="44" y="100"/>
                    </a:lnTo>
                    <a:lnTo>
                      <a:pt x="50" y="105"/>
                    </a:lnTo>
                    <a:lnTo>
                      <a:pt x="57" y="105"/>
                    </a:lnTo>
                    <a:lnTo>
                      <a:pt x="68" y="111"/>
                    </a:lnTo>
                    <a:lnTo>
                      <a:pt x="71" y="109"/>
                    </a:lnTo>
                    <a:lnTo>
                      <a:pt x="80" y="112"/>
                    </a:lnTo>
                    <a:lnTo>
                      <a:pt x="91" y="112"/>
                    </a:lnTo>
                    <a:lnTo>
                      <a:pt x="96" y="114"/>
                    </a:lnTo>
                    <a:lnTo>
                      <a:pt x="102" y="118"/>
                    </a:lnTo>
                    <a:lnTo>
                      <a:pt x="102" y="119"/>
                    </a:lnTo>
                    <a:lnTo>
                      <a:pt x="103" y="119"/>
                    </a:lnTo>
                    <a:lnTo>
                      <a:pt x="103" y="119"/>
                    </a:lnTo>
                    <a:lnTo>
                      <a:pt x="103" y="114"/>
                    </a:lnTo>
                    <a:lnTo>
                      <a:pt x="103" y="111"/>
                    </a:lnTo>
                    <a:lnTo>
                      <a:pt x="105" y="109"/>
                    </a:lnTo>
                    <a:lnTo>
                      <a:pt x="111" y="103"/>
                    </a:lnTo>
                    <a:lnTo>
                      <a:pt x="123" y="75"/>
                    </a:lnTo>
                    <a:lnTo>
                      <a:pt x="121" y="57"/>
                    </a:lnTo>
                    <a:lnTo>
                      <a:pt x="125" y="52"/>
                    </a:lnTo>
                    <a:lnTo>
                      <a:pt x="127" y="32"/>
                    </a:lnTo>
                    <a:lnTo>
                      <a:pt x="123" y="18"/>
                    </a:lnTo>
                    <a:lnTo>
                      <a:pt x="121" y="16"/>
                    </a:lnTo>
                    <a:lnTo>
                      <a:pt x="94" y="7"/>
                    </a:lnTo>
                    <a:lnTo>
                      <a:pt x="82" y="7"/>
                    </a:lnTo>
                    <a:lnTo>
                      <a:pt x="82" y="2"/>
                    </a:lnTo>
                    <a:lnTo>
                      <a:pt x="82" y="2"/>
                    </a:lnTo>
                    <a:lnTo>
                      <a:pt x="80" y="2"/>
                    </a:lnTo>
                    <a:lnTo>
                      <a:pt x="78" y="2"/>
                    </a:lnTo>
                    <a:lnTo>
                      <a:pt x="77" y="2"/>
                    </a:lnTo>
                    <a:lnTo>
                      <a:pt x="75" y="2"/>
                    </a:lnTo>
                    <a:lnTo>
                      <a:pt x="73" y="0"/>
                    </a:lnTo>
                    <a:lnTo>
                      <a:pt x="69" y="2"/>
                    </a:lnTo>
                    <a:lnTo>
                      <a:pt x="64" y="3"/>
                    </a:lnTo>
                    <a:lnTo>
                      <a:pt x="61" y="5"/>
                    </a:lnTo>
                    <a:lnTo>
                      <a:pt x="59" y="7"/>
                    </a:lnTo>
                    <a:lnTo>
                      <a:pt x="57" y="7"/>
                    </a:lnTo>
                    <a:lnTo>
                      <a:pt x="57" y="1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53" name="Freeform 2404"/>
              <p:cNvSpPr>
                <a:spLocks/>
              </p:cNvSpPr>
              <p:nvPr/>
            </p:nvSpPr>
            <p:spPr bwMode="auto">
              <a:xfrm>
                <a:off x="2698" y="2327"/>
                <a:ext cx="253" cy="198"/>
              </a:xfrm>
              <a:custGeom>
                <a:avLst/>
                <a:gdLst>
                  <a:gd name="T0" fmla="*/ 64 w 253"/>
                  <a:gd name="T1" fmla="*/ 127 h 198"/>
                  <a:gd name="T2" fmla="*/ 61 w 253"/>
                  <a:gd name="T3" fmla="*/ 129 h 198"/>
                  <a:gd name="T4" fmla="*/ 59 w 253"/>
                  <a:gd name="T5" fmla="*/ 132 h 198"/>
                  <a:gd name="T6" fmla="*/ 53 w 253"/>
                  <a:gd name="T7" fmla="*/ 136 h 198"/>
                  <a:gd name="T8" fmla="*/ 46 w 253"/>
                  <a:gd name="T9" fmla="*/ 138 h 198"/>
                  <a:gd name="T10" fmla="*/ 45 w 253"/>
                  <a:gd name="T11" fmla="*/ 138 h 198"/>
                  <a:gd name="T12" fmla="*/ 12 w 253"/>
                  <a:gd name="T13" fmla="*/ 145 h 198"/>
                  <a:gd name="T14" fmla="*/ 0 w 253"/>
                  <a:gd name="T15" fmla="*/ 145 h 198"/>
                  <a:gd name="T16" fmla="*/ 0 w 253"/>
                  <a:gd name="T17" fmla="*/ 152 h 198"/>
                  <a:gd name="T18" fmla="*/ 3 w 253"/>
                  <a:gd name="T19" fmla="*/ 155 h 198"/>
                  <a:gd name="T20" fmla="*/ 3 w 253"/>
                  <a:gd name="T21" fmla="*/ 159 h 198"/>
                  <a:gd name="T22" fmla="*/ 20 w 253"/>
                  <a:gd name="T23" fmla="*/ 180 h 198"/>
                  <a:gd name="T24" fmla="*/ 27 w 253"/>
                  <a:gd name="T25" fmla="*/ 184 h 198"/>
                  <a:gd name="T26" fmla="*/ 28 w 253"/>
                  <a:gd name="T27" fmla="*/ 182 h 198"/>
                  <a:gd name="T28" fmla="*/ 32 w 253"/>
                  <a:gd name="T29" fmla="*/ 182 h 198"/>
                  <a:gd name="T30" fmla="*/ 34 w 253"/>
                  <a:gd name="T31" fmla="*/ 186 h 198"/>
                  <a:gd name="T32" fmla="*/ 32 w 253"/>
                  <a:gd name="T33" fmla="*/ 188 h 198"/>
                  <a:gd name="T34" fmla="*/ 32 w 253"/>
                  <a:gd name="T35" fmla="*/ 189 h 198"/>
                  <a:gd name="T36" fmla="*/ 39 w 253"/>
                  <a:gd name="T37" fmla="*/ 193 h 198"/>
                  <a:gd name="T38" fmla="*/ 36 w 253"/>
                  <a:gd name="T39" fmla="*/ 189 h 198"/>
                  <a:gd name="T40" fmla="*/ 43 w 253"/>
                  <a:gd name="T41" fmla="*/ 188 h 198"/>
                  <a:gd name="T42" fmla="*/ 55 w 253"/>
                  <a:gd name="T43" fmla="*/ 186 h 198"/>
                  <a:gd name="T44" fmla="*/ 57 w 253"/>
                  <a:gd name="T45" fmla="*/ 182 h 198"/>
                  <a:gd name="T46" fmla="*/ 61 w 253"/>
                  <a:gd name="T47" fmla="*/ 180 h 198"/>
                  <a:gd name="T48" fmla="*/ 70 w 253"/>
                  <a:gd name="T49" fmla="*/ 166 h 198"/>
                  <a:gd name="T50" fmla="*/ 100 w 253"/>
                  <a:gd name="T51" fmla="*/ 170 h 198"/>
                  <a:gd name="T52" fmla="*/ 109 w 253"/>
                  <a:gd name="T53" fmla="*/ 177 h 198"/>
                  <a:gd name="T54" fmla="*/ 114 w 253"/>
                  <a:gd name="T55" fmla="*/ 175 h 198"/>
                  <a:gd name="T56" fmla="*/ 125 w 253"/>
                  <a:gd name="T57" fmla="*/ 172 h 198"/>
                  <a:gd name="T58" fmla="*/ 148 w 253"/>
                  <a:gd name="T59" fmla="*/ 180 h 198"/>
                  <a:gd name="T60" fmla="*/ 162 w 253"/>
                  <a:gd name="T61" fmla="*/ 172 h 198"/>
                  <a:gd name="T62" fmla="*/ 193 w 253"/>
                  <a:gd name="T63" fmla="*/ 173 h 198"/>
                  <a:gd name="T64" fmla="*/ 198 w 253"/>
                  <a:gd name="T65" fmla="*/ 173 h 198"/>
                  <a:gd name="T66" fmla="*/ 200 w 253"/>
                  <a:gd name="T67" fmla="*/ 170 h 198"/>
                  <a:gd name="T68" fmla="*/ 203 w 253"/>
                  <a:gd name="T69" fmla="*/ 168 h 198"/>
                  <a:gd name="T70" fmla="*/ 207 w 253"/>
                  <a:gd name="T71" fmla="*/ 164 h 198"/>
                  <a:gd name="T72" fmla="*/ 209 w 253"/>
                  <a:gd name="T73" fmla="*/ 164 h 198"/>
                  <a:gd name="T74" fmla="*/ 207 w 253"/>
                  <a:gd name="T75" fmla="*/ 161 h 198"/>
                  <a:gd name="T76" fmla="*/ 207 w 253"/>
                  <a:gd name="T77" fmla="*/ 157 h 198"/>
                  <a:gd name="T78" fmla="*/ 211 w 253"/>
                  <a:gd name="T79" fmla="*/ 155 h 198"/>
                  <a:gd name="T80" fmla="*/ 212 w 253"/>
                  <a:gd name="T81" fmla="*/ 152 h 198"/>
                  <a:gd name="T82" fmla="*/ 216 w 253"/>
                  <a:gd name="T83" fmla="*/ 150 h 198"/>
                  <a:gd name="T84" fmla="*/ 218 w 253"/>
                  <a:gd name="T85" fmla="*/ 147 h 198"/>
                  <a:gd name="T86" fmla="*/ 244 w 253"/>
                  <a:gd name="T87" fmla="*/ 113 h 198"/>
                  <a:gd name="T88" fmla="*/ 253 w 253"/>
                  <a:gd name="T89" fmla="*/ 54 h 198"/>
                  <a:gd name="T90" fmla="*/ 243 w 253"/>
                  <a:gd name="T91" fmla="*/ 45 h 198"/>
                  <a:gd name="T92" fmla="*/ 241 w 253"/>
                  <a:gd name="T93" fmla="*/ 38 h 198"/>
                  <a:gd name="T94" fmla="*/ 239 w 253"/>
                  <a:gd name="T95" fmla="*/ 9 h 198"/>
                  <a:gd name="T96" fmla="*/ 230 w 253"/>
                  <a:gd name="T97" fmla="*/ 7 h 198"/>
                  <a:gd name="T98" fmla="*/ 225 w 253"/>
                  <a:gd name="T99" fmla="*/ 4 h 198"/>
                  <a:gd name="T100" fmla="*/ 187 w 253"/>
                  <a:gd name="T101" fmla="*/ 0 h 198"/>
                  <a:gd name="T102" fmla="*/ 64 w 253"/>
                  <a:gd name="T103" fmla="*/ 75 h 198"/>
                  <a:gd name="T104" fmla="*/ 64 w 253"/>
                  <a:gd name="T105" fmla="*/ 7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3" h="198">
                    <a:moveTo>
                      <a:pt x="64" y="79"/>
                    </a:moveTo>
                    <a:lnTo>
                      <a:pt x="64" y="127"/>
                    </a:lnTo>
                    <a:lnTo>
                      <a:pt x="62" y="127"/>
                    </a:lnTo>
                    <a:lnTo>
                      <a:pt x="61" y="129"/>
                    </a:lnTo>
                    <a:lnTo>
                      <a:pt x="59" y="130"/>
                    </a:lnTo>
                    <a:lnTo>
                      <a:pt x="59" y="132"/>
                    </a:lnTo>
                    <a:lnTo>
                      <a:pt x="55" y="134"/>
                    </a:lnTo>
                    <a:lnTo>
                      <a:pt x="53" y="136"/>
                    </a:lnTo>
                    <a:lnTo>
                      <a:pt x="53" y="138"/>
                    </a:lnTo>
                    <a:lnTo>
                      <a:pt x="46" y="138"/>
                    </a:lnTo>
                    <a:lnTo>
                      <a:pt x="46" y="139"/>
                    </a:lnTo>
                    <a:lnTo>
                      <a:pt x="45" y="138"/>
                    </a:lnTo>
                    <a:lnTo>
                      <a:pt x="20" y="139"/>
                    </a:lnTo>
                    <a:lnTo>
                      <a:pt x="12" y="145"/>
                    </a:lnTo>
                    <a:lnTo>
                      <a:pt x="2" y="145"/>
                    </a:lnTo>
                    <a:lnTo>
                      <a:pt x="0" y="145"/>
                    </a:lnTo>
                    <a:lnTo>
                      <a:pt x="0" y="148"/>
                    </a:lnTo>
                    <a:lnTo>
                      <a:pt x="0" y="152"/>
                    </a:lnTo>
                    <a:lnTo>
                      <a:pt x="0" y="152"/>
                    </a:lnTo>
                    <a:lnTo>
                      <a:pt x="3" y="155"/>
                    </a:lnTo>
                    <a:lnTo>
                      <a:pt x="3" y="155"/>
                    </a:lnTo>
                    <a:lnTo>
                      <a:pt x="3" y="159"/>
                    </a:lnTo>
                    <a:lnTo>
                      <a:pt x="3" y="161"/>
                    </a:lnTo>
                    <a:lnTo>
                      <a:pt x="20" y="180"/>
                    </a:lnTo>
                    <a:lnTo>
                      <a:pt x="25" y="184"/>
                    </a:lnTo>
                    <a:lnTo>
                      <a:pt x="27" y="184"/>
                    </a:lnTo>
                    <a:lnTo>
                      <a:pt x="28" y="182"/>
                    </a:lnTo>
                    <a:lnTo>
                      <a:pt x="28" y="182"/>
                    </a:lnTo>
                    <a:lnTo>
                      <a:pt x="30" y="180"/>
                    </a:lnTo>
                    <a:lnTo>
                      <a:pt x="32" y="182"/>
                    </a:lnTo>
                    <a:lnTo>
                      <a:pt x="34" y="186"/>
                    </a:lnTo>
                    <a:lnTo>
                      <a:pt x="34" y="186"/>
                    </a:lnTo>
                    <a:lnTo>
                      <a:pt x="32" y="186"/>
                    </a:lnTo>
                    <a:lnTo>
                      <a:pt x="32" y="188"/>
                    </a:lnTo>
                    <a:lnTo>
                      <a:pt x="32" y="188"/>
                    </a:lnTo>
                    <a:lnTo>
                      <a:pt x="32" y="189"/>
                    </a:lnTo>
                    <a:lnTo>
                      <a:pt x="36" y="195"/>
                    </a:lnTo>
                    <a:lnTo>
                      <a:pt x="39" y="193"/>
                    </a:lnTo>
                    <a:lnTo>
                      <a:pt x="37" y="191"/>
                    </a:lnTo>
                    <a:lnTo>
                      <a:pt x="36" y="189"/>
                    </a:lnTo>
                    <a:lnTo>
                      <a:pt x="41" y="188"/>
                    </a:lnTo>
                    <a:lnTo>
                      <a:pt x="43" y="188"/>
                    </a:lnTo>
                    <a:lnTo>
                      <a:pt x="55" y="198"/>
                    </a:lnTo>
                    <a:lnTo>
                      <a:pt x="55" y="186"/>
                    </a:lnTo>
                    <a:lnTo>
                      <a:pt x="57" y="184"/>
                    </a:lnTo>
                    <a:lnTo>
                      <a:pt x="57" y="182"/>
                    </a:lnTo>
                    <a:lnTo>
                      <a:pt x="59" y="182"/>
                    </a:lnTo>
                    <a:lnTo>
                      <a:pt x="61" y="180"/>
                    </a:lnTo>
                    <a:lnTo>
                      <a:pt x="64" y="170"/>
                    </a:lnTo>
                    <a:lnTo>
                      <a:pt x="70" y="166"/>
                    </a:lnTo>
                    <a:lnTo>
                      <a:pt x="89" y="164"/>
                    </a:lnTo>
                    <a:lnTo>
                      <a:pt x="100" y="170"/>
                    </a:lnTo>
                    <a:lnTo>
                      <a:pt x="109" y="177"/>
                    </a:lnTo>
                    <a:lnTo>
                      <a:pt x="109" y="177"/>
                    </a:lnTo>
                    <a:lnTo>
                      <a:pt x="112" y="177"/>
                    </a:lnTo>
                    <a:lnTo>
                      <a:pt x="114" y="175"/>
                    </a:lnTo>
                    <a:lnTo>
                      <a:pt x="121" y="172"/>
                    </a:lnTo>
                    <a:lnTo>
                      <a:pt x="125" y="172"/>
                    </a:lnTo>
                    <a:lnTo>
                      <a:pt x="137" y="179"/>
                    </a:lnTo>
                    <a:lnTo>
                      <a:pt x="148" y="180"/>
                    </a:lnTo>
                    <a:lnTo>
                      <a:pt x="152" y="180"/>
                    </a:lnTo>
                    <a:lnTo>
                      <a:pt x="162" y="172"/>
                    </a:lnTo>
                    <a:lnTo>
                      <a:pt x="184" y="170"/>
                    </a:lnTo>
                    <a:lnTo>
                      <a:pt x="193" y="173"/>
                    </a:lnTo>
                    <a:lnTo>
                      <a:pt x="196" y="173"/>
                    </a:lnTo>
                    <a:lnTo>
                      <a:pt x="198" y="173"/>
                    </a:lnTo>
                    <a:lnTo>
                      <a:pt x="200" y="170"/>
                    </a:lnTo>
                    <a:lnTo>
                      <a:pt x="200" y="170"/>
                    </a:lnTo>
                    <a:lnTo>
                      <a:pt x="202" y="168"/>
                    </a:lnTo>
                    <a:lnTo>
                      <a:pt x="203" y="168"/>
                    </a:lnTo>
                    <a:lnTo>
                      <a:pt x="207" y="168"/>
                    </a:lnTo>
                    <a:lnTo>
                      <a:pt x="207" y="164"/>
                    </a:lnTo>
                    <a:lnTo>
                      <a:pt x="209" y="164"/>
                    </a:lnTo>
                    <a:lnTo>
                      <a:pt x="209" y="164"/>
                    </a:lnTo>
                    <a:lnTo>
                      <a:pt x="207" y="163"/>
                    </a:lnTo>
                    <a:lnTo>
                      <a:pt x="207" y="161"/>
                    </a:lnTo>
                    <a:lnTo>
                      <a:pt x="207" y="159"/>
                    </a:lnTo>
                    <a:lnTo>
                      <a:pt x="207" y="157"/>
                    </a:lnTo>
                    <a:lnTo>
                      <a:pt x="209" y="155"/>
                    </a:lnTo>
                    <a:lnTo>
                      <a:pt x="211" y="155"/>
                    </a:lnTo>
                    <a:lnTo>
                      <a:pt x="212" y="155"/>
                    </a:lnTo>
                    <a:lnTo>
                      <a:pt x="212" y="152"/>
                    </a:lnTo>
                    <a:lnTo>
                      <a:pt x="212" y="150"/>
                    </a:lnTo>
                    <a:lnTo>
                      <a:pt x="216" y="150"/>
                    </a:lnTo>
                    <a:lnTo>
                      <a:pt x="216" y="147"/>
                    </a:lnTo>
                    <a:lnTo>
                      <a:pt x="218" y="147"/>
                    </a:lnTo>
                    <a:lnTo>
                      <a:pt x="218" y="143"/>
                    </a:lnTo>
                    <a:lnTo>
                      <a:pt x="244" y="113"/>
                    </a:lnTo>
                    <a:lnTo>
                      <a:pt x="250" y="61"/>
                    </a:lnTo>
                    <a:lnTo>
                      <a:pt x="253" y="54"/>
                    </a:lnTo>
                    <a:lnTo>
                      <a:pt x="244" y="48"/>
                    </a:lnTo>
                    <a:lnTo>
                      <a:pt x="243" y="45"/>
                    </a:lnTo>
                    <a:lnTo>
                      <a:pt x="241" y="39"/>
                    </a:lnTo>
                    <a:lnTo>
                      <a:pt x="241" y="38"/>
                    </a:lnTo>
                    <a:lnTo>
                      <a:pt x="239" y="34"/>
                    </a:lnTo>
                    <a:lnTo>
                      <a:pt x="239" y="9"/>
                    </a:lnTo>
                    <a:lnTo>
                      <a:pt x="234" y="11"/>
                    </a:lnTo>
                    <a:lnTo>
                      <a:pt x="230" y="7"/>
                    </a:lnTo>
                    <a:lnTo>
                      <a:pt x="227" y="4"/>
                    </a:lnTo>
                    <a:lnTo>
                      <a:pt x="225" y="4"/>
                    </a:lnTo>
                    <a:lnTo>
                      <a:pt x="223" y="2"/>
                    </a:lnTo>
                    <a:lnTo>
                      <a:pt x="187" y="0"/>
                    </a:lnTo>
                    <a:lnTo>
                      <a:pt x="89" y="68"/>
                    </a:lnTo>
                    <a:lnTo>
                      <a:pt x="64" y="75"/>
                    </a:lnTo>
                    <a:lnTo>
                      <a:pt x="64" y="75"/>
                    </a:lnTo>
                    <a:lnTo>
                      <a:pt x="64" y="75"/>
                    </a:lnTo>
                    <a:lnTo>
                      <a:pt x="64" y="7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54" name="Freeform 2405"/>
              <p:cNvSpPr>
                <a:spLocks/>
              </p:cNvSpPr>
              <p:nvPr/>
            </p:nvSpPr>
            <p:spPr bwMode="auto">
              <a:xfrm>
                <a:off x="2698" y="2327"/>
                <a:ext cx="253" cy="198"/>
              </a:xfrm>
              <a:custGeom>
                <a:avLst/>
                <a:gdLst>
                  <a:gd name="T0" fmla="*/ 64 w 253"/>
                  <a:gd name="T1" fmla="*/ 127 h 198"/>
                  <a:gd name="T2" fmla="*/ 61 w 253"/>
                  <a:gd name="T3" fmla="*/ 129 h 198"/>
                  <a:gd name="T4" fmla="*/ 59 w 253"/>
                  <a:gd name="T5" fmla="*/ 132 h 198"/>
                  <a:gd name="T6" fmla="*/ 53 w 253"/>
                  <a:gd name="T7" fmla="*/ 136 h 198"/>
                  <a:gd name="T8" fmla="*/ 46 w 253"/>
                  <a:gd name="T9" fmla="*/ 138 h 198"/>
                  <a:gd name="T10" fmla="*/ 45 w 253"/>
                  <a:gd name="T11" fmla="*/ 138 h 198"/>
                  <a:gd name="T12" fmla="*/ 12 w 253"/>
                  <a:gd name="T13" fmla="*/ 145 h 198"/>
                  <a:gd name="T14" fmla="*/ 0 w 253"/>
                  <a:gd name="T15" fmla="*/ 145 h 198"/>
                  <a:gd name="T16" fmla="*/ 0 w 253"/>
                  <a:gd name="T17" fmla="*/ 152 h 198"/>
                  <a:gd name="T18" fmla="*/ 3 w 253"/>
                  <a:gd name="T19" fmla="*/ 155 h 198"/>
                  <a:gd name="T20" fmla="*/ 3 w 253"/>
                  <a:gd name="T21" fmla="*/ 159 h 198"/>
                  <a:gd name="T22" fmla="*/ 20 w 253"/>
                  <a:gd name="T23" fmla="*/ 180 h 198"/>
                  <a:gd name="T24" fmla="*/ 27 w 253"/>
                  <a:gd name="T25" fmla="*/ 184 h 198"/>
                  <a:gd name="T26" fmla="*/ 28 w 253"/>
                  <a:gd name="T27" fmla="*/ 182 h 198"/>
                  <a:gd name="T28" fmla="*/ 32 w 253"/>
                  <a:gd name="T29" fmla="*/ 182 h 198"/>
                  <a:gd name="T30" fmla="*/ 34 w 253"/>
                  <a:gd name="T31" fmla="*/ 186 h 198"/>
                  <a:gd name="T32" fmla="*/ 32 w 253"/>
                  <a:gd name="T33" fmla="*/ 188 h 198"/>
                  <a:gd name="T34" fmla="*/ 32 w 253"/>
                  <a:gd name="T35" fmla="*/ 189 h 198"/>
                  <a:gd name="T36" fmla="*/ 39 w 253"/>
                  <a:gd name="T37" fmla="*/ 193 h 198"/>
                  <a:gd name="T38" fmla="*/ 36 w 253"/>
                  <a:gd name="T39" fmla="*/ 189 h 198"/>
                  <a:gd name="T40" fmla="*/ 43 w 253"/>
                  <a:gd name="T41" fmla="*/ 188 h 198"/>
                  <a:gd name="T42" fmla="*/ 55 w 253"/>
                  <a:gd name="T43" fmla="*/ 186 h 198"/>
                  <a:gd name="T44" fmla="*/ 57 w 253"/>
                  <a:gd name="T45" fmla="*/ 182 h 198"/>
                  <a:gd name="T46" fmla="*/ 61 w 253"/>
                  <a:gd name="T47" fmla="*/ 180 h 198"/>
                  <a:gd name="T48" fmla="*/ 70 w 253"/>
                  <a:gd name="T49" fmla="*/ 166 h 198"/>
                  <a:gd name="T50" fmla="*/ 100 w 253"/>
                  <a:gd name="T51" fmla="*/ 170 h 198"/>
                  <a:gd name="T52" fmla="*/ 109 w 253"/>
                  <a:gd name="T53" fmla="*/ 177 h 198"/>
                  <a:gd name="T54" fmla="*/ 114 w 253"/>
                  <a:gd name="T55" fmla="*/ 175 h 198"/>
                  <a:gd name="T56" fmla="*/ 125 w 253"/>
                  <a:gd name="T57" fmla="*/ 172 h 198"/>
                  <a:gd name="T58" fmla="*/ 148 w 253"/>
                  <a:gd name="T59" fmla="*/ 180 h 198"/>
                  <a:gd name="T60" fmla="*/ 162 w 253"/>
                  <a:gd name="T61" fmla="*/ 172 h 198"/>
                  <a:gd name="T62" fmla="*/ 193 w 253"/>
                  <a:gd name="T63" fmla="*/ 173 h 198"/>
                  <a:gd name="T64" fmla="*/ 198 w 253"/>
                  <a:gd name="T65" fmla="*/ 173 h 198"/>
                  <a:gd name="T66" fmla="*/ 200 w 253"/>
                  <a:gd name="T67" fmla="*/ 170 h 198"/>
                  <a:gd name="T68" fmla="*/ 203 w 253"/>
                  <a:gd name="T69" fmla="*/ 168 h 198"/>
                  <a:gd name="T70" fmla="*/ 207 w 253"/>
                  <a:gd name="T71" fmla="*/ 164 h 198"/>
                  <a:gd name="T72" fmla="*/ 209 w 253"/>
                  <a:gd name="T73" fmla="*/ 164 h 198"/>
                  <a:gd name="T74" fmla="*/ 207 w 253"/>
                  <a:gd name="T75" fmla="*/ 161 h 198"/>
                  <a:gd name="T76" fmla="*/ 207 w 253"/>
                  <a:gd name="T77" fmla="*/ 157 h 198"/>
                  <a:gd name="T78" fmla="*/ 211 w 253"/>
                  <a:gd name="T79" fmla="*/ 155 h 198"/>
                  <a:gd name="T80" fmla="*/ 212 w 253"/>
                  <a:gd name="T81" fmla="*/ 152 h 198"/>
                  <a:gd name="T82" fmla="*/ 216 w 253"/>
                  <a:gd name="T83" fmla="*/ 150 h 198"/>
                  <a:gd name="T84" fmla="*/ 218 w 253"/>
                  <a:gd name="T85" fmla="*/ 147 h 198"/>
                  <a:gd name="T86" fmla="*/ 244 w 253"/>
                  <a:gd name="T87" fmla="*/ 113 h 198"/>
                  <a:gd name="T88" fmla="*/ 253 w 253"/>
                  <a:gd name="T89" fmla="*/ 54 h 198"/>
                  <a:gd name="T90" fmla="*/ 243 w 253"/>
                  <a:gd name="T91" fmla="*/ 45 h 198"/>
                  <a:gd name="T92" fmla="*/ 241 w 253"/>
                  <a:gd name="T93" fmla="*/ 38 h 198"/>
                  <a:gd name="T94" fmla="*/ 239 w 253"/>
                  <a:gd name="T95" fmla="*/ 9 h 198"/>
                  <a:gd name="T96" fmla="*/ 230 w 253"/>
                  <a:gd name="T97" fmla="*/ 7 h 198"/>
                  <a:gd name="T98" fmla="*/ 225 w 253"/>
                  <a:gd name="T99" fmla="*/ 4 h 198"/>
                  <a:gd name="T100" fmla="*/ 187 w 253"/>
                  <a:gd name="T101" fmla="*/ 0 h 198"/>
                  <a:gd name="T102" fmla="*/ 64 w 253"/>
                  <a:gd name="T103" fmla="*/ 75 h 198"/>
                  <a:gd name="T104" fmla="*/ 64 w 253"/>
                  <a:gd name="T105" fmla="*/ 7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3" h="198">
                    <a:moveTo>
                      <a:pt x="64" y="79"/>
                    </a:moveTo>
                    <a:lnTo>
                      <a:pt x="64" y="127"/>
                    </a:lnTo>
                    <a:lnTo>
                      <a:pt x="62" y="127"/>
                    </a:lnTo>
                    <a:lnTo>
                      <a:pt x="61" y="129"/>
                    </a:lnTo>
                    <a:lnTo>
                      <a:pt x="59" y="130"/>
                    </a:lnTo>
                    <a:lnTo>
                      <a:pt x="59" y="132"/>
                    </a:lnTo>
                    <a:lnTo>
                      <a:pt x="55" y="134"/>
                    </a:lnTo>
                    <a:lnTo>
                      <a:pt x="53" y="136"/>
                    </a:lnTo>
                    <a:lnTo>
                      <a:pt x="53" y="138"/>
                    </a:lnTo>
                    <a:lnTo>
                      <a:pt x="46" y="138"/>
                    </a:lnTo>
                    <a:lnTo>
                      <a:pt x="46" y="139"/>
                    </a:lnTo>
                    <a:lnTo>
                      <a:pt x="45" y="138"/>
                    </a:lnTo>
                    <a:lnTo>
                      <a:pt x="20" y="139"/>
                    </a:lnTo>
                    <a:lnTo>
                      <a:pt x="12" y="145"/>
                    </a:lnTo>
                    <a:lnTo>
                      <a:pt x="2" y="145"/>
                    </a:lnTo>
                    <a:lnTo>
                      <a:pt x="0" y="145"/>
                    </a:lnTo>
                    <a:lnTo>
                      <a:pt x="0" y="148"/>
                    </a:lnTo>
                    <a:lnTo>
                      <a:pt x="0" y="152"/>
                    </a:lnTo>
                    <a:lnTo>
                      <a:pt x="0" y="152"/>
                    </a:lnTo>
                    <a:lnTo>
                      <a:pt x="3" y="155"/>
                    </a:lnTo>
                    <a:lnTo>
                      <a:pt x="3" y="155"/>
                    </a:lnTo>
                    <a:lnTo>
                      <a:pt x="3" y="159"/>
                    </a:lnTo>
                    <a:lnTo>
                      <a:pt x="3" y="161"/>
                    </a:lnTo>
                    <a:lnTo>
                      <a:pt x="20" y="180"/>
                    </a:lnTo>
                    <a:lnTo>
                      <a:pt x="25" y="184"/>
                    </a:lnTo>
                    <a:lnTo>
                      <a:pt x="27" y="184"/>
                    </a:lnTo>
                    <a:lnTo>
                      <a:pt x="28" y="182"/>
                    </a:lnTo>
                    <a:lnTo>
                      <a:pt x="28" y="182"/>
                    </a:lnTo>
                    <a:lnTo>
                      <a:pt x="30" y="180"/>
                    </a:lnTo>
                    <a:lnTo>
                      <a:pt x="32" y="182"/>
                    </a:lnTo>
                    <a:lnTo>
                      <a:pt x="34" y="186"/>
                    </a:lnTo>
                    <a:lnTo>
                      <a:pt x="34" y="186"/>
                    </a:lnTo>
                    <a:lnTo>
                      <a:pt x="32" y="186"/>
                    </a:lnTo>
                    <a:lnTo>
                      <a:pt x="32" y="188"/>
                    </a:lnTo>
                    <a:lnTo>
                      <a:pt x="32" y="188"/>
                    </a:lnTo>
                    <a:lnTo>
                      <a:pt x="32" y="189"/>
                    </a:lnTo>
                    <a:lnTo>
                      <a:pt x="36" y="195"/>
                    </a:lnTo>
                    <a:lnTo>
                      <a:pt x="39" y="193"/>
                    </a:lnTo>
                    <a:lnTo>
                      <a:pt x="37" y="191"/>
                    </a:lnTo>
                    <a:lnTo>
                      <a:pt x="36" y="189"/>
                    </a:lnTo>
                    <a:lnTo>
                      <a:pt x="41" y="188"/>
                    </a:lnTo>
                    <a:lnTo>
                      <a:pt x="43" y="188"/>
                    </a:lnTo>
                    <a:lnTo>
                      <a:pt x="55" y="198"/>
                    </a:lnTo>
                    <a:lnTo>
                      <a:pt x="55" y="186"/>
                    </a:lnTo>
                    <a:lnTo>
                      <a:pt x="57" y="184"/>
                    </a:lnTo>
                    <a:lnTo>
                      <a:pt x="57" y="182"/>
                    </a:lnTo>
                    <a:lnTo>
                      <a:pt x="59" y="182"/>
                    </a:lnTo>
                    <a:lnTo>
                      <a:pt x="61" y="180"/>
                    </a:lnTo>
                    <a:lnTo>
                      <a:pt x="64" y="170"/>
                    </a:lnTo>
                    <a:lnTo>
                      <a:pt x="70" y="166"/>
                    </a:lnTo>
                    <a:lnTo>
                      <a:pt x="89" y="164"/>
                    </a:lnTo>
                    <a:lnTo>
                      <a:pt x="100" y="170"/>
                    </a:lnTo>
                    <a:lnTo>
                      <a:pt x="109" y="177"/>
                    </a:lnTo>
                    <a:lnTo>
                      <a:pt x="109" y="177"/>
                    </a:lnTo>
                    <a:lnTo>
                      <a:pt x="112" y="177"/>
                    </a:lnTo>
                    <a:lnTo>
                      <a:pt x="114" y="175"/>
                    </a:lnTo>
                    <a:lnTo>
                      <a:pt x="121" y="172"/>
                    </a:lnTo>
                    <a:lnTo>
                      <a:pt x="125" y="172"/>
                    </a:lnTo>
                    <a:lnTo>
                      <a:pt x="137" y="179"/>
                    </a:lnTo>
                    <a:lnTo>
                      <a:pt x="148" y="180"/>
                    </a:lnTo>
                    <a:lnTo>
                      <a:pt x="152" y="180"/>
                    </a:lnTo>
                    <a:lnTo>
                      <a:pt x="162" y="172"/>
                    </a:lnTo>
                    <a:lnTo>
                      <a:pt x="184" y="170"/>
                    </a:lnTo>
                    <a:lnTo>
                      <a:pt x="193" y="173"/>
                    </a:lnTo>
                    <a:lnTo>
                      <a:pt x="196" y="173"/>
                    </a:lnTo>
                    <a:lnTo>
                      <a:pt x="198" y="173"/>
                    </a:lnTo>
                    <a:lnTo>
                      <a:pt x="200" y="170"/>
                    </a:lnTo>
                    <a:lnTo>
                      <a:pt x="200" y="170"/>
                    </a:lnTo>
                    <a:lnTo>
                      <a:pt x="202" y="168"/>
                    </a:lnTo>
                    <a:lnTo>
                      <a:pt x="203" y="168"/>
                    </a:lnTo>
                    <a:lnTo>
                      <a:pt x="207" y="168"/>
                    </a:lnTo>
                    <a:lnTo>
                      <a:pt x="207" y="164"/>
                    </a:lnTo>
                    <a:lnTo>
                      <a:pt x="209" y="164"/>
                    </a:lnTo>
                    <a:lnTo>
                      <a:pt x="209" y="164"/>
                    </a:lnTo>
                    <a:lnTo>
                      <a:pt x="207" y="163"/>
                    </a:lnTo>
                    <a:lnTo>
                      <a:pt x="207" y="161"/>
                    </a:lnTo>
                    <a:lnTo>
                      <a:pt x="207" y="159"/>
                    </a:lnTo>
                    <a:lnTo>
                      <a:pt x="207" y="157"/>
                    </a:lnTo>
                    <a:lnTo>
                      <a:pt x="209" y="155"/>
                    </a:lnTo>
                    <a:lnTo>
                      <a:pt x="211" y="155"/>
                    </a:lnTo>
                    <a:lnTo>
                      <a:pt x="212" y="155"/>
                    </a:lnTo>
                    <a:lnTo>
                      <a:pt x="212" y="152"/>
                    </a:lnTo>
                    <a:lnTo>
                      <a:pt x="212" y="150"/>
                    </a:lnTo>
                    <a:lnTo>
                      <a:pt x="216" y="150"/>
                    </a:lnTo>
                    <a:lnTo>
                      <a:pt x="216" y="147"/>
                    </a:lnTo>
                    <a:lnTo>
                      <a:pt x="218" y="147"/>
                    </a:lnTo>
                    <a:lnTo>
                      <a:pt x="218" y="143"/>
                    </a:lnTo>
                    <a:lnTo>
                      <a:pt x="244" y="113"/>
                    </a:lnTo>
                    <a:lnTo>
                      <a:pt x="250" y="61"/>
                    </a:lnTo>
                    <a:lnTo>
                      <a:pt x="253" y="54"/>
                    </a:lnTo>
                    <a:lnTo>
                      <a:pt x="244" y="48"/>
                    </a:lnTo>
                    <a:lnTo>
                      <a:pt x="243" y="45"/>
                    </a:lnTo>
                    <a:lnTo>
                      <a:pt x="241" y="39"/>
                    </a:lnTo>
                    <a:lnTo>
                      <a:pt x="241" y="38"/>
                    </a:lnTo>
                    <a:lnTo>
                      <a:pt x="239" y="34"/>
                    </a:lnTo>
                    <a:lnTo>
                      <a:pt x="239" y="9"/>
                    </a:lnTo>
                    <a:lnTo>
                      <a:pt x="234" y="11"/>
                    </a:lnTo>
                    <a:lnTo>
                      <a:pt x="230" y="7"/>
                    </a:lnTo>
                    <a:lnTo>
                      <a:pt x="227" y="4"/>
                    </a:lnTo>
                    <a:lnTo>
                      <a:pt x="225" y="4"/>
                    </a:lnTo>
                    <a:lnTo>
                      <a:pt x="223" y="2"/>
                    </a:lnTo>
                    <a:lnTo>
                      <a:pt x="187" y="0"/>
                    </a:lnTo>
                    <a:lnTo>
                      <a:pt x="89" y="68"/>
                    </a:lnTo>
                    <a:lnTo>
                      <a:pt x="64" y="75"/>
                    </a:lnTo>
                    <a:lnTo>
                      <a:pt x="64" y="75"/>
                    </a:lnTo>
                    <a:lnTo>
                      <a:pt x="64" y="75"/>
                    </a:lnTo>
                    <a:lnTo>
                      <a:pt x="64" y="7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55" name="Freeform 2406"/>
              <p:cNvSpPr>
                <a:spLocks/>
              </p:cNvSpPr>
              <p:nvPr/>
            </p:nvSpPr>
            <p:spPr bwMode="auto">
              <a:xfrm>
                <a:off x="3576" y="3052"/>
                <a:ext cx="11" cy="9"/>
              </a:xfrm>
              <a:custGeom>
                <a:avLst/>
                <a:gdLst>
                  <a:gd name="T0" fmla="*/ 2 w 11"/>
                  <a:gd name="T1" fmla="*/ 2 h 9"/>
                  <a:gd name="T2" fmla="*/ 0 w 11"/>
                  <a:gd name="T3" fmla="*/ 2 h 9"/>
                  <a:gd name="T4" fmla="*/ 7 w 11"/>
                  <a:gd name="T5" fmla="*/ 0 h 9"/>
                  <a:gd name="T6" fmla="*/ 9 w 11"/>
                  <a:gd name="T7" fmla="*/ 2 h 9"/>
                  <a:gd name="T8" fmla="*/ 11 w 11"/>
                  <a:gd name="T9" fmla="*/ 5 h 9"/>
                  <a:gd name="T10" fmla="*/ 11 w 11"/>
                  <a:gd name="T11" fmla="*/ 9 h 9"/>
                  <a:gd name="T12" fmla="*/ 7 w 11"/>
                  <a:gd name="T13" fmla="*/ 9 h 9"/>
                  <a:gd name="T14" fmla="*/ 6 w 11"/>
                  <a:gd name="T15" fmla="*/ 7 h 9"/>
                  <a:gd name="T16" fmla="*/ 4 w 11"/>
                  <a:gd name="T17" fmla="*/ 5 h 9"/>
                  <a:gd name="T18" fmla="*/ 2 w 11"/>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9">
                    <a:moveTo>
                      <a:pt x="2" y="2"/>
                    </a:moveTo>
                    <a:lnTo>
                      <a:pt x="0" y="2"/>
                    </a:lnTo>
                    <a:lnTo>
                      <a:pt x="7" y="0"/>
                    </a:lnTo>
                    <a:lnTo>
                      <a:pt x="9" y="2"/>
                    </a:lnTo>
                    <a:lnTo>
                      <a:pt x="11" y="5"/>
                    </a:lnTo>
                    <a:lnTo>
                      <a:pt x="11" y="9"/>
                    </a:lnTo>
                    <a:lnTo>
                      <a:pt x="7" y="9"/>
                    </a:lnTo>
                    <a:lnTo>
                      <a:pt x="6" y="7"/>
                    </a:lnTo>
                    <a:lnTo>
                      <a:pt x="4" y="5"/>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56" name="Freeform 2407"/>
              <p:cNvSpPr>
                <a:spLocks/>
              </p:cNvSpPr>
              <p:nvPr/>
            </p:nvSpPr>
            <p:spPr bwMode="auto">
              <a:xfrm>
                <a:off x="3576" y="3052"/>
                <a:ext cx="11" cy="9"/>
              </a:xfrm>
              <a:custGeom>
                <a:avLst/>
                <a:gdLst>
                  <a:gd name="T0" fmla="*/ 2 w 11"/>
                  <a:gd name="T1" fmla="*/ 2 h 9"/>
                  <a:gd name="T2" fmla="*/ 0 w 11"/>
                  <a:gd name="T3" fmla="*/ 2 h 9"/>
                  <a:gd name="T4" fmla="*/ 7 w 11"/>
                  <a:gd name="T5" fmla="*/ 0 h 9"/>
                  <a:gd name="T6" fmla="*/ 9 w 11"/>
                  <a:gd name="T7" fmla="*/ 2 h 9"/>
                  <a:gd name="T8" fmla="*/ 11 w 11"/>
                  <a:gd name="T9" fmla="*/ 5 h 9"/>
                  <a:gd name="T10" fmla="*/ 11 w 11"/>
                  <a:gd name="T11" fmla="*/ 9 h 9"/>
                  <a:gd name="T12" fmla="*/ 7 w 11"/>
                  <a:gd name="T13" fmla="*/ 9 h 9"/>
                  <a:gd name="T14" fmla="*/ 6 w 11"/>
                  <a:gd name="T15" fmla="*/ 7 h 9"/>
                  <a:gd name="T16" fmla="*/ 4 w 11"/>
                  <a:gd name="T17" fmla="*/ 5 h 9"/>
                  <a:gd name="T18" fmla="*/ 2 w 11"/>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9">
                    <a:moveTo>
                      <a:pt x="2" y="2"/>
                    </a:moveTo>
                    <a:lnTo>
                      <a:pt x="0" y="2"/>
                    </a:lnTo>
                    <a:lnTo>
                      <a:pt x="7" y="0"/>
                    </a:lnTo>
                    <a:lnTo>
                      <a:pt x="9" y="2"/>
                    </a:lnTo>
                    <a:lnTo>
                      <a:pt x="11" y="5"/>
                    </a:lnTo>
                    <a:lnTo>
                      <a:pt x="11" y="9"/>
                    </a:lnTo>
                    <a:lnTo>
                      <a:pt x="7" y="9"/>
                    </a:lnTo>
                    <a:lnTo>
                      <a:pt x="6" y="7"/>
                    </a:lnTo>
                    <a:lnTo>
                      <a:pt x="4" y="5"/>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57" name="Freeform 2408"/>
              <p:cNvSpPr>
                <a:spLocks/>
              </p:cNvSpPr>
              <p:nvPr/>
            </p:nvSpPr>
            <p:spPr bwMode="auto">
              <a:xfrm>
                <a:off x="2830" y="2507"/>
                <a:ext cx="123" cy="181"/>
              </a:xfrm>
              <a:custGeom>
                <a:avLst/>
                <a:gdLst>
                  <a:gd name="T0" fmla="*/ 21 w 123"/>
                  <a:gd name="T1" fmla="*/ 172 h 181"/>
                  <a:gd name="T2" fmla="*/ 25 w 123"/>
                  <a:gd name="T3" fmla="*/ 154 h 181"/>
                  <a:gd name="T4" fmla="*/ 20 w 123"/>
                  <a:gd name="T5" fmla="*/ 149 h 181"/>
                  <a:gd name="T6" fmla="*/ 20 w 123"/>
                  <a:gd name="T7" fmla="*/ 147 h 181"/>
                  <a:gd name="T8" fmla="*/ 21 w 123"/>
                  <a:gd name="T9" fmla="*/ 145 h 181"/>
                  <a:gd name="T10" fmla="*/ 20 w 123"/>
                  <a:gd name="T11" fmla="*/ 142 h 181"/>
                  <a:gd name="T12" fmla="*/ 18 w 123"/>
                  <a:gd name="T13" fmla="*/ 143 h 181"/>
                  <a:gd name="T14" fmla="*/ 11 w 123"/>
                  <a:gd name="T15" fmla="*/ 140 h 181"/>
                  <a:gd name="T16" fmla="*/ 4 w 123"/>
                  <a:gd name="T17" fmla="*/ 133 h 181"/>
                  <a:gd name="T18" fmla="*/ 2 w 123"/>
                  <a:gd name="T19" fmla="*/ 133 h 181"/>
                  <a:gd name="T20" fmla="*/ 0 w 123"/>
                  <a:gd name="T21" fmla="*/ 131 h 181"/>
                  <a:gd name="T22" fmla="*/ 4 w 123"/>
                  <a:gd name="T23" fmla="*/ 127 h 181"/>
                  <a:gd name="T24" fmla="*/ 7 w 123"/>
                  <a:gd name="T25" fmla="*/ 113 h 181"/>
                  <a:gd name="T26" fmla="*/ 18 w 123"/>
                  <a:gd name="T27" fmla="*/ 100 h 181"/>
                  <a:gd name="T28" fmla="*/ 34 w 123"/>
                  <a:gd name="T29" fmla="*/ 95 h 181"/>
                  <a:gd name="T30" fmla="*/ 39 w 123"/>
                  <a:gd name="T31" fmla="*/ 99 h 181"/>
                  <a:gd name="T32" fmla="*/ 39 w 123"/>
                  <a:gd name="T33" fmla="*/ 100 h 181"/>
                  <a:gd name="T34" fmla="*/ 46 w 123"/>
                  <a:gd name="T35" fmla="*/ 102 h 181"/>
                  <a:gd name="T36" fmla="*/ 62 w 123"/>
                  <a:gd name="T37" fmla="*/ 70 h 181"/>
                  <a:gd name="T38" fmla="*/ 70 w 123"/>
                  <a:gd name="T39" fmla="*/ 65 h 181"/>
                  <a:gd name="T40" fmla="*/ 84 w 123"/>
                  <a:gd name="T41" fmla="*/ 25 h 181"/>
                  <a:gd name="T42" fmla="*/ 91 w 123"/>
                  <a:gd name="T43" fmla="*/ 22 h 181"/>
                  <a:gd name="T44" fmla="*/ 96 w 123"/>
                  <a:gd name="T45" fmla="*/ 9 h 181"/>
                  <a:gd name="T46" fmla="*/ 95 w 123"/>
                  <a:gd name="T47" fmla="*/ 8 h 181"/>
                  <a:gd name="T48" fmla="*/ 91 w 123"/>
                  <a:gd name="T49" fmla="*/ 4 h 181"/>
                  <a:gd name="T50" fmla="*/ 95 w 123"/>
                  <a:gd name="T51" fmla="*/ 0 h 181"/>
                  <a:gd name="T52" fmla="*/ 100 w 123"/>
                  <a:gd name="T53" fmla="*/ 2 h 181"/>
                  <a:gd name="T54" fmla="*/ 105 w 123"/>
                  <a:gd name="T55" fmla="*/ 15 h 181"/>
                  <a:gd name="T56" fmla="*/ 111 w 123"/>
                  <a:gd name="T57" fmla="*/ 42 h 181"/>
                  <a:gd name="T58" fmla="*/ 111 w 123"/>
                  <a:gd name="T59" fmla="*/ 47 h 181"/>
                  <a:gd name="T60" fmla="*/ 100 w 123"/>
                  <a:gd name="T61" fmla="*/ 45 h 181"/>
                  <a:gd name="T62" fmla="*/ 93 w 123"/>
                  <a:gd name="T63" fmla="*/ 47 h 181"/>
                  <a:gd name="T64" fmla="*/ 91 w 123"/>
                  <a:gd name="T65" fmla="*/ 52 h 181"/>
                  <a:gd name="T66" fmla="*/ 95 w 123"/>
                  <a:gd name="T67" fmla="*/ 61 h 181"/>
                  <a:gd name="T68" fmla="*/ 104 w 123"/>
                  <a:gd name="T69" fmla="*/ 65 h 181"/>
                  <a:gd name="T70" fmla="*/ 111 w 123"/>
                  <a:gd name="T71" fmla="*/ 86 h 181"/>
                  <a:gd name="T72" fmla="*/ 98 w 123"/>
                  <a:gd name="T73" fmla="*/ 111 h 181"/>
                  <a:gd name="T74" fmla="*/ 98 w 123"/>
                  <a:gd name="T75" fmla="*/ 120 h 181"/>
                  <a:gd name="T76" fmla="*/ 114 w 123"/>
                  <a:gd name="T77" fmla="*/ 154 h 181"/>
                  <a:gd name="T78" fmla="*/ 123 w 123"/>
                  <a:gd name="T79" fmla="*/ 161 h 181"/>
                  <a:gd name="T80" fmla="*/ 123 w 123"/>
                  <a:gd name="T81" fmla="*/ 175 h 181"/>
                  <a:gd name="T82" fmla="*/ 121 w 123"/>
                  <a:gd name="T83" fmla="*/ 181 h 181"/>
                  <a:gd name="T84" fmla="*/ 111 w 123"/>
                  <a:gd name="T85" fmla="*/ 175 h 181"/>
                  <a:gd name="T86" fmla="*/ 100 w 123"/>
                  <a:gd name="T87" fmla="*/ 17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81">
                    <a:moveTo>
                      <a:pt x="79" y="172"/>
                    </a:moveTo>
                    <a:lnTo>
                      <a:pt x="21" y="172"/>
                    </a:lnTo>
                    <a:lnTo>
                      <a:pt x="23" y="156"/>
                    </a:lnTo>
                    <a:lnTo>
                      <a:pt x="25" y="154"/>
                    </a:lnTo>
                    <a:lnTo>
                      <a:pt x="21" y="150"/>
                    </a:lnTo>
                    <a:lnTo>
                      <a:pt x="20" y="149"/>
                    </a:lnTo>
                    <a:lnTo>
                      <a:pt x="20" y="147"/>
                    </a:lnTo>
                    <a:lnTo>
                      <a:pt x="20" y="147"/>
                    </a:lnTo>
                    <a:lnTo>
                      <a:pt x="20" y="145"/>
                    </a:lnTo>
                    <a:lnTo>
                      <a:pt x="21" y="145"/>
                    </a:lnTo>
                    <a:lnTo>
                      <a:pt x="20" y="142"/>
                    </a:lnTo>
                    <a:lnTo>
                      <a:pt x="20" y="142"/>
                    </a:lnTo>
                    <a:lnTo>
                      <a:pt x="18" y="142"/>
                    </a:lnTo>
                    <a:lnTo>
                      <a:pt x="18" y="143"/>
                    </a:lnTo>
                    <a:lnTo>
                      <a:pt x="16" y="143"/>
                    </a:lnTo>
                    <a:lnTo>
                      <a:pt x="11" y="140"/>
                    </a:lnTo>
                    <a:lnTo>
                      <a:pt x="7" y="133"/>
                    </a:lnTo>
                    <a:lnTo>
                      <a:pt x="4" y="133"/>
                    </a:lnTo>
                    <a:lnTo>
                      <a:pt x="4" y="134"/>
                    </a:lnTo>
                    <a:lnTo>
                      <a:pt x="2" y="133"/>
                    </a:lnTo>
                    <a:lnTo>
                      <a:pt x="2" y="131"/>
                    </a:lnTo>
                    <a:lnTo>
                      <a:pt x="0" y="131"/>
                    </a:lnTo>
                    <a:lnTo>
                      <a:pt x="2" y="129"/>
                    </a:lnTo>
                    <a:lnTo>
                      <a:pt x="4" y="127"/>
                    </a:lnTo>
                    <a:lnTo>
                      <a:pt x="5" y="122"/>
                    </a:lnTo>
                    <a:lnTo>
                      <a:pt x="7" y="113"/>
                    </a:lnTo>
                    <a:lnTo>
                      <a:pt x="14" y="102"/>
                    </a:lnTo>
                    <a:lnTo>
                      <a:pt x="18" y="100"/>
                    </a:lnTo>
                    <a:lnTo>
                      <a:pt x="20" y="97"/>
                    </a:lnTo>
                    <a:lnTo>
                      <a:pt x="34" y="95"/>
                    </a:lnTo>
                    <a:lnTo>
                      <a:pt x="38" y="99"/>
                    </a:lnTo>
                    <a:lnTo>
                      <a:pt x="39" y="99"/>
                    </a:lnTo>
                    <a:lnTo>
                      <a:pt x="39" y="100"/>
                    </a:lnTo>
                    <a:lnTo>
                      <a:pt x="39" y="100"/>
                    </a:lnTo>
                    <a:lnTo>
                      <a:pt x="43" y="102"/>
                    </a:lnTo>
                    <a:lnTo>
                      <a:pt x="46" y="102"/>
                    </a:lnTo>
                    <a:lnTo>
                      <a:pt x="48" y="102"/>
                    </a:lnTo>
                    <a:lnTo>
                      <a:pt x="62" y="70"/>
                    </a:lnTo>
                    <a:lnTo>
                      <a:pt x="66" y="67"/>
                    </a:lnTo>
                    <a:lnTo>
                      <a:pt x="70" y="65"/>
                    </a:lnTo>
                    <a:lnTo>
                      <a:pt x="80" y="33"/>
                    </a:lnTo>
                    <a:lnTo>
                      <a:pt x="84" y="25"/>
                    </a:lnTo>
                    <a:lnTo>
                      <a:pt x="91" y="24"/>
                    </a:lnTo>
                    <a:lnTo>
                      <a:pt x="91" y="22"/>
                    </a:lnTo>
                    <a:lnTo>
                      <a:pt x="96" y="18"/>
                    </a:lnTo>
                    <a:lnTo>
                      <a:pt x="96" y="9"/>
                    </a:lnTo>
                    <a:lnTo>
                      <a:pt x="96" y="8"/>
                    </a:lnTo>
                    <a:lnTo>
                      <a:pt x="95" y="8"/>
                    </a:lnTo>
                    <a:lnTo>
                      <a:pt x="91" y="6"/>
                    </a:lnTo>
                    <a:lnTo>
                      <a:pt x="91" y="4"/>
                    </a:lnTo>
                    <a:lnTo>
                      <a:pt x="93" y="4"/>
                    </a:lnTo>
                    <a:lnTo>
                      <a:pt x="95" y="0"/>
                    </a:lnTo>
                    <a:lnTo>
                      <a:pt x="100" y="0"/>
                    </a:lnTo>
                    <a:lnTo>
                      <a:pt x="100" y="2"/>
                    </a:lnTo>
                    <a:lnTo>
                      <a:pt x="102" y="9"/>
                    </a:lnTo>
                    <a:lnTo>
                      <a:pt x="105" y="15"/>
                    </a:lnTo>
                    <a:lnTo>
                      <a:pt x="104" y="29"/>
                    </a:lnTo>
                    <a:lnTo>
                      <a:pt x="111" y="42"/>
                    </a:lnTo>
                    <a:lnTo>
                      <a:pt x="111" y="45"/>
                    </a:lnTo>
                    <a:lnTo>
                      <a:pt x="111" y="47"/>
                    </a:lnTo>
                    <a:lnTo>
                      <a:pt x="109" y="47"/>
                    </a:lnTo>
                    <a:lnTo>
                      <a:pt x="100" y="45"/>
                    </a:lnTo>
                    <a:lnTo>
                      <a:pt x="95" y="47"/>
                    </a:lnTo>
                    <a:lnTo>
                      <a:pt x="93" y="47"/>
                    </a:lnTo>
                    <a:lnTo>
                      <a:pt x="91" y="49"/>
                    </a:lnTo>
                    <a:lnTo>
                      <a:pt x="91" y="52"/>
                    </a:lnTo>
                    <a:lnTo>
                      <a:pt x="91" y="56"/>
                    </a:lnTo>
                    <a:lnTo>
                      <a:pt x="95" y="61"/>
                    </a:lnTo>
                    <a:lnTo>
                      <a:pt x="96" y="63"/>
                    </a:lnTo>
                    <a:lnTo>
                      <a:pt x="104" y="65"/>
                    </a:lnTo>
                    <a:lnTo>
                      <a:pt x="104" y="65"/>
                    </a:lnTo>
                    <a:lnTo>
                      <a:pt x="111" y="86"/>
                    </a:lnTo>
                    <a:lnTo>
                      <a:pt x="112" y="88"/>
                    </a:lnTo>
                    <a:lnTo>
                      <a:pt x="98" y="111"/>
                    </a:lnTo>
                    <a:lnTo>
                      <a:pt x="98" y="115"/>
                    </a:lnTo>
                    <a:lnTo>
                      <a:pt x="98" y="120"/>
                    </a:lnTo>
                    <a:lnTo>
                      <a:pt x="98" y="129"/>
                    </a:lnTo>
                    <a:lnTo>
                      <a:pt x="114" y="154"/>
                    </a:lnTo>
                    <a:lnTo>
                      <a:pt x="121" y="161"/>
                    </a:lnTo>
                    <a:lnTo>
                      <a:pt x="123" y="161"/>
                    </a:lnTo>
                    <a:lnTo>
                      <a:pt x="123" y="163"/>
                    </a:lnTo>
                    <a:lnTo>
                      <a:pt x="123" y="175"/>
                    </a:lnTo>
                    <a:lnTo>
                      <a:pt x="123" y="179"/>
                    </a:lnTo>
                    <a:lnTo>
                      <a:pt x="121" y="181"/>
                    </a:lnTo>
                    <a:lnTo>
                      <a:pt x="114" y="174"/>
                    </a:lnTo>
                    <a:lnTo>
                      <a:pt x="111" y="175"/>
                    </a:lnTo>
                    <a:lnTo>
                      <a:pt x="104" y="174"/>
                    </a:lnTo>
                    <a:lnTo>
                      <a:pt x="100" y="172"/>
                    </a:lnTo>
                    <a:lnTo>
                      <a:pt x="79" y="17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58" name="Freeform 2409"/>
              <p:cNvSpPr>
                <a:spLocks/>
              </p:cNvSpPr>
              <p:nvPr/>
            </p:nvSpPr>
            <p:spPr bwMode="auto">
              <a:xfrm>
                <a:off x="2830" y="2507"/>
                <a:ext cx="123" cy="181"/>
              </a:xfrm>
              <a:custGeom>
                <a:avLst/>
                <a:gdLst>
                  <a:gd name="T0" fmla="*/ 21 w 123"/>
                  <a:gd name="T1" fmla="*/ 172 h 181"/>
                  <a:gd name="T2" fmla="*/ 25 w 123"/>
                  <a:gd name="T3" fmla="*/ 154 h 181"/>
                  <a:gd name="T4" fmla="*/ 20 w 123"/>
                  <a:gd name="T5" fmla="*/ 149 h 181"/>
                  <a:gd name="T6" fmla="*/ 20 w 123"/>
                  <a:gd name="T7" fmla="*/ 147 h 181"/>
                  <a:gd name="T8" fmla="*/ 21 w 123"/>
                  <a:gd name="T9" fmla="*/ 145 h 181"/>
                  <a:gd name="T10" fmla="*/ 20 w 123"/>
                  <a:gd name="T11" fmla="*/ 142 h 181"/>
                  <a:gd name="T12" fmla="*/ 18 w 123"/>
                  <a:gd name="T13" fmla="*/ 143 h 181"/>
                  <a:gd name="T14" fmla="*/ 11 w 123"/>
                  <a:gd name="T15" fmla="*/ 140 h 181"/>
                  <a:gd name="T16" fmla="*/ 4 w 123"/>
                  <a:gd name="T17" fmla="*/ 133 h 181"/>
                  <a:gd name="T18" fmla="*/ 2 w 123"/>
                  <a:gd name="T19" fmla="*/ 133 h 181"/>
                  <a:gd name="T20" fmla="*/ 0 w 123"/>
                  <a:gd name="T21" fmla="*/ 131 h 181"/>
                  <a:gd name="T22" fmla="*/ 4 w 123"/>
                  <a:gd name="T23" fmla="*/ 127 h 181"/>
                  <a:gd name="T24" fmla="*/ 7 w 123"/>
                  <a:gd name="T25" fmla="*/ 113 h 181"/>
                  <a:gd name="T26" fmla="*/ 18 w 123"/>
                  <a:gd name="T27" fmla="*/ 100 h 181"/>
                  <a:gd name="T28" fmla="*/ 34 w 123"/>
                  <a:gd name="T29" fmla="*/ 95 h 181"/>
                  <a:gd name="T30" fmla="*/ 39 w 123"/>
                  <a:gd name="T31" fmla="*/ 99 h 181"/>
                  <a:gd name="T32" fmla="*/ 39 w 123"/>
                  <a:gd name="T33" fmla="*/ 100 h 181"/>
                  <a:gd name="T34" fmla="*/ 46 w 123"/>
                  <a:gd name="T35" fmla="*/ 102 h 181"/>
                  <a:gd name="T36" fmla="*/ 62 w 123"/>
                  <a:gd name="T37" fmla="*/ 70 h 181"/>
                  <a:gd name="T38" fmla="*/ 70 w 123"/>
                  <a:gd name="T39" fmla="*/ 65 h 181"/>
                  <a:gd name="T40" fmla="*/ 84 w 123"/>
                  <a:gd name="T41" fmla="*/ 25 h 181"/>
                  <a:gd name="T42" fmla="*/ 91 w 123"/>
                  <a:gd name="T43" fmla="*/ 22 h 181"/>
                  <a:gd name="T44" fmla="*/ 96 w 123"/>
                  <a:gd name="T45" fmla="*/ 9 h 181"/>
                  <a:gd name="T46" fmla="*/ 95 w 123"/>
                  <a:gd name="T47" fmla="*/ 8 h 181"/>
                  <a:gd name="T48" fmla="*/ 91 w 123"/>
                  <a:gd name="T49" fmla="*/ 4 h 181"/>
                  <a:gd name="T50" fmla="*/ 95 w 123"/>
                  <a:gd name="T51" fmla="*/ 0 h 181"/>
                  <a:gd name="T52" fmla="*/ 100 w 123"/>
                  <a:gd name="T53" fmla="*/ 2 h 181"/>
                  <a:gd name="T54" fmla="*/ 105 w 123"/>
                  <a:gd name="T55" fmla="*/ 15 h 181"/>
                  <a:gd name="T56" fmla="*/ 111 w 123"/>
                  <a:gd name="T57" fmla="*/ 42 h 181"/>
                  <a:gd name="T58" fmla="*/ 111 w 123"/>
                  <a:gd name="T59" fmla="*/ 47 h 181"/>
                  <a:gd name="T60" fmla="*/ 100 w 123"/>
                  <a:gd name="T61" fmla="*/ 45 h 181"/>
                  <a:gd name="T62" fmla="*/ 93 w 123"/>
                  <a:gd name="T63" fmla="*/ 47 h 181"/>
                  <a:gd name="T64" fmla="*/ 91 w 123"/>
                  <a:gd name="T65" fmla="*/ 52 h 181"/>
                  <a:gd name="T66" fmla="*/ 95 w 123"/>
                  <a:gd name="T67" fmla="*/ 61 h 181"/>
                  <a:gd name="T68" fmla="*/ 104 w 123"/>
                  <a:gd name="T69" fmla="*/ 65 h 181"/>
                  <a:gd name="T70" fmla="*/ 111 w 123"/>
                  <a:gd name="T71" fmla="*/ 86 h 181"/>
                  <a:gd name="T72" fmla="*/ 98 w 123"/>
                  <a:gd name="T73" fmla="*/ 111 h 181"/>
                  <a:gd name="T74" fmla="*/ 98 w 123"/>
                  <a:gd name="T75" fmla="*/ 120 h 181"/>
                  <a:gd name="T76" fmla="*/ 114 w 123"/>
                  <a:gd name="T77" fmla="*/ 154 h 181"/>
                  <a:gd name="T78" fmla="*/ 123 w 123"/>
                  <a:gd name="T79" fmla="*/ 161 h 181"/>
                  <a:gd name="T80" fmla="*/ 123 w 123"/>
                  <a:gd name="T81" fmla="*/ 175 h 181"/>
                  <a:gd name="T82" fmla="*/ 121 w 123"/>
                  <a:gd name="T83" fmla="*/ 181 h 181"/>
                  <a:gd name="T84" fmla="*/ 111 w 123"/>
                  <a:gd name="T85" fmla="*/ 175 h 181"/>
                  <a:gd name="T86" fmla="*/ 100 w 123"/>
                  <a:gd name="T87" fmla="*/ 17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3" h="181">
                    <a:moveTo>
                      <a:pt x="79" y="172"/>
                    </a:moveTo>
                    <a:lnTo>
                      <a:pt x="21" y="172"/>
                    </a:lnTo>
                    <a:lnTo>
                      <a:pt x="23" y="156"/>
                    </a:lnTo>
                    <a:lnTo>
                      <a:pt x="25" y="154"/>
                    </a:lnTo>
                    <a:lnTo>
                      <a:pt x="21" y="150"/>
                    </a:lnTo>
                    <a:lnTo>
                      <a:pt x="20" y="149"/>
                    </a:lnTo>
                    <a:lnTo>
                      <a:pt x="20" y="147"/>
                    </a:lnTo>
                    <a:lnTo>
                      <a:pt x="20" y="147"/>
                    </a:lnTo>
                    <a:lnTo>
                      <a:pt x="20" y="145"/>
                    </a:lnTo>
                    <a:lnTo>
                      <a:pt x="21" y="145"/>
                    </a:lnTo>
                    <a:lnTo>
                      <a:pt x="20" y="142"/>
                    </a:lnTo>
                    <a:lnTo>
                      <a:pt x="20" y="142"/>
                    </a:lnTo>
                    <a:lnTo>
                      <a:pt x="18" y="142"/>
                    </a:lnTo>
                    <a:lnTo>
                      <a:pt x="18" y="143"/>
                    </a:lnTo>
                    <a:lnTo>
                      <a:pt x="16" y="143"/>
                    </a:lnTo>
                    <a:lnTo>
                      <a:pt x="11" y="140"/>
                    </a:lnTo>
                    <a:lnTo>
                      <a:pt x="7" y="133"/>
                    </a:lnTo>
                    <a:lnTo>
                      <a:pt x="4" y="133"/>
                    </a:lnTo>
                    <a:lnTo>
                      <a:pt x="4" y="134"/>
                    </a:lnTo>
                    <a:lnTo>
                      <a:pt x="2" y="133"/>
                    </a:lnTo>
                    <a:lnTo>
                      <a:pt x="2" y="131"/>
                    </a:lnTo>
                    <a:lnTo>
                      <a:pt x="0" y="131"/>
                    </a:lnTo>
                    <a:lnTo>
                      <a:pt x="2" y="129"/>
                    </a:lnTo>
                    <a:lnTo>
                      <a:pt x="4" y="127"/>
                    </a:lnTo>
                    <a:lnTo>
                      <a:pt x="5" y="122"/>
                    </a:lnTo>
                    <a:lnTo>
                      <a:pt x="7" y="113"/>
                    </a:lnTo>
                    <a:lnTo>
                      <a:pt x="14" y="102"/>
                    </a:lnTo>
                    <a:lnTo>
                      <a:pt x="18" y="100"/>
                    </a:lnTo>
                    <a:lnTo>
                      <a:pt x="20" y="97"/>
                    </a:lnTo>
                    <a:lnTo>
                      <a:pt x="34" y="95"/>
                    </a:lnTo>
                    <a:lnTo>
                      <a:pt x="38" y="99"/>
                    </a:lnTo>
                    <a:lnTo>
                      <a:pt x="39" y="99"/>
                    </a:lnTo>
                    <a:lnTo>
                      <a:pt x="39" y="100"/>
                    </a:lnTo>
                    <a:lnTo>
                      <a:pt x="39" y="100"/>
                    </a:lnTo>
                    <a:lnTo>
                      <a:pt x="43" y="102"/>
                    </a:lnTo>
                    <a:lnTo>
                      <a:pt x="46" y="102"/>
                    </a:lnTo>
                    <a:lnTo>
                      <a:pt x="48" y="102"/>
                    </a:lnTo>
                    <a:lnTo>
                      <a:pt x="62" y="70"/>
                    </a:lnTo>
                    <a:lnTo>
                      <a:pt x="66" y="67"/>
                    </a:lnTo>
                    <a:lnTo>
                      <a:pt x="70" y="65"/>
                    </a:lnTo>
                    <a:lnTo>
                      <a:pt x="80" y="33"/>
                    </a:lnTo>
                    <a:lnTo>
                      <a:pt x="84" y="25"/>
                    </a:lnTo>
                    <a:lnTo>
                      <a:pt x="91" y="24"/>
                    </a:lnTo>
                    <a:lnTo>
                      <a:pt x="91" y="22"/>
                    </a:lnTo>
                    <a:lnTo>
                      <a:pt x="96" y="18"/>
                    </a:lnTo>
                    <a:lnTo>
                      <a:pt x="96" y="9"/>
                    </a:lnTo>
                    <a:lnTo>
                      <a:pt x="96" y="8"/>
                    </a:lnTo>
                    <a:lnTo>
                      <a:pt x="95" y="8"/>
                    </a:lnTo>
                    <a:lnTo>
                      <a:pt x="91" y="6"/>
                    </a:lnTo>
                    <a:lnTo>
                      <a:pt x="91" y="4"/>
                    </a:lnTo>
                    <a:lnTo>
                      <a:pt x="93" y="4"/>
                    </a:lnTo>
                    <a:lnTo>
                      <a:pt x="95" y="0"/>
                    </a:lnTo>
                    <a:lnTo>
                      <a:pt x="100" y="0"/>
                    </a:lnTo>
                    <a:lnTo>
                      <a:pt x="100" y="2"/>
                    </a:lnTo>
                    <a:lnTo>
                      <a:pt x="102" y="9"/>
                    </a:lnTo>
                    <a:lnTo>
                      <a:pt x="105" y="15"/>
                    </a:lnTo>
                    <a:lnTo>
                      <a:pt x="104" y="29"/>
                    </a:lnTo>
                    <a:lnTo>
                      <a:pt x="111" y="42"/>
                    </a:lnTo>
                    <a:lnTo>
                      <a:pt x="111" y="45"/>
                    </a:lnTo>
                    <a:lnTo>
                      <a:pt x="111" y="47"/>
                    </a:lnTo>
                    <a:lnTo>
                      <a:pt x="109" y="47"/>
                    </a:lnTo>
                    <a:lnTo>
                      <a:pt x="100" y="45"/>
                    </a:lnTo>
                    <a:lnTo>
                      <a:pt x="95" y="47"/>
                    </a:lnTo>
                    <a:lnTo>
                      <a:pt x="93" y="47"/>
                    </a:lnTo>
                    <a:lnTo>
                      <a:pt x="91" y="49"/>
                    </a:lnTo>
                    <a:lnTo>
                      <a:pt x="91" y="52"/>
                    </a:lnTo>
                    <a:lnTo>
                      <a:pt x="91" y="56"/>
                    </a:lnTo>
                    <a:lnTo>
                      <a:pt x="95" y="61"/>
                    </a:lnTo>
                    <a:lnTo>
                      <a:pt x="96" y="63"/>
                    </a:lnTo>
                    <a:lnTo>
                      <a:pt x="104" y="65"/>
                    </a:lnTo>
                    <a:lnTo>
                      <a:pt x="104" y="65"/>
                    </a:lnTo>
                    <a:lnTo>
                      <a:pt x="111" y="86"/>
                    </a:lnTo>
                    <a:lnTo>
                      <a:pt x="112" y="88"/>
                    </a:lnTo>
                    <a:lnTo>
                      <a:pt x="98" y="111"/>
                    </a:lnTo>
                    <a:lnTo>
                      <a:pt x="98" y="115"/>
                    </a:lnTo>
                    <a:lnTo>
                      <a:pt x="98" y="120"/>
                    </a:lnTo>
                    <a:lnTo>
                      <a:pt x="98" y="129"/>
                    </a:lnTo>
                    <a:lnTo>
                      <a:pt x="114" y="154"/>
                    </a:lnTo>
                    <a:lnTo>
                      <a:pt x="121" y="161"/>
                    </a:lnTo>
                    <a:lnTo>
                      <a:pt x="123" y="161"/>
                    </a:lnTo>
                    <a:lnTo>
                      <a:pt x="123" y="163"/>
                    </a:lnTo>
                    <a:lnTo>
                      <a:pt x="123" y="175"/>
                    </a:lnTo>
                    <a:lnTo>
                      <a:pt x="123" y="179"/>
                    </a:lnTo>
                    <a:lnTo>
                      <a:pt x="121" y="181"/>
                    </a:lnTo>
                    <a:lnTo>
                      <a:pt x="114" y="174"/>
                    </a:lnTo>
                    <a:lnTo>
                      <a:pt x="111" y="175"/>
                    </a:lnTo>
                    <a:lnTo>
                      <a:pt x="104" y="174"/>
                    </a:lnTo>
                    <a:lnTo>
                      <a:pt x="100" y="172"/>
                    </a:lnTo>
                    <a:lnTo>
                      <a:pt x="79" y="17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59" name="Freeform 2410"/>
              <p:cNvSpPr>
                <a:spLocks/>
              </p:cNvSpPr>
              <p:nvPr/>
            </p:nvSpPr>
            <p:spPr bwMode="auto">
              <a:xfrm>
                <a:off x="2882" y="2806"/>
                <a:ext cx="202" cy="198"/>
              </a:xfrm>
              <a:custGeom>
                <a:avLst/>
                <a:gdLst>
                  <a:gd name="T0" fmla="*/ 2 w 202"/>
                  <a:gd name="T1" fmla="*/ 164 h 198"/>
                  <a:gd name="T2" fmla="*/ 12 w 202"/>
                  <a:gd name="T3" fmla="*/ 130 h 198"/>
                  <a:gd name="T4" fmla="*/ 12 w 202"/>
                  <a:gd name="T5" fmla="*/ 126 h 198"/>
                  <a:gd name="T6" fmla="*/ 14 w 202"/>
                  <a:gd name="T7" fmla="*/ 121 h 198"/>
                  <a:gd name="T8" fmla="*/ 19 w 202"/>
                  <a:gd name="T9" fmla="*/ 112 h 198"/>
                  <a:gd name="T10" fmla="*/ 30 w 202"/>
                  <a:gd name="T11" fmla="*/ 103 h 198"/>
                  <a:gd name="T12" fmla="*/ 35 w 202"/>
                  <a:gd name="T13" fmla="*/ 82 h 198"/>
                  <a:gd name="T14" fmla="*/ 30 w 202"/>
                  <a:gd name="T15" fmla="*/ 73 h 198"/>
                  <a:gd name="T16" fmla="*/ 27 w 202"/>
                  <a:gd name="T17" fmla="*/ 68 h 198"/>
                  <a:gd name="T18" fmla="*/ 23 w 202"/>
                  <a:gd name="T19" fmla="*/ 51 h 198"/>
                  <a:gd name="T20" fmla="*/ 27 w 202"/>
                  <a:gd name="T21" fmla="*/ 43 h 198"/>
                  <a:gd name="T22" fmla="*/ 23 w 202"/>
                  <a:gd name="T23" fmla="*/ 35 h 198"/>
                  <a:gd name="T24" fmla="*/ 10 w 202"/>
                  <a:gd name="T25" fmla="*/ 7 h 198"/>
                  <a:gd name="T26" fmla="*/ 10 w 202"/>
                  <a:gd name="T27" fmla="*/ 5 h 198"/>
                  <a:gd name="T28" fmla="*/ 44 w 202"/>
                  <a:gd name="T29" fmla="*/ 0 h 198"/>
                  <a:gd name="T30" fmla="*/ 75 w 202"/>
                  <a:gd name="T31" fmla="*/ 0 h 198"/>
                  <a:gd name="T32" fmla="*/ 77 w 202"/>
                  <a:gd name="T33" fmla="*/ 1 h 198"/>
                  <a:gd name="T34" fmla="*/ 78 w 202"/>
                  <a:gd name="T35" fmla="*/ 1 h 198"/>
                  <a:gd name="T36" fmla="*/ 94 w 202"/>
                  <a:gd name="T37" fmla="*/ 35 h 198"/>
                  <a:gd name="T38" fmla="*/ 102 w 202"/>
                  <a:gd name="T39" fmla="*/ 35 h 198"/>
                  <a:gd name="T40" fmla="*/ 123 w 202"/>
                  <a:gd name="T41" fmla="*/ 34 h 198"/>
                  <a:gd name="T42" fmla="*/ 125 w 202"/>
                  <a:gd name="T43" fmla="*/ 26 h 198"/>
                  <a:gd name="T44" fmla="*/ 139 w 202"/>
                  <a:gd name="T45" fmla="*/ 18 h 198"/>
                  <a:gd name="T46" fmla="*/ 146 w 202"/>
                  <a:gd name="T47" fmla="*/ 16 h 198"/>
                  <a:gd name="T48" fmla="*/ 160 w 202"/>
                  <a:gd name="T49" fmla="*/ 23 h 198"/>
                  <a:gd name="T50" fmla="*/ 164 w 202"/>
                  <a:gd name="T51" fmla="*/ 50 h 198"/>
                  <a:gd name="T52" fmla="*/ 164 w 202"/>
                  <a:gd name="T53" fmla="*/ 60 h 198"/>
                  <a:gd name="T54" fmla="*/ 169 w 202"/>
                  <a:gd name="T55" fmla="*/ 78 h 198"/>
                  <a:gd name="T56" fmla="*/ 166 w 202"/>
                  <a:gd name="T57" fmla="*/ 84 h 198"/>
                  <a:gd name="T58" fmla="*/ 166 w 202"/>
                  <a:gd name="T59" fmla="*/ 85 h 198"/>
                  <a:gd name="T60" fmla="*/ 169 w 202"/>
                  <a:gd name="T61" fmla="*/ 87 h 198"/>
                  <a:gd name="T62" fmla="*/ 171 w 202"/>
                  <a:gd name="T63" fmla="*/ 87 h 198"/>
                  <a:gd name="T64" fmla="*/ 175 w 202"/>
                  <a:gd name="T65" fmla="*/ 82 h 198"/>
                  <a:gd name="T66" fmla="*/ 193 w 202"/>
                  <a:gd name="T67" fmla="*/ 82 h 198"/>
                  <a:gd name="T68" fmla="*/ 196 w 202"/>
                  <a:gd name="T69" fmla="*/ 82 h 198"/>
                  <a:gd name="T70" fmla="*/ 198 w 202"/>
                  <a:gd name="T71" fmla="*/ 80 h 198"/>
                  <a:gd name="T72" fmla="*/ 200 w 202"/>
                  <a:gd name="T73" fmla="*/ 82 h 198"/>
                  <a:gd name="T74" fmla="*/ 200 w 202"/>
                  <a:gd name="T75" fmla="*/ 84 h 198"/>
                  <a:gd name="T76" fmla="*/ 196 w 202"/>
                  <a:gd name="T77" fmla="*/ 112 h 198"/>
                  <a:gd name="T78" fmla="*/ 198 w 202"/>
                  <a:gd name="T79" fmla="*/ 114 h 198"/>
                  <a:gd name="T80" fmla="*/ 166 w 202"/>
                  <a:gd name="T81" fmla="*/ 114 h 198"/>
                  <a:gd name="T82" fmla="*/ 169 w 202"/>
                  <a:gd name="T83" fmla="*/ 176 h 198"/>
                  <a:gd name="T84" fmla="*/ 182 w 202"/>
                  <a:gd name="T85" fmla="*/ 187 h 198"/>
                  <a:gd name="T86" fmla="*/ 185 w 202"/>
                  <a:gd name="T87" fmla="*/ 191 h 198"/>
                  <a:gd name="T88" fmla="*/ 157 w 202"/>
                  <a:gd name="T89" fmla="*/ 198 h 198"/>
                  <a:gd name="T90" fmla="*/ 114 w 202"/>
                  <a:gd name="T91" fmla="*/ 193 h 198"/>
                  <a:gd name="T92" fmla="*/ 107 w 202"/>
                  <a:gd name="T93" fmla="*/ 187 h 198"/>
                  <a:gd name="T94" fmla="*/ 32 w 202"/>
                  <a:gd name="T95" fmla="*/ 184 h 198"/>
                  <a:gd name="T96" fmla="*/ 27 w 202"/>
                  <a:gd name="T97" fmla="*/ 180 h 198"/>
                  <a:gd name="T98" fmla="*/ 14 w 202"/>
                  <a:gd name="T99" fmla="*/ 180 h 198"/>
                  <a:gd name="T100" fmla="*/ 10 w 202"/>
                  <a:gd name="T101" fmla="*/ 184 h 198"/>
                  <a:gd name="T102" fmla="*/ 0 w 202"/>
                  <a:gd name="T103" fmla="*/ 187 h 198"/>
                  <a:gd name="T104" fmla="*/ 2 w 202"/>
                  <a:gd name="T105" fmla="*/ 17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2" h="198">
                    <a:moveTo>
                      <a:pt x="2" y="173"/>
                    </a:moveTo>
                    <a:lnTo>
                      <a:pt x="2" y="164"/>
                    </a:lnTo>
                    <a:lnTo>
                      <a:pt x="3" y="160"/>
                    </a:lnTo>
                    <a:lnTo>
                      <a:pt x="12" y="130"/>
                    </a:lnTo>
                    <a:lnTo>
                      <a:pt x="12" y="128"/>
                    </a:lnTo>
                    <a:lnTo>
                      <a:pt x="12" y="126"/>
                    </a:lnTo>
                    <a:lnTo>
                      <a:pt x="14" y="125"/>
                    </a:lnTo>
                    <a:lnTo>
                      <a:pt x="14" y="121"/>
                    </a:lnTo>
                    <a:lnTo>
                      <a:pt x="19" y="116"/>
                    </a:lnTo>
                    <a:lnTo>
                      <a:pt x="19" y="112"/>
                    </a:lnTo>
                    <a:lnTo>
                      <a:pt x="25" y="110"/>
                    </a:lnTo>
                    <a:lnTo>
                      <a:pt x="30" y="103"/>
                    </a:lnTo>
                    <a:lnTo>
                      <a:pt x="34" y="84"/>
                    </a:lnTo>
                    <a:lnTo>
                      <a:pt x="35" y="82"/>
                    </a:lnTo>
                    <a:lnTo>
                      <a:pt x="34" y="76"/>
                    </a:lnTo>
                    <a:lnTo>
                      <a:pt x="30" y="73"/>
                    </a:lnTo>
                    <a:lnTo>
                      <a:pt x="28" y="69"/>
                    </a:lnTo>
                    <a:lnTo>
                      <a:pt x="27" y="68"/>
                    </a:lnTo>
                    <a:lnTo>
                      <a:pt x="23" y="53"/>
                    </a:lnTo>
                    <a:lnTo>
                      <a:pt x="23" y="51"/>
                    </a:lnTo>
                    <a:lnTo>
                      <a:pt x="27" y="48"/>
                    </a:lnTo>
                    <a:lnTo>
                      <a:pt x="27" y="43"/>
                    </a:lnTo>
                    <a:lnTo>
                      <a:pt x="25" y="39"/>
                    </a:lnTo>
                    <a:lnTo>
                      <a:pt x="23" y="35"/>
                    </a:lnTo>
                    <a:lnTo>
                      <a:pt x="19" y="19"/>
                    </a:lnTo>
                    <a:lnTo>
                      <a:pt x="10" y="7"/>
                    </a:lnTo>
                    <a:lnTo>
                      <a:pt x="10" y="7"/>
                    </a:lnTo>
                    <a:lnTo>
                      <a:pt x="10" y="5"/>
                    </a:lnTo>
                    <a:lnTo>
                      <a:pt x="27" y="0"/>
                    </a:lnTo>
                    <a:lnTo>
                      <a:pt x="44" y="0"/>
                    </a:lnTo>
                    <a:lnTo>
                      <a:pt x="46" y="0"/>
                    </a:lnTo>
                    <a:lnTo>
                      <a:pt x="75" y="0"/>
                    </a:lnTo>
                    <a:lnTo>
                      <a:pt x="75" y="0"/>
                    </a:lnTo>
                    <a:lnTo>
                      <a:pt x="77" y="1"/>
                    </a:lnTo>
                    <a:lnTo>
                      <a:pt x="77" y="1"/>
                    </a:lnTo>
                    <a:lnTo>
                      <a:pt x="78" y="1"/>
                    </a:lnTo>
                    <a:lnTo>
                      <a:pt x="85" y="23"/>
                    </a:lnTo>
                    <a:lnTo>
                      <a:pt x="94" y="35"/>
                    </a:lnTo>
                    <a:lnTo>
                      <a:pt x="98" y="35"/>
                    </a:lnTo>
                    <a:lnTo>
                      <a:pt x="102" y="35"/>
                    </a:lnTo>
                    <a:lnTo>
                      <a:pt x="112" y="34"/>
                    </a:lnTo>
                    <a:lnTo>
                      <a:pt x="123" y="34"/>
                    </a:lnTo>
                    <a:lnTo>
                      <a:pt x="125" y="28"/>
                    </a:lnTo>
                    <a:lnTo>
                      <a:pt x="125" y="26"/>
                    </a:lnTo>
                    <a:lnTo>
                      <a:pt x="127" y="18"/>
                    </a:lnTo>
                    <a:lnTo>
                      <a:pt x="139" y="18"/>
                    </a:lnTo>
                    <a:lnTo>
                      <a:pt x="139" y="16"/>
                    </a:lnTo>
                    <a:lnTo>
                      <a:pt x="146" y="16"/>
                    </a:lnTo>
                    <a:lnTo>
                      <a:pt x="146" y="23"/>
                    </a:lnTo>
                    <a:lnTo>
                      <a:pt x="160" y="23"/>
                    </a:lnTo>
                    <a:lnTo>
                      <a:pt x="162" y="26"/>
                    </a:lnTo>
                    <a:lnTo>
                      <a:pt x="164" y="50"/>
                    </a:lnTo>
                    <a:lnTo>
                      <a:pt x="164" y="53"/>
                    </a:lnTo>
                    <a:lnTo>
                      <a:pt x="164" y="60"/>
                    </a:lnTo>
                    <a:lnTo>
                      <a:pt x="169" y="75"/>
                    </a:lnTo>
                    <a:lnTo>
                      <a:pt x="169" y="78"/>
                    </a:lnTo>
                    <a:lnTo>
                      <a:pt x="166" y="84"/>
                    </a:lnTo>
                    <a:lnTo>
                      <a:pt x="166" y="84"/>
                    </a:lnTo>
                    <a:lnTo>
                      <a:pt x="166" y="84"/>
                    </a:lnTo>
                    <a:lnTo>
                      <a:pt x="166" y="85"/>
                    </a:lnTo>
                    <a:lnTo>
                      <a:pt x="168" y="85"/>
                    </a:lnTo>
                    <a:lnTo>
                      <a:pt x="169" y="87"/>
                    </a:lnTo>
                    <a:lnTo>
                      <a:pt x="171" y="87"/>
                    </a:lnTo>
                    <a:lnTo>
                      <a:pt x="171" y="87"/>
                    </a:lnTo>
                    <a:lnTo>
                      <a:pt x="173" y="84"/>
                    </a:lnTo>
                    <a:lnTo>
                      <a:pt x="175" y="82"/>
                    </a:lnTo>
                    <a:lnTo>
                      <a:pt x="189" y="82"/>
                    </a:lnTo>
                    <a:lnTo>
                      <a:pt x="193" y="82"/>
                    </a:lnTo>
                    <a:lnTo>
                      <a:pt x="194" y="82"/>
                    </a:lnTo>
                    <a:lnTo>
                      <a:pt x="196" y="82"/>
                    </a:lnTo>
                    <a:lnTo>
                      <a:pt x="198" y="80"/>
                    </a:lnTo>
                    <a:lnTo>
                      <a:pt x="198" y="80"/>
                    </a:lnTo>
                    <a:lnTo>
                      <a:pt x="200" y="80"/>
                    </a:lnTo>
                    <a:lnTo>
                      <a:pt x="200" y="82"/>
                    </a:lnTo>
                    <a:lnTo>
                      <a:pt x="200" y="82"/>
                    </a:lnTo>
                    <a:lnTo>
                      <a:pt x="200" y="84"/>
                    </a:lnTo>
                    <a:lnTo>
                      <a:pt x="200" y="85"/>
                    </a:lnTo>
                    <a:lnTo>
                      <a:pt x="196" y="112"/>
                    </a:lnTo>
                    <a:lnTo>
                      <a:pt x="198" y="112"/>
                    </a:lnTo>
                    <a:lnTo>
                      <a:pt x="198" y="114"/>
                    </a:lnTo>
                    <a:lnTo>
                      <a:pt x="202" y="114"/>
                    </a:lnTo>
                    <a:lnTo>
                      <a:pt x="166" y="114"/>
                    </a:lnTo>
                    <a:lnTo>
                      <a:pt x="166" y="175"/>
                    </a:lnTo>
                    <a:lnTo>
                      <a:pt x="169" y="176"/>
                    </a:lnTo>
                    <a:lnTo>
                      <a:pt x="169" y="178"/>
                    </a:lnTo>
                    <a:lnTo>
                      <a:pt x="182" y="187"/>
                    </a:lnTo>
                    <a:lnTo>
                      <a:pt x="184" y="189"/>
                    </a:lnTo>
                    <a:lnTo>
                      <a:pt x="185" y="191"/>
                    </a:lnTo>
                    <a:lnTo>
                      <a:pt x="185" y="191"/>
                    </a:lnTo>
                    <a:lnTo>
                      <a:pt x="157" y="198"/>
                    </a:lnTo>
                    <a:lnTo>
                      <a:pt x="157" y="198"/>
                    </a:lnTo>
                    <a:lnTo>
                      <a:pt x="114" y="193"/>
                    </a:lnTo>
                    <a:lnTo>
                      <a:pt x="112" y="189"/>
                    </a:lnTo>
                    <a:lnTo>
                      <a:pt x="107" y="187"/>
                    </a:lnTo>
                    <a:lnTo>
                      <a:pt x="35" y="187"/>
                    </a:lnTo>
                    <a:lnTo>
                      <a:pt x="32" y="184"/>
                    </a:lnTo>
                    <a:lnTo>
                      <a:pt x="28" y="182"/>
                    </a:lnTo>
                    <a:lnTo>
                      <a:pt x="27" y="180"/>
                    </a:lnTo>
                    <a:lnTo>
                      <a:pt x="18" y="178"/>
                    </a:lnTo>
                    <a:lnTo>
                      <a:pt x="14" y="180"/>
                    </a:lnTo>
                    <a:lnTo>
                      <a:pt x="12" y="184"/>
                    </a:lnTo>
                    <a:lnTo>
                      <a:pt x="10" y="184"/>
                    </a:lnTo>
                    <a:lnTo>
                      <a:pt x="7" y="182"/>
                    </a:lnTo>
                    <a:lnTo>
                      <a:pt x="0" y="187"/>
                    </a:lnTo>
                    <a:lnTo>
                      <a:pt x="0" y="175"/>
                    </a:lnTo>
                    <a:lnTo>
                      <a:pt x="2" y="176"/>
                    </a:lnTo>
                    <a:lnTo>
                      <a:pt x="2" y="17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60" name="Freeform 2411"/>
              <p:cNvSpPr>
                <a:spLocks/>
              </p:cNvSpPr>
              <p:nvPr/>
            </p:nvSpPr>
            <p:spPr bwMode="auto">
              <a:xfrm>
                <a:off x="2882" y="2806"/>
                <a:ext cx="202" cy="198"/>
              </a:xfrm>
              <a:custGeom>
                <a:avLst/>
                <a:gdLst>
                  <a:gd name="T0" fmla="*/ 2 w 202"/>
                  <a:gd name="T1" fmla="*/ 164 h 198"/>
                  <a:gd name="T2" fmla="*/ 12 w 202"/>
                  <a:gd name="T3" fmla="*/ 130 h 198"/>
                  <a:gd name="T4" fmla="*/ 12 w 202"/>
                  <a:gd name="T5" fmla="*/ 126 h 198"/>
                  <a:gd name="T6" fmla="*/ 14 w 202"/>
                  <a:gd name="T7" fmla="*/ 121 h 198"/>
                  <a:gd name="T8" fmla="*/ 19 w 202"/>
                  <a:gd name="T9" fmla="*/ 112 h 198"/>
                  <a:gd name="T10" fmla="*/ 30 w 202"/>
                  <a:gd name="T11" fmla="*/ 103 h 198"/>
                  <a:gd name="T12" fmla="*/ 35 w 202"/>
                  <a:gd name="T13" fmla="*/ 82 h 198"/>
                  <a:gd name="T14" fmla="*/ 30 w 202"/>
                  <a:gd name="T15" fmla="*/ 73 h 198"/>
                  <a:gd name="T16" fmla="*/ 27 w 202"/>
                  <a:gd name="T17" fmla="*/ 68 h 198"/>
                  <a:gd name="T18" fmla="*/ 23 w 202"/>
                  <a:gd name="T19" fmla="*/ 51 h 198"/>
                  <a:gd name="T20" fmla="*/ 27 w 202"/>
                  <a:gd name="T21" fmla="*/ 43 h 198"/>
                  <a:gd name="T22" fmla="*/ 23 w 202"/>
                  <a:gd name="T23" fmla="*/ 35 h 198"/>
                  <a:gd name="T24" fmla="*/ 10 w 202"/>
                  <a:gd name="T25" fmla="*/ 7 h 198"/>
                  <a:gd name="T26" fmla="*/ 10 w 202"/>
                  <a:gd name="T27" fmla="*/ 5 h 198"/>
                  <a:gd name="T28" fmla="*/ 44 w 202"/>
                  <a:gd name="T29" fmla="*/ 0 h 198"/>
                  <a:gd name="T30" fmla="*/ 75 w 202"/>
                  <a:gd name="T31" fmla="*/ 0 h 198"/>
                  <a:gd name="T32" fmla="*/ 77 w 202"/>
                  <a:gd name="T33" fmla="*/ 1 h 198"/>
                  <a:gd name="T34" fmla="*/ 78 w 202"/>
                  <a:gd name="T35" fmla="*/ 1 h 198"/>
                  <a:gd name="T36" fmla="*/ 94 w 202"/>
                  <a:gd name="T37" fmla="*/ 35 h 198"/>
                  <a:gd name="T38" fmla="*/ 102 w 202"/>
                  <a:gd name="T39" fmla="*/ 35 h 198"/>
                  <a:gd name="T40" fmla="*/ 123 w 202"/>
                  <a:gd name="T41" fmla="*/ 34 h 198"/>
                  <a:gd name="T42" fmla="*/ 125 w 202"/>
                  <a:gd name="T43" fmla="*/ 26 h 198"/>
                  <a:gd name="T44" fmla="*/ 139 w 202"/>
                  <a:gd name="T45" fmla="*/ 18 h 198"/>
                  <a:gd name="T46" fmla="*/ 146 w 202"/>
                  <a:gd name="T47" fmla="*/ 16 h 198"/>
                  <a:gd name="T48" fmla="*/ 160 w 202"/>
                  <a:gd name="T49" fmla="*/ 23 h 198"/>
                  <a:gd name="T50" fmla="*/ 164 w 202"/>
                  <a:gd name="T51" fmla="*/ 50 h 198"/>
                  <a:gd name="T52" fmla="*/ 164 w 202"/>
                  <a:gd name="T53" fmla="*/ 60 h 198"/>
                  <a:gd name="T54" fmla="*/ 169 w 202"/>
                  <a:gd name="T55" fmla="*/ 78 h 198"/>
                  <a:gd name="T56" fmla="*/ 166 w 202"/>
                  <a:gd name="T57" fmla="*/ 84 h 198"/>
                  <a:gd name="T58" fmla="*/ 166 w 202"/>
                  <a:gd name="T59" fmla="*/ 85 h 198"/>
                  <a:gd name="T60" fmla="*/ 169 w 202"/>
                  <a:gd name="T61" fmla="*/ 87 h 198"/>
                  <a:gd name="T62" fmla="*/ 171 w 202"/>
                  <a:gd name="T63" fmla="*/ 87 h 198"/>
                  <a:gd name="T64" fmla="*/ 175 w 202"/>
                  <a:gd name="T65" fmla="*/ 82 h 198"/>
                  <a:gd name="T66" fmla="*/ 193 w 202"/>
                  <a:gd name="T67" fmla="*/ 82 h 198"/>
                  <a:gd name="T68" fmla="*/ 196 w 202"/>
                  <a:gd name="T69" fmla="*/ 82 h 198"/>
                  <a:gd name="T70" fmla="*/ 198 w 202"/>
                  <a:gd name="T71" fmla="*/ 80 h 198"/>
                  <a:gd name="T72" fmla="*/ 200 w 202"/>
                  <a:gd name="T73" fmla="*/ 82 h 198"/>
                  <a:gd name="T74" fmla="*/ 200 w 202"/>
                  <a:gd name="T75" fmla="*/ 84 h 198"/>
                  <a:gd name="T76" fmla="*/ 196 w 202"/>
                  <a:gd name="T77" fmla="*/ 112 h 198"/>
                  <a:gd name="T78" fmla="*/ 198 w 202"/>
                  <a:gd name="T79" fmla="*/ 114 h 198"/>
                  <a:gd name="T80" fmla="*/ 166 w 202"/>
                  <a:gd name="T81" fmla="*/ 114 h 198"/>
                  <a:gd name="T82" fmla="*/ 169 w 202"/>
                  <a:gd name="T83" fmla="*/ 176 h 198"/>
                  <a:gd name="T84" fmla="*/ 182 w 202"/>
                  <a:gd name="T85" fmla="*/ 187 h 198"/>
                  <a:gd name="T86" fmla="*/ 185 w 202"/>
                  <a:gd name="T87" fmla="*/ 191 h 198"/>
                  <a:gd name="T88" fmla="*/ 157 w 202"/>
                  <a:gd name="T89" fmla="*/ 198 h 198"/>
                  <a:gd name="T90" fmla="*/ 114 w 202"/>
                  <a:gd name="T91" fmla="*/ 193 h 198"/>
                  <a:gd name="T92" fmla="*/ 107 w 202"/>
                  <a:gd name="T93" fmla="*/ 187 h 198"/>
                  <a:gd name="T94" fmla="*/ 32 w 202"/>
                  <a:gd name="T95" fmla="*/ 184 h 198"/>
                  <a:gd name="T96" fmla="*/ 27 w 202"/>
                  <a:gd name="T97" fmla="*/ 180 h 198"/>
                  <a:gd name="T98" fmla="*/ 14 w 202"/>
                  <a:gd name="T99" fmla="*/ 180 h 198"/>
                  <a:gd name="T100" fmla="*/ 10 w 202"/>
                  <a:gd name="T101" fmla="*/ 184 h 198"/>
                  <a:gd name="T102" fmla="*/ 0 w 202"/>
                  <a:gd name="T103" fmla="*/ 187 h 198"/>
                  <a:gd name="T104" fmla="*/ 2 w 202"/>
                  <a:gd name="T105" fmla="*/ 17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2" h="198">
                    <a:moveTo>
                      <a:pt x="2" y="173"/>
                    </a:moveTo>
                    <a:lnTo>
                      <a:pt x="2" y="164"/>
                    </a:lnTo>
                    <a:lnTo>
                      <a:pt x="3" y="160"/>
                    </a:lnTo>
                    <a:lnTo>
                      <a:pt x="12" y="130"/>
                    </a:lnTo>
                    <a:lnTo>
                      <a:pt x="12" y="128"/>
                    </a:lnTo>
                    <a:lnTo>
                      <a:pt x="12" y="126"/>
                    </a:lnTo>
                    <a:lnTo>
                      <a:pt x="14" y="125"/>
                    </a:lnTo>
                    <a:lnTo>
                      <a:pt x="14" y="121"/>
                    </a:lnTo>
                    <a:lnTo>
                      <a:pt x="19" y="116"/>
                    </a:lnTo>
                    <a:lnTo>
                      <a:pt x="19" y="112"/>
                    </a:lnTo>
                    <a:lnTo>
                      <a:pt x="25" y="110"/>
                    </a:lnTo>
                    <a:lnTo>
                      <a:pt x="30" y="103"/>
                    </a:lnTo>
                    <a:lnTo>
                      <a:pt x="34" y="84"/>
                    </a:lnTo>
                    <a:lnTo>
                      <a:pt x="35" y="82"/>
                    </a:lnTo>
                    <a:lnTo>
                      <a:pt x="34" y="76"/>
                    </a:lnTo>
                    <a:lnTo>
                      <a:pt x="30" y="73"/>
                    </a:lnTo>
                    <a:lnTo>
                      <a:pt x="28" y="69"/>
                    </a:lnTo>
                    <a:lnTo>
                      <a:pt x="27" y="68"/>
                    </a:lnTo>
                    <a:lnTo>
                      <a:pt x="23" y="53"/>
                    </a:lnTo>
                    <a:lnTo>
                      <a:pt x="23" y="51"/>
                    </a:lnTo>
                    <a:lnTo>
                      <a:pt x="27" y="48"/>
                    </a:lnTo>
                    <a:lnTo>
                      <a:pt x="27" y="43"/>
                    </a:lnTo>
                    <a:lnTo>
                      <a:pt x="25" y="39"/>
                    </a:lnTo>
                    <a:lnTo>
                      <a:pt x="23" y="35"/>
                    </a:lnTo>
                    <a:lnTo>
                      <a:pt x="19" y="19"/>
                    </a:lnTo>
                    <a:lnTo>
                      <a:pt x="10" y="7"/>
                    </a:lnTo>
                    <a:lnTo>
                      <a:pt x="10" y="7"/>
                    </a:lnTo>
                    <a:lnTo>
                      <a:pt x="10" y="5"/>
                    </a:lnTo>
                    <a:lnTo>
                      <a:pt x="27" y="0"/>
                    </a:lnTo>
                    <a:lnTo>
                      <a:pt x="44" y="0"/>
                    </a:lnTo>
                    <a:lnTo>
                      <a:pt x="46" y="0"/>
                    </a:lnTo>
                    <a:lnTo>
                      <a:pt x="75" y="0"/>
                    </a:lnTo>
                    <a:lnTo>
                      <a:pt x="75" y="0"/>
                    </a:lnTo>
                    <a:lnTo>
                      <a:pt x="77" y="1"/>
                    </a:lnTo>
                    <a:lnTo>
                      <a:pt x="77" y="1"/>
                    </a:lnTo>
                    <a:lnTo>
                      <a:pt x="78" y="1"/>
                    </a:lnTo>
                    <a:lnTo>
                      <a:pt x="85" y="23"/>
                    </a:lnTo>
                    <a:lnTo>
                      <a:pt x="94" y="35"/>
                    </a:lnTo>
                    <a:lnTo>
                      <a:pt x="98" y="35"/>
                    </a:lnTo>
                    <a:lnTo>
                      <a:pt x="102" y="35"/>
                    </a:lnTo>
                    <a:lnTo>
                      <a:pt x="112" y="34"/>
                    </a:lnTo>
                    <a:lnTo>
                      <a:pt x="123" y="34"/>
                    </a:lnTo>
                    <a:lnTo>
                      <a:pt x="125" y="28"/>
                    </a:lnTo>
                    <a:lnTo>
                      <a:pt x="125" y="26"/>
                    </a:lnTo>
                    <a:lnTo>
                      <a:pt x="127" y="18"/>
                    </a:lnTo>
                    <a:lnTo>
                      <a:pt x="139" y="18"/>
                    </a:lnTo>
                    <a:lnTo>
                      <a:pt x="139" y="16"/>
                    </a:lnTo>
                    <a:lnTo>
                      <a:pt x="146" y="16"/>
                    </a:lnTo>
                    <a:lnTo>
                      <a:pt x="146" y="23"/>
                    </a:lnTo>
                    <a:lnTo>
                      <a:pt x="160" y="23"/>
                    </a:lnTo>
                    <a:lnTo>
                      <a:pt x="162" y="26"/>
                    </a:lnTo>
                    <a:lnTo>
                      <a:pt x="164" y="50"/>
                    </a:lnTo>
                    <a:lnTo>
                      <a:pt x="164" y="53"/>
                    </a:lnTo>
                    <a:lnTo>
                      <a:pt x="164" y="60"/>
                    </a:lnTo>
                    <a:lnTo>
                      <a:pt x="169" y="75"/>
                    </a:lnTo>
                    <a:lnTo>
                      <a:pt x="169" y="78"/>
                    </a:lnTo>
                    <a:lnTo>
                      <a:pt x="166" y="84"/>
                    </a:lnTo>
                    <a:lnTo>
                      <a:pt x="166" y="84"/>
                    </a:lnTo>
                    <a:lnTo>
                      <a:pt x="166" y="84"/>
                    </a:lnTo>
                    <a:lnTo>
                      <a:pt x="166" y="85"/>
                    </a:lnTo>
                    <a:lnTo>
                      <a:pt x="168" y="85"/>
                    </a:lnTo>
                    <a:lnTo>
                      <a:pt x="169" y="87"/>
                    </a:lnTo>
                    <a:lnTo>
                      <a:pt x="171" y="87"/>
                    </a:lnTo>
                    <a:lnTo>
                      <a:pt x="171" y="87"/>
                    </a:lnTo>
                    <a:lnTo>
                      <a:pt x="173" y="84"/>
                    </a:lnTo>
                    <a:lnTo>
                      <a:pt x="175" y="82"/>
                    </a:lnTo>
                    <a:lnTo>
                      <a:pt x="189" y="82"/>
                    </a:lnTo>
                    <a:lnTo>
                      <a:pt x="193" y="82"/>
                    </a:lnTo>
                    <a:lnTo>
                      <a:pt x="194" y="82"/>
                    </a:lnTo>
                    <a:lnTo>
                      <a:pt x="196" y="82"/>
                    </a:lnTo>
                    <a:lnTo>
                      <a:pt x="198" y="80"/>
                    </a:lnTo>
                    <a:lnTo>
                      <a:pt x="198" y="80"/>
                    </a:lnTo>
                    <a:lnTo>
                      <a:pt x="200" y="80"/>
                    </a:lnTo>
                    <a:lnTo>
                      <a:pt x="200" y="82"/>
                    </a:lnTo>
                    <a:lnTo>
                      <a:pt x="200" y="82"/>
                    </a:lnTo>
                    <a:lnTo>
                      <a:pt x="200" y="84"/>
                    </a:lnTo>
                    <a:lnTo>
                      <a:pt x="200" y="85"/>
                    </a:lnTo>
                    <a:lnTo>
                      <a:pt x="196" y="112"/>
                    </a:lnTo>
                    <a:lnTo>
                      <a:pt x="198" y="112"/>
                    </a:lnTo>
                    <a:lnTo>
                      <a:pt x="198" y="114"/>
                    </a:lnTo>
                    <a:lnTo>
                      <a:pt x="202" y="114"/>
                    </a:lnTo>
                    <a:lnTo>
                      <a:pt x="166" y="114"/>
                    </a:lnTo>
                    <a:lnTo>
                      <a:pt x="166" y="175"/>
                    </a:lnTo>
                    <a:lnTo>
                      <a:pt x="169" y="176"/>
                    </a:lnTo>
                    <a:lnTo>
                      <a:pt x="169" y="178"/>
                    </a:lnTo>
                    <a:lnTo>
                      <a:pt x="182" y="187"/>
                    </a:lnTo>
                    <a:lnTo>
                      <a:pt x="184" y="189"/>
                    </a:lnTo>
                    <a:lnTo>
                      <a:pt x="185" y="191"/>
                    </a:lnTo>
                    <a:lnTo>
                      <a:pt x="185" y="191"/>
                    </a:lnTo>
                    <a:lnTo>
                      <a:pt x="157" y="198"/>
                    </a:lnTo>
                    <a:lnTo>
                      <a:pt x="157" y="198"/>
                    </a:lnTo>
                    <a:lnTo>
                      <a:pt x="114" y="193"/>
                    </a:lnTo>
                    <a:lnTo>
                      <a:pt x="112" y="189"/>
                    </a:lnTo>
                    <a:lnTo>
                      <a:pt x="107" y="187"/>
                    </a:lnTo>
                    <a:lnTo>
                      <a:pt x="35" y="187"/>
                    </a:lnTo>
                    <a:lnTo>
                      <a:pt x="32" y="184"/>
                    </a:lnTo>
                    <a:lnTo>
                      <a:pt x="28" y="182"/>
                    </a:lnTo>
                    <a:lnTo>
                      <a:pt x="27" y="180"/>
                    </a:lnTo>
                    <a:lnTo>
                      <a:pt x="18" y="178"/>
                    </a:lnTo>
                    <a:lnTo>
                      <a:pt x="14" y="180"/>
                    </a:lnTo>
                    <a:lnTo>
                      <a:pt x="12" y="184"/>
                    </a:lnTo>
                    <a:lnTo>
                      <a:pt x="10" y="184"/>
                    </a:lnTo>
                    <a:lnTo>
                      <a:pt x="7" y="182"/>
                    </a:lnTo>
                    <a:lnTo>
                      <a:pt x="0" y="187"/>
                    </a:lnTo>
                    <a:lnTo>
                      <a:pt x="0" y="175"/>
                    </a:lnTo>
                    <a:lnTo>
                      <a:pt x="2" y="176"/>
                    </a:lnTo>
                    <a:lnTo>
                      <a:pt x="2" y="17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61" name="Freeform 2412"/>
              <p:cNvSpPr>
                <a:spLocks/>
              </p:cNvSpPr>
              <p:nvPr/>
            </p:nvSpPr>
            <p:spPr bwMode="auto">
              <a:xfrm>
                <a:off x="2887" y="2782"/>
                <a:ext cx="16" cy="24"/>
              </a:xfrm>
              <a:custGeom>
                <a:avLst/>
                <a:gdLst>
                  <a:gd name="T0" fmla="*/ 16 w 16"/>
                  <a:gd name="T1" fmla="*/ 6 h 24"/>
                  <a:gd name="T2" fmla="*/ 16 w 16"/>
                  <a:gd name="T3" fmla="*/ 2 h 24"/>
                  <a:gd name="T4" fmla="*/ 13 w 16"/>
                  <a:gd name="T5" fmla="*/ 0 h 24"/>
                  <a:gd name="T6" fmla="*/ 9 w 16"/>
                  <a:gd name="T7" fmla="*/ 2 h 24"/>
                  <a:gd name="T8" fmla="*/ 7 w 16"/>
                  <a:gd name="T9" fmla="*/ 8 h 24"/>
                  <a:gd name="T10" fmla="*/ 0 w 16"/>
                  <a:gd name="T11" fmla="*/ 11 h 24"/>
                  <a:gd name="T12" fmla="*/ 2 w 16"/>
                  <a:gd name="T13" fmla="*/ 13 h 24"/>
                  <a:gd name="T14" fmla="*/ 4 w 16"/>
                  <a:gd name="T15" fmla="*/ 22 h 24"/>
                  <a:gd name="T16" fmla="*/ 5 w 16"/>
                  <a:gd name="T17" fmla="*/ 24 h 24"/>
                  <a:gd name="T18" fmla="*/ 9 w 16"/>
                  <a:gd name="T19" fmla="*/ 22 h 24"/>
                  <a:gd name="T20" fmla="*/ 11 w 16"/>
                  <a:gd name="T21" fmla="*/ 9 h 24"/>
                  <a:gd name="T22" fmla="*/ 16 w 16"/>
                  <a:gd name="T23" fmla="*/ 6 h 24"/>
                  <a:gd name="T24" fmla="*/ 16 w 16"/>
                  <a:gd name="T25"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4">
                    <a:moveTo>
                      <a:pt x="16" y="6"/>
                    </a:moveTo>
                    <a:lnTo>
                      <a:pt x="16" y="2"/>
                    </a:lnTo>
                    <a:lnTo>
                      <a:pt x="13" y="0"/>
                    </a:lnTo>
                    <a:lnTo>
                      <a:pt x="9" y="2"/>
                    </a:lnTo>
                    <a:lnTo>
                      <a:pt x="7" y="8"/>
                    </a:lnTo>
                    <a:lnTo>
                      <a:pt x="0" y="11"/>
                    </a:lnTo>
                    <a:lnTo>
                      <a:pt x="2" y="13"/>
                    </a:lnTo>
                    <a:lnTo>
                      <a:pt x="4" y="22"/>
                    </a:lnTo>
                    <a:lnTo>
                      <a:pt x="5" y="24"/>
                    </a:lnTo>
                    <a:lnTo>
                      <a:pt x="9" y="22"/>
                    </a:lnTo>
                    <a:lnTo>
                      <a:pt x="11" y="9"/>
                    </a:lnTo>
                    <a:lnTo>
                      <a:pt x="16" y="6"/>
                    </a:lnTo>
                    <a:lnTo>
                      <a:pt x="16"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62" name="Freeform 2413"/>
              <p:cNvSpPr>
                <a:spLocks/>
              </p:cNvSpPr>
              <p:nvPr/>
            </p:nvSpPr>
            <p:spPr bwMode="auto">
              <a:xfrm>
                <a:off x="2887" y="2782"/>
                <a:ext cx="16" cy="24"/>
              </a:xfrm>
              <a:custGeom>
                <a:avLst/>
                <a:gdLst>
                  <a:gd name="T0" fmla="*/ 16 w 16"/>
                  <a:gd name="T1" fmla="*/ 6 h 24"/>
                  <a:gd name="T2" fmla="*/ 16 w 16"/>
                  <a:gd name="T3" fmla="*/ 2 h 24"/>
                  <a:gd name="T4" fmla="*/ 13 w 16"/>
                  <a:gd name="T5" fmla="*/ 0 h 24"/>
                  <a:gd name="T6" fmla="*/ 9 w 16"/>
                  <a:gd name="T7" fmla="*/ 2 h 24"/>
                  <a:gd name="T8" fmla="*/ 7 w 16"/>
                  <a:gd name="T9" fmla="*/ 8 h 24"/>
                  <a:gd name="T10" fmla="*/ 0 w 16"/>
                  <a:gd name="T11" fmla="*/ 11 h 24"/>
                  <a:gd name="T12" fmla="*/ 2 w 16"/>
                  <a:gd name="T13" fmla="*/ 13 h 24"/>
                  <a:gd name="T14" fmla="*/ 4 w 16"/>
                  <a:gd name="T15" fmla="*/ 22 h 24"/>
                  <a:gd name="T16" fmla="*/ 5 w 16"/>
                  <a:gd name="T17" fmla="*/ 24 h 24"/>
                  <a:gd name="T18" fmla="*/ 9 w 16"/>
                  <a:gd name="T19" fmla="*/ 22 h 24"/>
                  <a:gd name="T20" fmla="*/ 11 w 16"/>
                  <a:gd name="T21" fmla="*/ 9 h 24"/>
                  <a:gd name="T22" fmla="*/ 16 w 16"/>
                  <a:gd name="T23" fmla="*/ 6 h 24"/>
                  <a:gd name="T24" fmla="*/ 16 w 16"/>
                  <a:gd name="T25" fmla="*/ 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4">
                    <a:moveTo>
                      <a:pt x="16" y="6"/>
                    </a:moveTo>
                    <a:lnTo>
                      <a:pt x="16" y="2"/>
                    </a:lnTo>
                    <a:lnTo>
                      <a:pt x="13" y="0"/>
                    </a:lnTo>
                    <a:lnTo>
                      <a:pt x="9" y="2"/>
                    </a:lnTo>
                    <a:lnTo>
                      <a:pt x="7" y="8"/>
                    </a:lnTo>
                    <a:lnTo>
                      <a:pt x="0" y="11"/>
                    </a:lnTo>
                    <a:lnTo>
                      <a:pt x="2" y="13"/>
                    </a:lnTo>
                    <a:lnTo>
                      <a:pt x="4" y="22"/>
                    </a:lnTo>
                    <a:lnTo>
                      <a:pt x="5" y="24"/>
                    </a:lnTo>
                    <a:lnTo>
                      <a:pt x="9" y="22"/>
                    </a:lnTo>
                    <a:lnTo>
                      <a:pt x="11" y="9"/>
                    </a:lnTo>
                    <a:lnTo>
                      <a:pt x="16" y="6"/>
                    </a:lnTo>
                    <a:lnTo>
                      <a:pt x="16"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63" name="Freeform 2414"/>
              <p:cNvSpPr>
                <a:spLocks/>
              </p:cNvSpPr>
              <p:nvPr/>
            </p:nvSpPr>
            <p:spPr bwMode="auto">
              <a:xfrm>
                <a:off x="2959" y="3072"/>
                <a:ext cx="262" cy="232"/>
              </a:xfrm>
              <a:custGeom>
                <a:avLst/>
                <a:gdLst>
                  <a:gd name="T0" fmla="*/ 55 w 262"/>
                  <a:gd name="T1" fmla="*/ 114 h 232"/>
                  <a:gd name="T2" fmla="*/ 41 w 262"/>
                  <a:gd name="T3" fmla="*/ 123 h 232"/>
                  <a:gd name="T4" fmla="*/ 25 w 262"/>
                  <a:gd name="T5" fmla="*/ 123 h 232"/>
                  <a:gd name="T6" fmla="*/ 17 w 262"/>
                  <a:gd name="T7" fmla="*/ 119 h 232"/>
                  <a:gd name="T8" fmla="*/ 10 w 262"/>
                  <a:gd name="T9" fmla="*/ 110 h 232"/>
                  <a:gd name="T10" fmla="*/ 3 w 262"/>
                  <a:gd name="T11" fmla="*/ 116 h 232"/>
                  <a:gd name="T12" fmla="*/ 0 w 262"/>
                  <a:gd name="T13" fmla="*/ 118 h 232"/>
                  <a:gd name="T14" fmla="*/ 1 w 262"/>
                  <a:gd name="T15" fmla="*/ 119 h 232"/>
                  <a:gd name="T16" fmla="*/ 28 w 262"/>
                  <a:gd name="T17" fmla="*/ 178 h 232"/>
                  <a:gd name="T18" fmla="*/ 26 w 262"/>
                  <a:gd name="T19" fmla="*/ 194 h 232"/>
                  <a:gd name="T20" fmla="*/ 23 w 262"/>
                  <a:gd name="T21" fmla="*/ 194 h 232"/>
                  <a:gd name="T22" fmla="*/ 23 w 262"/>
                  <a:gd name="T23" fmla="*/ 198 h 232"/>
                  <a:gd name="T24" fmla="*/ 25 w 262"/>
                  <a:gd name="T25" fmla="*/ 202 h 232"/>
                  <a:gd name="T26" fmla="*/ 26 w 262"/>
                  <a:gd name="T27" fmla="*/ 205 h 232"/>
                  <a:gd name="T28" fmla="*/ 32 w 262"/>
                  <a:gd name="T29" fmla="*/ 212 h 232"/>
                  <a:gd name="T30" fmla="*/ 30 w 262"/>
                  <a:gd name="T31" fmla="*/ 216 h 232"/>
                  <a:gd name="T32" fmla="*/ 32 w 262"/>
                  <a:gd name="T33" fmla="*/ 225 h 232"/>
                  <a:gd name="T34" fmla="*/ 32 w 262"/>
                  <a:gd name="T35" fmla="*/ 219 h 232"/>
                  <a:gd name="T36" fmla="*/ 37 w 262"/>
                  <a:gd name="T37" fmla="*/ 219 h 232"/>
                  <a:gd name="T38" fmla="*/ 37 w 262"/>
                  <a:gd name="T39" fmla="*/ 225 h 232"/>
                  <a:gd name="T40" fmla="*/ 44 w 262"/>
                  <a:gd name="T41" fmla="*/ 225 h 232"/>
                  <a:gd name="T42" fmla="*/ 46 w 262"/>
                  <a:gd name="T43" fmla="*/ 228 h 232"/>
                  <a:gd name="T44" fmla="*/ 51 w 262"/>
                  <a:gd name="T45" fmla="*/ 230 h 232"/>
                  <a:gd name="T46" fmla="*/ 57 w 262"/>
                  <a:gd name="T47" fmla="*/ 232 h 232"/>
                  <a:gd name="T48" fmla="*/ 62 w 262"/>
                  <a:gd name="T49" fmla="*/ 227 h 232"/>
                  <a:gd name="T50" fmla="*/ 69 w 262"/>
                  <a:gd name="T51" fmla="*/ 225 h 232"/>
                  <a:gd name="T52" fmla="*/ 76 w 262"/>
                  <a:gd name="T53" fmla="*/ 225 h 232"/>
                  <a:gd name="T54" fmla="*/ 83 w 262"/>
                  <a:gd name="T55" fmla="*/ 225 h 232"/>
                  <a:gd name="T56" fmla="*/ 87 w 262"/>
                  <a:gd name="T57" fmla="*/ 223 h 232"/>
                  <a:gd name="T58" fmla="*/ 92 w 262"/>
                  <a:gd name="T59" fmla="*/ 218 h 232"/>
                  <a:gd name="T60" fmla="*/ 107 w 262"/>
                  <a:gd name="T61" fmla="*/ 219 h 232"/>
                  <a:gd name="T62" fmla="*/ 112 w 262"/>
                  <a:gd name="T63" fmla="*/ 218 h 232"/>
                  <a:gd name="T64" fmla="*/ 133 w 262"/>
                  <a:gd name="T65" fmla="*/ 221 h 232"/>
                  <a:gd name="T66" fmla="*/ 141 w 262"/>
                  <a:gd name="T67" fmla="*/ 218 h 232"/>
                  <a:gd name="T68" fmla="*/ 148 w 262"/>
                  <a:gd name="T69" fmla="*/ 216 h 232"/>
                  <a:gd name="T70" fmla="*/ 150 w 262"/>
                  <a:gd name="T71" fmla="*/ 212 h 232"/>
                  <a:gd name="T72" fmla="*/ 244 w 262"/>
                  <a:gd name="T73" fmla="*/ 123 h 232"/>
                  <a:gd name="T74" fmla="*/ 253 w 262"/>
                  <a:gd name="T75" fmla="*/ 118 h 232"/>
                  <a:gd name="T76" fmla="*/ 262 w 262"/>
                  <a:gd name="T77" fmla="*/ 82 h 232"/>
                  <a:gd name="T78" fmla="*/ 248 w 262"/>
                  <a:gd name="T79" fmla="*/ 84 h 232"/>
                  <a:gd name="T80" fmla="*/ 244 w 262"/>
                  <a:gd name="T81" fmla="*/ 91 h 232"/>
                  <a:gd name="T82" fmla="*/ 230 w 262"/>
                  <a:gd name="T83" fmla="*/ 80 h 232"/>
                  <a:gd name="T84" fmla="*/ 241 w 262"/>
                  <a:gd name="T85" fmla="*/ 64 h 232"/>
                  <a:gd name="T86" fmla="*/ 250 w 262"/>
                  <a:gd name="T87" fmla="*/ 66 h 232"/>
                  <a:gd name="T88" fmla="*/ 241 w 262"/>
                  <a:gd name="T89" fmla="*/ 10 h 232"/>
                  <a:gd name="T90" fmla="*/ 235 w 262"/>
                  <a:gd name="T91" fmla="*/ 5 h 232"/>
                  <a:gd name="T92" fmla="*/ 223 w 262"/>
                  <a:gd name="T93" fmla="*/ 3 h 232"/>
                  <a:gd name="T94" fmla="*/ 207 w 262"/>
                  <a:gd name="T95" fmla="*/ 2 h 232"/>
                  <a:gd name="T96" fmla="*/ 187 w 262"/>
                  <a:gd name="T97" fmla="*/ 12 h 232"/>
                  <a:gd name="T98" fmla="*/ 162 w 262"/>
                  <a:gd name="T99" fmla="*/ 37 h 232"/>
                  <a:gd name="T100" fmla="*/ 151 w 262"/>
                  <a:gd name="T101" fmla="*/ 48 h 232"/>
                  <a:gd name="T102" fmla="*/ 144 w 262"/>
                  <a:gd name="T103" fmla="*/ 60 h 232"/>
                  <a:gd name="T104" fmla="*/ 128 w 262"/>
                  <a:gd name="T105" fmla="*/ 64 h 232"/>
                  <a:gd name="T106" fmla="*/ 114 w 262"/>
                  <a:gd name="T107" fmla="*/ 57 h 232"/>
                  <a:gd name="T108" fmla="*/ 100 w 262"/>
                  <a:gd name="T109" fmla="*/ 73 h 232"/>
                  <a:gd name="T110" fmla="*/ 91 w 262"/>
                  <a:gd name="T111" fmla="*/ 80 h 232"/>
                  <a:gd name="T112" fmla="*/ 69 w 262"/>
                  <a:gd name="T113" fmla="*/ 82 h 232"/>
                  <a:gd name="T114" fmla="*/ 71 w 262"/>
                  <a:gd name="T115" fmla="*/ 69 h 232"/>
                  <a:gd name="T116" fmla="*/ 57 w 262"/>
                  <a:gd name="T117" fmla="*/ 4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232">
                    <a:moveTo>
                      <a:pt x="55" y="46"/>
                    </a:moveTo>
                    <a:lnTo>
                      <a:pt x="55" y="114"/>
                    </a:lnTo>
                    <a:lnTo>
                      <a:pt x="50" y="116"/>
                    </a:lnTo>
                    <a:lnTo>
                      <a:pt x="41" y="123"/>
                    </a:lnTo>
                    <a:lnTo>
                      <a:pt x="30" y="123"/>
                    </a:lnTo>
                    <a:lnTo>
                      <a:pt x="25" y="123"/>
                    </a:lnTo>
                    <a:lnTo>
                      <a:pt x="21" y="123"/>
                    </a:lnTo>
                    <a:lnTo>
                      <a:pt x="17" y="119"/>
                    </a:lnTo>
                    <a:lnTo>
                      <a:pt x="17" y="116"/>
                    </a:lnTo>
                    <a:lnTo>
                      <a:pt x="10" y="110"/>
                    </a:lnTo>
                    <a:lnTo>
                      <a:pt x="7" y="110"/>
                    </a:lnTo>
                    <a:lnTo>
                      <a:pt x="3" y="116"/>
                    </a:lnTo>
                    <a:lnTo>
                      <a:pt x="1" y="118"/>
                    </a:lnTo>
                    <a:lnTo>
                      <a:pt x="0" y="118"/>
                    </a:lnTo>
                    <a:lnTo>
                      <a:pt x="1" y="118"/>
                    </a:lnTo>
                    <a:lnTo>
                      <a:pt x="1" y="119"/>
                    </a:lnTo>
                    <a:lnTo>
                      <a:pt x="5" y="125"/>
                    </a:lnTo>
                    <a:lnTo>
                      <a:pt x="28" y="178"/>
                    </a:lnTo>
                    <a:lnTo>
                      <a:pt x="30" y="189"/>
                    </a:lnTo>
                    <a:lnTo>
                      <a:pt x="26" y="194"/>
                    </a:lnTo>
                    <a:lnTo>
                      <a:pt x="23" y="193"/>
                    </a:lnTo>
                    <a:lnTo>
                      <a:pt x="23" y="194"/>
                    </a:lnTo>
                    <a:lnTo>
                      <a:pt x="23" y="198"/>
                    </a:lnTo>
                    <a:lnTo>
                      <a:pt x="23" y="198"/>
                    </a:lnTo>
                    <a:lnTo>
                      <a:pt x="25" y="200"/>
                    </a:lnTo>
                    <a:lnTo>
                      <a:pt x="25" y="202"/>
                    </a:lnTo>
                    <a:lnTo>
                      <a:pt x="25" y="202"/>
                    </a:lnTo>
                    <a:lnTo>
                      <a:pt x="26" y="205"/>
                    </a:lnTo>
                    <a:lnTo>
                      <a:pt x="28" y="205"/>
                    </a:lnTo>
                    <a:lnTo>
                      <a:pt x="32" y="212"/>
                    </a:lnTo>
                    <a:lnTo>
                      <a:pt x="32" y="214"/>
                    </a:lnTo>
                    <a:lnTo>
                      <a:pt x="30" y="216"/>
                    </a:lnTo>
                    <a:lnTo>
                      <a:pt x="30" y="221"/>
                    </a:lnTo>
                    <a:lnTo>
                      <a:pt x="32" y="225"/>
                    </a:lnTo>
                    <a:lnTo>
                      <a:pt x="32" y="225"/>
                    </a:lnTo>
                    <a:lnTo>
                      <a:pt x="32" y="219"/>
                    </a:lnTo>
                    <a:lnTo>
                      <a:pt x="33" y="219"/>
                    </a:lnTo>
                    <a:lnTo>
                      <a:pt x="37" y="219"/>
                    </a:lnTo>
                    <a:lnTo>
                      <a:pt x="37" y="223"/>
                    </a:lnTo>
                    <a:lnTo>
                      <a:pt x="37" y="225"/>
                    </a:lnTo>
                    <a:lnTo>
                      <a:pt x="39" y="225"/>
                    </a:lnTo>
                    <a:lnTo>
                      <a:pt x="44" y="225"/>
                    </a:lnTo>
                    <a:lnTo>
                      <a:pt x="46" y="227"/>
                    </a:lnTo>
                    <a:lnTo>
                      <a:pt x="46" y="228"/>
                    </a:lnTo>
                    <a:lnTo>
                      <a:pt x="50" y="230"/>
                    </a:lnTo>
                    <a:lnTo>
                      <a:pt x="51" y="230"/>
                    </a:lnTo>
                    <a:lnTo>
                      <a:pt x="53" y="232"/>
                    </a:lnTo>
                    <a:lnTo>
                      <a:pt x="57" y="232"/>
                    </a:lnTo>
                    <a:lnTo>
                      <a:pt x="60" y="230"/>
                    </a:lnTo>
                    <a:lnTo>
                      <a:pt x="62" y="227"/>
                    </a:lnTo>
                    <a:lnTo>
                      <a:pt x="67" y="227"/>
                    </a:lnTo>
                    <a:lnTo>
                      <a:pt x="69" y="225"/>
                    </a:lnTo>
                    <a:lnTo>
                      <a:pt x="71" y="225"/>
                    </a:lnTo>
                    <a:lnTo>
                      <a:pt x="76" y="225"/>
                    </a:lnTo>
                    <a:lnTo>
                      <a:pt x="78" y="225"/>
                    </a:lnTo>
                    <a:lnTo>
                      <a:pt x="83" y="225"/>
                    </a:lnTo>
                    <a:lnTo>
                      <a:pt x="85" y="225"/>
                    </a:lnTo>
                    <a:lnTo>
                      <a:pt x="87" y="223"/>
                    </a:lnTo>
                    <a:lnTo>
                      <a:pt x="91" y="219"/>
                    </a:lnTo>
                    <a:lnTo>
                      <a:pt x="92" y="218"/>
                    </a:lnTo>
                    <a:lnTo>
                      <a:pt x="100" y="218"/>
                    </a:lnTo>
                    <a:lnTo>
                      <a:pt x="107" y="219"/>
                    </a:lnTo>
                    <a:lnTo>
                      <a:pt x="108" y="219"/>
                    </a:lnTo>
                    <a:lnTo>
                      <a:pt x="112" y="218"/>
                    </a:lnTo>
                    <a:lnTo>
                      <a:pt x="116" y="218"/>
                    </a:lnTo>
                    <a:lnTo>
                      <a:pt x="133" y="221"/>
                    </a:lnTo>
                    <a:lnTo>
                      <a:pt x="137" y="218"/>
                    </a:lnTo>
                    <a:lnTo>
                      <a:pt x="141" y="218"/>
                    </a:lnTo>
                    <a:lnTo>
                      <a:pt x="148" y="219"/>
                    </a:lnTo>
                    <a:lnTo>
                      <a:pt x="148" y="216"/>
                    </a:lnTo>
                    <a:lnTo>
                      <a:pt x="148" y="214"/>
                    </a:lnTo>
                    <a:lnTo>
                      <a:pt x="150" y="212"/>
                    </a:lnTo>
                    <a:lnTo>
                      <a:pt x="166" y="212"/>
                    </a:lnTo>
                    <a:lnTo>
                      <a:pt x="244" y="123"/>
                    </a:lnTo>
                    <a:lnTo>
                      <a:pt x="248" y="121"/>
                    </a:lnTo>
                    <a:lnTo>
                      <a:pt x="253" y="118"/>
                    </a:lnTo>
                    <a:lnTo>
                      <a:pt x="255" y="114"/>
                    </a:lnTo>
                    <a:lnTo>
                      <a:pt x="262" y="82"/>
                    </a:lnTo>
                    <a:lnTo>
                      <a:pt x="250" y="82"/>
                    </a:lnTo>
                    <a:lnTo>
                      <a:pt x="248" y="84"/>
                    </a:lnTo>
                    <a:lnTo>
                      <a:pt x="246" y="87"/>
                    </a:lnTo>
                    <a:lnTo>
                      <a:pt x="244" y="91"/>
                    </a:lnTo>
                    <a:lnTo>
                      <a:pt x="233" y="89"/>
                    </a:lnTo>
                    <a:lnTo>
                      <a:pt x="230" y="80"/>
                    </a:lnTo>
                    <a:lnTo>
                      <a:pt x="235" y="66"/>
                    </a:lnTo>
                    <a:lnTo>
                      <a:pt x="241" y="64"/>
                    </a:lnTo>
                    <a:lnTo>
                      <a:pt x="246" y="68"/>
                    </a:lnTo>
                    <a:lnTo>
                      <a:pt x="250" y="66"/>
                    </a:lnTo>
                    <a:lnTo>
                      <a:pt x="242" y="10"/>
                    </a:lnTo>
                    <a:lnTo>
                      <a:pt x="241" y="10"/>
                    </a:lnTo>
                    <a:lnTo>
                      <a:pt x="241" y="9"/>
                    </a:lnTo>
                    <a:lnTo>
                      <a:pt x="235" y="5"/>
                    </a:lnTo>
                    <a:lnTo>
                      <a:pt x="230" y="3"/>
                    </a:lnTo>
                    <a:lnTo>
                      <a:pt x="223" y="3"/>
                    </a:lnTo>
                    <a:lnTo>
                      <a:pt x="210" y="0"/>
                    </a:lnTo>
                    <a:lnTo>
                      <a:pt x="207" y="2"/>
                    </a:lnTo>
                    <a:lnTo>
                      <a:pt x="205" y="2"/>
                    </a:lnTo>
                    <a:lnTo>
                      <a:pt x="187" y="12"/>
                    </a:lnTo>
                    <a:lnTo>
                      <a:pt x="171" y="27"/>
                    </a:lnTo>
                    <a:lnTo>
                      <a:pt x="162" y="37"/>
                    </a:lnTo>
                    <a:lnTo>
                      <a:pt x="155" y="43"/>
                    </a:lnTo>
                    <a:lnTo>
                      <a:pt x="151" y="48"/>
                    </a:lnTo>
                    <a:lnTo>
                      <a:pt x="146" y="59"/>
                    </a:lnTo>
                    <a:lnTo>
                      <a:pt x="144" y="60"/>
                    </a:lnTo>
                    <a:lnTo>
                      <a:pt x="132" y="64"/>
                    </a:lnTo>
                    <a:lnTo>
                      <a:pt x="128" y="64"/>
                    </a:lnTo>
                    <a:lnTo>
                      <a:pt x="117" y="59"/>
                    </a:lnTo>
                    <a:lnTo>
                      <a:pt x="114" y="57"/>
                    </a:lnTo>
                    <a:lnTo>
                      <a:pt x="110" y="59"/>
                    </a:lnTo>
                    <a:lnTo>
                      <a:pt x="100" y="73"/>
                    </a:lnTo>
                    <a:lnTo>
                      <a:pt x="96" y="75"/>
                    </a:lnTo>
                    <a:lnTo>
                      <a:pt x="91" y="80"/>
                    </a:lnTo>
                    <a:lnTo>
                      <a:pt x="82" y="84"/>
                    </a:lnTo>
                    <a:lnTo>
                      <a:pt x="69" y="82"/>
                    </a:lnTo>
                    <a:lnTo>
                      <a:pt x="67" y="78"/>
                    </a:lnTo>
                    <a:lnTo>
                      <a:pt x="71" y="69"/>
                    </a:lnTo>
                    <a:lnTo>
                      <a:pt x="69" y="62"/>
                    </a:lnTo>
                    <a:lnTo>
                      <a:pt x="57" y="46"/>
                    </a:lnTo>
                    <a:lnTo>
                      <a:pt x="55" y="4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64" name="Freeform 2415"/>
              <p:cNvSpPr>
                <a:spLocks/>
              </p:cNvSpPr>
              <p:nvPr/>
            </p:nvSpPr>
            <p:spPr bwMode="auto">
              <a:xfrm>
                <a:off x="2959" y="3072"/>
                <a:ext cx="262" cy="232"/>
              </a:xfrm>
              <a:custGeom>
                <a:avLst/>
                <a:gdLst>
                  <a:gd name="T0" fmla="*/ 55 w 262"/>
                  <a:gd name="T1" fmla="*/ 114 h 232"/>
                  <a:gd name="T2" fmla="*/ 41 w 262"/>
                  <a:gd name="T3" fmla="*/ 123 h 232"/>
                  <a:gd name="T4" fmla="*/ 25 w 262"/>
                  <a:gd name="T5" fmla="*/ 123 h 232"/>
                  <a:gd name="T6" fmla="*/ 17 w 262"/>
                  <a:gd name="T7" fmla="*/ 119 h 232"/>
                  <a:gd name="T8" fmla="*/ 10 w 262"/>
                  <a:gd name="T9" fmla="*/ 110 h 232"/>
                  <a:gd name="T10" fmla="*/ 3 w 262"/>
                  <a:gd name="T11" fmla="*/ 116 h 232"/>
                  <a:gd name="T12" fmla="*/ 0 w 262"/>
                  <a:gd name="T13" fmla="*/ 118 h 232"/>
                  <a:gd name="T14" fmla="*/ 1 w 262"/>
                  <a:gd name="T15" fmla="*/ 119 h 232"/>
                  <a:gd name="T16" fmla="*/ 28 w 262"/>
                  <a:gd name="T17" fmla="*/ 178 h 232"/>
                  <a:gd name="T18" fmla="*/ 26 w 262"/>
                  <a:gd name="T19" fmla="*/ 194 h 232"/>
                  <a:gd name="T20" fmla="*/ 23 w 262"/>
                  <a:gd name="T21" fmla="*/ 194 h 232"/>
                  <a:gd name="T22" fmla="*/ 23 w 262"/>
                  <a:gd name="T23" fmla="*/ 198 h 232"/>
                  <a:gd name="T24" fmla="*/ 25 w 262"/>
                  <a:gd name="T25" fmla="*/ 202 h 232"/>
                  <a:gd name="T26" fmla="*/ 26 w 262"/>
                  <a:gd name="T27" fmla="*/ 205 h 232"/>
                  <a:gd name="T28" fmla="*/ 32 w 262"/>
                  <a:gd name="T29" fmla="*/ 212 h 232"/>
                  <a:gd name="T30" fmla="*/ 30 w 262"/>
                  <a:gd name="T31" fmla="*/ 216 h 232"/>
                  <a:gd name="T32" fmla="*/ 32 w 262"/>
                  <a:gd name="T33" fmla="*/ 225 h 232"/>
                  <a:gd name="T34" fmla="*/ 32 w 262"/>
                  <a:gd name="T35" fmla="*/ 219 h 232"/>
                  <a:gd name="T36" fmla="*/ 37 w 262"/>
                  <a:gd name="T37" fmla="*/ 219 h 232"/>
                  <a:gd name="T38" fmla="*/ 37 w 262"/>
                  <a:gd name="T39" fmla="*/ 225 h 232"/>
                  <a:gd name="T40" fmla="*/ 44 w 262"/>
                  <a:gd name="T41" fmla="*/ 225 h 232"/>
                  <a:gd name="T42" fmla="*/ 46 w 262"/>
                  <a:gd name="T43" fmla="*/ 228 h 232"/>
                  <a:gd name="T44" fmla="*/ 51 w 262"/>
                  <a:gd name="T45" fmla="*/ 230 h 232"/>
                  <a:gd name="T46" fmla="*/ 57 w 262"/>
                  <a:gd name="T47" fmla="*/ 232 h 232"/>
                  <a:gd name="T48" fmla="*/ 62 w 262"/>
                  <a:gd name="T49" fmla="*/ 227 h 232"/>
                  <a:gd name="T50" fmla="*/ 69 w 262"/>
                  <a:gd name="T51" fmla="*/ 225 h 232"/>
                  <a:gd name="T52" fmla="*/ 76 w 262"/>
                  <a:gd name="T53" fmla="*/ 225 h 232"/>
                  <a:gd name="T54" fmla="*/ 83 w 262"/>
                  <a:gd name="T55" fmla="*/ 225 h 232"/>
                  <a:gd name="T56" fmla="*/ 87 w 262"/>
                  <a:gd name="T57" fmla="*/ 223 h 232"/>
                  <a:gd name="T58" fmla="*/ 92 w 262"/>
                  <a:gd name="T59" fmla="*/ 218 h 232"/>
                  <a:gd name="T60" fmla="*/ 107 w 262"/>
                  <a:gd name="T61" fmla="*/ 219 h 232"/>
                  <a:gd name="T62" fmla="*/ 112 w 262"/>
                  <a:gd name="T63" fmla="*/ 218 h 232"/>
                  <a:gd name="T64" fmla="*/ 133 w 262"/>
                  <a:gd name="T65" fmla="*/ 221 h 232"/>
                  <a:gd name="T66" fmla="*/ 141 w 262"/>
                  <a:gd name="T67" fmla="*/ 218 h 232"/>
                  <a:gd name="T68" fmla="*/ 148 w 262"/>
                  <a:gd name="T69" fmla="*/ 216 h 232"/>
                  <a:gd name="T70" fmla="*/ 150 w 262"/>
                  <a:gd name="T71" fmla="*/ 212 h 232"/>
                  <a:gd name="T72" fmla="*/ 244 w 262"/>
                  <a:gd name="T73" fmla="*/ 123 h 232"/>
                  <a:gd name="T74" fmla="*/ 253 w 262"/>
                  <a:gd name="T75" fmla="*/ 118 h 232"/>
                  <a:gd name="T76" fmla="*/ 262 w 262"/>
                  <a:gd name="T77" fmla="*/ 82 h 232"/>
                  <a:gd name="T78" fmla="*/ 248 w 262"/>
                  <a:gd name="T79" fmla="*/ 84 h 232"/>
                  <a:gd name="T80" fmla="*/ 244 w 262"/>
                  <a:gd name="T81" fmla="*/ 91 h 232"/>
                  <a:gd name="T82" fmla="*/ 230 w 262"/>
                  <a:gd name="T83" fmla="*/ 80 h 232"/>
                  <a:gd name="T84" fmla="*/ 241 w 262"/>
                  <a:gd name="T85" fmla="*/ 64 h 232"/>
                  <a:gd name="T86" fmla="*/ 250 w 262"/>
                  <a:gd name="T87" fmla="*/ 66 h 232"/>
                  <a:gd name="T88" fmla="*/ 241 w 262"/>
                  <a:gd name="T89" fmla="*/ 10 h 232"/>
                  <a:gd name="T90" fmla="*/ 235 w 262"/>
                  <a:gd name="T91" fmla="*/ 5 h 232"/>
                  <a:gd name="T92" fmla="*/ 223 w 262"/>
                  <a:gd name="T93" fmla="*/ 3 h 232"/>
                  <a:gd name="T94" fmla="*/ 207 w 262"/>
                  <a:gd name="T95" fmla="*/ 2 h 232"/>
                  <a:gd name="T96" fmla="*/ 187 w 262"/>
                  <a:gd name="T97" fmla="*/ 12 h 232"/>
                  <a:gd name="T98" fmla="*/ 162 w 262"/>
                  <a:gd name="T99" fmla="*/ 37 h 232"/>
                  <a:gd name="T100" fmla="*/ 151 w 262"/>
                  <a:gd name="T101" fmla="*/ 48 h 232"/>
                  <a:gd name="T102" fmla="*/ 144 w 262"/>
                  <a:gd name="T103" fmla="*/ 60 h 232"/>
                  <a:gd name="T104" fmla="*/ 128 w 262"/>
                  <a:gd name="T105" fmla="*/ 64 h 232"/>
                  <a:gd name="T106" fmla="*/ 114 w 262"/>
                  <a:gd name="T107" fmla="*/ 57 h 232"/>
                  <a:gd name="T108" fmla="*/ 100 w 262"/>
                  <a:gd name="T109" fmla="*/ 73 h 232"/>
                  <a:gd name="T110" fmla="*/ 91 w 262"/>
                  <a:gd name="T111" fmla="*/ 80 h 232"/>
                  <a:gd name="T112" fmla="*/ 69 w 262"/>
                  <a:gd name="T113" fmla="*/ 82 h 232"/>
                  <a:gd name="T114" fmla="*/ 71 w 262"/>
                  <a:gd name="T115" fmla="*/ 69 h 232"/>
                  <a:gd name="T116" fmla="*/ 57 w 262"/>
                  <a:gd name="T117" fmla="*/ 4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2" h="232">
                    <a:moveTo>
                      <a:pt x="55" y="46"/>
                    </a:moveTo>
                    <a:lnTo>
                      <a:pt x="55" y="114"/>
                    </a:lnTo>
                    <a:lnTo>
                      <a:pt x="50" y="116"/>
                    </a:lnTo>
                    <a:lnTo>
                      <a:pt x="41" y="123"/>
                    </a:lnTo>
                    <a:lnTo>
                      <a:pt x="30" y="123"/>
                    </a:lnTo>
                    <a:lnTo>
                      <a:pt x="25" y="123"/>
                    </a:lnTo>
                    <a:lnTo>
                      <a:pt x="21" y="123"/>
                    </a:lnTo>
                    <a:lnTo>
                      <a:pt x="17" y="119"/>
                    </a:lnTo>
                    <a:lnTo>
                      <a:pt x="17" y="116"/>
                    </a:lnTo>
                    <a:lnTo>
                      <a:pt x="10" y="110"/>
                    </a:lnTo>
                    <a:lnTo>
                      <a:pt x="7" y="110"/>
                    </a:lnTo>
                    <a:lnTo>
                      <a:pt x="3" y="116"/>
                    </a:lnTo>
                    <a:lnTo>
                      <a:pt x="1" y="118"/>
                    </a:lnTo>
                    <a:lnTo>
                      <a:pt x="0" y="118"/>
                    </a:lnTo>
                    <a:lnTo>
                      <a:pt x="1" y="118"/>
                    </a:lnTo>
                    <a:lnTo>
                      <a:pt x="1" y="119"/>
                    </a:lnTo>
                    <a:lnTo>
                      <a:pt x="5" y="125"/>
                    </a:lnTo>
                    <a:lnTo>
                      <a:pt x="28" y="178"/>
                    </a:lnTo>
                    <a:lnTo>
                      <a:pt x="30" y="189"/>
                    </a:lnTo>
                    <a:lnTo>
                      <a:pt x="26" y="194"/>
                    </a:lnTo>
                    <a:lnTo>
                      <a:pt x="23" y="193"/>
                    </a:lnTo>
                    <a:lnTo>
                      <a:pt x="23" y="194"/>
                    </a:lnTo>
                    <a:lnTo>
                      <a:pt x="23" y="198"/>
                    </a:lnTo>
                    <a:lnTo>
                      <a:pt x="23" y="198"/>
                    </a:lnTo>
                    <a:lnTo>
                      <a:pt x="25" y="200"/>
                    </a:lnTo>
                    <a:lnTo>
                      <a:pt x="25" y="202"/>
                    </a:lnTo>
                    <a:lnTo>
                      <a:pt x="25" y="202"/>
                    </a:lnTo>
                    <a:lnTo>
                      <a:pt x="26" y="205"/>
                    </a:lnTo>
                    <a:lnTo>
                      <a:pt x="28" y="205"/>
                    </a:lnTo>
                    <a:lnTo>
                      <a:pt x="32" y="212"/>
                    </a:lnTo>
                    <a:lnTo>
                      <a:pt x="32" y="214"/>
                    </a:lnTo>
                    <a:lnTo>
                      <a:pt x="30" y="216"/>
                    </a:lnTo>
                    <a:lnTo>
                      <a:pt x="30" y="221"/>
                    </a:lnTo>
                    <a:lnTo>
                      <a:pt x="32" y="225"/>
                    </a:lnTo>
                    <a:lnTo>
                      <a:pt x="32" y="225"/>
                    </a:lnTo>
                    <a:lnTo>
                      <a:pt x="32" y="219"/>
                    </a:lnTo>
                    <a:lnTo>
                      <a:pt x="33" y="219"/>
                    </a:lnTo>
                    <a:lnTo>
                      <a:pt x="37" y="219"/>
                    </a:lnTo>
                    <a:lnTo>
                      <a:pt x="37" y="223"/>
                    </a:lnTo>
                    <a:lnTo>
                      <a:pt x="37" y="225"/>
                    </a:lnTo>
                    <a:lnTo>
                      <a:pt x="39" y="225"/>
                    </a:lnTo>
                    <a:lnTo>
                      <a:pt x="44" y="225"/>
                    </a:lnTo>
                    <a:lnTo>
                      <a:pt x="46" y="227"/>
                    </a:lnTo>
                    <a:lnTo>
                      <a:pt x="46" y="228"/>
                    </a:lnTo>
                    <a:lnTo>
                      <a:pt x="50" y="230"/>
                    </a:lnTo>
                    <a:lnTo>
                      <a:pt x="51" y="230"/>
                    </a:lnTo>
                    <a:lnTo>
                      <a:pt x="53" y="232"/>
                    </a:lnTo>
                    <a:lnTo>
                      <a:pt x="57" y="232"/>
                    </a:lnTo>
                    <a:lnTo>
                      <a:pt x="60" y="230"/>
                    </a:lnTo>
                    <a:lnTo>
                      <a:pt x="62" y="227"/>
                    </a:lnTo>
                    <a:lnTo>
                      <a:pt x="67" y="227"/>
                    </a:lnTo>
                    <a:lnTo>
                      <a:pt x="69" y="225"/>
                    </a:lnTo>
                    <a:lnTo>
                      <a:pt x="71" y="225"/>
                    </a:lnTo>
                    <a:lnTo>
                      <a:pt x="76" y="225"/>
                    </a:lnTo>
                    <a:lnTo>
                      <a:pt x="78" y="225"/>
                    </a:lnTo>
                    <a:lnTo>
                      <a:pt x="83" y="225"/>
                    </a:lnTo>
                    <a:lnTo>
                      <a:pt x="85" y="225"/>
                    </a:lnTo>
                    <a:lnTo>
                      <a:pt x="87" y="223"/>
                    </a:lnTo>
                    <a:lnTo>
                      <a:pt x="91" y="219"/>
                    </a:lnTo>
                    <a:lnTo>
                      <a:pt x="92" y="218"/>
                    </a:lnTo>
                    <a:lnTo>
                      <a:pt x="100" y="218"/>
                    </a:lnTo>
                    <a:lnTo>
                      <a:pt x="107" y="219"/>
                    </a:lnTo>
                    <a:lnTo>
                      <a:pt x="108" y="219"/>
                    </a:lnTo>
                    <a:lnTo>
                      <a:pt x="112" y="218"/>
                    </a:lnTo>
                    <a:lnTo>
                      <a:pt x="116" y="218"/>
                    </a:lnTo>
                    <a:lnTo>
                      <a:pt x="133" y="221"/>
                    </a:lnTo>
                    <a:lnTo>
                      <a:pt x="137" y="218"/>
                    </a:lnTo>
                    <a:lnTo>
                      <a:pt x="141" y="218"/>
                    </a:lnTo>
                    <a:lnTo>
                      <a:pt x="148" y="219"/>
                    </a:lnTo>
                    <a:lnTo>
                      <a:pt x="148" y="216"/>
                    </a:lnTo>
                    <a:lnTo>
                      <a:pt x="148" y="214"/>
                    </a:lnTo>
                    <a:lnTo>
                      <a:pt x="150" y="212"/>
                    </a:lnTo>
                    <a:lnTo>
                      <a:pt x="166" y="212"/>
                    </a:lnTo>
                    <a:lnTo>
                      <a:pt x="244" y="123"/>
                    </a:lnTo>
                    <a:lnTo>
                      <a:pt x="248" y="121"/>
                    </a:lnTo>
                    <a:lnTo>
                      <a:pt x="253" y="118"/>
                    </a:lnTo>
                    <a:lnTo>
                      <a:pt x="255" y="114"/>
                    </a:lnTo>
                    <a:lnTo>
                      <a:pt x="262" y="82"/>
                    </a:lnTo>
                    <a:lnTo>
                      <a:pt x="250" y="82"/>
                    </a:lnTo>
                    <a:lnTo>
                      <a:pt x="248" y="84"/>
                    </a:lnTo>
                    <a:lnTo>
                      <a:pt x="246" y="87"/>
                    </a:lnTo>
                    <a:lnTo>
                      <a:pt x="244" y="91"/>
                    </a:lnTo>
                    <a:lnTo>
                      <a:pt x="233" y="89"/>
                    </a:lnTo>
                    <a:lnTo>
                      <a:pt x="230" y="80"/>
                    </a:lnTo>
                    <a:lnTo>
                      <a:pt x="235" y="66"/>
                    </a:lnTo>
                    <a:lnTo>
                      <a:pt x="241" y="64"/>
                    </a:lnTo>
                    <a:lnTo>
                      <a:pt x="246" y="68"/>
                    </a:lnTo>
                    <a:lnTo>
                      <a:pt x="250" y="66"/>
                    </a:lnTo>
                    <a:lnTo>
                      <a:pt x="242" y="10"/>
                    </a:lnTo>
                    <a:lnTo>
                      <a:pt x="241" y="10"/>
                    </a:lnTo>
                    <a:lnTo>
                      <a:pt x="241" y="9"/>
                    </a:lnTo>
                    <a:lnTo>
                      <a:pt x="235" y="5"/>
                    </a:lnTo>
                    <a:lnTo>
                      <a:pt x="230" y="3"/>
                    </a:lnTo>
                    <a:lnTo>
                      <a:pt x="223" y="3"/>
                    </a:lnTo>
                    <a:lnTo>
                      <a:pt x="210" y="0"/>
                    </a:lnTo>
                    <a:lnTo>
                      <a:pt x="207" y="2"/>
                    </a:lnTo>
                    <a:lnTo>
                      <a:pt x="205" y="2"/>
                    </a:lnTo>
                    <a:lnTo>
                      <a:pt x="187" y="12"/>
                    </a:lnTo>
                    <a:lnTo>
                      <a:pt x="171" y="27"/>
                    </a:lnTo>
                    <a:lnTo>
                      <a:pt x="162" y="37"/>
                    </a:lnTo>
                    <a:lnTo>
                      <a:pt x="155" y="43"/>
                    </a:lnTo>
                    <a:lnTo>
                      <a:pt x="151" y="48"/>
                    </a:lnTo>
                    <a:lnTo>
                      <a:pt x="146" y="59"/>
                    </a:lnTo>
                    <a:lnTo>
                      <a:pt x="144" y="60"/>
                    </a:lnTo>
                    <a:lnTo>
                      <a:pt x="132" y="64"/>
                    </a:lnTo>
                    <a:lnTo>
                      <a:pt x="128" y="64"/>
                    </a:lnTo>
                    <a:lnTo>
                      <a:pt x="117" y="59"/>
                    </a:lnTo>
                    <a:lnTo>
                      <a:pt x="114" y="57"/>
                    </a:lnTo>
                    <a:lnTo>
                      <a:pt x="110" y="59"/>
                    </a:lnTo>
                    <a:lnTo>
                      <a:pt x="100" y="73"/>
                    </a:lnTo>
                    <a:lnTo>
                      <a:pt x="96" y="75"/>
                    </a:lnTo>
                    <a:lnTo>
                      <a:pt x="91" y="80"/>
                    </a:lnTo>
                    <a:lnTo>
                      <a:pt x="82" y="84"/>
                    </a:lnTo>
                    <a:lnTo>
                      <a:pt x="69" y="82"/>
                    </a:lnTo>
                    <a:lnTo>
                      <a:pt x="67" y="78"/>
                    </a:lnTo>
                    <a:lnTo>
                      <a:pt x="71" y="69"/>
                    </a:lnTo>
                    <a:lnTo>
                      <a:pt x="69" y="62"/>
                    </a:lnTo>
                    <a:lnTo>
                      <a:pt x="57" y="46"/>
                    </a:lnTo>
                    <a:lnTo>
                      <a:pt x="55" y="46"/>
                    </a:lnTo>
                  </a:path>
                </a:pathLst>
              </a:custGeom>
              <a:solidFill>
                <a:srgbClr val="0E5990"/>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65" name="Freeform 2416"/>
              <p:cNvSpPr>
                <a:spLocks/>
              </p:cNvSpPr>
              <p:nvPr/>
            </p:nvSpPr>
            <p:spPr bwMode="auto">
              <a:xfrm>
                <a:off x="3387" y="2907"/>
                <a:ext cx="113" cy="227"/>
              </a:xfrm>
              <a:custGeom>
                <a:avLst/>
                <a:gdLst>
                  <a:gd name="T0" fmla="*/ 20 w 113"/>
                  <a:gd name="T1" fmla="*/ 67 h 227"/>
                  <a:gd name="T2" fmla="*/ 27 w 113"/>
                  <a:gd name="T3" fmla="*/ 67 h 227"/>
                  <a:gd name="T4" fmla="*/ 30 w 113"/>
                  <a:gd name="T5" fmla="*/ 63 h 227"/>
                  <a:gd name="T6" fmla="*/ 32 w 113"/>
                  <a:gd name="T7" fmla="*/ 65 h 227"/>
                  <a:gd name="T8" fmla="*/ 36 w 113"/>
                  <a:gd name="T9" fmla="*/ 65 h 227"/>
                  <a:gd name="T10" fmla="*/ 38 w 113"/>
                  <a:gd name="T11" fmla="*/ 61 h 227"/>
                  <a:gd name="T12" fmla="*/ 41 w 113"/>
                  <a:gd name="T13" fmla="*/ 61 h 227"/>
                  <a:gd name="T14" fmla="*/ 47 w 113"/>
                  <a:gd name="T15" fmla="*/ 59 h 227"/>
                  <a:gd name="T16" fmla="*/ 48 w 113"/>
                  <a:gd name="T17" fmla="*/ 65 h 227"/>
                  <a:gd name="T18" fmla="*/ 54 w 113"/>
                  <a:gd name="T19" fmla="*/ 65 h 227"/>
                  <a:gd name="T20" fmla="*/ 50 w 113"/>
                  <a:gd name="T21" fmla="*/ 59 h 227"/>
                  <a:gd name="T22" fmla="*/ 54 w 113"/>
                  <a:gd name="T23" fmla="*/ 54 h 227"/>
                  <a:gd name="T24" fmla="*/ 59 w 113"/>
                  <a:gd name="T25" fmla="*/ 52 h 227"/>
                  <a:gd name="T26" fmla="*/ 61 w 113"/>
                  <a:gd name="T27" fmla="*/ 56 h 227"/>
                  <a:gd name="T28" fmla="*/ 61 w 113"/>
                  <a:gd name="T29" fmla="*/ 50 h 227"/>
                  <a:gd name="T30" fmla="*/ 64 w 113"/>
                  <a:gd name="T31" fmla="*/ 43 h 227"/>
                  <a:gd name="T32" fmla="*/ 66 w 113"/>
                  <a:gd name="T33" fmla="*/ 43 h 227"/>
                  <a:gd name="T34" fmla="*/ 71 w 113"/>
                  <a:gd name="T35" fmla="*/ 42 h 227"/>
                  <a:gd name="T36" fmla="*/ 75 w 113"/>
                  <a:gd name="T37" fmla="*/ 42 h 227"/>
                  <a:gd name="T38" fmla="*/ 71 w 113"/>
                  <a:gd name="T39" fmla="*/ 40 h 227"/>
                  <a:gd name="T40" fmla="*/ 73 w 113"/>
                  <a:gd name="T41" fmla="*/ 33 h 227"/>
                  <a:gd name="T42" fmla="*/ 75 w 113"/>
                  <a:gd name="T43" fmla="*/ 31 h 227"/>
                  <a:gd name="T44" fmla="*/ 73 w 113"/>
                  <a:gd name="T45" fmla="*/ 24 h 227"/>
                  <a:gd name="T46" fmla="*/ 79 w 113"/>
                  <a:gd name="T47" fmla="*/ 27 h 227"/>
                  <a:gd name="T48" fmla="*/ 82 w 113"/>
                  <a:gd name="T49" fmla="*/ 18 h 227"/>
                  <a:gd name="T50" fmla="*/ 88 w 113"/>
                  <a:gd name="T51" fmla="*/ 18 h 227"/>
                  <a:gd name="T52" fmla="*/ 88 w 113"/>
                  <a:gd name="T53" fmla="*/ 6 h 227"/>
                  <a:gd name="T54" fmla="*/ 91 w 113"/>
                  <a:gd name="T55" fmla="*/ 2 h 227"/>
                  <a:gd name="T56" fmla="*/ 102 w 113"/>
                  <a:gd name="T57" fmla="*/ 11 h 227"/>
                  <a:gd name="T58" fmla="*/ 111 w 113"/>
                  <a:gd name="T59" fmla="*/ 61 h 227"/>
                  <a:gd name="T60" fmla="*/ 105 w 113"/>
                  <a:gd name="T61" fmla="*/ 54 h 227"/>
                  <a:gd name="T62" fmla="*/ 102 w 113"/>
                  <a:gd name="T63" fmla="*/ 67 h 227"/>
                  <a:gd name="T64" fmla="*/ 104 w 113"/>
                  <a:gd name="T65" fmla="*/ 74 h 227"/>
                  <a:gd name="T66" fmla="*/ 93 w 113"/>
                  <a:gd name="T67" fmla="*/ 117 h 227"/>
                  <a:gd name="T68" fmla="*/ 61 w 113"/>
                  <a:gd name="T69" fmla="*/ 215 h 227"/>
                  <a:gd name="T70" fmla="*/ 55 w 113"/>
                  <a:gd name="T71" fmla="*/ 220 h 227"/>
                  <a:gd name="T72" fmla="*/ 43 w 113"/>
                  <a:gd name="T73" fmla="*/ 222 h 227"/>
                  <a:gd name="T74" fmla="*/ 30 w 113"/>
                  <a:gd name="T75" fmla="*/ 227 h 227"/>
                  <a:gd name="T76" fmla="*/ 9 w 113"/>
                  <a:gd name="T77" fmla="*/ 209 h 227"/>
                  <a:gd name="T78" fmla="*/ 7 w 113"/>
                  <a:gd name="T79" fmla="*/ 192 h 227"/>
                  <a:gd name="T80" fmla="*/ 2 w 113"/>
                  <a:gd name="T81" fmla="*/ 181 h 227"/>
                  <a:gd name="T82" fmla="*/ 0 w 113"/>
                  <a:gd name="T83" fmla="*/ 163 h 227"/>
                  <a:gd name="T84" fmla="*/ 7 w 113"/>
                  <a:gd name="T85" fmla="*/ 152 h 227"/>
                  <a:gd name="T86" fmla="*/ 18 w 113"/>
                  <a:gd name="T87" fmla="*/ 131 h 227"/>
                  <a:gd name="T88" fmla="*/ 20 w 113"/>
                  <a:gd name="T89" fmla="*/ 125 h 227"/>
                  <a:gd name="T90" fmla="*/ 14 w 113"/>
                  <a:gd name="T91" fmla="*/ 102 h 227"/>
                  <a:gd name="T92" fmla="*/ 11 w 113"/>
                  <a:gd name="T93" fmla="*/ 90 h 227"/>
                  <a:gd name="T94" fmla="*/ 18 w 113"/>
                  <a:gd name="T95" fmla="*/ 6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 h="227">
                    <a:moveTo>
                      <a:pt x="18" y="68"/>
                    </a:moveTo>
                    <a:lnTo>
                      <a:pt x="20" y="67"/>
                    </a:lnTo>
                    <a:lnTo>
                      <a:pt x="22" y="67"/>
                    </a:lnTo>
                    <a:lnTo>
                      <a:pt x="27" y="67"/>
                    </a:lnTo>
                    <a:lnTo>
                      <a:pt x="27" y="65"/>
                    </a:lnTo>
                    <a:lnTo>
                      <a:pt x="30" y="63"/>
                    </a:lnTo>
                    <a:lnTo>
                      <a:pt x="30" y="65"/>
                    </a:lnTo>
                    <a:lnTo>
                      <a:pt x="32" y="65"/>
                    </a:lnTo>
                    <a:lnTo>
                      <a:pt x="34" y="63"/>
                    </a:lnTo>
                    <a:lnTo>
                      <a:pt x="36" y="65"/>
                    </a:lnTo>
                    <a:lnTo>
                      <a:pt x="38" y="63"/>
                    </a:lnTo>
                    <a:lnTo>
                      <a:pt x="38" y="61"/>
                    </a:lnTo>
                    <a:lnTo>
                      <a:pt x="41" y="59"/>
                    </a:lnTo>
                    <a:lnTo>
                      <a:pt x="41" y="61"/>
                    </a:lnTo>
                    <a:lnTo>
                      <a:pt x="45" y="59"/>
                    </a:lnTo>
                    <a:lnTo>
                      <a:pt x="47" y="59"/>
                    </a:lnTo>
                    <a:lnTo>
                      <a:pt x="47" y="63"/>
                    </a:lnTo>
                    <a:lnTo>
                      <a:pt x="48" y="65"/>
                    </a:lnTo>
                    <a:lnTo>
                      <a:pt x="52" y="65"/>
                    </a:lnTo>
                    <a:lnTo>
                      <a:pt x="54" y="65"/>
                    </a:lnTo>
                    <a:lnTo>
                      <a:pt x="52" y="63"/>
                    </a:lnTo>
                    <a:lnTo>
                      <a:pt x="50" y="59"/>
                    </a:lnTo>
                    <a:lnTo>
                      <a:pt x="50" y="56"/>
                    </a:lnTo>
                    <a:lnTo>
                      <a:pt x="54" y="54"/>
                    </a:lnTo>
                    <a:lnTo>
                      <a:pt x="57" y="50"/>
                    </a:lnTo>
                    <a:lnTo>
                      <a:pt x="59" y="52"/>
                    </a:lnTo>
                    <a:lnTo>
                      <a:pt x="59" y="56"/>
                    </a:lnTo>
                    <a:lnTo>
                      <a:pt x="61" y="56"/>
                    </a:lnTo>
                    <a:lnTo>
                      <a:pt x="63" y="56"/>
                    </a:lnTo>
                    <a:lnTo>
                      <a:pt x="61" y="50"/>
                    </a:lnTo>
                    <a:lnTo>
                      <a:pt x="64" y="45"/>
                    </a:lnTo>
                    <a:lnTo>
                      <a:pt x="64" y="43"/>
                    </a:lnTo>
                    <a:lnTo>
                      <a:pt x="66" y="42"/>
                    </a:lnTo>
                    <a:lnTo>
                      <a:pt x="66" y="43"/>
                    </a:lnTo>
                    <a:lnTo>
                      <a:pt x="66" y="47"/>
                    </a:lnTo>
                    <a:lnTo>
                      <a:pt x="71" y="42"/>
                    </a:lnTo>
                    <a:lnTo>
                      <a:pt x="73" y="42"/>
                    </a:lnTo>
                    <a:lnTo>
                      <a:pt x="75" y="42"/>
                    </a:lnTo>
                    <a:lnTo>
                      <a:pt x="73" y="40"/>
                    </a:lnTo>
                    <a:lnTo>
                      <a:pt x="71" y="40"/>
                    </a:lnTo>
                    <a:lnTo>
                      <a:pt x="70" y="38"/>
                    </a:lnTo>
                    <a:lnTo>
                      <a:pt x="73" y="33"/>
                    </a:lnTo>
                    <a:lnTo>
                      <a:pt x="75" y="34"/>
                    </a:lnTo>
                    <a:lnTo>
                      <a:pt x="75" y="31"/>
                    </a:lnTo>
                    <a:lnTo>
                      <a:pt x="73" y="25"/>
                    </a:lnTo>
                    <a:lnTo>
                      <a:pt x="73" y="24"/>
                    </a:lnTo>
                    <a:lnTo>
                      <a:pt x="77" y="24"/>
                    </a:lnTo>
                    <a:lnTo>
                      <a:pt x="79" y="27"/>
                    </a:lnTo>
                    <a:lnTo>
                      <a:pt x="82" y="22"/>
                    </a:lnTo>
                    <a:lnTo>
                      <a:pt x="82" y="18"/>
                    </a:lnTo>
                    <a:lnTo>
                      <a:pt x="84" y="20"/>
                    </a:lnTo>
                    <a:lnTo>
                      <a:pt x="88" y="18"/>
                    </a:lnTo>
                    <a:lnTo>
                      <a:pt x="89" y="8"/>
                    </a:lnTo>
                    <a:lnTo>
                      <a:pt x="88" y="6"/>
                    </a:lnTo>
                    <a:lnTo>
                      <a:pt x="89" y="6"/>
                    </a:lnTo>
                    <a:lnTo>
                      <a:pt x="91" y="2"/>
                    </a:lnTo>
                    <a:lnTo>
                      <a:pt x="93" y="0"/>
                    </a:lnTo>
                    <a:lnTo>
                      <a:pt x="102" y="11"/>
                    </a:lnTo>
                    <a:lnTo>
                      <a:pt x="113" y="59"/>
                    </a:lnTo>
                    <a:lnTo>
                      <a:pt x="111" y="61"/>
                    </a:lnTo>
                    <a:lnTo>
                      <a:pt x="109" y="63"/>
                    </a:lnTo>
                    <a:lnTo>
                      <a:pt x="105" y="54"/>
                    </a:lnTo>
                    <a:lnTo>
                      <a:pt x="104" y="54"/>
                    </a:lnTo>
                    <a:lnTo>
                      <a:pt x="102" y="67"/>
                    </a:lnTo>
                    <a:lnTo>
                      <a:pt x="104" y="70"/>
                    </a:lnTo>
                    <a:lnTo>
                      <a:pt x="104" y="74"/>
                    </a:lnTo>
                    <a:lnTo>
                      <a:pt x="98" y="83"/>
                    </a:lnTo>
                    <a:lnTo>
                      <a:pt x="93" y="117"/>
                    </a:lnTo>
                    <a:lnTo>
                      <a:pt x="91" y="117"/>
                    </a:lnTo>
                    <a:lnTo>
                      <a:pt x="61" y="215"/>
                    </a:lnTo>
                    <a:lnTo>
                      <a:pt x="57" y="218"/>
                    </a:lnTo>
                    <a:lnTo>
                      <a:pt x="55" y="220"/>
                    </a:lnTo>
                    <a:lnTo>
                      <a:pt x="54" y="218"/>
                    </a:lnTo>
                    <a:lnTo>
                      <a:pt x="43" y="222"/>
                    </a:lnTo>
                    <a:lnTo>
                      <a:pt x="34" y="227"/>
                    </a:lnTo>
                    <a:lnTo>
                      <a:pt x="30" y="227"/>
                    </a:lnTo>
                    <a:lnTo>
                      <a:pt x="13" y="215"/>
                    </a:lnTo>
                    <a:lnTo>
                      <a:pt x="9" y="209"/>
                    </a:lnTo>
                    <a:lnTo>
                      <a:pt x="5" y="195"/>
                    </a:lnTo>
                    <a:lnTo>
                      <a:pt x="7" y="192"/>
                    </a:lnTo>
                    <a:lnTo>
                      <a:pt x="4" y="183"/>
                    </a:lnTo>
                    <a:lnTo>
                      <a:pt x="2" y="181"/>
                    </a:lnTo>
                    <a:lnTo>
                      <a:pt x="0" y="175"/>
                    </a:lnTo>
                    <a:lnTo>
                      <a:pt x="0" y="163"/>
                    </a:lnTo>
                    <a:lnTo>
                      <a:pt x="5" y="152"/>
                    </a:lnTo>
                    <a:lnTo>
                      <a:pt x="7" y="152"/>
                    </a:lnTo>
                    <a:lnTo>
                      <a:pt x="16" y="134"/>
                    </a:lnTo>
                    <a:lnTo>
                      <a:pt x="18" y="131"/>
                    </a:lnTo>
                    <a:lnTo>
                      <a:pt x="20" y="127"/>
                    </a:lnTo>
                    <a:lnTo>
                      <a:pt x="20" y="125"/>
                    </a:lnTo>
                    <a:lnTo>
                      <a:pt x="20" y="124"/>
                    </a:lnTo>
                    <a:lnTo>
                      <a:pt x="14" y="102"/>
                    </a:lnTo>
                    <a:lnTo>
                      <a:pt x="13" y="93"/>
                    </a:lnTo>
                    <a:lnTo>
                      <a:pt x="11" y="90"/>
                    </a:lnTo>
                    <a:lnTo>
                      <a:pt x="18" y="72"/>
                    </a:lnTo>
                    <a:lnTo>
                      <a:pt x="18" y="6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66" name="Freeform 2417"/>
              <p:cNvSpPr>
                <a:spLocks/>
              </p:cNvSpPr>
              <p:nvPr/>
            </p:nvSpPr>
            <p:spPr bwMode="auto">
              <a:xfrm>
                <a:off x="3387" y="2907"/>
                <a:ext cx="113" cy="227"/>
              </a:xfrm>
              <a:custGeom>
                <a:avLst/>
                <a:gdLst>
                  <a:gd name="T0" fmla="*/ 20 w 113"/>
                  <a:gd name="T1" fmla="*/ 67 h 227"/>
                  <a:gd name="T2" fmla="*/ 27 w 113"/>
                  <a:gd name="T3" fmla="*/ 67 h 227"/>
                  <a:gd name="T4" fmla="*/ 30 w 113"/>
                  <a:gd name="T5" fmla="*/ 63 h 227"/>
                  <a:gd name="T6" fmla="*/ 32 w 113"/>
                  <a:gd name="T7" fmla="*/ 65 h 227"/>
                  <a:gd name="T8" fmla="*/ 36 w 113"/>
                  <a:gd name="T9" fmla="*/ 65 h 227"/>
                  <a:gd name="T10" fmla="*/ 38 w 113"/>
                  <a:gd name="T11" fmla="*/ 61 h 227"/>
                  <a:gd name="T12" fmla="*/ 41 w 113"/>
                  <a:gd name="T13" fmla="*/ 61 h 227"/>
                  <a:gd name="T14" fmla="*/ 47 w 113"/>
                  <a:gd name="T15" fmla="*/ 59 h 227"/>
                  <a:gd name="T16" fmla="*/ 48 w 113"/>
                  <a:gd name="T17" fmla="*/ 65 h 227"/>
                  <a:gd name="T18" fmla="*/ 54 w 113"/>
                  <a:gd name="T19" fmla="*/ 65 h 227"/>
                  <a:gd name="T20" fmla="*/ 50 w 113"/>
                  <a:gd name="T21" fmla="*/ 59 h 227"/>
                  <a:gd name="T22" fmla="*/ 54 w 113"/>
                  <a:gd name="T23" fmla="*/ 54 h 227"/>
                  <a:gd name="T24" fmla="*/ 59 w 113"/>
                  <a:gd name="T25" fmla="*/ 52 h 227"/>
                  <a:gd name="T26" fmla="*/ 61 w 113"/>
                  <a:gd name="T27" fmla="*/ 56 h 227"/>
                  <a:gd name="T28" fmla="*/ 61 w 113"/>
                  <a:gd name="T29" fmla="*/ 50 h 227"/>
                  <a:gd name="T30" fmla="*/ 64 w 113"/>
                  <a:gd name="T31" fmla="*/ 43 h 227"/>
                  <a:gd name="T32" fmla="*/ 66 w 113"/>
                  <a:gd name="T33" fmla="*/ 43 h 227"/>
                  <a:gd name="T34" fmla="*/ 71 w 113"/>
                  <a:gd name="T35" fmla="*/ 42 h 227"/>
                  <a:gd name="T36" fmla="*/ 75 w 113"/>
                  <a:gd name="T37" fmla="*/ 42 h 227"/>
                  <a:gd name="T38" fmla="*/ 71 w 113"/>
                  <a:gd name="T39" fmla="*/ 40 h 227"/>
                  <a:gd name="T40" fmla="*/ 73 w 113"/>
                  <a:gd name="T41" fmla="*/ 33 h 227"/>
                  <a:gd name="T42" fmla="*/ 75 w 113"/>
                  <a:gd name="T43" fmla="*/ 31 h 227"/>
                  <a:gd name="T44" fmla="*/ 73 w 113"/>
                  <a:gd name="T45" fmla="*/ 24 h 227"/>
                  <a:gd name="T46" fmla="*/ 79 w 113"/>
                  <a:gd name="T47" fmla="*/ 27 h 227"/>
                  <a:gd name="T48" fmla="*/ 82 w 113"/>
                  <a:gd name="T49" fmla="*/ 18 h 227"/>
                  <a:gd name="T50" fmla="*/ 88 w 113"/>
                  <a:gd name="T51" fmla="*/ 18 h 227"/>
                  <a:gd name="T52" fmla="*/ 88 w 113"/>
                  <a:gd name="T53" fmla="*/ 6 h 227"/>
                  <a:gd name="T54" fmla="*/ 91 w 113"/>
                  <a:gd name="T55" fmla="*/ 2 h 227"/>
                  <a:gd name="T56" fmla="*/ 102 w 113"/>
                  <a:gd name="T57" fmla="*/ 11 h 227"/>
                  <a:gd name="T58" fmla="*/ 111 w 113"/>
                  <a:gd name="T59" fmla="*/ 61 h 227"/>
                  <a:gd name="T60" fmla="*/ 105 w 113"/>
                  <a:gd name="T61" fmla="*/ 54 h 227"/>
                  <a:gd name="T62" fmla="*/ 102 w 113"/>
                  <a:gd name="T63" fmla="*/ 67 h 227"/>
                  <a:gd name="T64" fmla="*/ 104 w 113"/>
                  <a:gd name="T65" fmla="*/ 74 h 227"/>
                  <a:gd name="T66" fmla="*/ 93 w 113"/>
                  <a:gd name="T67" fmla="*/ 117 h 227"/>
                  <a:gd name="T68" fmla="*/ 61 w 113"/>
                  <a:gd name="T69" fmla="*/ 215 h 227"/>
                  <a:gd name="T70" fmla="*/ 55 w 113"/>
                  <a:gd name="T71" fmla="*/ 220 h 227"/>
                  <a:gd name="T72" fmla="*/ 43 w 113"/>
                  <a:gd name="T73" fmla="*/ 222 h 227"/>
                  <a:gd name="T74" fmla="*/ 30 w 113"/>
                  <a:gd name="T75" fmla="*/ 227 h 227"/>
                  <a:gd name="T76" fmla="*/ 9 w 113"/>
                  <a:gd name="T77" fmla="*/ 209 h 227"/>
                  <a:gd name="T78" fmla="*/ 7 w 113"/>
                  <a:gd name="T79" fmla="*/ 192 h 227"/>
                  <a:gd name="T80" fmla="*/ 2 w 113"/>
                  <a:gd name="T81" fmla="*/ 181 h 227"/>
                  <a:gd name="T82" fmla="*/ 0 w 113"/>
                  <a:gd name="T83" fmla="*/ 163 h 227"/>
                  <a:gd name="T84" fmla="*/ 7 w 113"/>
                  <a:gd name="T85" fmla="*/ 152 h 227"/>
                  <a:gd name="T86" fmla="*/ 18 w 113"/>
                  <a:gd name="T87" fmla="*/ 131 h 227"/>
                  <a:gd name="T88" fmla="*/ 20 w 113"/>
                  <a:gd name="T89" fmla="*/ 125 h 227"/>
                  <a:gd name="T90" fmla="*/ 14 w 113"/>
                  <a:gd name="T91" fmla="*/ 102 h 227"/>
                  <a:gd name="T92" fmla="*/ 11 w 113"/>
                  <a:gd name="T93" fmla="*/ 90 h 227"/>
                  <a:gd name="T94" fmla="*/ 18 w 113"/>
                  <a:gd name="T95" fmla="*/ 68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3" h="227">
                    <a:moveTo>
                      <a:pt x="18" y="68"/>
                    </a:moveTo>
                    <a:lnTo>
                      <a:pt x="20" y="67"/>
                    </a:lnTo>
                    <a:lnTo>
                      <a:pt x="22" y="67"/>
                    </a:lnTo>
                    <a:lnTo>
                      <a:pt x="27" y="67"/>
                    </a:lnTo>
                    <a:lnTo>
                      <a:pt x="27" y="65"/>
                    </a:lnTo>
                    <a:lnTo>
                      <a:pt x="30" y="63"/>
                    </a:lnTo>
                    <a:lnTo>
                      <a:pt x="30" y="65"/>
                    </a:lnTo>
                    <a:lnTo>
                      <a:pt x="32" y="65"/>
                    </a:lnTo>
                    <a:lnTo>
                      <a:pt x="34" y="63"/>
                    </a:lnTo>
                    <a:lnTo>
                      <a:pt x="36" y="65"/>
                    </a:lnTo>
                    <a:lnTo>
                      <a:pt x="38" y="63"/>
                    </a:lnTo>
                    <a:lnTo>
                      <a:pt x="38" y="61"/>
                    </a:lnTo>
                    <a:lnTo>
                      <a:pt x="41" y="59"/>
                    </a:lnTo>
                    <a:lnTo>
                      <a:pt x="41" y="61"/>
                    </a:lnTo>
                    <a:lnTo>
                      <a:pt x="45" y="59"/>
                    </a:lnTo>
                    <a:lnTo>
                      <a:pt x="47" y="59"/>
                    </a:lnTo>
                    <a:lnTo>
                      <a:pt x="47" y="63"/>
                    </a:lnTo>
                    <a:lnTo>
                      <a:pt x="48" y="65"/>
                    </a:lnTo>
                    <a:lnTo>
                      <a:pt x="52" y="65"/>
                    </a:lnTo>
                    <a:lnTo>
                      <a:pt x="54" y="65"/>
                    </a:lnTo>
                    <a:lnTo>
                      <a:pt x="52" y="63"/>
                    </a:lnTo>
                    <a:lnTo>
                      <a:pt x="50" y="59"/>
                    </a:lnTo>
                    <a:lnTo>
                      <a:pt x="50" y="56"/>
                    </a:lnTo>
                    <a:lnTo>
                      <a:pt x="54" y="54"/>
                    </a:lnTo>
                    <a:lnTo>
                      <a:pt x="57" y="50"/>
                    </a:lnTo>
                    <a:lnTo>
                      <a:pt x="59" y="52"/>
                    </a:lnTo>
                    <a:lnTo>
                      <a:pt x="59" y="56"/>
                    </a:lnTo>
                    <a:lnTo>
                      <a:pt x="61" y="56"/>
                    </a:lnTo>
                    <a:lnTo>
                      <a:pt x="63" y="56"/>
                    </a:lnTo>
                    <a:lnTo>
                      <a:pt x="61" y="50"/>
                    </a:lnTo>
                    <a:lnTo>
                      <a:pt x="64" y="45"/>
                    </a:lnTo>
                    <a:lnTo>
                      <a:pt x="64" y="43"/>
                    </a:lnTo>
                    <a:lnTo>
                      <a:pt x="66" y="42"/>
                    </a:lnTo>
                    <a:lnTo>
                      <a:pt x="66" y="43"/>
                    </a:lnTo>
                    <a:lnTo>
                      <a:pt x="66" y="47"/>
                    </a:lnTo>
                    <a:lnTo>
                      <a:pt x="71" y="42"/>
                    </a:lnTo>
                    <a:lnTo>
                      <a:pt x="73" y="42"/>
                    </a:lnTo>
                    <a:lnTo>
                      <a:pt x="75" y="42"/>
                    </a:lnTo>
                    <a:lnTo>
                      <a:pt x="73" y="40"/>
                    </a:lnTo>
                    <a:lnTo>
                      <a:pt x="71" y="40"/>
                    </a:lnTo>
                    <a:lnTo>
                      <a:pt x="70" y="38"/>
                    </a:lnTo>
                    <a:lnTo>
                      <a:pt x="73" y="33"/>
                    </a:lnTo>
                    <a:lnTo>
                      <a:pt x="75" y="34"/>
                    </a:lnTo>
                    <a:lnTo>
                      <a:pt x="75" y="31"/>
                    </a:lnTo>
                    <a:lnTo>
                      <a:pt x="73" y="25"/>
                    </a:lnTo>
                    <a:lnTo>
                      <a:pt x="73" y="24"/>
                    </a:lnTo>
                    <a:lnTo>
                      <a:pt x="77" y="24"/>
                    </a:lnTo>
                    <a:lnTo>
                      <a:pt x="79" y="27"/>
                    </a:lnTo>
                    <a:lnTo>
                      <a:pt x="82" y="22"/>
                    </a:lnTo>
                    <a:lnTo>
                      <a:pt x="82" y="18"/>
                    </a:lnTo>
                    <a:lnTo>
                      <a:pt x="84" y="20"/>
                    </a:lnTo>
                    <a:lnTo>
                      <a:pt x="88" y="18"/>
                    </a:lnTo>
                    <a:lnTo>
                      <a:pt x="89" y="8"/>
                    </a:lnTo>
                    <a:lnTo>
                      <a:pt x="88" y="6"/>
                    </a:lnTo>
                    <a:lnTo>
                      <a:pt x="89" y="6"/>
                    </a:lnTo>
                    <a:lnTo>
                      <a:pt x="91" y="2"/>
                    </a:lnTo>
                    <a:lnTo>
                      <a:pt x="93" y="0"/>
                    </a:lnTo>
                    <a:lnTo>
                      <a:pt x="102" y="11"/>
                    </a:lnTo>
                    <a:lnTo>
                      <a:pt x="113" y="59"/>
                    </a:lnTo>
                    <a:lnTo>
                      <a:pt x="111" y="61"/>
                    </a:lnTo>
                    <a:lnTo>
                      <a:pt x="109" y="63"/>
                    </a:lnTo>
                    <a:lnTo>
                      <a:pt x="105" y="54"/>
                    </a:lnTo>
                    <a:lnTo>
                      <a:pt x="104" y="54"/>
                    </a:lnTo>
                    <a:lnTo>
                      <a:pt x="102" y="67"/>
                    </a:lnTo>
                    <a:lnTo>
                      <a:pt x="104" y="70"/>
                    </a:lnTo>
                    <a:lnTo>
                      <a:pt x="104" y="74"/>
                    </a:lnTo>
                    <a:lnTo>
                      <a:pt x="98" y="83"/>
                    </a:lnTo>
                    <a:lnTo>
                      <a:pt x="93" y="117"/>
                    </a:lnTo>
                    <a:lnTo>
                      <a:pt x="91" y="117"/>
                    </a:lnTo>
                    <a:lnTo>
                      <a:pt x="61" y="215"/>
                    </a:lnTo>
                    <a:lnTo>
                      <a:pt x="57" y="218"/>
                    </a:lnTo>
                    <a:lnTo>
                      <a:pt x="55" y="220"/>
                    </a:lnTo>
                    <a:lnTo>
                      <a:pt x="54" y="218"/>
                    </a:lnTo>
                    <a:lnTo>
                      <a:pt x="43" y="222"/>
                    </a:lnTo>
                    <a:lnTo>
                      <a:pt x="34" y="227"/>
                    </a:lnTo>
                    <a:lnTo>
                      <a:pt x="30" y="227"/>
                    </a:lnTo>
                    <a:lnTo>
                      <a:pt x="13" y="215"/>
                    </a:lnTo>
                    <a:lnTo>
                      <a:pt x="9" y="209"/>
                    </a:lnTo>
                    <a:lnTo>
                      <a:pt x="5" y="195"/>
                    </a:lnTo>
                    <a:lnTo>
                      <a:pt x="7" y="192"/>
                    </a:lnTo>
                    <a:lnTo>
                      <a:pt x="4" y="183"/>
                    </a:lnTo>
                    <a:lnTo>
                      <a:pt x="2" y="181"/>
                    </a:lnTo>
                    <a:lnTo>
                      <a:pt x="0" y="175"/>
                    </a:lnTo>
                    <a:lnTo>
                      <a:pt x="0" y="163"/>
                    </a:lnTo>
                    <a:lnTo>
                      <a:pt x="5" y="152"/>
                    </a:lnTo>
                    <a:lnTo>
                      <a:pt x="7" y="152"/>
                    </a:lnTo>
                    <a:lnTo>
                      <a:pt x="16" y="134"/>
                    </a:lnTo>
                    <a:lnTo>
                      <a:pt x="18" y="131"/>
                    </a:lnTo>
                    <a:lnTo>
                      <a:pt x="20" y="127"/>
                    </a:lnTo>
                    <a:lnTo>
                      <a:pt x="20" y="125"/>
                    </a:lnTo>
                    <a:lnTo>
                      <a:pt x="20" y="124"/>
                    </a:lnTo>
                    <a:lnTo>
                      <a:pt x="14" y="102"/>
                    </a:lnTo>
                    <a:lnTo>
                      <a:pt x="13" y="93"/>
                    </a:lnTo>
                    <a:lnTo>
                      <a:pt x="11" y="90"/>
                    </a:lnTo>
                    <a:lnTo>
                      <a:pt x="18" y="72"/>
                    </a:lnTo>
                    <a:lnTo>
                      <a:pt x="18" y="6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67" name="Freeform 2418"/>
              <p:cNvSpPr>
                <a:spLocks/>
              </p:cNvSpPr>
              <p:nvPr/>
            </p:nvSpPr>
            <p:spPr bwMode="auto">
              <a:xfrm>
                <a:off x="2614" y="2472"/>
                <a:ext cx="121" cy="89"/>
              </a:xfrm>
              <a:custGeom>
                <a:avLst/>
                <a:gdLst>
                  <a:gd name="T0" fmla="*/ 75 w 121"/>
                  <a:gd name="T1" fmla="*/ 0 h 89"/>
                  <a:gd name="T2" fmla="*/ 48 w 121"/>
                  <a:gd name="T3" fmla="*/ 18 h 89"/>
                  <a:gd name="T4" fmla="*/ 23 w 121"/>
                  <a:gd name="T5" fmla="*/ 27 h 89"/>
                  <a:gd name="T6" fmla="*/ 12 w 121"/>
                  <a:gd name="T7" fmla="*/ 46 h 89"/>
                  <a:gd name="T8" fmla="*/ 0 w 121"/>
                  <a:gd name="T9" fmla="*/ 64 h 89"/>
                  <a:gd name="T10" fmla="*/ 0 w 121"/>
                  <a:gd name="T11" fmla="*/ 75 h 89"/>
                  <a:gd name="T12" fmla="*/ 0 w 121"/>
                  <a:gd name="T13" fmla="*/ 77 h 89"/>
                  <a:gd name="T14" fmla="*/ 2 w 121"/>
                  <a:gd name="T15" fmla="*/ 78 h 89"/>
                  <a:gd name="T16" fmla="*/ 4 w 121"/>
                  <a:gd name="T17" fmla="*/ 80 h 89"/>
                  <a:gd name="T18" fmla="*/ 4 w 121"/>
                  <a:gd name="T19" fmla="*/ 82 h 89"/>
                  <a:gd name="T20" fmla="*/ 5 w 121"/>
                  <a:gd name="T21" fmla="*/ 84 h 89"/>
                  <a:gd name="T22" fmla="*/ 7 w 121"/>
                  <a:gd name="T23" fmla="*/ 85 h 89"/>
                  <a:gd name="T24" fmla="*/ 9 w 121"/>
                  <a:gd name="T25" fmla="*/ 85 h 89"/>
                  <a:gd name="T26" fmla="*/ 11 w 121"/>
                  <a:gd name="T27" fmla="*/ 84 h 89"/>
                  <a:gd name="T28" fmla="*/ 12 w 121"/>
                  <a:gd name="T29" fmla="*/ 87 h 89"/>
                  <a:gd name="T30" fmla="*/ 14 w 121"/>
                  <a:gd name="T31" fmla="*/ 84 h 89"/>
                  <a:gd name="T32" fmla="*/ 30 w 121"/>
                  <a:gd name="T33" fmla="*/ 82 h 89"/>
                  <a:gd name="T34" fmla="*/ 32 w 121"/>
                  <a:gd name="T35" fmla="*/ 82 h 89"/>
                  <a:gd name="T36" fmla="*/ 36 w 121"/>
                  <a:gd name="T37" fmla="*/ 84 h 89"/>
                  <a:gd name="T38" fmla="*/ 37 w 121"/>
                  <a:gd name="T39" fmla="*/ 89 h 89"/>
                  <a:gd name="T40" fmla="*/ 41 w 121"/>
                  <a:gd name="T41" fmla="*/ 89 h 89"/>
                  <a:gd name="T42" fmla="*/ 39 w 121"/>
                  <a:gd name="T43" fmla="*/ 82 h 89"/>
                  <a:gd name="T44" fmla="*/ 39 w 121"/>
                  <a:gd name="T45" fmla="*/ 75 h 89"/>
                  <a:gd name="T46" fmla="*/ 37 w 121"/>
                  <a:gd name="T47" fmla="*/ 73 h 89"/>
                  <a:gd name="T48" fmla="*/ 36 w 121"/>
                  <a:gd name="T49" fmla="*/ 69 h 89"/>
                  <a:gd name="T50" fmla="*/ 37 w 121"/>
                  <a:gd name="T51" fmla="*/ 64 h 89"/>
                  <a:gd name="T52" fmla="*/ 71 w 121"/>
                  <a:gd name="T53" fmla="*/ 66 h 89"/>
                  <a:gd name="T54" fmla="*/ 79 w 121"/>
                  <a:gd name="T55" fmla="*/ 62 h 89"/>
                  <a:gd name="T56" fmla="*/ 89 w 121"/>
                  <a:gd name="T57" fmla="*/ 64 h 89"/>
                  <a:gd name="T58" fmla="*/ 91 w 121"/>
                  <a:gd name="T59" fmla="*/ 66 h 89"/>
                  <a:gd name="T60" fmla="*/ 96 w 121"/>
                  <a:gd name="T61" fmla="*/ 64 h 89"/>
                  <a:gd name="T62" fmla="*/ 98 w 121"/>
                  <a:gd name="T63" fmla="*/ 64 h 89"/>
                  <a:gd name="T64" fmla="*/ 100 w 121"/>
                  <a:gd name="T65" fmla="*/ 60 h 89"/>
                  <a:gd name="T66" fmla="*/ 102 w 121"/>
                  <a:gd name="T67" fmla="*/ 60 h 89"/>
                  <a:gd name="T68" fmla="*/ 105 w 121"/>
                  <a:gd name="T69" fmla="*/ 57 h 89"/>
                  <a:gd name="T70" fmla="*/ 107 w 121"/>
                  <a:gd name="T71" fmla="*/ 57 h 89"/>
                  <a:gd name="T72" fmla="*/ 112 w 121"/>
                  <a:gd name="T73" fmla="*/ 57 h 89"/>
                  <a:gd name="T74" fmla="*/ 114 w 121"/>
                  <a:gd name="T75" fmla="*/ 57 h 89"/>
                  <a:gd name="T76" fmla="*/ 120 w 121"/>
                  <a:gd name="T77" fmla="*/ 53 h 89"/>
                  <a:gd name="T78" fmla="*/ 120 w 121"/>
                  <a:gd name="T79" fmla="*/ 52 h 89"/>
                  <a:gd name="T80" fmla="*/ 121 w 121"/>
                  <a:gd name="T81" fmla="*/ 50 h 89"/>
                  <a:gd name="T82" fmla="*/ 116 w 121"/>
                  <a:gd name="T83" fmla="*/ 44 h 89"/>
                  <a:gd name="T84" fmla="*/ 116 w 121"/>
                  <a:gd name="T85" fmla="*/ 43 h 89"/>
                  <a:gd name="T86" fmla="*/ 118 w 121"/>
                  <a:gd name="T87" fmla="*/ 41 h 89"/>
                  <a:gd name="T88" fmla="*/ 116 w 121"/>
                  <a:gd name="T89" fmla="*/ 37 h 89"/>
                  <a:gd name="T90" fmla="*/ 112 w 121"/>
                  <a:gd name="T91" fmla="*/ 37 h 89"/>
                  <a:gd name="T92" fmla="*/ 111 w 121"/>
                  <a:gd name="T93" fmla="*/ 39 h 89"/>
                  <a:gd name="T94" fmla="*/ 104 w 121"/>
                  <a:gd name="T95" fmla="*/ 35 h 89"/>
                  <a:gd name="T96" fmla="*/ 87 w 121"/>
                  <a:gd name="T97" fmla="*/ 14 h 89"/>
                  <a:gd name="T98" fmla="*/ 87 w 121"/>
                  <a:gd name="T99" fmla="*/ 10 h 89"/>
                  <a:gd name="T100" fmla="*/ 84 w 121"/>
                  <a:gd name="T101" fmla="*/ 7 h 89"/>
                  <a:gd name="T102" fmla="*/ 84 w 121"/>
                  <a:gd name="T10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1" h="89">
                    <a:moveTo>
                      <a:pt x="86" y="0"/>
                    </a:moveTo>
                    <a:lnTo>
                      <a:pt x="75" y="0"/>
                    </a:lnTo>
                    <a:lnTo>
                      <a:pt x="52" y="14"/>
                    </a:lnTo>
                    <a:lnTo>
                      <a:pt x="48" y="18"/>
                    </a:lnTo>
                    <a:lnTo>
                      <a:pt x="43" y="23"/>
                    </a:lnTo>
                    <a:lnTo>
                      <a:pt x="23" y="27"/>
                    </a:lnTo>
                    <a:lnTo>
                      <a:pt x="20" y="28"/>
                    </a:lnTo>
                    <a:lnTo>
                      <a:pt x="12" y="46"/>
                    </a:lnTo>
                    <a:lnTo>
                      <a:pt x="4" y="53"/>
                    </a:lnTo>
                    <a:lnTo>
                      <a:pt x="0" y="64"/>
                    </a:lnTo>
                    <a:lnTo>
                      <a:pt x="0" y="75"/>
                    </a:lnTo>
                    <a:lnTo>
                      <a:pt x="0" y="75"/>
                    </a:lnTo>
                    <a:lnTo>
                      <a:pt x="0" y="75"/>
                    </a:lnTo>
                    <a:lnTo>
                      <a:pt x="0" y="77"/>
                    </a:lnTo>
                    <a:lnTo>
                      <a:pt x="0" y="78"/>
                    </a:lnTo>
                    <a:lnTo>
                      <a:pt x="2" y="78"/>
                    </a:lnTo>
                    <a:lnTo>
                      <a:pt x="2" y="80"/>
                    </a:lnTo>
                    <a:lnTo>
                      <a:pt x="4" y="80"/>
                    </a:lnTo>
                    <a:lnTo>
                      <a:pt x="4" y="80"/>
                    </a:lnTo>
                    <a:lnTo>
                      <a:pt x="4" y="82"/>
                    </a:lnTo>
                    <a:lnTo>
                      <a:pt x="4" y="82"/>
                    </a:lnTo>
                    <a:lnTo>
                      <a:pt x="5" y="84"/>
                    </a:lnTo>
                    <a:lnTo>
                      <a:pt x="5" y="84"/>
                    </a:lnTo>
                    <a:lnTo>
                      <a:pt x="7" y="85"/>
                    </a:lnTo>
                    <a:lnTo>
                      <a:pt x="7" y="85"/>
                    </a:lnTo>
                    <a:lnTo>
                      <a:pt x="9" y="85"/>
                    </a:lnTo>
                    <a:lnTo>
                      <a:pt x="9" y="84"/>
                    </a:lnTo>
                    <a:lnTo>
                      <a:pt x="11" y="84"/>
                    </a:lnTo>
                    <a:lnTo>
                      <a:pt x="11" y="85"/>
                    </a:lnTo>
                    <a:lnTo>
                      <a:pt x="12" y="87"/>
                    </a:lnTo>
                    <a:lnTo>
                      <a:pt x="14" y="85"/>
                    </a:lnTo>
                    <a:lnTo>
                      <a:pt x="14" y="84"/>
                    </a:lnTo>
                    <a:lnTo>
                      <a:pt x="25" y="80"/>
                    </a:lnTo>
                    <a:lnTo>
                      <a:pt x="30" y="82"/>
                    </a:lnTo>
                    <a:lnTo>
                      <a:pt x="32" y="82"/>
                    </a:lnTo>
                    <a:lnTo>
                      <a:pt x="32" y="82"/>
                    </a:lnTo>
                    <a:lnTo>
                      <a:pt x="34" y="84"/>
                    </a:lnTo>
                    <a:lnTo>
                      <a:pt x="36" y="84"/>
                    </a:lnTo>
                    <a:lnTo>
                      <a:pt x="37" y="89"/>
                    </a:lnTo>
                    <a:lnTo>
                      <a:pt x="37" y="89"/>
                    </a:lnTo>
                    <a:lnTo>
                      <a:pt x="39" y="89"/>
                    </a:lnTo>
                    <a:lnTo>
                      <a:pt x="41" y="89"/>
                    </a:lnTo>
                    <a:lnTo>
                      <a:pt x="39" y="85"/>
                    </a:lnTo>
                    <a:lnTo>
                      <a:pt x="39" y="82"/>
                    </a:lnTo>
                    <a:lnTo>
                      <a:pt x="37" y="78"/>
                    </a:lnTo>
                    <a:lnTo>
                      <a:pt x="39" y="75"/>
                    </a:lnTo>
                    <a:lnTo>
                      <a:pt x="37" y="75"/>
                    </a:lnTo>
                    <a:lnTo>
                      <a:pt x="37" y="73"/>
                    </a:lnTo>
                    <a:lnTo>
                      <a:pt x="37" y="71"/>
                    </a:lnTo>
                    <a:lnTo>
                      <a:pt x="36" y="69"/>
                    </a:lnTo>
                    <a:lnTo>
                      <a:pt x="36" y="68"/>
                    </a:lnTo>
                    <a:lnTo>
                      <a:pt x="37" y="64"/>
                    </a:lnTo>
                    <a:lnTo>
                      <a:pt x="70" y="66"/>
                    </a:lnTo>
                    <a:lnTo>
                      <a:pt x="71" y="66"/>
                    </a:lnTo>
                    <a:lnTo>
                      <a:pt x="75" y="62"/>
                    </a:lnTo>
                    <a:lnTo>
                      <a:pt x="79" y="62"/>
                    </a:lnTo>
                    <a:lnTo>
                      <a:pt x="79" y="62"/>
                    </a:lnTo>
                    <a:lnTo>
                      <a:pt x="89" y="64"/>
                    </a:lnTo>
                    <a:lnTo>
                      <a:pt x="91" y="66"/>
                    </a:lnTo>
                    <a:lnTo>
                      <a:pt x="91" y="66"/>
                    </a:lnTo>
                    <a:lnTo>
                      <a:pt x="93" y="64"/>
                    </a:lnTo>
                    <a:lnTo>
                      <a:pt x="96" y="64"/>
                    </a:lnTo>
                    <a:lnTo>
                      <a:pt x="98" y="64"/>
                    </a:lnTo>
                    <a:lnTo>
                      <a:pt x="98" y="64"/>
                    </a:lnTo>
                    <a:lnTo>
                      <a:pt x="100" y="62"/>
                    </a:lnTo>
                    <a:lnTo>
                      <a:pt x="100" y="60"/>
                    </a:lnTo>
                    <a:lnTo>
                      <a:pt x="100" y="60"/>
                    </a:lnTo>
                    <a:lnTo>
                      <a:pt x="102" y="60"/>
                    </a:lnTo>
                    <a:lnTo>
                      <a:pt x="102" y="60"/>
                    </a:lnTo>
                    <a:lnTo>
                      <a:pt x="105" y="57"/>
                    </a:lnTo>
                    <a:lnTo>
                      <a:pt x="105" y="57"/>
                    </a:lnTo>
                    <a:lnTo>
                      <a:pt x="107" y="57"/>
                    </a:lnTo>
                    <a:lnTo>
                      <a:pt x="109" y="57"/>
                    </a:lnTo>
                    <a:lnTo>
                      <a:pt x="112" y="57"/>
                    </a:lnTo>
                    <a:lnTo>
                      <a:pt x="114" y="57"/>
                    </a:lnTo>
                    <a:lnTo>
                      <a:pt x="114" y="57"/>
                    </a:lnTo>
                    <a:lnTo>
                      <a:pt x="118" y="53"/>
                    </a:lnTo>
                    <a:lnTo>
                      <a:pt x="120" y="53"/>
                    </a:lnTo>
                    <a:lnTo>
                      <a:pt x="120" y="52"/>
                    </a:lnTo>
                    <a:lnTo>
                      <a:pt x="120" y="52"/>
                    </a:lnTo>
                    <a:lnTo>
                      <a:pt x="121" y="50"/>
                    </a:lnTo>
                    <a:lnTo>
                      <a:pt x="121" y="50"/>
                    </a:lnTo>
                    <a:lnTo>
                      <a:pt x="120" y="50"/>
                    </a:lnTo>
                    <a:lnTo>
                      <a:pt x="116" y="44"/>
                    </a:lnTo>
                    <a:lnTo>
                      <a:pt x="116" y="43"/>
                    </a:lnTo>
                    <a:lnTo>
                      <a:pt x="116" y="43"/>
                    </a:lnTo>
                    <a:lnTo>
                      <a:pt x="116" y="41"/>
                    </a:lnTo>
                    <a:lnTo>
                      <a:pt x="118" y="41"/>
                    </a:lnTo>
                    <a:lnTo>
                      <a:pt x="118" y="41"/>
                    </a:lnTo>
                    <a:lnTo>
                      <a:pt x="116" y="37"/>
                    </a:lnTo>
                    <a:lnTo>
                      <a:pt x="114" y="35"/>
                    </a:lnTo>
                    <a:lnTo>
                      <a:pt x="112" y="37"/>
                    </a:lnTo>
                    <a:lnTo>
                      <a:pt x="112" y="37"/>
                    </a:lnTo>
                    <a:lnTo>
                      <a:pt x="111" y="39"/>
                    </a:lnTo>
                    <a:lnTo>
                      <a:pt x="109" y="39"/>
                    </a:lnTo>
                    <a:lnTo>
                      <a:pt x="104" y="35"/>
                    </a:lnTo>
                    <a:lnTo>
                      <a:pt x="87" y="16"/>
                    </a:lnTo>
                    <a:lnTo>
                      <a:pt x="87" y="14"/>
                    </a:lnTo>
                    <a:lnTo>
                      <a:pt x="87" y="10"/>
                    </a:lnTo>
                    <a:lnTo>
                      <a:pt x="87" y="10"/>
                    </a:lnTo>
                    <a:lnTo>
                      <a:pt x="84" y="7"/>
                    </a:lnTo>
                    <a:lnTo>
                      <a:pt x="84" y="7"/>
                    </a:lnTo>
                    <a:lnTo>
                      <a:pt x="84" y="3"/>
                    </a:lnTo>
                    <a:lnTo>
                      <a:pt x="84" y="0"/>
                    </a:lnTo>
                    <a:lnTo>
                      <a:pt x="86"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68" name="Freeform 2419"/>
              <p:cNvSpPr>
                <a:spLocks/>
              </p:cNvSpPr>
              <p:nvPr/>
            </p:nvSpPr>
            <p:spPr bwMode="auto">
              <a:xfrm>
                <a:off x="2614" y="2472"/>
                <a:ext cx="121" cy="89"/>
              </a:xfrm>
              <a:custGeom>
                <a:avLst/>
                <a:gdLst>
                  <a:gd name="T0" fmla="*/ 75 w 121"/>
                  <a:gd name="T1" fmla="*/ 0 h 89"/>
                  <a:gd name="T2" fmla="*/ 48 w 121"/>
                  <a:gd name="T3" fmla="*/ 18 h 89"/>
                  <a:gd name="T4" fmla="*/ 23 w 121"/>
                  <a:gd name="T5" fmla="*/ 27 h 89"/>
                  <a:gd name="T6" fmla="*/ 12 w 121"/>
                  <a:gd name="T7" fmla="*/ 46 h 89"/>
                  <a:gd name="T8" fmla="*/ 0 w 121"/>
                  <a:gd name="T9" fmla="*/ 64 h 89"/>
                  <a:gd name="T10" fmla="*/ 0 w 121"/>
                  <a:gd name="T11" fmla="*/ 75 h 89"/>
                  <a:gd name="T12" fmla="*/ 0 w 121"/>
                  <a:gd name="T13" fmla="*/ 77 h 89"/>
                  <a:gd name="T14" fmla="*/ 2 w 121"/>
                  <a:gd name="T15" fmla="*/ 78 h 89"/>
                  <a:gd name="T16" fmla="*/ 4 w 121"/>
                  <a:gd name="T17" fmla="*/ 80 h 89"/>
                  <a:gd name="T18" fmla="*/ 4 w 121"/>
                  <a:gd name="T19" fmla="*/ 82 h 89"/>
                  <a:gd name="T20" fmla="*/ 5 w 121"/>
                  <a:gd name="T21" fmla="*/ 84 h 89"/>
                  <a:gd name="T22" fmla="*/ 7 w 121"/>
                  <a:gd name="T23" fmla="*/ 85 h 89"/>
                  <a:gd name="T24" fmla="*/ 9 w 121"/>
                  <a:gd name="T25" fmla="*/ 85 h 89"/>
                  <a:gd name="T26" fmla="*/ 11 w 121"/>
                  <a:gd name="T27" fmla="*/ 84 h 89"/>
                  <a:gd name="T28" fmla="*/ 12 w 121"/>
                  <a:gd name="T29" fmla="*/ 87 h 89"/>
                  <a:gd name="T30" fmla="*/ 14 w 121"/>
                  <a:gd name="T31" fmla="*/ 84 h 89"/>
                  <a:gd name="T32" fmla="*/ 30 w 121"/>
                  <a:gd name="T33" fmla="*/ 82 h 89"/>
                  <a:gd name="T34" fmla="*/ 32 w 121"/>
                  <a:gd name="T35" fmla="*/ 82 h 89"/>
                  <a:gd name="T36" fmla="*/ 36 w 121"/>
                  <a:gd name="T37" fmla="*/ 84 h 89"/>
                  <a:gd name="T38" fmla="*/ 37 w 121"/>
                  <a:gd name="T39" fmla="*/ 89 h 89"/>
                  <a:gd name="T40" fmla="*/ 41 w 121"/>
                  <a:gd name="T41" fmla="*/ 89 h 89"/>
                  <a:gd name="T42" fmla="*/ 39 w 121"/>
                  <a:gd name="T43" fmla="*/ 82 h 89"/>
                  <a:gd name="T44" fmla="*/ 39 w 121"/>
                  <a:gd name="T45" fmla="*/ 75 h 89"/>
                  <a:gd name="T46" fmla="*/ 37 w 121"/>
                  <a:gd name="T47" fmla="*/ 73 h 89"/>
                  <a:gd name="T48" fmla="*/ 36 w 121"/>
                  <a:gd name="T49" fmla="*/ 69 h 89"/>
                  <a:gd name="T50" fmla="*/ 37 w 121"/>
                  <a:gd name="T51" fmla="*/ 64 h 89"/>
                  <a:gd name="T52" fmla="*/ 71 w 121"/>
                  <a:gd name="T53" fmla="*/ 66 h 89"/>
                  <a:gd name="T54" fmla="*/ 79 w 121"/>
                  <a:gd name="T55" fmla="*/ 62 h 89"/>
                  <a:gd name="T56" fmla="*/ 89 w 121"/>
                  <a:gd name="T57" fmla="*/ 64 h 89"/>
                  <a:gd name="T58" fmla="*/ 91 w 121"/>
                  <a:gd name="T59" fmla="*/ 66 h 89"/>
                  <a:gd name="T60" fmla="*/ 96 w 121"/>
                  <a:gd name="T61" fmla="*/ 64 h 89"/>
                  <a:gd name="T62" fmla="*/ 98 w 121"/>
                  <a:gd name="T63" fmla="*/ 64 h 89"/>
                  <a:gd name="T64" fmla="*/ 100 w 121"/>
                  <a:gd name="T65" fmla="*/ 60 h 89"/>
                  <a:gd name="T66" fmla="*/ 102 w 121"/>
                  <a:gd name="T67" fmla="*/ 60 h 89"/>
                  <a:gd name="T68" fmla="*/ 105 w 121"/>
                  <a:gd name="T69" fmla="*/ 57 h 89"/>
                  <a:gd name="T70" fmla="*/ 107 w 121"/>
                  <a:gd name="T71" fmla="*/ 57 h 89"/>
                  <a:gd name="T72" fmla="*/ 112 w 121"/>
                  <a:gd name="T73" fmla="*/ 57 h 89"/>
                  <a:gd name="T74" fmla="*/ 114 w 121"/>
                  <a:gd name="T75" fmla="*/ 57 h 89"/>
                  <a:gd name="T76" fmla="*/ 120 w 121"/>
                  <a:gd name="T77" fmla="*/ 53 h 89"/>
                  <a:gd name="T78" fmla="*/ 120 w 121"/>
                  <a:gd name="T79" fmla="*/ 52 h 89"/>
                  <a:gd name="T80" fmla="*/ 121 w 121"/>
                  <a:gd name="T81" fmla="*/ 50 h 89"/>
                  <a:gd name="T82" fmla="*/ 116 w 121"/>
                  <a:gd name="T83" fmla="*/ 44 h 89"/>
                  <a:gd name="T84" fmla="*/ 116 w 121"/>
                  <a:gd name="T85" fmla="*/ 43 h 89"/>
                  <a:gd name="T86" fmla="*/ 118 w 121"/>
                  <a:gd name="T87" fmla="*/ 41 h 89"/>
                  <a:gd name="T88" fmla="*/ 116 w 121"/>
                  <a:gd name="T89" fmla="*/ 37 h 89"/>
                  <a:gd name="T90" fmla="*/ 112 w 121"/>
                  <a:gd name="T91" fmla="*/ 37 h 89"/>
                  <a:gd name="T92" fmla="*/ 111 w 121"/>
                  <a:gd name="T93" fmla="*/ 39 h 89"/>
                  <a:gd name="T94" fmla="*/ 104 w 121"/>
                  <a:gd name="T95" fmla="*/ 35 h 89"/>
                  <a:gd name="T96" fmla="*/ 87 w 121"/>
                  <a:gd name="T97" fmla="*/ 14 h 89"/>
                  <a:gd name="T98" fmla="*/ 87 w 121"/>
                  <a:gd name="T99" fmla="*/ 10 h 89"/>
                  <a:gd name="T100" fmla="*/ 84 w 121"/>
                  <a:gd name="T101" fmla="*/ 7 h 89"/>
                  <a:gd name="T102" fmla="*/ 84 w 121"/>
                  <a:gd name="T103"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1" h="89">
                    <a:moveTo>
                      <a:pt x="86" y="0"/>
                    </a:moveTo>
                    <a:lnTo>
                      <a:pt x="75" y="0"/>
                    </a:lnTo>
                    <a:lnTo>
                      <a:pt x="52" y="14"/>
                    </a:lnTo>
                    <a:lnTo>
                      <a:pt x="48" y="18"/>
                    </a:lnTo>
                    <a:lnTo>
                      <a:pt x="43" y="23"/>
                    </a:lnTo>
                    <a:lnTo>
                      <a:pt x="23" y="27"/>
                    </a:lnTo>
                    <a:lnTo>
                      <a:pt x="20" y="28"/>
                    </a:lnTo>
                    <a:lnTo>
                      <a:pt x="12" y="46"/>
                    </a:lnTo>
                    <a:lnTo>
                      <a:pt x="4" y="53"/>
                    </a:lnTo>
                    <a:lnTo>
                      <a:pt x="0" y="64"/>
                    </a:lnTo>
                    <a:lnTo>
                      <a:pt x="0" y="75"/>
                    </a:lnTo>
                    <a:lnTo>
                      <a:pt x="0" y="75"/>
                    </a:lnTo>
                    <a:lnTo>
                      <a:pt x="0" y="75"/>
                    </a:lnTo>
                    <a:lnTo>
                      <a:pt x="0" y="77"/>
                    </a:lnTo>
                    <a:lnTo>
                      <a:pt x="0" y="78"/>
                    </a:lnTo>
                    <a:lnTo>
                      <a:pt x="2" y="78"/>
                    </a:lnTo>
                    <a:lnTo>
                      <a:pt x="2" y="80"/>
                    </a:lnTo>
                    <a:lnTo>
                      <a:pt x="4" y="80"/>
                    </a:lnTo>
                    <a:lnTo>
                      <a:pt x="4" y="80"/>
                    </a:lnTo>
                    <a:lnTo>
                      <a:pt x="4" y="82"/>
                    </a:lnTo>
                    <a:lnTo>
                      <a:pt x="4" y="82"/>
                    </a:lnTo>
                    <a:lnTo>
                      <a:pt x="5" y="84"/>
                    </a:lnTo>
                    <a:lnTo>
                      <a:pt x="5" y="84"/>
                    </a:lnTo>
                    <a:lnTo>
                      <a:pt x="7" y="85"/>
                    </a:lnTo>
                    <a:lnTo>
                      <a:pt x="7" y="85"/>
                    </a:lnTo>
                    <a:lnTo>
                      <a:pt x="9" y="85"/>
                    </a:lnTo>
                    <a:lnTo>
                      <a:pt x="9" y="84"/>
                    </a:lnTo>
                    <a:lnTo>
                      <a:pt x="11" y="84"/>
                    </a:lnTo>
                    <a:lnTo>
                      <a:pt x="11" y="85"/>
                    </a:lnTo>
                    <a:lnTo>
                      <a:pt x="12" y="87"/>
                    </a:lnTo>
                    <a:lnTo>
                      <a:pt x="14" y="85"/>
                    </a:lnTo>
                    <a:lnTo>
                      <a:pt x="14" y="84"/>
                    </a:lnTo>
                    <a:lnTo>
                      <a:pt x="25" y="80"/>
                    </a:lnTo>
                    <a:lnTo>
                      <a:pt x="30" y="82"/>
                    </a:lnTo>
                    <a:lnTo>
                      <a:pt x="32" y="82"/>
                    </a:lnTo>
                    <a:lnTo>
                      <a:pt x="32" y="82"/>
                    </a:lnTo>
                    <a:lnTo>
                      <a:pt x="34" y="84"/>
                    </a:lnTo>
                    <a:lnTo>
                      <a:pt x="36" y="84"/>
                    </a:lnTo>
                    <a:lnTo>
                      <a:pt x="37" y="89"/>
                    </a:lnTo>
                    <a:lnTo>
                      <a:pt x="37" y="89"/>
                    </a:lnTo>
                    <a:lnTo>
                      <a:pt x="39" y="89"/>
                    </a:lnTo>
                    <a:lnTo>
                      <a:pt x="41" y="89"/>
                    </a:lnTo>
                    <a:lnTo>
                      <a:pt x="39" y="85"/>
                    </a:lnTo>
                    <a:lnTo>
                      <a:pt x="39" y="82"/>
                    </a:lnTo>
                    <a:lnTo>
                      <a:pt x="37" y="78"/>
                    </a:lnTo>
                    <a:lnTo>
                      <a:pt x="39" y="75"/>
                    </a:lnTo>
                    <a:lnTo>
                      <a:pt x="37" y="75"/>
                    </a:lnTo>
                    <a:lnTo>
                      <a:pt x="37" y="73"/>
                    </a:lnTo>
                    <a:lnTo>
                      <a:pt x="37" y="71"/>
                    </a:lnTo>
                    <a:lnTo>
                      <a:pt x="36" y="69"/>
                    </a:lnTo>
                    <a:lnTo>
                      <a:pt x="36" y="68"/>
                    </a:lnTo>
                    <a:lnTo>
                      <a:pt x="37" y="64"/>
                    </a:lnTo>
                    <a:lnTo>
                      <a:pt x="70" y="66"/>
                    </a:lnTo>
                    <a:lnTo>
                      <a:pt x="71" y="66"/>
                    </a:lnTo>
                    <a:lnTo>
                      <a:pt x="75" y="62"/>
                    </a:lnTo>
                    <a:lnTo>
                      <a:pt x="79" y="62"/>
                    </a:lnTo>
                    <a:lnTo>
                      <a:pt x="79" y="62"/>
                    </a:lnTo>
                    <a:lnTo>
                      <a:pt x="89" y="64"/>
                    </a:lnTo>
                    <a:lnTo>
                      <a:pt x="91" y="66"/>
                    </a:lnTo>
                    <a:lnTo>
                      <a:pt x="91" y="66"/>
                    </a:lnTo>
                    <a:lnTo>
                      <a:pt x="93" y="64"/>
                    </a:lnTo>
                    <a:lnTo>
                      <a:pt x="96" y="64"/>
                    </a:lnTo>
                    <a:lnTo>
                      <a:pt x="98" y="64"/>
                    </a:lnTo>
                    <a:lnTo>
                      <a:pt x="98" y="64"/>
                    </a:lnTo>
                    <a:lnTo>
                      <a:pt x="100" y="62"/>
                    </a:lnTo>
                    <a:lnTo>
                      <a:pt x="100" y="60"/>
                    </a:lnTo>
                    <a:lnTo>
                      <a:pt x="100" y="60"/>
                    </a:lnTo>
                    <a:lnTo>
                      <a:pt x="102" y="60"/>
                    </a:lnTo>
                    <a:lnTo>
                      <a:pt x="102" y="60"/>
                    </a:lnTo>
                    <a:lnTo>
                      <a:pt x="105" y="57"/>
                    </a:lnTo>
                    <a:lnTo>
                      <a:pt x="105" y="57"/>
                    </a:lnTo>
                    <a:lnTo>
                      <a:pt x="107" y="57"/>
                    </a:lnTo>
                    <a:lnTo>
                      <a:pt x="109" y="57"/>
                    </a:lnTo>
                    <a:lnTo>
                      <a:pt x="112" y="57"/>
                    </a:lnTo>
                    <a:lnTo>
                      <a:pt x="114" y="57"/>
                    </a:lnTo>
                    <a:lnTo>
                      <a:pt x="114" y="57"/>
                    </a:lnTo>
                    <a:lnTo>
                      <a:pt x="118" y="53"/>
                    </a:lnTo>
                    <a:lnTo>
                      <a:pt x="120" y="53"/>
                    </a:lnTo>
                    <a:lnTo>
                      <a:pt x="120" y="52"/>
                    </a:lnTo>
                    <a:lnTo>
                      <a:pt x="120" y="52"/>
                    </a:lnTo>
                    <a:lnTo>
                      <a:pt x="121" y="50"/>
                    </a:lnTo>
                    <a:lnTo>
                      <a:pt x="121" y="50"/>
                    </a:lnTo>
                    <a:lnTo>
                      <a:pt x="120" y="50"/>
                    </a:lnTo>
                    <a:lnTo>
                      <a:pt x="116" y="44"/>
                    </a:lnTo>
                    <a:lnTo>
                      <a:pt x="116" y="43"/>
                    </a:lnTo>
                    <a:lnTo>
                      <a:pt x="116" y="43"/>
                    </a:lnTo>
                    <a:lnTo>
                      <a:pt x="116" y="41"/>
                    </a:lnTo>
                    <a:lnTo>
                      <a:pt x="118" y="41"/>
                    </a:lnTo>
                    <a:lnTo>
                      <a:pt x="118" y="41"/>
                    </a:lnTo>
                    <a:lnTo>
                      <a:pt x="116" y="37"/>
                    </a:lnTo>
                    <a:lnTo>
                      <a:pt x="114" y="35"/>
                    </a:lnTo>
                    <a:lnTo>
                      <a:pt x="112" y="37"/>
                    </a:lnTo>
                    <a:lnTo>
                      <a:pt x="112" y="37"/>
                    </a:lnTo>
                    <a:lnTo>
                      <a:pt x="111" y="39"/>
                    </a:lnTo>
                    <a:lnTo>
                      <a:pt x="109" y="39"/>
                    </a:lnTo>
                    <a:lnTo>
                      <a:pt x="104" y="35"/>
                    </a:lnTo>
                    <a:lnTo>
                      <a:pt x="87" y="16"/>
                    </a:lnTo>
                    <a:lnTo>
                      <a:pt x="87" y="14"/>
                    </a:lnTo>
                    <a:lnTo>
                      <a:pt x="87" y="10"/>
                    </a:lnTo>
                    <a:lnTo>
                      <a:pt x="87" y="10"/>
                    </a:lnTo>
                    <a:lnTo>
                      <a:pt x="84" y="7"/>
                    </a:lnTo>
                    <a:lnTo>
                      <a:pt x="84" y="7"/>
                    </a:lnTo>
                    <a:lnTo>
                      <a:pt x="84" y="3"/>
                    </a:lnTo>
                    <a:lnTo>
                      <a:pt x="84" y="0"/>
                    </a:lnTo>
                    <a:lnTo>
                      <a:pt x="86"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69" name="Freeform 2420"/>
              <p:cNvSpPr>
                <a:spLocks/>
              </p:cNvSpPr>
              <p:nvPr/>
            </p:nvSpPr>
            <p:spPr bwMode="auto">
              <a:xfrm>
                <a:off x="2455" y="2507"/>
                <a:ext cx="118" cy="92"/>
              </a:xfrm>
              <a:custGeom>
                <a:avLst/>
                <a:gdLst>
                  <a:gd name="T0" fmla="*/ 52 w 118"/>
                  <a:gd name="T1" fmla="*/ 6 h 92"/>
                  <a:gd name="T2" fmla="*/ 45 w 118"/>
                  <a:gd name="T3" fmla="*/ 8 h 92"/>
                  <a:gd name="T4" fmla="*/ 38 w 118"/>
                  <a:gd name="T5" fmla="*/ 6 h 92"/>
                  <a:gd name="T6" fmla="*/ 34 w 118"/>
                  <a:gd name="T7" fmla="*/ 6 h 92"/>
                  <a:gd name="T8" fmla="*/ 29 w 118"/>
                  <a:gd name="T9" fmla="*/ 2 h 92"/>
                  <a:gd name="T10" fmla="*/ 23 w 118"/>
                  <a:gd name="T11" fmla="*/ 6 h 92"/>
                  <a:gd name="T12" fmla="*/ 21 w 118"/>
                  <a:gd name="T13" fmla="*/ 9 h 92"/>
                  <a:gd name="T14" fmla="*/ 21 w 118"/>
                  <a:gd name="T15" fmla="*/ 13 h 92"/>
                  <a:gd name="T16" fmla="*/ 14 w 118"/>
                  <a:gd name="T17" fmla="*/ 18 h 92"/>
                  <a:gd name="T18" fmla="*/ 2 w 118"/>
                  <a:gd name="T19" fmla="*/ 29 h 92"/>
                  <a:gd name="T20" fmla="*/ 2 w 118"/>
                  <a:gd name="T21" fmla="*/ 33 h 92"/>
                  <a:gd name="T22" fmla="*/ 5 w 118"/>
                  <a:gd name="T23" fmla="*/ 31 h 92"/>
                  <a:gd name="T24" fmla="*/ 9 w 118"/>
                  <a:gd name="T25" fmla="*/ 40 h 92"/>
                  <a:gd name="T26" fmla="*/ 23 w 118"/>
                  <a:gd name="T27" fmla="*/ 54 h 92"/>
                  <a:gd name="T28" fmla="*/ 27 w 118"/>
                  <a:gd name="T29" fmla="*/ 58 h 92"/>
                  <a:gd name="T30" fmla="*/ 34 w 118"/>
                  <a:gd name="T31" fmla="*/ 61 h 92"/>
                  <a:gd name="T32" fmla="*/ 38 w 118"/>
                  <a:gd name="T33" fmla="*/ 56 h 92"/>
                  <a:gd name="T34" fmla="*/ 41 w 118"/>
                  <a:gd name="T35" fmla="*/ 49 h 92"/>
                  <a:gd name="T36" fmla="*/ 50 w 118"/>
                  <a:gd name="T37" fmla="*/ 47 h 92"/>
                  <a:gd name="T38" fmla="*/ 64 w 118"/>
                  <a:gd name="T39" fmla="*/ 49 h 92"/>
                  <a:gd name="T40" fmla="*/ 68 w 118"/>
                  <a:gd name="T41" fmla="*/ 54 h 92"/>
                  <a:gd name="T42" fmla="*/ 71 w 118"/>
                  <a:gd name="T43" fmla="*/ 56 h 92"/>
                  <a:gd name="T44" fmla="*/ 71 w 118"/>
                  <a:gd name="T45" fmla="*/ 59 h 92"/>
                  <a:gd name="T46" fmla="*/ 73 w 118"/>
                  <a:gd name="T47" fmla="*/ 63 h 92"/>
                  <a:gd name="T48" fmla="*/ 70 w 118"/>
                  <a:gd name="T49" fmla="*/ 72 h 92"/>
                  <a:gd name="T50" fmla="*/ 77 w 118"/>
                  <a:gd name="T51" fmla="*/ 70 h 92"/>
                  <a:gd name="T52" fmla="*/ 79 w 118"/>
                  <a:gd name="T53" fmla="*/ 70 h 92"/>
                  <a:gd name="T54" fmla="*/ 84 w 118"/>
                  <a:gd name="T55" fmla="*/ 70 h 92"/>
                  <a:gd name="T56" fmla="*/ 88 w 118"/>
                  <a:gd name="T57" fmla="*/ 72 h 92"/>
                  <a:gd name="T58" fmla="*/ 91 w 118"/>
                  <a:gd name="T59" fmla="*/ 81 h 92"/>
                  <a:gd name="T60" fmla="*/ 89 w 118"/>
                  <a:gd name="T61" fmla="*/ 88 h 92"/>
                  <a:gd name="T62" fmla="*/ 93 w 118"/>
                  <a:gd name="T63" fmla="*/ 88 h 92"/>
                  <a:gd name="T64" fmla="*/ 98 w 118"/>
                  <a:gd name="T65" fmla="*/ 90 h 92"/>
                  <a:gd name="T66" fmla="*/ 102 w 118"/>
                  <a:gd name="T67" fmla="*/ 84 h 92"/>
                  <a:gd name="T68" fmla="*/ 107 w 118"/>
                  <a:gd name="T69" fmla="*/ 84 h 92"/>
                  <a:gd name="T70" fmla="*/ 113 w 118"/>
                  <a:gd name="T71" fmla="*/ 77 h 92"/>
                  <a:gd name="T72" fmla="*/ 114 w 118"/>
                  <a:gd name="T73" fmla="*/ 75 h 92"/>
                  <a:gd name="T74" fmla="*/ 109 w 118"/>
                  <a:gd name="T75" fmla="*/ 74 h 92"/>
                  <a:gd name="T76" fmla="*/ 109 w 118"/>
                  <a:gd name="T77" fmla="*/ 70 h 92"/>
                  <a:gd name="T78" fmla="*/ 116 w 118"/>
                  <a:gd name="T79" fmla="*/ 72 h 92"/>
                  <a:gd name="T80" fmla="*/ 118 w 118"/>
                  <a:gd name="T81" fmla="*/ 68 h 92"/>
                  <a:gd name="T82" fmla="*/ 116 w 118"/>
                  <a:gd name="T83" fmla="*/ 65 h 92"/>
                  <a:gd name="T84" fmla="*/ 118 w 118"/>
                  <a:gd name="T85" fmla="*/ 61 h 92"/>
                  <a:gd name="T86" fmla="*/ 116 w 118"/>
                  <a:gd name="T87" fmla="*/ 56 h 92"/>
                  <a:gd name="T88" fmla="*/ 111 w 118"/>
                  <a:gd name="T89" fmla="*/ 47 h 92"/>
                  <a:gd name="T90" fmla="*/ 114 w 118"/>
                  <a:gd name="T91" fmla="*/ 42 h 92"/>
                  <a:gd name="T92" fmla="*/ 109 w 118"/>
                  <a:gd name="T93" fmla="*/ 38 h 92"/>
                  <a:gd name="T94" fmla="*/ 105 w 118"/>
                  <a:gd name="T95" fmla="*/ 29 h 92"/>
                  <a:gd name="T96" fmla="*/ 104 w 118"/>
                  <a:gd name="T97" fmla="*/ 27 h 92"/>
                  <a:gd name="T98" fmla="*/ 107 w 118"/>
                  <a:gd name="T99" fmla="*/ 24 h 92"/>
                  <a:gd name="T100" fmla="*/ 105 w 118"/>
                  <a:gd name="T101" fmla="*/ 22 h 92"/>
                  <a:gd name="T102" fmla="*/ 102 w 118"/>
                  <a:gd name="T103" fmla="*/ 18 h 92"/>
                  <a:gd name="T104" fmla="*/ 100 w 118"/>
                  <a:gd name="T105" fmla="*/ 11 h 92"/>
                  <a:gd name="T106" fmla="*/ 98 w 118"/>
                  <a:gd name="T107" fmla="*/ 9 h 92"/>
                  <a:gd name="T108" fmla="*/ 96 w 118"/>
                  <a:gd name="T109" fmla="*/ 4 h 92"/>
                  <a:gd name="T110" fmla="*/ 93 w 118"/>
                  <a:gd name="T111" fmla="*/ 4 h 92"/>
                  <a:gd name="T112" fmla="*/ 88 w 118"/>
                  <a:gd name="T113" fmla="*/ 9 h 92"/>
                  <a:gd name="T114" fmla="*/ 80 w 118"/>
                  <a:gd name="T115" fmla="*/ 9 h 92"/>
                  <a:gd name="T116" fmla="*/ 73 w 118"/>
                  <a:gd name="T117" fmla="*/ 11 h 92"/>
                  <a:gd name="T118" fmla="*/ 66 w 118"/>
                  <a:gd name="T119" fmla="*/ 9 h 92"/>
                  <a:gd name="T120" fmla="*/ 61 w 118"/>
                  <a:gd name="T121" fmla="*/ 13 h 92"/>
                  <a:gd name="T122" fmla="*/ 59 w 118"/>
                  <a:gd name="T123"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2">
                    <a:moveTo>
                      <a:pt x="61" y="6"/>
                    </a:moveTo>
                    <a:lnTo>
                      <a:pt x="57" y="6"/>
                    </a:lnTo>
                    <a:lnTo>
                      <a:pt x="55" y="6"/>
                    </a:lnTo>
                    <a:lnTo>
                      <a:pt x="52" y="6"/>
                    </a:lnTo>
                    <a:lnTo>
                      <a:pt x="50" y="6"/>
                    </a:lnTo>
                    <a:lnTo>
                      <a:pt x="48" y="6"/>
                    </a:lnTo>
                    <a:lnTo>
                      <a:pt x="46" y="8"/>
                    </a:lnTo>
                    <a:lnTo>
                      <a:pt x="45" y="8"/>
                    </a:lnTo>
                    <a:lnTo>
                      <a:pt x="43" y="6"/>
                    </a:lnTo>
                    <a:lnTo>
                      <a:pt x="43" y="6"/>
                    </a:lnTo>
                    <a:lnTo>
                      <a:pt x="39" y="6"/>
                    </a:lnTo>
                    <a:lnTo>
                      <a:pt x="38" y="6"/>
                    </a:lnTo>
                    <a:lnTo>
                      <a:pt x="36" y="4"/>
                    </a:lnTo>
                    <a:lnTo>
                      <a:pt x="36" y="4"/>
                    </a:lnTo>
                    <a:lnTo>
                      <a:pt x="36" y="6"/>
                    </a:lnTo>
                    <a:lnTo>
                      <a:pt x="34" y="6"/>
                    </a:lnTo>
                    <a:lnTo>
                      <a:pt x="34" y="4"/>
                    </a:lnTo>
                    <a:lnTo>
                      <a:pt x="32" y="2"/>
                    </a:lnTo>
                    <a:lnTo>
                      <a:pt x="30" y="2"/>
                    </a:lnTo>
                    <a:lnTo>
                      <a:pt x="29" y="2"/>
                    </a:lnTo>
                    <a:lnTo>
                      <a:pt x="27" y="2"/>
                    </a:lnTo>
                    <a:lnTo>
                      <a:pt x="23" y="0"/>
                    </a:lnTo>
                    <a:lnTo>
                      <a:pt x="23" y="4"/>
                    </a:lnTo>
                    <a:lnTo>
                      <a:pt x="23" y="6"/>
                    </a:lnTo>
                    <a:lnTo>
                      <a:pt x="23" y="6"/>
                    </a:lnTo>
                    <a:lnTo>
                      <a:pt x="23" y="8"/>
                    </a:lnTo>
                    <a:lnTo>
                      <a:pt x="21" y="9"/>
                    </a:lnTo>
                    <a:lnTo>
                      <a:pt x="21" y="9"/>
                    </a:lnTo>
                    <a:lnTo>
                      <a:pt x="20" y="9"/>
                    </a:lnTo>
                    <a:lnTo>
                      <a:pt x="20" y="9"/>
                    </a:lnTo>
                    <a:lnTo>
                      <a:pt x="21" y="11"/>
                    </a:lnTo>
                    <a:lnTo>
                      <a:pt x="21" y="13"/>
                    </a:lnTo>
                    <a:lnTo>
                      <a:pt x="23" y="18"/>
                    </a:lnTo>
                    <a:lnTo>
                      <a:pt x="21" y="18"/>
                    </a:lnTo>
                    <a:lnTo>
                      <a:pt x="20" y="18"/>
                    </a:lnTo>
                    <a:lnTo>
                      <a:pt x="14" y="18"/>
                    </a:lnTo>
                    <a:lnTo>
                      <a:pt x="9" y="22"/>
                    </a:lnTo>
                    <a:lnTo>
                      <a:pt x="7" y="22"/>
                    </a:lnTo>
                    <a:lnTo>
                      <a:pt x="4" y="29"/>
                    </a:lnTo>
                    <a:lnTo>
                      <a:pt x="2" y="29"/>
                    </a:lnTo>
                    <a:lnTo>
                      <a:pt x="0" y="31"/>
                    </a:lnTo>
                    <a:lnTo>
                      <a:pt x="0" y="33"/>
                    </a:lnTo>
                    <a:lnTo>
                      <a:pt x="2" y="33"/>
                    </a:lnTo>
                    <a:lnTo>
                      <a:pt x="2" y="33"/>
                    </a:lnTo>
                    <a:lnTo>
                      <a:pt x="4" y="33"/>
                    </a:lnTo>
                    <a:lnTo>
                      <a:pt x="5" y="31"/>
                    </a:lnTo>
                    <a:lnTo>
                      <a:pt x="5" y="31"/>
                    </a:lnTo>
                    <a:lnTo>
                      <a:pt x="5" y="31"/>
                    </a:lnTo>
                    <a:lnTo>
                      <a:pt x="7" y="34"/>
                    </a:lnTo>
                    <a:lnTo>
                      <a:pt x="9" y="34"/>
                    </a:lnTo>
                    <a:lnTo>
                      <a:pt x="9" y="36"/>
                    </a:lnTo>
                    <a:lnTo>
                      <a:pt x="9" y="40"/>
                    </a:lnTo>
                    <a:lnTo>
                      <a:pt x="13" y="43"/>
                    </a:lnTo>
                    <a:lnTo>
                      <a:pt x="20" y="47"/>
                    </a:lnTo>
                    <a:lnTo>
                      <a:pt x="21" y="50"/>
                    </a:lnTo>
                    <a:lnTo>
                      <a:pt x="23" y="54"/>
                    </a:lnTo>
                    <a:lnTo>
                      <a:pt x="25" y="54"/>
                    </a:lnTo>
                    <a:lnTo>
                      <a:pt x="25" y="56"/>
                    </a:lnTo>
                    <a:lnTo>
                      <a:pt x="27" y="56"/>
                    </a:lnTo>
                    <a:lnTo>
                      <a:pt x="27" y="58"/>
                    </a:lnTo>
                    <a:lnTo>
                      <a:pt x="27" y="58"/>
                    </a:lnTo>
                    <a:lnTo>
                      <a:pt x="29" y="59"/>
                    </a:lnTo>
                    <a:lnTo>
                      <a:pt x="30" y="61"/>
                    </a:lnTo>
                    <a:lnTo>
                      <a:pt x="34" y="61"/>
                    </a:lnTo>
                    <a:lnTo>
                      <a:pt x="34" y="59"/>
                    </a:lnTo>
                    <a:lnTo>
                      <a:pt x="36" y="58"/>
                    </a:lnTo>
                    <a:lnTo>
                      <a:pt x="38" y="58"/>
                    </a:lnTo>
                    <a:lnTo>
                      <a:pt x="38" y="56"/>
                    </a:lnTo>
                    <a:lnTo>
                      <a:pt x="38" y="56"/>
                    </a:lnTo>
                    <a:lnTo>
                      <a:pt x="39" y="54"/>
                    </a:lnTo>
                    <a:lnTo>
                      <a:pt x="43" y="50"/>
                    </a:lnTo>
                    <a:lnTo>
                      <a:pt x="41" y="49"/>
                    </a:lnTo>
                    <a:lnTo>
                      <a:pt x="43" y="47"/>
                    </a:lnTo>
                    <a:lnTo>
                      <a:pt x="45" y="47"/>
                    </a:lnTo>
                    <a:lnTo>
                      <a:pt x="46" y="49"/>
                    </a:lnTo>
                    <a:lnTo>
                      <a:pt x="50" y="47"/>
                    </a:lnTo>
                    <a:lnTo>
                      <a:pt x="50" y="45"/>
                    </a:lnTo>
                    <a:lnTo>
                      <a:pt x="63" y="47"/>
                    </a:lnTo>
                    <a:lnTo>
                      <a:pt x="63" y="49"/>
                    </a:lnTo>
                    <a:lnTo>
                      <a:pt x="64" y="49"/>
                    </a:lnTo>
                    <a:lnTo>
                      <a:pt x="66" y="50"/>
                    </a:lnTo>
                    <a:lnTo>
                      <a:pt x="68" y="52"/>
                    </a:lnTo>
                    <a:lnTo>
                      <a:pt x="68" y="52"/>
                    </a:lnTo>
                    <a:lnTo>
                      <a:pt x="68" y="54"/>
                    </a:lnTo>
                    <a:lnTo>
                      <a:pt x="68" y="54"/>
                    </a:lnTo>
                    <a:lnTo>
                      <a:pt x="68" y="56"/>
                    </a:lnTo>
                    <a:lnTo>
                      <a:pt x="70" y="56"/>
                    </a:lnTo>
                    <a:lnTo>
                      <a:pt x="71" y="56"/>
                    </a:lnTo>
                    <a:lnTo>
                      <a:pt x="71" y="56"/>
                    </a:lnTo>
                    <a:lnTo>
                      <a:pt x="70" y="58"/>
                    </a:lnTo>
                    <a:lnTo>
                      <a:pt x="71" y="59"/>
                    </a:lnTo>
                    <a:lnTo>
                      <a:pt x="71" y="59"/>
                    </a:lnTo>
                    <a:lnTo>
                      <a:pt x="71" y="61"/>
                    </a:lnTo>
                    <a:lnTo>
                      <a:pt x="71" y="61"/>
                    </a:lnTo>
                    <a:lnTo>
                      <a:pt x="73" y="61"/>
                    </a:lnTo>
                    <a:lnTo>
                      <a:pt x="73" y="63"/>
                    </a:lnTo>
                    <a:lnTo>
                      <a:pt x="73" y="67"/>
                    </a:lnTo>
                    <a:lnTo>
                      <a:pt x="73" y="67"/>
                    </a:lnTo>
                    <a:lnTo>
                      <a:pt x="71" y="67"/>
                    </a:lnTo>
                    <a:lnTo>
                      <a:pt x="70" y="72"/>
                    </a:lnTo>
                    <a:lnTo>
                      <a:pt x="70" y="72"/>
                    </a:lnTo>
                    <a:lnTo>
                      <a:pt x="75" y="72"/>
                    </a:lnTo>
                    <a:lnTo>
                      <a:pt x="75" y="70"/>
                    </a:lnTo>
                    <a:lnTo>
                      <a:pt x="77" y="70"/>
                    </a:lnTo>
                    <a:lnTo>
                      <a:pt x="77" y="70"/>
                    </a:lnTo>
                    <a:lnTo>
                      <a:pt x="77" y="72"/>
                    </a:lnTo>
                    <a:lnTo>
                      <a:pt x="79" y="72"/>
                    </a:lnTo>
                    <a:lnTo>
                      <a:pt x="79" y="70"/>
                    </a:lnTo>
                    <a:lnTo>
                      <a:pt x="80" y="68"/>
                    </a:lnTo>
                    <a:lnTo>
                      <a:pt x="82" y="70"/>
                    </a:lnTo>
                    <a:lnTo>
                      <a:pt x="82" y="70"/>
                    </a:lnTo>
                    <a:lnTo>
                      <a:pt x="84" y="70"/>
                    </a:lnTo>
                    <a:lnTo>
                      <a:pt x="86" y="70"/>
                    </a:lnTo>
                    <a:lnTo>
                      <a:pt x="86" y="70"/>
                    </a:lnTo>
                    <a:lnTo>
                      <a:pt x="86" y="70"/>
                    </a:lnTo>
                    <a:lnTo>
                      <a:pt x="88" y="72"/>
                    </a:lnTo>
                    <a:lnTo>
                      <a:pt x="89" y="72"/>
                    </a:lnTo>
                    <a:lnTo>
                      <a:pt x="89" y="75"/>
                    </a:lnTo>
                    <a:lnTo>
                      <a:pt x="91" y="75"/>
                    </a:lnTo>
                    <a:lnTo>
                      <a:pt x="91" y="81"/>
                    </a:lnTo>
                    <a:lnTo>
                      <a:pt x="91" y="81"/>
                    </a:lnTo>
                    <a:lnTo>
                      <a:pt x="91" y="86"/>
                    </a:lnTo>
                    <a:lnTo>
                      <a:pt x="91" y="86"/>
                    </a:lnTo>
                    <a:lnTo>
                      <a:pt x="89" y="88"/>
                    </a:lnTo>
                    <a:lnTo>
                      <a:pt x="89" y="88"/>
                    </a:lnTo>
                    <a:lnTo>
                      <a:pt x="89" y="88"/>
                    </a:lnTo>
                    <a:lnTo>
                      <a:pt x="91" y="88"/>
                    </a:lnTo>
                    <a:lnTo>
                      <a:pt x="93" y="88"/>
                    </a:lnTo>
                    <a:lnTo>
                      <a:pt x="93" y="88"/>
                    </a:lnTo>
                    <a:lnTo>
                      <a:pt x="96" y="92"/>
                    </a:lnTo>
                    <a:lnTo>
                      <a:pt x="96" y="90"/>
                    </a:lnTo>
                    <a:lnTo>
                      <a:pt x="98" y="90"/>
                    </a:lnTo>
                    <a:lnTo>
                      <a:pt x="100" y="90"/>
                    </a:lnTo>
                    <a:lnTo>
                      <a:pt x="100" y="88"/>
                    </a:lnTo>
                    <a:lnTo>
                      <a:pt x="102" y="86"/>
                    </a:lnTo>
                    <a:lnTo>
                      <a:pt x="102" y="84"/>
                    </a:lnTo>
                    <a:lnTo>
                      <a:pt x="104" y="83"/>
                    </a:lnTo>
                    <a:lnTo>
                      <a:pt x="105" y="83"/>
                    </a:lnTo>
                    <a:lnTo>
                      <a:pt x="105" y="86"/>
                    </a:lnTo>
                    <a:lnTo>
                      <a:pt x="107" y="84"/>
                    </a:lnTo>
                    <a:lnTo>
                      <a:pt x="111" y="84"/>
                    </a:lnTo>
                    <a:lnTo>
                      <a:pt x="111" y="84"/>
                    </a:lnTo>
                    <a:lnTo>
                      <a:pt x="113" y="83"/>
                    </a:lnTo>
                    <a:lnTo>
                      <a:pt x="113" y="77"/>
                    </a:lnTo>
                    <a:lnTo>
                      <a:pt x="114" y="77"/>
                    </a:lnTo>
                    <a:lnTo>
                      <a:pt x="114" y="77"/>
                    </a:lnTo>
                    <a:lnTo>
                      <a:pt x="113" y="75"/>
                    </a:lnTo>
                    <a:lnTo>
                      <a:pt x="114" y="75"/>
                    </a:lnTo>
                    <a:lnTo>
                      <a:pt x="113" y="75"/>
                    </a:lnTo>
                    <a:lnTo>
                      <a:pt x="113" y="74"/>
                    </a:lnTo>
                    <a:lnTo>
                      <a:pt x="111" y="75"/>
                    </a:lnTo>
                    <a:lnTo>
                      <a:pt x="109" y="74"/>
                    </a:lnTo>
                    <a:lnTo>
                      <a:pt x="111" y="72"/>
                    </a:lnTo>
                    <a:lnTo>
                      <a:pt x="111" y="72"/>
                    </a:lnTo>
                    <a:lnTo>
                      <a:pt x="109" y="72"/>
                    </a:lnTo>
                    <a:lnTo>
                      <a:pt x="109" y="70"/>
                    </a:lnTo>
                    <a:lnTo>
                      <a:pt x="113" y="70"/>
                    </a:lnTo>
                    <a:lnTo>
                      <a:pt x="114" y="70"/>
                    </a:lnTo>
                    <a:lnTo>
                      <a:pt x="116" y="72"/>
                    </a:lnTo>
                    <a:lnTo>
                      <a:pt x="116" y="72"/>
                    </a:lnTo>
                    <a:lnTo>
                      <a:pt x="118" y="70"/>
                    </a:lnTo>
                    <a:lnTo>
                      <a:pt x="118" y="72"/>
                    </a:lnTo>
                    <a:lnTo>
                      <a:pt x="118" y="72"/>
                    </a:lnTo>
                    <a:lnTo>
                      <a:pt x="118" y="68"/>
                    </a:lnTo>
                    <a:lnTo>
                      <a:pt x="118" y="67"/>
                    </a:lnTo>
                    <a:lnTo>
                      <a:pt x="118" y="67"/>
                    </a:lnTo>
                    <a:lnTo>
                      <a:pt x="116" y="67"/>
                    </a:lnTo>
                    <a:lnTo>
                      <a:pt x="116" y="65"/>
                    </a:lnTo>
                    <a:lnTo>
                      <a:pt x="114" y="65"/>
                    </a:lnTo>
                    <a:lnTo>
                      <a:pt x="116" y="63"/>
                    </a:lnTo>
                    <a:lnTo>
                      <a:pt x="116" y="61"/>
                    </a:lnTo>
                    <a:lnTo>
                      <a:pt x="118" y="61"/>
                    </a:lnTo>
                    <a:lnTo>
                      <a:pt x="118" y="61"/>
                    </a:lnTo>
                    <a:lnTo>
                      <a:pt x="116" y="59"/>
                    </a:lnTo>
                    <a:lnTo>
                      <a:pt x="116" y="59"/>
                    </a:lnTo>
                    <a:lnTo>
                      <a:pt x="116" y="56"/>
                    </a:lnTo>
                    <a:lnTo>
                      <a:pt x="114" y="56"/>
                    </a:lnTo>
                    <a:lnTo>
                      <a:pt x="111" y="54"/>
                    </a:lnTo>
                    <a:lnTo>
                      <a:pt x="111" y="54"/>
                    </a:lnTo>
                    <a:lnTo>
                      <a:pt x="111" y="47"/>
                    </a:lnTo>
                    <a:lnTo>
                      <a:pt x="113" y="45"/>
                    </a:lnTo>
                    <a:lnTo>
                      <a:pt x="113" y="45"/>
                    </a:lnTo>
                    <a:lnTo>
                      <a:pt x="114" y="43"/>
                    </a:lnTo>
                    <a:lnTo>
                      <a:pt x="114" y="42"/>
                    </a:lnTo>
                    <a:lnTo>
                      <a:pt x="114" y="40"/>
                    </a:lnTo>
                    <a:lnTo>
                      <a:pt x="113" y="40"/>
                    </a:lnTo>
                    <a:lnTo>
                      <a:pt x="111" y="38"/>
                    </a:lnTo>
                    <a:lnTo>
                      <a:pt x="109" y="38"/>
                    </a:lnTo>
                    <a:lnTo>
                      <a:pt x="109" y="36"/>
                    </a:lnTo>
                    <a:lnTo>
                      <a:pt x="109" y="29"/>
                    </a:lnTo>
                    <a:lnTo>
                      <a:pt x="107" y="27"/>
                    </a:lnTo>
                    <a:lnTo>
                      <a:pt x="105" y="29"/>
                    </a:lnTo>
                    <a:lnTo>
                      <a:pt x="104" y="31"/>
                    </a:lnTo>
                    <a:lnTo>
                      <a:pt x="104" y="31"/>
                    </a:lnTo>
                    <a:lnTo>
                      <a:pt x="104" y="27"/>
                    </a:lnTo>
                    <a:lnTo>
                      <a:pt x="104" y="27"/>
                    </a:lnTo>
                    <a:lnTo>
                      <a:pt x="105" y="27"/>
                    </a:lnTo>
                    <a:lnTo>
                      <a:pt x="105" y="25"/>
                    </a:lnTo>
                    <a:lnTo>
                      <a:pt x="105" y="25"/>
                    </a:lnTo>
                    <a:lnTo>
                      <a:pt x="107" y="24"/>
                    </a:lnTo>
                    <a:lnTo>
                      <a:pt x="107" y="24"/>
                    </a:lnTo>
                    <a:lnTo>
                      <a:pt x="107" y="24"/>
                    </a:lnTo>
                    <a:lnTo>
                      <a:pt x="107" y="22"/>
                    </a:lnTo>
                    <a:lnTo>
                      <a:pt x="105" y="22"/>
                    </a:lnTo>
                    <a:lnTo>
                      <a:pt x="105" y="22"/>
                    </a:lnTo>
                    <a:lnTo>
                      <a:pt x="104" y="20"/>
                    </a:lnTo>
                    <a:lnTo>
                      <a:pt x="102" y="18"/>
                    </a:lnTo>
                    <a:lnTo>
                      <a:pt x="102" y="18"/>
                    </a:lnTo>
                    <a:lnTo>
                      <a:pt x="100" y="18"/>
                    </a:lnTo>
                    <a:lnTo>
                      <a:pt x="100" y="13"/>
                    </a:lnTo>
                    <a:lnTo>
                      <a:pt x="100" y="11"/>
                    </a:lnTo>
                    <a:lnTo>
                      <a:pt x="100" y="11"/>
                    </a:lnTo>
                    <a:lnTo>
                      <a:pt x="100" y="9"/>
                    </a:lnTo>
                    <a:lnTo>
                      <a:pt x="98" y="9"/>
                    </a:lnTo>
                    <a:lnTo>
                      <a:pt x="98" y="9"/>
                    </a:lnTo>
                    <a:lnTo>
                      <a:pt x="98" y="9"/>
                    </a:lnTo>
                    <a:lnTo>
                      <a:pt x="98" y="6"/>
                    </a:lnTo>
                    <a:lnTo>
                      <a:pt x="98" y="6"/>
                    </a:lnTo>
                    <a:lnTo>
                      <a:pt x="96" y="4"/>
                    </a:lnTo>
                    <a:lnTo>
                      <a:pt x="96" y="4"/>
                    </a:lnTo>
                    <a:lnTo>
                      <a:pt x="95" y="6"/>
                    </a:lnTo>
                    <a:lnTo>
                      <a:pt x="95" y="6"/>
                    </a:lnTo>
                    <a:lnTo>
                      <a:pt x="93" y="4"/>
                    </a:lnTo>
                    <a:lnTo>
                      <a:pt x="93" y="4"/>
                    </a:lnTo>
                    <a:lnTo>
                      <a:pt x="91" y="4"/>
                    </a:lnTo>
                    <a:lnTo>
                      <a:pt x="91" y="8"/>
                    </a:lnTo>
                    <a:lnTo>
                      <a:pt x="91" y="8"/>
                    </a:lnTo>
                    <a:lnTo>
                      <a:pt x="88" y="9"/>
                    </a:lnTo>
                    <a:lnTo>
                      <a:pt x="88" y="11"/>
                    </a:lnTo>
                    <a:lnTo>
                      <a:pt x="86" y="13"/>
                    </a:lnTo>
                    <a:lnTo>
                      <a:pt x="82" y="11"/>
                    </a:lnTo>
                    <a:lnTo>
                      <a:pt x="80" y="9"/>
                    </a:lnTo>
                    <a:lnTo>
                      <a:pt x="77" y="9"/>
                    </a:lnTo>
                    <a:lnTo>
                      <a:pt x="77" y="9"/>
                    </a:lnTo>
                    <a:lnTo>
                      <a:pt x="75" y="11"/>
                    </a:lnTo>
                    <a:lnTo>
                      <a:pt x="73" y="11"/>
                    </a:lnTo>
                    <a:lnTo>
                      <a:pt x="73" y="13"/>
                    </a:lnTo>
                    <a:lnTo>
                      <a:pt x="71" y="15"/>
                    </a:lnTo>
                    <a:lnTo>
                      <a:pt x="70" y="13"/>
                    </a:lnTo>
                    <a:lnTo>
                      <a:pt x="66" y="9"/>
                    </a:lnTo>
                    <a:lnTo>
                      <a:pt x="66" y="9"/>
                    </a:lnTo>
                    <a:lnTo>
                      <a:pt x="64" y="11"/>
                    </a:lnTo>
                    <a:lnTo>
                      <a:pt x="63" y="13"/>
                    </a:lnTo>
                    <a:lnTo>
                      <a:pt x="61" y="13"/>
                    </a:lnTo>
                    <a:lnTo>
                      <a:pt x="59" y="11"/>
                    </a:lnTo>
                    <a:lnTo>
                      <a:pt x="59" y="11"/>
                    </a:lnTo>
                    <a:lnTo>
                      <a:pt x="59" y="9"/>
                    </a:lnTo>
                    <a:lnTo>
                      <a:pt x="59" y="8"/>
                    </a:lnTo>
                    <a:lnTo>
                      <a:pt x="59" y="8"/>
                    </a:lnTo>
                    <a:lnTo>
                      <a:pt x="61"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70" name="Freeform 2421"/>
              <p:cNvSpPr>
                <a:spLocks/>
              </p:cNvSpPr>
              <p:nvPr/>
            </p:nvSpPr>
            <p:spPr bwMode="auto">
              <a:xfrm>
                <a:off x="2455" y="2507"/>
                <a:ext cx="118" cy="92"/>
              </a:xfrm>
              <a:custGeom>
                <a:avLst/>
                <a:gdLst>
                  <a:gd name="T0" fmla="*/ 52 w 118"/>
                  <a:gd name="T1" fmla="*/ 6 h 92"/>
                  <a:gd name="T2" fmla="*/ 45 w 118"/>
                  <a:gd name="T3" fmla="*/ 8 h 92"/>
                  <a:gd name="T4" fmla="*/ 38 w 118"/>
                  <a:gd name="T5" fmla="*/ 6 h 92"/>
                  <a:gd name="T6" fmla="*/ 34 w 118"/>
                  <a:gd name="T7" fmla="*/ 6 h 92"/>
                  <a:gd name="T8" fmla="*/ 29 w 118"/>
                  <a:gd name="T9" fmla="*/ 2 h 92"/>
                  <a:gd name="T10" fmla="*/ 23 w 118"/>
                  <a:gd name="T11" fmla="*/ 6 h 92"/>
                  <a:gd name="T12" fmla="*/ 21 w 118"/>
                  <a:gd name="T13" fmla="*/ 9 h 92"/>
                  <a:gd name="T14" fmla="*/ 21 w 118"/>
                  <a:gd name="T15" fmla="*/ 13 h 92"/>
                  <a:gd name="T16" fmla="*/ 14 w 118"/>
                  <a:gd name="T17" fmla="*/ 18 h 92"/>
                  <a:gd name="T18" fmla="*/ 2 w 118"/>
                  <a:gd name="T19" fmla="*/ 29 h 92"/>
                  <a:gd name="T20" fmla="*/ 2 w 118"/>
                  <a:gd name="T21" fmla="*/ 33 h 92"/>
                  <a:gd name="T22" fmla="*/ 5 w 118"/>
                  <a:gd name="T23" fmla="*/ 31 h 92"/>
                  <a:gd name="T24" fmla="*/ 9 w 118"/>
                  <a:gd name="T25" fmla="*/ 40 h 92"/>
                  <a:gd name="T26" fmla="*/ 23 w 118"/>
                  <a:gd name="T27" fmla="*/ 54 h 92"/>
                  <a:gd name="T28" fmla="*/ 27 w 118"/>
                  <a:gd name="T29" fmla="*/ 58 h 92"/>
                  <a:gd name="T30" fmla="*/ 34 w 118"/>
                  <a:gd name="T31" fmla="*/ 61 h 92"/>
                  <a:gd name="T32" fmla="*/ 38 w 118"/>
                  <a:gd name="T33" fmla="*/ 56 h 92"/>
                  <a:gd name="T34" fmla="*/ 41 w 118"/>
                  <a:gd name="T35" fmla="*/ 49 h 92"/>
                  <a:gd name="T36" fmla="*/ 50 w 118"/>
                  <a:gd name="T37" fmla="*/ 47 h 92"/>
                  <a:gd name="T38" fmla="*/ 64 w 118"/>
                  <a:gd name="T39" fmla="*/ 49 h 92"/>
                  <a:gd name="T40" fmla="*/ 68 w 118"/>
                  <a:gd name="T41" fmla="*/ 54 h 92"/>
                  <a:gd name="T42" fmla="*/ 71 w 118"/>
                  <a:gd name="T43" fmla="*/ 56 h 92"/>
                  <a:gd name="T44" fmla="*/ 71 w 118"/>
                  <a:gd name="T45" fmla="*/ 59 h 92"/>
                  <a:gd name="T46" fmla="*/ 73 w 118"/>
                  <a:gd name="T47" fmla="*/ 63 h 92"/>
                  <a:gd name="T48" fmla="*/ 70 w 118"/>
                  <a:gd name="T49" fmla="*/ 72 h 92"/>
                  <a:gd name="T50" fmla="*/ 77 w 118"/>
                  <a:gd name="T51" fmla="*/ 70 h 92"/>
                  <a:gd name="T52" fmla="*/ 79 w 118"/>
                  <a:gd name="T53" fmla="*/ 70 h 92"/>
                  <a:gd name="T54" fmla="*/ 84 w 118"/>
                  <a:gd name="T55" fmla="*/ 70 h 92"/>
                  <a:gd name="T56" fmla="*/ 88 w 118"/>
                  <a:gd name="T57" fmla="*/ 72 h 92"/>
                  <a:gd name="T58" fmla="*/ 91 w 118"/>
                  <a:gd name="T59" fmla="*/ 81 h 92"/>
                  <a:gd name="T60" fmla="*/ 89 w 118"/>
                  <a:gd name="T61" fmla="*/ 88 h 92"/>
                  <a:gd name="T62" fmla="*/ 93 w 118"/>
                  <a:gd name="T63" fmla="*/ 88 h 92"/>
                  <a:gd name="T64" fmla="*/ 98 w 118"/>
                  <a:gd name="T65" fmla="*/ 90 h 92"/>
                  <a:gd name="T66" fmla="*/ 102 w 118"/>
                  <a:gd name="T67" fmla="*/ 84 h 92"/>
                  <a:gd name="T68" fmla="*/ 107 w 118"/>
                  <a:gd name="T69" fmla="*/ 84 h 92"/>
                  <a:gd name="T70" fmla="*/ 113 w 118"/>
                  <a:gd name="T71" fmla="*/ 77 h 92"/>
                  <a:gd name="T72" fmla="*/ 114 w 118"/>
                  <a:gd name="T73" fmla="*/ 75 h 92"/>
                  <a:gd name="T74" fmla="*/ 109 w 118"/>
                  <a:gd name="T75" fmla="*/ 74 h 92"/>
                  <a:gd name="T76" fmla="*/ 109 w 118"/>
                  <a:gd name="T77" fmla="*/ 70 h 92"/>
                  <a:gd name="T78" fmla="*/ 116 w 118"/>
                  <a:gd name="T79" fmla="*/ 72 h 92"/>
                  <a:gd name="T80" fmla="*/ 118 w 118"/>
                  <a:gd name="T81" fmla="*/ 68 h 92"/>
                  <a:gd name="T82" fmla="*/ 116 w 118"/>
                  <a:gd name="T83" fmla="*/ 65 h 92"/>
                  <a:gd name="T84" fmla="*/ 118 w 118"/>
                  <a:gd name="T85" fmla="*/ 61 h 92"/>
                  <a:gd name="T86" fmla="*/ 116 w 118"/>
                  <a:gd name="T87" fmla="*/ 56 h 92"/>
                  <a:gd name="T88" fmla="*/ 111 w 118"/>
                  <a:gd name="T89" fmla="*/ 47 h 92"/>
                  <a:gd name="T90" fmla="*/ 114 w 118"/>
                  <a:gd name="T91" fmla="*/ 42 h 92"/>
                  <a:gd name="T92" fmla="*/ 109 w 118"/>
                  <a:gd name="T93" fmla="*/ 38 h 92"/>
                  <a:gd name="T94" fmla="*/ 105 w 118"/>
                  <a:gd name="T95" fmla="*/ 29 h 92"/>
                  <a:gd name="T96" fmla="*/ 104 w 118"/>
                  <a:gd name="T97" fmla="*/ 27 h 92"/>
                  <a:gd name="T98" fmla="*/ 107 w 118"/>
                  <a:gd name="T99" fmla="*/ 24 h 92"/>
                  <a:gd name="T100" fmla="*/ 105 w 118"/>
                  <a:gd name="T101" fmla="*/ 22 h 92"/>
                  <a:gd name="T102" fmla="*/ 102 w 118"/>
                  <a:gd name="T103" fmla="*/ 18 h 92"/>
                  <a:gd name="T104" fmla="*/ 100 w 118"/>
                  <a:gd name="T105" fmla="*/ 11 h 92"/>
                  <a:gd name="T106" fmla="*/ 98 w 118"/>
                  <a:gd name="T107" fmla="*/ 9 h 92"/>
                  <a:gd name="T108" fmla="*/ 96 w 118"/>
                  <a:gd name="T109" fmla="*/ 4 h 92"/>
                  <a:gd name="T110" fmla="*/ 93 w 118"/>
                  <a:gd name="T111" fmla="*/ 4 h 92"/>
                  <a:gd name="T112" fmla="*/ 88 w 118"/>
                  <a:gd name="T113" fmla="*/ 9 h 92"/>
                  <a:gd name="T114" fmla="*/ 80 w 118"/>
                  <a:gd name="T115" fmla="*/ 9 h 92"/>
                  <a:gd name="T116" fmla="*/ 73 w 118"/>
                  <a:gd name="T117" fmla="*/ 11 h 92"/>
                  <a:gd name="T118" fmla="*/ 66 w 118"/>
                  <a:gd name="T119" fmla="*/ 9 h 92"/>
                  <a:gd name="T120" fmla="*/ 61 w 118"/>
                  <a:gd name="T121" fmla="*/ 13 h 92"/>
                  <a:gd name="T122" fmla="*/ 59 w 118"/>
                  <a:gd name="T123" fmla="*/ 8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8" h="92">
                    <a:moveTo>
                      <a:pt x="61" y="6"/>
                    </a:moveTo>
                    <a:lnTo>
                      <a:pt x="57" y="6"/>
                    </a:lnTo>
                    <a:lnTo>
                      <a:pt x="55" y="6"/>
                    </a:lnTo>
                    <a:lnTo>
                      <a:pt x="52" y="6"/>
                    </a:lnTo>
                    <a:lnTo>
                      <a:pt x="50" y="6"/>
                    </a:lnTo>
                    <a:lnTo>
                      <a:pt x="48" y="6"/>
                    </a:lnTo>
                    <a:lnTo>
                      <a:pt x="46" y="8"/>
                    </a:lnTo>
                    <a:lnTo>
                      <a:pt x="45" y="8"/>
                    </a:lnTo>
                    <a:lnTo>
                      <a:pt x="43" y="6"/>
                    </a:lnTo>
                    <a:lnTo>
                      <a:pt x="43" y="6"/>
                    </a:lnTo>
                    <a:lnTo>
                      <a:pt x="39" y="6"/>
                    </a:lnTo>
                    <a:lnTo>
                      <a:pt x="38" y="6"/>
                    </a:lnTo>
                    <a:lnTo>
                      <a:pt x="36" y="4"/>
                    </a:lnTo>
                    <a:lnTo>
                      <a:pt x="36" y="4"/>
                    </a:lnTo>
                    <a:lnTo>
                      <a:pt x="36" y="6"/>
                    </a:lnTo>
                    <a:lnTo>
                      <a:pt x="34" y="6"/>
                    </a:lnTo>
                    <a:lnTo>
                      <a:pt x="34" y="4"/>
                    </a:lnTo>
                    <a:lnTo>
                      <a:pt x="32" y="2"/>
                    </a:lnTo>
                    <a:lnTo>
                      <a:pt x="30" y="2"/>
                    </a:lnTo>
                    <a:lnTo>
                      <a:pt x="29" y="2"/>
                    </a:lnTo>
                    <a:lnTo>
                      <a:pt x="27" y="2"/>
                    </a:lnTo>
                    <a:lnTo>
                      <a:pt x="23" y="0"/>
                    </a:lnTo>
                    <a:lnTo>
                      <a:pt x="23" y="4"/>
                    </a:lnTo>
                    <a:lnTo>
                      <a:pt x="23" y="6"/>
                    </a:lnTo>
                    <a:lnTo>
                      <a:pt x="23" y="6"/>
                    </a:lnTo>
                    <a:lnTo>
                      <a:pt x="23" y="8"/>
                    </a:lnTo>
                    <a:lnTo>
                      <a:pt x="21" y="9"/>
                    </a:lnTo>
                    <a:lnTo>
                      <a:pt x="21" y="9"/>
                    </a:lnTo>
                    <a:lnTo>
                      <a:pt x="20" y="9"/>
                    </a:lnTo>
                    <a:lnTo>
                      <a:pt x="20" y="9"/>
                    </a:lnTo>
                    <a:lnTo>
                      <a:pt x="21" y="11"/>
                    </a:lnTo>
                    <a:lnTo>
                      <a:pt x="21" y="13"/>
                    </a:lnTo>
                    <a:lnTo>
                      <a:pt x="23" y="18"/>
                    </a:lnTo>
                    <a:lnTo>
                      <a:pt x="21" y="18"/>
                    </a:lnTo>
                    <a:lnTo>
                      <a:pt x="20" y="18"/>
                    </a:lnTo>
                    <a:lnTo>
                      <a:pt x="14" y="18"/>
                    </a:lnTo>
                    <a:lnTo>
                      <a:pt x="9" y="22"/>
                    </a:lnTo>
                    <a:lnTo>
                      <a:pt x="7" y="22"/>
                    </a:lnTo>
                    <a:lnTo>
                      <a:pt x="4" y="29"/>
                    </a:lnTo>
                    <a:lnTo>
                      <a:pt x="2" y="29"/>
                    </a:lnTo>
                    <a:lnTo>
                      <a:pt x="0" y="31"/>
                    </a:lnTo>
                    <a:lnTo>
                      <a:pt x="0" y="33"/>
                    </a:lnTo>
                    <a:lnTo>
                      <a:pt x="2" y="33"/>
                    </a:lnTo>
                    <a:lnTo>
                      <a:pt x="2" y="33"/>
                    </a:lnTo>
                    <a:lnTo>
                      <a:pt x="4" y="33"/>
                    </a:lnTo>
                    <a:lnTo>
                      <a:pt x="5" y="31"/>
                    </a:lnTo>
                    <a:lnTo>
                      <a:pt x="5" y="31"/>
                    </a:lnTo>
                    <a:lnTo>
                      <a:pt x="5" y="31"/>
                    </a:lnTo>
                    <a:lnTo>
                      <a:pt x="7" y="34"/>
                    </a:lnTo>
                    <a:lnTo>
                      <a:pt x="9" y="34"/>
                    </a:lnTo>
                    <a:lnTo>
                      <a:pt x="9" y="36"/>
                    </a:lnTo>
                    <a:lnTo>
                      <a:pt x="9" y="40"/>
                    </a:lnTo>
                    <a:lnTo>
                      <a:pt x="13" y="43"/>
                    </a:lnTo>
                    <a:lnTo>
                      <a:pt x="20" y="47"/>
                    </a:lnTo>
                    <a:lnTo>
                      <a:pt x="21" y="50"/>
                    </a:lnTo>
                    <a:lnTo>
                      <a:pt x="23" y="54"/>
                    </a:lnTo>
                    <a:lnTo>
                      <a:pt x="25" y="54"/>
                    </a:lnTo>
                    <a:lnTo>
                      <a:pt x="25" y="56"/>
                    </a:lnTo>
                    <a:lnTo>
                      <a:pt x="27" y="56"/>
                    </a:lnTo>
                    <a:lnTo>
                      <a:pt x="27" y="58"/>
                    </a:lnTo>
                    <a:lnTo>
                      <a:pt x="27" y="58"/>
                    </a:lnTo>
                    <a:lnTo>
                      <a:pt x="29" y="59"/>
                    </a:lnTo>
                    <a:lnTo>
                      <a:pt x="30" y="61"/>
                    </a:lnTo>
                    <a:lnTo>
                      <a:pt x="34" y="61"/>
                    </a:lnTo>
                    <a:lnTo>
                      <a:pt x="34" y="59"/>
                    </a:lnTo>
                    <a:lnTo>
                      <a:pt x="36" y="58"/>
                    </a:lnTo>
                    <a:lnTo>
                      <a:pt x="38" y="58"/>
                    </a:lnTo>
                    <a:lnTo>
                      <a:pt x="38" y="56"/>
                    </a:lnTo>
                    <a:lnTo>
                      <a:pt x="38" y="56"/>
                    </a:lnTo>
                    <a:lnTo>
                      <a:pt x="39" y="54"/>
                    </a:lnTo>
                    <a:lnTo>
                      <a:pt x="43" y="50"/>
                    </a:lnTo>
                    <a:lnTo>
                      <a:pt x="41" y="49"/>
                    </a:lnTo>
                    <a:lnTo>
                      <a:pt x="43" y="47"/>
                    </a:lnTo>
                    <a:lnTo>
                      <a:pt x="45" y="47"/>
                    </a:lnTo>
                    <a:lnTo>
                      <a:pt x="46" y="49"/>
                    </a:lnTo>
                    <a:lnTo>
                      <a:pt x="50" y="47"/>
                    </a:lnTo>
                    <a:lnTo>
                      <a:pt x="50" y="45"/>
                    </a:lnTo>
                    <a:lnTo>
                      <a:pt x="63" y="47"/>
                    </a:lnTo>
                    <a:lnTo>
                      <a:pt x="63" y="49"/>
                    </a:lnTo>
                    <a:lnTo>
                      <a:pt x="64" y="49"/>
                    </a:lnTo>
                    <a:lnTo>
                      <a:pt x="66" y="50"/>
                    </a:lnTo>
                    <a:lnTo>
                      <a:pt x="68" y="52"/>
                    </a:lnTo>
                    <a:lnTo>
                      <a:pt x="68" y="52"/>
                    </a:lnTo>
                    <a:lnTo>
                      <a:pt x="68" y="54"/>
                    </a:lnTo>
                    <a:lnTo>
                      <a:pt x="68" y="54"/>
                    </a:lnTo>
                    <a:lnTo>
                      <a:pt x="68" y="56"/>
                    </a:lnTo>
                    <a:lnTo>
                      <a:pt x="70" y="56"/>
                    </a:lnTo>
                    <a:lnTo>
                      <a:pt x="71" y="56"/>
                    </a:lnTo>
                    <a:lnTo>
                      <a:pt x="71" y="56"/>
                    </a:lnTo>
                    <a:lnTo>
                      <a:pt x="70" y="58"/>
                    </a:lnTo>
                    <a:lnTo>
                      <a:pt x="71" y="59"/>
                    </a:lnTo>
                    <a:lnTo>
                      <a:pt x="71" y="59"/>
                    </a:lnTo>
                    <a:lnTo>
                      <a:pt x="71" y="61"/>
                    </a:lnTo>
                    <a:lnTo>
                      <a:pt x="71" y="61"/>
                    </a:lnTo>
                    <a:lnTo>
                      <a:pt x="73" y="61"/>
                    </a:lnTo>
                    <a:lnTo>
                      <a:pt x="73" y="63"/>
                    </a:lnTo>
                    <a:lnTo>
                      <a:pt x="73" y="67"/>
                    </a:lnTo>
                    <a:lnTo>
                      <a:pt x="73" y="67"/>
                    </a:lnTo>
                    <a:lnTo>
                      <a:pt x="71" y="67"/>
                    </a:lnTo>
                    <a:lnTo>
                      <a:pt x="70" y="72"/>
                    </a:lnTo>
                    <a:lnTo>
                      <a:pt x="70" y="72"/>
                    </a:lnTo>
                    <a:lnTo>
                      <a:pt x="75" y="72"/>
                    </a:lnTo>
                    <a:lnTo>
                      <a:pt x="75" y="70"/>
                    </a:lnTo>
                    <a:lnTo>
                      <a:pt x="77" y="70"/>
                    </a:lnTo>
                    <a:lnTo>
                      <a:pt x="77" y="70"/>
                    </a:lnTo>
                    <a:lnTo>
                      <a:pt x="77" y="72"/>
                    </a:lnTo>
                    <a:lnTo>
                      <a:pt x="79" y="72"/>
                    </a:lnTo>
                    <a:lnTo>
                      <a:pt x="79" y="70"/>
                    </a:lnTo>
                    <a:lnTo>
                      <a:pt x="80" y="68"/>
                    </a:lnTo>
                    <a:lnTo>
                      <a:pt x="82" y="70"/>
                    </a:lnTo>
                    <a:lnTo>
                      <a:pt x="82" y="70"/>
                    </a:lnTo>
                    <a:lnTo>
                      <a:pt x="84" y="70"/>
                    </a:lnTo>
                    <a:lnTo>
                      <a:pt x="86" y="70"/>
                    </a:lnTo>
                    <a:lnTo>
                      <a:pt x="86" y="70"/>
                    </a:lnTo>
                    <a:lnTo>
                      <a:pt x="86" y="70"/>
                    </a:lnTo>
                    <a:lnTo>
                      <a:pt x="88" y="72"/>
                    </a:lnTo>
                    <a:lnTo>
                      <a:pt x="89" y="72"/>
                    </a:lnTo>
                    <a:lnTo>
                      <a:pt x="89" y="75"/>
                    </a:lnTo>
                    <a:lnTo>
                      <a:pt x="91" y="75"/>
                    </a:lnTo>
                    <a:lnTo>
                      <a:pt x="91" y="81"/>
                    </a:lnTo>
                    <a:lnTo>
                      <a:pt x="91" y="81"/>
                    </a:lnTo>
                    <a:lnTo>
                      <a:pt x="91" y="86"/>
                    </a:lnTo>
                    <a:lnTo>
                      <a:pt x="91" y="86"/>
                    </a:lnTo>
                    <a:lnTo>
                      <a:pt x="89" y="88"/>
                    </a:lnTo>
                    <a:lnTo>
                      <a:pt x="89" y="88"/>
                    </a:lnTo>
                    <a:lnTo>
                      <a:pt x="89" y="88"/>
                    </a:lnTo>
                    <a:lnTo>
                      <a:pt x="91" y="88"/>
                    </a:lnTo>
                    <a:lnTo>
                      <a:pt x="93" y="88"/>
                    </a:lnTo>
                    <a:lnTo>
                      <a:pt x="93" y="88"/>
                    </a:lnTo>
                    <a:lnTo>
                      <a:pt x="96" y="92"/>
                    </a:lnTo>
                    <a:lnTo>
                      <a:pt x="96" y="90"/>
                    </a:lnTo>
                    <a:lnTo>
                      <a:pt x="98" y="90"/>
                    </a:lnTo>
                    <a:lnTo>
                      <a:pt x="100" y="90"/>
                    </a:lnTo>
                    <a:lnTo>
                      <a:pt x="100" y="88"/>
                    </a:lnTo>
                    <a:lnTo>
                      <a:pt x="102" y="86"/>
                    </a:lnTo>
                    <a:lnTo>
                      <a:pt x="102" y="84"/>
                    </a:lnTo>
                    <a:lnTo>
                      <a:pt x="104" y="83"/>
                    </a:lnTo>
                    <a:lnTo>
                      <a:pt x="105" y="83"/>
                    </a:lnTo>
                    <a:lnTo>
                      <a:pt x="105" y="86"/>
                    </a:lnTo>
                    <a:lnTo>
                      <a:pt x="107" y="84"/>
                    </a:lnTo>
                    <a:lnTo>
                      <a:pt x="111" y="84"/>
                    </a:lnTo>
                    <a:lnTo>
                      <a:pt x="111" y="84"/>
                    </a:lnTo>
                    <a:lnTo>
                      <a:pt x="113" y="83"/>
                    </a:lnTo>
                    <a:lnTo>
                      <a:pt x="113" y="77"/>
                    </a:lnTo>
                    <a:lnTo>
                      <a:pt x="114" y="77"/>
                    </a:lnTo>
                    <a:lnTo>
                      <a:pt x="114" y="77"/>
                    </a:lnTo>
                    <a:lnTo>
                      <a:pt x="113" y="75"/>
                    </a:lnTo>
                    <a:lnTo>
                      <a:pt x="114" y="75"/>
                    </a:lnTo>
                    <a:lnTo>
                      <a:pt x="113" y="75"/>
                    </a:lnTo>
                    <a:lnTo>
                      <a:pt x="113" y="74"/>
                    </a:lnTo>
                    <a:lnTo>
                      <a:pt x="111" y="75"/>
                    </a:lnTo>
                    <a:lnTo>
                      <a:pt x="109" y="74"/>
                    </a:lnTo>
                    <a:lnTo>
                      <a:pt x="111" y="72"/>
                    </a:lnTo>
                    <a:lnTo>
                      <a:pt x="111" y="72"/>
                    </a:lnTo>
                    <a:lnTo>
                      <a:pt x="109" y="72"/>
                    </a:lnTo>
                    <a:lnTo>
                      <a:pt x="109" y="70"/>
                    </a:lnTo>
                    <a:lnTo>
                      <a:pt x="113" y="70"/>
                    </a:lnTo>
                    <a:lnTo>
                      <a:pt x="114" y="70"/>
                    </a:lnTo>
                    <a:lnTo>
                      <a:pt x="116" y="72"/>
                    </a:lnTo>
                    <a:lnTo>
                      <a:pt x="116" y="72"/>
                    </a:lnTo>
                    <a:lnTo>
                      <a:pt x="118" y="70"/>
                    </a:lnTo>
                    <a:lnTo>
                      <a:pt x="118" y="72"/>
                    </a:lnTo>
                    <a:lnTo>
                      <a:pt x="118" y="72"/>
                    </a:lnTo>
                    <a:lnTo>
                      <a:pt x="118" y="68"/>
                    </a:lnTo>
                    <a:lnTo>
                      <a:pt x="118" y="67"/>
                    </a:lnTo>
                    <a:lnTo>
                      <a:pt x="118" y="67"/>
                    </a:lnTo>
                    <a:lnTo>
                      <a:pt x="116" y="67"/>
                    </a:lnTo>
                    <a:lnTo>
                      <a:pt x="116" y="65"/>
                    </a:lnTo>
                    <a:lnTo>
                      <a:pt x="114" y="65"/>
                    </a:lnTo>
                    <a:lnTo>
                      <a:pt x="116" y="63"/>
                    </a:lnTo>
                    <a:lnTo>
                      <a:pt x="116" y="61"/>
                    </a:lnTo>
                    <a:lnTo>
                      <a:pt x="118" y="61"/>
                    </a:lnTo>
                    <a:lnTo>
                      <a:pt x="118" y="61"/>
                    </a:lnTo>
                    <a:lnTo>
                      <a:pt x="116" y="59"/>
                    </a:lnTo>
                    <a:lnTo>
                      <a:pt x="116" y="59"/>
                    </a:lnTo>
                    <a:lnTo>
                      <a:pt x="116" y="56"/>
                    </a:lnTo>
                    <a:lnTo>
                      <a:pt x="114" y="56"/>
                    </a:lnTo>
                    <a:lnTo>
                      <a:pt x="111" y="54"/>
                    </a:lnTo>
                    <a:lnTo>
                      <a:pt x="111" y="54"/>
                    </a:lnTo>
                    <a:lnTo>
                      <a:pt x="111" y="47"/>
                    </a:lnTo>
                    <a:lnTo>
                      <a:pt x="113" y="45"/>
                    </a:lnTo>
                    <a:lnTo>
                      <a:pt x="113" y="45"/>
                    </a:lnTo>
                    <a:lnTo>
                      <a:pt x="114" y="43"/>
                    </a:lnTo>
                    <a:lnTo>
                      <a:pt x="114" y="42"/>
                    </a:lnTo>
                    <a:lnTo>
                      <a:pt x="114" y="40"/>
                    </a:lnTo>
                    <a:lnTo>
                      <a:pt x="113" y="40"/>
                    </a:lnTo>
                    <a:lnTo>
                      <a:pt x="111" y="38"/>
                    </a:lnTo>
                    <a:lnTo>
                      <a:pt x="109" y="38"/>
                    </a:lnTo>
                    <a:lnTo>
                      <a:pt x="109" y="36"/>
                    </a:lnTo>
                    <a:lnTo>
                      <a:pt x="109" y="29"/>
                    </a:lnTo>
                    <a:lnTo>
                      <a:pt x="107" y="27"/>
                    </a:lnTo>
                    <a:lnTo>
                      <a:pt x="105" y="29"/>
                    </a:lnTo>
                    <a:lnTo>
                      <a:pt x="104" y="31"/>
                    </a:lnTo>
                    <a:lnTo>
                      <a:pt x="104" y="31"/>
                    </a:lnTo>
                    <a:lnTo>
                      <a:pt x="104" y="27"/>
                    </a:lnTo>
                    <a:lnTo>
                      <a:pt x="104" y="27"/>
                    </a:lnTo>
                    <a:lnTo>
                      <a:pt x="105" y="27"/>
                    </a:lnTo>
                    <a:lnTo>
                      <a:pt x="105" y="25"/>
                    </a:lnTo>
                    <a:lnTo>
                      <a:pt x="105" y="25"/>
                    </a:lnTo>
                    <a:lnTo>
                      <a:pt x="107" y="24"/>
                    </a:lnTo>
                    <a:lnTo>
                      <a:pt x="107" y="24"/>
                    </a:lnTo>
                    <a:lnTo>
                      <a:pt x="107" y="24"/>
                    </a:lnTo>
                    <a:lnTo>
                      <a:pt x="107" y="22"/>
                    </a:lnTo>
                    <a:lnTo>
                      <a:pt x="105" y="22"/>
                    </a:lnTo>
                    <a:lnTo>
                      <a:pt x="105" y="22"/>
                    </a:lnTo>
                    <a:lnTo>
                      <a:pt x="104" y="20"/>
                    </a:lnTo>
                    <a:lnTo>
                      <a:pt x="102" y="18"/>
                    </a:lnTo>
                    <a:lnTo>
                      <a:pt x="102" y="18"/>
                    </a:lnTo>
                    <a:lnTo>
                      <a:pt x="100" y="18"/>
                    </a:lnTo>
                    <a:lnTo>
                      <a:pt x="100" y="13"/>
                    </a:lnTo>
                    <a:lnTo>
                      <a:pt x="100" y="11"/>
                    </a:lnTo>
                    <a:lnTo>
                      <a:pt x="100" y="11"/>
                    </a:lnTo>
                    <a:lnTo>
                      <a:pt x="100" y="9"/>
                    </a:lnTo>
                    <a:lnTo>
                      <a:pt x="98" y="9"/>
                    </a:lnTo>
                    <a:lnTo>
                      <a:pt x="98" y="9"/>
                    </a:lnTo>
                    <a:lnTo>
                      <a:pt x="98" y="9"/>
                    </a:lnTo>
                    <a:lnTo>
                      <a:pt x="98" y="6"/>
                    </a:lnTo>
                    <a:lnTo>
                      <a:pt x="98" y="6"/>
                    </a:lnTo>
                    <a:lnTo>
                      <a:pt x="96" y="4"/>
                    </a:lnTo>
                    <a:lnTo>
                      <a:pt x="96" y="4"/>
                    </a:lnTo>
                    <a:lnTo>
                      <a:pt x="95" y="6"/>
                    </a:lnTo>
                    <a:lnTo>
                      <a:pt x="95" y="6"/>
                    </a:lnTo>
                    <a:lnTo>
                      <a:pt x="93" y="4"/>
                    </a:lnTo>
                    <a:lnTo>
                      <a:pt x="93" y="4"/>
                    </a:lnTo>
                    <a:lnTo>
                      <a:pt x="91" y="4"/>
                    </a:lnTo>
                    <a:lnTo>
                      <a:pt x="91" y="8"/>
                    </a:lnTo>
                    <a:lnTo>
                      <a:pt x="91" y="8"/>
                    </a:lnTo>
                    <a:lnTo>
                      <a:pt x="88" y="9"/>
                    </a:lnTo>
                    <a:lnTo>
                      <a:pt x="88" y="11"/>
                    </a:lnTo>
                    <a:lnTo>
                      <a:pt x="86" y="13"/>
                    </a:lnTo>
                    <a:lnTo>
                      <a:pt x="82" y="11"/>
                    </a:lnTo>
                    <a:lnTo>
                      <a:pt x="80" y="9"/>
                    </a:lnTo>
                    <a:lnTo>
                      <a:pt x="77" y="9"/>
                    </a:lnTo>
                    <a:lnTo>
                      <a:pt x="77" y="9"/>
                    </a:lnTo>
                    <a:lnTo>
                      <a:pt x="75" y="11"/>
                    </a:lnTo>
                    <a:lnTo>
                      <a:pt x="73" y="11"/>
                    </a:lnTo>
                    <a:lnTo>
                      <a:pt x="73" y="13"/>
                    </a:lnTo>
                    <a:lnTo>
                      <a:pt x="71" y="15"/>
                    </a:lnTo>
                    <a:lnTo>
                      <a:pt x="70" y="13"/>
                    </a:lnTo>
                    <a:lnTo>
                      <a:pt x="66" y="9"/>
                    </a:lnTo>
                    <a:lnTo>
                      <a:pt x="66" y="9"/>
                    </a:lnTo>
                    <a:lnTo>
                      <a:pt x="64" y="11"/>
                    </a:lnTo>
                    <a:lnTo>
                      <a:pt x="63" y="13"/>
                    </a:lnTo>
                    <a:lnTo>
                      <a:pt x="61" y="13"/>
                    </a:lnTo>
                    <a:lnTo>
                      <a:pt x="59" y="11"/>
                    </a:lnTo>
                    <a:lnTo>
                      <a:pt x="59" y="11"/>
                    </a:lnTo>
                    <a:lnTo>
                      <a:pt x="59" y="9"/>
                    </a:lnTo>
                    <a:lnTo>
                      <a:pt x="59" y="8"/>
                    </a:lnTo>
                    <a:lnTo>
                      <a:pt x="59" y="8"/>
                    </a:lnTo>
                    <a:lnTo>
                      <a:pt x="61"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71" name="Freeform 2422"/>
              <p:cNvSpPr>
                <a:spLocks/>
              </p:cNvSpPr>
              <p:nvPr/>
            </p:nvSpPr>
            <p:spPr bwMode="auto">
              <a:xfrm>
                <a:off x="2928" y="2536"/>
                <a:ext cx="209" cy="132"/>
              </a:xfrm>
              <a:custGeom>
                <a:avLst/>
                <a:gdLst>
                  <a:gd name="T0" fmla="*/ 120 w 209"/>
                  <a:gd name="T1" fmla="*/ 2 h 132"/>
                  <a:gd name="T2" fmla="*/ 116 w 209"/>
                  <a:gd name="T3" fmla="*/ 7 h 132"/>
                  <a:gd name="T4" fmla="*/ 114 w 209"/>
                  <a:gd name="T5" fmla="*/ 13 h 132"/>
                  <a:gd name="T6" fmla="*/ 111 w 209"/>
                  <a:gd name="T7" fmla="*/ 16 h 132"/>
                  <a:gd name="T8" fmla="*/ 106 w 209"/>
                  <a:gd name="T9" fmla="*/ 21 h 132"/>
                  <a:gd name="T10" fmla="*/ 104 w 209"/>
                  <a:gd name="T11" fmla="*/ 25 h 132"/>
                  <a:gd name="T12" fmla="*/ 97 w 209"/>
                  <a:gd name="T13" fmla="*/ 30 h 132"/>
                  <a:gd name="T14" fmla="*/ 91 w 209"/>
                  <a:gd name="T15" fmla="*/ 30 h 132"/>
                  <a:gd name="T16" fmla="*/ 84 w 209"/>
                  <a:gd name="T17" fmla="*/ 32 h 132"/>
                  <a:gd name="T18" fmla="*/ 72 w 209"/>
                  <a:gd name="T19" fmla="*/ 34 h 132"/>
                  <a:gd name="T20" fmla="*/ 72 w 209"/>
                  <a:gd name="T21" fmla="*/ 36 h 132"/>
                  <a:gd name="T22" fmla="*/ 73 w 209"/>
                  <a:gd name="T23" fmla="*/ 39 h 132"/>
                  <a:gd name="T24" fmla="*/ 72 w 209"/>
                  <a:gd name="T25" fmla="*/ 41 h 132"/>
                  <a:gd name="T26" fmla="*/ 70 w 209"/>
                  <a:gd name="T27" fmla="*/ 45 h 132"/>
                  <a:gd name="T28" fmla="*/ 68 w 209"/>
                  <a:gd name="T29" fmla="*/ 46 h 132"/>
                  <a:gd name="T30" fmla="*/ 66 w 209"/>
                  <a:gd name="T31" fmla="*/ 48 h 132"/>
                  <a:gd name="T32" fmla="*/ 57 w 209"/>
                  <a:gd name="T33" fmla="*/ 50 h 132"/>
                  <a:gd name="T34" fmla="*/ 45 w 209"/>
                  <a:gd name="T35" fmla="*/ 52 h 132"/>
                  <a:gd name="T36" fmla="*/ 39 w 209"/>
                  <a:gd name="T37" fmla="*/ 54 h 132"/>
                  <a:gd name="T38" fmla="*/ 38 w 209"/>
                  <a:gd name="T39" fmla="*/ 55 h 132"/>
                  <a:gd name="T40" fmla="*/ 36 w 209"/>
                  <a:gd name="T41" fmla="*/ 54 h 132"/>
                  <a:gd name="T42" fmla="*/ 34 w 209"/>
                  <a:gd name="T43" fmla="*/ 52 h 132"/>
                  <a:gd name="T44" fmla="*/ 32 w 209"/>
                  <a:gd name="T45" fmla="*/ 52 h 132"/>
                  <a:gd name="T46" fmla="*/ 31 w 209"/>
                  <a:gd name="T47" fmla="*/ 54 h 132"/>
                  <a:gd name="T48" fmla="*/ 23 w 209"/>
                  <a:gd name="T49" fmla="*/ 57 h 132"/>
                  <a:gd name="T50" fmla="*/ 20 w 209"/>
                  <a:gd name="T51" fmla="*/ 57 h 132"/>
                  <a:gd name="T52" fmla="*/ 14 w 209"/>
                  <a:gd name="T53" fmla="*/ 59 h 132"/>
                  <a:gd name="T54" fmla="*/ 0 w 209"/>
                  <a:gd name="T55" fmla="*/ 86 h 132"/>
                  <a:gd name="T56" fmla="*/ 0 w 209"/>
                  <a:gd name="T57" fmla="*/ 100 h 132"/>
                  <a:gd name="T58" fmla="*/ 23 w 209"/>
                  <a:gd name="T59" fmla="*/ 132 h 132"/>
                  <a:gd name="T60" fmla="*/ 29 w 209"/>
                  <a:gd name="T61" fmla="*/ 127 h 132"/>
                  <a:gd name="T62" fmla="*/ 45 w 209"/>
                  <a:gd name="T63" fmla="*/ 118 h 132"/>
                  <a:gd name="T64" fmla="*/ 64 w 209"/>
                  <a:gd name="T65" fmla="*/ 120 h 132"/>
                  <a:gd name="T66" fmla="*/ 70 w 209"/>
                  <a:gd name="T67" fmla="*/ 116 h 132"/>
                  <a:gd name="T68" fmla="*/ 70 w 209"/>
                  <a:gd name="T69" fmla="*/ 105 h 132"/>
                  <a:gd name="T70" fmla="*/ 75 w 209"/>
                  <a:gd name="T71" fmla="*/ 98 h 132"/>
                  <a:gd name="T72" fmla="*/ 89 w 209"/>
                  <a:gd name="T73" fmla="*/ 95 h 132"/>
                  <a:gd name="T74" fmla="*/ 91 w 209"/>
                  <a:gd name="T75" fmla="*/ 100 h 132"/>
                  <a:gd name="T76" fmla="*/ 100 w 209"/>
                  <a:gd name="T77" fmla="*/ 105 h 132"/>
                  <a:gd name="T78" fmla="*/ 106 w 209"/>
                  <a:gd name="T79" fmla="*/ 105 h 132"/>
                  <a:gd name="T80" fmla="*/ 127 w 209"/>
                  <a:gd name="T81" fmla="*/ 107 h 132"/>
                  <a:gd name="T82" fmla="*/ 131 w 209"/>
                  <a:gd name="T83" fmla="*/ 102 h 132"/>
                  <a:gd name="T84" fmla="*/ 139 w 209"/>
                  <a:gd name="T85" fmla="*/ 100 h 132"/>
                  <a:gd name="T86" fmla="*/ 161 w 209"/>
                  <a:gd name="T87" fmla="*/ 95 h 132"/>
                  <a:gd name="T88" fmla="*/ 164 w 209"/>
                  <a:gd name="T89" fmla="*/ 96 h 132"/>
                  <a:gd name="T90" fmla="*/ 166 w 209"/>
                  <a:gd name="T91" fmla="*/ 98 h 132"/>
                  <a:gd name="T92" fmla="*/ 172 w 209"/>
                  <a:gd name="T93" fmla="*/ 96 h 132"/>
                  <a:gd name="T94" fmla="*/ 179 w 209"/>
                  <a:gd name="T95" fmla="*/ 95 h 132"/>
                  <a:gd name="T96" fmla="*/ 193 w 209"/>
                  <a:gd name="T97" fmla="*/ 96 h 132"/>
                  <a:gd name="T98" fmla="*/ 198 w 209"/>
                  <a:gd name="T99" fmla="*/ 96 h 132"/>
                  <a:gd name="T100" fmla="*/ 209 w 209"/>
                  <a:gd name="T101" fmla="*/ 95 h 132"/>
                  <a:gd name="T102" fmla="*/ 207 w 209"/>
                  <a:gd name="T103" fmla="*/ 89 h 132"/>
                  <a:gd name="T104" fmla="*/ 197 w 209"/>
                  <a:gd name="T105" fmla="*/ 80 h 132"/>
                  <a:gd name="T106" fmla="*/ 193 w 209"/>
                  <a:gd name="T107" fmla="*/ 77 h 132"/>
                  <a:gd name="T108" fmla="*/ 189 w 209"/>
                  <a:gd name="T109" fmla="*/ 68 h 132"/>
                  <a:gd name="T110" fmla="*/ 184 w 209"/>
                  <a:gd name="T111" fmla="*/ 63 h 132"/>
                  <a:gd name="T112" fmla="*/ 172 w 209"/>
                  <a:gd name="T113" fmla="*/ 52 h 132"/>
                  <a:gd name="T114" fmla="*/ 172 w 209"/>
                  <a:gd name="T115" fmla="*/ 48 h 132"/>
                  <a:gd name="T116" fmla="*/ 159 w 209"/>
                  <a:gd name="T117" fmla="*/ 45 h 132"/>
                  <a:gd name="T118" fmla="*/ 154 w 209"/>
                  <a:gd name="T119" fmla="*/ 38 h 132"/>
                  <a:gd name="T120" fmla="*/ 145 w 209"/>
                  <a:gd name="T121" fmla="*/ 34 h 132"/>
                  <a:gd name="T122" fmla="*/ 147 w 209"/>
                  <a:gd name="T123" fmla="*/ 20 h 132"/>
                  <a:gd name="T124" fmla="*/ 132 w 209"/>
                  <a:gd name="T12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 h="132">
                    <a:moveTo>
                      <a:pt x="132" y="0"/>
                    </a:moveTo>
                    <a:lnTo>
                      <a:pt x="120" y="2"/>
                    </a:lnTo>
                    <a:lnTo>
                      <a:pt x="118" y="4"/>
                    </a:lnTo>
                    <a:lnTo>
                      <a:pt x="116" y="7"/>
                    </a:lnTo>
                    <a:lnTo>
                      <a:pt x="116" y="13"/>
                    </a:lnTo>
                    <a:lnTo>
                      <a:pt x="114" y="13"/>
                    </a:lnTo>
                    <a:lnTo>
                      <a:pt x="113" y="16"/>
                    </a:lnTo>
                    <a:lnTo>
                      <a:pt x="111" y="16"/>
                    </a:lnTo>
                    <a:lnTo>
                      <a:pt x="111" y="16"/>
                    </a:lnTo>
                    <a:lnTo>
                      <a:pt x="106" y="21"/>
                    </a:lnTo>
                    <a:lnTo>
                      <a:pt x="104" y="25"/>
                    </a:lnTo>
                    <a:lnTo>
                      <a:pt x="104" y="25"/>
                    </a:lnTo>
                    <a:lnTo>
                      <a:pt x="98" y="27"/>
                    </a:lnTo>
                    <a:lnTo>
                      <a:pt x="97" y="30"/>
                    </a:lnTo>
                    <a:lnTo>
                      <a:pt x="93" y="30"/>
                    </a:lnTo>
                    <a:lnTo>
                      <a:pt x="91" y="30"/>
                    </a:lnTo>
                    <a:lnTo>
                      <a:pt x="86" y="32"/>
                    </a:lnTo>
                    <a:lnTo>
                      <a:pt x="84" y="32"/>
                    </a:lnTo>
                    <a:lnTo>
                      <a:pt x="75" y="32"/>
                    </a:lnTo>
                    <a:lnTo>
                      <a:pt x="72" y="34"/>
                    </a:lnTo>
                    <a:lnTo>
                      <a:pt x="72" y="36"/>
                    </a:lnTo>
                    <a:lnTo>
                      <a:pt x="72" y="36"/>
                    </a:lnTo>
                    <a:lnTo>
                      <a:pt x="73" y="38"/>
                    </a:lnTo>
                    <a:lnTo>
                      <a:pt x="73" y="39"/>
                    </a:lnTo>
                    <a:lnTo>
                      <a:pt x="73" y="41"/>
                    </a:lnTo>
                    <a:lnTo>
                      <a:pt x="72" y="41"/>
                    </a:lnTo>
                    <a:lnTo>
                      <a:pt x="72" y="45"/>
                    </a:lnTo>
                    <a:lnTo>
                      <a:pt x="70" y="45"/>
                    </a:lnTo>
                    <a:lnTo>
                      <a:pt x="68" y="45"/>
                    </a:lnTo>
                    <a:lnTo>
                      <a:pt x="68" y="46"/>
                    </a:lnTo>
                    <a:lnTo>
                      <a:pt x="66" y="48"/>
                    </a:lnTo>
                    <a:lnTo>
                      <a:pt x="66" y="48"/>
                    </a:lnTo>
                    <a:lnTo>
                      <a:pt x="59" y="48"/>
                    </a:lnTo>
                    <a:lnTo>
                      <a:pt x="57" y="50"/>
                    </a:lnTo>
                    <a:lnTo>
                      <a:pt x="54" y="48"/>
                    </a:lnTo>
                    <a:lnTo>
                      <a:pt x="45" y="52"/>
                    </a:lnTo>
                    <a:lnTo>
                      <a:pt x="45" y="54"/>
                    </a:lnTo>
                    <a:lnTo>
                      <a:pt x="39" y="54"/>
                    </a:lnTo>
                    <a:lnTo>
                      <a:pt x="39" y="55"/>
                    </a:lnTo>
                    <a:lnTo>
                      <a:pt x="38" y="55"/>
                    </a:lnTo>
                    <a:lnTo>
                      <a:pt x="36" y="54"/>
                    </a:lnTo>
                    <a:lnTo>
                      <a:pt x="36" y="54"/>
                    </a:lnTo>
                    <a:lnTo>
                      <a:pt x="34" y="52"/>
                    </a:lnTo>
                    <a:lnTo>
                      <a:pt x="34" y="52"/>
                    </a:lnTo>
                    <a:lnTo>
                      <a:pt x="32" y="52"/>
                    </a:lnTo>
                    <a:lnTo>
                      <a:pt x="32" y="52"/>
                    </a:lnTo>
                    <a:lnTo>
                      <a:pt x="31" y="52"/>
                    </a:lnTo>
                    <a:lnTo>
                      <a:pt x="31" y="54"/>
                    </a:lnTo>
                    <a:lnTo>
                      <a:pt x="27" y="55"/>
                    </a:lnTo>
                    <a:lnTo>
                      <a:pt x="23" y="57"/>
                    </a:lnTo>
                    <a:lnTo>
                      <a:pt x="22" y="57"/>
                    </a:lnTo>
                    <a:lnTo>
                      <a:pt x="20" y="57"/>
                    </a:lnTo>
                    <a:lnTo>
                      <a:pt x="14" y="57"/>
                    </a:lnTo>
                    <a:lnTo>
                      <a:pt x="14" y="59"/>
                    </a:lnTo>
                    <a:lnTo>
                      <a:pt x="0" y="82"/>
                    </a:lnTo>
                    <a:lnTo>
                      <a:pt x="0" y="86"/>
                    </a:lnTo>
                    <a:lnTo>
                      <a:pt x="0" y="91"/>
                    </a:lnTo>
                    <a:lnTo>
                      <a:pt x="0" y="100"/>
                    </a:lnTo>
                    <a:lnTo>
                      <a:pt x="16" y="125"/>
                    </a:lnTo>
                    <a:lnTo>
                      <a:pt x="23" y="132"/>
                    </a:lnTo>
                    <a:lnTo>
                      <a:pt x="25" y="132"/>
                    </a:lnTo>
                    <a:lnTo>
                      <a:pt x="29" y="127"/>
                    </a:lnTo>
                    <a:lnTo>
                      <a:pt x="39" y="118"/>
                    </a:lnTo>
                    <a:lnTo>
                      <a:pt x="45" y="118"/>
                    </a:lnTo>
                    <a:lnTo>
                      <a:pt x="56" y="121"/>
                    </a:lnTo>
                    <a:lnTo>
                      <a:pt x="64" y="120"/>
                    </a:lnTo>
                    <a:lnTo>
                      <a:pt x="66" y="118"/>
                    </a:lnTo>
                    <a:lnTo>
                      <a:pt x="70" y="116"/>
                    </a:lnTo>
                    <a:lnTo>
                      <a:pt x="70" y="114"/>
                    </a:lnTo>
                    <a:lnTo>
                      <a:pt x="70" y="105"/>
                    </a:lnTo>
                    <a:lnTo>
                      <a:pt x="73" y="104"/>
                    </a:lnTo>
                    <a:lnTo>
                      <a:pt x="75" y="98"/>
                    </a:lnTo>
                    <a:lnTo>
                      <a:pt x="81" y="95"/>
                    </a:lnTo>
                    <a:lnTo>
                      <a:pt x="89" y="95"/>
                    </a:lnTo>
                    <a:lnTo>
                      <a:pt x="91" y="96"/>
                    </a:lnTo>
                    <a:lnTo>
                      <a:pt x="91" y="100"/>
                    </a:lnTo>
                    <a:lnTo>
                      <a:pt x="98" y="105"/>
                    </a:lnTo>
                    <a:lnTo>
                      <a:pt x="100" y="105"/>
                    </a:lnTo>
                    <a:lnTo>
                      <a:pt x="102" y="104"/>
                    </a:lnTo>
                    <a:lnTo>
                      <a:pt x="106" y="105"/>
                    </a:lnTo>
                    <a:lnTo>
                      <a:pt x="113" y="107"/>
                    </a:lnTo>
                    <a:lnTo>
                      <a:pt x="127" y="107"/>
                    </a:lnTo>
                    <a:lnTo>
                      <a:pt x="131" y="107"/>
                    </a:lnTo>
                    <a:lnTo>
                      <a:pt x="131" y="102"/>
                    </a:lnTo>
                    <a:lnTo>
                      <a:pt x="134" y="100"/>
                    </a:lnTo>
                    <a:lnTo>
                      <a:pt x="139" y="100"/>
                    </a:lnTo>
                    <a:lnTo>
                      <a:pt x="143" y="102"/>
                    </a:lnTo>
                    <a:lnTo>
                      <a:pt x="161" y="95"/>
                    </a:lnTo>
                    <a:lnTo>
                      <a:pt x="163" y="95"/>
                    </a:lnTo>
                    <a:lnTo>
                      <a:pt x="164" y="96"/>
                    </a:lnTo>
                    <a:lnTo>
                      <a:pt x="163" y="96"/>
                    </a:lnTo>
                    <a:lnTo>
                      <a:pt x="166" y="98"/>
                    </a:lnTo>
                    <a:lnTo>
                      <a:pt x="168" y="96"/>
                    </a:lnTo>
                    <a:lnTo>
                      <a:pt x="172" y="96"/>
                    </a:lnTo>
                    <a:lnTo>
                      <a:pt x="172" y="93"/>
                    </a:lnTo>
                    <a:lnTo>
                      <a:pt x="179" y="95"/>
                    </a:lnTo>
                    <a:lnTo>
                      <a:pt x="189" y="93"/>
                    </a:lnTo>
                    <a:lnTo>
                      <a:pt x="193" y="96"/>
                    </a:lnTo>
                    <a:lnTo>
                      <a:pt x="195" y="95"/>
                    </a:lnTo>
                    <a:lnTo>
                      <a:pt x="198" y="96"/>
                    </a:lnTo>
                    <a:lnTo>
                      <a:pt x="200" y="95"/>
                    </a:lnTo>
                    <a:lnTo>
                      <a:pt x="209" y="95"/>
                    </a:lnTo>
                    <a:lnTo>
                      <a:pt x="207" y="93"/>
                    </a:lnTo>
                    <a:lnTo>
                      <a:pt x="207" y="89"/>
                    </a:lnTo>
                    <a:lnTo>
                      <a:pt x="206" y="86"/>
                    </a:lnTo>
                    <a:lnTo>
                      <a:pt x="197" y="80"/>
                    </a:lnTo>
                    <a:lnTo>
                      <a:pt x="195" y="80"/>
                    </a:lnTo>
                    <a:lnTo>
                      <a:pt x="193" y="77"/>
                    </a:lnTo>
                    <a:lnTo>
                      <a:pt x="191" y="73"/>
                    </a:lnTo>
                    <a:lnTo>
                      <a:pt x="189" y="68"/>
                    </a:lnTo>
                    <a:lnTo>
                      <a:pt x="186" y="66"/>
                    </a:lnTo>
                    <a:lnTo>
                      <a:pt x="184" y="63"/>
                    </a:lnTo>
                    <a:lnTo>
                      <a:pt x="173" y="55"/>
                    </a:lnTo>
                    <a:lnTo>
                      <a:pt x="172" y="52"/>
                    </a:lnTo>
                    <a:lnTo>
                      <a:pt x="172" y="50"/>
                    </a:lnTo>
                    <a:lnTo>
                      <a:pt x="172" y="48"/>
                    </a:lnTo>
                    <a:lnTo>
                      <a:pt x="166" y="45"/>
                    </a:lnTo>
                    <a:lnTo>
                      <a:pt x="159" y="45"/>
                    </a:lnTo>
                    <a:lnTo>
                      <a:pt x="156" y="43"/>
                    </a:lnTo>
                    <a:lnTo>
                      <a:pt x="154" y="38"/>
                    </a:lnTo>
                    <a:lnTo>
                      <a:pt x="147" y="38"/>
                    </a:lnTo>
                    <a:lnTo>
                      <a:pt x="145" y="34"/>
                    </a:lnTo>
                    <a:lnTo>
                      <a:pt x="143" y="30"/>
                    </a:lnTo>
                    <a:lnTo>
                      <a:pt x="147" y="20"/>
                    </a:lnTo>
                    <a:lnTo>
                      <a:pt x="145" y="16"/>
                    </a:lnTo>
                    <a:lnTo>
                      <a:pt x="13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72" name="Freeform 2423"/>
              <p:cNvSpPr>
                <a:spLocks/>
              </p:cNvSpPr>
              <p:nvPr/>
            </p:nvSpPr>
            <p:spPr bwMode="auto">
              <a:xfrm>
                <a:off x="2928" y="2536"/>
                <a:ext cx="209" cy="132"/>
              </a:xfrm>
              <a:custGeom>
                <a:avLst/>
                <a:gdLst>
                  <a:gd name="T0" fmla="*/ 120 w 209"/>
                  <a:gd name="T1" fmla="*/ 2 h 132"/>
                  <a:gd name="T2" fmla="*/ 116 w 209"/>
                  <a:gd name="T3" fmla="*/ 7 h 132"/>
                  <a:gd name="T4" fmla="*/ 114 w 209"/>
                  <a:gd name="T5" fmla="*/ 13 h 132"/>
                  <a:gd name="T6" fmla="*/ 111 w 209"/>
                  <a:gd name="T7" fmla="*/ 16 h 132"/>
                  <a:gd name="T8" fmla="*/ 106 w 209"/>
                  <a:gd name="T9" fmla="*/ 21 h 132"/>
                  <a:gd name="T10" fmla="*/ 104 w 209"/>
                  <a:gd name="T11" fmla="*/ 25 h 132"/>
                  <a:gd name="T12" fmla="*/ 97 w 209"/>
                  <a:gd name="T13" fmla="*/ 30 h 132"/>
                  <a:gd name="T14" fmla="*/ 91 w 209"/>
                  <a:gd name="T15" fmla="*/ 30 h 132"/>
                  <a:gd name="T16" fmla="*/ 84 w 209"/>
                  <a:gd name="T17" fmla="*/ 32 h 132"/>
                  <a:gd name="T18" fmla="*/ 72 w 209"/>
                  <a:gd name="T19" fmla="*/ 34 h 132"/>
                  <a:gd name="T20" fmla="*/ 72 w 209"/>
                  <a:gd name="T21" fmla="*/ 36 h 132"/>
                  <a:gd name="T22" fmla="*/ 73 w 209"/>
                  <a:gd name="T23" fmla="*/ 39 h 132"/>
                  <a:gd name="T24" fmla="*/ 72 w 209"/>
                  <a:gd name="T25" fmla="*/ 41 h 132"/>
                  <a:gd name="T26" fmla="*/ 70 w 209"/>
                  <a:gd name="T27" fmla="*/ 45 h 132"/>
                  <a:gd name="T28" fmla="*/ 68 w 209"/>
                  <a:gd name="T29" fmla="*/ 46 h 132"/>
                  <a:gd name="T30" fmla="*/ 66 w 209"/>
                  <a:gd name="T31" fmla="*/ 48 h 132"/>
                  <a:gd name="T32" fmla="*/ 57 w 209"/>
                  <a:gd name="T33" fmla="*/ 50 h 132"/>
                  <a:gd name="T34" fmla="*/ 45 w 209"/>
                  <a:gd name="T35" fmla="*/ 52 h 132"/>
                  <a:gd name="T36" fmla="*/ 39 w 209"/>
                  <a:gd name="T37" fmla="*/ 54 h 132"/>
                  <a:gd name="T38" fmla="*/ 38 w 209"/>
                  <a:gd name="T39" fmla="*/ 55 h 132"/>
                  <a:gd name="T40" fmla="*/ 36 w 209"/>
                  <a:gd name="T41" fmla="*/ 54 h 132"/>
                  <a:gd name="T42" fmla="*/ 34 w 209"/>
                  <a:gd name="T43" fmla="*/ 52 h 132"/>
                  <a:gd name="T44" fmla="*/ 32 w 209"/>
                  <a:gd name="T45" fmla="*/ 52 h 132"/>
                  <a:gd name="T46" fmla="*/ 31 w 209"/>
                  <a:gd name="T47" fmla="*/ 54 h 132"/>
                  <a:gd name="T48" fmla="*/ 23 w 209"/>
                  <a:gd name="T49" fmla="*/ 57 h 132"/>
                  <a:gd name="T50" fmla="*/ 20 w 209"/>
                  <a:gd name="T51" fmla="*/ 57 h 132"/>
                  <a:gd name="T52" fmla="*/ 14 w 209"/>
                  <a:gd name="T53" fmla="*/ 59 h 132"/>
                  <a:gd name="T54" fmla="*/ 0 w 209"/>
                  <a:gd name="T55" fmla="*/ 86 h 132"/>
                  <a:gd name="T56" fmla="*/ 0 w 209"/>
                  <a:gd name="T57" fmla="*/ 100 h 132"/>
                  <a:gd name="T58" fmla="*/ 23 w 209"/>
                  <a:gd name="T59" fmla="*/ 132 h 132"/>
                  <a:gd name="T60" fmla="*/ 29 w 209"/>
                  <a:gd name="T61" fmla="*/ 127 h 132"/>
                  <a:gd name="T62" fmla="*/ 45 w 209"/>
                  <a:gd name="T63" fmla="*/ 118 h 132"/>
                  <a:gd name="T64" fmla="*/ 64 w 209"/>
                  <a:gd name="T65" fmla="*/ 120 h 132"/>
                  <a:gd name="T66" fmla="*/ 70 w 209"/>
                  <a:gd name="T67" fmla="*/ 116 h 132"/>
                  <a:gd name="T68" fmla="*/ 70 w 209"/>
                  <a:gd name="T69" fmla="*/ 105 h 132"/>
                  <a:gd name="T70" fmla="*/ 75 w 209"/>
                  <a:gd name="T71" fmla="*/ 98 h 132"/>
                  <a:gd name="T72" fmla="*/ 89 w 209"/>
                  <a:gd name="T73" fmla="*/ 95 h 132"/>
                  <a:gd name="T74" fmla="*/ 91 w 209"/>
                  <a:gd name="T75" fmla="*/ 100 h 132"/>
                  <a:gd name="T76" fmla="*/ 100 w 209"/>
                  <a:gd name="T77" fmla="*/ 105 h 132"/>
                  <a:gd name="T78" fmla="*/ 106 w 209"/>
                  <a:gd name="T79" fmla="*/ 105 h 132"/>
                  <a:gd name="T80" fmla="*/ 127 w 209"/>
                  <a:gd name="T81" fmla="*/ 107 h 132"/>
                  <a:gd name="T82" fmla="*/ 131 w 209"/>
                  <a:gd name="T83" fmla="*/ 102 h 132"/>
                  <a:gd name="T84" fmla="*/ 139 w 209"/>
                  <a:gd name="T85" fmla="*/ 100 h 132"/>
                  <a:gd name="T86" fmla="*/ 161 w 209"/>
                  <a:gd name="T87" fmla="*/ 95 h 132"/>
                  <a:gd name="T88" fmla="*/ 164 w 209"/>
                  <a:gd name="T89" fmla="*/ 96 h 132"/>
                  <a:gd name="T90" fmla="*/ 166 w 209"/>
                  <a:gd name="T91" fmla="*/ 98 h 132"/>
                  <a:gd name="T92" fmla="*/ 172 w 209"/>
                  <a:gd name="T93" fmla="*/ 96 h 132"/>
                  <a:gd name="T94" fmla="*/ 179 w 209"/>
                  <a:gd name="T95" fmla="*/ 95 h 132"/>
                  <a:gd name="T96" fmla="*/ 193 w 209"/>
                  <a:gd name="T97" fmla="*/ 96 h 132"/>
                  <a:gd name="T98" fmla="*/ 198 w 209"/>
                  <a:gd name="T99" fmla="*/ 96 h 132"/>
                  <a:gd name="T100" fmla="*/ 209 w 209"/>
                  <a:gd name="T101" fmla="*/ 95 h 132"/>
                  <a:gd name="T102" fmla="*/ 207 w 209"/>
                  <a:gd name="T103" fmla="*/ 89 h 132"/>
                  <a:gd name="T104" fmla="*/ 197 w 209"/>
                  <a:gd name="T105" fmla="*/ 80 h 132"/>
                  <a:gd name="T106" fmla="*/ 193 w 209"/>
                  <a:gd name="T107" fmla="*/ 77 h 132"/>
                  <a:gd name="T108" fmla="*/ 189 w 209"/>
                  <a:gd name="T109" fmla="*/ 68 h 132"/>
                  <a:gd name="T110" fmla="*/ 184 w 209"/>
                  <a:gd name="T111" fmla="*/ 63 h 132"/>
                  <a:gd name="T112" fmla="*/ 172 w 209"/>
                  <a:gd name="T113" fmla="*/ 52 h 132"/>
                  <a:gd name="T114" fmla="*/ 172 w 209"/>
                  <a:gd name="T115" fmla="*/ 48 h 132"/>
                  <a:gd name="T116" fmla="*/ 159 w 209"/>
                  <a:gd name="T117" fmla="*/ 45 h 132"/>
                  <a:gd name="T118" fmla="*/ 154 w 209"/>
                  <a:gd name="T119" fmla="*/ 38 h 132"/>
                  <a:gd name="T120" fmla="*/ 145 w 209"/>
                  <a:gd name="T121" fmla="*/ 34 h 132"/>
                  <a:gd name="T122" fmla="*/ 147 w 209"/>
                  <a:gd name="T123" fmla="*/ 20 h 132"/>
                  <a:gd name="T124" fmla="*/ 132 w 209"/>
                  <a:gd name="T125"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9" h="132">
                    <a:moveTo>
                      <a:pt x="132" y="0"/>
                    </a:moveTo>
                    <a:lnTo>
                      <a:pt x="120" y="2"/>
                    </a:lnTo>
                    <a:lnTo>
                      <a:pt x="118" y="4"/>
                    </a:lnTo>
                    <a:lnTo>
                      <a:pt x="116" y="7"/>
                    </a:lnTo>
                    <a:lnTo>
                      <a:pt x="116" y="13"/>
                    </a:lnTo>
                    <a:lnTo>
                      <a:pt x="114" y="13"/>
                    </a:lnTo>
                    <a:lnTo>
                      <a:pt x="113" y="16"/>
                    </a:lnTo>
                    <a:lnTo>
                      <a:pt x="111" y="16"/>
                    </a:lnTo>
                    <a:lnTo>
                      <a:pt x="111" y="16"/>
                    </a:lnTo>
                    <a:lnTo>
                      <a:pt x="106" y="21"/>
                    </a:lnTo>
                    <a:lnTo>
                      <a:pt x="104" y="25"/>
                    </a:lnTo>
                    <a:lnTo>
                      <a:pt x="104" y="25"/>
                    </a:lnTo>
                    <a:lnTo>
                      <a:pt x="98" y="27"/>
                    </a:lnTo>
                    <a:lnTo>
                      <a:pt x="97" y="30"/>
                    </a:lnTo>
                    <a:lnTo>
                      <a:pt x="93" y="30"/>
                    </a:lnTo>
                    <a:lnTo>
                      <a:pt x="91" y="30"/>
                    </a:lnTo>
                    <a:lnTo>
                      <a:pt x="86" y="32"/>
                    </a:lnTo>
                    <a:lnTo>
                      <a:pt x="84" y="32"/>
                    </a:lnTo>
                    <a:lnTo>
                      <a:pt x="75" y="32"/>
                    </a:lnTo>
                    <a:lnTo>
                      <a:pt x="72" y="34"/>
                    </a:lnTo>
                    <a:lnTo>
                      <a:pt x="72" y="36"/>
                    </a:lnTo>
                    <a:lnTo>
                      <a:pt x="72" y="36"/>
                    </a:lnTo>
                    <a:lnTo>
                      <a:pt x="73" y="38"/>
                    </a:lnTo>
                    <a:lnTo>
                      <a:pt x="73" y="39"/>
                    </a:lnTo>
                    <a:lnTo>
                      <a:pt x="73" y="41"/>
                    </a:lnTo>
                    <a:lnTo>
                      <a:pt x="72" y="41"/>
                    </a:lnTo>
                    <a:lnTo>
                      <a:pt x="72" y="45"/>
                    </a:lnTo>
                    <a:lnTo>
                      <a:pt x="70" y="45"/>
                    </a:lnTo>
                    <a:lnTo>
                      <a:pt x="68" y="45"/>
                    </a:lnTo>
                    <a:lnTo>
                      <a:pt x="68" y="46"/>
                    </a:lnTo>
                    <a:lnTo>
                      <a:pt x="66" y="48"/>
                    </a:lnTo>
                    <a:lnTo>
                      <a:pt x="66" y="48"/>
                    </a:lnTo>
                    <a:lnTo>
                      <a:pt x="59" y="48"/>
                    </a:lnTo>
                    <a:lnTo>
                      <a:pt x="57" y="50"/>
                    </a:lnTo>
                    <a:lnTo>
                      <a:pt x="54" y="48"/>
                    </a:lnTo>
                    <a:lnTo>
                      <a:pt x="45" y="52"/>
                    </a:lnTo>
                    <a:lnTo>
                      <a:pt x="45" y="54"/>
                    </a:lnTo>
                    <a:lnTo>
                      <a:pt x="39" y="54"/>
                    </a:lnTo>
                    <a:lnTo>
                      <a:pt x="39" y="55"/>
                    </a:lnTo>
                    <a:lnTo>
                      <a:pt x="38" y="55"/>
                    </a:lnTo>
                    <a:lnTo>
                      <a:pt x="36" y="54"/>
                    </a:lnTo>
                    <a:lnTo>
                      <a:pt x="36" y="54"/>
                    </a:lnTo>
                    <a:lnTo>
                      <a:pt x="34" y="52"/>
                    </a:lnTo>
                    <a:lnTo>
                      <a:pt x="34" y="52"/>
                    </a:lnTo>
                    <a:lnTo>
                      <a:pt x="32" y="52"/>
                    </a:lnTo>
                    <a:lnTo>
                      <a:pt x="32" y="52"/>
                    </a:lnTo>
                    <a:lnTo>
                      <a:pt x="31" y="52"/>
                    </a:lnTo>
                    <a:lnTo>
                      <a:pt x="31" y="54"/>
                    </a:lnTo>
                    <a:lnTo>
                      <a:pt x="27" y="55"/>
                    </a:lnTo>
                    <a:lnTo>
                      <a:pt x="23" y="57"/>
                    </a:lnTo>
                    <a:lnTo>
                      <a:pt x="22" y="57"/>
                    </a:lnTo>
                    <a:lnTo>
                      <a:pt x="20" y="57"/>
                    </a:lnTo>
                    <a:lnTo>
                      <a:pt x="14" y="57"/>
                    </a:lnTo>
                    <a:lnTo>
                      <a:pt x="14" y="59"/>
                    </a:lnTo>
                    <a:lnTo>
                      <a:pt x="0" y="82"/>
                    </a:lnTo>
                    <a:lnTo>
                      <a:pt x="0" y="86"/>
                    </a:lnTo>
                    <a:lnTo>
                      <a:pt x="0" y="91"/>
                    </a:lnTo>
                    <a:lnTo>
                      <a:pt x="0" y="100"/>
                    </a:lnTo>
                    <a:lnTo>
                      <a:pt x="16" y="125"/>
                    </a:lnTo>
                    <a:lnTo>
                      <a:pt x="23" y="132"/>
                    </a:lnTo>
                    <a:lnTo>
                      <a:pt x="25" y="132"/>
                    </a:lnTo>
                    <a:lnTo>
                      <a:pt x="29" y="127"/>
                    </a:lnTo>
                    <a:lnTo>
                      <a:pt x="39" y="118"/>
                    </a:lnTo>
                    <a:lnTo>
                      <a:pt x="45" y="118"/>
                    </a:lnTo>
                    <a:lnTo>
                      <a:pt x="56" y="121"/>
                    </a:lnTo>
                    <a:lnTo>
                      <a:pt x="64" y="120"/>
                    </a:lnTo>
                    <a:lnTo>
                      <a:pt x="66" y="118"/>
                    </a:lnTo>
                    <a:lnTo>
                      <a:pt x="70" y="116"/>
                    </a:lnTo>
                    <a:lnTo>
                      <a:pt x="70" y="114"/>
                    </a:lnTo>
                    <a:lnTo>
                      <a:pt x="70" y="105"/>
                    </a:lnTo>
                    <a:lnTo>
                      <a:pt x="73" y="104"/>
                    </a:lnTo>
                    <a:lnTo>
                      <a:pt x="75" y="98"/>
                    </a:lnTo>
                    <a:lnTo>
                      <a:pt x="81" y="95"/>
                    </a:lnTo>
                    <a:lnTo>
                      <a:pt x="89" y="95"/>
                    </a:lnTo>
                    <a:lnTo>
                      <a:pt x="91" y="96"/>
                    </a:lnTo>
                    <a:lnTo>
                      <a:pt x="91" y="100"/>
                    </a:lnTo>
                    <a:lnTo>
                      <a:pt x="98" y="105"/>
                    </a:lnTo>
                    <a:lnTo>
                      <a:pt x="100" y="105"/>
                    </a:lnTo>
                    <a:lnTo>
                      <a:pt x="102" y="104"/>
                    </a:lnTo>
                    <a:lnTo>
                      <a:pt x="106" y="105"/>
                    </a:lnTo>
                    <a:lnTo>
                      <a:pt x="113" y="107"/>
                    </a:lnTo>
                    <a:lnTo>
                      <a:pt x="127" y="107"/>
                    </a:lnTo>
                    <a:lnTo>
                      <a:pt x="131" y="107"/>
                    </a:lnTo>
                    <a:lnTo>
                      <a:pt x="131" y="102"/>
                    </a:lnTo>
                    <a:lnTo>
                      <a:pt x="134" y="100"/>
                    </a:lnTo>
                    <a:lnTo>
                      <a:pt x="139" y="100"/>
                    </a:lnTo>
                    <a:lnTo>
                      <a:pt x="143" y="102"/>
                    </a:lnTo>
                    <a:lnTo>
                      <a:pt x="161" y="95"/>
                    </a:lnTo>
                    <a:lnTo>
                      <a:pt x="163" y="95"/>
                    </a:lnTo>
                    <a:lnTo>
                      <a:pt x="164" y="96"/>
                    </a:lnTo>
                    <a:lnTo>
                      <a:pt x="163" y="96"/>
                    </a:lnTo>
                    <a:lnTo>
                      <a:pt x="166" y="98"/>
                    </a:lnTo>
                    <a:lnTo>
                      <a:pt x="168" y="96"/>
                    </a:lnTo>
                    <a:lnTo>
                      <a:pt x="172" y="96"/>
                    </a:lnTo>
                    <a:lnTo>
                      <a:pt x="172" y="93"/>
                    </a:lnTo>
                    <a:lnTo>
                      <a:pt x="179" y="95"/>
                    </a:lnTo>
                    <a:lnTo>
                      <a:pt x="189" y="93"/>
                    </a:lnTo>
                    <a:lnTo>
                      <a:pt x="193" y="96"/>
                    </a:lnTo>
                    <a:lnTo>
                      <a:pt x="195" y="95"/>
                    </a:lnTo>
                    <a:lnTo>
                      <a:pt x="198" y="96"/>
                    </a:lnTo>
                    <a:lnTo>
                      <a:pt x="200" y="95"/>
                    </a:lnTo>
                    <a:lnTo>
                      <a:pt x="209" y="95"/>
                    </a:lnTo>
                    <a:lnTo>
                      <a:pt x="207" y="93"/>
                    </a:lnTo>
                    <a:lnTo>
                      <a:pt x="207" y="89"/>
                    </a:lnTo>
                    <a:lnTo>
                      <a:pt x="206" y="86"/>
                    </a:lnTo>
                    <a:lnTo>
                      <a:pt x="197" y="80"/>
                    </a:lnTo>
                    <a:lnTo>
                      <a:pt x="195" y="80"/>
                    </a:lnTo>
                    <a:lnTo>
                      <a:pt x="193" y="77"/>
                    </a:lnTo>
                    <a:lnTo>
                      <a:pt x="191" y="73"/>
                    </a:lnTo>
                    <a:lnTo>
                      <a:pt x="189" y="68"/>
                    </a:lnTo>
                    <a:lnTo>
                      <a:pt x="186" y="66"/>
                    </a:lnTo>
                    <a:lnTo>
                      <a:pt x="184" y="63"/>
                    </a:lnTo>
                    <a:lnTo>
                      <a:pt x="173" y="55"/>
                    </a:lnTo>
                    <a:lnTo>
                      <a:pt x="172" y="52"/>
                    </a:lnTo>
                    <a:lnTo>
                      <a:pt x="172" y="50"/>
                    </a:lnTo>
                    <a:lnTo>
                      <a:pt x="172" y="48"/>
                    </a:lnTo>
                    <a:lnTo>
                      <a:pt x="166" y="45"/>
                    </a:lnTo>
                    <a:lnTo>
                      <a:pt x="159" y="45"/>
                    </a:lnTo>
                    <a:lnTo>
                      <a:pt x="156" y="43"/>
                    </a:lnTo>
                    <a:lnTo>
                      <a:pt x="154" y="38"/>
                    </a:lnTo>
                    <a:lnTo>
                      <a:pt x="147" y="38"/>
                    </a:lnTo>
                    <a:lnTo>
                      <a:pt x="145" y="34"/>
                    </a:lnTo>
                    <a:lnTo>
                      <a:pt x="143" y="30"/>
                    </a:lnTo>
                    <a:lnTo>
                      <a:pt x="147" y="20"/>
                    </a:lnTo>
                    <a:lnTo>
                      <a:pt x="145" y="16"/>
                    </a:lnTo>
                    <a:lnTo>
                      <a:pt x="13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73" name="Freeform 2424"/>
              <p:cNvSpPr>
                <a:spLocks/>
              </p:cNvSpPr>
              <p:nvPr/>
            </p:nvSpPr>
            <p:spPr bwMode="auto">
              <a:xfrm>
                <a:off x="3160" y="2729"/>
                <a:ext cx="31" cy="27"/>
              </a:xfrm>
              <a:custGeom>
                <a:avLst/>
                <a:gdLst>
                  <a:gd name="T0" fmla="*/ 2 w 31"/>
                  <a:gd name="T1" fmla="*/ 27 h 27"/>
                  <a:gd name="T2" fmla="*/ 4 w 31"/>
                  <a:gd name="T3" fmla="*/ 27 h 27"/>
                  <a:gd name="T4" fmla="*/ 4 w 31"/>
                  <a:gd name="T5" fmla="*/ 23 h 27"/>
                  <a:gd name="T6" fmla="*/ 4 w 31"/>
                  <a:gd name="T7" fmla="*/ 23 h 27"/>
                  <a:gd name="T8" fmla="*/ 6 w 31"/>
                  <a:gd name="T9" fmla="*/ 23 h 27"/>
                  <a:gd name="T10" fmla="*/ 7 w 31"/>
                  <a:gd name="T11" fmla="*/ 23 h 27"/>
                  <a:gd name="T12" fmla="*/ 9 w 31"/>
                  <a:gd name="T13" fmla="*/ 27 h 27"/>
                  <a:gd name="T14" fmla="*/ 9 w 31"/>
                  <a:gd name="T15" fmla="*/ 27 h 27"/>
                  <a:gd name="T16" fmla="*/ 11 w 31"/>
                  <a:gd name="T17" fmla="*/ 27 h 27"/>
                  <a:gd name="T18" fmla="*/ 13 w 31"/>
                  <a:gd name="T19" fmla="*/ 27 h 27"/>
                  <a:gd name="T20" fmla="*/ 15 w 31"/>
                  <a:gd name="T21" fmla="*/ 27 h 27"/>
                  <a:gd name="T22" fmla="*/ 16 w 31"/>
                  <a:gd name="T23" fmla="*/ 25 h 27"/>
                  <a:gd name="T24" fmla="*/ 16 w 31"/>
                  <a:gd name="T25" fmla="*/ 23 h 27"/>
                  <a:gd name="T26" fmla="*/ 16 w 31"/>
                  <a:gd name="T27" fmla="*/ 21 h 27"/>
                  <a:gd name="T28" fmla="*/ 16 w 31"/>
                  <a:gd name="T29" fmla="*/ 21 h 27"/>
                  <a:gd name="T30" fmla="*/ 20 w 31"/>
                  <a:gd name="T31" fmla="*/ 21 h 27"/>
                  <a:gd name="T32" fmla="*/ 24 w 31"/>
                  <a:gd name="T33" fmla="*/ 20 h 27"/>
                  <a:gd name="T34" fmla="*/ 25 w 31"/>
                  <a:gd name="T35" fmla="*/ 20 h 27"/>
                  <a:gd name="T36" fmla="*/ 25 w 31"/>
                  <a:gd name="T37" fmla="*/ 20 h 27"/>
                  <a:gd name="T38" fmla="*/ 27 w 31"/>
                  <a:gd name="T39" fmla="*/ 21 h 27"/>
                  <a:gd name="T40" fmla="*/ 27 w 31"/>
                  <a:gd name="T41" fmla="*/ 21 h 27"/>
                  <a:gd name="T42" fmla="*/ 31 w 31"/>
                  <a:gd name="T43" fmla="*/ 18 h 27"/>
                  <a:gd name="T44" fmla="*/ 31 w 31"/>
                  <a:gd name="T45" fmla="*/ 14 h 27"/>
                  <a:gd name="T46" fmla="*/ 24 w 31"/>
                  <a:gd name="T47" fmla="*/ 0 h 27"/>
                  <a:gd name="T48" fmla="*/ 24 w 31"/>
                  <a:gd name="T49" fmla="*/ 0 h 27"/>
                  <a:gd name="T50" fmla="*/ 20 w 31"/>
                  <a:gd name="T51" fmla="*/ 2 h 27"/>
                  <a:gd name="T52" fmla="*/ 20 w 31"/>
                  <a:gd name="T53" fmla="*/ 2 h 27"/>
                  <a:gd name="T54" fmla="*/ 18 w 31"/>
                  <a:gd name="T55" fmla="*/ 5 h 27"/>
                  <a:gd name="T56" fmla="*/ 15 w 31"/>
                  <a:gd name="T57" fmla="*/ 5 h 27"/>
                  <a:gd name="T58" fmla="*/ 13 w 31"/>
                  <a:gd name="T59" fmla="*/ 5 h 27"/>
                  <a:gd name="T60" fmla="*/ 13 w 31"/>
                  <a:gd name="T61" fmla="*/ 3 h 27"/>
                  <a:gd name="T62" fmla="*/ 11 w 31"/>
                  <a:gd name="T63" fmla="*/ 5 h 27"/>
                  <a:gd name="T64" fmla="*/ 0 w 31"/>
                  <a:gd name="T65" fmla="*/ 21 h 27"/>
                  <a:gd name="T66" fmla="*/ 0 w 31"/>
                  <a:gd name="T67" fmla="*/ 25 h 27"/>
                  <a:gd name="T68" fmla="*/ 2 w 31"/>
                  <a:gd name="T6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27">
                    <a:moveTo>
                      <a:pt x="2" y="27"/>
                    </a:moveTo>
                    <a:lnTo>
                      <a:pt x="4" y="27"/>
                    </a:lnTo>
                    <a:lnTo>
                      <a:pt x="4" y="23"/>
                    </a:lnTo>
                    <a:lnTo>
                      <a:pt x="4" y="23"/>
                    </a:lnTo>
                    <a:lnTo>
                      <a:pt x="6" y="23"/>
                    </a:lnTo>
                    <a:lnTo>
                      <a:pt x="7" y="23"/>
                    </a:lnTo>
                    <a:lnTo>
                      <a:pt x="9" y="27"/>
                    </a:lnTo>
                    <a:lnTo>
                      <a:pt x="9" y="27"/>
                    </a:lnTo>
                    <a:lnTo>
                      <a:pt x="11" y="27"/>
                    </a:lnTo>
                    <a:lnTo>
                      <a:pt x="13" y="27"/>
                    </a:lnTo>
                    <a:lnTo>
                      <a:pt x="15" y="27"/>
                    </a:lnTo>
                    <a:lnTo>
                      <a:pt x="16" y="25"/>
                    </a:lnTo>
                    <a:lnTo>
                      <a:pt x="16" y="23"/>
                    </a:lnTo>
                    <a:lnTo>
                      <a:pt x="16" y="21"/>
                    </a:lnTo>
                    <a:lnTo>
                      <a:pt x="16" y="21"/>
                    </a:lnTo>
                    <a:lnTo>
                      <a:pt x="20" y="21"/>
                    </a:lnTo>
                    <a:lnTo>
                      <a:pt x="24" y="20"/>
                    </a:lnTo>
                    <a:lnTo>
                      <a:pt x="25" y="20"/>
                    </a:lnTo>
                    <a:lnTo>
                      <a:pt x="25" y="20"/>
                    </a:lnTo>
                    <a:lnTo>
                      <a:pt x="27" y="21"/>
                    </a:lnTo>
                    <a:lnTo>
                      <a:pt x="27" y="21"/>
                    </a:lnTo>
                    <a:lnTo>
                      <a:pt x="31" y="18"/>
                    </a:lnTo>
                    <a:lnTo>
                      <a:pt x="31" y="14"/>
                    </a:lnTo>
                    <a:lnTo>
                      <a:pt x="24" y="0"/>
                    </a:lnTo>
                    <a:lnTo>
                      <a:pt x="24" y="0"/>
                    </a:lnTo>
                    <a:lnTo>
                      <a:pt x="20" y="2"/>
                    </a:lnTo>
                    <a:lnTo>
                      <a:pt x="20" y="2"/>
                    </a:lnTo>
                    <a:lnTo>
                      <a:pt x="18" y="5"/>
                    </a:lnTo>
                    <a:lnTo>
                      <a:pt x="15" y="5"/>
                    </a:lnTo>
                    <a:lnTo>
                      <a:pt x="13" y="5"/>
                    </a:lnTo>
                    <a:lnTo>
                      <a:pt x="13" y="3"/>
                    </a:lnTo>
                    <a:lnTo>
                      <a:pt x="11" y="5"/>
                    </a:lnTo>
                    <a:lnTo>
                      <a:pt x="0" y="21"/>
                    </a:lnTo>
                    <a:lnTo>
                      <a:pt x="0" y="25"/>
                    </a:lnTo>
                    <a:lnTo>
                      <a:pt x="2" y="2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74" name="Freeform 2425"/>
              <p:cNvSpPr>
                <a:spLocks/>
              </p:cNvSpPr>
              <p:nvPr/>
            </p:nvSpPr>
            <p:spPr bwMode="auto">
              <a:xfrm>
                <a:off x="3160" y="2729"/>
                <a:ext cx="31" cy="27"/>
              </a:xfrm>
              <a:custGeom>
                <a:avLst/>
                <a:gdLst>
                  <a:gd name="T0" fmla="*/ 2 w 31"/>
                  <a:gd name="T1" fmla="*/ 27 h 27"/>
                  <a:gd name="T2" fmla="*/ 4 w 31"/>
                  <a:gd name="T3" fmla="*/ 27 h 27"/>
                  <a:gd name="T4" fmla="*/ 4 w 31"/>
                  <a:gd name="T5" fmla="*/ 23 h 27"/>
                  <a:gd name="T6" fmla="*/ 4 w 31"/>
                  <a:gd name="T7" fmla="*/ 23 h 27"/>
                  <a:gd name="T8" fmla="*/ 6 w 31"/>
                  <a:gd name="T9" fmla="*/ 23 h 27"/>
                  <a:gd name="T10" fmla="*/ 7 w 31"/>
                  <a:gd name="T11" fmla="*/ 23 h 27"/>
                  <a:gd name="T12" fmla="*/ 9 w 31"/>
                  <a:gd name="T13" fmla="*/ 27 h 27"/>
                  <a:gd name="T14" fmla="*/ 9 w 31"/>
                  <a:gd name="T15" fmla="*/ 27 h 27"/>
                  <a:gd name="T16" fmla="*/ 11 w 31"/>
                  <a:gd name="T17" fmla="*/ 27 h 27"/>
                  <a:gd name="T18" fmla="*/ 13 w 31"/>
                  <a:gd name="T19" fmla="*/ 27 h 27"/>
                  <a:gd name="T20" fmla="*/ 15 w 31"/>
                  <a:gd name="T21" fmla="*/ 27 h 27"/>
                  <a:gd name="T22" fmla="*/ 16 w 31"/>
                  <a:gd name="T23" fmla="*/ 25 h 27"/>
                  <a:gd name="T24" fmla="*/ 16 w 31"/>
                  <a:gd name="T25" fmla="*/ 23 h 27"/>
                  <a:gd name="T26" fmla="*/ 16 w 31"/>
                  <a:gd name="T27" fmla="*/ 21 h 27"/>
                  <a:gd name="T28" fmla="*/ 16 w 31"/>
                  <a:gd name="T29" fmla="*/ 21 h 27"/>
                  <a:gd name="T30" fmla="*/ 20 w 31"/>
                  <a:gd name="T31" fmla="*/ 21 h 27"/>
                  <a:gd name="T32" fmla="*/ 24 w 31"/>
                  <a:gd name="T33" fmla="*/ 20 h 27"/>
                  <a:gd name="T34" fmla="*/ 25 w 31"/>
                  <a:gd name="T35" fmla="*/ 20 h 27"/>
                  <a:gd name="T36" fmla="*/ 25 w 31"/>
                  <a:gd name="T37" fmla="*/ 20 h 27"/>
                  <a:gd name="T38" fmla="*/ 27 w 31"/>
                  <a:gd name="T39" fmla="*/ 21 h 27"/>
                  <a:gd name="T40" fmla="*/ 27 w 31"/>
                  <a:gd name="T41" fmla="*/ 21 h 27"/>
                  <a:gd name="T42" fmla="*/ 31 w 31"/>
                  <a:gd name="T43" fmla="*/ 18 h 27"/>
                  <a:gd name="T44" fmla="*/ 31 w 31"/>
                  <a:gd name="T45" fmla="*/ 14 h 27"/>
                  <a:gd name="T46" fmla="*/ 24 w 31"/>
                  <a:gd name="T47" fmla="*/ 0 h 27"/>
                  <a:gd name="T48" fmla="*/ 24 w 31"/>
                  <a:gd name="T49" fmla="*/ 0 h 27"/>
                  <a:gd name="T50" fmla="*/ 20 w 31"/>
                  <a:gd name="T51" fmla="*/ 2 h 27"/>
                  <a:gd name="T52" fmla="*/ 20 w 31"/>
                  <a:gd name="T53" fmla="*/ 2 h 27"/>
                  <a:gd name="T54" fmla="*/ 18 w 31"/>
                  <a:gd name="T55" fmla="*/ 5 h 27"/>
                  <a:gd name="T56" fmla="*/ 15 w 31"/>
                  <a:gd name="T57" fmla="*/ 5 h 27"/>
                  <a:gd name="T58" fmla="*/ 13 w 31"/>
                  <a:gd name="T59" fmla="*/ 5 h 27"/>
                  <a:gd name="T60" fmla="*/ 13 w 31"/>
                  <a:gd name="T61" fmla="*/ 3 h 27"/>
                  <a:gd name="T62" fmla="*/ 11 w 31"/>
                  <a:gd name="T63" fmla="*/ 5 h 27"/>
                  <a:gd name="T64" fmla="*/ 0 w 31"/>
                  <a:gd name="T65" fmla="*/ 21 h 27"/>
                  <a:gd name="T66" fmla="*/ 0 w 31"/>
                  <a:gd name="T67" fmla="*/ 25 h 27"/>
                  <a:gd name="T68" fmla="*/ 2 w 31"/>
                  <a:gd name="T6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1" h="27">
                    <a:moveTo>
                      <a:pt x="2" y="27"/>
                    </a:moveTo>
                    <a:lnTo>
                      <a:pt x="4" y="27"/>
                    </a:lnTo>
                    <a:lnTo>
                      <a:pt x="4" y="23"/>
                    </a:lnTo>
                    <a:lnTo>
                      <a:pt x="4" y="23"/>
                    </a:lnTo>
                    <a:lnTo>
                      <a:pt x="6" y="23"/>
                    </a:lnTo>
                    <a:lnTo>
                      <a:pt x="7" y="23"/>
                    </a:lnTo>
                    <a:lnTo>
                      <a:pt x="9" y="27"/>
                    </a:lnTo>
                    <a:lnTo>
                      <a:pt x="9" y="27"/>
                    </a:lnTo>
                    <a:lnTo>
                      <a:pt x="11" y="27"/>
                    </a:lnTo>
                    <a:lnTo>
                      <a:pt x="13" y="27"/>
                    </a:lnTo>
                    <a:lnTo>
                      <a:pt x="15" y="27"/>
                    </a:lnTo>
                    <a:lnTo>
                      <a:pt x="16" y="25"/>
                    </a:lnTo>
                    <a:lnTo>
                      <a:pt x="16" y="23"/>
                    </a:lnTo>
                    <a:lnTo>
                      <a:pt x="16" y="21"/>
                    </a:lnTo>
                    <a:lnTo>
                      <a:pt x="16" y="21"/>
                    </a:lnTo>
                    <a:lnTo>
                      <a:pt x="20" y="21"/>
                    </a:lnTo>
                    <a:lnTo>
                      <a:pt x="24" y="20"/>
                    </a:lnTo>
                    <a:lnTo>
                      <a:pt x="25" y="20"/>
                    </a:lnTo>
                    <a:lnTo>
                      <a:pt x="25" y="20"/>
                    </a:lnTo>
                    <a:lnTo>
                      <a:pt x="27" y="21"/>
                    </a:lnTo>
                    <a:lnTo>
                      <a:pt x="27" y="21"/>
                    </a:lnTo>
                    <a:lnTo>
                      <a:pt x="31" y="18"/>
                    </a:lnTo>
                    <a:lnTo>
                      <a:pt x="31" y="14"/>
                    </a:lnTo>
                    <a:lnTo>
                      <a:pt x="24" y="0"/>
                    </a:lnTo>
                    <a:lnTo>
                      <a:pt x="24" y="0"/>
                    </a:lnTo>
                    <a:lnTo>
                      <a:pt x="20" y="2"/>
                    </a:lnTo>
                    <a:lnTo>
                      <a:pt x="20" y="2"/>
                    </a:lnTo>
                    <a:lnTo>
                      <a:pt x="18" y="5"/>
                    </a:lnTo>
                    <a:lnTo>
                      <a:pt x="15" y="5"/>
                    </a:lnTo>
                    <a:lnTo>
                      <a:pt x="13" y="5"/>
                    </a:lnTo>
                    <a:lnTo>
                      <a:pt x="13" y="3"/>
                    </a:lnTo>
                    <a:lnTo>
                      <a:pt x="11" y="5"/>
                    </a:lnTo>
                    <a:lnTo>
                      <a:pt x="0" y="21"/>
                    </a:lnTo>
                    <a:lnTo>
                      <a:pt x="0" y="25"/>
                    </a:lnTo>
                    <a:lnTo>
                      <a:pt x="2" y="2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75" name="Freeform 2426"/>
              <p:cNvSpPr>
                <a:spLocks/>
              </p:cNvSpPr>
              <p:nvPr/>
            </p:nvSpPr>
            <p:spPr bwMode="auto">
              <a:xfrm>
                <a:off x="2425" y="2263"/>
                <a:ext cx="193" cy="212"/>
              </a:xfrm>
              <a:custGeom>
                <a:avLst/>
                <a:gdLst>
                  <a:gd name="T0" fmla="*/ 5 w 193"/>
                  <a:gd name="T1" fmla="*/ 100 h 212"/>
                  <a:gd name="T2" fmla="*/ 1 w 193"/>
                  <a:gd name="T3" fmla="*/ 107 h 212"/>
                  <a:gd name="T4" fmla="*/ 0 w 193"/>
                  <a:gd name="T5" fmla="*/ 107 h 212"/>
                  <a:gd name="T6" fmla="*/ 0 w 193"/>
                  <a:gd name="T7" fmla="*/ 107 h 212"/>
                  <a:gd name="T8" fmla="*/ 7 w 193"/>
                  <a:gd name="T9" fmla="*/ 114 h 212"/>
                  <a:gd name="T10" fmla="*/ 9 w 193"/>
                  <a:gd name="T11" fmla="*/ 114 h 212"/>
                  <a:gd name="T12" fmla="*/ 12 w 193"/>
                  <a:gd name="T13" fmla="*/ 127 h 212"/>
                  <a:gd name="T14" fmla="*/ 10 w 193"/>
                  <a:gd name="T15" fmla="*/ 134 h 212"/>
                  <a:gd name="T16" fmla="*/ 9 w 193"/>
                  <a:gd name="T17" fmla="*/ 136 h 212"/>
                  <a:gd name="T18" fmla="*/ 16 w 193"/>
                  <a:gd name="T19" fmla="*/ 164 h 212"/>
                  <a:gd name="T20" fmla="*/ 7 w 193"/>
                  <a:gd name="T21" fmla="*/ 189 h 212"/>
                  <a:gd name="T22" fmla="*/ 10 w 193"/>
                  <a:gd name="T23" fmla="*/ 182 h 212"/>
                  <a:gd name="T24" fmla="*/ 12 w 193"/>
                  <a:gd name="T25" fmla="*/ 182 h 212"/>
                  <a:gd name="T26" fmla="*/ 21 w 193"/>
                  <a:gd name="T27" fmla="*/ 184 h 212"/>
                  <a:gd name="T28" fmla="*/ 23 w 193"/>
                  <a:gd name="T29" fmla="*/ 182 h 212"/>
                  <a:gd name="T30" fmla="*/ 30 w 193"/>
                  <a:gd name="T31" fmla="*/ 182 h 212"/>
                  <a:gd name="T32" fmla="*/ 30 w 193"/>
                  <a:gd name="T33" fmla="*/ 180 h 212"/>
                  <a:gd name="T34" fmla="*/ 32 w 193"/>
                  <a:gd name="T35" fmla="*/ 180 h 212"/>
                  <a:gd name="T36" fmla="*/ 39 w 193"/>
                  <a:gd name="T37" fmla="*/ 180 h 212"/>
                  <a:gd name="T38" fmla="*/ 41 w 193"/>
                  <a:gd name="T39" fmla="*/ 180 h 212"/>
                  <a:gd name="T40" fmla="*/ 44 w 193"/>
                  <a:gd name="T41" fmla="*/ 182 h 212"/>
                  <a:gd name="T42" fmla="*/ 48 w 193"/>
                  <a:gd name="T43" fmla="*/ 187 h 212"/>
                  <a:gd name="T44" fmla="*/ 53 w 193"/>
                  <a:gd name="T45" fmla="*/ 187 h 212"/>
                  <a:gd name="T46" fmla="*/ 53 w 193"/>
                  <a:gd name="T47" fmla="*/ 189 h 212"/>
                  <a:gd name="T48" fmla="*/ 57 w 193"/>
                  <a:gd name="T49" fmla="*/ 189 h 212"/>
                  <a:gd name="T50" fmla="*/ 60 w 193"/>
                  <a:gd name="T51" fmla="*/ 196 h 212"/>
                  <a:gd name="T52" fmla="*/ 62 w 193"/>
                  <a:gd name="T53" fmla="*/ 198 h 212"/>
                  <a:gd name="T54" fmla="*/ 64 w 193"/>
                  <a:gd name="T55" fmla="*/ 200 h 212"/>
                  <a:gd name="T56" fmla="*/ 64 w 193"/>
                  <a:gd name="T57" fmla="*/ 200 h 212"/>
                  <a:gd name="T58" fmla="*/ 66 w 193"/>
                  <a:gd name="T59" fmla="*/ 202 h 212"/>
                  <a:gd name="T60" fmla="*/ 66 w 193"/>
                  <a:gd name="T61" fmla="*/ 203 h 212"/>
                  <a:gd name="T62" fmla="*/ 68 w 193"/>
                  <a:gd name="T63" fmla="*/ 203 h 212"/>
                  <a:gd name="T64" fmla="*/ 69 w 193"/>
                  <a:gd name="T65" fmla="*/ 205 h 212"/>
                  <a:gd name="T66" fmla="*/ 71 w 193"/>
                  <a:gd name="T67" fmla="*/ 207 h 212"/>
                  <a:gd name="T68" fmla="*/ 73 w 193"/>
                  <a:gd name="T69" fmla="*/ 209 h 212"/>
                  <a:gd name="T70" fmla="*/ 75 w 193"/>
                  <a:gd name="T71" fmla="*/ 211 h 212"/>
                  <a:gd name="T72" fmla="*/ 84 w 193"/>
                  <a:gd name="T73" fmla="*/ 205 h 212"/>
                  <a:gd name="T74" fmla="*/ 89 w 193"/>
                  <a:gd name="T75" fmla="*/ 193 h 212"/>
                  <a:gd name="T76" fmla="*/ 91 w 193"/>
                  <a:gd name="T77" fmla="*/ 194 h 212"/>
                  <a:gd name="T78" fmla="*/ 93 w 193"/>
                  <a:gd name="T79" fmla="*/ 194 h 212"/>
                  <a:gd name="T80" fmla="*/ 103 w 193"/>
                  <a:gd name="T81" fmla="*/ 205 h 212"/>
                  <a:gd name="T82" fmla="*/ 184 w 193"/>
                  <a:gd name="T83" fmla="*/ 200 h 212"/>
                  <a:gd name="T84" fmla="*/ 180 w 193"/>
                  <a:gd name="T85" fmla="*/ 186 h 212"/>
                  <a:gd name="T86" fmla="*/ 193 w 193"/>
                  <a:gd name="T87" fmla="*/ 39 h 212"/>
                  <a:gd name="T88" fmla="*/ 134 w 193"/>
                  <a:gd name="T89" fmla="*/ 19 h 212"/>
                  <a:gd name="T90" fmla="*/ 82 w 193"/>
                  <a:gd name="T91" fmla="*/ 64 h 212"/>
                  <a:gd name="T92" fmla="*/ 66 w 193"/>
                  <a:gd name="T93" fmla="*/ 69 h 212"/>
                  <a:gd name="T94" fmla="*/ 66 w 193"/>
                  <a:gd name="T95" fmla="*/ 10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3" h="212">
                    <a:moveTo>
                      <a:pt x="59" y="100"/>
                    </a:moveTo>
                    <a:lnTo>
                      <a:pt x="5" y="100"/>
                    </a:lnTo>
                    <a:lnTo>
                      <a:pt x="5" y="103"/>
                    </a:lnTo>
                    <a:lnTo>
                      <a:pt x="1" y="107"/>
                    </a:lnTo>
                    <a:lnTo>
                      <a:pt x="1" y="105"/>
                    </a:lnTo>
                    <a:lnTo>
                      <a:pt x="0" y="107"/>
                    </a:lnTo>
                    <a:lnTo>
                      <a:pt x="0" y="107"/>
                    </a:lnTo>
                    <a:lnTo>
                      <a:pt x="0" y="107"/>
                    </a:lnTo>
                    <a:lnTo>
                      <a:pt x="3" y="107"/>
                    </a:lnTo>
                    <a:lnTo>
                      <a:pt x="7" y="114"/>
                    </a:lnTo>
                    <a:lnTo>
                      <a:pt x="7" y="114"/>
                    </a:lnTo>
                    <a:lnTo>
                      <a:pt x="9" y="114"/>
                    </a:lnTo>
                    <a:lnTo>
                      <a:pt x="12" y="121"/>
                    </a:lnTo>
                    <a:lnTo>
                      <a:pt x="12" y="127"/>
                    </a:lnTo>
                    <a:lnTo>
                      <a:pt x="10" y="132"/>
                    </a:lnTo>
                    <a:lnTo>
                      <a:pt x="10" y="134"/>
                    </a:lnTo>
                    <a:lnTo>
                      <a:pt x="9" y="134"/>
                    </a:lnTo>
                    <a:lnTo>
                      <a:pt x="9" y="136"/>
                    </a:lnTo>
                    <a:lnTo>
                      <a:pt x="14" y="143"/>
                    </a:lnTo>
                    <a:lnTo>
                      <a:pt x="16" y="164"/>
                    </a:lnTo>
                    <a:lnTo>
                      <a:pt x="7" y="189"/>
                    </a:lnTo>
                    <a:lnTo>
                      <a:pt x="7" y="189"/>
                    </a:lnTo>
                    <a:lnTo>
                      <a:pt x="10" y="186"/>
                    </a:lnTo>
                    <a:lnTo>
                      <a:pt x="10" y="182"/>
                    </a:lnTo>
                    <a:lnTo>
                      <a:pt x="12" y="182"/>
                    </a:lnTo>
                    <a:lnTo>
                      <a:pt x="12" y="182"/>
                    </a:lnTo>
                    <a:lnTo>
                      <a:pt x="18" y="182"/>
                    </a:lnTo>
                    <a:lnTo>
                      <a:pt x="21" y="184"/>
                    </a:lnTo>
                    <a:lnTo>
                      <a:pt x="23" y="182"/>
                    </a:lnTo>
                    <a:lnTo>
                      <a:pt x="23" y="182"/>
                    </a:lnTo>
                    <a:lnTo>
                      <a:pt x="26" y="182"/>
                    </a:lnTo>
                    <a:lnTo>
                      <a:pt x="30" y="182"/>
                    </a:lnTo>
                    <a:lnTo>
                      <a:pt x="30" y="182"/>
                    </a:lnTo>
                    <a:lnTo>
                      <a:pt x="30" y="180"/>
                    </a:lnTo>
                    <a:lnTo>
                      <a:pt x="30" y="180"/>
                    </a:lnTo>
                    <a:lnTo>
                      <a:pt x="32" y="180"/>
                    </a:lnTo>
                    <a:lnTo>
                      <a:pt x="34" y="180"/>
                    </a:lnTo>
                    <a:lnTo>
                      <a:pt x="39" y="180"/>
                    </a:lnTo>
                    <a:lnTo>
                      <a:pt x="41" y="180"/>
                    </a:lnTo>
                    <a:lnTo>
                      <a:pt x="41" y="180"/>
                    </a:lnTo>
                    <a:lnTo>
                      <a:pt x="43" y="182"/>
                    </a:lnTo>
                    <a:lnTo>
                      <a:pt x="44" y="182"/>
                    </a:lnTo>
                    <a:lnTo>
                      <a:pt x="48" y="186"/>
                    </a:lnTo>
                    <a:lnTo>
                      <a:pt x="48" y="187"/>
                    </a:lnTo>
                    <a:lnTo>
                      <a:pt x="50" y="189"/>
                    </a:lnTo>
                    <a:lnTo>
                      <a:pt x="53" y="187"/>
                    </a:lnTo>
                    <a:lnTo>
                      <a:pt x="53" y="189"/>
                    </a:lnTo>
                    <a:lnTo>
                      <a:pt x="53" y="189"/>
                    </a:lnTo>
                    <a:lnTo>
                      <a:pt x="55" y="189"/>
                    </a:lnTo>
                    <a:lnTo>
                      <a:pt x="57" y="189"/>
                    </a:lnTo>
                    <a:lnTo>
                      <a:pt x="60" y="196"/>
                    </a:lnTo>
                    <a:lnTo>
                      <a:pt x="60" y="196"/>
                    </a:lnTo>
                    <a:lnTo>
                      <a:pt x="62" y="198"/>
                    </a:lnTo>
                    <a:lnTo>
                      <a:pt x="62" y="198"/>
                    </a:lnTo>
                    <a:lnTo>
                      <a:pt x="62" y="200"/>
                    </a:lnTo>
                    <a:lnTo>
                      <a:pt x="64" y="200"/>
                    </a:lnTo>
                    <a:lnTo>
                      <a:pt x="64" y="200"/>
                    </a:lnTo>
                    <a:lnTo>
                      <a:pt x="64" y="200"/>
                    </a:lnTo>
                    <a:lnTo>
                      <a:pt x="66" y="202"/>
                    </a:lnTo>
                    <a:lnTo>
                      <a:pt x="66" y="202"/>
                    </a:lnTo>
                    <a:lnTo>
                      <a:pt x="68" y="203"/>
                    </a:lnTo>
                    <a:lnTo>
                      <a:pt x="66" y="203"/>
                    </a:lnTo>
                    <a:lnTo>
                      <a:pt x="66" y="203"/>
                    </a:lnTo>
                    <a:lnTo>
                      <a:pt x="68" y="203"/>
                    </a:lnTo>
                    <a:lnTo>
                      <a:pt x="68" y="205"/>
                    </a:lnTo>
                    <a:lnTo>
                      <a:pt x="69" y="205"/>
                    </a:lnTo>
                    <a:lnTo>
                      <a:pt x="69" y="205"/>
                    </a:lnTo>
                    <a:lnTo>
                      <a:pt x="71" y="207"/>
                    </a:lnTo>
                    <a:lnTo>
                      <a:pt x="73" y="207"/>
                    </a:lnTo>
                    <a:lnTo>
                      <a:pt x="73" y="209"/>
                    </a:lnTo>
                    <a:lnTo>
                      <a:pt x="73" y="209"/>
                    </a:lnTo>
                    <a:lnTo>
                      <a:pt x="75" y="211"/>
                    </a:lnTo>
                    <a:lnTo>
                      <a:pt x="76" y="212"/>
                    </a:lnTo>
                    <a:lnTo>
                      <a:pt x="84" y="205"/>
                    </a:lnTo>
                    <a:lnTo>
                      <a:pt x="89" y="193"/>
                    </a:lnTo>
                    <a:lnTo>
                      <a:pt x="89" y="193"/>
                    </a:lnTo>
                    <a:lnTo>
                      <a:pt x="91" y="193"/>
                    </a:lnTo>
                    <a:lnTo>
                      <a:pt x="91" y="194"/>
                    </a:lnTo>
                    <a:lnTo>
                      <a:pt x="93" y="194"/>
                    </a:lnTo>
                    <a:lnTo>
                      <a:pt x="93" y="194"/>
                    </a:lnTo>
                    <a:lnTo>
                      <a:pt x="98" y="205"/>
                    </a:lnTo>
                    <a:lnTo>
                      <a:pt x="103" y="205"/>
                    </a:lnTo>
                    <a:lnTo>
                      <a:pt x="110" y="200"/>
                    </a:lnTo>
                    <a:lnTo>
                      <a:pt x="184" y="200"/>
                    </a:lnTo>
                    <a:lnTo>
                      <a:pt x="187" y="187"/>
                    </a:lnTo>
                    <a:lnTo>
                      <a:pt x="180" y="186"/>
                    </a:lnTo>
                    <a:lnTo>
                      <a:pt x="166" y="39"/>
                    </a:lnTo>
                    <a:lnTo>
                      <a:pt x="193" y="39"/>
                    </a:lnTo>
                    <a:lnTo>
                      <a:pt x="134" y="0"/>
                    </a:lnTo>
                    <a:lnTo>
                      <a:pt x="134" y="19"/>
                    </a:lnTo>
                    <a:lnTo>
                      <a:pt x="82" y="19"/>
                    </a:lnTo>
                    <a:lnTo>
                      <a:pt x="82" y="64"/>
                    </a:lnTo>
                    <a:lnTo>
                      <a:pt x="68" y="68"/>
                    </a:lnTo>
                    <a:lnTo>
                      <a:pt x="66" y="69"/>
                    </a:lnTo>
                    <a:lnTo>
                      <a:pt x="64" y="75"/>
                    </a:lnTo>
                    <a:lnTo>
                      <a:pt x="66" y="100"/>
                    </a:lnTo>
                    <a:lnTo>
                      <a:pt x="59" y="10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76" name="Freeform 2427"/>
              <p:cNvSpPr>
                <a:spLocks/>
              </p:cNvSpPr>
              <p:nvPr/>
            </p:nvSpPr>
            <p:spPr bwMode="auto">
              <a:xfrm>
                <a:off x="2425" y="2263"/>
                <a:ext cx="193" cy="212"/>
              </a:xfrm>
              <a:custGeom>
                <a:avLst/>
                <a:gdLst>
                  <a:gd name="T0" fmla="*/ 5 w 193"/>
                  <a:gd name="T1" fmla="*/ 100 h 212"/>
                  <a:gd name="T2" fmla="*/ 1 w 193"/>
                  <a:gd name="T3" fmla="*/ 107 h 212"/>
                  <a:gd name="T4" fmla="*/ 0 w 193"/>
                  <a:gd name="T5" fmla="*/ 107 h 212"/>
                  <a:gd name="T6" fmla="*/ 0 w 193"/>
                  <a:gd name="T7" fmla="*/ 107 h 212"/>
                  <a:gd name="T8" fmla="*/ 7 w 193"/>
                  <a:gd name="T9" fmla="*/ 114 h 212"/>
                  <a:gd name="T10" fmla="*/ 9 w 193"/>
                  <a:gd name="T11" fmla="*/ 114 h 212"/>
                  <a:gd name="T12" fmla="*/ 12 w 193"/>
                  <a:gd name="T13" fmla="*/ 127 h 212"/>
                  <a:gd name="T14" fmla="*/ 10 w 193"/>
                  <a:gd name="T15" fmla="*/ 134 h 212"/>
                  <a:gd name="T16" fmla="*/ 9 w 193"/>
                  <a:gd name="T17" fmla="*/ 136 h 212"/>
                  <a:gd name="T18" fmla="*/ 16 w 193"/>
                  <a:gd name="T19" fmla="*/ 164 h 212"/>
                  <a:gd name="T20" fmla="*/ 7 w 193"/>
                  <a:gd name="T21" fmla="*/ 189 h 212"/>
                  <a:gd name="T22" fmla="*/ 10 w 193"/>
                  <a:gd name="T23" fmla="*/ 182 h 212"/>
                  <a:gd name="T24" fmla="*/ 12 w 193"/>
                  <a:gd name="T25" fmla="*/ 182 h 212"/>
                  <a:gd name="T26" fmla="*/ 21 w 193"/>
                  <a:gd name="T27" fmla="*/ 184 h 212"/>
                  <a:gd name="T28" fmla="*/ 23 w 193"/>
                  <a:gd name="T29" fmla="*/ 182 h 212"/>
                  <a:gd name="T30" fmla="*/ 30 w 193"/>
                  <a:gd name="T31" fmla="*/ 182 h 212"/>
                  <a:gd name="T32" fmla="*/ 30 w 193"/>
                  <a:gd name="T33" fmla="*/ 180 h 212"/>
                  <a:gd name="T34" fmla="*/ 32 w 193"/>
                  <a:gd name="T35" fmla="*/ 180 h 212"/>
                  <a:gd name="T36" fmla="*/ 39 w 193"/>
                  <a:gd name="T37" fmla="*/ 180 h 212"/>
                  <a:gd name="T38" fmla="*/ 41 w 193"/>
                  <a:gd name="T39" fmla="*/ 180 h 212"/>
                  <a:gd name="T40" fmla="*/ 44 w 193"/>
                  <a:gd name="T41" fmla="*/ 182 h 212"/>
                  <a:gd name="T42" fmla="*/ 48 w 193"/>
                  <a:gd name="T43" fmla="*/ 187 h 212"/>
                  <a:gd name="T44" fmla="*/ 53 w 193"/>
                  <a:gd name="T45" fmla="*/ 187 h 212"/>
                  <a:gd name="T46" fmla="*/ 53 w 193"/>
                  <a:gd name="T47" fmla="*/ 189 h 212"/>
                  <a:gd name="T48" fmla="*/ 57 w 193"/>
                  <a:gd name="T49" fmla="*/ 189 h 212"/>
                  <a:gd name="T50" fmla="*/ 60 w 193"/>
                  <a:gd name="T51" fmla="*/ 196 h 212"/>
                  <a:gd name="T52" fmla="*/ 62 w 193"/>
                  <a:gd name="T53" fmla="*/ 198 h 212"/>
                  <a:gd name="T54" fmla="*/ 64 w 193"/>
                  <a:gd name="T55" fmla="*/ 200 h 212"/>
                  <a:gd name="T56" fmla="*/ 64 w 193"/>
                  <a:gd name="T57" fmla="*/ 200 h 212"/>
                  <a:gd name="T58" fmla="*/ 66 w 193"/>
                  <a:gd name="T59" fmla="*/ 202 h 212"/>
                  <a:gd name="T60" fmla="*/ 66 w 193"/>
                  <a:gd name="T61" fmla="*/ 203 h 212"/>
                  <a:gd name="T62" fmla="*/ 68 w 193"/>
                  <a:gd name="T63" fmla="*/ 203 h 212"/>
                  <a:gd name="T64" fmla="*/ 69 w 193"/>
                  <a:gd name="T65" fmla="*/ 205 h 212"/>
                  <a:gd name="T66" fmla="*/ 71 w 193"/>
                  <a:gd name="T67" fmla="*/ 207 h 212"/>
                  <a:gd name="T68" fmla="*/ 73 w 193"/>
                  <a:gd name="T69" fmla="*/ 209 h 212"/>
                  <a:gd name="T70" fmla="*/ 75 w 193"/>
                  <a:gd name="T71" fmla="*/ 211 h 212"/>
                  <a:gd name="T72" fmla="*/ 84 w 193"/>
                  <a:gd name="T73" fmla="*/ 205 h 212"/>
                  <a:gd name="T74" fmla="*/ 89 w 193"/>
                  <a:gd name="T75" fmla="*/ 193 h 212"/>
                  <a:gd name="T76" fmla="*/ 91 w 193"/>
                  <a:gd name="T77" fmla="*/ 194 h 212"/>
                  <a:gd name="T78" fmla="*/ 93 w 193"/>
                  <a:gd name="T79" fmla="*/ 194 h 212"/>
                  <a:gd name="T80" fmla="*/ 103 w 193"/>
                  <a:gd name="T81" fmla="*/ 205 h 212"/>
                  <a:gd name="T82" fmla="*/ 184 w 193"/>
                  <a:gd name="T83" fmla="*/ 200 h 212"/>
                  <a:gd name="T84" fmla="*/ 180 w 193"/>
                  <a:gd name="T85" fmla="*/ 186 h 212"/>
                  <a:gd name="T86" fmla="*/ 193 w 193"/>
                  <a:gd name="T87" fmla="*/ 39 h 212"/>
                  <a:gd name="T88" fmla="*/ 134 w 193"/>
                  <a:gd name="T89" fmla="*/ 19 h 212"/>
                  <a:gd name="T90" fmla="*/ 82 w 193"/>
                  <a:gd name="T91" fmla="*/ 64 h 212"/>
                  <a:gd name="T92" fmla="*/ 66 w 193"/>
                  <a:gd name="T93" fmla="*/ 69 h 212"/>
                  <a:gd name="T94" fmla="*/ 66 w 193"/>
                  <a:gd name="T95" fmla="*/ 10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3" h="212">
                    <a:moveTo>
                      <a:pt x="59" y="100"/>
                    </a:moveTo>
                    <a:lnTo>
                      <a:pt x="5" y="100"/>
                    </a:lnTo>
                    <a:lnTo>
                      <a:pt x="5" y="103"/>
                    </a:lnTo>
                    <a:lnTo>
                      <a:pt x="1" y="107"/>
                    </a:lnTo>
                    <a:lnTo>
                      <a:pt x="1" y="105"/>
                    </a:lnTo>
                    <a:lnTo>
                      <a:pt x="0" y="107"/>
                    </a:lnTo>
                    <a:lnTo>
                      <a:pt x="0" y="107"/>
                    </a:lnTo>
                    <a:lnTo>
                      <a:pt x="0" y="107"/>
                    </a:lnTo>
                    <a:lnTo>
                      <a:pt x="3" y="107"/>
                    </a:lnTo>
                    <a:lnTo>
                      <a:pt x="7" y="114"/>
                    </a:lnTo>
                    <a:lnTo>
                      <a:pt x="7" y="114"/>
                    </a:lnTo>
                    <a:lnTo>
                      <a:pt x="9" y="114"/>
                    </a:lnTo>
                    <a:lnTo>
                      <a:pt x="12" y="121"/>
                    </a:lnTo>
                    <a:lnTo>
                      <a:pt x="12" y="127"/>
                    </a:lnTo>
                    <a:lnTo>
                      <a:pt x="10" y="132"/>
                    </a:lnTo>
                    <a:lnTo>
                      <a:pt x="10" y="134"/>
                    </a:lnTo>
                    <a:lnTo>
                      <a:pt x="9" y="134"/>
                    </a:lnTo>
                    <a:lnTo>
                      <a:pt x="9" y="136"/>
                    </a:lnTo>
                    <a:lnTo>
                      <a:pt x="14" y="143"/>
                    </a:lnTo>
                    <a:lnTo>
                      <a:pt x="16" y="164"/>
                    </a:lnTo>
                    <a:lnTo>
                      <a:pt x="7" y="189"/>
                    </a:lnTo>
                    <a:lnTo>
                      <a:pt x="7" y="189"/>
                    </a:lnTo>
                    <a:lnTo>
                      <a:pt x="10" y="186"/>
                    </a:lnTo>
                    <a:lnTo>
                      <a:pt x="10" y="182"/>
                    </a:lnTo>
                    <a:lnTo>
                      <a:pt x="12" y="182"/>
                    </a:lnTo>
                    <a:lnTo>
                      <a:pt x="12" y="182"/>
                    </a:lnTo>
                    <a:lnTo>
                      <a:pt x="18" y="182"/>
                    </a:lnTo>
                    <a:lnTo>
                      <a:pt x="21" y="184"/>
                    </a:lnTo>
                    <a:lnTo>
                      <a:pt x="23" y="182"/>
                    </a:lnTo>
                    <a:lnTo>
                      <a:pt x="23" y="182"/>
                    </a:lnTo>
                    <a:lnTo>
                      <a:pt x="26" y="182"/>
                    </a:lnTo>
                    <a:lnTo>
                      <a:pt x="30" y="182"/>
                    </a:lnTo>
                    <a:lnTo>
                      <a:pt x="30" y="182"/>
                    </a:lnTo>
                    <a:lnTo>
                      <a:pt x="30" y="180"/>
                    </a:lnTo>
                    <a:lnTo>
                      <a:pt x="30" y="180"/>
                    </a:lnTo>
                    <a:lnTo>
                      <a:pt x="32" y="180"/>
                    </a:lnTo>
                    <a:lnTo>
                      <a:pt x="34" y="180"/>
                    </a:lnTo>
                    <a:lnTo>
                      <a:pt x="39" y="180"/>
                    </a:lnTo>
                    <a:lnTo>
                      <a:pt x="41" y="180"/>
                    </a:lnTo>
                    <a:lnTo>
                      <a:pt x="41" y="180"/>
                    </a:lnTo>
                    <a:lnTo>
                      <a:pt x="43" y="182"/>
                    </a:lnTo>
                    <a:lnTo>
                      <a:pt x="44" y="182"/>
                    </a:lnTo>
                    <a:lnTo>
                      <a:pt x="48" y="186"/>
                    </a:lnTo>
                    <a:lnTo>
                      <a:pt x="48" y="187"/>
                    </a:lnTo>
                    <a:lnTo>
                      <a:pt x="50" y="189"/>
                    </a:lnTo>
                    <a:lnTo>
                      <a:pt x="53" y="187"/>
                    </a:lnTo>
                    <a:lnTo>
                      <a:pt x="53" y="189"/>
                    </a:lnTo>
                    <a:lnTo>
                      <a:pt x="53" y="189"/>
                    </a:lnTo>
                    <a:lnTo>
                      <a:pt x="55" y="189"/>
                    </a:lnTo>
                    <a:lnTo>
                      <a:pt x="57" y="189"/>
                    </a:lnTo>
                    <a:lnTo>
                      <a:pt x="60" y="196"/>
                    </a:lnTo>
                    <a:lnTo>
                      <a:pt x="60" y="196"/>
                    </a:lnTo>
                    <a:lnTo>
                      <a:pt x="62" y="198"/>
                    </a:lnTo>
                    <a:lnTo>
                      <a:pt x="62" y="198"/>
                    </a:lnTo>
                    <a:lnTo>
                      <a:pt x="62" y="200"/>
                    </a:lnTo>
                    <a:lnTo>
                      <a:pt x="64" y="200"/>
                    </a:lnTo>
                    <a:lnTo>
                      <a:pt x="64" y="200"/>
                    </a:lnTo>
                    <a:lnTo>
                      <a:pt x="64" y="200"/>
                    </a:lnTo>
                    <a:lnTo>
                      <a:pt x="66" y="202"/>
                    </a:lnTo>
                    <a:lnTo>
                      <a:pt x="66" y="202"/>
                    </a:lnTo>
                    <a:lnTo>
                      <a:pt x="68" y="203"/>
                    </a:lnTo>
                    <a:lnTo>
                      <a:pt x="66" y="203"/>
                    </a:lnTo>
                    <a:lnTo>
                      <a:pt x="66" y="203"/>
                    </a:lnTo>
                    <a:lnTo>
                      <a:pt x="68" y="203"/>
                    </a:lnTo>
                    <a:lnTo>
                      <a:pt x="68" y="205"/>
                    </a:lnTo>
                    <a:lnTo>
                      <a:pt x="69" y="205"/>
                    </a:lnTo>
                    <a:lnTo>
                      <a:pt x="69" y="205"/>
                    </a:lnTo>
                    <a:lnTo>
                      <a:pt x="71" y="207"/>
                    </a:lnTo>
                    <a:lnTo>
                      <a:pt x="73" y="207"/>
                    </a:lnTo>
                    <a:lnTo>
                      <a:pt x="73" y="209"/>
                    </a:lnTo>
                    <a:lnTo>
                      <a:pt x="73" y="209"/>
                    </a:lnTo>
                    <a:lnTo>
                      <a:pt x="75" y="211"/>
                    </a:lnTo>
                    <a:lnTo>
                      <a:pt x="76" y="212"/>
                    </a:lnTo>
                    <a:lnTo>
                      <a:pt x="84" y="205"/>
                    </a:lnTo>
                    <a:lnTo>
                      <a:pt x="89" y="193"/>
                    </a:lnTo>
                    <a:lnTo>
                      <a:pt x="89" y="193"/>
                    </a:lnTo>
                    <a:lnTo>
                      <a:pt x="91" y="193"/>
                    </a:lnTo>
                    <a:lnTo>
                      <a:pt x="91" y="194"/>
                    </a:lnTo>
                    <a:lnTo>
                      <a:pt x="93" y="194"/>
                    </a:lnTo>
                    <a:lnTo>
                      <a:pt x="93" y="194"/>
                    </a:lnTo>
                    <a:lnTo>
                      <a:pt x="98" y="205"/>
                    </a:lnTo>
                    <a:lnTo>
                      <a:pt x="103" y="205"/>
                    </a:lnTo>
                    <a:lnTo>
                      <a:pt x="110" y="200"/>
                    </a:lnTo>
                    <a:lnTo>
                      <a:pt x="184" y="200"/>
                    </a:lnTo>
                    <a:lnTo>
                      <a:pt x="187" y="187"/>
                    </a:lnTo>
                    <a:lnTo>
                      <a:pt x="180" y="186"/>
                    </a:lnTo>
                    <a:lnTo>
                      <a:pt x="166" y="39"/>
                    </a:lnTo>
                    <a:lnTo>
                      <a:pt x="193" y="39"/>
                    </a:lnTo>
                    <a:lnTo>
                      <a:pt x="134" y="0"/>
                    </a:lnTo>
                    <a:lnTo>
                      <a:pt x="134" y="19"/>
                    </a:lnTo>
                    <a:lnTo>
                      <a:pt x="82" y="19"/>
                    </a:lnTo>
                    <a:lnTo>
                      <a:pt x="82" y="64"/>
                    </a:lnTo>
                    <a:lnTo>
                      <a:pt x="68" y="68"/>
                    </a:lnTo>
                    <a:lnTo>
                      <a:pt x="66" y="69"/>
                    </a:lnTo>
                    <a:lnTo>
                      <a:pt x="64" y="75"/>
                    </a:lnTo>
                    <a:lnTo>
                      <a:pt x="66" y="100"/>
                    </a:lnTo>
                    <a:lnTo>
                      <a:pt x="59" y="10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77" name="Freeform 2428"/>
              <p:cNvSpPr>
                <a:spLocks/>
              </p:cNvSpPr>
              <p:nvPr/>
            </p:nvSpPr>
            <p:spPr bwMode="auto">
              <a:xfrm>
                <a:off x="3048" y="2843"/>
                <a:ext cx="187" cy="161"/>
              </a:xfrm>
              <a:custGeom>
                <a:avLst/>
                <a:gdLst>
                  <a:gd name="T0" fmla="*/ 36 w 187"/>
                  <a:gd name="T1" fmla="*/ 77 h 161"/>
                  <a:gd name="T2" fmla="*/ 30 w 187"/>
                  <a:gd name="T3" fmla="*/ 75 h 161"/>
                  <a:gd name="T4" fmla="*/ 34 w 187"/>
                  <a:gd name="T5" fmla="*/ 45 h 161"/>
                  <a:gd name="T6" fmla="*/ 32 w 187"/>
                  <a:gd name="T7" fmla="*/ 43 h 161"/>
                  <a:gd name="T8" fmla="*/ 39 w 187"/>
                  <a:gd name="T9" fmla="*/ 45 h 161"/>
                  <a:gd name="T10" fmla="*/ 41 w 187"/>
                  <a:gd name="T11" fmla="*/ 50 h 161"/>
                  <a:gd name="T12" fmla="*/ 52 w 187"/>
                  <a:gd name="T13" fmla="*/ 47 h 161"/>
                  <a:gd name="T14" fmla="*/ 55 w 187"/>
                  <a:gd name="T15" fmla="*/ 54 h 161"/>
                  <a:gd name="T16" fmla="*/ 80 w 187"/>
                  <a:gd name="T17" fmla="*/ 57 h 161"/>
                  <a:gd name="T18" fmla="*/ 94 w 187"/>
                  <a:gd name="T19" fmla="*/ 66 h 161"/>
                  <a:gd name="T20" fmla="*/ 102 w 187"/>
                  <a:gd name="T21" fmla="*/ 73 h 161"/>
                  <a:gd name="T22" fmla="*/ 118 w 187"/>
                  <a:gd name="T23" fmla="*/ 81 h 161"/>
                  <a:gd name="T24" fmla="*/ 121 w 187"/>
                  <a:gd name="T25" fmla="*/ 82 h 161"/>
                  <a:gd name="T26" fmla="*/ 125 w 187"/>
                  <a:gd name="T27" fmla="*/ 82 h 161"/>
                  <a:gd name="T28" fmla="*/ 121 w 187"/>
                  <a:gd name="T29" fmla="*/ 64 h 161"/>
                  <a:gd name="T30" fmla="*/ 111 w 187"/>
                  <a:gd name="T31" fmla="*/ 64 h 161"/>
                  <a:gd name="T32" fmla="*/ 111 w 187"/>
                  <a:gd name="T33" fmla="*/ 29 h 161"/>
                  <a:gd name="T34" fmla="*/ 116 w 187"/>
                  <a:gd name="T35" fmla="*/ 6 h 161"/>
                  <a:gd name="T36" fmla="*/ 137 w 187"/>
                  <a:gd name="T37" fmla="*/ 4 h 161"/>
                  <a:gd name="T38" fmla="*/ 141 w 187"/>
                  <a:gd name="T39" fmla="*/ 7 h 161"/>
                  <a:gd name="T40" fmla="*/ 148 w 187"/>
                  <a:gd name="T41" fmla="*/ 6 h 161"/>
                  <a:gd name="T42" fmla="*/ 175 w 187"/>
                  <a:gd name="T43" fmla="*/ 18 h 161"/>
                  <a:gd name="T44" fmla="*/ 177 w 187"/>
                  <a:gd name="T45" fmla="*/ 20 h 161"/>
                  <a:gd name="T46" fmla="*/ 177 w 187"/>
                  <a:gd name="T47" fmla="*/ 23 h 161"/>
                  <a:gd name="T48" fmla="*/ 184 w 187"/>
                  <a:gd name="T49" fmla="*/ 31 h 161"/>
                  <a:gd name="T50" fmla="*/ 187 w 187"/>
                  <a:gd name="T51" fmla="*/ 39 h 161"/>
                  <a:gd name="T52" fmla="*/ 186 w 187"/>
                  <a:gd name="T53" fmla="*/ 43 h 161"/>
                  <a:gd name="T54" fmla="*/ 182 w 187"/>
                  <a:gd name="T55" fmla="*/ 50 h 161"/>
                  <a:gd name="T56" fmla="*/ 182 w 187"/>
                  <a:gd name="T57" fmla="*/ 68 h 161"/>
                  <a:gd name="T58" fmla="*/ 184 w 187"/>
                  <a:gd name="T59" fmla="*/ 70 h 161"/>
                  <a:gd name="T60" fmla="*/ 178 w 187"/>
                  <a:gd name="T61" fmla="*/ 73 h 161"/>
                  <a:gd name="T62" fmla="*/ 173 w 187"/>
                  <a:gd name="T63" fmla="*/ 88 h 161"/>
                  <a:gd name="T64" fmla="*/ 175 w 187"/>
                  <a:gd name="T65" fmla="*/ 93 h 161"/>
                  <a:gd name="T66" fmla="*/ 178 w 187"/>
                  <a:gd name="T67" fmla="*/ 95 h 161"/>
                  <a:gd name="T68" fmla="*/ 132 w 187"/>
                  <a:gd name="T69" fmla="*/ 120 h 161"/>
                  <a:gd name="T70" fmla="*/ 130 w 187"/>
                  <a:gd name="T71" fmla="*/ 122 h 161"/>
                  <a:gd name="T72" fmla="*/ 125 w 187"/>
                  <a:gd name="T73" fmla="*/ 122 h 161"/>
                  <a:gd name="T74" fmla="*/ 114 w 187"/>
                  <a:gd name="T75" fmla="*/ 123 h 161"/>
                  <a:gd name="T76" fmla="*/ 107 w 187"/>
                  <a:gd name="T77" fmla="*/ 127 h 161"/>
                  <a:gd name="T78" fmla="*/ 98 w 187"/>
                  <a:gd name="T79" fmla="*/ 138 h 161"/>
                  <a:gd name="T80" fmla="*/ 94 w 187"/>
                  <a:gd name="T81" fmla="*/ 141 h 161"/>
                  <a:gd name="T82" fmla="*/ 91 w 187"/>
                  <a:gd name="T83" fmla="*/ 141 h 161"/>
                  <a:gd name="T84" fmla="*/ 87 w 187"/>
                  <a:gd name="T85" fmla="*/ 147 h 161"/>
                  <a:gd name="T86" fmla="*/ 84 w 187"/>
                  <a:gd name="T87" fmla="*/ 154 h 161"/>
                  <a:gd name="T88" fmla="*/ 73 w 187"/>
                  <a:gd name="T89" fmla="*/ 161 h 161"/>
                  <a:gd name="T90" fmla="*/ 71 w 187"/>
                  <a:gd name="T91" fmla="*/ 159 h 161"/>
                  <a:gd name="T92" fmla="*/ 62 w 187"/>
                  <a:gd name="T93" fmla="*/ 159 h 161"/>
                  <a:gd name="T94" fmla="*/ 52 w 187"/>
                  <a:gd name="T95" fmla="*/ 157 h 161"/>
                  <a:gd name="T96" fmla="*/ 46 w 187"/>
                  <a:gd name="T97" fmla="*/ 154 h 161"/>
                  <a:gd name="T98" fmla="*/ 34 w 187"/>
                  <a:gd name="T99" fmla="*/ 150 h 161"/>
                  <a:gd name="T100" fmla="*/ 16 w 187"/>
                  <a:gd name="T101" fmla="*/ 150 h 161"/>
                  <a:gd name="T102" fmla="*/ 0 w 187"/>
                  <a:gd name="T103"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7" h="161">
                    <a:moveTo>
                      <a:pt x="0" y="136"/>
                    </a:moveTo>
                    <a:lnTo>
                      <a:pt x="0" y="77"/>
                    </a:lnTo>
                    <a:lnTo>
                      <a:pt x="36" y="77"/>
                    </a:lnTo>
                    <a:lnTo>
                      <a:pt x="32" y="77"/>
                    </a:lnTo>
                    <a:lnTo>
                      <a:pt x="32" y="75"/>
                    </a:lnTo>
                    <a:lnTo>
                      <a:pt x="30" y="75"/>
                    </a:lnTo>
                    <a:lnTo>
                      <a:pt x="34" y="48"/>
                    </a:lnTo>
                    <a:lnTo>
                      <a:pt x="34" y="47"/>
                    </a:lnTo>
                    <a:lnTo>
                      <a:pt x="34" y="45"/>
                    </a:lnTo>
                    <a:lnTo>
                      <a:pt x="34" y="45"/>
                    </a:lnTo>
                    <a:lnTo>
                      <a:pt x="34" y="43"/>
                    </a:lnTo>
                    <a:lnTo>
                      <a:pt x="32" y="43"/>
                    </a:lnTo>
                    <a:lnTo>
                      <a:pt x="37" y="41"/>
                    </a:lnTo>
                    <a:lnTo>
                      <a:pt x="37" y="43"/>
                    </a:lnTo>
                    <a:lnTo>
                      <a:pt x="39" y="45"/>
                    </a:lnTo>
                    <a:lnTo>
                      <a:pt x="39" y="48"/>
                    </a:lnTo>
                    <a:lnTo>
                      <a:pt x="39" y="50"/>
                    </a:lnTo>
                    <a:lnTo>
                      <a:pt x="41" y="50"/>
                    </a:lnTo>
                    <a:lnTo>
                      <a:pt x="46" y="48"/>
                    </a:lnTo>
                    <a:lnTo>
                      <a:pt x="48" y="48"/>
                    </a:lnTo>
                    <a:lnTo>
                      <a:pt x="52" y="47"/>
                    </a:lnTo>
                    <a:lnTo>
                      <a:pt x="53" y="50"/>
                    </a:lnTo>
                    <a:lnTo>
                      <a:pt x="53" y="52"/>
                    </a:lnTo>
                    <a:lnTo>
                      <a:pt x="55" y="54"/>
                    </a:lnTo>
                    <a:lnTo>
                      <a:pt x="68" y="59"/>
                    </a:lnTo>
                    <a:lnTo>
                      <a:pt x="71" y="61"/>
                    </a:lnTo>
                    <a:lnTo>
                      <a:pt x="80" y="57"/>
                    </a:lnTo>
                    <a:lnTo>
                      <a:pt x="82" y="57"/>
                    </a:lnTo>
                    <a:lnTo>
                      <a:pt x="87" y="63"/>
                    </a:lnTo>
                    <a:lnTo>
                      <a:pt x="94" y="66"/>
                    </a:lnTo>
                    <a:lnTo>
                      <a:pt x="98" y="66"/>
                    </a:lnTo>
                    <a:lnTo>
                      <a:pt x="100" y="68"/>
                    </a:lnTo>
                    <a:lnTo>
                      <a:pt x="102" y="73"/>
                    </a:lnTo>
                    <a:lnTo>
                      <a:pt x="111" y="79"/>
                    </a:lnTo>
                    <a:lnTo>
                      <a:pt x="116" y="81"/>
                    </a:lnTo>
                    <a:lnTo>
                      <a:pt x="118" y="81"/>
                    </a:lnTo>
                    <a:lnTo>
                      <a:pt x="119" y="81"/>
                    </a:lnTo>
                    <a:lnTo>
                      <a:pt x="119" y="81"/>
                    </a:lnTo>
                    <a:lnTo>
                      <a:pt x="121" y="82"/>
                    </a:lnTo>
                    <a:lnTo>
                      <a:pt x="123" y="82"/>
                    </a:lnTo>
                    <a:lnTo>
                      <a:pt x="125" y="82"/>
                    </a:lnTo>
                    <a:lnTo>
                      <a:pt x="125" y="82"/>
                    </a:lnTo>
                    <a:lnTo>
                      <a:pt x="123" y="68"/>
                    </a:lnTo>
                    <a:lnTo>
                      <a:pt x="123" y="66"/>
                    </a:lnTo>
                    <a:lnTo>
                      <a:pt x="121" y="64"/>
                    </a:lnTo>
                    <a:lnTo>
                      <a:pt x="119" y="66"/>
                    </a:lnTo>
                    <a:lnTo>
                      <a:pt x="112" y="66"/>
                    </a:lnTo>
                    <a:lnTo>
                      <a:pt x="111" y="64"/>
                    </a:lnTo>
                    <a:lnTo>
                      <a:pt x="105" y="57"/>
                    </a:lnTo>
                    <a:lnTo>
                      <a:pt x="105" y="56"/>
                    </a:lnTo>
                    <a:lnTo>
                      <a:pt x="111" y="29"/>
                    </a:lnTo>
                    <a:lnTo>
                      <a:pt x="109" y="16"/>
                    </a:lnTo>
                    <a:lnTo>
                      <a:pt x="114" y="6"/>
                    </a:lnTo>
                    <a:lnTo>
                      <a:pt x="116" y="6"/>
                    </a:lnTo>
                    <a:lnTo>
                      <a:pt x="137" y="0"/>
                    </a:lnTo>
                    <a:lnTo>
                      <a:pt x="137" y="2"/>
                    </a:lnTo>
                    <a:lnTo>
                      <a:pt x="137" y="4"/>
                    </a:lnTo>
                    <a:lnTo>
                      <a:pt x="137" y="6"/>
                    </a:lnTo>
                    <a:lnTo>
                      <a:pt x="139" y="7"/>
                    </a:lnTo>
                    <a:lnTo>
                      <a:pt x="141" y="7"/>
                    </a:lnTo>
                    <a:lnTo>
                      <a:pt x="144" y="9"/>
                    </a:lnTo>
                    <a:lnTo>
                      <a:pt x="146" y="6"/>
                    </a:lnTo>
                    <a:lnTo>
                      <a:pt x="148" y="6"/>
                    </a:lnTo>
                    <a:lnTo>
                      <a:pt x="152" y="7"/>
                    </a:lnTo>
                    <a:lnTo>
                      <a:pt x="157" y="13"/>
                    </a:lnTo>
                    <a:lnTo>
                      <a:pt x="175" y="18"/>
                    </a:lnTo>
                    <a:lnTo>
                      <a:pt x="175" y="18"/>
                    </a:lnTo>
                    <a:lnTo>
                      <a:pt x="177" y="20"/>
                    </a:lnTo>
                    <a:lnTo>
                      <a:pt x="177" y="20"/>
                    </a:lnTo>
                    <a:lnTo>
                      <a:pt x="177" y="22"/>
                    </a:lnTo>
                    <a:lnTo>
                      <a:pt x="177" y="22"/>
                    </a:lnTo>
                    <a:lnTo>
                      <a:pt x="177" y="23"/>
                    </a:lnTo>
                    <a:lnTo>
                      <a:pt x="180" y="23"/>
                    </a:lnTo>
                    <a:lnTo>
                      <a:pt x="182" y="29"/>
                    </a:lnTo>
                    <a:lnTo>
                      <a:pt x="184" y="31"/>
                    </a:lnTo>
                    <a:lnTo>
                      <a:pt x="186" y="32"/>
                    </a:lnTo>
                    <a:lnTo>
                      <a:pt x="186" y="38"/>
                    </a:lnTo>
                    <a:lnTo>
                      <a:pt x="187" y="39"/>
                    </a:lnTo>
                    <a:lnTo>
                      <a:pt x="187" y="41"/>
                    </a:lnTo>
                    <a:lnTo>
                      <a:pt x="187" y="41"/>
                    </a:lnTo>
                    <a:lnTo>
                      <a:pt x="186" y="43"/>
                    </a:lnTo>
                    <a:lnTo>
                      <a:pt x="184" y="43"/>
                    </a:lnTo>
                    <a:lnTo>
                      <a:pt x="184" y="45"/>
                    </a:lnTo>
                    <a:lnTo>
                      <a:pt x="182" y="50"/>
                    </a:lnTo>
                    <a:lnTo>
                      <a:pt x="180" y="54"/>
                    </a:lnTo>
                    <a:lnTo>
                      <a:pt x="182" y="66"/>
                    </a:lnTo>
                    <a:lnTo>
                      <a:pt x="182" y="68"/>
                    </a:lnTo>
                    <a:lnTo>
                      <a:pt x="184" y="68"/>
                    </a:lnTo>
                    <a:lnTo>
                      <a:pt x="184" y="70"/>
                    </a:lnTo>
                    <a:lnTo>
                      <a:pt x="184" y="70"/>
                    </a:lnTo>
                    <a:lnTo>
                      <a:pt x="180" y="72"/>
                    </a:lnTo>
                    <a:lnTo>
                      <a:pt x="180" y="72"/>
                    </a:lnTo>
                    <a:lnTo>
                      <a:pt x="178" y="73"/>
                    </a:lnTo>
                    <a:lnTo>
                      <a:pt x="177" y="73"/>
                    </a:lnTo>
                    <a:lnTo>
                      <a:pt x="175" y="86"/>
                    </a:lnTo>
                    <a:lnTo>
                      <a:pt x="173" y="88"/>
                    </a:lnTo>
                    <a:lnTo>
                      <a:pt x="173" y="89"/>
                    </a:lnTo>
                    <a:lnTo>
                      <a:pt x="173" y="91"/>
                    </a:lnTo>
                    <a:lnTo>
                      <a:pt x="175" y="93"/>
                    </a:lnTo>
                    <a:lnTo>
                      <a:pt x="175" y="95"/>
                    </a:lnTo>
                    <a:lnTo>
                      <a:pt x="178" y="95"/>
                    </a:lnTo>
                    <a:lnTo>
                      <a:pt x="178" y="95"/>
                    </a:lnTo>
                    <a:lnTo>
                      <a:pt x="178" y="95"/>
                    </a:lnTo>
                    <a:lnTo>
                      <a:pt x="128" y="113"/>
                    </a:lnTo>
                    <a:lnTo>
                      <a:pt x="132" y="120"/>
                    </a:lnTo>
                    <a:lnTo>
                      <a:pt x="132" y="122"/>
                    </a:lnTo>
                    <a:lnTo>
                      <a:pt x="132" y="122"/>
                    </a:lnTo>
                    <a:lnTo>
                      <a:pt x="130" y="122"/>
                    </a:lnTo>
                    <a:lnTo>
                      <a:pt x="128" y="122"/>
                    </a:lnTo>
                    <a:lnTo>
                      <a:pt x="127" y="122"/>
                    </a:lnTo>
                    <a:lnTo>
                      <a:pt x="125" y="122"/>
                    </a:lnTo>
                    <a:lnTo>
                      <a:pt x="123" y="120"/>
                    </a:lnTo>
                    <a:lnTo>
                      <a:pt x="119" y="122"/>
                    </a:lnTo>
                    <a:lnTo>
                      <a:pt x="114" y="123"/>
                    </a:lnTo>
                    <a:lnTo>
                      <a:pt x="111" y="125"/>
                    </a:lnTo>
                    <a:lnTo>
                      <a:pt x="109" y="127"/>
                    </a:lnTo>
                    <a:lnTo>
                      <a:pt x="107" y="127"/>
                    </a:lnTo>
                    <a:lnTo>
                      <a:pt x="107" y="136"/>
                    </a:lnTo>
                    <a:lnTo>
                      <a:pt x="100" y="136"/>
                    </a:lnTo>
                    <a:lnTo>
                      <a:pt x="98" y="138"/>
                    </a:lnTo>
                    <a:lnTo>
                      <a:pt x="98" y="138"/>
                    </a:lnTo>
                    <a:lnTo>
                      <a:pt x="96" y="138"/>
                    </a:lnTo>
                    <a:lnTo>
                      <a:pt x="94" y="141"/>
                    </a:lnTo>
                    <a:lnTo>
                      <a:pt x="93" y="141"/>
                    </a:lnTo>
                    <a:lnTo>
                      <a:pt x="91" y="141"/>
                    </a:lnTo>
                    <a:lnTo>
                      <a:pt x="91" y="141"/>
                    </a:lnTo>
                    <a:lnTo>
                      <a:pt x="89" y="143"/>
                    </a:lnTo>
                    <a:lnTo>
                      <a:pt x="89" y="143"/>
                    </a:lnTo>
                    <a:lnTo>
                      <a:pt x="87" y="147"/>
                    </a:lnTo>
                    <a:lnTo>
                      <a:pt x="84" y="150"/>
                    </a:lnTo>
                    <a:lnTo>
                      <a:pt x="84" y="152"/>
                    </a:lnTo>
                    <a:lnTo>
                      <a:pt x="84" y="154"/>
                    </a:lnTo>
                    <a:lnTo>
                      <a:pt x="78" y="161"/>
                    </a:lnTo>
                    <a:lnTo>
                      <a:pt x="77" y="161"/>
                    </a:lnTo>
                    <a:lnTo>
                      <a:pt x="73" y="161"/>
                    </a:lnTo>
                    <a:lnTo>
                      <a:pt x="73" y="161"/>
                    </a:lnTo>
                    <a:lnTo>
                      <a:pt x="71" y="159"/>
                    </a:lnTo>
                    <a:lnTo>
                      <a:pt x="71" y="159"/>
                    </a:lnTo>
                    <a:lnTo>
                      <a:pt x="68" y="159"/>
                    </a:lnTo>
                    <a:lnTo>
                      <a:pt x="68" y="159"/>
                    </a:lnTo>
                    <a:lnTo>
                      <a:pt x="62" y="159"/>
                    </a:lnTo>
                    <a:lnTo>
                      <a:pt x="59" y="157"/>
                    </a:lnTo>
                    <a:lnTo>
                      <a:pt x="53" y="159"/>
                    </a:lnTo>
                    <a:lnTo>
                      <a:pt x="52" y="157"/>
                    </a:lnTo>
                    <a:lnTo>
                      <a:pt x="50" y="157"/>
                    </a:lnTo>
                    <a:lnTo>
                      <a:pt x="48" y="157"/>
                    </a:lnTo>
                    <a:lnTo>
                      <a:pt x="46" y="154"/>
                    </a:lnTo>
                    <a:lnTo>
                      <a:pt x="44" y="152"/>
                    </a:lnTo>
                    <a:lnTo>
                      <a:pt x="36" y="152"/>
                    </a:lnTo>
                    <a:lnTo>
                      <a:pt x="34" y="150"/>
                    </a:lnTo>
                    <a:lnTo>
                      <a:pt x="19" y="154"/>
                    </a:lnTo>
                    <a:lnTo>
                      <a:pt x="18" y="152"/>
                    </a:lnTo>
                    <a:lnTo>
                      <a:pt x="16" y="150"/>
                    </a:lnTo>
                    <a:lnTo>
                      <a:pt x="3" y="141"/>
                    </a:lnTo>
                    <a:lnTo>
                      <a:pt x="3" y="139"/>
                    </a:lnTo>
                    <a:lnTo>
                      <a:pt x="0" y="138"/>
                    </a:lnTo>
                    <a:lnTo>
                      <a:pt x="0" y="13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78" name="Freeform 2429"/>
              <p:cNvSpPr>
                <a:spLocks/>
              </p:cNvSpPr>
              <p:nvPr/>
            </p:nvSpPr>
            <p:spPr bwMode="auto">
              <a:xfrm>
                <a:off x="3048" y="2843"/>
                <a:ext cx="187" cy="161"/>
              </a:xfrm>
              <a:custGeom>
                <a:avLst/>
                <a:gdLst>
                  <a:gd name="T0" fmla="*/ 36 w 187"/>
                  <a:gd name="T1" fmla="*/ 77 h 161"/>
                  <a:gd name="T2" fmla="*/ 30 w 187"/>
                  <a:gd name="T3" fmla="*/ 75 h 161"/>
                  <a:gd name="T4" fmla="*/ 34 w 187"/>
                  <a:gd name="T5" fmla="*/ 45 h 161"/>
                  <a:gd name="T6" fmla="*/ 32 w 187"/>
                  <a:gd name="T7" fmla="*/ 43 h 161"/>
                  <a:gd name="T8" fmla="*/ 39 w 187"/>
                  <a:gd name="T9" fmla="*/ 45 h 161"/>
                  <a:gd name="T10" fmla="*/ 41 w 187"/>
                  <a:gd name="T11" fmla="*/ 50 h 161"/>
                  <a:gd name="T12" fmla="*/ 52 w 187"/>
                  <a:gd name="T13" fmla="*/ 47 h 161"/>
                  <a:gd name="T14" fmla="*/ 55 w 187"/>
                  <a:gd name="T15" fmla="*/ 54 h 161"/>
                  <a:gd name="T16" fmla="*/ 80 w 187"/>
                  <a:gd name="T17" fmla="*/ 57 h 161"/>
                  <a:gd name="T18" fmla="*/ 94 w 187"/>
                  <a:gd name="T19" fmla="*/ 66 h 161"/>
                  <a:gd name="T20" fmla="*/ 102 w 187"/>
                  <a:gd name="T21" fmla="*/ 73 h 161"/>
                  <a:gd name="T22" fmla="*/ 118 w 187"/>
                  <a:gd name="T23" fmla="*/ 81 h 161"/>
                  <a:gd name="T24" fmla="*/ 121 w 187"/>
                  <a:gd name="T25" fmla="*/ 82 h 161"/>
                  <a:gd name="T26" fmla="*/ 125 w 187"/>
                  <a:gd name="T27" fmla="*/ 82 h 161"/>
                  <a:gd name="T28" fmla="*/ 121 w 187"/>
                  <a:gd name="T29" fmla="*/ 64 h 161"/>
                  <a:gd name="T30" fmla="*/ 111 w 187"/>
                  <a:gd name="T31" fmla="*/ 64 h 161"/>
                  <a:gd name="T32" fmla="*/ 111 w 187"/>
                  <a:gd name="T33" fmla="*/ 29 h 161"/>
                  <a:gd name="T34" fmla="*/ 116 w 187"/>
                  <a:gd name="T35" fmla="*/ 6 h 161"/>
                  <a:gd name="T36" fmla="*/ 137 w 187"/>
                  <a:gd name="T37" fmla="*/ 4 h 161"/>
                  <a:gd name="T38" fmla="*/ 141 w 187"/>
                  <a:gd name="T39" fmla="*/ 7 h 161"/>
                  <a:gd name="T40" fmla="*/ 148 w 187"/>
                  <a:gd name="T41" fmla="*/ 6 h 161"/>
                  <a:gd name="T42" fmla="*/ 175 w 187"/>
                  <a:gd name="T43" fmla="*/ 18 h 161"/>
                  <a:gd name="T44" fmla="*/ 177 w 187"/>
                  <a:gd name="T45" fmla="*/ 20 h 161"/>
                  <a:gd name="T46" fmla="*/ 177 w 187"/>
                  <a:gd name="T47" fmla="*/ 23 h 161"/>
                  <a:gd name="T48" fmla="*/ 184 w 187"/>
                  <a:gd name="T49" fmla="*/ 31 h 161"/>
                  <a:gd name="T50" fmla="*/ 187 w 187"/>
                  <a:gd name="T51" fmla="*/ 39 h 161"/>
                  <a:gd name="T52" fmla="*/ 186 w 187"/>
                  <a:gd name="T53" fmla="*/ 43 h 161"/>
                  <a:gd name="T54" fmla="*/ 182 w 187"/>
                  <a:gd name="T55" fmla="*/ 50 h 161"/>
                  <a:gd name="T56" fmla="*/ 182 w 187"/>
                  <a:gd name="T57" fmla="*/ 68 h 161"/>
                  <a:gd name="T58" fmla="*/ 184 w 187"/>
                  <a:gd name="T59" fmla="*/ 70 h 161"/>
                  <a:gd name="T60" fmla="*/ 178 w 187"/>
                  <a:gd name="T61" fmla="*/ 73 h 161"/>
                  <a:gd name="T62" fmla="*/ 173 w 187"/>
                  <a:gd name="T63" fmla="*/ 88 h 161"/>
                  <a:gd name="T64" fmla="*/ 175 w 187"/>
                  <a:gd name="T65" fmla="*/ 93 h 161"/>
                  <a:gd name="T66" fmla="*/ 178 w 187"/>
                  <a:gd name="T67" fmla="*/ 95 h 161"/>
                  <a:gd name="T68" fmla="*/ 132 w 187"/>
                  <a:gd name="T69" fmla="*/ 120 h 161"/>
                  <a:gd name="T70" fmla="*/ 130 w 187"/>
                  <a:gd name="T71" fmla="*/ 122 h 161"/>
                  <a:gd name="T72" fmla="*/ 125 w 187"/>
                  <a:gd name="T73" fmla="*/ 122 h 161"/>
                  <a:gd name="T74" fmla="*/ 114 w 187"/>
                  <a:gd name="T75" fmla="*/ 123 h 161"/>
                  <a:gd name="T76" fmla="*/ 107 w 187"/>
                  <a:gd name="T77" fmla="*/ 127 h 161"/>
                  <a:gd name="T78" fmla="*/ 98 w 187"/>
                  <a:gd name="T79" fmla="*/ 138 h 161"/>
                  <a:gd name="T80" fmla="*/ 94 w 187"/>
                  <a:gd name="T81" fmla="*/ 141 h 161"/>
                  <a:gd name="T82" fmla="*/ 91 w 187"/>
                  <a:gd name="T83" fmla="*/ 141 h 161"/>
                  <a:gd name="T84" fmla="*/ 87 w 187"/>
                  <a:gd name="T85" fmla="*/ 147 h 161"/>
                  <a:gd name="T86" fmla="*/ 84 w 187"/>
                  <a:gd name="T87" fmla="*/ 154 h 161"/>
                  <a:gd name="T88" fmla="*/ 73 w 187"/>
                  <a:gd name="T89" fmla="*/ 161 h 161"/>
                  <a:gd name="T90" fmla="*/ 71 w 187"/>
                  <a:gd name="T91" fmla="*/ 159 h 161"/>
                  <a:gd name="T92" fmla="*/ 62 w 187"/>
                  <a:gd name="T93" fmla="*/ 159 h 161"/>
                  <a:gd name="T94" fmla="*/ 52 w 187"/>
                  <a:gd name="T95" fmla="*/ 157 h 161"/>
                  <a:gd name="T96" fmla="*/ 46 w 187"/>
                  <a:gd name="T97" fmla="*/ 154 h 161"/>
                  <a:gd name="T98" fmla="*/ 34 w 187"/>
                  <a:gd name="T99" fmla="*/ 150 h 161"/>
                  <a:gd name="T100" fmla="*/ 16 w 187"/>
                  <a:gd name="T101" fmla="*/ 150 h 161"/>
                  <a:gd name="T102" fmla="*/ 0 w 187"/>
                  <a:gd name="T103" fmla="*/ 1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7" h="161">
                    <a:moveTo>
                      <a:pt x="0" y="136"/>
                    </a:moveTo>
                    <a:lnTo>
                      <a:pt x="0" y="77"/>
                    </a:lnTo>
                    <a:lnTo>
                      <a:pt x="36" y="77"/>
                    </a:lnTo>
                    <a:lnTo>
                      <a:pt x="32" y="77"/>
                    </a:lnTo>
                    <a:lnTo>
                      <a:pt x="32" y="75"/>
                    </a:lnTo>
                    <a:lnTo>
                      <a:pt x="30" y="75"/>
                    </a:lnTo>
                    <a:lnTo>
                      <a:pt x="34" y="48"/>
                    </a:lnTo>
                    <a:lnTo>
                      <a:pt x="34" y="47"/>
                    </a:lnTo>
                    <a:lnTo>
                      <a:pt x="34" y="45"/>
                    </a:lnTo>
                    <a:lnTo>
                      <a:pt x="34" y="45"/>
                    </a:lnTo>
                    <a:lnTo>
                      <a:pt x="34" y="43"/>
                    </a:lnTo>
                    <a:lnTo>
                      <a:pt x="32" y="43"/>
                    </a:lnTo>
                    <a:lnTo>
                      <a:pt x="37" y="41"/>
                    </a:lnTo>
                    <a:lnTo>
                      <a:pt x="37" y="43"/>
                    </a:lnTo>
                    <a:lnTo>
                      <a:pt x="39" y="45"/>
                    </a:lnTo>
                    <a:lnTo>
                      <a:pt x="39" y="48"/>
                    </a:lnTo>
                    <a:lnTo>
                      <a:pt x="39" y="50"/>
                    </a:lnTo>
                    <a:lnTo>
                      <a:pt x="41" y="50"/>
                    </a:lnTo>
                    <a:lnTo>
                      <a:pt x="46" y="48"/>
                    </a:lnTo>
                    <a:lnTo>
                      <a:pt x="48" y="48"/>
                    </a:lnTo>
                    <a:lnTo>
                      <a:pt x="52" y="47"/>
                    </a:lnTo>
                    <a:lnTo>
                      <a:pt x="53" y="50"/>
                    </a:lnTo>
                    <a:lnTo>
                      <a:pt x="53" y="52"/>
                    </a:lnTo>
                    <a:lnTo>
                      <a:pt x="55" y="54"/>
                    </a:lnTo>
                    <a:lnTo>
                      <a:pt x="68" y="59"/>
                    </a:lnTo>
                    <a:lnTo>
                      <a:pt x="71" y="61"/>
                    </a:lnTo>
                    <a:lnTo>
                      <a:pt x="80" y="57"/>
                    </a:lnTo>
                    <a:lnTo>
                      <a:pt x="82" y="57"/>
                    </a:lnTo>
                    <a:lnTo>
                      <a:pt x="87" y="63"/>
                    </a:lnTo>
                    <a:lnTo>
                      <a:pt x="94" y="66"/>
                    </a:lnTo>
                    <a:lnTo>
                      <a:pt x="98" y="66"/>
                    </a:lnTo>
                    <a:lnTo>
                      <a:pt x="100" y="68"/>
                    </a:lnTo>
                    <a:lnTo>
                      <a:pt x="102" y="73"/>
                    </a:lnTo>
                    <a:lnTo>
                      <a:pt x="111" y="79"/>
                    </a:lnTo>
                    <a:lnTo>
                      <a:pt x="116" y="81"/>
                    </a:lnTo>
                    <a:lnTo>
                      <a:pt x="118" y="81"/>
                    </a:lnTo>
                    <a:lnTo>
                      <a:pt x="119" y="81"/>
                    </a:lnTo>
                    <a:lnTo>
                      <a:pt x="119" y="81"/>
                    </a:lnTo>
                    <a:lnTo>
                      <a:pt x="121" y="82"/>
                    </a:lnTo>
                    <a:lnTo>
                      <a:pt x="123" y="82"/>
                    </a:lnTo>
                    <a:lnTo>
                      <a:pt x="125" y="82"/>
                    </a:lnTo>
                    <a:lnTo>
                      <a:pt x="125" y="82"/>
                    </a:lnTo>
                    <a:lnTo>
                      <a:pt x="123" y="68"/>
                    </a:lnTo>
                    <a:lnTo>
                      <a:pt x="123" y="66"/>
                    </a:lnTo>
                    <a:lnTo>
                      <a:pt x="121" y="64"/>
                    </a:lnTo>
                    <a:lnTo>
                      <a:pt x="119" y="66"/>
                    </a:lnTo>
                    <a:lnTo>
                      <a:pt x="112" y="66"/>
                    </a:lnTo>
                    <a:lnTo>
                      <a:pt x="111" y="64"/>
                    </a:lnTo>
                    <a:lnTo>
                      <a:pt x="105" y="57"/>
                    </a:lnTo>
                    <a:lnTo>
                      <a:pt x="105" y="56"/>
                    </a:lnTo>
                    <a:lnTo>
                      <a:pt x="111" y="29"/>
                    </a:lnTo>
                    <a:lnTo>
                      <a:pt x="109" y="16"/>
                    </a:lnTo>
                    <a:lnTo>
                      <a:pt x="114" y="6"/>
                    </a:lnTo>
                    <a:lnTo>
                      <a:pt x="116" y="6"/>
                    </a:lnTo>
                    <a:lnTo>
                      <a:pt x="137" y="0"/>
                    </a:lnTo>
                    <a:lnTo>
                      <a:pt x="137" y="2"/>
                    </a:lnTo>
                    <a:lnTo>
                      <a:pt x="137" y="4"/>
                    </a:lnTo>
                    <a:lnTo>
                      <a:pt x="137" y="6"/>
                    </a:lnTo>
                    <a:lnTo>
                      <a:pt x="139" y="7"/>
                    </a:lnTo>
                    <a:lnTo>
                      <a:pt x="141" y="7"/>
                    </a:lnTo>
                    <a:lnTo>
                      <a:pt x="144" y="9"/>
                    </a:lnTo>
                    <a:lnTo>
                      <a:pt x="146" y="6"/>
                    </a:lnTo>
                    <a:lnTo>
                      <a:pt x="148" y="6"/>
                    </a:lnTo>
                    <a:lnTo>
                      <a:pt x="152" y="7"/>
                    </a:lnTo>
                    <a:lnTo>
                      <a:pt x="157" y="13"/>
                    </a:lnTo>
                    <a:lnTo>
                      <a:pt x="175" y="18"/>
                    </a:lnTo>
                    <a:lnTo>
                      <a:pt x="175" y="18"/>
                    </a:lnTo>
                    <a:lnTo>
                      <a:pt x="177" y="20"/>
                    </a:lnTo>
                    <a:lnTo>
                      <a:pt x="177" y="20"/>
                    </a:lnTo>
                    <a:lnTo>
                      <a:pt x="177" y="22"/>
                    </a:lnTo>
                    <a:lnTo>
                      <a:pt x="177" y="22"/>
                    </a:lnTo>
                    <a:lnTo>
                      <a:pt x="177" y="23"/>
                    </a:lnTo>
                    <a:lnTo>
                      <a:pt x="180" y="23"/>
                    </a:lnTo>
                    <a:lnTo>
                      <a:pt x="182" y="29"/>
                    </a:lnTo>
                    <a:lnTo>
                      <a:pt x="184" y="31"/>
                    </a:lnTo>
                    <a:lnTo>
                      <a:pt x="186" y="32"/>
                    </a:lnTo>
                    <a:lnTo>
                      <a:pt x="186" y="38"/>
                    </a:lnTo>
                    <a:lnTo>
                      <a:pt x="187" y="39"/>
                    </a:lnTo>
                    <a:lnTo>
                      <a:pt x="187" y="41"/>
                    </a:lnTo>
                    <a:lnTo>
                      <a:pt x="187" y="41"/>
                    </a:lnTo>
                    <a:lnTo>
                      <a:pt x="186" y="43"/>
                    </a:lnTo>
                    <a:lnTo>
                      <a:pt x="184" y="43"/>
                    </a:lnTo>
                    <a:lnTo>
                      <a:pt x="184" y="45"/>
                    </a:lnTo>
                    <a:lnTo>
                      <a:pt x="182" y="50"/>
                    </a:lnTo>
                    <a:lnTo>
                      <a:pt x="180" y="54"/>
                    </a:lnTo>
                    <a:lnTo>
                      <a:pt x="182" y="66"/>
                    </a:lnTo>
                    <a:lnTo>
                      <a:pt x="182" y="68"/>
                    </a:lnTo>
                    <a:lnTo>
                      <a:pt x="184" y="68"/>
                    </a:lnTo>
                    <a:lnTo>
                      <a:pt x="184" y="70"/>
                    </a:lnTo>
                    <a:lnTo>
                      <a:pt x="184" y="70"/>
                    </a:lnTo>
                    <a:lnTo>
                      <a:pt x="180" y="72"/>
                    </a:lnTo>
                    <a:lnTo>
                      <a:pt x="180" y="72"/>
                    </a:lnTo>
                    <a:lnTo>
                      <a:pt x="178" y="73"/>
                    </a:lnTo>
                    <a:lnTo>
                      <a:pt x="177" y="73"/>
                    </a:lnTo>
                    <a:lnTo>
                      <a:pt x="175" y="86"/>
                    </a:lnTo>
                    <a:lnTo>
                      <a:pt x="173" y="88"/>
                    </a:lnTo>
                    <a:lnTo>
                      <a:pt x="173" y="89"/>
                    </a:lnTo>
                    <a:lnTo>
                      <a:pt x="173" y="91"/>
                    </a:lnTo>
                    <a:lnTo>
                      <a:pt x="175" y="93"/>
                    </a:lnTo>
                    <a:lnTo>
                      <a:pt x="175" y="95"/>
                    </a:lnTo>
                    <a:lnTo>
                      <a:pt x="178" y="95"/>
                    </a:lnTo>
                    <a:lnTo>
                      <a:pt x="178" y="95"/>
                    </a:lnTo>
                    <a:lnTo>
                      <a:pt x="178" y="95"/>
                    </a:lnTo>
                    <a:lnTo>
                      <a:pt x="128" y="113"/>
                    </a:lnTo>
                    <a:lnTo>
                      <a:pt x="132" y="120"/>
                    </a:lnTo>
                    <a:lnTo>
                      <a:pt x="132" y="122"/>
                    </a:lnTo>
                    <a:lnTo>
                      <a:pt x="132" y="122"/>
                    </a:lnTo>
                    <a:lnTo>
                      <a:pt x="130" y="122"/>
                    </a:lnTo>
                    <a:lnTo>
                      <a:pt x="128" y="122"/>
                    </a:lnTo>
                    <a:lnTo>
                      <a:pt x="127" y="122"/>
                    </a:lnTo>
                    <a:lnTo>
                      <a:pt x="125" y="122"/>
                    </a:lnTo>
                    <a:lnTo>
                      <a:pt x="123" y="120"/>
                    </a:lnTo>
                    <a:lnTo>
                      <a:pt x="119" y="122"/>
                    </a:lnTo>
                    <a:lnTo>
                      <a:pt x="114" y="123"/>
                    </a:lnTo>
                    <a:lnTo>
                      <a:pt x="111" y="125"/>
                    </a:lnTo>
                    <a:lnTo>
                      <a:pt x="109" y="127"/>
                    </a:lnTo>
                    <a:lnTo>
                      <a:pt x="107" y="127"/>
                    </a:lnTo>
                    <a:lnTo>
                      <a:pt x="107" y="136"/>
                    </a:lnTo>
                    <a:lnTo>
                      <a:pt x="100" y="136"/>
                    </a:lnTo>
                    <a:lnTo>
                      <a:pt x="98" y="138"/>
                    </a:lnTo>
                    <a:lnTo>
                      <a:pt x="98" y="138"/>
                    </a:lnTo>
                    <a:lnTo>
                      <a:pt x="96" y="138"/>
                    </a:lnTo>
                    <a:lnTo>
                      <a:pt x="94" y="141"/>
                    </a:lnTo>
                    <a:lnTo>
                      <a:pt x="93" y="141"/>
                    </a:lnTo>
                    <a:lnTo>
                      <a:pt x="91" y="141"/>
                    </a:lnTo>
                    <a:lnTo>
                      <a:pt x="91" y="141"/>
                    </a:lnTo>
                    <a:lnTo>
                      <a:pt x="89" y="143"/>
                    </a:lnTo>
                    <a:lnTo>
                      <a:pt x="89" y="143"/>
                    </a:lnTo>
                    <a:lnTo>
                      <a:pt x="87" y="147"/>
                    </a:lnTo>
                    <a:lnTo>
                      <a:pt x="84" y="150"/>
                    </a:lnTo>
                    <a:lnTo>
                      <a:pt x="84" y="152"/>
                    </a:lnTo>
                    <a:lnTo>
                      <a:pt x="84" y="154"/>
                    </a:lnTo>
                    <a:lnTo>
                      <a:pt x="78" y="161"/>
                    </a:lnTo>
                    <a:lnTo>
                      <a:pt x="77" y="161"/>
                    </a:lnTo>
                    <a:lnTo>
                      <a:pt x="73" y="161"/>
                    </a:lnTo>
                    <a:lnTo>
                      <a:pt x="73" y="161"/>
                    </a:lnTo>
                    <a:lnTo>
                      <a:pt x="71" y="159"/>
                    </a:lnTo>
                    <a:lnTo>
                      <a:pt x="71" y="159"/>
                    </a:lnTo>
                    <a:lnTo>
                      <a:pt x="68" y="159"/>
                    </a:lnTo>
                    <a:lnTo>
                      <a:pt x="68" y="159"/>
                    </a:lnTo>
                    <a:lnTo>
                      <a:pt x="62" y="159"/>
                    </a:lnTo>
                    <a:lnTo>
                      <a:pt x="59" y="157"/>
                    </a:lnTo>
                    <a:lnTo>
                      <a:pt x="53" y="159"/>
                    </a:lnTo>
                    <a:lnTo>
                      <a:pt x="52" y="157"/>
                    </a:lnTo>
                    <a:lnTo>
                      <a:pt x="50" y="157"/>
                    </a:lnTo>
                    <a:lnTo>
                      <a:pt x="48" y="157"/>
                    </a:lnTo>
                    <a:lnTo>
                      <a:pt x="46" y="154"/>
                    </a:lnTo>
                    <a:lnTo>
                      <a:pt x="44" y="152"/>
                    </a:lnTo>
                    <a:lnTo>
                      <a:pt x="36" y="152"/>
                    </a:lnTo>
                    <a:lnTo>
                      <a:pt x="34" y="150"/>
                    </a:lnTo>
                    <a:lnTo>
                      <a:pt x="19" y="154"/>
                    </a:lnTo>
                    <a:lnTo>
                      <a:pt x="18" y="152"/>
                    </a:lnTo>
                    <a:lnTo>
                      <a:pt x="16" y="150"/>
                    </a:lnTo>
                    <a:lnTo>
                      <a:pt x="3" y="141"/>
                    </a:lnTo>
                    <a:lnTo>
                      <a:pt x="3" y="139"/>
                    </a:lnTo>
                    <a:lnTo>
                      <a:pt x="0" y="138"/>
                    </a:lnTo>
                    <a:lnTo>
                      <a:pt x="0" y="136"/>
                    </a:lnTo>
                  </a:path>
                </a:pathLst>
              </a:custGeom>
              <a:solidFill>
                <a:srgbClr val="0E5990"/>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79" name="Freeform 2430"/>
              <p:cNvSpPr>
                <a:spLocks/>
              </p:cNvSpPr>
              <p:nvPr/>
            </p:nvSpPr>
            <p:spPr bwMode="auto">
              <a:xfrm>
                <a:off x="2812" y="2684"/>
                <a:ext cx="2" cy="4"/>
              </a:xfrm>
              <a:custGeom>
                <a:avLst/>
                <a:gdLst>
                  <a:gd name="T0" fmla="*/ 2 w 2"/>
                  <a:gd name="T1" fmla="*/ 0 h 4"/>
                  <a:gd name="T2" fmla="*/ 2 w 2"/>
                  <a:gd name="T3" fmla="*/ 0 h 4"/>
                  <a:gd name="T4" fmla="*/ 2 w 2"/>
                  <a:gd name="T5" fmla="*/ 2 h 4"/>
                  <a:gd name="T6" fmla="*/ 2 w 2"/>
                  <a:gd name="T7" fmla="*/ 4 h 4"/>
                  <a:gd name="T8" fmla="*/ 0 w 2"/>
                  <a:gd name="T9" fmla="*/ 4 h 4"/>
                  <a:gd name="T10" fmla="*/ 0 w 2"/>
                  <a:gd name="T11" fmla="*/ 2 h 4"/>
                  <a:gd name="T12" fmla="*/ 0 w 2"/>
                  <a:gd name="T13" fmla="*/ 0 h 4"/>
                  <a:gd name="T14" fmla="*/ 2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2" y="0"/>
                    </a:moveTo>
                    <a:lnTo>
                      <a:pt x="2" y="0"/>
                    </a:lnTo>
                    <a:lnTo>
                      <a:pt x="2" y="2"/>
                    </a:lnTo>
                    <a:lnTo>
                      <a:pt x="2" y="4"/>
                    </a:lnTo>
                    <a:lnTo>
                      <a:pt x="0" y="4"/>
                    </a:lnTo>
                    <a:lnTo>
                      <a:pt x="0" y="2"/>
                    </a:lnTo>
                    <a:lnTo>
                      <a:pt x="0"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80" name="Freeform 2431"/>
              <p:cNvSpPr>
                <a:spLocks/>
              </p:cNvSpPr>
              <p:nvPr/>
            </p:nvSpPr>
            <p:spPr bwMode="auto">
              <a:xfrm>
                <a:off x="2812" y="2684"/>
                <a:ext cx="2" cy="4"/>
              </a:xfrm>
              <a:custGeom>
                <a:avLst/>
                <a:gdLst>
                  <a:gd name="T0" fmla="*/ 2 w 2"/>
                  <a:gd name="T1" fmla="*/ 0 h 4"/>
                  <a:gd name="T2" fmla="*/ 2 w 2"/>
                  <a:gd name="T3" fmla="*/ 0 h 4"/>
                  <a:gd name="T4" fmla="*/ 2 w 2"/>
                  <a:gd name="T5" fmla="*/ 2 h 4"/>
                  <a:gd name="T6" fmla="*/ 2 w 2"/>
                  <a:gd name="T7" fmla="*/ 4 h 4"/>
                  <a:gd name="T8" fmla="*/ 0 w 2"/>
                  <a:gd name="T9" fmla="*/ 4 h 4"/>
                  <a:gd name="T10" fmla="*/ 0 w 2"/>
                  <a:gd name="T11" fmla="*/ 2 h 4"/>
                  <a:gd name="T12" fmla="*/ 0 w 2"/>
                  <a:gd name="T13" fmla="*/ 0 h 4"/>
                  <a:gd name="T14" fmla="*/ 2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2" y="0"/>
                    </a:moveTo>
                    <a:lnTo>
                      <a:pt x="2" y="0"/>
                    </a:lnTo>
                    <a:lnTo>
                      <a:pt x="2" y="2"/>
                    </a:lnTo>
                    <a:lnTo>
                      <a:pt x="2" y="4"/>
                    </a:lnTo>
                    <a:lnTo>
                      <a:pt x="0" y="4"/>
                    </a:lnTo>
                    <a:lnTo>
                      <a:pt x="0" y="2"/>
                    </a:lnTo>
                    <a:lnTo>
                      <a:pt x="0"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81" name="Freeform 2432"/>
              <p:cNvSpPr>
                <a:spLocks/>
              </p:cNvSpPr>
              <p:nvPr/>
            </p:nvSpPr>
            <p:spPr bwMode="auto">
              <a:xfrm>
                <a:off x="2800" y="2706"/>
                <a:ext cx="5" cy="5"/>
              </a:xfrm>
              <a:custGeom>
                <a:avLst/>
                <a:gdLst>
                  <a:gd name="T0" fmla="*/ 1 w 5"/>
                  <a:gd name="T1" fmla="*/ 0 h 5"/>
                  <a:gd name="T2" fmla="*/ 3 w 5"/>
                  <a:gd name="T3" fmla="*/ 0 h 5"/>
                  <a:gd name="T4" fmla="*/ 3 w 5"/>
                  <a:gd name="T5" fmla="*/ 0 h 5"/>
                  <a:gd name="T6" fmla="*/ 5 w 5"/>
                  <a:gd name="T7" fmla="*/ 1 h 5"/>
                  <a:gd name="T8" fmla="*/ 1 w 5"/>
                  <a:gd name="T9" fmla="*/ 5 h 5"/>
                  <a:gd name="T10" fmla="*/ 1 w 5"/>
                  <a:gd name="T11" fmla="*/ 5 h 5"/>
                  <a:gd name="T12" fmla="*/ 0 w 5"/>
                  <a:gd name="T13" fmla="*/ 3 h 5"/>
                  <a:gd name="T14" fmla="*/ 0 w 5"/>
                  <a:gd name="T15" fmla="*/ 1 h 5"/>
                  <a:gd name="T16" fmla="*/ 0 w 5"/>
                  <a:gd name="T17" fmla="*/ 1 h 5"/>
                  <a:gd name="T18" fmla="*/ 0 w 5"/>
                  <a:gd name="T19" fmla="*/ 0 h 5"/>
                  <a:gd name="T20" fmla="*/ 1 w 5"/>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5">
                    <a:moveTo>
                      <a:pt x="1" y="0"/>
                    </a:moveTo>
                    <a:lnTo>
                      <a:pt x="3" y="0"/>
                    </a:lnTo>
                    <a:lnTo>
                      <a:pt x="3" y="0"/>
                    </a:lnTo>
                    <a:lnTo>
                      <a:pt x="5" y="1"/>
                    </a:lnTo>
                    <a:lnTo>
                      <a:pt x="1" y="5"/>
                    </a:lnTo>
                    <a:lnTo>
                      <a:pt x="1" y="5"/>
                    </a:lnTo>
                    <a:lnTo>
                      <a:pt x="0" y="3"/>
                    </a:lnTo>
                    <a:lnTo>
                      <a:pt x="0" y="1"/>
                    </a:lnTo>
                    <a:lnTo>
                      <a:pt x="0" y="1"/>
                    </a:lnTo>
                    <a:lnTo>
                      <a:pt x="0" y="0"/>
                    </a:lnTo>
                    <a:lnTo>
                      <a:pt x="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82" name="Freeform 2433"/>
              <p:cNvSpPr>
                <a:spLocks/>
              </p:cNvSpPr>
              <p:nvPr/>
            </p:nvSpPr>
            <p:spPr bwMode="auto">
              <a:xfrm>
                <a:off x="2800" y="2706"/>
                <a:ext cx="5" cy="5"/>
              </a:xfrm>
              <a:custGeom>
                <a:avLst/>
                <a:gdLst>
                  <a:gd name="T0" fmla="*/ 1 w 5"/>
                  <a:gd name="T1" fmla="*/ 0 h 5"/>
                  <a:gd name="T2" fmla="*/ 3 w 5"/>
                  <a:gd name="T3" fmla="*/ 0 h 5"/>
                  <a:gd name="T4" fmla="*/ 3 w 5"/>
                  <a:gd name="T5" fmla="*/ 0 h 5"/>
                  <a:gd name="T6" fmla="*/ 5 w 5"/>
                  <a:gd name="T7" fmla="*/ 1 h 5"/>
                  <a:gd name="T8" fmla="*/ 1 w 5"/>
                  <a:gd name="T9" fmla="*/ 5 h 5"/>
                  <a:gd name="T10" fmla="*/ 1 w 5"/>
                  <a:gd name="T11" fmla="*/ 5 h 5"/>
                  <a:gd name="T12" fmla="*/ 0 w 5"/>
                  <a:gd name="T13" fmla="*/ 3 h 5"/>
                  <a:gd name="T14" fmla="*/ 0 w 5"/>
                  <a:gd name="T15" fmla="*/ 1 h 5"/>
                  <a:gd name="T16" fmla="*/ 0 w 5"/>
                  <a:gd name="T17" fmla="*/ 1 h 5"/>
                  <a:gd name="T18" fmla="*/ 0 w 5"/>
                  <a:gd name="T19" fmla="*/ 0 h 5"/>
                  <a:gd name="T20" fmla="*/ 1 w 5"/>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5">
                    <a:moveTo>
                      <a:pt x="1" y="0"/>
                    </a:moveTo>
                    <a:lnTo>
                      <a:pt x="3" y="0"/>
                    </a:lnTo>
                    <a:lnTo>
                      <a:pt x="3" y="0"/>
                    </a:lnTo>
                    <a:lnTo>
                      <a:pt x="5" y="1"/>
                    </a:lnTo>
                    <a:lnTo>
                      <a:pt x="1" y="5"/>
                    </a:lnTo>
                    <a:lnTo>
                      <a:pt x="1" y="5"/>
                    </a:lnTo>
                    <a:lnTo>
                      <a:pt x="0" y="3"/>
                    </a:lnTo>
                    <a:lnTo>
                      <a:pt x="0" y="1"/>
                    </a:lnTo>
                    <a:lnTo>
                      <a:pt x="0" y="1"/>
                    </a:lnTo>
                    <a:lnTo>
                      <a:pt x="0" y="0"/>
                    </a:lnTo>
                    <a:lnTo>
                      <a:pt x="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83" name="Freeform 2434"/>
              <p:cNvSpPr>
                <a:spLocks/>
              </p:cNvSpPr>
              <p:nvPr/>
            </p:nvSpPr>
            <p:spPr bwMode="auto">
              <a:xfrm>
                <a:off x="3241" y="2640"/>
                <a:ext cx="126" cy="146"/>
              </a:xfrm>
              <a:custGeom>
                <a:avLst/>
                <a:gdLst>
                  <a:gd name="T0" fmla="*/ 112 w 126"/>
                  <a:gd name="T1" fmla="*/ 75 h 146"/>
                  <a:gd name="T2" fmla="*/ 112 w 126"/>
                  <a:gd name="T3" fmla="*/ 28 h 146"/>
                  <a:gd name="T4" fmla="*/ 112 w 126"/>
                  <a:gd name="T5" fmla="*/ 28 h 146"/>
                  <a:gd name="T6" fmla="*/ 125 w 126"/>
                  <a:gd name="T7" fmla="*/ 12 h 146"/>
                  <a:gd name="T8" fmla="*/ 126 w 126"/>
                  <a:gd name="T9" fmla="*/ 10 h 146"/>
                  <a:gd name="T10" fmla="*/ 118 w 126"/>
                  <a:gd name="T11" fmla="*/ 10 h 146"/>
                  <a:gd name="T12" fmla="*/ 109 w 126"/>
                  <a:gd name="T13" fmla="*/ 5 h 146"/>
                  <a:gd name="T14" fmla="*/ 96 w 126"/>
                  <a:gd name="T15" fmla="*/ 9 h 146"/>
                  <a:gd name="T16" fmla="*/ 93 w 126"/>
                  <a:gd name="T17" fmla="*/ 14 h 146"/>
                  <a:gd name="T18" fmla="*/ 85 w 126"/>
                  <a:gd name="T19" fmla="*/ 17 h 146"/>
                  <a:gd name="T20" fmla="*/ 60 w 126"/>
                  <a:gd name="T21" fmla="*/ 12 h 146"/>
                  <a:gd name="T22" fmla="*/ 43 w 126"/>
                  <a:gd name="T23" fmla="*/ 0 h 146"/>
                  <a:gd name="T24" fmla="*/ 34 w 126"/>
                  <a:gd name="T25" fmla="*/ 1 h 146"/>
                  <a:gd name="T26" fmla="*/ 28 w 126"/>
                  <a:gd name="T27" fmla="*/ 0 h 146"/>
                  <a:gd name="T28" fmla="*/ 7 w 126"/>
                  <a:gd name="T29" fmla="*/ 0 h 146"/>
                  <a:gd name="T30" fmla="*/ 3 w 126"/>
                  <a:gd name="T31" fmla="*/ 1 h 146"/>
                  <a:gd name="T32" fmla="*/ 0 w 126"/>
                  <a:gd name="T33" fmla="*/ 9 h 146"/>
                  <a:gd name="T34" fmla="*/ 0 w 126"/>
                  <a:gd name="T35" fmla="*/ 9 h 146"/>
                  <a:gd name="T36" fmla="*/ 0 w 126"/>
                  <a:gd name="T37" fmla="*/ 9 h 146"/>
                  <a:gd name="T38" fmla="*/ 3 w 126"/>
                  <a:gd name="T39" fmla="*/ 9 h 146"/>
                  <a:gd name="T40" fmla="*/ 5 w 126"/>
                  <a:gd name="T41" fmla="*/ 10 h 146"/>
                  <a:gd name="T42" fmla="*/ 5 w 126"/>
                  <a:gd name="T43" fmla="*/ 12 h 146"/>
                  <a:gd name="T44" fmla="*/ 5 w 126"/>
                  <a:gd name="T45" fmla="*/ 12 h 146"/>
                  <a:gd name="T46" fmla="*/ 5 w 126"/>
                  <a:gd name="T47" fmla="*/ 14 h 146"/>
                  <a:gd name="T48" fmla="*/ 9 w 126"/>
                  <a:gd name="T49" fmla="*/ 23 h 146"/>
                  <a:gd name="T50" fmla="*/ 9 w 126"/>
                  <a:gd name="T51" fmla="*/ 25 h 146"/>
                  <a:gd name="T52" fmla="*/ 12 w 126"/>
                  <a:gd name="T53" fmla="*/ 26 h 146"/>
                  <a:gd name="T54" fmla="*/ 14 w 126"/>
                  <a:gd name="T55" fmla="*/ 28 h 146"/>
                  <a:gd name="T56" fmla="*/ 16 w 126"/>
                  <a:gd name="T57" fmla="*/ 44 h 146"/>
                  <a:gd name="T58" fmla="*/ 14 w 126"/>
                  <a:gd name="T59" fmla="*/ 48 h 146"/>
                  <a:gd name="T60" fmla="*/ 0 w 126"/>
                  <a:gd name="T61" fmla="*/ 69 h 146"/>
                  <a:gd name="T62" fmla="*/ 0 w 126"/>
                  <a:gd name="T63" fmla="*/ 73 h 146"/>
                  <a:gd name="T64" fmla="*/ 1 w 126"/>
                  <a:gd name="T65" fmla="*/ 76 h 146"/>
                  <a:gd name="T66" fmla="*/ 1 w 126"/>
                  <a:gd name="T67" fmla="*/ 78 h 146"/>
                  <a:gd name="T68" fmla="*/ 5 w 126"/>
                  <a:gd name="T69" fmla="*/ 78 h 146"/>
                  <a:gd name="T70" fmla="*/ 7 w 126"/>
                  <a:gd name="T71" fmla="*/ 76 h 146"/>
                  <a:gd name="T72" fmla="*/ 12 w 126"/>
                  <a:gd name="T73" fmla="*/ 76 h 146"/>
                  <a:gd name="T74" fmla="*/ 12 w 126"/>
                  <a:gd name="T75" fmla="*/ 78 h 146"/>
                  <a:gd name="T76" fmla="*/ 9 w 126"/>
                  <a:gd name="T77" fmla="*/ 80 h 146"/>
                  <a:gd name="T78" fmla="*/ 7 w 126"/>
                  <a:gd name="T79" fmla="*/ 82 h 146"/>
                  <a:gd name="T80" fmla="*/ 3 w 126"/>
                  <a:gd name="T81" fmla="*/ 82 h 146"/>
                  <a:gd name="T82" fmla="*/ 1 w 126"/>
                  <a:gd name="T83" fmla="*/ 85 h 146"/>
                  <a:gd name="T84" fmla="*/ 3 w 126"/>
                  <a:gd name="T85" fmla="*/ 87 h 146"/>
                  <a:gd name="T86" fmla="*/ 59 w 126"/>
                  <a:gd name="T87" fmla="*/ 121 h 146"/>
                  <a:gd name="T88" fmla="*/ 62 w 126"/>
                  <a:gd name="T89" fmla="*/ 134 h 146"/>
                  <a:gd name="T90" fmla="*/ 85 w 126"/>
                  <a:gd name="T91" fmla="*/ 146 h 146"/>
                  <a:gd name="T92" fmla="*/ 89 w 126"/>
                  <a:gd name="T93" fmla="*/ 144 h 146"/>
                  <a:gd name="T94" fmla="*/ 100 w 126"/>
                  <a:gd name="T95" fmla="*/ 125 h 146"/>
                  <a:gd name="T96" fmla="*/ 100 w 126"/>
                  <a:gd name="T97" fmla="*/ 119 h 146"/>
                  <a:gd name="T98" fmla="*/ 103 w 126"/>
                  <a:gd name="T99" fmla="*/ 114 h 146"/>
                  <a:gd name="T100" fmla="*/ 109 w 126"/>
                  <a:gd name="T101" fmla="*/ 110 h 146"/>
                  <a:gd name="T102" fmla="*/ 110 w 126"/>
                  <a:gd name="T103" fmla="*/ 107 h 146"/>
                  <a:gd name="T104" fmla="*/ 112 w 126"/>
                  <a:gd name="T105" fmla="*/ 105 h 146"/>
                  <a:gd name="T106" fmla="*/ 114 w 126"/>
                  <a:gd name="T107" fmla="*/ 103 h 146"/>
                  <a:gd name="T108" fmla="*/ 116 w 126"/>
                  <a:gd name="T109" fmla="*/ 103 h 146"/>
                  <a:gd name="T110" fmla="*/ 119 w 126"/>
                  <a:gd name="T111" fmla="*/ 100 h 146"/>
                  <a:gd name="T112" fmla="*/ 121 w 126"/>
                  <a:gd name="T113" fmla="*/ 100 h 146"/>
                  <a:gd name="T114" fmla="*/ 121 w 126"/>
                  <a:gd name="T115" fmla="*/ 98 h 146"/>
                  <a:gd name="T116" fmla="*/ 112 w 126"/>
                  <a:gd name="T117" fmla="*/ 87 h 146"/>
                  <a:gd name="T118" fmla="*/ 112 w 126"/>
                  <a:gd name="T119" fmla="*/ 7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146">
                    <a:moveTo>
                      <a:pt x="112" y="75"/>
                    </a:moveTo>
                    <a:lnTo>
                      <a:pt x="112" y="28"/>
                    </a:lnTo>
                    <a:lnTo>
                      <a:pt x="112" y="28"/>
                    </a:lnTo>
                    <a:lnTo>
                      <a:pt x="125" y="12"/>
                    </a:lnTo>
                    <a:lnTo>
                      <a:pt x="126" y="10"/>
                    </a:lnTo>
                    <a:lnTo>
                      <a:pt x="118" y="10"/>
                    </a:lnTo>
                    <a:lnTo>
                      <a:pt x="109" y="5"/>
                    </a:lnTo>
                    <a:lnTo>
                      <a:pt x="96" y="9"/>
                    </a:lnTo>
                    <a:lnTo>
                      <a:pt x="93" y="14"/>
                    </a:lnTo>
                    <a:lnTo>
                      <a:pt x="85" y="17"/>
                    </a:lnTo>
                    <a:lnTo>
                      <a:pt x="60" y="12"/>
                    </a:lnTo>
                    <a:lnTo>
                      <a:pt x="43" y="0"/>
                    </a:lnTo>
                    <a:lnTo>
                      <a:pt x="34" y="1"/>
                    </a:lnTo>
                    <a:lnTo>
                      <a:pt x="28" y="0"/>
                    </a:lnTo>
                    <a:lnTo>
                      <a:pt x="7" y="0"/>
                    </a:lnTo>
                    <a:lnTo>
                      <a:pt x="3" y="1"/>
                    </a:lnTo>
                    <a:lnTo>
                      <a:pt x="0" y="9"/>
                    </a:lnTo>
                    <a:lnTo>
                      <a:pt x="0" y="9"/>
                    </a:lnTo>
                    <a:lnTo>
                      <a:pt x="0" y="9"/>
                    </a:lnTo>
                    <a:lnTo>
                      <a:pt x="3" y="9"/>
                    </a:lnTo>
                    <a:lnTo>
                      <a:pt x="5" y="10"/>
                    </a:lnTo>
                    <a:lnTo>
                      <a:pt x="5" y="12"/>
                    </a:lnTo>
                    <a:lnTo>
                      <a:pt x="5" y="12"/>
                    </a:lnTo>
                    <a:lnTo>
                      <a:pt x="5" y="14"/>
                    </a:lnTo>
                    <a:lnTo>
                      <a:pt x="9" y="23"/>
                    </a:lnTo>
                    <a:lnTo>
                      <a:pt x="9" y="25"/>
                    </a:lnTo>
                    <a:lnTo>
                      <a:pt x="12" y="26"/>
                    </a:lnTo>
                    <a:lnTo>
                      <a:pt x="14" y="28"/>
                    </a:lnTo>
                    <a:lnTo>
                      <a:pt x="16" y="44"/>
                    </a:lnTo>
                    <a:lnTo>
                      <a:pt x="14" y="48"/>
                    </a:lnTo>
                    <a:lnTo>
                      <a:pt x="0" y="69"/>
                    </a:lnTo>
                    <a:lnTo>
                      <a:pt x="0" y="73"/>
                    </a:lnTo>
                    <a:lnTo>
                      <a:pt x="1" y="76"/>
                    </a:lnTo>
                    <a:lnTo>
                      <a:pt x="1" y="78"/>
                    </a:lnTo>
                    <a:lnTo>
                      <a:pt x="5" y="78"/>
                    </a:lnTo>
                    <a:lnTo>
                      <a:pt x="7" y="76"/>
                    </a:lnTo>
                    <a:lnTo>
                      <a:pt x="12" y="76"/>
                    </a:lnTo>
                    <a:lnTo>
                      <a:pt x="12" y="78"/>
                    </a:lnTo>
                    <a:lnTo>
                      <a:pt x="9" y="80"/>
                    </a:lnTo>
                    <a:lnTo>
                      <a:pt x="7" y="82"/>
                    </a:lnTo>
                    <a:lnTo>
                      <a:pt x="3" y="82"/>
                    </a:lnTo>
                    <a:lnTo>
                      <a:pt x="1" y="85"/>
                    </a:lnTo>
                    <a:lnTo>
                      <a:pt x="3" y="87"/>
                    </a:lnTo>
                    <a:lnTo>
                      <a:pt x="59" y="121"/>
                    </a:lnTo>
                    <a:lnTo>
                      <a:pt x="62" y="134"/>
                    </a:lnTo>
                    <a:lnTo>
                      <a:pt x="85" y="146"/>
                    </a:lnTo>
                    <a:lnTo>
                      <a:pt x="89" y="144"/>
                    </a:lnTo>
                    <a:lnTo>
                      <a:pt x="100" y="125"/>
                    </a:lnTo>
                    <a:lnTo>
                      <a:pt x="100" y="119"/>
                    </a:lnTo>
                    <a:lnTo>
                      <a:pt x="103" y="114"/>
                    </a:lnTo>
                    <a:lnTo>
                      <a:pt x="109" y="110"/>
                    </a:lnTo>
                    <a:lnTo>
                      <a:pt x="110" y="107"/>
                    </a:lnTo>
                    <a:lnTo>
                      <a:pt x="112" y="105"/>
                    </a:lnTo>
                    <a:lnTo>
                      <a:pt x="114" y="103"/>
                    </a:lnTo>
                    <a:lnTo>
                      <a:pt x="116" y="103"/>
                    </a:lnTo>
                    <a:lnTo>
                      <a:pt x="119" y="100"/>
                    </a:lnTo>
                    <a:lnTo>
                      <a:pt x="121" y="100"/>
                    </a:lnTo>
                    <a:lnTo>
                      <a:pt x="121" y="98"/>
                    </a:lnTo>
                    <a:lnTo>
                      <a:pt x="112" y="87"/>
                    </a:lnTo>
                    <a:lnTo>
                      <a:pt x="112" y="7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84" name="Freeform 2435"/>
              <p:cNvSpPr>
                <a:spLocks/>
              </p:cNvSpPr>
              <p:nvPr/>
            </p:nvSpPr>
            <p:spPr bwMode="auto">
              <a:xfrm>
                <a:off x="3241" y="2640"/>
                <a:ext cx="126" cy="146"/>
              </a:xfrm>
              <a:custGeom>
                <a:avLst/>
                <a:gdLst>
                  <a:gd name="T0" fmla="*/ 112 w 126"/>
                  <a:gd name="T1" fmla="*/ 75 h 146"/>
                  <a:gd name="T2" fmla="*/ 112 w 126"/>
                  <a:gd name="T3" fmla="*/ 28 h 146"/>
                  <a:gd name="T4" fmla="*/ 112 w 126"/>
                  <a:gd name="T5" fmla="*/ 28 h 146"/>
                  <a:gd name="T6" fmla="*/ 125 w 126"/>
                  <a:gd name="T7" fmla="*/ 12 h 146"/>
                  <a:gd name="T8" fmla="*/ 126 w 126"/>
                  <a:gd name="T9" fmla="*/ 10 h 146"/>
                  <a:gd name="T10" fmla="*/ 118 w 126"/>
                  <a:gd name="T11" fmla="*/ 10 h 146"/>
                  <a:gd name="T12" fmla="*/ 109 w 126"/>
                  <a:gd name="T13" fmla="*/ 5 h 146"/>
                  <a:gd name="T14" fmla="*/ 96 w 126"/>
                  <a:gd name="T15" fmla="*/ 9 h 146"/>
                  <a:gd name="T16" fmla="*/ 93 w 126"/>
                  <a:gd name="T17" fmla="*/ 14 h 146"/>
                  <a:gd name="T18" fmla="*/ 85 w 126"/>
                  <a:gd name="T19" fmla="*/ 17 h 146"/>
                  <a:gd name="T20" fmla="*/ 60 w 126"/>
                  <a:gd name="T21" fmla="*/ 12 h 146"/>
                  <a:gd name="T22" fmla="*/ 43 w 126"/>
                  <a:gd name="T23" fmla="*/ 0 h 146"/>
                  <a:gd name="T24" fmla="*/ 34 w 126"/>
                  <a:gd name="T25" fmla="*/ 1 h 146"/>
                  <a:gd name="T26" fmla="*/ 28 w 126"/>
                  <a:gd name="T27" fmla="*/ 0 h 146"/>
                  <a:gd name="T28" fmla="*/ 7 w 126"/>
                  <a:gd name="T29" fmla="*/ 0 h 146"/>
                  <a:gd name="T30" fmla="*/ 3 w 126"/>
                  <a:gd name="T31" fmla="*/ 1 h 146"/>
                  <a:gd name="T32" fmla="*/ 0 w 126"/>
                  <a:gd name="T33" fmla="*/ 9 h 146"/>
                  <a:gd name="T34" fmla="*/ 0 w 126"/>
                  <a:gd name="T35" fmla="*/ 9 h 146"/>
                  <a:gd name="T36" fmla="*/ 0 w 126"/>
                  <a:gd name="T37" fmla="*/ 9 h 146"/>
                  <a:gd name="T38" fmla="*/ 3 w 126"/>
                  <a:gd name="T39" fmla="*/ 9 h 146"/>
                  <a:gd name="T40" fmla="*/ 5 w 126"/>
                  <a:gd name="T41" fmla="*/ 10 h 146"/>
                  <a:gd name="T42" fmla="*/ 5 w 126"/>
                  <a:gd name="T43" fmla="*/ 12 h 146"/>
                  <a:gd name="T44" fmla="*/ 5 w 126"/>
                  <a:gd name="T45" fmla="*/ 12 h 146"/>
                  <a:gd name="T46" fmla="*/ 5 w 126"/>
                  <a:gd name="T47" fmla="*/ 14 h 146"/>
                  <a:gd name="T48" fmla="*/ 9 w 126"/>
                  <a:gd name="T49" fmla="*/ 23 h 146"/>
                  <a:gd name="T50" fmla="*/ 9 w 126"/>
                  <a:gd name="T51" fmla="*/ 25 h 146"/>
                  <a:gd name="T52" fmla="*/ 12 w 126"/>
                  <a:gd name="T53" fmla="*/ 26 h 146"/>
                  <a:gd name="T54" fmla="*/ 14 w 126"/>
                  <a:gd name="T55" fmla="*/ 28 h 146"/>
                  <a:gd name="T56" fmla="*/ 16 w 126"/>
                  <a:gd name="T57" fmla="*/ 44 h 146"/>
                  <a:gd name="T58" fmla="*/ 14 w 126"/>
                  <a:gd name="T59" fmla="*/ 48 h 146"/>
                  <a:gd name="T60" fmla="*/ 0 w 126"/>
                  <a:gd name="T61" fmla="*/ 69 h 146"/>
                  <a:gd name="T62" fmla="*/ 0 w 126"/>
                  <a:gd name="T63" fmla="*/ 73 h 146"/>
                  <a:gd name="T64" fmla="*/ 1 w 126"/>
                  <a:gd name="T65" fmla="*/ 76 h 146"/>
                  <a:gd name="T66" fmla="*/ 1 w 126"/>
                  <a:gd name="T67" fmla="*/ 78 h 146"/>
                  <a:gd name="T68" fmla="*/ 5 w 126"/>
                  <a:gd name="T69" fmla="*/ 78 h 146"/>
                  <a:gd name="T70" fmla="*/ 7 w 126"/>
                  <a:gd name="T71" fmla="*/ 76 h 146"/>
                  <a:gd name="T72" fmla="*/ 12 w 126"/>
                  <a:gd name="T73" fmla="*/ 76 h 146"/>
                  <a:gd name="T74" fmla="*/ 12 w 126"/>
                  <a:gd name="T75" fmla="*/ 78 h 146"/>
                  <a:gd name="T76" fmla="*/ 9 w 126"/>
                  <a:gd name="T77" fmla="*/ 80 h 146"/>
                  <a:gd name="T78" fmla="*/ 7 w 126"/>
                  <a:gd name="T79" fmla="*/ 82 h 146"/>
                  <a:gd name="T80" fmla="*/ 3 w 126"/>
                  <a:gd name="T81" fmla="*/ 82 h 146"/>
                  <a:gd name="T82" fmla="*/ 1 w 126"/>
                  <a:gd name="T83" fmla="*/ 85 h 146"/>
                  <a:gd name="T84" fmla="*/ 3 w 126"/>
                  <a:gd name="T85" fmla="*/ 87 h 146"/>
                  <a:gd name="T86" fmla="*/ 59 w 126"/>
                  <a:gd name="T87" fmla="*/ 121 h 146"/>
                  <a:gd name="T88" fmla="*/ 62 w 126"/>
                  <a:gd name="T89" fmla="*/ 134 h 146"/>
                  <a:gd name="T90" fmla="*/ 85 w 126"/>
                  <a:gd name="T91" fmla="*/ 146 h 146"/>
                  <a:gd name="T92" fmla="*/ 89 w 126"/>
                  <a:gd name="T93" fmla="*/ 144 h 146"/>
                  <a:gd name="T94" fmla="*/ 100 w 126"/>
                  <a:gd name="T95" fmla="*/ 125 h 146"/>
                  <a:gd name="T96" fmla="*/ 100 w 126"/>
                  <a:gd name="T97" fmla="*/ 119 h 146"/>
                  <a:gd name="T98" fmla="*/ 103 w 126"/>
                  <a:gd name="T99" fmla="*/ 114 h 146"/>
                  <a:gd name="T100" fmla="*/ 109 w 126"/>
                  <a:gd name="T101" fmla="*/ 110 h 146"/>
                  <a:gd name="T102" fmla="*/ 110 w 126"/>
                  <a:gd name="T103" fmla="*/ 107 h 146"/>
                  <a:gd name="T104" fmla="*/ 112 w 126"/>
                  <a:gd name="T105" fmla="*/ 105 h 146"/>
                  <a:gd name="T106" fmla="*/ 114 w 126"/>
                  <a:gd name="T107" fmla="*/ 103 h 146"/>
                  <a:gd name="T108" fmla="*/ 116 w 126"/>
                  <a:gd name="T109" fmla="*/ 103 h 146"/>
                  <a:gd name="T110" fmla="*/ 119 w 126"/>
                  <a:gd name="T111" fmla="*/ 100 h 146"/>
                  <a:gd name="T112" fmla="*/ 121 w 126"/>
                  <a:gd name="T113" fmla="*/ 100 h 146"/>
                  <a:gd name="T114" fmla="*/ 121 w 126"/>
                  <a:gd name="T115" fmla="*/ 98 h 146"/>
                  <a:gd name="T116" fmla="*/ 112 w 126"/>
                  <a:gd name="T117" fmla="*/ 87 h 146"/>
                  <a:gd name="T118" fmla="*/ 112 w 126"/>
                  <a:gd name="T119" fmla="*/ 75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146">
                    <a:moveTo>
                      <a:pt x="112" y="75"/>
                    </a:moveTo>
                    <a:lnTo>
                      <a:pt x="112" y="28"/>
                    </a:lnTo>
                    <a:lnTo>
                      <a:pt x="112" y="28"/>
                    </a:lnTo>
                    <a:lnTo>
                      <a:pt x="125" y="12"/>
                    </a:lnTo>
                    <a:lnTo>
                      <a:pt x="126" y="10"/>
                    </a:lnTo>
                    <a:lnTo>
                      <a:pt x="118" y="10"/>
                    </a:lnTo>
                    <a:lnTo>
                      <a:pt x="109" y="5"/>
                    </a:lnTo>
                    <a:lnTo>
                      <a:pt x="96" y="9"/>
                    </a:lnTo>
                    <a:lnTo>
                      <a:pt x="93" y="14"/>
                    </a:lnTo>
                    <a:lnTo>
                      <a:pt x="85" y="17"/>
                    </a:lnTo>
                    <a:lnTo>
                      <a:pt x="60" y="12"/>
                    </a:lnTo>
                    <a:lnTo>
                      <a:pt x="43" y="0"/>
                    </a:lnTo>
                    <a:lnTo>
                      <a:pt x="34" y="1"/>
                    </a:lnTo>
                    <a:lnTo>
                      <a:pt x="28" y="0"/>
                    </a:lnTo>
                    <a:lnTo>
                      <a:pt x="7" y="0"/>
                    </a:lnTo>
                    <a:lnTo>
                      <a:pt x="3" y="1"/>
                    </a:lnTo>
                    <a:lnTo>
                      <a:pt x="0" y="9"/>
                    </a:lnTo>
                    <a:lnTo>
                      <a:pt x="0" y="9"/>
                    </a:lnTo>
                    <a:lnTo>
                      <a:pt x="0" y="9"/>
                    </a:lnTo>
                    <a:lnTo>
                      <a:pt x="3" y="9"/>
                    </a:lnTo>
                    <a:lnTo>
                      <a:pt x="5" y="10"/>
                    </a:lnTo>
                    <a:lnTo>
                      <a:pt x="5" y="12"/>
                    </a:lnTo>
                    <a:lnTo>
                      <a:pt x="5" y="12"/>
                    </a:lnTo>
                    <a:lnTo>
                      <a:pt x="5" y="14"/>
                    </a:lnTo>
                    <a:lnTo>
                      <a:pt x="9" y="23"/>
                    </a:lnTo>
                    <a:lnTo>
                      <a:pt x="9" y="25"/>
                    </a:lnTo>
                    <a:lnTo>
                      <a:pt x="12" y="26"/>
                    </a:lnTo>
                    <a:lnTo>
                      <a:pt x="14" y="28"/>
                    </a:lnTo>
                    <a:lnTo>
                      <a:pt x="16" y="44"/>
                    </a:lnTo>
                    <a:lnTo>
                      <a:pt x="14" y="48"/>
                    </a:lnTo>
                    <a:lnTo>
                      <a:pt x="0" y="69"/>
                    </a:lnTo>
                    <a:lnTo>
                      <a:pt x="0" y="73"/>
                    </a:lnTo>
                    <a:lnTo>
                      <a:pt x="1" y="76"/>
                    </a:lnTo>
                    <a:lnTo>
                      <a:pt x="1" y="78"/>
                    </a:lnTo>
                    <a:lnTo>
                      <a:pt x="5" y="78"/>
                    </a:lnTo>
                    <a:lnTo>
                      <a:pt x="7" y="76"/>
                    </a:lnTo>
                    <a:lnTo>
                      <a:pt x="12" y="76"/>
                    </a:lnTo>
                    <a:lnTo>
                      <a:pt x="12" y="78"/>
                    </a:lnTo>
                    <a:lnTo>
                      <a:pt x="9" y="80"/>
                    </a:lnTo>
                    <a:lnTo>
                      <a:pt x="7" y="82"/>
                    </a:lnTo>
                    <a:lnTo>
                      <a:pt x="3" y="82"/>
                    </a:lnTo>
                    <a:lnTo>
                      <a:pt x="1" y="85"/>
                    </a:lnTo>
                    <a:lnTo>
                      <a:pt x="3" y="87"/>
                    </a:lnTo>
                    <a:lnTo>
                      <a:pt x="59" y="121"/>
                    </a:lnTo>
                    <a:lnTo>
                      <a:pt x="62" y="134"/>
                    </a:lnTo>
                    <a:lnTo>
                      <a:pt x="85" y="146"/>
                    </a:lnTo>
                    <a:lnTo>
                      <a:pt x="89" y="144"/>
                    </a:lnTo>
                    <a:lnTo>
                      <a:pt x="100" y="125"/>
                    </a:lnTo>
                    <a:lnTo>
                      <a:pt x="100" y="119"/>
                    </a:lnTo>
                    <a:lnTo>
                      <a:pt x="103" y="114"/>
                    </a:lnTo>
                    <a:lnTo>
                      <a:pt x="109" y="110"/>
                    </a:lnTo>
                    <a:lnTo>
                      <a:pt x="110" y="107"/>
                    </a:lnTo>
                    <a:lnTo>
                      <a:pt x="112" y="105"/>
                    </a:lnTo>
                    <a:lnTo>
                      <a:pt x="114" y="103"/>
                    </a:lnTo>
                    <a:lnTo>
                      <a:pt x="116" y="103"/>
                    </a:lnTo>
                    <a:lnTo>
                      <a:pt x="119" y="100"/>
                    </a:lnTo>
                    <a:lnTo>
                      <a:pt x="121" y="100"/>
                    </a:lnTo>
                    <a:lnTo>
                      <a:pt x="121" y="98"/>
                    </a:lnTo>
                    <a:lnTo>
                      <a:pt x="112" y="87"/>
                    </a:lnTo>
                    <a:lnTo>
                      <a:pt x="112" y="75"/>
                    </a:lnTo>
                  </a:path>
                </a:pathLst>
              </a:custGeom>
              <a:solidFill>
                <a:srgbClr val="0E5990"/>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85" name="Freeform 2436"/>
              <p:cNvSpPr>
                <a:spLocks/>
              </p:cNvSpPr>
              <p:nvPr/>
            </p:nvSpPr>
            <p:spPr bwMode="auto">
              <a:xfrm>
                <a:off x="2709" y="2515"/>
                <a:ext cx="48" cy="98"/>
              </a:xfrm>
              <a:custGeom>
                <a:avLst/>
                <a:gdLst>
                  <a:gd name="T0" fmla="*/ 44 w 48"/>
                  <a:gd name="T1" fmla="*/ 10 h 98"/>
                  <a:gd name="T2" fmla="*/ 32 w 48"/>
                  <a:gd name="T3" fmla="*/ 0 h 98"/>
                  <a:gd name="T4" fmla="*/ 30 w 48"/>
                  <a:gd name="T5" fmla="*/ 0 h 98"/>
                  <a:gd name="T6" fmla="*/ 25 w 48"/>
                  <a:gd name="T7" fmla="*/ 1 h 98"/>
                  <a:gd name="T8" fmla="*/ 26 w 48"/>
                  <a:gd name="T9" fmla="*/ 3 h 98"/>
                  <a:gd name="T10" fmla="*/ 28 w 48"/>
                  <a:gd name="T11" fmla="*/ 5 h 98"/>
                  <a:gd name="T12" fmla="*/ 25 w 48"/>
                  <a:gd name="T13" fmla="*/ 7 h 98"/>
                  <a:gd name="T14" fmla="*/ 26 w 48"/>
                  <a:gd name="T15" fmla="*/ 7 h 98"/>
                  <a:gd name="T16" fmla="*/ 26 w 48"/>
                  <a:gd name="T17" fmla="*/ 7 h 98"/>
                  <a:gd name="T18" fmla="*/ 25 w 48"/>
                  <a:gd name="T19" fmla="*/ 9 h 98"/>
                  <a:gd name="T20" fmla="*/ 25 w 48"/>
                  <a:gd name="T21" fmla="*/ 9 h 98"/>
                  <a:gd name="T22" fmla="*/ 25 w 48"/>
                  <a:gd name="T23" fmla="*/ 10 h 98"/>
                  <a:gd name="T24" fmla="*/ 23 w 48"/>
                  <a:gd name="T25" fmla="*/ 10 h 98"/>
                  <a:gd name="T26" fmla="*/ 19 w 48"/>
                  <a:gd name="T27" fmla="*/ 14 h 98"/>
                  <a:gd name="T28" fmla="*/ 19 w 48"/>
                  <a:gd name="T29" fmla="*/ 14 h 98"/>
                  <a:gd name="T30" fmla="*/ 17 w 48"/>
                  <a:gd name="T31" fmla="*/ 14 h 98"/>
                  <a:gd name="T32" fmla="*/ 14 w 48"/>
                  <a:gd name="T33" fmla="*/ 14 h 98"/>
                  <a:gd name="T34" fmla="*/ 12 w 48"/>
                  <a:gd name="T35" fmla="*/ 14 h 98"/>
                  <a:gd name="T36" fmla="*/ 10 w 48"/>
                  <a:gd name="T37" fmla="*/ 14 h 98"/>
                  <a:gd name="T38" fmla="*/ 10 w 48"/>
                  <a:gd name="T39" fmla="*/ 14 h 98"/>
                  <a:gd name="T40" fmla="*/ 7 w 48"/>
                  <a:gd name="T41" fmla="*/ 17 h 98"/>
                  <a:gd name="T42" fmla="*/ 7 w 48"/>
                  <a:gd name="T43" fmla="*/ 17 h 98"/>
                  <a:gd name="T44" fmla="*/ 5 w 48"/>
                  <a:gd name="T45" fmla="*/ 17 h 98"/>
                  <a:gd name="T46" fmla="*/ 5 w 48"/>
                  <a:gd name="T47" fmla="*/ 17 h 98"/>
                  <a:gd name="T48" fmla="*/ 5 w 48"/>
                  <a:gd name="T49" fmla="*/ 19 h 98"/>
                  <a:gd name="T50" fmla="*/ 3 w 48"/>
                  <a:gd name="T51" fmla="*/ 21 h 98"/>
                  <a:gd name="T52" fmla="*/ 3 w 48"/>
                  <a:gd name="T53" fmla="*/ 21 h 98"/>
                  <a:gd name="T54" fmla="*/ 1 w 48"/>
                  <a:gd name="T55" fmla="*/ 23 h 98"/>
                  <a:gd name="T56" fmla="*/ 1 w 48"/>
                  <a:gd name="T57" fmla="*/ 25 h 98"/>
                  <a:gd name="T58" fmla="*/ 0 w 48"/>
                  <a:gd name="T59" fmla="*/ 26 h 98"/>
                  <a:gd name="T60" fmla="*/ 0 w 48"/>
                  <a:gd name="T61" fmla="*/ 30 h 98"/>
                  <a:gd name="T62" fmla="*/ 0 w 48"/>
                  <a:gd name="T63" fmla="*/ 32 h 98"/>
                  <a:gd name="T64" fmla="*/ 1 w 48"/>
                  <a:gd name="T65" fmla="*/ 34 h 98"/>
                  <a:gd name="T66" fmla="*/ 3 w 48"/>
                  <a:gd name="T67" fmla="*/ 34 h 98"/>
                  <a:gd name="T68" fmla="*/ 3 w 48"/>
                  <a:gd name="T69" fmla="*/ 34 h 98"/>
                  <a:gd name="T70" fmla="*/ 5 w 48"/>
                  <a:gd name="T71" fmla="*/ 35 h 98"/>
                  <a:gd name="T72" fmla="*/ 9 w 48"/>
                  <a:gd name="T73" fmla="*/ 39 h 98"/>
                  <a:gd name="T74" fmla="*/ 16 w 48"/>
                  <a:gd name="T75" fmla="*/ 96 h 98"/>
                  <a:gd name="T76" fmla="*/ 17 w 48"/>
                  <a:gd name="T77" fmla="*/ 98 h 98"/>
                  <a:gd name="T78" fmla="*/ 32 w 48"/>
                  <a:gd name="T79" fmla="*/ 98 h 98"/>
                  <a:gd name="T80" fmla="*/ 32 w 48"/>
                  <a:gd name="T81" fmla="*/ 96 h 98"/>
                  <a:gd name="T82" fmla="*/ 32 w 48"/>
                  <a:gd name="T83" fmla="*/ 62 h 98"/>
                  <a:gd name="T84" fmla="*/ 37 w 48"/>
                  <a:gd name="T85" fmla="*/ 53 h 98"/>
                  <a:gd name="T86" fmla="*/ 39 w 48"/>
                  <a:gd name="T87" fmla="*/ 44 h 98"/>
                  <a:gd name="T88" fmla="*/ 44 w 48"/>
                  <a:gd name="T89" fmla="*/ 39 h 98"/>
                  <a:gd name="T90" fmla="*/ 44 w 48"/>
                  <a:gd name="T91" fmla="*/ 37 h 98"/>
                  <a:gd name="T92" fmla="*/ 46 w 48"/>
                  <a:gd name="T93" fmla="*/ 37 h 98"/>
                  <a:gd name="T94" fmla="*/ 46 w 48"/>
                  <a:gd name="T95" fmla="*/ 35 h 98"/>
                  <a:gd name="T96" fmla="*/ 46 w 48"/>
                  <a:gd name="T97" fmla="*/ 35 h 98"/>
                  <a:gd name="T98" fmla="*/ 44 w 48"/>
                  <a:gd name="T99" fmla="*/ 34 h 98"/>
                  <a:gd name="T100" fmla="*/ 44 w 48"/>
                  <a:gd name="T101" fmla="*/ 34 h 98"/>
                  <a:gd name="T102" fmla="*/ 44 w 48"/>
                  <a:gd name="T103" fmla="*/ 32 h 98"/>
                  <a:gd name="T104" fmla="*/ 46 w 48"/>
                  <a:gd name="T105" fmla="*/ 30 h 98"/>
                  <a:gd name="T106" fmla="*/ 48 w 48"/>
                  <a:gd name="T107" fmla="*/ 30 h 98"/>
                  <a:gd name="T108" fmla="*/ 48 w 48"/>
                  <a:gd name="T109" fmla="*/ 30 h 98"/>
                  <a:gd name="T110" fmla="*/ 46 w 48"/>
                  <a:gd name="T111" fmla="*/ 19 h 98"/>
                  <a:gd name="T112" fmla="*/ 44 w 48"/>
                  <a:gd name="T113" fmla="*/ 16 h 98"/>
                  <a:gd name="T114" fmla="*/ 42 w 48"/>
                  <a:gd name="T115" fmla="*/ 16 h 98"/>
                  <a:gd name="T116" fmla="*/ 44 w 48"/>
                  <a:gd name="T117" fmla="*/ 12 h 98"/>
                  <a:gd name="T118" fmla="*/ 44 w 48"/>
                  <a:gd name="T119" fmla="*/ 1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 h="98">
                    <a:moveTo>
                      <a:pt x="44" y="10"/>
                    </a:moveTo>
                    <a:lnTo>
                      <a:pt x="32" y="0"/>
                    </a:lnTo>
                    <a:lnTo>
                      <a:pt x="30" y="0"/>
                    </a:lnTo>
                    <a:lnTo>
                      <a:pt x="25" y="1"/>
                    </a:lnTo>
                    <a:lnTo>
                      <a:pt x="26" y="3"/>
                    </a:lnTo>
                    <a:lnTo>
                      <a:pt x="28" y="5"/>
                    </a:lnTo>
                    <a:lnTo>
                      <a:pt x="25" y="7"/>
                    </a:lnTo>
                    <a:lnTo>
                      <a:pt x="26" y="7"/>
                    </a:lnTo>
                    <a:lnTo>
                      <a:pt x="26" y="7"/>
                    </a:lnTo>
                    <a:lnTo>
                      <a:pt x="25" y="9"/>
                    </a:lnTo>
                    <a:lnTo>
                      <a:pt x="25" y="9"/>
                    </a:lnTo>
                    <a:lnTo>
                      <a:pt x="25" y="10"/>
                    </a:lnTo>
                    <a:lnTo>
                      <a:pt x="23" y="10"/>
                    </a:lnTo>
                    <a:lnTo>
                      <a:pt x="19" y="14"/>
                    </a:lnTo>
                    <a:lnTo>
                      <a:pt x="19" y="14"/>
                    </a:lnTo>
                    <a:lnTo>
                      <a:pt x="17" y="14"/>
                    </a:lnTo>
                    <a:lnTo>
                      <a:pt x="14" y="14"/>
                    </a:lnTo>
                    <a:lnTo>
                      <a:pt x="12" y="14"/>
                    </a:lnTo>
                    <a:lnTo>
                      <a:pt x="10" y="14"/>
                    </a:lnTo>
                    <a:lnTo>
                      <a:pt x="10" y="14"/>
                    </a:lnTo>
                    <a:lnTo>
                      <a:pt x="7" y="17"/>
                    </a:lnTo>
                    <a:lnTo>
                      <a:pt x="7" y="17"/>
                    </a:lnTo>
                    <a:lnTo>
                      <a:pt x="5" y="17"/>
                    </a:lnTo>
                    <a:lnTo>
                      <a:pt x="5" y="17"/>
                    </a:lnTo>
                    <a:lnTo>
                      <a:pt x="5" y="19"/>
                    </a:lnTo>
                    <a:lnTo>
                      <a:pt x="3" y="21"/>
                    </a:lnTo>
                    <a:lnTo>
                      <a:pt x="3" y="21"/>
                    </a:lnTo>
                    <a:lnTo>
                      <a:pt x="1" y="23"/>
                    </a:lnTo>
                    <a:lnTo>
                      <a:pt x="1" y="25"/>
                    </a:lnTo>
                    <a:lnTo>
                      <a:pt x="0" y="26"/>
                    </a:lnTo>
                    <a:lnTo>
                      <a:pt x="0" y="30"/>
                    </a:lnTo>
                    <a:lnTo>
                      <a:pt x="0" y="32"/>
                    </a:lnTo>
                    <a:lnTo>
                      <a:pt x="1" y="34"/>
                    </a:lnTo>
                    <a:lnTo>
                      <a:pt x="3" y="34"/>
                    </a:lnTo>
                    <a:lnTo>
                      <a:pt x="3" y="34"/>
                    </a:lnTo>
                    <a:lnTo>
                      <a:pt x="5" y="35"/>
                    </a:lnTo>
                    <a:lnTo>
                      <a:pt x="9" y="39"/>
                    </a:lnTo>
                    <a:lnTo>
                      <a:pt x="16" y="96"/>
                    </a:lnTo>
                    <a:lnTo>
                      <a:pt x="17" y="98"/>
                    </a:lnTo>
                    <a:lnTo>
                      <a:pt x="32" y="98"/>
                    </a:lnTo>
                    <a:lnTo>
                      <a:pt x="32" y="96"/>
                    </a:lnTo>
                    <a:lnTo>
                      <a:pt x="32" y="62"/>
                    </a:lnTo>
                    <a:lnTo>
                      <a:pt x="37" y="53"/>
                    </a:lnTo>
                    <a:lnTo>
                      <a:pt x="39" y="44"/>
                    </a:lnTo>
                    <a:lnTo>
                      <a:pt x="44" y="39"/>
                    </a:lnTo>
                    <a:lnTo>
                      <a:pt x="44" y="37"/>
                    </a:lnTo>
                    <a:lnTo>
                      <a:pt x="46" y="37"/>
                    </a:lnTo>
                    <a:lnTo>
                      <a:pt x="46" y="35"/>
                    </a:lnTo>
                    <a:lnTo>
                      <a:pt x="46" y="35"/>
                    </a:lnTo>
                    <a:lnTo>
                      <a:pt x="44" y="34"/>
                    </a:lnTo>
                    <a:lnTo>
                      <a:pt x="44" y="34"/>
                    </a:lnTo>
                    <a:lnTo>
                      <a:pt x="44" y="32"/>
                    </a:lnTo>
                    <a:lnTo>
                      <a:pt x="46" y="30"/>
                    </a:lnTo>
                    <a:lnTo>
                      <a:pt x="48" y="30"/>
                    </a:lnTo>
                    <a:lnTo>
                      <a:pt x="48" y="30"/>
                    </a:lnTo>
                    <a:lnTo>
                      <a:pt x="46" y="19"/>
                    </a:lnTo>
                    <a:lnTo>
                      <a:pt x="44" y="16"/>
                    </a:lnTo>
                    <a:lnTo>
                      <a:pt x="42" y="16"/>
                    </a:lnTo>
                    <a:lnTo>
                      <a:pt x="44" y="12"/>
                    </a:lnTo>
                    <a:lnTo>
                      <a:pt x="44" y="1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86" name="Freeform 2437"/>
              <p:cNvSpPr>
                <a:spLocks/>
              </p:cNvSpPr>
              <p:nvPr/>
            </p:nvSpPr>
            <p:spPr bwMode="auto">
              <a:xfrm>
                <a:off x="2709" y="2515"/>
                <a:ext cx="48" cy="98"/>
              </a:xfrm>
              <a:custGeom>
                <a:avLst/>
                <a:gdLst>
                  <a:gd name="T0" fmla="*/ 44 w 48"/>
                  <a:gd name="T1" fmla="*/ 10 h 98"/>
                  <a:gd name="T2" fmla="*/ 32 w 48"/>
                  <a:gd name="T3" fmla="*/ 0 h 98"/>
                  <a:gd name="T4" fmla="*/ 30 w 48"/>
                  <a:gd name="T5" fmla="*/ 0 h 98"/>
                  <a:gd name="T6" fmla="*/ 25 w 48"/>
                  <a:gd name="T7" fmla="*/ 1 h 98"/>
                  <a:gd name="T8" fmla="*/ 26 w 48"/>
                  <a:gd name="T9" fmla="*/ 3 h 98"/>
                  <a:gd name="T10" fmla="*/ 28 w 48"/>
                  <a:gd name="T11" fmla="*/ 5 h 98"/>
                  <a:gd name="T12" fmla="*/ 25 w 48"/>
                  <a:gd name="T13" fmla="*/ 7 h 98"/>
                  <a:gd name="T14" fmla="*/ 26 w 48"/>
                  <a:gd name="T15" fmla="*/ 7 h 98"/>
                  <a:gd name="T16" fmla="*/ 26 w 48"/>
                  <a:gd name="T17" fmla="*/ 7 h 98"/>
                  <a:gd name="T18" fmla="*/ 25 w 48"/>
                  <a:gd name="T19" fmla="*/ 9 h 98"/>
                  <a:gd name="T20" fmla="*/ 25 w 48"/>
                  <a:gd name="T21" fmla="*/ 9 h 98"/>
                  <a:gd name="T22" fmla="*/ 25 w 48"/>
                  <a:gd name="T23" fmla="*/ 10 h 98"/>
                  <a:gd name="T24" fmla="*/ 23 w 48"/>
                  <a:gd name="T25" fmla="*/ 10 h 98"/>
                  <a:gd name="T26" fmla="*/ 19 w 48"/>
                  <a:gd name="T27" fmla="*/ 14 h 98"/>
                  <a:gd name="T28" fmla="*/ 19 w 48"/>
                  <a:gd name="T29" fmla="*/ 14 h 98"/>
                  <a:gd name="T30" fmla="*/ 17 w 48"/>
                  <a:gd name="T31" fmla="*/ 14 h 98"/>
                  <a:gd name="T32" fmla="*/ 14 w 48"/>
                  <a:gd name="T33" fmla="*/ 14 h 98"/>
                  <a:gd name="T34" fmla="*/ 12 w 48"/>
                  <a:gd name="T35" fmla="*/ 14 h 98"/>
                  <a:gd name="T36" fmla="*/ 10 w 48"/>
                  <a:gd name="T37" fmla="*/ 14 h 98"/>
                  <a:gd name="T38" fmla="*/ 10 w 48"/>
                  <a:gd name="T39" fmla="*/ 14 h 98"/>
                  <a:gd name="T40" fmla="*/ 7 w 48"/>
                  <a:gd name="T41" fmla="*/ 17 h 98"/>
                  <a:gd name="T42" fmla="*/ 7 w 48"/>
                  <a:gd name="T43" fmla="*/ 17 h 98"/>
                  <a:gd name="T44" fmla="*/ 5 w 48"/>
                  <a:gd name="T45" fmla="*/ 17 h 98"/>
                  <a:gd name="T46" fmla="*/ 5 w 48"/>
                  <a:gd name="T47" fmla="*/ 17 h 98"/>
                  <a:gd name="T48" fmla="*/ 5 w 48"/>
                  <a:gd name="T49" fmla="*/ 19 h 98"/>
                  <a:gd name="T50" fmla="*/ 3 w 48"/>
                  <a:gd name="T51" fmla="*/ 21 h 98"/>
                  <a:gd name="T52" fmla="*/ 3 w 48"/>
                  <a:gd name="T53" fmla="*/ 21 h 98"/>
                  <a:gd name="T54" fmla="*/ 1 w 48"/>
                  <a:gd name="T55" fmla="*/ 23 h 98"/>
                  <a:gd name="T56" fmla="*/ 1 w 48"/>
                  <a:gd name="T57" fmla="*/ 25 h 98"/>
                  <a:gd name="T58" fmla="*/ 0 w 48"/>
                  <a:gd name="T59" fmla="*/ 26 h 98"/>
                  <a:gd name="T60" fmla="*/ 0 w 48"/>
                  <a:gd name="T61" fmla="*/ 30 h 98"/>
                  <a:gd name="T62" fmla="*/ 0 w 48"/>
                  <a:gd name="T63" fmla="*/ 32 h 98"/>
                  <a:gd name="T64" fmla="*/ 1 w 48"/>
                  <a:gd name="T65" fmla="*/ 34 h 98"/>
                  <a:gd name="T66" fmla="*/ 3 w 48"/>
                  <a:gd name="T67" fmla="*/ 34 h 98"/>
                  <a:gd name="T68" fmla="*/ 3 w 48"/>
                  <a:gd name="T69" fmla="*/ 34 h 98"/>
                  <a:gd name="T70" fmla="*/ 5 w 48"/>
                  <a:gd name="T71" fmla="*/ 35 h 98"/>
                  <a:gd name="T72" fmla="*/ 9 w 48"/>
                  <a:gd name="T73" fmla="*/ 39 h 98"/>
                  <a:gd name="T74" fmla="*/ 16 w 48"/>
                  <a:gd name="T75" fmla="*/ 96 h 98"/>
                  <a:gd name="T76" fmla="*/ 17 w 48"/>
                  <a:gd name="T77" fmla="*/ 98 h 98"/>
                  <a:gd name="T78" fmla="*/ 32 w 48"/>
                  <a:gd name="T79" fmla="*/ 98 h 98"/>
                  <a:gd name="T80" fmla="*/ 32 w 48"/>
                  <a:gd name="T81" fmla="*/ 96 h 98"/>
                  <a:gd name="T82" fmla="*/ 32 w 48"/>
                  <a:gd name="T83" fmla="*/ 62 h 98"/>
                  <a:gd name="T84" fmla="*/ 37 w 48"/>
                  <a:gd name="T85" fmla="*/ 53 h 98"/>
                  <a:gd name="T86" fmla="*/ 39 w 48"/>
                  <a:gd name="T87" fmla="*/ 44 h 98"/>
                  <a:gd name="T88" fmla="*/ 44 w 48"/>
                  <a:gd name="T89" fmla="*/ 39 h 98"/>
                  <a:gd name="T90" fmla="*/ 44 w 48"/>
                  <a:gd name="T91" fmla="*/ 37 h 98"/>
                  <a:gd name="T92" fmla="*/ 46 w 48"/>
                  <a:gd name="T93" fmla="*/ 37 h 98"/>
                  <a:gd name="T94" fmla="*/ 46 w 48"/>
                  <a:gd name="T95" fmla="*/ 35 h 98"/>
                  <a:gd name="T96" fmla="*/ 46 w 48"/>
                  <a:gd name="T97" fmla="*/ 35 h 98"/>
                  <a:gd name="T98" fmla="*/ 44 w 48"/>
                  <a:gd name="T99" fmla="*/ 34 h 98"/>
                  <a:gd name="T100" fmla="*/ 44 w 48"/>
                  <a:gd name="T101" fmla="*/ 34 h 98"/>
                  <a:gd name="T102" fmla="*/ 44 w 48"/>
                  <a:gd name="T103" fmla="*/ 32 h 98"/>
                  <a:gd name="T104" fmla="*/ 46 w 48"/>
                  <a:gd name="T105" fmla="*/ 30 h 98"/>
                  <a:gd name="T106" fmla="*/ 48 w 48"/>
                  <a:gd name="T107" fmla="*/ 30 h 98"/>
                  <a:gd name="T108" fmla="*/ 48 w 48"/>
                  <a:gd name="T109" fmla="*/ 30 h 98"/>
                  <a:gd name="T110" fmla="*/ 46 w 48"/>
                  <a:gd name="T111" fmla="*/ 19 h 98"/>
                  <a:gd name="T112" fmla="*/ 44 w 48"/>
                  <a:gd name="T113" fmla="*/ 16 h 98"/>
                  <a:gd name="T114" fmla="*/ 42 w 48"/>
                  <a:gd name="T115" fmla="*/ 16 h 98"/>
                  <a:gd name="T116" fmla="*/ 44 w 48"/>
                  <a:gd name="T117" fmla="*/ 12 h 98"/>
                  <a:gd name="T118" fmla="*/ 44 w 48"/>
                  <a:gd name="T119" fmla="*/ 1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 h="98">
                    <a:moveTo>
                      <a:pt x="44" y="10"/>
                    </a:moveTo>
                    <a:lnTo>
                      <a:pt x="32" y="0"/>
                    </a:lnTo>
                    <a:lnTo>
                      <a:pt x="30" y="0"/>
                    </a:lnTo>
                    <a:lnTo>
                      <a:pt x="25" y="1"/>
                    </a:lnTo>
                    <a:lnTo>
                      <a:pt x="26" y="3"/>
                    </a:lnTo>
                    <a:lnTo>
                      <a:pt x="28" y="5"/>
                    </a:lnTo>
                    <a:lnTo>
                      <a:pt x="25" y="7"/>
                    </a:lnTo>
                    <a:lnTo>
                      <a:pt x="26" y="7"/>
                    </a:lnTo>
                    <a:lnTo>
                      <a:pt x="26" y="7"/>
                    </a:lnTo>
                    <a:lnTo>
                      <a:pt x="25" y="9"/>
                    </a:lnTo>
                    <a:lnTo>
                      <a:pt x="25" y="9"/>
                    </a:lnTo>
                    <a:lnTo>
                      <a:pt x="25" y="10"/>
                    </a:lnTo>
                    <a:lnTo>
                      <a:pt x="23" y="10"/>
                    </a:lnTo>
                    <a:lnTo>
                      <a:pt x="19" y="14"/>
                    </a:lnTo>
                    <a:lnTo>
                      <a:pt x="19" y="14"/>
                    </a:lnTo>
                    <a:lnTo>
                      <a:pt x="17" y="14"/>
                    </a:lnTo>
                    <a:lnTo>
                      <a:pt x="14" y="14"/>
                    </a:lnTo>
                    <a:lnTo>
                      <a:pt x="12" y="14"/>
                    </a:lnTo>
                    <a:lnTo>
                      <a:pt x="10" y="14"/>
                    </a:lnTo>
                    <a:lnTo>
                      <a:pt x="10" y="14"/>
                    </a:lnTo>
                    <a:lnTo>
                      <a:pt x="7" y="17"/>
                    </a:lnTo>
                    <a:lnTo>
                      <a:pt x="7" y="17"/>
                    </a:lnTo>
                    <a:lnTo>
                      <a:pt x="5" y="17"/>
                    </a:lnTo>
                    <a:lnTo>
                      <a:pt x="5" y="17"/>
                    </a:lnTo>
                    <a:lnTo>
                      <a:pt x="5" y="19"/>
                    </a:lnTo>
                    <a:lnTo>
                      <a:pt x="3" y="21"/>
                    </a:lnTo>
                    <a:lnTo>
                      <a:pt x="3" y="21"/>
                    </a:lnTo>
                    <a:lnTo>
                      <a:pt x="1" y="23"/>
                    </a:lnTo>
                    <a:lnTo>
                      <a:pt x="1" y="25"/>
                    </a:lnTo>
                    <a:lnTo>
                      <a:pt x="0" y="26"/>
                    </a:lnTo>
                    <a:lnTo>
                      <a:pt x="0" y="30"/>
                    </a:lnTo>
                    <a:lnTo>
                      <a:pt x="0" y="32"/>
                    </a:lnTo>
                    <a:lnTo>
                      <a:pt x="1" y="34"/>
                    </a:lnTo>
                    <a:lnTo>
                      <a:pt x="3" y="34"/>
                    </a:lnTo>
                    <a:lnTo>
                      <a:pt x="3" y="34"/>
                    </a:lnTo>
                    <a:lnTo>
                      <a:pt x="5" y="35"/>
                    </a:lnTo>
                    <a:lnTo>
                      <a:pt x="9" y="39"/>
                    </a:lnTo>
                    <a:lnTo>
                      <a:pt x="16" y="96"/>
                    </a:lnTo>
                    <a:lnTo>
                      <a:pt x="17" y="98"/>
                    </a:lnTo>
                    <a:lnTo>
                      <a:pt x="32" y="98"/>
                    </a:lnTo>
                    <a:lnTo>
                      <a:pt x="32" y="96"/>
                    </a:lnTo>
                    <a:lnTo>
                      <a:pt x="32" y="62"/>
                    </a:lnTo>
                    <a:lnTo>
                      <a:pt x="37" y="53"/>
                    </a:lnTo>
                    <a:lnTo>
                      <a:pt x="39" y="44"/>
                    </a:lnTo>
                    <a:lnTo>
                      <a:pt x="44" y="39"/>
                    </a:lnTo>
                    <a:lnTo>
                      <a:pt x="44" y="37"/>
                    </a:lnTo>
                    <a:lnTo>
                      <a:pt x="46" y="37"/>
                    </a:lnTo>
                    <a:lnTo>
                      <a:pt x="46" y="35"/>
                    </a:lnTo>
                    <a:lnTo>
                      <a:pt x="46" y="35"/>
                    </a:lnTo>
                    <a:lnTo>
                      <a:pt x="44" y="34"/>
                    </a:lnTo>
                    <a:lnTo>
                      <a:pt x="44" y="34"/>
                    </a:lnTo>
                    <a:lnTo>
                      <a:pt x="44" y="32"/>
                    </a:lnTo>
                    <a:lnTo>
                      <a:pt x="46" y="30"/>
                    </a:lnTo>
                    <a:lnTo>
                      <a:pt x="48" y="30"/>
                    </a:lnTo>
                    <a:lnTo>
                      <a:pt x="48" y="30"/>
                    </a:lnTo>
                    <a:lnTo>
                      <a:pt x="46" y="19"/>
                    </a:lnTo>
                    <a:lnTo>
                      <a:pt x="44" y="16"/>
                    </a:lnTo>
                    <a:lnTo>
                      <a:pt x="42" y="16"/>
                    </a:lnTo>
                    <a:lnTo>
                      <a:pt x="44" y="12"/>
                    </a:lnTo>
                    <a:lnTo>
                      <a:pt x="44" y="1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87" name="Freeform 2438"/>
              <p:cNvSpPr>
                <a:spLocks/>
              </p:cNvSpPr>
              <p:nvPr/>
            </p:nvSpPr>
            <p:spPr bwMode="auto">
              <a:xfrm>
                <a:off x="2837" y="2677"/>
                <a:ext cx="88" cy="98"/>
              </a:xfrm>
              <a:custGeom>
                <a:avLst/>
                <a:gdLst>
                  <a:gd name="T0" fmla="*/ 36 w 88"/>
                  <a:gd name="T1" fmla="*/ 98 h 98"/>
                  <a:gd name="T2" fmla="*/ 34 w 88"/>
                  <a:gd name="T3" fmla="*/ 95 h 98"/>
                  <a:gd name="T4" fmla="*/ 7 w 88"/>
                  <a:gd name="T5" fmla="*/ 66 h 98"/>
                  <a:gd name="T6" fmla="*/ 0 w 88"/>
                  <a:gd name="T7" fmla="*/ 48 h 98"/>
                  <a:gd name="T8" fmla="*/ 2 w 88"/>
                  <a:gd name="T9" fmla="*/ 47 h 98"/>
                  <a:gd name="T10" fmla="*/ 4 w 88"/>
                  <a:gd name="T11" fmla="*/ 45 h 98"/>
                  <a:gd name="T12" fmla="*/ 7 w 88"/>
                  <a:gd name="T13" fmla="*/ 43 h 98"/>
                  <a:gd name="T14" fmla="*/ 7 w 88"/>
                  <a:gd name="T15" fmla="*/ 32 h 98"/>
                  <a:gd name="T16" fmla="*/ 9 w 88"/>
                  <a:gd name="T17" fmla="*/ 32 h 98"/>
                  <a:gd name="T18" fmla="*/ 11 w 88"/>
                  <a:gd name="T19" fmla="*/ 34 h 98"/>
                  <a:gd name="T20" fmla="*/ 13 w 88"/>
                  <a:gd name="T21" fmla="*/ 34 h 98"/>
                  <a:gd name="T22" fmla="*/ 16 w 88"/>
                  <a:gd name="T23" fmla="*/ 34 h 98"/>
                  <a:gd name="T24" fmla="*/ 16 w 88"/>
                  <a:gd name="T25" fmla="*/ 34 h 98"/>
                  <a:gd name="T26" fmla="*/ 16 w 88"/>
                  <a:gd name="T27" fmla="*/ 32 h 98"/>
                  <a:gd name="T28" fmla="*/ 13 w 88"/>
                  <a:gd name="T29" fmla="*/ 32 h 98"/>
                  <a:gd name="T30" fmla="*/ 9 w 88"/>
                  <a:gd name="T31" fmla="*/ 29 h 98"/>
                  <a:gd name="T32" fmla="*/ 9 w 88"/>
                  <a:gd name="T33" fmla="*/ 27 h 98"/>
                  <a:gd name="T34" fmla="*/ 9 w 88"/>
                  <a:gd name="T35" fmla="*/ 27 h 98"/>
                  <a:gd name="T36" fmla="*/ 11 w 88"/>
                  <a:gd name="T37" fmla="*/ 27 h 98"/>
                  <a:gd name="T38" fmla="*/ 13 w 88"/>
                  <a:gd name="T39" fmla="*/ 25 h 98"/>
                  <a:gd name="T40" fmla="*/ 11 w 88"/>
                  <a:gd name="T41" fmla="*/ 20 h 98"/>
                  <a:gd name="T42" fmla="*/ 39 w 88"/>
                  <a:gd name="T43" fmla="*/ 18 h 98"/>
                  <a:gd name="T44" fmla="*/ 39 w 88"/>
                  <a:gd name="T45" fmla="*/ 18 h 98"/>
                  <a:gd name="T46" fmla="*/ 38 w 88"/>
                  <a:gd name="T47" fmla="*/ 4 h 98"/>
                  <a:gd name="T48" fmla="*/ 39 w 88"/>
                  <a:gd name="T49" fmla="*/ 0 h 98"/>
                  <a:gd name="T50" fmla="*/ 68 w 88"/>
                  <a:gd name="T51" fmla="*/ 0 h 98"/>
                  <a:gd name="T52" fmla="*/ 72 w 88"/>
                  <a:gd name="T53" fmla="*/ 2 h 98"/>
                  <a:gd name="T54" fmla="*/ 70 w 88"/>
                  <a:gd name="T55" fmla="*/ 5 h 98"/>
                  <a:gd name="T56" fmla="*/ 70 w 88"/>
                  <a:gd name="T57" fmla="*/ 16 h 98"/>
                  <a:gd name="T58" fmla="*/ 72 w 88"/>
                  <a:gd name="T59" fmla="*/ 18 h 98"/>
                  <a:gd name="T60" fmla="*/ 77 w 88"/>
                  <a:gd name="T61" fmla="*/ 11 h 98"/>
                  <a:gd name="T62" fmla="*/ 84 w 88"/>
                  <a:gd name="T63" fmla="*/ 13 h 98"/>
                  <a:gd name="T64" fmla="*/ 88 w 88"/>
                  <a:gd name="T65" fmla="*/ 16 h 98"/>
                  <a:gd name="T66" fmla="*/ 88 w 88"/>
                  <a:gd name="T67" fmla="*/ 23 h 98"/>
                  <a:gd name="T68" fmla="*/ 82 w 88"/>
                  <a:gd name="T69" fmla="*/ 32 h 98"/>
                  <a:gd name="T70" fmla="*/ 82 w 88"/>
                  <a:gd name="T71" fmla="*/ 36 h 98"/>
                  <a:gd name="T72" fmla="*/ 88 w 88"/>
                  <a:gd name="T73" fmla="*/ 48 h 98"/>
                  <a:gd name="T74" fmla="*/ 84 w 88"/>
                  <a:gd name="T75" fmla="*/ 73 h 98"/>
                  <a:gd name="T76" fmla="*/ 79 w 88"/>
                  <a:gd name="T77" fmla="*/ 75 h 98"/>
                  <a:gd name="T78" fmla="*/ 73 w 88"/>
                  <a:gd name="T79" fmla="*/ 70 h 98"/>
                  <a:gd name="T80" fmla="*/ 66 w 88"/>
                  <a:gd name="T81" fmla="*/ 70 h 98"/>
                  <a:gd name="T82" fmla="*/ 63 w 88"/>
                  <a:gd name="T83" fmla="*/ 66 h 98"/>
                  <a:gd name="T84" fmla="*/ 61 w 88"/>
                  <a:gd name="T85" fmla="*/ 66 h 98"/>
                  <a:gd name="T86" fmla="*/ 55 w 88"/>
                  <a:gd name="T87" fmla="*/ 72 h 98"/>
                  <a:gd name="T88" fmla="*/ 47 w 88"/>
                  <a:gd name="T89" fmla="*/ 77 h 98"/>
                  <a:gd name="T90" fmla="*/ 45 w 88"/>
                  <a:gd name="T91" fmla="*/ 79 h 98"/>
                  <a:gd name="T92" fmla="*/ 45 w 88"/>
                  <a:gd name="T93" fmla="*/ 82 h 98"/>
                  <a:gd name="T94" fmla="*/ 47 w 88"/>
                  <a:gd name="T95" fmla="*/ 89 h 98"/>
                  <a:gd name="T96" fmla="*/ 45 w 88"/>
                  <a:gd name="T97" fmla="*/ 91 h 98"/>
                  <a:gd name="T98" fmla="*/ 41 w 88"/>
                  <a:gd name="T99" fmla="*/ 91 h 98"/>
                  <a:gd name="T100" fmla="*/ 39 w 88"/>
                  <a:gd name="T101" fmla="*/ 93 h 98"/>
                  <a:gd name="T102" fmla="*/ 38 w 88"/>
                  <a:gd name="T103" fmla="*/ 95 h 98"/>
                  <a:gd name="T104" fmla="*/ 36 w 88"/>
                  <a:gd name="T10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 h="98">
                    <a:moveTo>
                      <a:pt x="36" y="98"/>
                    </a:moveTo>
                    <a:lnTo>
                      <a:pt x="34" y="95"/>
                    </a:lnTo>
                    <a:lnTo>
                      <a:pt x="7" y="66"/>
                    </a:lnTo>
                    <a:lnTo>
                      <a:pt x="0" y="48"/>
                    </a:lnTo>
                    <a:lnTo>
                      <a:pt x="2" y="47"/>
                    </a:lnTo>
                    <a:lnTo>
                      <a:pt x="4" y="45"/>
                    </a:lnTo>
                    <a:lnTo>
                      <a:pt x="7" y="43"/>
                    </a:lnTo>
                    <a:lnTo>
                      <a:pt x="7" y="32"/>
                    </a:lnTo>
                    <a:lnTo>
                      <a:pt x="9" y="32"/>
                    </a:lnTo>
                    <a:lnTo>
                      <a:pt x="11" y="34"/>
                    </a:lnTo>
                    <a:lnTo>
                      <a:pt x="13" y="34"/>
                    </a:lnTo>
                    <a:lnTo>
                      <a:pt x="16" y="34"/>
                    </a:lnTo>
                    <a:lnTo>
                      <a:pt x="16" y="34"/>
                    </a:lnTo>
                    <a:lnTo>
                      <a:pt x="16" y="32"/>
                    </a:lnTo>
                    <a:lnTo>
                      <a:pt x="13" y="32"/>
                    </a:lnTo>
                    <a:lnTo>
                      <a:pt x="9" y="29"/>
                    </a:lnTo>
                    <a:lnTo>
                      <a:pt x="9" y="27"/>
                    </a:lnTo>
                    <a:lnTo>
                      <a:pt x="9" y="27"/>
                    </a:lnTo>
                    <a:lnTo>
                      <a:pt x="11" y="27"/>
                    </a:lnTo>
                    <a:lnTo>
                      <a:pt x="13" y="25"/>
                    </a:lnTo>
                    <a:lnTo>
                      <a:pt x="11" y="20"/>
                    </a:lnTo>
                    <a:lnTo>
                      <a:pt x="39" y="18"/>
                    </a:lnTo>
                    <a:lnTo>
                      <a:pt x="39" y="18"/>
                    </a:lnTo>
                    <a:lnTo>
                      <a:pt x="38" y="4"/>
                    </a:lnTo>
                    <a:lnTo>
                      <a:pt x="39" y="0"/>
                    </a:lnTo>
                    <a:lnTo>
                      <a:pt x="68" y="0"/>
                    </a:lnTo>
                    <a:lnTo>
                      <a:pt x="72" y="2"/>
                    </a:lnTo>
                    <a:lnTo>
                      <a:pt x="70" y="5"/>
                    </a:lnTo>
                    <a:lnTo>
                      <a:pt x="70" y="16"/>
                    </a:lnTo>
                    <a:lnTo>
                      <a:pt x="72" y="18"/>
                    </a:lnTo>
                    <a:lnTo>
                      <a:pt x="77" y="11"/>
                    </a:lnTo>
                    <a:lnTo>
                      <a:pt x="84" y="13"/>
                    </a:lnTo>
                    <a:lnTo>
                      <a:pt x="88" y="16"/>
                    </a:lnTo>
                    <a:lnTo>
                      <a:pt x="88" y="23"/>
                    </a:lnTo>
                    <a:lnTo>
                      <a:pt x="82" y="32"/>
                    </a:lnTo>
                    <a:lnTo>
                      <a:pt x="82" y="36"/>
                    </a:lnTo>
                    <a:lnTo>
                      <a:pt x="88" y="48"/>
                    </a:lnTo>
                    <a:lnTo>
                      <a:pt x="84" y="73"/>
                    </a:lnTo>
                    <a:lnTo>
                      <a:pt x="79" y="75"/>
                    </a:lnTo>
                    <a:lnTo>
                      <a:pt x="73" y="70"/>
                    </a:lnTo>
                    <a:lnTo>
                      <a:pt x="66" y="70"/>
                    </a:lnTo>
                    <a:lnTo>
                      <a:pt x="63" y="66"/>
                    </a:lnTo>
                    <a:lnTo>
                      <a:pt x="61" y="66"/>
                    </a:lnTo>
                    <a:lnTo>
                      <a:pt x="55" y="72"/>
                    </a:lnTo>
                    <a:lnTo>
                      <a:pt x="47" y="77"/>
                    </a:lnTo>
                    <a:lnTo>
                      <a:pt x="45" y="79"/>
                    </a:lnTo>
                    <a:lnTo>
                      <a:pt x="45" y="82"/>
                    </a:lnTo>
                    <a:lnTo>
                      <a:pt x="47" y="89"/>
                    </a:lnTo>
                    <a:lnTo>
                      <a:pt x="45" y="91"/>
                    </a:lnTo>
                    <a:lnTo>
                      <a:pt x="41" y="91"/>
                    </a:lnTo>
                    <a:lnTo>
                      <a:pt x="39" y="93"/>
                    </a:lnTo>
                    <a:lnTo>
                      <a:pt x="38" y="95"/>
                    </a:lnTo>
                    <a:lnTo>
                      <a:pt x="36" y="9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88" name="Freeform 2439"/>
              <p:cNvSpPr>
                <a:spLocks/>
              </p:cNvSpPr>
              <p:nvPr/>
            </p:nvSpPr>
            <p:spPr bwMode="auto">
              <a:xfrm>
                <a:off x="2837" y="2677"/>
                <a:ext cx="88" cy="98"/>
              </a:xfrm>
              <a:custGeom>
                <a:avLst/>
                <a:gdLst>
                  <a:gd name="T0" fmla="*/ 36 w 88"/>
                  <a:gd name="T1" fmla="*/ 98 h 98"/>
                  <a:gd name="T2" fmla="*/ 34 w 88"/>
                  <a:gd name="T3" fmla="*/ 95 h 98"/>
                  <a:gd name="T4" fmla="*/ 7 w 88"/>
                  <a:gd name="T5" fmla="*/ 66 h 98"/>
                  <a:gd name="T6" fmla="*/ 0 w 88"/>
                  <a:gd name="T7" fmla="*/ 48 h 98"/>
                  <a:gd name="T8" fmla="*/ 2 w 88"/>
                  <a:gd name="T9" fmla="*/ 47 h 98"/>
                  <a:gd name="T10" fmla="*/ 4 w 88"/>
                  <a:gd name="T11" fmla="*/ 45 h 98"/>
                  <a:gd name="T12" fmla="*/ 7 w 88"/>
                  <a:gd name="T13" fmla="*/ 43 h 98"/>
                  <a:gd name="T14" fmla="*/ 7 w 88"/>
                  <a:gd name="T15" fmla="*/ 32 h 98"/>
                  <a:gd name="T16" fmla="*/ 9 w 88"/>
                  <a:gd name="T17" fmla="*/ 32 h 98"/>
                  <a:gd name="T18" fmla="*/ 11 w 88"/>
                  <a:gd name="T19" fmla="*/ 34 h 98"/>
                  <a:gd name="T20" fmla="*/ 13 w 88"/>
                  <a:gd name="T21" fmla="*/ 34 h 98"/>
                  <a:gd name="T22" fmla="*/ 16 w 88"/>
                  <a:gd name="T23" fmla="*/ 34 h 98"/>
                  <a:gd name="T24" fmla="*/ 16 w 88"/>
                  <a:gd name="T25" fmla="*/ 34 h 98"/>
                  <a:gd name="T26" fmla="*/ 16 w 88"/>
                  <a:gd name="T27" fmla="*/ 32 h 98"/>
                  <a:gd name="T28" fmla="*/ 13 w 88"/>
                  <a:gd name="T29" fmla="*/ 32 h 98"/>
                  <a:gd name="T30" fmla="*/ 9 w 88"/>
                  <a:gd name="T31" fmla="*/ 29 h 98"/>
                  <a:gd name="T32" fmla="*/ 9 w 88"/>
                  <a:gd name="T33" fmla="*/ 27 h 98"/>
                  <a:gd name="T34" fmla="*/ 9 w 88"/>
                  <a:gd name="T35" fmla="*/ 27 h 98"/>
                  <a:gd name="T36" fmla="*/ 11 w 88"/>
                  <a:gd name="T37" fmla="*/ 27 h 98"/>
                  <a:gd name="T38" fmla="*/ 13 w 88"/>
                  <a:gd name="T39" fmla="*/ 25 h 98"/>
                  <a:gd name="T40" fmla="*/ 11 w 88"/>
                  <a:gd name="T41" fmla="*/ 20 h 98"/>
                  <a:gd name="T42" fmla="*/ 39 w 88"/>
                  <a:gd name="T43" fmla="*/ 18 h 98"/>
                  <a:gd name="T44" fmla="*/ 39 w 88"/>
                  <a:gd name="T45" fmla="*/ 18 h 98"/>
                  <a:gd name="T46" fmla="*/ 38 w 88"/>
                  <a:gd name="T47" fmla="*/ 4 h 98"/>
                  <a:gd name="T48" fmla="*/ 39 w 88"/>
                  <a:gd name="T49" fmla="*/ 0 h 98"/>
                  <a:gd name="T50" fmla="*/ 68 w 88"/>
                  <a:gd name="T51" fmla="*/ 0 h 98"/>
                  <a:gd name="T52" fmla="*/ 72 w 88"/>
                  <a:gd name="T53" fmla="*/ 2 h 98"/>
                  <a:gd name="T54" fmla="*/ 70 w 88"/>
                  <a:gd name="T55" fmla="*/ 5 h 98"/>
                  <a:gd name="T56" fmla="*/ 70 w 88"/>
                  <a:gd name="T57" fmla="*/ 16 h 98"/>
                  <a:gd name="T58" fmla="*/ 72 w 88"/>
                  <a:gd name="T59" fmla="*/ 18 h 98"/>
                  <a:gd name="T60" fmla="*/ 77 w 88"/>
                  <a:gd name="T61" fmla="*/ 11 h 98"/>
                  <a:gd name="T62" fmla="*/ 84 w 88"/>
                  <a:gd name="T63" fmla="*/ 13 h 98"/>
                  <a:gd name="T64" fmla="*/ 88 w 88"/>
                  <a:gd name="T65" fmla="*/ 16 h 98"/>
                  <a:gd name="T66" fmla="*/ 88 w 88"/>
                  <a:gd name="T67" fmla="*/ 23 h 98"/>
                  <a:gd name="T68" fmla="*/ 82 w 88"/>
                  <a:gd name="T69" fmla="*/ 32 h 98"/>
                  <a:gd name="T70" fmla="*/ 82 w 88"/>
                  <a:gd name="T71" fmla="*/ 36 h 98"/>
                  <a:gd name="T72" fmla="*/ 88 w 88"/>
                  <a:gd name="T73" fmla="*/ 48 h 98"/>
                  <a:gd name="T74" fmla="*/ 84 w 88"/>
                  <a:gd name="T75" fmla="*/ 73 h 98"/>
                  <a:gd name="T76" fmla="*/ 79 w 88"/>
                  <a:gd name="T77" fmla="*/ 75 h 98"/>
                  <a:gd name="T78" fmla="*/ 73 w 88"/>
                  <a:gd name="T79" fmla="*/ 70 h 98"/>
                  <a:gd name="T80" fmla="*/ 66 w 88"/>
                  <a:gd name="T81" fmla="*/ 70 h 98"/>
                  <a:gd name="T82" fmla="*/ 63 w 88"/>
                  <a:gd name="T83" fmla="*/ 66 h 98"/>
                  <a:gd name="T84" fmla="*/ 61 w 88"/>
                  <a:gd name="T85" fmla="*/ 66 h 98"/>
                  <a:gd name="T86" fmla="*/ 55 w 88"/>
                  <a:gd name="T87" fmla="*/ 72 h 98"/>
                  <a:gd name="T88" fmla="*/ 47 w 88"/>
                  <a:gd name="T89" fmla="*/ 77 h 98"/>
                  <a:gd name="T90" fmla="*/ 45 w 88"/>
                  <a:gd name="T91" fmla="*/ 79 h 98"/>
                  <a:gd name="T92" fmla="*/ 45 w 88"/>
                  <a:gd name="T93" fmla="*/ 82 h 98"/>
                  <a:gd name="T94" fmla="*/ 47 w 88"/>
                  <a:gd name="T95" fmla="*/ 89 h 98"/>
                  <a:gd name="T96" fmla="*/ 45 w 88"/>
                  <a:gd name="T97" fmla="*/ 91 h 98"/>
                  <a:gd name="T98" fmla="*/ 41 w 88"/>
                  <a:gd name="T99" fmla="*/ 91 h 98"/>
                  <a:gd name="T100" fmla="*/ 39 w 88"/>
                  <a:gd name="T101" fmla="*/ 93 h 98"/>
                  <a:gd name="T102" fmla="*/ 38 w 88"/>
                  <a:gd name="T103" fmla="*/ 95 h 98"/>
                  <a:gd name="T104" fmla="*/ 36 w 88"/>
                  <a:gd name="T105"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 h="98">
                    <a:moveTo>
                      <a:pt x="36" y="98"/>
                    </a:moveTo>
                    <a:lnTo>
                      <a:pt x="34" y="95"/>
                    </a:lnTo>
                    <a:lnTo>
                      <a:pt x="7" y="66"/>
                    </a:lnTo>
                    <a:lnTo>
                      <a:pt x="0" y="48"/>
                    </a:lnTo>
                    <a:lnTo>
                      <a:pt x="2" y="47"/>
                    </a:lnTo>
                    <a:lnTo>
                      <a:pt x="4" y="45"/>
                    </a:lnTo>
                    <a:lnTo>
                      <a:pt x="7" y="43"/>
                    </a:lnTo>
                    <a:lnTo>
                      <a:pt x="7" y="32"/>
                    </a:lnTo>
                    <a:lnTo>
                      <a:pt x="9" y="32"/>
                    </a:lnTo>
                    <a:lnTo>
                      <a:pt x="11" y="34"/>
                    </a:lnTo>
                    <a:lnTo>
                      <a:pt x="13" y="34"/>
                    </a:lnTo>
                    <a:lnTo>
                      <a:pt x="16" y="34"/>
                    </a:lnTo>
                    <a:lnTo>
                      <a:pt x="16" y="34"/>
                    </a:lnTo>
                    <a:lnTo>
                      <a:pt x="16" y="32"/>
                    </a:lnTo>
                    <a:lnTo>
                      <a:pt x="13" y="32"/>
                    </a:lnTo>
                    <a:lnTo>
                      <a:pt x="9" y="29"/>
                    </a:lnTo>
                    <a:lnTo>
                      <a:pt x="9" y="27"/>
                    </a:lnTo>
                    <a:lnTo>
                      <a:pt x="9" y="27"/>
                    </a:lnTo>
                    <a:lnTo>
                      <a:pt x="11" y="27"/>
                    </a:lnTo>
                    <a:lnTo>
                      <a:pt x="13" y="25"/>
                    </a:lnTo>
                    <a:lnTo>
                      <a:pt x="11" y="20"/>
                    </a:lnTo>
                    <a:lnTo>
                      <a:pt x="39" y="18"/>
                    </a:lnTo>
                    <a:lnTo>
                      <a:pt x="39" y="18"/>
                    </a:lnTo>
                    <a:lnTo>
                      <a:pt x="38" y="4"/>
                    </a:lnTo>
                    <a:lnTo>
                      <a:pt x="39" y="0"/>
                    </a:lnTo>
                    <a:lnTo>
                      <a:pt x="68" y="0"/>
                    </a:lnTo>
                    <a:lnTo>
                      <a:pt x="72" y="2"/>
                    </a:lnTo>
                    <a:lnTo>
                      <a:pt x="70" y="5"/>
                    </a:lnTo>
                    <a:lnTo>
                      <a:pt x="70" y="16"/>
                    </a:lnTo>
                    <a:lnTo>
                      <a:pt x="72" y="18"/>
                    </a:lnTo>
                    <a:lnTo>
                      <a:pt x="77" y="11"/>
                    </a:lnTo>
                    <a:lnTo>
                      <a:pt x="84" y="13"/>
                    </a:lnTo>
                    <a:lnTo>
                      <a:pt x="88" y="16"/>
                    </a:lnTo>
                    <a:lnTo>
                      <a:pt x="88" y="23"/>
                    </a:lnTo>
                    <a:lnTo>
                      <a:pt x="82" y="32"/>
                    </a:lnTo>
                    <a:lnTo>
                      <a:pt x="82" y="36"/>
                    </a:lnTo>
                    <a:lnTo>
                      <a:pt x="88" y="48"/>
                    </a:lnTo>
                    <a:lnTo>
                      <a:pt x="84" y="73"/>
                    </a:lnTo>
                    <a:lnTo>
                      <a:pt x="79" y="75"/>
                    </a:lnTo>
                    <a:lnTo>
                      <a:pt x="73" y="70"/>
                    </a:lnTo>
                    <a:lnTo>
                      <a:pt x="66" y="70"/>
                    </a:lnTo>
                    <a:lnTo>
                      <a:pt x="63" y="66"/>
                    </a:lnTo>
                    <a:lnTo>
                      <a:pt x="61" y="66"/>
                    </a:lnTo>
                    <a:lnTo>
                      <a:pt x="55" y="72"/>
                    </a:lnTo>
                    <a:lnTo>
                      <a:pt x="47" y="77"/>
                    </a:lnTo>
                    <a:lnTo>
                      <a:pt x="45" y="79"/>
                    </a:lnTo>
                    <a:lnTo>
                      <a:pt x="45" y="82"/>
                    </a:lnTo>
                    <a:lnTo>
                      <a:pt x="47" y="89"/>
                    </a:lnTo>
                    <a:lnTo>
                      <a:pt x="45" y="91"/>
                    </a:lnTo>
                    <a:lnTo>
                      <a:pt x="41" y="91"/>
                    </a:lnTo>
                    <a:lnTo>
                      <a:pt x="39" y="93"/>
                    </a:lnTo>
                    <a:lnTo>
                      <a:pt x="38" y="95"/>
                    </a:lnTo>
                    <a:lnTo>
                      <a:pt x="36" y="9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89" name="Freeform 2440"/>
              <p:cNvSpPr>
                <a:spLocks/>
              </p:cNvSpPr>
              <p:nvPr/>
            </p:nvSpPr>
            <p:spPr bwMode="auto">
              <a:xfrm>
                <a:off x="3225" y="2474"/>
                <a:ext cx="241" cy="183"/>
              </a:xfrm>
              <a:custGeom>
                <a:avLst/>
                <a:gdLst>
                  <a:gd name="T0" fmla="*/ 50 w 241"/>
                  <a:gd name="T1" fmla="*/ 32 h 183"/>
                  <a:gd name="T2" fmla="*/ 46 w 241"/>
                  <a:gd name="T3" fmla="*/ 33 h 183"/>
                  <a:gd name="T4" fmla="*/ 30 w 241"/>
                  <a:gd name="T5" fmla="*/ 64 h 183"/>
                  <a:gd name="T6" fmla="*/ 25 w 241"/>
                  <a:gd name="T7" fmla="*/ 64 h 183"/>
                  <a:gd name="T8" fmla="*/ 19 w 241"/>
                  <a:gd name="T9" fmla="*/ 71 h 183"/>
                  <a:gd name="T10" fmla="*/ 17 w 241"/>
                  <a:gd name="T11" fmla="*/ 101 h 183"/>
                  <a:gd name="T12" fmla="*/ 12 w 241"/>
                  <a:gd name="T13" fmla="*/ 105 h 183"/>
                  <a:gd name="T14" fmla="*/ 3 w 241"/>
                  <a:gd name="T15" fmla="*/ 105 h 183"/>
                  <a:gd name="T16" fmla="*/ 1 w 241"/>
                  <a:gd name="T17" fmla="*/ 110 h 183"/>
                  <a:gd name="T18" fmla="*/ 1 w 241"/>
                  <a:gd name="T19" fmla="*/ 114 h 183"/>
                  <a:gd name="T20" fmla="*/ 5 w 241"/>
                  <a:gd name="T21" fmla="*/ 116 h 183"/>
                  <a:gd name="T22" fmla="*/ 10 w 241"/>
                  <a:gd name="T23" fmla="*/ 116 h 183"/>
                  <a:gd name="T24" fmla="*/ 16 w 241"/>
                  <a:gd name="T25" fmla="*/ 121 h 183"/>
                  <a:gd name="T26" fmla="*/ 21 w 241"/>
                  <a:gd name="T27" fmla="*/ 128 h 183"/>
                  <a:gd name="T28" fmla="*/ 34 w 241"/>
                  <a:gd name="T29" fmla="*/ 150 h 183"/>
                  <a:gd name="T30" fmla="*/ 42 w 241"/>
                  <a:gd name="T31" fmla="*/ 153 h 183"/>
                  <a:gd name="T32" fmla="*/ 44 w 241"/>
                  <a:gd name="T33" fmla="*/ 166 h 183"/>
                  <a:gd name="T34" fmla="*/ 59 w 241"/>
                  <a:gd name="T35" fmla="*/ 166 h 183"/>
                  <a:gd name="T36" fmla="*/ 76 w 241"/>
                  <a:gd name="T37" fmla="*/ 178 h 183"/>
                  <a:gd name="T38" fmla="*/ 109 w 241"/>
                  <a:gd name="T39" fmla="*/ 180 h 183"/>
                  <a:gd name="T40" fmla="*/ 125 w 241"/>
                  <a:gd name="T41" fmla="*/ 171 h 183"/>
                  <a:gd name="T42" fmla="*/ 142 w 241"/>
                  <a:gd name="T43" fmla="*/ 176 h 183"/>
                  <a:gd name="T44" fmla="*/ 157 w 241"/>
                  <a:gd name="T45" fmla="*/ 169 h 183"/>
                  <a:gd name="T46" fmla="*/ 173 w 241"/>
                  <a:gd name="T47" fmla="*/ 160 h 183"/>
                  <a:gd name="T48" fmla="*/ 239 w 241"/>
                  <a:gd name="T49" fmla="*/ 112 h 183"/>
                  <a:gd name="T50" fmla="*/ 225 w 241"/>
                  <a:gd name="T51" fmla="*/ 110 h 183"/>
                  <a:gd name="T52" fmla="*/ 175 w 241"/>
                  <a:gd name="T53" fmla="*/ 91 h 183"/>
                  <a:gd name="T54" fmla="*/ 166 w 241"/>
                  <a:gd name="T55" fmla="*/ 83 h 183"/>
                  <a:gd name="T56" fmla="*/ 164 w 241"/>
                  <a:gd name="T57" fmla="*/ 82 h 183"/>
                  <a:gd name="T58" fmla="*/ 160 w 241"/>
                  <a:gd name="T59" fmla="*/ 76 h 183"/>
                  <a:gd name="T60" fmla="*/ 157 w 241"/>
                  <a:gd name="T61" fmla="*/ 67 h 183"/>
                  <a:gd name="T62" fmla="*/ 159 w 241"/>
                  <a:gd name="T63" fmla="*/ 64 h 183"/>
                  <a:gd name="T64" fmla="*/ 155 w 241"/>
                  <a:gd name="T65" fmla="*/ 62 h 183"/>
                  <a:gd name="T66" fmla="*/ 150 w 241"/>
                  <a:gd name="T67" fmla="*/ 64 h 183"/>
                  <a:gd name="T68" fmla="*/ 150 w 241"/>
                  <a:gd name="T69" fmla="*/ 64 h 183"/>
                  <a:gd name="T70" fmla="*/ 146 w 241"/>
                  <a:gd name="T71" fmla="*/ 64 h 183"/>
                  <a:gd name="T72" fmla="*/ 141 w 241"/>
                  <a:gd name="T73" fmla="*/ 62 h 183"/>
                  <a:gd name="T74" fmla="*/ 144 w 241"/>
                  <a:gd name="T75" fmla="*/ 51 h 183"/>
                  <a:gd name="T76" fmla="*/ 150 w 241"/>
                  <a:gd name="T77" fmla="*/ 41 h 183"/>
                  <a:gd name="T78" fmla="*/ 141 w 241"/>
                  <a:gd name="T79" fmla="*/ 33 h 183"/>
                  <a:gd name="T80" fmla="*/ 123 w 241"/>
                  <a:gd name="T81" fmla="*/ 12 h 183"/>
                  <a:gd name="T82" fmla="*/ 114 w 241"/>
                  <a:gd name="T83" fmla="*/ 7 h 183"/>
                  <a:gd name="T84" fmla="*/ 109 w 241"/>
                  <a:gd name="T85" fmla="*/ 8 h 183"/>
                  <a:gd name="T86" fmla="*/ 107 w 241"/>
                  <a:gd name="T87" fmla="*/ 7 h 183"/>
                  <a:gd name="T88" fmla="*/ 103 w 241"/>
                  <a:gd name="T89" fmla="*/ 5 h 183"/>
                  <a:gd name="T90" fmla="*/ 101 w 241"/>
                  <a:gd name="T91" fmla="*/ 7 h 183"/>
                  <a:gd name="T92" fmla="*/ 98 w 241"/>
                  <a:gd name="T93" fmla="*/ 7 h 183"/>
                  <a:gd name="T94" fmla="*/ 98 w 241"/>
                  <a:gd name="T95" fmla="*/ 5 h 183"/>
                  <a:gd name="T96" fmla="*/ 94 w 241"/>
                  <a:gd name="T97" fmla="*/ 5 h 183"/>
                  <a:gd name="T98" fmla="*/ 92 w 241"/>
                  <a:gd name="T99" fmla="*/ 7 h 183"/>
                  <a:gd name="T100" fmla="*/ 87 w 241"/>
                  <a:gd name="T101" fmla="*/ 8 h 183"/>
                  <a:gd name="T102" fmla="*/ 82 w 241"/>
                  <a:gd name="T103" fmla="*/ 5 h 183"/>
                  <a:gd name="T104" fmla="*/ 82 w 241"/>
                  <a:gd name="T105" fmla="*/ 3 h 183"/>
                  <a:gd name="T106" fmla="*/ 76 w 241"/>
                  <a:gd name="T107" fmla="*/ 0 h 183"/>
                  <a:gd name="T108" fmla="*/ 67 w 241"/>
                  <a:gd name="T109" fmla="*/ 10 h 183"/>
                  <a:gd name="T110" fmla="*/ 67 w 241"/>
                  <a:gd name="T111" fmla="*/ 7 h 183"/>
                  <a:gd name="T112" fmla="*/ 64 w 241"/>
                  <a:gd name="T113" fmla="*/ 8 h 183"/>
                  <a:gd name="T114" fmla="*/ 62 w 241"/>
                  <a:gd name="T115" fmla="*/ 10 h 183"/>
                  <a:gd name="T116" fmla="*/ 60 w 241"/>
                  <a:gd name="T117" fmla="*/ 10 h 183"/>
                  <a:gd name="T118" fmla="*/ 55 w 241"/>
                  <a:gd name="T119" fmla="*/ 1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 h="183">
                    <a:moveTo>
                      <a:pt x="55" y="10"/>
                    </a:moveTo>
                    <a:lnTo>
                      <a:pt x="50" y="32"/>
                    </a:lnTo>
                    <a:lnTo>
                      <a:pt x="48" y="33"/>
                    </a:lnTo>
                    <a:lnTo>
                      <a:pt x="46" y="33"/>
                    </a:lnTo>
                    <a:lnTo>
                      <a:pt x="32" y="51"/>
                    </a:lnTo>
                    <a:lnTo>
                      <a:pt x="30" y="64"/>
                    </a:lnTo>
                    <a:lnTo>
                      <a:pt x="28" y="64"/>
                    </a:lnTo>
                    <a:lnTo>
                      <a:pt x="25" y="64"/>
                    </a:lnTo>
                    <a:lnTo>
                      <a:pt x="23" y="66"/>
                    </a:lnTo>
                    <a:lnTo>
                      <a:pt x="19" y="71"/>
                    </a:lnTo>
                    <a:lnTo>
                      <a:pt x="19" y="71"/>
                    </a:lnTo>
                    <a:lnTo>
                      <a:pt x="17" y="101"/>
                    </a:lnTo>
                    <a:lnTo>
                      <a:pt x="16" y="103"/>
                    </a:lnTo>
                    <a:lnTo>
                      <a:pt x="12" y="105"/>
                    </a:lnTo>
                    <a:lnTo>
                      <a:pt x="5" y="103"/>
                    </a:lnTo>
                    <a:lnTo>
                      <a:pt x="3" y="105"/>
                    </a:lnTo>
                    <a:lnTo>
                      <a:pt x="3" y="108"/>
                    </a:lnTo>
                    <a:lnTo>
                      <a:pt x="1" y="110"/>
                    </a:lnTo>
                    <a:lnTo>
                      <a:pt x="0" y="112"/>
                    </a:lnTo>
                    <a:lnTo>
                      <a:pt x="1" y="114"/>
                    </a:lnTo>
                    <a:lnTo>
                      <a:pt x="3" y="114"/>
                    </a:lnTo>
                    <a:lnTo>
                      <a:pt x="5" y="116"/>
                    </a:lnTo>
                    <a:lnTo>
                      <a:pt x="9" y="116"/>
                    </a:lnTo>
                    <a:lnTo>
                      <a:pt x="10" y="116"/>
                    </a:lnTo>
                    <a:lnTo>
                      <a:pt x="14" y="117"/>
                    </a:lnTo>
                    <a:lnTo>
                      <a:pt x="16" y="121"/>
                    </a:lnTo>
                    <a:lnTo>
                      <a:pt x="16" y="125"/>
                    </a:lnTo>
                    <a:lnTo>
                      <a:pt x="21" y="128"/>
                    </a:lnTo>
                    <a:lnTo>
                      <a:pt x="26" y="132"/>
                    </a:lnTo>
                    <a:lnTo>
                      <a:pt x="34" y="150"/>
                    </a:lnTo>
                    <a:lnTo>
                      <a:pt x="37" y="151"/>
                    </a:lnTo>
                    <a:lnTo>
                      <a:pt x="42" y="153"/>
                    </a:lnTo>
                    <a:lnTo>
                      <a:pt x="46" y="155"/>
                    </a:lnTo>
                    <a:lnTo>
                      <a:pt x="44" y="166"/>
                    </a:lnTo>
                    <a:lnTo>
                      <a:pt x="50" y="167"/>
                    </a:lnTo>
                    <a:lnTo>
                      <a:pt x="59" y="166"/>
                    </a:lnTo>
                    <a:lnTo>
                      <a:pt x="75" y="176"/>
                    </a:lnTo>
                    <a:lnTo>
                      <a:pt x="76" y="178"/>
                    </a:lnTo>
                    <a:lnTo>
                      <a:pt x="101" y="183"/>
                    </a:lnTo>
                    <a:lnTo>
                      <a:pt x="109" y="180"/>
                    </a:lnTo>
                    <a:lnTo>
                      <a:pt x="112" y="175"/>
                    </a:lnTo>
                    <a:lnTo>
                      <a:pt x="125" y="171"/>
                    </a:lnTo>
                    <a:lnTo>
                      <a:pt x="134" y="176"/>
                    </a:lnTo>
                    <a:lnTo>
                      <a:pt x="142" y="176"/>
                    </a:lnTo>
                    <a:lnTo>
                      <a:pt x="142" y="175"/>
                    </a:lnTo>
                    <a:lnTo>
                      <a:pt x="157" y="169"/>
                    </a:lnTo>
                    <a:lnTo>
                      <a:pt x="166" y="164"/>
                    </a:lnTo>
                    <a:lnTo>
                      <a:pt x="173" y="160"/>
                    </a:lnTo>
                    <a:lnTo>
                      <a:pt x="192" y="158"/>
                    </a:lnTo>
                    <a:lnTo>
                      <a:pt x="239" y="112"/>
                    </a:lnTo>
                    <a:lnTo>
                      <a:pt x="241" y="110"/>
                    </a:lnTo>
                    <a:lnTo>
                      <a:pt x="225" y="110"/>
                    </a:lnTo>
                    <a:lnTo>
                      <a:pt x="176" y="94"/>
                    </a:lnTo>
                    <a:lnTo>
                      <a:pt x="175" y="91"/>
                    </a:lnTo>
                    <a:lnTo>
                      <a:pt x="167" y="87"/>
                    </a:lnTo>
                    <a:lnTo>
                      <a:pt x="166" y="83"/>
                    </a:lnTo>
                    <a:lnTo>
                      <a:pt x="164" y="83"/>
                    </a:lnTo>
                    <a:lnTo>
                      <a:pt x="164" y="82"/>
                    </a:lnTo>
                    <a:lnTo>
                      <a:pt x="160" y="78"/>
                    </a:lnTo>
                    <a:lnTo>
                      <a:pt x="160" y="76"/>
                    </a:lnTo>
                    <a:lnTo>
                      <a:pt x="159" y="75"/>
                    </a:lnTo>
                    <a:lnTo>
                      <a:pt x="157" y="67"/>
                    </a:lnTo>
                    <a:lnTo>
                      <a:pt x="157" y="66"/>
                    </a:lnTo>
                    <a:lnTo>
                      <a:pt x="159" y="64"/>
                    </a:lnTo>
                    <a:lnTo>
                      <a:pt x="159" y="64"/>
                    </a:lnTo>
                    <a:lnTo>
                      <a:pt x="155" y="62"/>
                    </a:lnTo>
                    <a:lnTo>
                      <a:pt x="153" y="62"/>
                    </a:lnTo>
                    <a:lnTo>
                      <a:pt x="150" y="64"/>
                    </a:lnTo>
                    <a:lnTo>
                      <a:pt x="150" y="64"/>
                    </a:lnTo>
                    <a:lnTo>
                      <a:pt x="150" y="64"/>
                    </a:lnTo>
                    <a:lnTo>
                      <a:pt x="148" y="64"/>
                    </a:lnTo>
                    <a:lnTo>
                      <a:pt x="146" y="64"/>
                    </a:lnTo>
                    <a:lnTo>
                      <a:pt x="142" y="64"/>
                    </a:lnTo>
                    <a:lnTo>
                      <a:pt x="141" y="62"/>
                    </a:lnTo>
                    <a:lnTo>
                      <a:pt x="141" y="58"/>
                    </a:lnTo>
                    <a:lnTo>
                      <a:pt x="144" y="51"/>
                    </a:lnTo>
                    <a:lnTo>
                      <a:pt x="148" y="42"/>
                    </a:lnTo>
                    <a:lnTo>
                      <a:pt x="150" y="41"/>
                    </a:lnTo>
                    <a:lnTo>
                      <a:pt x="146" y="37"/>
                    </a:lnTo>
                    <a:lnTo>
                      <a:pt x="141" y="33"/>
                    </a:lnTo>
                    <a:lnTo>
                      <a:pt x="139" y="30"/>
                    </a:lnTo>
                    <a:lnTo>
                      <a:pt x="123" y="12"/>
                    </a:lnTo>
                    <a:lnTo>
                      <a:pt x="119" y="12"/>
                    </a:lnTo>
                    <a:lnTo>
                      <a:pt x="114" y="7"/>
                    </a:lnTo>
                    <a:lnTo>
                      <a:pt x="110" y="7"/>
                    </a:lnTo>
                    <a:lnTo>
                      <a:pt x="109" y="8"/>
                    </a:lnTo>
                    <a:lnTo>
                      <a:pt x="109" y="8"/>
                    </a:lnTo>
                    <a:lnTo>
                      <a:pt x="107" y="7"/>
                    </a:lnTo>
                    <a:lnTo>
                      <a:pt x="105" y="7"/>
                    </a:lnTo>
                    <a:lnTo>
                      <a:pt x="103" y="5"/>
                    </a:lnTo>
                    <a:lnTo>
                      <a:pt x="103" y="5"/>
                    </a:lnTo>
                    <a:lnTo>
                      <a:pt x="101" y="7"/>
                    </a:lnTo>
                    <a:lnTo>
                      <a:pt x="100" y="7"/>
                    </a:lnTo>
                    <a:lnTo>
                      <a:pt x="98" y="7"/>
                    </a:lnTo>
                    <a:lnTo>
                      <a:pt x="98" y="7"/>
                    </a:lnTo>
                    <a:lnTo>
                      <a:pt x="98" y="5"/>
                    </a:lnTo>
                    <a:lnTo>
                      <a:pt x="96" y="5"/>
                    </a:lnTo>
                    <a:lnTo>
                      <a:pt x="94" y="5"/>
                    </a:lnTo>
                    <a:lnTo>
                      <a:pt x="94" y="5"/>
                    </a:lnTo>
                    <a:lnTo>
                      <a:pt x="92" y="7"/>
                    </a:lnTo>
                    <a:lnTo>
                      <a:pt x="89" y="7"/>
                    </a:lnTo>
                    <a:lnTo>
                      <a:pt x="87" y="8"/>
                    </a:lnTo>
                    <a:lnTo>
                      <a:pt x="85" y="8"/>
                    </a:lnTo>
                    <a:lnTo>
                      <a:pt x="82" y="5"/>
                    </a:lnTo>
                    <a:lnTo>
                      <a:pt x="82" y="3"/>
                    </a:lnTo>
                    <a:lnTo>
                      <a:pt x="82" y="3"/>
                    </a:lnTo>
                    <a:lnTo>
                      <a:pt x="80" y="3"/>
                    </a:lnTo>
                    <a:lnTo>
                      <a:pt x="76" y="0"/>
                    </a:lnTo>
                    <a:lnTo>
                      <a:pt x="71" y="14"/>
                    </a:lnTo>
                    <a:lnTo>
                      <a:pt x="67" y="10"/>
                    </a:lnTo>
                    <a:lnTo>
                      <a:pt x="67" y="8"/>
                    </a:lnTo>
                    <a:lnTo>
                      <a:pt x="67" y="7"/>
                    </a:lnTo>
                    <a:lnTo>
                      <a:pt x="64" y="7"/>
                    </a:lnTo>
                    <a:lnTo>
                      <a:pt x="64" y="8"/>
                    </a:lnTo>
                    <a:lnTo>
                      <a:pt x="64" y="10"/>
                    </a:lnTo>
                    <a:lnTo>
                      <a:pt x="62" y="10"/>
                    </a:lnTo>
                    <a:lnTo>
                      <a:pt x="62" y="10"/>
                    </a:lnTo>
                    <a:lnTo>
                      <a:pt x="60" y="10"/>
                    </a:lnTo>
                    <a:lnTo>
                      <a:pt x="57" y="10"/>
                    </a:lnTo>
                    <a:lnTo>
                      <a:pt x="55" y="1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90" name="Freeform 2441"/>
              <p:cNvSpPr>
                <a:spLocks/>
              </p:cNvSpPr>
              <p:nvPr/>
            </p:nvSpPr>
            <p:spPr bwMode="auto">
              <a:xfrm>
                <a:off x="3225" y="2474"/>
                <a:ext cx="241" cy="183"/>
              </a:xfrm>
              <a:custGeom>
                <a:avLst/>
                <a:gdLst>
                  <a:gd name="T0" fmla="*/ 50 w 241"/>
                  <a:gd name="T1" fmla="*/ 32 h 183"/>
                  <a:gd name="T2" fmla="*/ 46 w 241"/>
                  <a:gd name="T3" fmla="*/ 33 h 183"/>
                  <a:gd name="T4" fmla="*/ 30 w 241"/>
                  <a:gd name="T5" fmla="*/ 64 h 183"/>
                  <a:gd name="T6" fmla="*/ 25 w 241"/>
                  <a:gd name="T7" fmla="*/ 64 h 183"/>
                  <a:gd name="T8" fmla="*/ 19 w 241"/>
                  <a:gd name="T9" fmla="*/ 71 h 183"/>
                  <a:gd name="T10" fmla="*/ 17 w 241"/>
                  <a:gd name="T11" fmla="*/ 101 h 183"/>
                  <a:gd name="T12" fmla="*/ 12 w 241"/>
                  <a:gd name="T13" fmla="*/ 105 h 183"/>
                  <a:gd name="T14" fmla="*/ 3 w 241"/>
                  <a:gd name="T15" fmla="*/ 105 h 183"/>
                  <a:gd name="T16" fmla="*/ 1 w 241"/>
                  <a:gd name="T17" fmla="*/ 110 h 183"/>
                  <a:gd name="T18" fmla="*/ 1 w 241"/>
                  <a:gd name="T19" fmla="*/ 114 h 183"/>
                  <a:gd name="T20" fmla="*/ 5 w 241"/>
                  <a:gd name="T21" fmla="*/ 116 h 183"/>
                  <a:gd name="T22" fmla="*/ 10 w 241"/>
                  <a:gd name="T23" fmla="*/ 116 h 183"/>
                  <a:gd name="T24" fmla="*/ 16 w 241"/>
                  <a:gd name="T25" fmla="*/ 121 h 183"/>
                  <a:gd name="T26" fmla="*/ 21 w 241"/>
                  <a:gd name="T27" fmla="*/ 128 h 183"/>
                  <a:gd name="T28" fmla="*/ 34 w 241"/>
                  <a:gd name="T29" fmla="*/ 150 h 183"/>
                  <a:gd name="T30" fmla="*/ 42 w 241"/>
                  <a:gd name="T31" fmla="*/ 153 h 183"/>
                  <a:gd name="T32" fmla="*/ 44 w 241"/>
                  <a:gd name="T33" fmla="*/ 166 h 183"/>
                  <a:gd name="T34" fmla="*/ 59 w 241"/>
                  <a:gd name="T35" fmla="*/ 166 h 183"/>
                  <a:gd name="T36" fmla="*/ 76 w 241"/>
                  <a:gd name="T37" fmla="*/ 178 h 183"/>
                  <a:gd name="T38" fmla="*/ 109 w 241"/>
                  <a:gd name="T39" fmla="*/ 180 h 183"/>
                  <a:gd name="T40" fmla="*/ 125 w 241"/>
                  <a:gd name="T41" fmla="*/ 171 h 183"/>
                  <a:gd name="T42" fmla="*/ 142 w 241"/>
                  <a:gd name="T43" fmla="*/ 176 h 183"/>
                  <a:gd name="T44" fmla="*/ 157 w 241"/>
                  <a:gd name="T45" fmla="*/ 169 h 183"/>
                  <a:gd name="T46" fmla="*/ 173 w 241"/>
                  <a:gd name="T47" fmla="*/ 160 h 183"/>
                  <a:gd name="T48" fmla="*/ 239 w 241"/>
                  <a:gd name="T49" fmla="*/ 112 h 183"/>
                  <a:gd name="T50" fmla="*/ 225 w 241"/>
                  <a:gd name="T51" fmla="*/ 110 h 183"/>
                  <a:gd name="T52" fmla="*/ 175 w 241"/>
                  <a:gd name="T53" fmla="*/ 91 h 183"/>
                  <a:gd name="T54" fmla="*/ 166 w 241"/>
                  <a:gd name="T55" fmla="*/ 83 h 183"/>
                  <a:gd name="T56" fmla="*/ 164 w 241"/>
                  <a:gd name="T57" fmla="*/ 82 h 183"/>
                  <a:gd name="T58" fmla="*/ 160 w 241"/>
                  <a:gd name="T59" fmla="*/ 76 h 183"/>
                  <a:gd name="T60" fmla="*/ 157 w 241"/>
                  <a:gd name="T61" fmla="*/ 67 h 183"/>
                  <a:gd name="T62" fmla="*/ 159 w 241"/>
                  <a:gd name="T63" fmla="*/ 64 h 183"/>
                  <a:gd name="T64" fmla="*/ 155 w 241"/>
                  <a:gd name="T65" fmla="*/ 62 h 183"/>
                  <a:gd name="T66" fmla="*/ 150 w 241"/>
                  <a:gd name="T67" fmla="*/ 64 h 183"/>
                  <a:gd name="T68" fmla="*/ 150 w 241"/>
                  <a:gd name="T69" fmla="*/ 64 h 183"/>
                  <a:gd name="T70" fmla="*/ 146 w 241"/>
                  <a:gd name="T71" fmla="*/ 64 h 183"/>
                  <a:gd name="T72" fmla="*/ 141 w 241"/>
                  <a:gd name="T73" fmla="*/ 62 h 183"/>
                  <a:gd name="T74" fmla="*/ 144 w 241"/>
                  <a:gd name="T75" fmla="*/ 51 h 183"/>
                  <a:gd name="T76" fmla="*/ 150 w 241"/>
                  <a:gd name="T77" fmla="*/ 41 h 183"/>
                  <a:gd name="T78" fmla="*/ 141 w 241"/>
                  <a:gd name="T79" fmla="*/ 33 h 183"/>
                  <a:gd name="T80" fmla="*/ 123 w 241"/>
                  <a:gd name="T81" fmla="*/ 12 h 183"/>
                  <a:gd name="T82" fmla="*/ 114 w 241"/>
                  <a:gd name="T83" fmla="*/ 7 h 183"/>
                  <a:gd name="T84" fmla="*/ 109 w 241"/>
                  <a:gd name="T85" fmla="*/ 8 h 183"/>
                  <a:gd name="T86" fmla="*/ 107 w 241"/>
                  <a:gd name="T87" fmla="*/ 7 h 183"/>
                  <a:gd name="T88" fmla="*/ 103 w 241"/>
                  <a:gd name="T89" fmla="*/ 5 h 183"/>
                  <a:gd name="T90" fmla="*/ 101 w 241"/>
                  <a:gd name="T91" fmla="*/ 7 h 183"/>
                  <a:gd name="T92" fmla="*/ 98 w 241"/>
                  <a:gd name="T93" fmla="*/ 7 h 183"/>
                  <a:gd name="T94" fmla="*/ 98 w 241"/>
                  <a:gd name="T95" fmla="*/ 5 h 183"/>
                  <a:gd name="T96" fmla="*/ 94 w 241"/>
                  <a:gd name="T97" fmla="*/ 5 h 183"/>
                  <a:gd name="T98" fmla="*/ 92 w 241"/>
                  <a:gd name="T99" fmla="*/ 7 h 183"/>
                  <a:gd name="T100" fmla="*/ 87 w 241"/>
                  <a:gd name="T101" fmla="*/ 8 h 183"/>
                  <a:gd name="T102" fmla="*/ 82 w 241"/>
                  <a:gd name="T103" fmla="*/ 5 h 183"/>
                  <a:gd name="T104" fmla="*/ 82 w 241"/>
                  <a:gd name="T105" fmla="*/ 3 h 183"/>
                  <a:gd name="T106" fmla="*/ 76 w 241"/>
                  <a:gd name="T107" fmla="*/ 0 h 183"/>
                  <a:gd name="T108" fmla="*/ 67 w 241"/>
                  <a:gd name="T109" fmla="*/ 10 h 183"/>
                  <a:gd name="T110" fmla="*/ 67 w 241"/>
                  <a:gd name="T111" fmla="*/ 7 h 183"/>
                  <a:gd name="T112" fmla="*/ 64 w 241"/>
                  <a:gd name="T113" fmla="*/ 8 h 183"/>
                  <a:gd name="T114" fmla="*/ 62 w 241"/>
                  <a:gd name="T115" fmla="*/ 10 h 183"/>
                  <a:gd name="T116" fmla="*/ 60 w 241"/>
                  <a:gd name="T117" fmla="*/ 10 h 183"/>
                  <a:gd name="T118" fmla="*/ 55 w 241"/>
                  <a:gd name="T119" fmla="*/ 1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1" h="183">
                    <a:moveTo>
                      <a:pt x="55" y="10"/>
                    </a:moveTo>
                    <a:lnTo>
                      <a:pt x="50" y="32"/>
                    </a:lnTo>
                    <a:lnTo>
                      <a:pt x="48" y="33"/>
                    </a:lnTo>
                    <a:lnTo>
                      <a:pt x="46" y="33"/>
                    </a:lnTo>
                    <a:lnTo>
                      <a:pt x="32" y="51"/>
                    </a:lnTo>
                    <a:lnTo>
                      <a:pt x="30" y="64"/>
                    </a:lnTo>
                    <a:lnTo>
                      <a:pt x="28" y="64"/>
                    </a:lnTo>
                    <a:lnTo>
                      <a:pt x="25" y="64"/>
                    </a:lnTo>
                    <a:lnTo>
                      <a:pt x="23" y="66"/>
                    </a:lnTo>
                    <a:lnTo>
                      <a:pt x="19" y="71"/>
                    </a:lnTo>
                    <a:lnTo>
                      <a:pt x="19" y="71"/>
                    </a:lnTo>
                    <a:lnTo>
                      <a:pt x="17" y="101"/>
                    </a:lnTo>
                    <a:lnTo>
                      <a:pt x="16" y="103"/>
                    </a:lnTo>
                    <a:lnTo>
                      <a:pt x="12" y="105"/>
                    </a:lnTo>
                    <a:lnTo>
                      <a:pt x="5" y="103"/>
                    </a:lnTo>
                    <a:lnTo>
                      <a:pt x="3" y="105"/>
                    </a:lnTo>
                    <a:lnTo>
                      <a:pt x="3" y="108"/>
                    </a:lnTo>
                    <a:lnTo>
                      <a:pt x="1" y="110"/>
                    </a:lnTo>
                    <a:lnTo>
                      <a:pt x="0" y="112"/>
                    </a:lnTo>
                    <a:lnTo>
                      <a:pt x="1" y="114"/>
                    </a:lnTo>
                    <a:lnTo>
                      <a:pt x="3" y="114"/>
                    </a:lnTo>
                    <a:lnTo>
                      <a:pt x="5" y="116"/>
                    </a:lnTo>
                    <a:lnTo>
                      <a:pt x="9" y="116"/>
                    </a:lnTo>
                    <a:lnTo>
                      <a:pt x="10" y="116"/>
                    </a:lnTo>
                    <a:lnTo>
                      <a:pt x="14" y="117"/>
                    </a:lnTo>
                    <a:lnTo>
                      <a:pt x="16" y="121"/>
                    </a:lnTo>
                    <a:lnTo>
                      <a:pt x="16" y="125"/>
                    </a:lnTo>
                    <a:lnTo>
                      <a:pt x="21" y="128"/>
                    </a:lnTo>
                    <a:lnTo>
                      <a:pt x="26" y="132"/>
                    </a:lnTo>
                    <a:lnTo>
                      <a:pt x="34" y="150"/>
                    </a:lnTo>
                    <a:lnTo>
                      <a:pt x="37" y="151"/>
                    </a:lnTo>
                    <a:lnTo>
                      <a:pt x="42" y="153"/>
                    </a:lnTo>
                    <a:lnTo>
                      <a:pt x="46" y="155"/>
                    </a:lnTo>
                    <a:lnTo>
                      <a:pt x="44" y="166"/>
                    </a:lnTo>
                    <a:lnTo>
                      <a:pt x="50" y="167"/>
                    </a:lnTo>
                    <a:lnTo>
                      <a:pt x="59" y="166"/>
                    </a:lnTo>
                    <a:lnTo>
                      <a:pt x="75" y="176"/>
                    </a:lnTo>
                    <a:lnTo>
                      <a:pt x="76" y="178"/>
                    </a:lnTo>
                    <a:lnTo>
                      <a:pt x="101" y="183"/>
                    </a:lnTo>
                    <a:lnTo>
                      <a:pt x="109" y="180"/>
                    </a:lnTo>
                    <a:lnTo>
                      <a:pt x="112" y="175"/>
                    </a:lnTo>
                    <a:lnTo>
                      <a:pt x="125" y="171"/>
                    </a:lnTo>
                    <a:lnTo>
                      <a:pt x="134" y="176"/>
                    </a:lnTo>
                    <a:lnTo>
                      <a:pt x="142" y="176"/>
                    </a:lnTo>
                    <a:lnTo>
                      <a:pt x="142" y="175"/>
                    </a:lnTo>
                    <a:lnTo>
                      <a:pt x="157" y="169"/>
                    </a:lnTo>
                    <a:lnTo>
                      <a:pt x="166" y="164"/>
                    </a:lnTo>
                    <a:lnTo>
                      <a:pt x="173" y="160"/>
                    </a:lnTo>
                    <a:lnTo>
                      <a:pt x="192" y="158"/>
                    </a:lnTo>
                    <a:lnTo>
                      <a:pt x="239" y="112"/>
                    </a:lnTo>
                    <a:lnTo>
                      <a:pt x="241" y="110"/>
                    </a:lnTo>
                    <a:lnTo>
                      <a:pt x="225" y="110"/>
                    </a:lnTo>
                    <a:lnTo>
                      <a:pt x="176" y="94"/>
                    </a:lnTo>
                    <a:lnTo>
                      <a:pt x="175" y="91"/>
                    </a:lnTo>
                    <a:lnTo>
                      <a:pt x="167" y="87"/>
                    </a:lnTo>
                    <a:lnTo>
                      <a:pt x="166" y="83"/>
                    </a:lnTo>
                    <a:lnTo>
                      <a:pt x="164" y="83"/>
                    </a:lnTo>
                    <a:lnTo>
                      <a:pt x="164" y="82"/>
                    </a:lnTo>
                    <a:lnTo>
                      <a:pt x="160" y="78"/>
                    </a:lnTo>
                    <a:lnTo>
                      <a:pt x="160" y="76"/>
                    </a:lnTo>
                    <a:lnTo>
                      <a:pt x="159" y="75"/>
                    </a:lnTo>
                    <a:lnTo>
                      <a:pt x="157" y="67"/>
                    </a:lnTo>
                    <a:lnTo>
                      <a:pt x="157" y="66"/>
                    </a:lnTo>
                    <a:lnTo>
                      <a:pt x="159" y="64"/>
                    </a:lnTo>
                    <a:lnTo>
                      <a:pt x="159" y="64"/>
                    </a:lnTo>
                    <a:lnTo>
                      <a:pt x="155" y="62"/>
                    </a:lnTo>
                    <a:lnTo>
                      <a:pt x="153" y="62"/>
                    </a:lnTo>
                    <a:lnTo>
                      <a:pt x="150" y="64"/>
                    </a:lnTo>
                    <a:lnTo>
                      <a:pt x="150" y="64"/>
                    </a:lnTo>
                    <a:lnTo>
                      <a:pt x="150" y="64"/>
                    </a:lnTo>
                    <a:lnTo>
                      <a:pt x="148" y="64"/>
                    </a:lnTo>
                    <a:lnTo>
                      <a:pt x="146" y="64"/>
                    </a:lnTo>
                    <a:lnTo>
                      <a:pt x="142" y="64"/>
                    </a:lnTo>
                    <a:lnTo>
                      <a:pt x="141" y="62"/>
                    </a:lnTo>
                    <a:lnTo>
                      <a:pt x="141" y="58"/>
                    </a:lnTo>
                    <a:lnTo>
                      <a:pt x="144" y="51"/>
                    </a:lnTo>
                    <a:lnTo>
                      <a:pt x="148" y="42"/>
                    </a:lnTo>
                    <a:lnTo>
                      <a:pt x="150" y="41"/>
                    </a:lnTo>
                    <a:lnTo>
                      <a:pt x="146" y="37"/>
                    </a:lnTo>
                    <a:lnTo>
                      <a:pt x="141" y="33"/>
                    </a:lnTo>
                    <a:lnTo>
                      <a:pt x="139" y="30"/>
                    </a:lnTo>
                    <a:lnTo>
                      <a:pt x="123" y="12"/>
                    </a:lnTo>
                    <a:lnTo>
                      <a:pt x="119" y="12"/>
                    </a:lnTo>
                    <a:lnTo>
                      <a:pt x="114" y="7"/>
                    </a:lnTo>
                    <a:lnTo>
                      <a:pt x="110" y="7"/>
                    </a:lnTo>
                    <a:lnTo>
                      <a:pt x="109" y="8"/>
                    </a:lnTo>
                    <a:lnTo>
                      <a:pt x="109" y="8"/>
                    </a:lnTo>
                    <a:lnTo>
                      <a:pt x="107" y="7"/>
                    </a:lnTo>
                    <a:lnTo>
                      <a:pt x="105" y="7"/>
                    </a:lnTo>
                    <a:lnTo>
                      <a:pt x="103" y="5"/>
                    </a:lnTo>
                    <a:lnTo>
                      <a:pt x="103" y="5"/>
                    </a:lnTo>
                    <a:lnTo>
                      <a:pt x="101" y="7"/>
                    </a:lnTo>
                    <a:lnTo>
                      <a:pt x="100" y="7"/>
                    </a:lnTo>
                    <a:lnTo>
                      <a:pt x="98" y="7"/>
                    </a:lnTo>
                    <a:lnTo>
                      <a:pt x="98" y="7"/>
                    </a:lnTo>
                    <a:lnTo>
                      <a:pt x="98" y="5"/>
                    </a:lnTo>
                    <a:lnTo>
                      <a:pt x="96" y="5"/>
                    </a:lnTo>
                    <a:lnTo>
                      <a:pt x="94" y="5"/>
                    </a:lnTo>
                    <a:lnTo>
                      <a:pt x="94" y="5"/>
                    </a:lnTo>
                    <a:lnTo>
                      <a:pt x="92" y="7"/>
                    </a:lnTo>
                    <a:lnTo>
                      <a:pt x="89" y="7"/>
                    </a:lnTo>
                    <a:lnTo>
                      <a:pt x="87" y="8"/>
                    </a:lnTo>
                    <a:lnTo>
                      <a:pt x="85" y="8"/>
                    </a:lnTo>
                    <a:lnTo>
                      <a:pt x="82" y="5"/>
                    </a:lnTo>
                    <a:lnTo>
                      <a:pt x="82" y="3"/>
                    </a:lnTo>
                    <a:lnTo>
                      <a:pt x="82" y="3"/>
                    </a:lnTo>
                    <a:lnTo>
                      <a:pt x="80" y="3"/>
                    </a:lnTo>
                    <a:lnTo>
                      <a:pt x="76" y="0"/>
                    </a:lnTo>
                    <a:lnTo>
                      <a:pt x="71" y="14"/>
                    </a:lnTo>
                    <a:lnTo>
                      <a:pt x="67" y="10"/>
                    </a:lnTo>
                    <a:lnTo>
                      <a:pt x="67" y="8"/>
                    </a:lnTo>
                    <a:lnTo>
                      <a:pt x="67" y="7"/>
                    </a:lnTo>
                    <a:lnTo>
                      <a:pt x="64" y="7"/>
                    </a:lnTo>
                    <a:lnTo>
                      <a:pt x="64" y="8"/>
                    </a:lnTo>
                    <a:lnTo>
                      <a:pt x="64" y="10"/>
                    </a:lnTo>
                    <a:lnTo>
                      <a:pt x="62" y="10"/>
                    </a:lnTo>
                    <a:lnTo>
                      <a:pt x="62" y="10"/>
                    </a:lnTo>
                    <a:lnTo>
                      <a:pt x="60" y="10"/>
                    </a:lnTo>
                    <a:lnTo>
                      <a:pt x="57" y="10"/>
                    </a:lnTo>
                    <a:lnTo>
                      <a:pt x="55" y="10"/>
                    </a:lnTo>
                  </a:path>
                </a:pathLst>
              </a:custGeom>
              <a:solidFill>
                <a:srgbClr val="0E5990"/>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91" name="Freeform 2442"/>
              <p:cNvSpPr>
                <a:spLocks/>
              </p:cNvSpPr>
              <p:nvPr/>
            </p:nvSpPr>
            <p:spPr bwMode="auto">
              <a:xfrm>
                <a:off x="3176" y="2881"/>
                <a:ext cx="172" cy="273"/>
              </a:xfrm>
              <a:custGeom>
                <a:avLst/>
                <a:gdLst>
                  <a:gd name="T0" fmla="*/ 172 w 172"/>
                  <a:gd name="T1" fmla="*/ 1 h 273"/>
                  <a:gd name="T2" fmla="*/ 165 w 172"/>
                  <a:gd name="T3" fmla="*/ 21 h 273"/>
                  <a:gd name="T4" fmla="*/ 166 w 172"/>
                  <a:gd name="T5" fmla="*/ 41 h 273"/>
                  <a:gd name="T6" fmla="*/ 166 w 172"/>
                  <a:gd name="T7" fmla="*/ 60 h 273"/>
                  <a:gd name="T8" fmla="*/ 170 w 172"/>
                  <a:gd name="T9" fmla="*/ 62 h 273"/>
                  <a:gd name="T10" fmla="*/ 170 w 172"/>
                  <a:gd name="T11" fmla="*/ 66 h 273"/>
                  <a:gd name="T12" fmla="*/ 166 w 172"/>
                  <a:gd name="T13" fmla="*/ 76 h 273"/>
                  <a:gd name="T14" fmla="*/ 165 w 172"/>
                  <a:gd name="T15" fmla="*/ 84 h 273"/>
                  <a:gd name="T16" fmla="*/ 156 w 172"/>
                  <a:gd name="T17" fmla="*/ 96 h 273"/>
                  <a:gd name="T18" fmla="*/ 143 w 172"/>
                  <a:gd name="T19" fmla="*/ 107 h 273"/>
                  <a:gd name="T20" fmla="*/ 109 w 172"/>
                  <a:gd name="T21" fmla="*/ 123 h 273"/>
                  <a:gd name="T22" fmla="*/ 106 w 172"/>
                  <a:gd name="T23" fmla="*/ 126 h 273"/>
                  <a:gd name="T24" fmla="*/ 99 w 172"/>
                  <a:gd name="T25" fmla="*/ 137 h 273"/>
                  <a:gd name="T26" fmla="*/ 95 w 172"/>
                  <a:gd name="T27" fmla="*/ 139 h 273"/>
                  <a:gd name="T28" fmla="*/ 75 w 172"/>
                  <a:gd name="T29" fmla="*/ 155 h 273"/>
                  <a:gd name="T30" fmla="*/ 79 w 172"/>
                  <a:gd name="T31" fmla="*/ 171 h 273"/>
                  <a:gd name="T32" fmla="*/ 84 w 172"/>
                  <a:gd name="T33" fmla="*/ 194 h 273"/>
                  <a:gd name="T34" fmla="*/ 83 w 172"/>
                  <a:gd name="T35" fmla="*/ 225 h 273"/>
                  <a:gd name="T36" fmla="*/ 86 w 172"/>
                  <a:gd name="T37" fmla="*/ 223 h 273"/>
                  <a:gd name="T38" fmla="*/ 75 w 172"/>
                  <a:gd name="T39" fmla="*/ 239 h 273"/>
                  <a:gd name="T40" fmla="*/ 47 w 172"/>
                  <a:gd name="T41" fmla="*/ 251 h 273"/>
                  <a:gd name="T42" fmla="*/ 43 w 172"/>
                  <a:gd name="T43" fmla="*/ 266 h 273"/>
                  <a:gd name="T44" fmla="*/ 45 w 172"/>
                  <a:gd name="T45" fmla="*/ 273 h 273"/>
                  <a:gd name="T46" fmla="*/ 25 w 172"/>
                  <a:gd name="T47" fmla="*/ 201 h 273"/>
                  <a:gd name="T48" fmla="*/ 27 w 172"/>
                  <a:gd name="T49" fmla="*/ 191 h 273"/>
                  <a:gd name="T50" fmla="*/ 43 w 172"/>
                  <a:gd name="T51" fmla="*/ 139 h 273"/>
                  <a:gd name="T52" fmla="*/ 45 w 172"/>
                  <a:gd name="T53" fmla="*/ 100 h 273"/>
                  <a:gd name="T54" fmla="*/ 4 w 172"/>
                  <a:gd name="T55" fmla="*/ 89 h 273"/>
                  <a:gd name="T56" fmla="*/ 0 w 172"/>
                  <a:gd name="T57" fmla="*/ 75 h 273"/>
                  <a:gd name="T58" fmla="*/ 52 w 172"/>
                  <a:gd name="T59" fmla="*/ 59 h 273"/>
                  <a:gd name="T60" fmla="*/ 59 w 172"/>
                  <a:gd name="T61" fmla="*/ 66 h 273"/>
                  <a:gd name="T62" fmla="*/ 72 w 172"/>
                  <a:gd name="T63" fmla="*/ 66 h 273"/>
                  <a:gd name="T64" fmla="*/ 72 w 172"/>
                  <a:gd name="T65" fmla="*/ 82 h 273"/>
                  <a:gd name="T66" fmla="*/ 70 w 172"/>
                  <a:gd name="T67" fmla="*/ 87 h 273"/>
                  <a:gd name="T68" fmla="*/ 74 w 172"/>
                  <a:gd name="T69" fmla="*/ 94 h 273"/>
                  <a:gd name="T70" fmla="*/ 81 w 172"/>
                  <a:gd name="T71" fmla="*/ 103 h 273"/>
                  <a:gd name="T72" fmla="*/ 81 w 172"/>
                  <a:gd name="T73" fmla="*/ 107 h 273"/>
                  <a:gd name="T74" fmla="*/ 86 w 172"/>
                  <a:gd name="T75" fmla="*/ 107 h 273"/>
                  <a:gd name="T76" fmla="*/ 84 w 172"/>
                  <a:gd name="T77" fmla="*/ 100 h 273"/>
                  <a:gd name="T78" fmla="*/ 84 w 172"/>
                  <a:gd name="T79" fmla="*/ 94 h 273"/>
                  <a:gd name="T80" fmla="*/ 93 w 172"/>
                  <a:gd name="T81" fmla="*/ 89 h 273"/>
                  <a:gd name="T82" fmla="*/ 93 w 172"/>
                  <a:gd name="T83" fmla="*/ 76 h 273"/>
                  <a:gd name="T84" fmla="*/ 79 w 172"/>
                  <a:gd name="T85" fmla="*/ 48 h 273"/>
                  <a:gd name="T86" fmla="*/ 75 w 172"/>
                  <a:gd name="T87" fmla="*/ 34 h 273"/>
                  <a:gd name="T88" fmla="*/ 93 w 172"/>
                  <a:gd name="T89" fmla="*/ 18 h 273"/>
                  <a:gd name="T90" fmla="*/ 99 w 172"/>
                  <a:gd name="T91" fmla="*/ 16 h 273"/>
                  <a:gd name="T92" fmla="*/ 106 w 172"/>
                  <a:gd name="T93" fmla="*/ 19 h 273"/>
                  <a:gd name="T94" fmla="*/ 124 w 172"/>
                  <a:gd name="T95" fmla="*/ 16 h 273"/>
                  <a:gd name="T96" fmla="*/ 134 w 172"/>
                  <a:gd name="T97" fmla="*/ 12 h 273"/>
                  <a:gd name="T98" fmla="*/ 159 w 172"/>
                  <a:gd name="T99" fmla="*/ 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2" h="273">
                    <a:moveTo>
                      <a:pt x="170" y="0"/>
                    </a:moveTo>
                    <a:lnTo>
                      <a:pt x="170" y="1"/>
                    </a:lnTo>
                    <a:lnTo>
                      <a:pt x="172" y="1"/>
                    </a:lnTo>
                    <a:lnTo>
                      <a:pt x="170" y="3"/>
                    </a:lnTo>
                    <a:lnTo>
                      <a:pt x="172" y="9"/>
                    </a:lnTo>
                    <a:lnTo>
                      <a:pt x="165" y="21"/>
                    </a:lnTo>
                    <a:lnTo>
                      <a:pt x="166" y="37"/>
                    </a:lnTo>
                    <a:lnTo>
                      <a:pt x="165" y="39"/>
                    </a:lnTo>
                    <a:lnTo>
                      <a:pt x="166" y="41"/>
                    </a:lnTo>
                    <a:lnTo>
                      <a:pt x="166" y="41"/>
                    </a:lnTo>
                    <a:lnTo>
                      <a:pt x="166" y="57"/>
                    </a:lnTo>
                    <a:lnTo>
                      <a:pt x="166" y="60"/>
                    </a:lnTo>
                    <a:lnTo>
                      <a:pt x="168" y="60"/>
                    </a:lnTo>
                    <a:lnTo>
                      <a:pt x="168" y="60"/>
                    </a:lnTo>
                    <a:lnTo>
                      <a:pt x="170" y="62"/>
                    </a:lnTo>
                    <a:lnTo>
                      <a:pt x="168" y="64"/>
                    </a:lnTo>
                    <a:lnTo>
                      <a:pt x="170" y="64"/>
                    </a:lnTo>
                    <a:lnTo>
                      <a:pt x="170" y="66"/>
                    </a:lnTo>
                    <a:lnTo>
                      <a:pt x="170" y="68"/>
                    </a:lnTo>
                    <a:lnTo>
                      <a:pt x="168" y="73"/>
                    </a:lnTo>
                    <a:lnTo>
                      <a:pt x="166" y="76"/>
                    </a:lnTo>
                    <a:lnTo>
                      <a:pt x="168" y="76"/>
                    </a:lnTo>
                    <a:lnTo>
                      <a:pt x="166" y="82"/>
                    </a:lnTo>
                    <a:lnTo>
                      <a:pt x="165" y="84"/>
                    </a:lnTo>
                    <a:lnTo>
                      <a:pt x="159" y="91"/>
                    </a:lnTo>
                    <a:lnTo>
                      <a:pt x="154" y="94"/>
                    </a:lnTo>
                    <a:lnTo>
                      <a:pt x="156" y="96"/>
                    </a:lnTo>
                    <a:lnTo>
                      <a:pt x="154" y="98"/>
                    </a:lnTo>
                    <a:lnTo>
                      <a:pt x="145" y="103"/>
                    </a:lnTo>
                    <a:lnTo>
                      <a:pt x="143" y="107"/>
                    </a:lnTo>
                    <a:lnTo>
                      <a:pt x="140" y="109"/>
                    </a:lnTo>
                    <a:lnTo>
                      <a:pt x="134" y="109"/>
                    </a:lnTo>
                    <a:lnTo>
                      <a:pt x="109" y="123"/>
                    </a:lnTo>
                    <a:lnTo>
                      <a:pt x="109" y="125"/>
                    </a:lnTo>
                    <a:lnTo>
                      <a:pt x="108" y="126"/>
                    </a:lnTo>
                    <a:lnTo>
                      <a:pt x="106" y="126"/>
                    </a:lnTo>
                    <a:lnTo>
                      <a:pt x="104" y="126"/>
                    </a:lnTo>
                    <a:lnTo>
                      <a:pt x="106" y="128"/>
                    </a:lnTo>
                    <a:lnTo>
                      <a:pt x="99" y="137"/>
                    </a:lnTo>
                    <a:lnTo>
                      <a:pt x="97" y="137"/>
                    </a:lnTo>
                    <a:lnTo>
                      <a:pt x="97" y="134"/>
                    </a:lnTo>
                    <a:lnTo>
                      <a:pt x="95" y="139"/>
                    </a:lnTo>
                    <a:lnTo>
                      <a:pt x="91" y="141"/>
                    </a:lnTo>
                    <a:lnTo>
                      <a:pt x="77" y="155"/>
                    </a:lnTo>
                    <a:lnTo>
                      <a:pt x="75" y="155"/>
                    </a:lnTo>
                    <a:lnTo>
                      <a:pt x="74" y="168"/>
                    </a:lnTo>
                    <a:lnTo>
                      <a:pt x="79" y="169"/>
                    </a:lnTo>
                    <a:lnTo>
                      <a:pt x="79" y="171"/>
                    </a:lnTo>
                    <a:lnTo>
                      <a:pt x="79" y="175"/>
                    </a:lnTo>
                    <a:lnTo>
                      <a:pt x="81" y="175"/>
                    </a:lnTo>
                    <a:lnTo>
                      <a:pt x="84" y="194"/>
                    </a:lnTo>
                    <a:lnTo>
                      <a:pt x="86" y="193"/>
                    </a:lnTo>
                    <a:lnTo>
                      <a:pt x="88" y="194"/>
                    </a:lnTo>
                    <a:lnTo>
                      <a:pt x="83" y="225"/>
                    </a:lnTo>
                    <a:lnTo>
                      <a:pt x="83" y="228"/>
                    </a:lnTo>
                    <a:lnTo>
                      <a:pt x="84" y="226"/>
                    </a:lnTo>
                    <a:lnTo>
                      <a:pt x="86" y="223"/>
                    </a:lnTo>
                    <a:lnTo>
                      <a:pt x="86" y="228"/>
                    </a:lnTo>
                    <a:lnTo>
                      <a:pt x="81" y="237"/>
                    </a:lnTo>
                    <a:lnTo>
                      <a:pt x="75" y="239"/>
                    </a:lnTo>
                    <a:lnTo>
                      <a:pt x="70" y="243"/>
                    </a:lnTo>
                    <a:lnTo>
                      <a:pt x="66" y="243"/>
                    </a:lnTo>
                    <a:lnTo>
                      <a:pt x="47" y="251"/>
                    </a:lnTo>
                    <a:lnTo>
                      <a:pt x="40" y="260"/>
                    </a:lnTo>
                    <a:lnTo>
                      <a:pt x="40" y="260"/>
                    </a:lnTo>
                    <a:lnTo>
                      <a:pt x="43" y="266"/>
                    </a:lnTo>
                    <a:lnTo>
                      <a:pt x="45" y="264"/>
                    </a:lnTo>
                    <a:lnTo>
                      <a:pt x="47" y="262"/>
                    </a:lnTo>
                    <a:lnTo>
                      <a:pt x="45" y="273"/>
                    </a:lnTo>
                    <a:lnTo>
                      <a:pt x="33" y="273"/>
                    </a:lnTo>
                    <a:lnTo>
                      <a:pt x="25" y="201"/>
                    </a:lnTo>
                    <a:lnTo>
                      <a:pt x="25" y="201"/>
                    </a:lnTo>
                    <a:lnTo>
                      <a:pt x="25" y="196"/>
                    </a:lnTo>
                    <a:lnTo>
                      <a:pt x="25" y="193"/>
                    </a:lnTo>
                    <a:lnTo>
                      <a:pt x="27" y="191"/>
                    </a:lnTo>
                    <a:lnTo>
                      <a:pt x="33" y="185"/>
                    </a:lnTo>
                    <a:lnTo>
                      <a:pt x="45" y="157"/>
                    </a:lnTo>
                    <a:lnTo>
                      <a:pt x="43" y="139"/>
                    </a:lnTo>
                    <a:lnTo>
                      <a:pt x="47" y="134"/>
                    </a:lnTo>
                    <a:lnTo>
                      <a:pt x="49" y="114"/>
                    </a:lnTo>
                    <a:lnTo>
                      <a:pt x="45" y="100"/>
                    </a:lnTo>
                    <a:lnTo>
                      <a:pt x="43" y="98"/>
                    </a:lnTo>
                    <a:lnTo>
                      <a:pt x="16" y="89"/>
                    </a:lnTo>
                    <a:lnTo>
                      <a:pt x="4" y="89"/>
                    </a:lnTo>
                    <a:lnTo>
                      <a:pt x="4" y="84"/>
                    </a:lnTo>
                    <a:lnTo>
                      <a:pt x="4" y="82"/>
                    </a:lnTo>
                    <a:lnTo>
                      <a:pt x="0" y="75"/>
                    </a:lnTo>
                    <a:lnTo>
                      <a:pt x="50" y="57"/>
                    </a:lnTo>
                    <a:lnTo>
                      <a:pt x="52" y="57"/>
                    </a:lnTo>
                    <a:lnTo>
                      <a:pt x="52" y="59"/>
                    </a:lnTo>
                    <a:lnTo>
                      <a:pt x="56" y="62"/>
                    </a:lnTo>
                    <a:lnTo>
                      <a:pt x="58" y="66"/>
                    </a:lnTo>
                    <a:lnTo>
                      <a:pt x="59" y="66"/>
                    </a:lnTo>
                    <a:lnTo>
                      <a:pt x="70" y="64"/>
                    </a:lnTo>
                    <a:lnTo>
                      <a:pt x="72" y="64"/>
                    </a:lnTo>
                    <a:lnTo>
                      <a:pt x="72" y="66"/>
                    </a:lnTo>
                    <a:lnTo>
                      <a:pt x="74" y="78"/>
                    </a:lnTo>
                    <a:lnTo>
                      <a:pt x="74" y="80"/>
                    </a:lnTo>
                    <a:lnTo>
                      <a:pt x="72" y="82"/>
                    </a:lnTo>
                    <a:lnTo>
                      <a:pt x="72" y="84"/>
                    </a:lnTo>
                    <a:lnTo>
                      <a:pt x="70" y="85"/>
                    </a:lnTo>
                    <a:lnTo>
                      <a:pt x="70" y="87"/>
                    </a:lnTo>
                    <a:lnTo>
                      <a:pt x="70" y="89"/>
                    </a:lnTo>
                    <a:lnTo>
                      <a:pt x="72" y="94"/>
                    </a:lnTo>
                    <a:lnTo>
                      <a:pt x="74" y="94"/>
                    </a:lnTo>
                    <a:lnTo>
                      <a:pt x="74" y="96"/>
                    </a:lnTo>
                    <a:lnTo>
                      <a:pt x="79" y="101"/>
                    </a:lnTo>
                    <a:lnTo>
                      <a:pt x="81" y="103"/>
                    </a:lnTo>
                    <a:lnTo>
                      <a:pt x="83" y="103"/>
                    </a:lnTo>
                    <a:lnTo>
                      <a:pt x="83" y="105"/>
                    </a:lnTo>
                    <a:lnTo>
                      <a:pt x="81" y="107"/>
                    </a:lnTo>
                    <a:lnTo>
                      <a:pt x="83" y="107"/>
                    </a:lnTo>
                    <a:lnTo>
                      <a:pt x="86" y="107"/>
                    </a:lnTo>
                    <a:lnTo>
                      <a:pt x="86" y="107"/>
                    </a:lnTo>
                    <a:lnTo>
                      <a:pt x="86" y="103"/>
                    </a:lnTo>
                    <a:lnTo>
                      <a:pt x="84" y="101"/>
                    </a:lnTo>
                    <a:lnTo>
                      <a:pt x="84" y="100"/>
                    </a:lnTo>
                    <a:lnTo>
                      <a:pt x="84" y="98"/>
                    </a:lnTo>
                    <a:lnTo>
                      <a:pt x="84" y="96"/>
                    </a:lnTo>
                    <a:lnTo>
                      <a:pt x="84" y="94"/>
                    </a:lnTo>
                    <a:lnTo>
                      <a:pt x="86" y="94"/>
                    </a:lnTo>
                    <a:lnTo>
                      <a:pt x="93" y="91"/>
                    </a:lnTo>
                    <a:lnTo>
                      <a:pt x="93" y="89"/>
                    </a:lnTo>
                    <a:lnTo>
                      <a:pt x="93" y="82"/>
                    </a:lnTo>
                    <a:lnTo>
                      <a:pt x="95" y="80"/>
                    </a:lnTo>
                    <a:lnTo>
                      <a:pt x="93" y="76"/>
                    </a:lnTo>
                    <a:lnTo>
                      <a:pt x="95" y="71"/>
                    </a:lnTo>
                    <a:lnTo>
                      <a:pt x="95" y="68"/>
                    </a:lnTo>
                    <a:lnTo>
                      <a:pt x="79" y="48"/>
                    </a:lnTo>
                    <a:lnTo>
                      <a:pt x="77" y="50"/>
                    </a:lnTo>
                    <a:lnTo>
                      <a:pt x="77" y="35"/>
                    </a:lnTo>
                    <a:lnTo>
                      <a:pt x="75" y="34"/>
                    </a:lnTo>
                    <a:lnTo>
                      <a:pt x="75" y="32"/>
                    </a:lnTo>
                    <a:lnTo>
                      <a:pt x="81" y="18"/>
                    </a:lnTo>
                    <a:lnTo>
                      <a:pt x="93" y="18"/>
                    </a:lnTo>
                    <a:lnTo>
                      <a:pt x="95" y="16"/>
                    </a:lnTo>
                    <a:lnTo>
                      <a:pt x="97" y="16"/>
                    </a:lnTo>
                    <a:lnTo>
                      <a:pt x="99" y="16"/>
                    </a:lnTo>
                    <a:lnTo>
                      <a:pt x="102" y="19"/>
                    </a:lnTo>
                    <a:lnTo>
                      <a:pt x="104" y="19"/>
                    </a:lnTo>
                    <a:lnTo>
                      <a:pt x="106" y="19"/>
                    </a:lnTo>
                    <a:lnTo>
                      <a:pt x="108" y="19"/>
                    </a:lnTo>
                    <a:lnTo>
                      <a:pt x="111" y="16"/>
                    </a:lnTo>
                    <a:lnTo>
                      <a:pt x="124" y="16"/>
                    </a:lnTo>
                    <a:lnTo>
                      <a:pt x="127" y="12"/>
                    </a:lnTo>
                    <a:lnTo>
                      <a:pt x="131" y="12"/>
                    </a:lnTo>
                    <a:lnTo>
                      <a:pt x="134" y="12"/>
                    </a:lnTo>
                    <a:lnTo>
                      <a:pt x="138" y="14"/>
                    </a:lnTo>
                    <a:lnTo>
                      <a:pt x="143" y="12"/>
                    </a:lnTo>
                    <a:lnTo>
                      <a:pt x="159" y="7"/>
                    </a:lnTo>
                    <a:lnTo>
                      <a:pt x="17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92" name="Freeform 2443"/>
              <p:cNvSpPr>
                <a:spLocks/>
              </p:cNvSpPr>
              <p:nvPr/>
            </p:nvSpPr>
            <p:spPr bwMode="auto">
              <a:xfrm>
                <a:off x="3176" y="2881"/>
                <a:ext cx="172" cy="273"/>
              </a:xfrm>
              <a:custGeom>
                <a:avLst/>
                <a:gdLst>
                  <a:gd name="T0" fmla="*/ 172 w 172"/>
                  <a:gd name="T1" fmla="*/ 1 h 273"/>
                  <a:gd name="T2" fmla="*/ 165 w 172"/>
                  <a:gd name="T3" fmla="*/ 21 h 273"/>
                  <a:gd name="T4" fmla="*/ 166 w 172"/>
                  <a:gd name="T5" fmla="*/ 41 h 273"/>
                  <a:gd name="T6" fmla="*/ 166 w 172"/>
                  <a:gd name="T7" fmla="*/ 60 h 273"/>
                  <a:gd name="T8" fmla="*/ 170 w 172"/>
                  <a:gd name="T9" fmla="*/ 62 h 273"/>
                  <a:gd name="T10" fmla="*/ 170 w 172"/>
                  <a:gd name="T11" fmla="*/ 66 h 273"/>
                  <a:gd name="T12" fmla="*/ 166 w 172"/>
                  <a:gd name="T13" fmla="*/ 76 h 273"/>
                  <a:gd name="T14" fmla="*/ 165 w 172"/>
                  <a:gd name="T15" fmla="*/ 84 h 273"/>
                  <a:gd name="T16" fmla="*/ 156 w 172"/>
                  <a:gd name="T17" fmla="*/ 96 h 273"/>
                  <a:gd name="T18" fmla="*/ 143 w 172"/>
                  <a:gd name="T19" fmla="*/ 107 h 273"/>
                  <a:gd name="T20" fmla="*/ 109 w 172"/>
                  <a:gd name="T21" fmla="*/ 123 h 273"/>
                  <a:gd name="T22" fmla="*/ 106 w 172"/>
                  <a:gd name="T23" fmla="*/ 126 h 273"/>
                  <a:gd name="T24" fmla="*/ 99 w 172"/>
                  <a:gd name="T25" fmla="*/ 137 h 273"/>
                  <a:gd name="T26" fmla="*/ 95 w 172"/>
                  <a:gd name="T27" fmla="*/ 139 h 273"/>
                  <a:gd name="T28" fmla="*/ 75 w 172"/>
                  <a:gd name="T29" fmla="*/ 155 h 273"/>
                  <a:gd name="T30" fmla="*/ 79 w 172"/>
                  <a:gd name="T31" fmla="*/ 171 h 273"/>
                  <a:gd name="T32" fmla="*/ 84 w 172"/>
                  <a:gd name="T33" fmla="*/ 194 h 273"/>
                  <a:gd name="T34" fmla="*/ 83 w 172"/>
                  <a:gd name="T35" fmla="*/ 225 h 273"/>
                  <a:gd name="T36" fmla="*/ 86 w 172"/>
                  <a:gd name="T37" fmla="*/ 223 h 273"/>
                  <a:gd name="T38" fmla="*/ 75 w 172"/>
                  <a:gd name="T39" fmla="*/ 239 h 273"/>
                  <a:gd name="T40" fmla="*/ 47 w 172"/>
                  <a:gd name="T41" fmla="*/ 251 h 273"/>
                  <a:gd name="T42" fmla="*/ 43 w 172"/>
                  <a:gd name="T43" fmla="*/ 266 h 273"/>
                  <a:gd name="T44" fmla="*/ 45 w 172"/>
                  <a:gd name="T45" fmla="*/ 273 h 273"/>
                  <a:gd name="T46" fmla="*/ 25 w 172"/>
                  <a:gd name="T47" fmla="*/ 201 h 273"/>
                  <a:gd name="T48" fmla="*/ 27 w 172"/>
                  <a:gd name="T49" fmla="*/ 191 h 273"/>
                  <a:gd name="T50" fmla="*/ 43 w 172"/>
                  <a:gd name="T51" fmla="*/ 139 h 273"/>
                  <a:gd name="T52" fmla="*/ 45 w 172"/>
                  <a:gd name="T53" fmla="*/ 100 h 273"/>
                  <a:gd name="T54" fmla="*/ 4 w 172"/>
                  <a:gd name="T55" fmla="*/ 89 h 273"/>
                  <a:gd name="T56" fmla="*/ 0 w 172"/>
                  <a:gd name="T57" fmla="*/ 75 h 273"/>
                  <a:gd name="T58" fmla="*/ 52 w 172"/>
                  <a:gd name="T59" fmla="*/ 59 h 273"/>
                  <a:gd name="T60" fmla="*/ 59 w 172"/>
                  <a:gd name="T61" fmla="*/ 66 h 273"/>
                  <a:gd name="T62" fmla="*/ 72 w 172"/>
                  <a:gd name="T63" fmla="*/ 66 h 273"/>
                  <a:gd name="T64" fmla="*/ 72 w 172"/>
                  <a:gd name="T65" fmla="*/ 82 h 273"/>
                  <a:gd name="T66" fmla="*/ 70 w 172"/>
                  <a:gd name="T67" fmla="*/ 87 h 273"/>
                  <a:gd name="T68" fmla="*/ 74 w 172"/>
                  <a:gd name="T69" fmla="*/ 94 h 273"/>
                  <a:gd name="T70" fmla="*/ 81 w 172"/>
                  <a:gd name="T71" fmla="*/ 103 h 273"/>
                  <a:gd name="T72" fmla="*/ 81 w 172"/>
                  <a:gd name="T73" fmla="*/ 107 h 273"/>
                  <a:gd name="T74" fmla="*/ 86 w 172"/>
                  <a:gd name="T75" fmla="*/ 107 h 273"/>
                  <a:gd name="T76" fmla="*/ 84 w 172"/>
                  <a:gd name="T77" fmla="*/ 100 h 273"/>
                  <a:gd name="T78" fmla="*/ 84 w 172"/>
                  <a:gd name="T79" fmla="*/ 94 h 273"/>
                  <a:gd name="T80" fmla="*/ 93 w 172"/>
                  <a:gd name="T81" fmla="*/ 89 h 273"/>
                  <a:gd name="T82" fmla="*/ 93 w 172"/>
                  <a:gd name="T83" fmla="*/ 76 h 273"/>
                  <a:gd name="T84" fmla="*/ 79 w 172"/>
                  <a:gd name="T85" fmla="*/ 48 h 273"/>
                  <a:gd name="T86" fmla="*/ 75 w 172"/>
                  <a:gd name="T87" fmla="*/ 34 h 273"/>
                  <a:gd name="T88" fmla="*/ 93 w 172"/>
                  <a:gd name="T89" fmla="*/ 18 h 273"/>
                  <a:gd name="T90" fmla="*/ 99 w 172"/>
                  <a:gd name="T91" fmla="*/ 16 h 273"/>
                  <a:gd name="T92" fmla="*/ 106 w 172"/>
                  <a:gd name="T93" fmla="*/ 19 h 273"/>
                  <a:gd name="T94" fmla="*/ 124 w 172"/>
                  <a:gd name="T95" fmla="*/ 16 h 273"/>
                  <a:gd name="T96" fmla="*/ 134 w 172"/>
                  <a:gd name="T97" fmla="*/ 12 h 273"/>
                  <a:gd name="T98" fmla="*/ 159 w 172"/>
                  <a:gd name="T99" fmla="*/ 7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2" h="273">
                    <a:moveTo>
                      <a:pt x="170" y="0"/>
                    </a:moveTo>
                    <a:lnTo>
                      <a:pt x="170" y="1"/>
                    </a:lnTo>
                    <a:lnTo>
                      <a:pt x="172" y="1"/>
                    </a:lnTo>
                    <a:lnTo>
                      <a:pt x="170" y="3"/>
                    </a:lnTo>
                    <a:lnTo>
                      <a:pt x="172" y="9"/>
                    </a:lnTo>
                    <a:lnTo>
                      <a:pt x="165" y="21"/>
                    </a:lnTo>
                    <a:lnTo>
                      <a:pt x="166" y="37"/>
                    </a:lnTo>
                    <a:lnTo>
                      <a:pt x="165" y="39"/>
                    </a:lnTo>
                    <a:lnTo>
                      <a:pt x="166" y="41"/>
                    </a:lnTo>
                    <a:lnTo>
                      <a:pt x="166" y="41"/>
                    </a:lnTo>
                    <a:lnTo>
                      <a:pt x="166" y="57"/>
                    </a:lnTo>
                    <a:lnTo>
                      <a:pt x="166" y="60"/>
                    </a:lnTo>
                    <a:lnTo>
                      <a:pt x="168" y="60"/>
                    </a:lnTo>
                    <a:lnTo>
                      <a:pt x="168" y="60"/>
                    </a:lnTo>
                    <a:lnTo>
                      <a:pt x="170" y="62"/>
                    </a:lnTo>
                    <a:lnTo>
                      <a:pt x="168" y="64"/>
                    </a:lnTo>
                    <a:lnTo>
                      <a:pt x="170" y="64"/>
                    </a:lnTo>
                    <a:lnTo>
                      <a:pt x="170" y="66"/>
                    </a:lnTo>
                    <a:lnTo>
                      <a:pt x="170" y="68"/>
                    </a:lnTo>
                    <a:lnTo>
                      <a:pt x="168" y="73"/>
                    </a:lnTo>
                    <a:lnTo>
                      <a:pt x="166" y="76"/>
                    </a:lnTo>
                    <a:lnTo>
                      <a:pt x="168" y="76"/>
                    </a:lnTo>
                    <a:lnTo>
                      <a:pt x="166" y="82"/>
                    </a:lnTo>
                    <a:lnTo>
                      <a:pt x="165" y="84"/>
                    </a:lnTo>
                    <a:lnTo>
                      <a:pt x="159" y="91"/>
                    </a:lnTo>
                    <a:lnTo>
                      <a:pt x="154" y="94"/>
                    </a:lnTo>
                    <a:lnTo>
                      <a:pt x="156" y="96"/>
                    </a:lnTo>
                    <a:lnTo>
                      <a:pt x="154" y="98"/>
                    </a:lnTo>
                    <a:lnTo>
                      <a:pt x="145" y="103"/>
                    </a:lnTo>
                    <a:lnTo>
                      <a:pt x="143" y="107"/>
                    </a:lnTo>
                    <a:lnTo>
                      <a:pt x="140" y="109"/>
                    </a:lnTo>
                    <a:lnTo>
                      <a:pt x="134" y="109"/>
                    </a:lnTo>
                    <a:lnTo>
                      <a:pt x="109" y="123"/>
                    </a:lnTo>
                    <a:lnTo>
                      <a:pt x="109" y="125"/>
                    </a:lnTo>
                    <a:lnTo>
                      <a:pt x="108" y="126"/>
                    </a:lnTo>
                    <a:lnTo>
                      <a:pt x="106" y="126"/>
                    </a:lnTo>
                    <a:lnTo>
                      <a:pt x="104" y="126"/>
                    </a:lnTo>
                    <a:lnTo>
                      <a:pt x="106" y="128"/>
                    </a:lnTo>
                    <a:lnTo>
                      <a:pt x="99" y="137"/>
                    </a:lnTo>
                    <a:lnTo>
                      <a:pt x="97" y="137"/>
                    </a:lnTo>
                    <a:lnTo>
                      <a:pt x="97" y="134"/>
                    </a:lnTo>
                    <a:lnTo>
                      <a:pt x="95" y="139"/>
                    </a:lnTo>
                    <a:lnTo>
                      <a:pt x="91" y="141"/>
                    </a:lnTo>
                    <a:lnTo>
                      <a:pt x="77" y="155"/>
                    </a:lnTo>
                    <a:lnTo>
                      <a:pt x="75" y="155"/>
                    </a:lnTo>
                    <a:lnTo>
                      <a:pt x="74" y="168"/>
                    </a:lnTo>
                    <a:lnTo>
                      <a:pt x="79" y="169"/>
                    </a:lnTo>
                    <a:lnTo>
                      <a:pt x="79" y="171"/>
                    </a:lnTo>
                    <a:lnTo>
                      <a:pt x="79" y="175"/>
                    </a:lnTo>
                    <a:lnTo>
                      <a:pt x="81" y="175"/>
                    </a:lnTo>
                    <a:lnTo>
                      <a:pt x="84" y="194"/>
                    </a:lnTo>
                    <a:lnTo>
                      <a:pt x="86" y="193"/>
                    </a:lnTo>
                    <a:lnTo>
                      <a:pt x="88" y="194"/>
                    </a:lnTo>
                    <a:lnTo>
                      <a:pt x="83" y="225"/>
                    </a:lnTo>
                    <a:lnTo>
                      <a:pt x="83" y="228"/>
                    </a:lnTo>
                    <a:lnTo>
                      <a:pt x="84" y="226"/>
                    </a:lnTo>
                    <a:lnTo>
                      <a:pt x="86" y="223"/>
                    </a:lnTo>
                    <a:lnTo>
                      <a:pt x="86" y="228"/>
                    </a:lnTo>
                    <a:lnTo>
                      <a:pt x="81" y="237"/>
                    </a:lnTo>
                    <a:lnTo>
                      <a:pt x="75" y="239"/>
                    </a:lnTo>
                    <a:lnTo>
                      <a:pt x="70" y="243"/>
                    </a:lnTo>
                    <a:lnTo>
                      <a:pt x="66" y="243"/>
                    </a:lnTo>
                    <a:lnTo>
                      <a:pt x="47" y="251"/>
                    </a:lnTo>
                    <a:lnTo>
                      <a:pt x="40" y="260"/>
                    </a:lnTo>
                    <a:lnTo>
                      <a:pt x="40" y="260"/>
                    </a:lnTo>
                    <a:lnTo>
                      <a:pt x="43" y="266"/>
                    </a:lnTo>
                    <a:lnTo>
                      <a:pt x="45" y="264"/>
                    </a:lnTo>
                    <a:lnTo>
                      <a:pt x="47" y="262"/>
                    </a:lnTo>
                    <a:lnTo>
                      <a:pt x="45" y="273"/>
                    </a:lnTo>
                    <a:lnTo>
                      <a:pt x="33" y="273"/>
                    </a:lnTo>
                    <a:lnTo>
                      <a:pt x="25" y="201"/>
                    </a:lnTo>
                    <a:lnTo>
                      <a:pt x="25" y="201"/>
                    </a:lnTo>
                    <a:lnTo>
                      <a:pt x="25" y="196"/>
                    </a:lnTo>
                    <a:lnTo>
                      <a:pt x="25" y="193"/>
                    </a:lnTo>
                    <a:lnTo>
                      <a:pt x="27" y="191"/>
                    </a:lnTo>
                    <a:lnTo>
                      <a:pt x="33" y="185"/>
                    </a:lnTo>
                    <a:lnTo>
                      <a:pt x="45" y="157"/>
                    </a:lnTo>
                    <a:lnTo>
                      <a:pt x="43" y="139"/>
                    </a:lnTo>
                    <a:lnTo>
                      <a:pt x="47" y="134"/>
                    </a:lnTo>
                    <a:lnTo>
                      <a:pt x="49" y="114"/>
                    </a:lnTo>
                    <a:lnTo>
                      <a:pt x="45" y="100"/>
                    </a:lnTo>
                    <a:lnTo>
                      <a:pt x="43" y="98"/>
                    </a:lnTo>
                    <a:lnTo>
                      <a:pt x="16" y="89"/>
                    </a:lnTo>
                    <a:lnTo>
                      <a:pt x="4" y="89"/>
                    </a:lnTo>
                    <a:lnTo>
                      <a:pt x="4" y="84"/>
                    </a:lnTo>
                    <a:lnTo>
                      <a:pt x="4" y="82"/>
                    </a:lnTo>
                    <a:lnTo>
                      <a:pt x="0" y="75"/>
                    </a:lnTo>
                    <a:lnTo>
                      <a:pt x="50" y="57"/>
                    </a:lnTo>
                    <a:lnTo>
                      <a:pt x="52" y="57"/>
                    </a:lnTo>
                    <a:lnTo>
                      <a:pt x="52" y="59"/>
                    </a:lnTo>
                    <a:lnTo>
                      <a:pt x="56" y="62"/>
                    </a:lnTo>
                    <a:lnTo>
                      <a:pt x="58" y="66"/>
                    </a:lnTo>
                    <a:lnTo>
                      <a:pt x="59" y="66"/>
                    </a:lnTo>
                    <a:lnTo>
                      <a:pt x="70" y="64"/>
                    </a:lnTo>
                    <a:lnTo>
                      <a:pt x="72" y="64"/>
                    </a:lnTo>
                    <a:lnTo>
                      <a:pt x="72" y="66"/>
                    </a:lnTo>
                    <a:lnTo>
                      <a:pt x="74" y="78"/>
                    </a:lnTo>
                    <a:lnTo>
                      <a:pt x="74" y="80"/>
                    </a:lnTo>
                    <a:lnTo>
                      <a:pt x="72" y="82"/>
                    </a:lnTo>
                    <a:lnTo>
                      <a:pt x="72" y="84"/>
                    </a:lnTo>
                    <a:lnTo>
                      <a:pt x="70" y="85"/>
                    </a:lnTo>
                    <a:lnTo>
                      <a:pt x="70" y="87"/>
                    </a:lnTo>
                    <a:lnTo>
                      <a:pt x="70" y="89"/>
                    </a:lnTo>
                    <a:lnTo>
                      <a:pt x="72" y="94"/>
                    </a:lnTo>
                    <a:lnTo>
                      <a:pt x="74" y="94"/>
                    </a:lnTo>
                    <a:lnTo>
                      <a:pt x="74" y="96"/>
                    </a:lnTo>
                    <a:lnTo>
                      <a:pt x="79" y="101"/>
                    </a:lnTo>
                    <a:lnTo>
                      <a:pt x="81" y="103"/>
                    </a:lnTo>
                    <a:lnTo>
                      <a:pt x="83" y="103"/>
                    </a:lnTo>
                    <a:lnTo>
                      <a:pt x="83" y="105"/>
                    </a:lnTo>
                    <a:lnTo>
                      <a:pt x="81" y="107"/>
                    </a:lnTo>
                    <a:lnTo>
                      <a:pt x="83" y="107"/>
                    </a:lnTo>
                    <a:lnTo>
                      <a:pt x="86" y="107"/>
                    </a:lnTo>
                    <a:lnTo>
                      <a:pt x="86" y="107"/>
                    </a:lnTo>
                    <a:lnTo>
                      <a:pt x="86" y="103"/>
                    </a:lnTo>
                    <a:lnTo>
                      <a:pt x="84" y="101"/>
                    </a:lnTo>
                    <a:lnTo>
                      <a:pt x="84" y="100"/>
                    </a:lnTo>
                    <a:lnTo>
                      <a:pt x="84" y="98"/>
                    </a:lnTo>
                    <a:lnTo>
                      <a:pt x="84" y="96"/>
                    </a:lnTo>
                    <a:lnTo>
                      <a:pt x="84" y="94"/>
                    </a:lnTo>
                    <a:lnTo>
                      <a:pt x="86" y="94"/>
                    </a:lnTo>
                    <a:lnTo>
                      <a:pt x="93" y="91"/>
                    </a:lnTo>
                    <a:lnTo>
                      <a:pt x="93" y="89"/>
                    </a:lnTo>
                    <a:lnTo>
                      <a:pt x="93" y="82"/>
                    </a:lnTo>
                    <a:lnTo>
                      <a:pt x="95" y="80"/>
                    </a:lnTo>
                    <a:lnTo>
                      <a:pt x="93" y="76"/>
                    </a:lnTo>
                    <a:lnTo>
                      <a:pt x="95" y="71"/>
                    </a:lnTo>
                    <a:lnTo>
                      <a:pt x="95" y="68"/>
                    </a:lnTo>
                    <a:lnTo>
                      <a:pt x="79" y="48"/>
                    </a:lnTo>
                    <a:lnTo>
                      <a:pt x="77" y="50"/>
                    </a:lnTo>
                    <a:lnTo>
                      <a:pt x="77" y="35"/>
                    </a:lnTo>
                    <a:lnTo>
                      <a:pt x="75" y="34"/>
                    </a:lnTo>
                    <a:lnTo>
                      <a:pt x="75" y="32"/>
                    </a:lnTo>
                    <a:lnTo>
                      <a:pt x="81" y="18"/>
                    </a:lnTo>
                    <a:lnTo>
                      <a:pt x="93" y="18"/>
                    </a:lnTo>
                    <a:lnTo>
                      <a:pt x="95" y="16"/>
                    </a:lnTo>
                    <a:lnTo>
                      <a:pt x="97" y="16"/>
                    </a:lnTo>
                    <a:lnTo>
                      <a:pt x="99" y="16"/>
                    </a:lnTo>
                    <a:lnTo>
                      <a:pt x="102" y="19"/>
                    </a:lnTo>
                    <a:lnTo>
                      <a:pt x="104" y="19"/>
                    </a:lnTo>
                    <a:lnTo>
                      <a:pt x="106" y="19"/>
                    </a:lnTo>
                    <a:lnTo>
                      <a:pt x="108" y="19"/>
                    </a:lnTo>
                    <a:lnTo>
                      <a:pt x="111" y="16"/>
                    </a:lnTo>
                    <a:lnTo>
                      <a:pt x="124" y="16"/>
                    </a:lnTo>
                    <a:lnTo>
                      <a:pt x="127" y="12"/>
                    </a:lnTo>
                    <a:lnTo>
                      <a:pt x="131" y="12"/>
                    </a:lnTo>
                    <a:lnTo>
                      <a:pt x="134" y="12"/>
                    </a:lnTo>
                    <a:lnTo>
                      <a:pt x="138" y="14"/>
                    </a:lnTo>
                    <a:lnTo>
                      <a:pt x="143" y="12"/>
                    </a:lnTo>
                    <a:lnTo>
                      <a:pt x="159" y="7"/>
                    </a:lnTo>
                    <a:lnTo>
                      <a:pt x="17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93" name="Freeform 2444"/>
              <p:cNvSpPr>
                <a:spLocks/>
              </p:cNvSpPr>
              <p:nvPr/>
            </p:nvSpPr>
            <p:spPr bwMode="auto">
              <a:xfrm>
                <a:off x="2501" y="2302"/>
                <a:ext cx="261" cy="248"/>
              </a:xfrm>
              <a:custGeom>
                <a:avLst/>
                <a:gdLst>
                  <a:gd name="T0" fmla="*/ 215 w 261"/>
                  <a:gd name="T1" fmla="*/ 68 h 248"/>
                  <a:gd name="T2" fmla="*/ 222 w 261"/>
                  <a:gd name="T3" fmla="*/ 75 h 248"/>
                  <a:gd name="T4" fmla="*/ 229 w 261"/>
                  <a:gd name="T5" fmla="*/ 82 h 248"/>
                  <a:gd name="T6" fmla="*/ 234 w 261"/>
                  <a:gd name="T7" fmla="*/ 84 h 248"/>
                  <a:gd name="T8" fmla="*/ 242 w 261"/>
                  <a:gd name="T9" fmla="*/ 86 h 248"/>
                  <a:gd name="T10" fmla="*/ 247 w 261"/>
                  <a:gd name="T11" fmla="*/ 89 h 248"/>
                  <a:gd name="T12" fmla="*/ 247 w 261"/>
                  <a:gd name="T13" fmla="*/ 93 h 248"/>
                  <a:gd name="T14" fmla="*/ 247 w 261"/>
                  <a:gd name="T15" fmla="*/ 98 h 248"/>
                  <a:gd name="T16" fmla="*/ 252 w 261"/>
                  <a:gd name="T17" fmla="*/ 104 h 248"/>
                  <a:gd name="T18" fmla="*/ 261 w 261"/>
                  <a:gd name="T19" fmla="*/ 100 h 248"/>
                  <a:gd name="T20" fmla="*/ 258 w 261"/>
                  <a:gd name="T21" fmla="*/ 154 h 248"/>
                  <a:gd name="T22" fmla="*/ 250 w 261"/>
                  <a:gd name="T23" fmla="*/ 161 h 248"/>
                  <a:gd name="T24" fmla="*/ 242 w 261"/>
                  <a:gd name="T25" fmla="*/ 163 h 248"/>
                  <a:gd name="T26" fmla="*/ 165 w 261"/>
                  <a:gd name="T27" fmla="*/ 184 h 248"/>
                  <a:gd name="T28" fmla="*/ 133 w 261"/>
                  <a:gd name="T29" fmla="*/ 198 h 248"/>
                  <a:gd name="T30" fmla="*/ 113 w 261"/>
                  <a:gd name="T31" fmla="*/ 245 h 248"/>
                  <a:gd name="T32" fmla="*/ 106 w 261"/>
                  <a:gd name="T33" fmla="*/ 243 h 248"/>
                  <a:gd name="T34" fmla="*/ 100 w 261"/>
                  <a:gd name="T35" fmla="*/ 245 h 248"/>
                  <a:gd name="T36" fmla="*/ 97 w 261"/>
                  <a:gd name="T37" fmla="*/ 243 h 248"/>
                  <a:gd name="T38" fmla="*/ 95 w 261"/>
                  <a:gd name="T39" fmla="*/ 239 h 248"/>
                  <a:gd name="T40" fmla="*/ 92 w 261"/>
                  <a:gd name="T41" fmla="*/ 241 h 248"/>
                  <a:gd name="T42" fmla="*/ 88 w 261"/>
                  <a:gd name="T43" fmla="*/ 243 h 248"/>
                  <a:gd name="T44" fmla="*/ 84 w 261"/>
                  <a:gd name="T45" fmla="*/ 245 h 248"/>
                  <a:gd name="T46" fmla="*/ 81 w 261"/>
                  <a:gd name="T47" fmla="*/ 247 h 248"/>
                  <a:gd name="T48" fmla="*/ 77 w 261"/>
                  <a:gd name="T49" fmla="*/ 247 h 248"/>
                  <a:gd name="T50" fmla="*/ 75 w 261"/>
                  <a:gd name="T51" fmla="*/ 243 h 248"/>
                  <a:gd name="T52" fmla="*/ 72 w 261"/>
                  <a:gd name="T53" fmla="*/ 245 h 248"/>
                  <a:gd name="T54" fmla="*/ 68 w 261"/>
                  <a:gd name="T55" fmla="*/ 247 h 248"/>
                  <a:gd name="T56" fmla="*/ 63 w 261"/>
                  <a:gd name="T57" fmla="*/ 243 h 248"/>
                  <a:gd name="T58" fmla="*/ 59 w 261"/>
                  <a:gd name="T59" fmla="*/ 234 h 248"/>
                  <a:gd name="T60" fmla="*/ 58 w 261"/>
                  <a:gd name="T61" fmla="*/ 232 h 248"/>
                  <a:gd name="T62" fmla="*/ 61 w 261"/>
                  <a:gd name="T63" fmla="*/ 229 h 248"/>
                  <a:gd name="T64" fmla="*/ 59 w 261"/>
                  <a:gd name="T65" fmla="*/ 227 h 248"/>
                  <a:gd name="T66" fmla="*/ 56 w 261"/>
                  <a:gd name="T67" fmla="*/ 223 h 248"/>
                  <a:gd name="T68" fmla="*/ 54 w 261"/>
                  <a:gd name="T69" fmla="*/ 216 h 248"/>
                  <a:gd name="T70" fmla="*/ 52 w 261"/>
                  <a:gd name="T71" fmla="*/ 214 h 248"/>
                  <a:gd name="T72" fmla="*/ 50 w 261"/>
                  <a:gd name="T73" fmla="*/ 209 h 248"/>
                  <a:gd name="T74" fmla="*/ 47 w 261"/>
                  <a:gd name="T75" fmla="*/ 209 h 248"/>
                  <a:gd name="T76" fmla="*/ 42 w 261"/>
                  <a:gd name="T77" fmla="*/ 214 h 248"/>
                  <a:gd name="T78" fmla="*/ 34 w 261"/>
                  <a:gd name="T79" fmla="*/ 214 h 248"/>
                  <a:gd name="T80" fmla="*/ 27 w 261"/>
                  <a:gd name="T81" fmla="*/ 216 h 248"/>
                  <a:gd name="T82" fmla="*/ 20 w 261"/>
                  <a:gd name="T83" fmla="*/ 214 h 248"/>
                  <a:gd name="T84" fmla="*/ 15 w 261"/>
                  <a:gd name="T85" fmla="*/ 218 h 248"/>
                  <a:gd name="T86" fmla="*/ 13 w 261"/>
                  <a:gd name="T87" fmla="*/ 213 h 248"/>
                  <a:gd name="T88" fmla="*/ 15 w 261"/>
                  <a:gd name="T89" fmla="*/ 209 h 248"/>
                  <a:gd name="T90" fmla="*/ 15 w 261"/>
                  <a:gd name="T91" fmla="*/ 204 h 248"/>
                  <a:gd name="T92" fmla="*/ 13 w 261"/>
                  <a:gd name="T93" fmla="*/ 200 h 248"/>
                  <a:gd name="T94" fmla="*/ 11 w 261"/>
                  <a:gd name="T95" fmla="*/ 197 h 248"/>
                  <a:gd name="T96" fmla="*/ 8 w 261"/>
                  <a:gd name="T97" fmla="*/ 197 h 248"/>
                  <a:gd name="T98" fmla="*/ 4 w 261"/>
                  <a:gd name="T99" fmla="*/ 189 h 248"/>
                  <a:gd name="T100" fmla="*/ 4 w 261"/>
                  <a:gd name="T101" fmla="*/ 180 h 248"/>
                  <a:gd name="T102" fmla="*/ 2 w 261"/>
                  <a:gd name="T103" fmla="*/ 179 h 248"/>
                  <a:gd name="T104" fmla="*/ 0 w 261"/>
                  <a:gd name="T105" fmla="*/ 173 h 248"/>
                  <a:gd name="T106" fmla="*/ 15 w 261"/>
                  <a:gd name="T107" fmla="*/ 154 h 248"/>
                  <a:gd name="T108" fmla="*/ 22 w 261"/>
                  <a:gd name="T109" fmla="*/ 166 h 248"/>
                  <a:gd name="T110" fmla="*/ 111 w 261"/>
                  <a:gd name="T111" fmla="*/ 148 h 248"/>
                  <a:gd name="T112" fmla="*/ 136 w 261"/>
                  <a:gd name="T113" fmla="*/ 1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1" h="248">
                    <a:moveTo>
                      <a:pt x="136" y="13"/>
                    </a:moveTo>
                    <a:lnTo>
                      <a:pt x="213" y="66"/>
                    </a:lnTo>
                    <a:lnTo>
                      <a:pt x="213" y="66"/>
                    </a:lnTo>
                    <a:lnTo>
                      <a:pt x="215" y="68"/>
                    </a:lnTo>
                    <a:lnTo>
                      <a:pt x="213" y="70"/>
                    </a:lnTo>
                    <a:lnTo>
                      <a:pt x="213" y="72"/>
                    </a:lnTo>
                    <a:lnTo>
                      <a:pt x="220" y="75"/>
                    </a:lnTo>
                    <a:lnTo>
                      <a:pt x="222" y="75"/>
                    </a:lnTo>
                    <a:lnTo>
                      <a:pt x="222" y="77"/>
                    </a:lnTo>
                    <a:lnTo>
                      <a:pt x="222" y="79"/>
                    </a:lnTo>
                    <a:lnTo>
                      <a:pt x="225" y="80"/>
                    </a:lnTo>
                    <a:lnTo>
                      <a:pt x="229" y="82"/>
                    </a:lnTo>
                    <a:lnTo>
                      <a:pt x="231" y="80"/>
                    </a:lnTo>
                    <a:lnTo>
                      <a:pt x="233" y="82"/>
                    </a:lnTo>
                    <a:lnTo>
                      <a:pt x="233" y="84"/>
                    </a:lnTo>
                    <a:lnTo>
                      <a:pt x="234" y="84"/>
                    </a:lnTo>
                    <a:lnTo>
                      <a:pt x="238" y="84"/>
                    </a:lnTo>
                    <a:lnTo>
                      <a:pt x="238" y="86"/>
                    </a:lnTo>
                    <a:lnTo>
                      <a:pt x="240" y="86"/>
                    </a:lnTo>
                    <a:lnTo>
                      <a:pt x="242" y="86"/>
                    </a:lnTo>
                    <a:lnTo>
                      <a:pt x="245" y="88"/>
                    </a:lnTo>
                    <a:lnTo>
                      <a:pt x="245" y="88"/>
                    </a:lnTo>
                    <a:lnTo>
                      <a:pt x="247" y="89"/>
                    </a:lnTo>
                    <a:lnTo>
                      <a:pt x="247" y="89"/>
                    </a:lnTo>
                    <a:lnTo>
                      <a:pt x="247" y="91"/>
                    </a:lnTo>
                    <a:lnTo>
                      <a:pt x="247" y="91"/>
                    </a:lnTo>
                    <a:lnTo>
                      <a:pt x="247" y="93"/>
                    </a:lnTo>
                    <a:lnTo>
                      <a:pt x="247" y="93"/>
                    </a:lnTo>
                    <a:lnTo>
                      <a:pt x="247" y="95"/>
                    </a:lnTo>
                    <a:lnTo>
                      <a:pt x="247" y="95"/>
                    </a:lnTo>
                    <a:lnTo>
                      <a:pt x="247" y="97"/>
                    </a:lnTo>
                    <a:lnTo>
                      <a:pt x="247" y="98"/>
                    </a:lnTo>
                    <a:lnTo>
                      <a:pt x="245" y="98"/>
                    </a:lnTo>
                    <a:lnTo>
                      <a:pt x="245" y="100"/>
                    </a:lnTo>
                    <a:lnTo>
                      <a:pt x="249" y="104"/>
                    </a:lnTo>
                    <a:lnTo>
                      <a:pt x="252" y="104"/>
                    </a:lnTo>
                    <a:lnTo>
                      <a:pt x="254" y="102"/>
                    </a:lnTo>
                    <a:lnTo>
                      <a:pt x="258" y="102"/>
                    </a:lnTo>
                    <a:lnTo>
                      <a:pt x="261" y="100"/>
                    </a:lnTo>
                    <a:lnTo>
                      <a:pt x="261" y="100"/>
                    </a:lnTo>
                    <a:lnTo>
                      <a:pt x="261" y="100"/>
                    </a:lnTo>
                    <a:lnTo>
                      <a:pt x="261" y="152"/>
                    </a:lnTo>
                    <a:lnTo>
                      <a:pt x="259" y="152"/>
                    </a:lnTo>
                    <a:lnTo>
                      <a:pt x="258" y="154"/>
                    </a:lnTo>
                    <a:lnTo>
                      <a:pt x="256" y="155"/>
                    </a:lnTo>
                    <a:lnTo>
                      <a:pt x="256" y="157"/>
                    </a:lnTo>
                    <a:lnTo>
                      <a:pt x="252" y="159"/>
                    </a:lnTo>
                    <a:lnTo>
                      <a:pt x="250" y="161"/>
                    </a:lnTo>
                    <a:lnTo>
                      <a:pt x="250" y="163"/>
                    </a:lnTo>
                    <a:lnTo>
                      <a:pt x="243" y="163"/>
                    </a:lnTo>
                    <a:lnTo>
                      <a:pt x="243" y="164"/>
                    </a:lnTo>
                    <a:lnTo>
                      <a:pt x="242" y="163"/>
                    </a:lnTo>
                    <a:lnTo>
                      <a:pt x="217" y="164"/>
                    </a:lnTo>
                    <a:lnTo>
                      <a:pt x="209" y="170"/>
                    </a:lnTo>
                    <a:lnTo>
                      <a:pt x="188" y="170"/>
                    </a:lnTo>
                    <a:lnTo>
                      <a:pt x="165" y="184"/>
                    </a:lnTo>
                    <a:lnTo>
                      <a:pt x="161" y="188"/>
                    </a:lnTo>
                    <a:lnTo>
                      <a:pt x="156" y="193"/>
                    </a:lnTo>
                    <a:lnTo>
                      <a:pt x="136" y="197"/>
                    </a:lnTo>
                    <a:lnTo>
                      <a:pt x="133" y="198"/>
                    </a:lnTo>
                    <a:lnTo>
                      <a:pt x="125" y="216"/>
                    </a:lnTo>
                    <a:lnTo>
                      <a:pt x="117" y="223"/>
                    </a:lnTo>
                    <a:lnTo>
                      <a:pt x="113" y="234"/>
                    </a:lnTo>
                    <a:lnTo>
                      <a:pt x="113" y="245"/>
                    </a:lnTo>
                    <a:lnTo>
                      <a:pt x="109" y="245"/>
                    </a:lnTo>
                    <a:lnTo>
                      <a:pt x="108" y="245"/>
                    </a:lnTo>
                    <a:lnTo>
                      <a:pt x="108" y="243"/>
                    </a:lnTo>
                    <a:lnTo>
                      <a:pt x="106" y="243"/>
                    </a:lnTo>
                    <a:lnTo>
                      <a:pt x="104" y="243"/>
                    </a:lnTo>
                    <a:lnTo>
                      <a:pt x="102" y="243"/>
                    </a:lnTo>
                    <a:lnTo>
                      <a:pt x="102" y="245"/>
                    </a:lnTo>
                    <a:lnTo>
                      <a:pt x="100" y="245"/>
                    </a:lnTo>
                    <a:lnTo>
                      <a:pt x="99" y="247"/>
                    </a:lnTo>
                    <a:lnTo>
                      <a:pt x="97" y="247"/>
                    </a:lnTo>
                    <a:lnTo>
                      <a:pt x="97" y="247"/>
                    </a:lnTo>
                    <a:lnTo>
                      <a:pt x="97" y="243"/>
                    </a:lnTo>
                    <a:lnTo>
                      <a:pt x="97" y="241"/>
                    </a:lnTo>
                    <a:lnTo>
                      <a:pt x="97" y="241"/>
                    </a:lnTo>
                    <a:lnTo>
                      <a:pt x="97" y="239"/>
                    </a:lnTo>
                    <a:lnTo>
                      <a:pt x="95" y="239"/>
                    </a:lnTo>
                    <a:lnTo>
                      <a:pt x="95" y="239"/>
                    </a:lnTo>
                    <a:lnTo>
                      <a:pt x="93" y="239"/>
                    </a:lnTo>
                    <a:lnTo>
                      <a:pt x="92" y="241"/>
                    </a:lnTo>
                    <a:lnTo>
                      <a:pt x="92" y="241"/>
                    </a:lnTo>
                    <a:lnTo>
                      <a:pt x="90" y="239"/>
                    </a:lnTo>
                    <a:lnTo>
                      <a:pt x="90" y="239"/>
                    </a:lnTo>
                    <a:lnTo>
                      <a:pt x="88" y="241"/>
                    </a:lnTo>
                    <a:lnTo>
                      <a:pt x="88" y="243"/>
                    </a:lnTo>
                    <a:lnTo>
                      <a:pt x="90" y="243"/>
                    </a:lnTo>
                    <a:lnTo>
                      <a:pt x="88" y="245"/>
                    </a:lnTo>
                    <a:lnTo>
                      <a:pt x="86" y="245"/>
                    </a:lnTo>
                    <a:lnTo>
                      <a:pt x="84" y="245"/>
                    </a:lnTo>
                    <a:lnTo>
                      <a:pt x="84" y="247"/>
                    </a:lnTo>
                    <a:lnTo>
                      <a:pt x="83" y="248"/>
                    </a:lnTo>
                    <a:lnTo>
                      <a:pt x="83" y="248"/>
                    </a:lnTo>
                    <a:lnTo>
                      <a:pt x="81" y="247"/>
                    </a:lnTo>
                    <a:lnTo>
                      <a:pt x="79" y="247"/>
                    </a:lnTo>
                    <a:lnTo>
                      <a:pt x="79" y="245"/>
                    </a:lnTo>
                    <a:lnTo>
                      <a:pt x="79" y="247"/>
                    </a:lnTo>
                    <a:lnTo>
                      <a:pt x="77" y="247"/>
                    </a:lnTo>
                    <a:lnTo>
                      <a:pt x="77" y="247"/>
                    </a:lnTo>
                    <a:lnTo>
                      <a:pt x="77" y="245"/>
                    </a:lnTo>
                    <a:lnTo>
                      <a:pt x="75" y="243"/>
                    </a:lnTo>
                    <a:lnTo>
                      <a:pt x="75" y="243"/>
                    </a:lnTo>
                    <a:lnTo>
                      <a:pt x="74" y="243"/>
                    </a:lnTo>
                    <a:lnTo>
                      <a:pt x="72" y="243"/>
                    </a:lnTo>
                    <a:lnTo>
                      <a:pt x="72" y="243"/>
                    </a:lnTo>
                    <a:lnTo>
                      <a:pt x="72" y="245"/>
                    </a:lnTo>
                    <a:lnTo>
                      <a:pt x="70" y="247"/>
                    </a:lnTo>
                    <a:lnTo>
                      <a:pt x="70" y="247"/>
                    </a:lnTo>
                    <a:lnTo>
                      <a:pt x="68" y="247"/>
                    </a:lnTo>
                    <a:lnTo>
                      <a:pt x="68" y="247"/>
                    </a:lnTo>
                    <a:lnTo>
                      <a:pt x="68" y="245"/>
                    </a:lnTo>
                    <a:lnTo>
                      <a:pt x="67" y="245"/>
                    </a:lnTo>
                    <a:lnTo>
                      <a:pt x="65" y="243"/>
                    </a:lnTo>
                    <a:lnTo>
                      <a:pt x="63" y="243"/>
                    </a:lnTo>
                    <a:lnTo>
                      <a:pt x="63" y="241"/>
                    </a:lnTo>
                    <a:lnTo>
                      <a:pt x="63" y="234"/>
                    </a:lnTo>
                    <a:lnTo>
                      <a:pt x="61" y="232"/>
                    </a:lnTo>
                    <a:lnTo>
                      <a:pt x="59" y="234"/>
                    </a:lnTo>
                    <a:lnTo>
                      <a:pt x="58" y="236"/>
                    </a:lnTo>
                    <a:lnTo>
                      <a:pt x="58" y="236"/>
                    </a:lnTo>
                    <a:lnTo>
                      <a:pt x="58" y="232"/>
                    </a:lnTo>
                    <a:lnTo>
                      <a:pt x="58" y="232"/>
                    </a:lnTo>
                    <a:lnTo>
                      <a:pt x="59" y="232"/>
                    </a:lnTo>
                    <a:lnTo>
                      <a:pt x="59" y="230"/>
                    </a:lnTo>
                    <a:lnTo>
                      <a:pt x="59" y="230"/>
                    </a:lnTo>
                    <a:lnTo>
                      <a:pt x="61" y="229"/>
                    </a:lnTo>
                    <a:lnTo>
                      <a:pt x="61" y="229"/>
                    </a:lnTo>
                    <a:lnTo>
                      <a:pt x="61" y="229"/>
                    </a:lnTo>
                    <a:lnTo>
                      <a:pt x="61" y="227"/>
                    </a:lnTo>
                    <a:lnTo>
                      <a:pt x="59" y="227"/>
                    </a:lnTo>
                    <a:lnTo>
                      <a:pt x="59" y="227"/>
                    </a:lnTo>
                    <a:lnTo>
                      <a:pt x="58" y="225"/>
                    </a:lnTo>
                    <a:lnTo>
                      <a:pt x="56" y="223"/>
                    </a:lnTo>
                    <a:lnTo>
                      <a:pt x="56" y="223"/>
                    </a:lnTo>
                    <a:lnTo>
                      <a:pt x="54" y="223"/>
                    </a:lnTo>
                    <a:lnTo>
                      <a:pt x="54" y="218"/>
                    </a:lnTo>
                    <a:lnTo>
                      <a:pt x="54" y="216"/>
                    </a:lnTo>
                    <a:lnTo>
                      <a:pt x="54" y="216"/>
                    </a:lnTo>
                    <a:lnTo>
                      <a:pt x="54" y="214"/>
                    </a:lnTo>
                    <a:lnTo>
                      <a:pt x="52" y="214"/>
                    </a:lnTo>
                    <a:lnTo>
                      <a:pt x="52" y="214"/>
                    </a:lnTo>
                    <a:lnTo>
                      <a:pt x="52" y="214"/>
                    </a:lnTo>
                    <a:lnTo>
                      <a:pt x="52" y="211"/>
                    </a:lnTo>
                    <a:lnTo>
                      <a:pt x="52" y="211"/>
                    </a:lnTo>
                    <a:lnTo>
                      <a:pt x="50" y="209"/>
                    </a:lnTo>
                    <a:lnTo>
                      <a:pt x="50" y="209"/>
                    </a:lnTo>
                    <a:lnTo>
                      <a:pt x="49" y="211"/>
                    </a:lnTo>
                    <a:lnTo>
                      <a:pt x="49" y="211"/>
                    </a:lnTo>
                    <a:lnTo>
                      <a:pt x="47" y="209"/>
                    </a:lnTo>
                    <a:lnTo>
                      <a:pt x="47" y="209"/>
                    </a:lnTo>
                    <a:lnTo>
                      <a:pt x="45" y="209"/>
                    </a:lnTo>
                    <a:lnTo>
                      <a:pt x="45" y="213"/>
                    </a:lnTo>
                    <a:lnTo>
                      <a:pt x="45" y="213"/>
                    </a:lnTo>
                    <a:lnTo>
                      <a:pt x="42" y="214"/>
                    </a:lnTo>
                    <a:lnTo>
                      <a:pt x="42" y="216"/>
                    </a:lnTo>
                    <a:lnTo>
                      <a:pt x="40" y="218"/>
                    </a:lnTo>
                    <a:lnTo>
                      <a:pt x="36" y="216"/>
                    </a:lnTo>
                    <a:lnTo>
                      <a:pt x="34" y="214"/>
                    </a:lnTo>
                    <a:lnTo>
                      <a:pt x="31" y="214"/>
                    </a:lnTo>
                    <a:lnTo>
                      <a:pt x="31" y="214"/>
                    </a:lnTo>
                    <a:lnTo>
                      <a:pt x="29" y="216"/>
                    </a:lnTo>
                    <a:lnTo>
                      <a:pt x="27" y="216"/>
                    </a:lnTo>
                    <a:lnTo>
                      <a:pt x="27" y="218"/>
                    </a:lnTo>
                    <a:lnTo>
                      <a:pt x="25" y="220"/>
                    </a:lnTo>
                    <a:lnTo>
                      <a:pt x="24" y="218"/>
                    </a:lnTo>
                    <a:lnTo>
                      <a:pt x="20" y="214"/>
                    </a:lnTo>
                    <a:lnTo>
                      <a:pt x="20" y="214"/>
                    </a:lnTo>
                    <a:lnTo>
                      <a:pt x="18" y="216"/>
                    </a:lnTo>
                    <a:lnTo>
                      <a:pt x="17" y="218"/>
                    </a:lnTo>
                    <a:lnTo>
                      <a:pt x="15" y="218"/>
                    </a:lnTo>
                    <a:lnTo>
                      <a:pt x="13" y="216"/>
                    </a:lnTo>
                    <a:lnTo>
                      <a:pt x="13" y="216"/>
                    </a:lnTo>
                    <a:lnTo>
                      <a:pt x="13" y="214"/>
                    </a:lnTo>
                    <a:lnTo>
                      <a:pt x="13" y="213"/>
                    </a:lnTo>
                    <a:lnTo>
                      <a:pt x="13" y="213"/>
                    </a:lnTo>
                    <a:lnTo>
                      <a:pt x="15" y="211"/>
                    </a:lnTo>
                    <a:lnTo>
                      <a:pt x="15" y="209"/>
                    </a:lnTo>
                    <a:lnTo>
                      <a:pt x="15" y="209"/>
                    </a:lnTo>
                    <a:lnTo>
                      <a:pt x="15" y="207"/>
                    </a:lnTo>
                    <a:lnTo>
                      <a:pt x="15" y="205"/>
                    </a:lnTo>
                    <a:lnTo>
                      <a:pt x="15" y="204"/>
                    </a:lnTo>
                    <a:lnTo>
                      <a:pt x="15" y="204"/>
                    </a:lnTo>
                    <a:lnTo>
                      <a:pt x="15" y="204"/>
                    </a:lnTo>
                    <a:lnTo>
                      <a:pt x="15" y="204"/>
                    </a:lnTo>
                    <a:lnTo>
                      <a:pt x="15" y="202"/>
                    </a:lnTo>
                    <a:lnTo>
                      <a:pt x="13" y="200"/>
                    </a:lnTo>
                    <a:lnTo>
                      <a:pt x="13" y="198"/>
                    </a:lnTo>
                    <a:lnTo>
                      <a:pt x="11" y="198"/>
                    </a:lnTo>
                    <a:lnTo>
                      <a:pt x="11" y="197"/>
                    </a:lnTo>
                    <a:lnTo>
                      <a:pt x="11" y="197"/>
                    </a:lnTo>
                    <a:lnTo>
                      <a:pt x="11" y="195"/>
                    </a:lnTo>
                    <a:lnTo>
                      <a:pt x="9" y="195"/>
                    </a:lnTo>
                    <a:lnTo>
                      <a:pt x="8" y="197"/>
                    </a:lnTo>
                    <a:lnTo>
                      <a:pt x="8" y="197"/>
                    </a:lnTo>
                    <a:lnTo>
                      <a:pt x="8" y="195"/>
                    </a:lnTo>
                    <a:lnTo>
                      <a:pt x="6" y="193"/>
                    </a:lnTo>
                    <a:lnTo>
                      <a:pt x="4" y="191"/>
                    </a:lnTo>
                    <a:lnTo>
                      <a:pt x="4" y="189"/>
                    </a:lnTo>
                    <a:lnTo>
                      <a:pt x="6" y="188"/>
                    </a:lnTo>
                    <a:lnTo>
                      <a:pt x="6" y="186"/>
                    </a:lnTo>
                    <a:lnTo>
                      <a:pt x="4" y="184"/>
                    </a:lnTo>
                    <a:lnTo>
                      <a:pt x="4" y="180"/>
                    </a:lnTo>
                    <a:lnTo>
                      <a:pt x="2" y="180"/>
                    </a:lnTo>
                    <a:lnTo>
                      <a:pt x="2" y="180"/>
                    </a:lnTo>
                    <a:lnTo>
                      <a:pt x="2" y="179"/>
                    </a:lnTo>
                    <a:lnTo>
                      <a:pt x="2" y="179"/>
                    </a:lnTo>
                    <a:lnTo>
                      <a:pt x="2" y="177"/>
                    </a:lnTo>
                    <a:lnTo>
                      <a:pt x="2" y="175"/>
                    </a:lnTo>
                    <a:lnTo>
                      <a:pt x="2" y="173"/>
                    </a:lnTo>
                    <a:lnTo>
                      <a:pt x="0" y="173"/>
                    </a:lnTo>
                    <a:lnTo>
                      <a:pt x="8" y="166"/>
                    </a:lnTo>
                    <a:lnTo>
                      <a:pt x="13" y="154"/>
                    </a:lnTo>
                    <a:lnTo>
                      <a:pt x="13" y="154"/>
                    </a:lnTo>
                    <a:lnTo>
                      <a:pt x="15" y="154"/>
                    </a:lnTo>
                    <a:lnTo>
                      <a:pt x="15" y="155"/>
                    </a:lnTo>
                    <a:lnTo>
                      <a:pt x="17" y="155"/>
                    </a:lnTo>
                    <a:lnTo>
                      <a:pt x="17" y="155"/>
                    </a:lnTo>
                    <a:lnTo>
                      <a:pt x="22" y="166"/>
                    </a:lnTo>
                    <a:lnTo>
                      <a:pt x="27" y="166"/>
                    </a:lnTo>
                    <a:lnTo>
                      <a:pt x="34" y="161"/>
                    </a:lnTo>
                    <a:lnTo>
                      <a:pt x="108" y="161"/>
                    </a:lnTo>
                    <a:lnTo>
                      <a:pt x="111" y="148"/>
                    </a:lnTo>
                    <a:lnTo>
                      <a:pt x="104" y="147"/>
                    </a:lnTo>
                    <a:lnTo>
                      <a:pt x="90" y="0"/>
                    </a:lnTo>
                    <a:lnTo>
                      <a:pt x="117" y="0"/>
                    </a:lnTo>
                    <a:lnTo>
                      <a:pt x="136" y="1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94" name="Freeform 2445"/>
              <p:cNvSpPr>
                <a:spLocks/>
              </p:cNvSpPr>
              <p:nvPr/>
            </p:nvSpPr>
            <p:spPr bwMode="auto">
              <a:xfrm>
                <a:off x="2501" y="2302"/>
                <a:ext cx="261" cy="248"/>
              </a:xfrm>
              <a:custGeom>
                <a:avLst/>
                <a:gdLst>
                  <a:gd name="T0" fmla="*/ 215 w 261"/>
                  <a:gd name="T1" fmla="*/ 68 h 248"/>
                  <a:gd name="T2" fmla="*/ 222 w 261"/>
                  <a:gd name="T3" fmla="*/ 75 h 248"/>
                  <a:gd name="T4" fmla="*/ 229 w 261"/>
                  <a:gd name="T5" fmla="*/ 82 h 248"/>
                  <a:gd name="T6" fmla="*/ 234 w 261"/>
                  <a:gd name="T7" fmla="*/ 84 h 248"/>
                  <a:gd name="T8" fmla="*/ 242 w 261"/>
                  <a:gd name="T9" fmla="*/ 86 h 248"/>
                  <a:gd name="T10" fmla="*/ 247 w 261"/>
                  <a:gd name="T11" fmla="*/ 89 h 248"/>
                  <a:gd name="T12" fmla="*/ 247 w 261"/>
                  <a:gd name="T13" fmla="*/ 93 h 248"/>
                  <a:gd name="T14" fmla="*/ 247 w 261"/>
                  <a:gd name="T15" fmla="*/ 98 h 248"/>
                  <a:gd name="T16" fmla="*/ 252 w 261"/>
                  <a:gd name="T17" fmla="*/ 104 h 248"/>
                  <a:gd name="T18" fmla="*/ 261 w 261"/>
                  <a:gd name="T19" fmla="*/ 100 h 248"/>
                  <a:gd name="T20" fmla="*/ 258 w 261"/>
                  <a:gd name="T21" fmla="*/ 154 h 248"/>
                  <a:gd name="T22" fmla="*/ 250 w 261"/>
                  <a:gd name="T23" fmla="*/ 161 h 248"/>
                  <a:gd name="T24" fmla="*/ 242 w 261"/>
                  <a:gd name="T25" fmla="*/ 163 h 248"/>
                  <a:gd name="T26" fmla="*/ 165 w 261"/>
                  <a:gd name="T27" fmla="*/ 184 h 248"/>
                  <a:gd name="T28" fmla="*/ 133 w 261"/>
                  <a:gd name="T29" fmla="*/ 198 h 248"/>
                  <a:gd name="T30" fmla="*/ 113 w 261"/>
                  <a:gd name="T31" fmla="*/ 245 h 248"/>
                  <a:gd name="T32" fmla="*/ 106 w 261"/>
                  <a:gd name="T33" fmla="*/ 243 h 248"/>
                  <a:gd name="T34" fmla="*/ 100 w 261"/>
                  <a:gd name="T35" fmla="*/ 245 h 248"/>
                  <a:gd name="T36" fmla="*/ 97 w 261"/>
                  <a:gd name="T37" fmla="*/ 243 h 248"/>
                  <a:gd name="T38" fmla="*/ 95 w 261"/>
                  <a:gd name="T39" fmla="*/ 239 h 248"/>
                  <a:gd name="T40" fmla="*/ 92 w 261"/>
                  <a:gd name="T41" fmla="*/ 241 h 248"/>
                  <a:gd name="T42" fmla="*/ 88 w 261"/>
                  <a:gd name="T43" fmla="*/ 243 h 248"/>
                  <a:gd name="T44" fmla="*/ 84 w 261"/>
                  <a:gd name="T45" fmla="*/ 245 h 248"/>
                  <a:gd name="T46" fmla="*/ 81 w 261"/>
                  <a:gd name="T47" fmla="*/ 247 h 248"/>
                  <a:gd name="T48" fmla="*/ 77 w 261"/>
                  <a:gd name="T49" fmla="*/ 247 h 248"/>
                  <a:gd name="T50" fmla="*/ 75 w 261"/>
                  <a:gd name="T51" fmla="*/ 243 h 248"/>
                  <a:gd name="T52" fmla="*/ 72 w 261"/>
                  <a:gd name="T53" fmla="*/ 245 h 248"/>
                  <a:gd name="T54" fmla="*/ 68 w 261"/>
                  <a:gd name="T55" fmla="*/ 247 h 248"/>
                  <a:gd name="T56" fmla="*/ 63 w 261"/>
                  <a:gd name="T57" fmla="*/ 243 h 248"/>
                  <a:gd name="T58" fmla="*/ 59 w 261"/>
                  <a:gd name="T59" fmla="*/ 234 h 248"/>
                  <a:gd name="T60" fmla="*/ 58 w 261"/>
                  <a:gd name="T61" fmla="*/ 232 h 248"/>
                  <a:gd name="T62" fmla="*/ 61 w 261"/>
                  <a:gd name="T63" fmla="*/ 229 h 248"/>
                  <a:gd name="T64" fmla="*/ 59 w 261"/>
                  <a:gd name="T65" fmla="*/ 227 h 248"/>
                  <a:gd name="T66" fmla="*/ 56 w 261"/>
                  <a:gd name="T67" fmla="*/ 223 h 248"/>
                  <a:gd name="T68" fmla="*/ 54 w 261"/>
                  <a:gd name="T69" fmla="*/ 216 h 248"/>
                  <a:gd name="T70" fmla="*/ 52 w 261"/>
                  <a:gd name="T71" fmla="*/ 214 h 248"/>
                  <a:gd name="T72" fmla="*/ 50 w 261"/>
                  <a:gd name="T73" fmla="*/ 209 h 248"/>
                  <a:gd name="T74" fmla="*/ 47 w 261"/>
                  <a:gd name="T75" fmla="*/ 209 h 248"/>
                  <a:gd name="T76" fmla="*/ 42 w 261"/>
                  <a:gd name="T77" fmla="*/ 214 h 248"/>
                  <a:gd name="T78" fmla="*/ 34 w 261"/>
                  <a:gd name="T79" fmla="*/ 214 h 248"/>
                  <a:gd name="T80" fmla="*/ 27 w 261"/>
                  <a:gd name="T81" fmla="*/ 216 h 248"/>
                  <a:gd name="T82" fmla="*/ 20 w 261"/>
                  <a:gd name="T83" fmla="*/ 214 h 248"/>
                  <a:gd name="T84" fmla="*/ 15 w 261"/>
                  <a:gd name="T85" fmla="*/ 218 h 248"/>
                  <a:gd name="T86" fmla="*/ 13 w 261"/>
                  <a:gd name="T87" fmla="*/ 213 h 248"/>
                  <a:gd name="T88" fmla="*/ 15 w 261"/>
                  <a:gd name="T89" fmla="*/ 209 h 248"/>
                  <a:gd name="T90" fmla="*/ 15 w 261"/>
                  <a:gd name="T91" fmla="*/ 204 h 248"/>
                  <a:gd name="T92" fmla="*/ 13 w 261"/>
                  <a:gd name="T93" fmla="*/ 200 h 248"/>
                  <a:gd name="T94" fmla="*/ 11 w 261"/>
                  <a:gd name="T95" fmla="*/ 197 h 248"/>
                  <a:gd name="T96" fmla="*/ 8 w 261"/>
                  <a:gd name="T97" fmla="*/ 197 h 248"/>
                  <a:gd name="T98" fmla="*/ 4 w 261"/>
                  <a:gd name="T99" fmla="*/ 189 h 248"/>
                  <a:gd name="T100" fmla="*/ 4 w 261"/>
                  <a:gd name="T101" fmla="*/ 180 h 248"/>
                  <a:gd name="T102" fmla="*/ 2 w 261"/>
                  <a:gd name="T103" fmla="*/ 179 h 248"/>
                  <a:gd name="T104" fmla="*/ 0 w 261"/>
                  <a:gd name="T105" fmla="*/ 173 h 248"/>
                  <a:gd name="T106" fmla="*/ 15 w 261"/>
                  <a:gd name="T107" fmla="*/ 154 h 248"/>
                  <a:gd name="T108" fmla="*/ 22 w 261"/>
                  <a:gd name="T109" fmla="*/ 166 h 248"/>
                  <a:gd name="T110" fmla="*/ 111 w 261"/>
                  <a:gd name="T111" fmla="*/ 148 h 248"/>
                  <a:gd name="T112" fmla="*/ 136 w 261"/>
                  <a:gd name="T113" fmla="*/ 1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1" h="248">
                    <a:moveTo>
                      <a:pt x="136" y="13"/>
                    </a:moveTo>
                    <a:lnTo>
                      <a:pt x="213" y="66"/>
                    </a:lnTo>
                    <a:lnTo>
                      <a:pt x="213" y="66"/>
                    </a:lnTo>
                    <a:lnTo>
                      <a:pt x="215" y="68"/>
                    </a:lnTo>
                    <a:lnTo>
                      <a:pt x="213" y="70"/>
                    </a:lnTo>
                    <a:lnTo>
                      <a:pt x="213" y="72"/>
                    </a:lnTo>
                    <a:lnTo>
                      <a:pt x="220" y="75"/>
                    </a:lnTo>
                    <a:lnTo>
                      <a:pt x="222" y="75"/>
                    </a:lnTo>
                    <a:lnTo>
                      <a:pt x="222" y="77"/>
                    </a:lnTo>
                    <a:lnTo>
                      <a:pt x="222" y="79"/>
                    </a:lnTo>
                    <a:lnTo>
                      <a:pt x="225" y="80"/>
                    </a:lnTo>
                    <a:lnTo>
                      <a:pt x="229" y="82"/>
                    </a:lnTo>
                    <a:lnTo>
                      <a:pt x="231" y="80"/>
                    </a:lnTo>
                    <a:lnTo>
                      <a:pt x="233" y="82"/>
                    </a:lnTo>
                    <a:lnTo>
                      <a:pt x="233" y="84"/>
                    </a:lnTo>
                    <a:lnTo>
                      <a:pt x="234" y="84"/>
                    </a:lnTo>
                    <a:lnTo>
                      <a:pt x="238" y="84"/>
                    </a:lnTo>
                    <a:lnTo>
                      <a:pt x="238" y="86"/>
                    </a:lnTo>
                    <a:lnTo>
                      <a:pt x="240" y="86"/>
                    </a:lnTo>
                    <a:lnTo>
                      <a:pt x="242" y="86"/>
                    </a:lnTo>
                    <a:lnTo>
                      <a:pt x="245" y="88"/>
                    </a:lnTo>
                    <a:lnTo>
                      <a:pt x="245" y="88"/>
                    </a:lnTo>
                    <a:lnTo>
                      <a:pt x="247" y="89"/>
                    </a:lnTo>
                    <a:lnTo>
                      <a:pt x="247" y="89"/>
                    </a:lnTo>
                    <a:lnTo>
                      <a:pt x="247" y="91"/>
                    </a:lnTo>
                    <a:lnTo>
                      <a:pt x="247" y="91"/>
                    </a:lnTo>
                    <a:lnTo>
                      <a:pt x="247" y="93"/>
                    </a:lnTo>
                    <a:lnTo>
                      <a:pt x="247" y="93"/>
                    </a:lnTo>
                    <a:lnTo>
                      <a:pt x="247" y="95"/>
                    </a:lnTo>
                    <a:lnTo>
                      <a:pt x="247" y="95"/>
                    </a:lnTo>
                    <a:lnTo>
                      <a:pt x="247" y="97"/>
                    </a:lnTo>
                    <a:lnTo>
                      <a:pt x="247" y="98"/>
                    </a:lnTo>
                    <a:lnTo>
                      <a:pt x="245" y="98"/>
                    </a:lnTo>
                    <a:lnTo>
                      <a:pt x="245" y="100"/>
                    </a:lnTo>
                    <a:lnTo>
                      <a:pt x="249" y="104"/>
                    </a:lnTo>
                    <a:lnTo>
                      <a:pt x="252" y="104"/>
                    </a:lnTo>
                    <a:lnTo>
                      <a:pt x="254" y="102"/>
                    </a:lnTo>
                    <a:lnTo>
                      <a:pt x="258" y="102"/>
                    </a:lnTo>
                    <a:lnTo>
                      <a:pt x="261" y="100"/>
                    </a:lnTo>
                    <a:lnTo>
                      <a:pt x="261" y="100"/>
                    </a:lnTo>
                    <a:lnTo>
                      <a:pt x="261" y="100"/>
                    </a:lnTo>
                    <a:lnTo>
                      <a:pt x="261" y="152"/>
                    </a:lnTo>
                    <a:lnTo>
                      <a:pt x="259" y="152"/>
                    </a:lnTo>
                    <a:lnTo>
                      <a:pt x="258" y="154"/>
                    </a:lnTo>
                    <a:lnTo>
                      <a:pt x="256" y="155"/>
                    </a:lnTo>
                    <a:lnTo>
                      <a:pt x="256" y="157"/>
                    </a:lnTo>
                    <a:lnTo>
                      <a:pt x="252" y="159"/>
                    </a:lnTo>
                    <a:lnTo>
                      <a:pt x="250" y="161"/>
                    </a:lnTo>
                    <a:lnTo>
                      <a:pt x="250" y="163"/>
                    </a:lnTo>
                    <a:lnTo>
                      <a:pt x="243" y="163"/>
                    </a:lnTo>
                    <a:lnTo>
                      <a:pt x="243" y="164"/>
                    </a:lnTo>
                    <a:lnTo>
                      <a:pt x="242" y="163"/>
                    </a:lnTo>
                    <a:lnTo>
                      <a:pt x="217" y="164"/>
                    </a:lnTo>
                    <a:lnTo>
                      <a:pt x="209" y="170"/>
                    </a:lnTo>
                    <a:lnTo>
                      <a:pt x="188" y="170"/>
                    </a:lnTo>
                    <a:lnTo>
                      <a:pt x="165" y="184"/>
                    </a:lnTo>
                    <a:lnTo>
                      <a:pt x="161" y="188"/>
                    </a:lnTo>
                    <a:lnTo>
                      <a:pt x="156" y="193"/>
                    </a:lnTo>
                    <a:lnTo>
                      <a:pt x="136" y="197"/>
                    </a:lnTo>
                    <a:lnTo>
                      <a:pt x="133" y="198"/>
                    </a:lnTo>
                    <a:lnTo>
                      <a:pt x="125" y="216"/>
                    </a:lnTo>
                    <a:lnTo>
                      <a:pt x="117" y="223"/>
                    </a:lnTo>
                    <a:lnTo>
                      <a:pt x="113" y="234"/>
                    </a:lnTo>
                    <a:lnTo>
                      <a:pt x="113" y="245"/>
                    </a:lnTo>
                    <a:lnTo>
                      <a:pt x="109" y="245"/>
                    </a:lnTo>
                    <a:lnTo>
                      <a:pt x="108" y="245"/>
                    </a:lnTo>
                    <a:lnTo>
                      <a:pt x="108" y="243"/>
                    </a:lnTo>
                    <a:lnTo>
                      <a:pt x="106" y="243"/>
                    </a:lnTo>
                    <a:lnTo>
                      <a:pt x="104" y="243"/>
                    </a:lnTo>
                    <a:lnTo>
                      <a:pt x="102" y="243"/>
                    </a:lnTo>
                    <a:lnTo>
                      <a:pt x="102" y="245"/>
                    </a:lnTo>
                    <a:lnTo>
                      <a:pt x="100" y="245"/>
                    </a:lnTo>
                    <a:lnTo>
                      <a:pt x="99" y="247"/>
                    </a:lnTo>
                    <a:lnTo>
                      <a:pt x="97" y="247"/>
                    </a:lnTo>
                    <a:lnTo>
                      <a:pt x="97" y="247"/>
                    </a:lnTo>
                    <a:lnTo>
                      <a:pt x="97" y="243"/>
                    </a:lnTo>
                    <a:lnTo>
                      <a:pt x="97" y="241"/>
                    </a:lnTo>
                    <a:lnTo>
                      <a:pt x="97" y="241"/>
                    </a:lnTo>
                    <a:lnTo>
                      <a:pt x="97" y="239"/>
                    </a:lnTo>
                    <a:lnTo>
                      <a:pt x="95" y="239"/>
                    </a:lnTo>
                    <a:lnTo>
                      <a:pt x="95" y="239"/>
                    </a:lnTo>
                    <a:lnTo>
                      <a:pt x="93" y="239"/>
                    </a:lnTo>
                    <a:lnTo>
                      <a:pt x="92" y="241"/>
                    </a:lnTo>
                    <a:lnTo>
                      <a:pt x="92" y="241"/>
                    </a:lnTo>
                    <a:lnTo>
                      <a:pt x="90" y="239"/>
                    </a:lnTo>
                    <a:lnTo>
                      <a:pt x="90" y="239"/>
                    </a:lnTo>
                    <a:lnTo>
                      <a:pt x="88" y="241"/>
                    </a:lnTo>
                    <a:lnTo>
                      <a:pt x="88" y="243"/>
                    </a:lnTo>
                    <a:lnTo>
                      <a:pt x="90" y="243"/>
                    </a:lnTo>
                    <a:lnTo>
                      <a:pt x="88" y="245"/>
                    </a:lnTo>
                    <a:lnTo>
                      <a:pt x="86" y="245"/>
                    </a:lnTo>
                    <a:lnTo>
                      <a:pt x="84" y="245"/>
                    </a:lnTo>
                    <a:lnTo>
                      <a:pt x="84" y="247"/>
                    </a:lnTo>
                    <a:lnTo>
                      <a:pt x="83" y="248"/>
                    </a:lnTo>
                    <a:lnTo>
                      <a:pt x="83" y="248"/>
                    </a:lnTo>
                    <a:lnTo>
                      <a:pt x="81" y="247"/>
                    </a:lnTo>
                    <a:lnTo>
                      <a:pt x="79" y="247"/>
                    </a:lnTo>
                    <a:lnTo>
                      <a:pt x="79" y="245"/>
                    </a:lnTo>
                    <a:lnTo>
                      <a:pt x="79" y="247"/>
                    </a:lnTo>
                    <a:lnTo>
                      <a:pt x="77" y="247"/>
                    </a:lnTo>
                    <a:lnTo>
                      <a:pt x="77" y="247"/>
                    </a:lnTo>
                    <a:lnTo>
                      <a:pt x="77" y="245"/>
                    </a:lnTo>
                    <a:lnTo>
                      <a:pt x="75" y="243"/>
                    </a:lnTo>
                    <a:lnTo>
                      <a:pt x="75" y="243"/>
                    </a:lnTo>
                    <a:lnTo>
                      <a:pt x="74" y="243"/>
                    </a:lnTo>
                    <a:lnTo>
                      <a:pt x="72" y="243"/>
                    </a:lnTo>
                    <a:lnTo>
                      <a:pt x="72" y="243"/>
                    </a:lnTo>
                    <a:lnTo>
                      <a:pt x="72" y="245"/>
                    </a:lnTo>
                    <a:lnTo>
                      <a:pt x="70" y="247"/>
                    </a:lnTo>
                    <a:lnTo>
                      <a:pt x="70" y="247"/>
                    </a:lnTo>
                    <a:lnTo>
                      <a:pt x="68" y="247"/>
                    </a:lnTo>
                    <a:lnTo>
                      <a:pt x="68" y="247"/>
                    </a:lnTo>
                    <a:lnTo>
                      <a:pt x="68" y="245"/>
                    </a:lnTo>
                    <a:lnTo>
                      <a:pt x="67" y="245"/>
                    </a:lnTo>
                    <a:lnTo>
                      <a:pt x="65" y="243"/>
                    </a:lnTo>
                    <a:lnTo>
                      <a:pt x="63" y="243"/>
                    </a:lnTo>
                    <a:lnTo>
                      <a:pt x="63" y="241"/>
                    </a:lnTo>
                    <a:lnTo>
                      <a:pt x="63" y="234"/>
                    </a:lnTo>
                    <a:lnTo>
                      <a:pt x="61" y="232"/>
                    </a:lnTo>
                    <a:lnTo>
                      <a:pt x="59" y="234"/>
                    </a:lnTo>
                    <a:lnTo>
                      <a:pt x="58" y="236"/>
                    </a:lnTo>
                    <a:lnTo>
                      <a:pt x="58" y="236"/>
                    </a:lnTo>
                    <a:lnTo>
                      <a:pt x="58" y="232"/>
                    </a:lnTo>
                    <a:lnTo>
                      <a:pt x="58" y="232"/>
                    </a:lnTo>
                    <a:lnTo>
                      <a:pt x="59" y="232"/>
                    </a:lnTo>
                    <a:lnTo>
                      <a:pt x="59" y="230"/>
                    </a:lnTo>
                    <a:lnTo>
                      <a:pt x="59" y="230"/>
                    </a:lnTo>
                    <a:lnTo>
                      <a:pt x="61" y="229"/>
                    </a:lnTo>
                    <a:lnTo>
                      <a:pt x="61" y="229"/>
                    </a:lnTo>
                    <a:lnTo>
                      <a:pt x="61" y="229"/>
                    </a:lnTo>
                    <a:lnTo>
                      <a:pt x="61" y="227"/>
                    </a:lnTo>
                    <a:lnTo>
                      <a:pt x="59" y="227"/>
                    </a:lnTo>
                    <a:lnTo>
                      <a:pt x="59" y="227"/>
                    </a:lnTo>
                    <a:lnTo>
                      <a:pt x="58" y="225"/>
                    </a:lnTo>
                    <a:lnTo>
                      <a:pt x="56" y="223"/>
                    </a:lnTo>
                    <a:lnTo>
                      <a:pt x="56" y="223"/>
                    </a:lnTo>
                    <a:lnTo>
                      <a:pt x="54" y="223"/>
                    </a:lnTo>
                    <a:lnTo>
                      <a:pt x="54" y="218"/>
                    </a:lnTo>
                    <a:lnTo>
                      <a:pt x="54" y="216"/>
                    </a:lnTo>
                    <a:lnTo>
                      <a:pt x="54" y="216"/>
                    </a:lnTo>
                    <a:lnTo>
                      <a:pt x="54" y="214"/>
                    </a:lnTo>
                    <a:lnTo>
                      <a:pt x="52" y="214"/>
                    </a:lnTo>
                    <a:lnTo>
                      <a:pt x="52" y="214"/>
                    </a:lnTo>
                    <a:lnTo>
                      <a:pt x="52" y="214"/>
                    </a:lnTo>
                    <a:lnTo>
                      <a:pt x="52" y="211"/>
                    </a:lnTo>
                    <a:lnTo>
                      <a:pt x="52" y="211"/>
                    </a:lnTo>
                    <a:lnTo>
                      <a:pt x="50" y="209"/>
                    </a:lnTo>
                    <a:lnTo>
                      <a:pt x="50" y="209"/>
                    </a:lnTo>
                    <a:lnTo>
                      <a:pt x="49" y="211"/>
                    </a:lnTo>
                    <a:lnTo>
                      <a:pt x="49" y="211"/>
                    </a:lnTo>
                    <a:lnTo>
                      <a:pt x="47" y="209"/>
                    </a:lnTo>
                    <a:lnTo>
                      <a:pt x="47" y="209"/>
                    </a:lnTo>
                    <a:lnTo>
                      <a:pt x="45" y="209"/>
                    </a:lnTo>
                    <a:lnTo>
                      <a:pt x="45" y="213"/>
                    </a:lnTo>
                    <a:lnTo>
                      <a:pt x="45" y="213"/>
                    </a:lnTo>
                    <a:lnTo>
                      <a:pt x="42" y="214"/>
                    </a:lnTo>
                    <a:lnTo>
                      <a:pt x="42" y="216"/>
                    </a:lnTo>
                    <a:lnTo>
                      <a:pt x="40" y="218"/>
                    </a:lnTo>
                    <a:lnTo>
                      <a:pt x="36" y="216"/>
                    </a:lnTo>
                    <a:lnTo>
                      <a:pt x="34" y="214"/>
                    </a:lnTo>
                    <a:lnTo>
                      <a:pt x="31" y="214"/>
                    </a:lnTo>
                    <a:lnTo>
                      <a:pt x="31" y="214"/>
                    </a:lnTo>
                    <a:lnTo>
                      <a:pt x="29" y="216"/>
                    </a:lnTo>
                    <a:lnTo>
                      <a:pt x="27" y="216"/>
                    </a:lnTo>
                    <a:lnTo>
                      <a:pt x="27" y="218"/>
                    </a:lnTo>
                    <a:lnTo>
                      <a:pt x="25" y="220"/>
                    </a:lnTo>
                    <a:lnTo>
                      <a:pt x="24" y="218"/>
                    </a:lnTo>
                    <a:lnTo>
                      <a:pt x="20" y="214"/>
                    </a:lnTo>
                    <a:lnTo>
                      <a:pt x="20" y="214"/>
                    </a:lnTo>
                    <a:lnTo>
                      <a:pt x="18" y="216"/>
                    </a:lnTo>
                    <a:lnTo>
                      <a:pt x="17" y="218"/>
                    </a:lnTo>
                    <a:lnTo>
                      <a:pt x="15" y="218"/>
                    </a:lnTo>
                    <a:lnTo>
                      <a:pt x="13" y="216"/>
                    </a:lnTo>
                    <a:lnTo>
                      <a:pt x="13" y="216"/>
                    </a:lnTo>
                    <a:lnTo>
                      <a:pt x="13" y="214"/>
                    </a:lnTo>
                    <a:lnTo>
                      <a:pt x="13" y="213"/>
                    </a:lnTo>
                    <a:lnTo>
                      <a:pt x="13" y="213"/>
                    </a:lnTo>
                    <a:lnTo>
                      <a:pt x="15" y="211"/>
                    </a:lnTo>
                    <a:lnTo>
                      <a:pt x="15" y="209"/>
                    </a:lnTo>
                    <a:lnTo>
                      <a:pt x="15" y="209"/>
                    </a:lnTo>
                    <a:lnTo>
                      <a:pt x="15" y="207"/>
                    </a:lnTo>
                    <a:lnTo>
                      <a:pt x="15" y="205"/>
                    </a:lnTo>
                    <a:lnTo>
                      <a:pt x="15" y="204"/>
                    </a:lnTo>
                    <a:lnTo>
                      <a:pt x="15" y="204"/>
                    </a:lnTo>
                    <a:lnTo>
                      <a:pt x="15" y="204"/>
                    </a:lnTo>
                    <a:lnTo>
                      <a:pt x="15" y="204"/>
                    </a:lnTo>
                    <a:lnTo>
                      <a:pt x="15" y="202"/>
                    </a:lnTo>
                    <a:lnTo>
                      <a:pt x="13" y="200"/>
                    </a:lnTo>
                    <a:lnTo>
                      <a:pt x="13" y="198"/>
                    </a:lnTo>
                    <a:lnTo>
                      <a:pt x="11" y="198"/>
                    </a:lnTo>
                    <a:lnTo>
                      <a:pt x="11" y="197"/>
                    </a:lnTo>
                    <a:lnTo>
                      <a:pt x="11" y="197"/>
                    </a:lnTo>
                    <a:lnTo>
                      <a:pt x="11" y="195"/>
                    </a:lnTo>
                    <a:lnTo>
                      <a:pt x="9" y="195"/>
                    </a:lnTo>
                    <a:lnTo>
                      <a:pt x="8" y="197"/>
                    </a:lnTo>
                    <a:lnTo>
                      <a:pt x="8" y="197"/>
                    </a:lnTo>
                    <a:lnTo>
                      <a:pt x="8" y="195"/>
                    </a:lnTo>
                    <a:lnTo>
                      <a:pt x="6" y="193"/>
                    </a:lnTo>
                    <a:lnTo>
                      <a:pt x="4" y="191"/>
                    </a:lnTo>
                    <a:lnTo>
                      <a:pt x="4" y="189"/>
                    </a:lnTo>
                    <a:lnTo>
                      <a:pt x="6" y="188"/>
                    </a:lnTo>
                    <a:lnTo>
                      <a:pt x="6" y="186"/>
                    </a:lnTo>
                    <a:lnTo>
                      <a:pt x="4" y="184"/>
                    </a:lnTo>
                    <a:lnTo>
                      <a:pt x="4" y="180"/>
                    </a:lnTo>
                    <a:lnTo>
                      <a:pt x="2" y="180"/>
                    </a:lnTo>
                    <a:lnTo>
                      <a:pt x="2" y="180"/>
                    </a:lnTo>
                    <a:lnTo>
                      <a:pt x="2" y="179"/>
                    </a:lnTo>
                    <a:lnTo>
                      <a:pt x="2" y="179"/>
                    </a:lnTo>
                    <a:lnTo>
                      <a:pt x="2" y="177"/>
                    </a:lnTo>
                    <a:lnTo>
                      <a:pt x="2" y="175"/>
                    </a:lnTo>
                    <a:lnTo>
                      <a:pt x="2" y="173"/>
                    </a:lnTo>
                    <a:lnTo>
                      <a:pt x="0" y="173"/>
                    </a:lnTo>
                    <a:lnTo>
                      <a:pt x="8" y="166"/>
                    </a:lnTo>
                    <a:lnTo>
                      <a:pt x="13" y="154"/>
                    </a:lnTo>
                    <a:lnTo>
                      <a:pt x="13" y="154"/>
                    </a:lnTo>
                    <a:lnTo>
                      <a:pt x="15" y="154"/>
                    </a:lnTo>
                    <a:lnTo>
                      <a:pt x="15" y="155"/>
                    </a:lnTo>
                    <a:lnTo>
                      <a:pt x="17" y="155"/>
                    </a:lnTo>
                    <a:lnTo>
                      <a:pt x="17" y="155"/>
                    </a:lnTo>
                    <a:lnTo>
                      <a:pt x="22" y="166"/>
                    </a:lnTo>
                    <a:lnTo>
                      <a:pt x="27" y="166"/>
                    </a:lnTo>
                    <a:lnTo>
                      <a:pt x="34" y="161"/>
                    </a:lnTo>
                    <a:lnTo>
                      <a:pt x="108" y="161"/>
                    </a:lnTo>
                    <a:lnTo>
                      <a:pt x="111" y="148"/>
                    </a:lnTo>
                    <a:lnTo>
                      <a:pt x="104" y="147"/>
                    </a:lnTo>
                    <a:lnTo>
                      <a:pt x="90" y="0"/>
                    </a:lnTo>
                    <a:lnTo>
                      <a:pt x="117" y="0"/>
                    </a:lnTo>
                    <a:lnTo>
                      <a:pt x="136" y="1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95" name="Freeform 2446"/>
              <p:cNvSpPr>
                <a:spLocks/>
              </p:cNvSpPr>
              <p:nvPr/>
            </p:nvSpPr>
            <p:spPr bwMode="auto">
              <a:xfrm>
                <a:off x="3014" y="3000"/>
                <a:ext cx="152" cy="156"/>
              </a:xfrm>
              <a:custGeom>
                <a:avLst/>
                <a:gdLst>
                  <a:gd name="T0" fmla="*/ 0 w 152"/>
                  <a:gd name="T1" fmla="*/ 118 h 156"/>
                  <a:gd name="T2" fmla="*/ 0 w 152"/>
                  <a:gd name="T3" fmla="*/ 72 h 156"/>
                  <a:gd name="T4" fmla="*/ 16 w 152"/>
                  <a:gd name="T5" fmla="*/ 72 h 156"/>
                  <a:gd name="T6" fmla="*/ 16 w 152"/>
                  <a:gd name="T7" fmla="*/ 11 h 156"/>
                  <a:gd name="T8" fmla="*/ 18 w 152"/>
                  <a:gd name="T9" fmla="*/ 9 h 156"/>
                  <a:gd name="T10" fmla="*/ 53 w 152"/>
                  <a:gd name="T11" fmla="*/ 6 h 156"/>
                  <a:gd name="T12" fmla="*/ 55 w 152"/>
                  <a:gd name="T13" fmla="*/ 6 h 156"/>
                  <a:gd name="T14" fmla="*/ 57 w 152"/>
                  <a:gd name="T15" fmla="*/ 9 h 156"/>
                  <a:gd name="T16" fmla="*/ 59 w 152"/>
                  <a:gd name="T17" fmla="*/ 15 h 156"/>
                  <a:gd name="T18" fmla="*/ 62 w 152"/>
                  <a:gd name="T19" fmla="*/ 9 h 156"/>
                  <a:gd name="T20" fmla="*/ 68 w 152"/>
                  <a:gd name="T21" fmla="*/ 6 h 156"/>
                  <a:gd name="T22" fmla="*/ 75 w 152"/>
                  <a:gd name="T23" fmla="*/ 2 h 156"/>
                  <a:gd name="T24" fmla="*/ 77 w 152"/>
                  <a:gd name="T25" fmla="*/ 0 h 156"/>
                  <a:gd name="T26" fmla="*/ 78 w 152"/>
                  <a:gd name="T27" fmla="*/ 0 h 156"/>
                  <a:gd name="T28" fmla="*/ 82 w 152"/>
                  <a:gd name="T29" fmla="*/ 0 h 156"/>
                  <a:gd name="T30" fmla="*/ 84 w 152"/>
                  <a:gd name="T31" fmla="*/ 0 h 156"/>
                  <a:gd name="T32" fmla="*/ 84 w 152"/>
                  <a:gd name="T33" fmla="*/ 2 h 156"/>
                  <a:gd name="T34" fmla="*/ 89 w 152"/>
                  <a:gd name="T35" fmla="*/ 11 h 156"/>
                  <a:gd name="T36" fmla="*/ 93 w 152"/>
                  <a:gd name="T37" fmla="*/ 15 h 156"/>
                  <a:gd name="T38" fmla="*/ 95 w 152"/>
                  <a:gd name="T39" fmla="*/ 22 h 156"/>
                  <a:gd name="T40" fmla="*/ 107 w 152"/>
                  <a:gd name="T41" fmla="*/ 36 h 156"/>
                  <a:gd name="T42" fmla="*/ 112 w 152"/>
                  <a:gd name="T43" fmla="*/ 38 h 156"/>
                  <a:gd name="T44" fmla="*/ 116 w 152"/>
                  <a:gd name="T45" fmla="*/ 40 h 156"/>
                  <a:gd name="T46" fmla="*/ 118 w 152"/>
                  <a:gd name="T47" fmla="*/ 43 h 156"/>
                  <a:gd name="T48" fmla="*/ 123 w 152"/>
                  <a:gd name="T49" fmla="*/ 45 h 156"/>
                  <a:gd name="T50" fmla="*/ 125 w 152"/>
                  <a:gd name="T51" fmla="*/ 49 h 156"/>
                  <a:gd name="T52" fmla="*/ 127 w 152"/>
                  <a:gd name="T53" fmla="*/ 59 h 156"/>
                  <a:gd name="T54" fmla="*/ 128 w 152"/>
                  <a:gd name="T55" fmla="*/ 63 h 156"/>
                  <a:gd name="T56" fmla="*/ 130 w 152"/>
                  <a:gd name="T57" fmla="*/ 66 h 156"/>
                  <a:gd name="T58" fmla="*/ 134 w 152"/>
                  <a:gd name="T59" fmla="*/ 68 h 156"/>
                  <a:gd name="T60" fmla="*/ 141 w 152"/>
                  <a:gd name="T61" fmla="*/ 68 h 156"/>
                  <a:gd name="T62" fmla="*/ 152 w 152"/>
                  <a:gd name="T63" fmla="*/ 74 h 156"/>
                  <a:gd name="T64" fmla="*/ 150 w 152"/>
                  <a:gd name="T65" fmla="*/ 74 h 156"/>
                  <a:gd name="T66" fmla="*/ 132 w 152"/>
                  <a:gd name="T67" fmla="*/ 84 h 156"/>
                  <a:gd name="T68" fmla="*/ 96 w 152"/>
                  <a:gd name="T69" fmla="*/ 120 h 156"/>
                  <a:gd name="T70" fmla="*/ 91 w 152"/>
                  <a:gd name="T71" fmla="*/ 131 h 156"/>
                  <a:gd name="T72" fmla="*/ 89 w 152"/>
                  <a:gd name="T73" fmla="*/ 132 h 156"/>
                  <a:gd name="T74" fmla="*/ 77 w 152"/>
                  <a:gd name="T75" fmla="*/ 136 h 156"/>
                  <a:gd name="T76" fmla="*/ 73 w 152"/>
                  <a:gd name="T77" fmla="*/ 136 h 156"/>
                  <a:gd name="T78" fmla="*/ 62 w 152"/>
                  <a:gd name="T79" fmla="*/ 131 h 156"/>
                  <a:gd name="T80" fmla="*/ 59 w 152"/>
                  <a:gd name="T81" fmla="*/ 129 h 156"/>
                  <a:gd name="T82" fmla="*/ 55 w 152"/>
                  <a:gd name="T83" fmla="*/ 131 h 156"/>
                  <a:gd name="T84" fmla="*/ 48 w 152"/>
                  <a:gd name="T85" fmla="*/ 140 h 156"/>
                  <a:gd name="T86" fmla="*/ 46 w 152"/>
                  <a:gd name="T87" fmla="*/ 141 h 156"/>
                  <a:gd name="T88" fmla="*/ 45 w 152"/>
                  <a:gd name="T89" fmla="*/ 145 h 156"/>
                  <a:gd name="T90" fmla="*/ 41 w 152"/>
                  <a:gd name="T91" fmla="*/ 147 h 156"/>
                  <a:gd name="T92" fmla="*/ 36 w 152"/>
                  <a:gd name="T93" fmla="*/ 152 h 156"/>
                  <a:gd name="T94" fmla="*/ 27 w 152"/>
                  <a:gd name="T95" fmla="*/ 156 h 156"/>
                  <a:gd name="T96" fmla="*/ 14 w 152"/>
                  <a:gd name="T97" fmla="*/ 154 h 156"/>
                  <a:gd name="T98" fmla="*/ 12 w 152"/>
                  <a:gd name="T99" fmla="*/ 150 h 156"/>
                  <a:gd name="T100" fmla="*/ 16 w 152"/>
                  <a:gd name="T101" fmla="*/ 141 h 156"/>
                  <a:gd name="T102" fmla="*/ 14 w 152"/>
                  <a:gd name="T103" fmla="*/ 134 h 156"/>
                  <a:gd name="T104" fmla="*/ 12 w 152"/>
                  <a:gd name="T105" fmla="*/ 131 h 156"/>
                  <a:gd name="T106" fmla="*/ 9 w 152"/>
                  <a:gd name="T107" fmla="*/ 127 h 156"/>
                  <a:gd name="T108" fmla="*/ 7 w 152"/>
                  <a:gd name="T109" fmla="*/ 125 h 156"/>
                  <a:gd name="T110" fmla="*/ 3 w 152"/>
                  <a:gd name="T111" fmla="*/ 122 h 156"/>
                  <a:gd name="T112" fmla="*/ 3 w 152"/>
                  <a:gd name="T113" fmla="*/ 120 h 156"/>
                  <a:gd name="T114" fmla="*/ 2 w 152"/>
                  <a:gd name="T115" fmla="*/ 118 h 156"/>
                  <a:gd name="T116" fmla="*/ 0 w 152"/>
                  <a:gd name="T117" fmla="*/ 1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56">
                    <a:moveTo>
                      <a:pt x="0" y="118"/>
                    </a:moveTo>
                    <a:lnTo>
                      <a:pt x="0" y="72"/>
                    </a:lnTo>
                    <a:lnTo>
                      <a:pt x="16" y="72"/>
                    </a:lnTo>
                    <a:lnTo>
                      <a:pt x="16" y="11"/>
                    </a:lnTo>
                    <a:lnTo>
                      <a:pt x="18" y="9"/>
                    </a:lnTo>
                    <a:lnTo>
                      <a:pt x="53" y="6"/>
                    </a:lnTo>
                    <a:lnTo>
                      <a:pt x="55" y="6"/>
                    </a:lnTo>
                    <a:lnTo>
                      <a:pt x="57" y="9"/>
                    </a:lnTo>
                    <a:lnTo>
                      <a:pt x="59" y="15"/>
                    </a:lnTo>
                    <a:lnTo>
                      <a:pt x="62" y="9"/>
                    </a:lnTo>
                    <a:lnTo>
                      <a:pt x="68" y="6"/>
                    </a:lnTo>
                    <a:lnTo>
                      <a:pt x="75" y="2"/>
                    </a:lnTo>
                    <a:lnTo>
                      <a:pt x="77" y="0"/>
                    </a:lnTo>
                    <a:lnTo>
                      <a:pt x="78" y="0"/>
                    </a:lnTo>
                    <a:lnTo>
                      <a:pt x="82" y="0"/>
                    </a:lnTo>
                    <a:lnTo>
                      <a:pt x="84" y="0"/>
                    </a:lnTo>
                    <a:lnTo>
                      <a:pt x="84" y="2"/>
                    </a:lnTo>
                    <a:lnTo>
                      <a:pt x="89" y="11"/>
                    </a:lnTo>
                    <a:lnTo>
                      <a:pt x="93" y="15"/>
                    </a:lnTo>
                    <a:lnTo>
                      <a:pt x="95" y="22"/>
                    </a:lnTo>
                    <a:lnTo>
                      <a:pt x="107" y="36"/>
                    </a:lnTo>
                    <a:lnTo>
                      <a:pt x="112" y="38"/>
                    </a:lnTo>
                    <a:lnTo>
                      <a:pt x="116" y="40"/>
                    </a:lnTo>
                    <a:lnTo>
                      <a:pt x="118" y="43"/>
                    </a:lnTo>
                    <a:lnTo>
                      <a:pt x="123" y="45"/>
                    </a:lnTo>
                    <a:lnTo>
                      <a:pt x="125" y="49"/>
                    </a:lnTo>
                    <a:lnTo>
                      <a:pt x="127" y="59"/>
                    </a:lnTo>
                    <a:lnTo>
                      <a:pt x="128" y="63"/>
                    </a:lnTo>
                    <a:lnTo>
                      <a:pt x="130" y="66"/>
                    </a:lnTo>
                    <a:lnTo>
                      <a:pt x="134" y="68"/>
                    </a:lnTo>
                    <a:lnTo>
                      <a:pt x="141" y="68"/>
                    </a:lnTo>
                    <a:lnTo>
                      <a:pt x="152" y="74"/>
                    </a:lnTo>
                    <a:lnTo>
                      <a:pt x="150" y="74"/>
                    </a:lnTo>
                    <a:lnTo>
                      <a:pt x="132" y="84"/>
                    </a:lnTo>
                    <a:lnTo>
                      <a:pt x="96" y="120"/>
                    </a:lnTo>
                    <a:lnTo>
                      <a:pt x="91" y="131"/>
                    </a:lnTo>
                    <a:lnTo>
                      <a:pt x="89" y="132"/>
                    </a:lnTo>
                    <a:lnTo>
                      <a:pt x="77" y="136"/>
                    </a:lnTo>
                    <a:lnTo>
                      <a:pt x="73" y="136"/>
                    </a:lnTo>
                    <a:lnTo>
                      <a:pt x="62" y="131"/>
                    </a:lnTo>
                    <a:lnTo>
                      <a:pt x="59" y="129"/>
                    </a:lnTo>
                    <a:lnTo>
                      <a:pt x="55" y="131"/>
                    </a:lnTo>
                    <a:lnTo>
                      <a:pt x="48" y="140"/>
                    </a:lnTo>
                    <a:lnTo>
                      <a:pt x="46" y="141"/>
                    </a:lnTo>
                    <a:lnTo>
                      <a:pt x="45" y="145"/>
                    </a:lnTo>
                    <a:lnTo>
                      <a:pt x="41" y="147"/>
                    </a:lnTo>
                    <a:lnTo>
                      <a:pt x="36" y="152"/>
                    </a:lnTo>
                    <a:lnTo>
                      <a:pt x="27" y="156"/>
                    </a:lnTo>
                    <a:lnTo>
                      <a:pt x="14" y="154"/>
                    </a:lnTo>
                    <a:lnTo>
                      <a:pt x="12" y="150"/>
                    </a:lnTo>
                    <a:lnTo>
                      <a:pt x="16" y="141"/>
                    </a:lnTo>
                    <a:lnTo>
                      <a:pt x="14" y="134"/>
                    </a:lnTo>
                    <a:lnTo>
                      <a:pt x="12" y="131"/>
                    </a:lnTo>
                    <a:lnTo>
                      <a:pt x="9" y="127"/>
                    </a:lnTo>
                    <a:lnTo>
                      <a:pt x="7" y="125"/>
                    </a:lnTo>
                    <a:lnTo>
                      <a:pt x="3" y="122"/>
                    </a:lnTo>
                    <a:lnTo>
                      <a:pt x="3" y="120"/>
                    </a:lnTo>
                    <a:lnTo>
                      <a:pt x="2" y="118"/>
                    </a:lnTo>
                    <a:lnTo>
                      <a:pt x="0" y="11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96" name="Freeform 2447"/>
              <p:cNvSpPr>
                <a:spLocks/>
              </p:cNvSpPr>
              <p:nvPr/>
            </p:nvSpPr>
            <p:spPr bwMode="auto">
              <a:xfrm>
                <a:off x="3014" y="3000"/>
                <a:ext cx="152" cy="156"/>
              </a:xfrm>
              <a:custGeom>
                <a:avLst/>
                <a:gdLst>
                  <a:gd name="T0" fmla="*/ 0 w 152"/>
                  <a:gd name="T1" fmla="*/ 118 h 156"/>
                  <a:gd name="T2" fmla="*/ 0 w 152"/>
                  <a:gd name="T3" fmla="*/ 72 h 156"/>
                  <a:gd name="T4" fmla="*/ 16 w 152"/>
                  <a:gd name="T5" fmla="*/ 72 h 156"/>
                  <a:gd name="T6" fmla="*/ 16 w 152"/>
                  <a:gd name="T7" fmla="*/ 11 h 156"/>
                  <a:gd name="T8" fmla="*/ 18 w 152"/>
                  <a:gd name="T9" fmla="*/ 9 h 156"/>
                  <a:gd name="T10" fmla="*/ 53 w 152"/>
                  <a:gd name="T11" fmla="*/ 6 h 156"/>
                  <a:gd name="T12" fmla="*/ 55 w 152"/>
                  <a:gd name="T13" fmla="*/ 6 h 156"/>
                  <a:gd name="T14" fmla="*/ 57 w 152"/>
                  <a:gd name="T15" fmla="*/ 9 h 156"/>
                  <a:gd name="T16" fmla="*/ 59 w 152"/>
                  <a:gd name="T17" fmla="*/ 15 h 156"/>
                  <a:gd name="T18" fmla="*/ 62 w 152"/>
                  <a:gd name="T19" fmla="*/ 9 h 156"/>
                  <a:gd name="T20" fmla="*/ 68 w 152"/>
                  <a:gd name="T21" fmla="*/ 6 h 156"/>
                  <a:gd name="T22" fmla="*/ 75 w 152"/>
                  <a:gd name="T23" fmla="*/ 2 h 156"/>
                  <a:gd name="T24" fmla="*/ 77 w 152"/>
                  <a:gd name="T25" fmla="*/ 0 h 156"/>
                  <a:gd name="T26" fmla="*/ 78 w 152"/>
                  <a:gd name="T27" fmla="*/ 0 h 156"/>
                  <a:gd name="T28" fmla="*/ 82 w 152"/>
                  <a:gd name="T29" fmla="*/ 0 h 156"/>
                  <a:gd name="T30" fmla="*/ 84 w 152"/>
                  <a:gd name="T31" fmla="*/ 0 h 156"/>
                  <a:gd name="T32" fmla="*/ 84 w 152"/>
                  <a:gd name="T33" fmla="*/ 2 h 156"/>
                  <a:gd name="T34" fmla="*/ 89 w 152"/>
                  <a:gd name="T35" fmla="*/ 11 h 156"/>
                  <a:gd name="T36" fmla="*/ 93 w 152"/>
                  <a:gd name="T37" fmla="*/ 15 h 156"/>
                  <a:gd name="T38" fmla="*/ 95 w 152"/>
                  <a:gd name="T39" fmla="*/ 22 h 156"/>
                  <a:gd name="T40" fmla="*/ 107 w 152"/>
                  <a:gd name="T41" fmla="*/ 36 h 156"/>
                  <a:gd name="T42" fmla="*/ 112 w 152"/>
                  <a:gd name="T43" fmla="*/ 38 h 156"/>
                  <a:gd name="T44" fmla="*/ 116 w 152"/>
                  <a:gd name="T45" fmla="*/ 40 h 156"/>
                  <a:gd name="T46" fmla="*/ 118 w 152"/>
                  <a:gd name="T47" fmla="*/ 43 h 156"/>
                  <a:gd name="T48" fmla="*/ 123 w 152"/>
                  <a:gd name="T49" fmla="*/ 45 h 156"/>
                  <a:gd name="T50" fmla="*/ 125 w 152"/>
                  <a:gd name="T51" fmla="*/ 49 h 156"/>
                  <a:gd name="T52" fmla="*/ 127 w 152"/>
                  <a:gd name="T53" fmla="*/ 59 h 156"/>
                  <a:gd name="T54" fmla="*/ 128 w 152"/>
                  <a:gd name="T55" fmla="*/ 63 h 156"/>
                  <a:gd name="T56" fmla="*/ 130 w 152"/>
                  <a:gd name="T57" fmla="*/ 66 h 156"/>
                  <a:gd name="T58" fmla="*/ 134 w 152"/>
                  <a:gd name="T59" fmla="*/ 68 h 156"/>
                  <a:gd name="T60" fmla="*/ 141 w 152"/>
                  <a:gd name="T61" fmla="*/ 68 h 156"/>
                  <a:gd name="T62" fmla="*/ 152 w 152"/>
                  <a:gd name="T63" fmla="*/ 74 h 156"/>
                  <a:gd name="T64" fmla="*/ 150 w 152"/>
                  <a:gd name="T65" fmla="*/ 74 h 156"/>
                  <a:gd name="T66" fmla="*/ 132 w 152"/>
                  <a:gd name="T67" fmla="*/ 84 h 156"/>
                  <a:gd name="T68" fmla="*/ 96 w 152"/>
                  <a:gd name="T69" fmla="*/ 120 h 156"/>
                  <a:gd name="T70" fmla="*/ 91 w 152"/>
                  <a:gd name="T71" fmla="*/ 131 h 156"/>
                  <a:gd name="T72" fmla="*/ 89 w 152"/>
                  <a:gd name="T73" fmla="*/ 132 h 156"/>
                  <a:gd name="T74" fmla="*/ 77 w 152"/>
                  <a:gd name="T75" fmla="*/ 136 h 156"/>
                  <a:gd name="T76" fmla="*/ 73 w 152"/>
                  <a:gd name="T77" fmla="*/ 136 h 156"/>
                  <a:gd name="T78" fmla="*/ 62 w 152"/>
                  <a:gd name="T79" fmla="*/ 131 h 156"/>
                  <a:gd name="T80" fmla="*/ 59 w 152"/>
                  <a:gd name="T81" fmla="*/ 129 h 156"/>
                  <a:gd name="T82" fmla="*/ 55 w 152"/>
                  <a:gd name="T83" fmla="*/ 131 h 156"/>
                  <a:gd name="T84" fmla="*/ 48 w 152"/>
                  <a:gd name="T85" fmla="*/ 140 h 156"/>
                  <a:gd name="T86" fmla="*/ 46 w 152"/>
                  <a:gd name="T87" fmla="*/ 141 h 156"/>
                  <a:gd name="T88" fmla="*/ 45 w 152"/>
                  <a:gd name="T89" fmla="*/ 145 h 156"/>
                  <a:gd name="T90" fmla="*/ 41 w 152"/>
                  <a:gd name="T91" fmla="*/ 147 h 156"/>
                  <a:gd name="T92" fmla="*/ 36 w 152"/>
                  <a:gd name="T93" fmla="*/ 152 h 156"/>
                  <a:gd name="T94" fmla="*/ 27 w 152"/>
                  <a:gd name="T95" fmla="*/ 156 h 156"/>
                  <a:gd name="T96" fmla="*/ 14 w 152"/>
                  <a:gd name="T97" fmla="*/ 154 h 156"/>
                  <a:gd name="T98" fmla="*/ 12 w 152"/>
                  <a:gd name="T99" fmla="*/ 150 h 156"/>
                  <a:gd name="T100" fmla="*/ 16 w 152"/>
                  <a:gd name="T101" fmla="*/ 141 h 156"/>
                  <a:gd name="T102" fmla="*/ 14 w 152"/>
                  <a:gd name="T103" fmla="*/ 134 h 156"/>
                  <a:gd name="T104" fmla="*/ 12 w 152"/>
                  <a:gd name="T105" fmla="*/ 131 h 156"/>
                  <a:gd name="T106" fmla="*/ 9 w 152"/>
                  <a:gd name="T107" fmla="*/ 127 h 156"/>
                  <a:gd name="T108" fmla="*/ 7 w 152"/>
                  <a:gd name="T109" fmla="*/ 125 h 156"/>
                  <a:gd name="T110" fmla="*/ 3 w 152"/>
                  <a:gd name="T111" fmla="*/ 122 h 156"/>
                  <a:gd name="T112" fmla="*/ 3 w 152"/>
                  <a:gd name="T113" fmla="*/ 120 h 156"/>
                  <a:gd name="T114" fmla="*/ 2 w 152"/>
                  <a:gd name="T115" fmla="*/ 118 h 156"/>
                  <a:gd name="T116" fmla="*/ 0 w 152"/>
                  <a:gd name="T117" fmla="*/ 1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2" h="156">
                    <a:moveTo>
                      <a:pt x="0" y="118"/>
                    </a:moveTo>
                    <a:lnTo>
                      <a:pt x="0" y="72"/>
                    </a:lnTo>
                    <a:lnTo>
                      <a:pt x="16" y="72"/>
                    </a:lnTo>
                    <a:lnTo>
                      <a:pt x="16" y="11"/>
                    </a:lnTo>
                    <a:lnTo>
                      <a:pt x="18" y="9"/>
                    </a:lnTo>
                    <a:lnTo>
                      <a:pt x="53" y="6"/>
                    </a:lnTo>
                    <a:lnTo>
                      <a:pt x="55" y="6"/>
                    </a:lnTo>
                    <a:lnTo>
                      <a:pt x="57" y="9"/>
                    </a:lnTo>
                    <a:lnTo>
                      <a:pt x="59" y="15"/>
                    </a:lnTo>
                    <a:lnTo>
                      <a:pt x="62" y="9"/>
                    </a:lnTo>
                    <a:lnTo>
                      <a:pt x="68" y="6"/>
                    </a:lnTo>
                    <a:lnTo>
                      <a:pt x="75" y="2"/>
                    </a:lnTo>
                    <a:lnTo>
                      <a:pt x="77" y="0"/>
                    </a:lnTo>
                    <a:lnTo>
                      <a:pt x="78" y="0"/>
                    </a:lnTo>
                    <a:lnTo>
                      <a:pt x="82" y="0"/>
                    </a:lnTo>
                    <a:lnTo>
                      <a:pt x="84" y="0"/>
                    </a:lnTo>
                    <a:lnTo>
                      <a:pt x="84" y="2"/>
                    </a:lnTo>
                    <a:lnTo>
                      <a:pt x="89" y="11"/>
                    </a:lnTo>
                    <a:lnTo>
                      <a:pt x="93" y="15"/>
                    </a:lnTo>
                    <a:lnTo>
                      <a:pt x="95" y="22"/>
                    </a:lnTo>
                    <a:lnTo>
                      <a:pt x="107" y="36"/>
                    </a:lnTo>
                    <a:lnTo>
                      <a:pt x="112" y="38"/>
                    </a:lnTo>
                    <a:lnTo>
                      <a:pt x="116" y="40"/>
                    </a:lnTo>
                    <a:lnTo>
                      <a:pt x="118" y="43"/>
                    </a:lnTo>
                    <a:lnTo>
                      <a:pt x="123" y="45"/>
                    </a:lnTo>
                    <a:lnTo>
                      <a:pt x="125" y="49"/>
                    </a:lnTo>
                    <a:lnTo>
                      <a:pt x="127" y="59"/>
                    </a:lnTo>
                    <a:lnTo>
                      <a:pt x="128" y="63"/>
                    </a:lnTo>
                    <a:lnTo>
                      <a:pt x="130" y="66"/>
                    </a:lnTo>
                    <a:lnTo>
                      <a:pt x="134" y="68"/>
                    </a:lnTo>
                    <a:lnTo>
                      <a:pt x="141" y="68"/>
                    </a:lnTo>
                    <a:lnTo>
                      <a:pt x="152" y="74"/>
                    </a:lnTo>
                    <a:lnTo>
                      <a:pt x="150" y="74"/>
                    </a:lnTo>
                    <a:lnTo>
                      <a:pt x="132" y="84"/>
                    </a:lnTo>
                    <a:lnTo>
                      <a:pt x="96" y="120"/>
                    </a:lnTo>
                    <a:lnTo>
                      <a:pt x="91" y="131"/>
                    </a:lnTo>
                    <a:lnTo>
                      <a:pt x="89" y="132"/>
                    </a:lnTo>
                    <a:lnTo>
                      <a:pt x="77" y="136"/>
                    </a:lnTo>
                    <a:lnTo>
                      <a:pt x="73" y="136"/>
                    </a:lnTo>
                    <a:lnTo>
                      <a:pt x="62" y="131"/>
                    </a:lnTo>
                    <a:lnTo>
                      <a:pt x="59" y="129"/>
                    </a:lnTo>
                    <a:lnTo>
                      <a:pt x="55" y="131"/>
                    </a:lnTo>
                    <a:lnTo>
                      <a:pt x="48" y="140"/>
                    </a:lnTo>
                    <a:lnTo>
                      <a:pt x="46" y="141"/>
                    </a:lnTo>
                    <a:lnTo>
                      <a:pt x="45" y="145"/>
                    </a:lnTo>
                    <a:lnTo>
                      <a:pt x="41" y="147"/>
                    </a:lnTo>
                    <a:lnTo>
                      <a:pt x="36" y="152"/>
                    </a:lnTo>
                    <a:lnTo>
                      <a:pt x="27" y="156"/>
                    </a:lnTo>
                    <a:lnTo>
                      <a:pt x="14" y="154"/>
                    </a:lnTo>
                    <a:lnTo>
                      <a:pt x="12" y="150"/>
                    </a:lnTo>
                    <a:lnTo>
                      <a:pt x="16" y="141"/>
                    </a:lnTo>
                    <a:lnTo>
                      <a:pt x="14" y="134"/>
                    </a:lnTo>
                    <a:lnTo>
                      <a:pt x="12" y="131"/>
                    </a:lnTo>
                    <a:lnTo>
                      <a:pt x="9" y="127"/>
                    </a:lnTo>
                    <a:lnTo>
                      <a:pt x="7" y="125"/>
                    </a:lnTo>
                    <a:lnTo>
                      <a:pt x="3" y="122"/>
                    </a:lnTo>
                    <a:lnTo>
                      <a:pt x="3" y="120"/>
                    </a:lnTo>
                    <a:lnTo>
                      <a:pt x="2" y="118"/>
                    </a:lnTo>
                    <a:lnTo>
                      <a:pt x="0" y="11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97" name="Freeform 2448"/>
              <p:cNvSpPr>
                <a:spLocks/>
              </p:cNvSpPr>
              <p:nvPr/>
            </p:nvSpPr>
            <p:spPr bwMode="auto">
              <a:xfrm>
                <a:off x="2291" y="2436"/>
                <a:ext cx="7" cy="4"/>
              </a:xfrm>
              <a:custGeom>
                <a:avLst/>
                <a:gdLst>
                  <a:gd name="T0" fmla="*/ 5 w 7"/>
                  <a:gd name="T1" fmla="*/ 0 h 4"/>
                  <a:gd name="T2" fmla="*/ 0 w 7"/>
                  <a:gd name="T3" fmla="*/ 0 h 4"/>
                  <a:gd name="T4" fmla="*/ 2 w 7"/>
                  <a:gd name="T5" fmla="*/ 4 h 4"/>
                  <a:gd name="T6" fmla="*/ 2 w 7"/>
                  <a:gd name="T7" fmla="*/ 4 h 4"/>
                  <a:gd name="T8" fmla="*/ 3 w 7"/>
                  <a:gd name="T9" fmla="*/ 4 h 4"/>
                  <a:gd name="T10" fmla="*/ 5 w 7"/>
                  <a:gd name="T11" fmla="*/ 2 h 4"/>
                  <a:gd name="T12" fmla="*/ 7 w 7"/>
                  <a:gd name="T13" fmla="*/ 2 h 4"/>
                  <a:gd name="T14" fmla="*/ 5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5" y="0"/>
                    </a:moveTo>
                    <a:lnTo>
                      <a:pt x="0" y="0"/>
                    </a:lnTo>
                    <a:lnTo>
                      <a:pt x="2" y="4"/>
                    </a:lnTo>
                    <a:lnTo>
                      <a:pt x="2" y="4"/>
                    </a:lnTo>
                    <a:lnTo>
                      <a:pt x="3" y="4"/>
                    </a:lnTo>
                    <a:lnTo>
                      <a:pt x="5" y="2"/>
                    </a:lnTo>
                    <a:lnTo>
                      <a:pt x="7" y="2"/>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98" name="Freeform 2449"/>
              <p:cNvSpPr>
                <a:spLocks/>
              </p:cNvSpPr>
              <p:nvPr/>
            </p:nvSpPr>
            <p:spPr bwMode="auto">
              <a:xfrm>
                <a:off x="2291" y="2436"/>
                <a:ext cx="7" cy="4"/>
              </a:xfrm>
              <a:custGeom>
                <a:avLst/>
                <a:gdLst>
                  <a:gd name="T0" fmla="*/ 5 w 7"/>
                  <a:gd name="T1" fmla="*/ 0 h 4"/>
                  <a:gd name="T2" fmla="*/ 0 w 7"/>
                  <a:gd name="T3" fmla="*/ 0 h 4"/>
                  <a:gd name="T4" fmla="*/ 2 w 7"/>
                  <a:gd name="T5" fmla="*/ 4 h 4"/>
                  <a:gd name="T6" fmla="*/ 2 w 7"/>
                  <a:gd name="T7" fmla="*/ 4 h 4"/>
                  <a:gd name="T8" fmla="*/ 3 w 7"/>
                  <a:gd name="T9" fmla="*/ 4 h 4"/>
                  <a:gd name="T10" fmla="*/ 5 w 7"/>
                  <a:gd name="T11" fmla="*/ 2 h 4"/>
                  <a:gd name="T12" fmla="*/ 7 w 7"/>
                  <a:gd name="T13" fmla="*/ 2 h 4"/>
                  <a:gd name="T14" fmla="*/ 5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5" y="0"/>
                    </a:moveTo>
                    <a:lnTo>
                      <a:pt x="0" y="0"/>
                    </a:lnTo>
                    <a:lnTo>
                      <a:pt x="2" y="4"/>
                    </a:lnTo>
                    <a:lnTo>
                      <a:pt x="2" y="4"/>
                    </a:lnTo>
                    <a:lnTo>
                      <a:pt x="3" y="4"/>
                    </a:lnTo>
                    <a:lnTo>
                      <a:pt x="5" y="2"/>
                    </a:lnTo>
                    <a:lnTo>
                      <a:pt x="7" y="2"/>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199" name="Freeform 2450"/>
              <p:cNvSpPr>
                <a:spLocks/>
              </p:cNvSpPr>
              <p:nvPr/>
            </p:nvSpPr>
            <p:spPr bwMode="auto">
              <a:xfrm>
                <a:off x="2307" y="2445"/>
                <a:ext cx="7" cy="2"/>
              </a:xfrm>
              <a:custGeom>
                <a:avLst/>
                <a:gdLst>
                  <a:gd name="T0" fmla="*/ 7 w 7"/>
                  <a:gd name="T1" fmla="*/ 2 h 2"/>
                  <a:gd name="T2" fmla="*/ 5 w 7"/>
                  <a:gd name="T3" fmla="*/ 0 h 2"/>
                  <a:gd name="T4" fmla="*/ 0 w 7"/>
                  <a:gd name="T5" fmla="*/ 0 h 2"/>
                  <a:gd name="T6" fmla="*/ 0 w 7"/>
                  <a:gd name="T7" fmla="*/ 2 h 2"/>
                  <a:gd name="T8" fmla="*/ 2 w 7"/>
                  <a:gd name="T9" fmla="*/ 2 h 2"/>
                  <a:gd name="T10" fmla="*/ 2 w 7"/>
                  <a:gd name="T11" fmla="*/ 2 h 2"/>
                  <a:gd name="T12" fmla="*/ 7 w 7"/>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7" y="2"/>
                    </a:moveTo>
                    <a:lnTo>
                      <a:pt x="5" y="0"/>
                    </a:lnTo>
                    <a:lnTo>
                      <a:pt x="0" y="0"/>
                    </a:lnTo>
                    <a:lnTo>
                      <a:pt x="0" y="2"/>
                    </a:lnTo>
                    <a:lnTo>
                      <a:pt x="2" y="2"/>
                    </a:lnTo>
                    <a:lnTo>
                      <a:pt x="2" y="2"/>
                    </a:lnTo>
                    <a:lnTo>
                      <a:pt x="7"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00" name="Freeform 2451"/>
              <p:cNvSpPr>
                <a:spLocks/>
              </p:cNvSpPr>
              <p:nvPr/>
            </p:nvSpPr>
            <p:spPr bwMode="auto">
              <a:xfrm>
                <a:off x="2307" y="2445"/>
                <a:ext cx="7" cy="2"/>
              </a:xfrm>
              <a:custGeom>
                <a:avLst/>
                <a:gdLst>
                  <a:gd name="T0" fmla="*/ 7 w 7"/>
                  <a:gd name="T1" fmla="*/ 2 h 2"/>
                  <a:gd name="T2" fmla="*/ 5 w 7"/>
                  <a:gd name="T3" fmla="*/ 0 h 2"/>
                  <a:gd name="T4" fmla="*/ 0 w 7"/>
                  <a:gd name="T5" fmla="*/ 0 h 2"/>
                  <a:gd name="T6" fmla="*/ 0 w 7"/>
                  <a:gd name="T7" fmla="*/ 2 h 2"/>
                  <a:gd name="T8" fmla="*/ 2 w 7"/>
                  <a:gd name="T9" fmla="*/ 2 h 2"/>
                  <a:gd name="T10" fmla="*/ 2 w 7"/>
                  <a:gd name="T11" fmla="*/ 2 h 2"/>
                  <a:gd name="T12" fmla="*/ 7 w 7"/>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7" y="2"/>
                    </a:moveTo>
                    <a:lnTo>
                      <a:pt x="5" y="0"/>
                    </a:lnTo>
                    <a:lnTo>
                      <a:pt x="0" y="0"/>
                    </a:lnTo>
                    <a:lnTo>
                      <a:pt x="0" y="2"/>
                    </a:lnTo>
                    <a:lnTo>
                      <a:pt x="2" y="2"/>
                    </a:lnTo>
                    <a:lnTo>
                      <a:pt x="2" y="2"/>
                    </a:lnTo>
                    <a:lnTo>
                      <a:pt x="7"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01" name="Freeform 2452"/>
              <p:cNvSpPr>
                <a:spLocks/>
              </p:cNvSpPr>
              <p:nvPr/>
            </p:nvSpPr>
            <p:spPr bwMode="auto">
              <a:xfrm>
                <a:off x="2330" y="2440"/>
                <a:ext cx="2" cy="5"/>
              </a:xfrm>
              <a:custGeom>
                <a:avLst/>
                <a:gdLst>
                  <a:gd name="T0" fmla="*/ 0 w 2"/>
                  <a:gd name="T1" fmla="*/ 0 h 5"/>
                  <a:gd name="T2" fmla="*/ 0 w 2"/>
                  <a:gd name="T3" fmla="*/ 5 h 5"/>
                  <a:gd name="T4" fmla="*/ 0 w 2"/>
                  <a:gd name="T5" fmla="*/ 5 h 5"/>
                  <a:gd name="T6" fmla="*/ 2 w 2"/>
                  <a:gd name="T7" fmla="*/ 1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lnTo>
                      <a:pt x="0" y="5"/>
                    </a:lnTo>
                    <a:lnTo>
                      <a:pt x="0" y="5"/>
                    </a:lnTo>
                    <a:lnTo>
                      <a:pt x="2" y="1"/>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02" name="Freeform 2453"/>
              <p:cNvSpPr>
                <a:spLocks/>
              </p:cNvSpPr>
              <p:nvPr/>
            </p:nvSpPr>
            <p:spPr bwMode="auto">
              <a:xfrm>
                <a:off x="2330" y="2440"/>
                <a:ext cx="2" cy="5"/>
              </a:xfrm>
              <a:custGeom>
                <a:avLst/>
                <a:gdLst>
                  <a:gd name="T0" fmla="*/ 0 w 2"/>
                  <a:gd name="T1" fmla="*/ 0 h 5"/>
                  <a:gd name="T2" fmla="*/ 0 w 2"/>
                  <a:gd name="T3" fmla="*/ 5 h 5"/>
                  <a:gd name="T4" fmla="*/ 0 w 2"/>
                  <a:gd name="T5" fmla="*/ 5 h 5"/>
                  <a:gd name="T6" fmla="*/ 2 w 2"/>
                  <a:gd name="T7" fmla="*/ 1 h 5"/>
                  <a:gd name="T8" fmla="*/ 0 w 2"/>
                  <a:gd name="T9" fmla="*/ 0 h 5"/>
                </a:gdLst>
                <a:ahLst/>
                <a:cxnLst>
                  <a:cxn ang="0">
                    <a:pos x="T0" y="T1"/>
                  </a:cxn>
                  <a:cxn ang="0">
                    <a:pos x="T2" y="T3"/>
                  </a:cxn>
                  <a:cxn ang="0">
                    <a:pos x="T4" y="T5"/>
                  </a:cxn>
                  <a:cxn ang="0">
                    <a:pos x="T6" y="T7"/>
                  </a:cxn>
                  <a:cxn ang="0">
                    <a:pos x="T8" y="T9"/>
                  </a:cxn>
                </a:cxnLst>
                <a:rect l="0" t="0" r="r" b="b"/>
                <a:pathLst>
                  <a:path w="2" h="5">
                    <a:moveTo>
                      <a:pt x="0" y="0"/>
                    </a:moveTo>
                    <a:lnTo>
                      <a:pt x="0" y="5"/>
                    </a:lnTo>
                    <a:lnTo>
                      <a:pt x="0" y="5"/>
                    </a:lnTo>
                    <a:lnTo>
                      <a:pt x="2" y="1"/>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03" name="Freeform 2454"/>
              <p:cNvSpPr>
                <a:spLocks/>
              </p:cNvSpPr>
              <p:nvPr/>
            </p:nvSpPr>
            <p:spPr bwMode="auto">
              <a:xfrm>
                <a:off x="2330" y="2452"/>
                <a:ext cx="4" cy="5"/>
              </a:xfrm>
              <a:custGeom>
                <a:avLst/>
                <a:gdLst>
                  <a:gd name="T0" fmla="*/ 0 w 4"/>
                  <a:gd name="T1" fmla="*/ 2 h 5"/>
                  <a:gd name="T2" fmla="*/ 2 w 4"/>
                  <a:gd name="T3" fmla="*/ 0 h 5"/>
                  <a:gd name="T4" fmla="*/ 4 w 4"/>
                  <a:gd name="T5" fmla="*/ 2 h 5"/>
                  <a:gd name="T6" fmla="*/ 4 w 4"/>
                  <a:gd name="T7" fmla="*/ 4 h 5"/>
                  <a:gd name="T8" fmla="*/ 2 w 4"/>
                  <a:gd name="T9" fmla="*/ 5 h 5"/>
                  <a:gd name="T10" fmla="*/ 2 w 4"/>
                  <a:gd name="T11" fmla="*/ 5 h 5"/>
                  <a:gd name="T12" fmla="*/ 0 w 4"/>
                  <a:gd name="T13" fmla="*/ 4 h 5"/>
                  <a:gd name="T14" fmla="*/ 0 w 4"/>
                  <a:gd name="T15" fmla="*/ 2 h 5"/>
                  <a:gd name="T16" fmla="*/ 0 w 4"/>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0" y="2"/>
                    </a:moveTo>
                    <a:lnTo>
                      <a:pt x="2" y="0"/>
                    </a:lnTo>
                    <a:lnTo>
                      <a:pt x="4" y="2"/>
                    </a:lnTo>
                    <a:lnTo>
                      <a:pt x="4" y="4"/>
                    </a:lnTo>
                    <a:lnTo>
                      <a:pt x="2" y="5"/>
                    </a:lnTo>
                    <a:lnTo>
                      <a:pt x="2" y="5"/>
                    </a:lnTo>
                    <a:lnTo>
                      <a:pt x="0" y="4"/>
                    </a:lnTo>
                    <a:lnTo>
                      <a:pt x="0" y="2"/>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04" name="Freeform 2455"/>
              <p:cNvSpPr>
                <a:spLocks/>
              </p:cNvSpPr>
              <p:nvPr/>
            </p:nvSpPr>
            <p:spPr bwMode="auto">
              <a:xfrm>
                <a:off x="2330" y="2452"/>
                <a:ext cx="4" cy="5"/>
              </a:xfrm>
              <a:custGeom>
                <a:avLst/>
                <a:gdLst>
                  <a:gd name="T0" fmla="*/ 0 w 4"/>
                  <a:gd name="T1" fmla="*/ 2 h 5"/>
                  <a:gd name="T2" fmla="*/ 2 w 4"/>
                  <a:gd name="T3" fmla="*/ 0 h 5"/>
                  <a:gd name="T4" fmla="*/ 4 w 4"/>
                  <a:gd name="T5" fmla="*/ 2 h 5"/>
                  <a:gd name="T6" fmla="*/ 4 w 4"/>
                  <a:gd name="T7" fmla="*/ 4 h 5"/>
                  <a:gd name="T8" fmla="*/ 2 w 4"/>
                  <a:gd name="T9" fmla="*/ 5 h 5"/>
                  <a:gd name="T10" fmla="*/ 2 w 4"/>
                  <a:gd name="T11" fmla="*/ 5 h 5"/>
                  <a:gd name="T12" fmla="*/ 0 w 4"/>
                  <a:gd name="T13" fmla="*/ 4 h 5"/>
                  <a:gd name="T14" fmla="*/ 0 w 4"/>
                  <a:gd name="T15" fmla="*/ 2 h 5"/>
                  <a:gd name="T16" fmla="*/ 0 w 4"/>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0" y="2"/>
                    </a:moveTo>
                    <a:lnTo>
                      <a:pt x="2" y="0"/>
                    </a:lnTo>
                    <a:lnTo>
                      <a:pt x="4" y="2"/>
                    </a:lnTo>
                    <a:lnTo>
                      <a:pt x="4" y="4"/>
                    </a:lnTo>
                    <a:lnTo>
                      <a:pt x="2" y="5"/>
                    </a:lnTo>
                    <a:lnTo>
                      <a:pt x="2" y="5"/>
                    </a:lnTo>
                    <a:lnTo>
                      <a:pt x="0" y="4"/>
                    </a:lnTo>
                    <a:lnTo>
                      <a:pt x="0" y="2"/>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05" name="Freeform 2456"/>
              <p:cNvSpPr>
                <a:spLocks/>
              </p:cNvSpPr>
              <p:nvPr/>
            </p:nvSpPr>
            <p:spPr bwMode="auto">
              <a:xfrm>
                <a:off x="2318" y="2468"/>
                <a:ext cx="5" cy="6"/>
              </a:xfrm>
              <a:custGeom>
                <a:avLst/>
                <a:gdLst>
                  <a:gd name="T0" fmla="*/ 0 w 5"/>
                  <a:gd name="T1" fmla="*/ 0 h 6"/>
                  <a:gd name="T2" fmla="*/ 0 w 5"/>
                  <a:gd name="T3" fmla="*/ 0 h 6"/>
                  <a:gd name="T4" fmla="*/ 0 w 5"/>
                  <a:gd name="T5" fmla="*/ 6 h 6"/>
                  <a:gd name="T6" fmla="*/ 1 w 5"/>
                  <a:gd name="T7" fmla="*/ 6 h 6"/>
                  <a:gd name="T8" fmla="*/ 3 w 5"/>
                  <a:gd name="T9" fmla="*/ 6 h 6"/>
                  <a:gd name="T10" fmla="*/ 5 w 5"/>
                  <a:gd name="T11" fmla="*/ 4 h 6"/>
                  <a:gd name="T12" fmla="*/ 1 w 5"/>
                  <a:gd name="T13" fmla="*/ 0 h 6"/>
                  <a:gd name="T14" fmla="*/ 0 w 5"/>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0" y="0"/>
                    </a:moveTo>
                    <a:lnTo>
                      <a:pt x="0" y="0"/>
                    </a:lnTo>
                    <a:lnTo>
                      <a:pt x="0" y="6"/>
                    </a:lnTo>
                    <a:lnTo>
                      <a:pt x="1" y="6"/>
                    </a:lnTo>
                    <a:lnTo>
                      <a:pt x="3" y="6"/>
                    </a:lnTo>
                    <a:lnTo>
                      <a:pt x="5" y="4"/>
                    </a:lnTo>
                    <a:lnTo>
                      <a:pt x="1"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06" name="Freeform 2457"/>
              <p:cNvSpPr>
                <a:spLocks/>
              </p:cNvSpPr>
              <p:nvPr/>
            </p:nvSpPr>
            <p:spPr bwMode="auto">
              <a:xfrm>
                <a:off x="2318" y="2468"/>
                <a:ext cx="5" cy="6"/>
              </a:xfrm>
              <a:custGeom>
                <a:avLst/>
                <a:gdLst>
                  <a:gd name="T0" fmla="*/ 0 w 5"/>
                  <a:gd name="T1" fmla="*/ 0 h 6"/>
                  <a:gd name="T2" fmla="*/ 0 w 5"/>
                  <a:gd name="T3" fmla="*/ 0 h 6"/>
                  <a:gd name="T4" fmla="*/ 0 w 5"/>
                  <a:gd name="T5" fmla="*/ 6 h 6"/>
                  <a:gd name="T6" fmla="*/ 1 w 5"/>
                  <a:gd name="T7" fmla="*/ 6 h 6"/>
                  <a:gd name="T8" fmla="*/ 3 w 5"/>
                  <a:gd name="T9" fmla="*/ 6 h 6"/>
                  <a:gd name="T10" fmla="*/ 5 w 5"/>
                  <a:gd name="T11" fmla="*/ 4 h 6"/>
                  <a:gd name="T12" fmla="*/ 1 w 5"/>
                  <a:gd name="T13" fmla="*/ 0 h 6"/>
                  <a:gd name="T14" fmla="*/ 0 w 5"/>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6">
                    <a:moveTo>
                      <a:pt x="0" y="0"/>
                    </a:moveTo>
                    <a:lnTo>
                      <a:pt x="0" y="0"/>
                    </a:lnTo>
                    <a:lnTo>
                      <a:pt x="0" y="6"/>
                    </a:lnTo>
                    <a:lnTo>
                      <a:pt x="1" y="6"/>
                    </a:lnTo>
                    <a:lnTo>
                      <a:pt x="3" y="6"/>
                    </a:lnTo>
                    <a:lnTo>
                      <a:pt x="5" y="4"/>
                    </a:lnTo>
                    <a:lnTo>
                      <a:pt x="1"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07" name="Freeform 2458"/>
              <p:cNvSpPr>
                <a:spLocks/>
              </p:cNvSpPr>
              <p:nvPr/>
            </p:nvSpPr>
            <p:spPr bwMode="auto">
              <a:xfrm>
                <a:off x="2305" y="2474"/>
                <a:ext cx="4" cy="1"/>
              </a:xfrm>
              <a:custGeom>
                <a:avLst/>
                <a:gdLst>
                  <a:gd name="T0" fmla="*/ 2 w 4"/>
                  <a:gd name="T1" fmla="*/ 0 h 1"/>
                  <a:gd name="T2" fmla="*/ 0 w 4"/>
                  <a:gd name="T3" fmla="*/ 0 h 1"/>
                  <a:gd name="T4" fmla="*/ 0 w 4"/>
                  <a:gd name="T5" fmla="*/ 1 h 1"/>
                  <a:gd name="T6" fmla="*/ 0 w 4"/>
                  <a:gd name="T7" fmla="*/ 1 h 1"/>
                  <a:gd name="T8" fmla="*/ 2 w 4"/>
                  <a:gd name="T9" fmla="*/ 1 h 1"/>
                  <a:gd name="T10" fmla="*/ 4 w 4"/>
                  <a:gd name="T11" fmla="*/ 0 h 1"/>
                  <a:gd name="T12" fmla="*/ 2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2" y="0"/>
                    </a:moveTo>
                    <a:lnTo>
                      <a:pt x="0" y="0"/>
                    </a:lnTo>
                    <a:lnTo>
                      <a:pt x="0" y="1"/>
                    </a:lnTo>
                    <a:lnTo>
                      <a:pt x="0" y="1"/>
                    </a:lnTo>
                    <a:lnTo>
                      <a:pt x="2" y="1"/>
                    </a:lnTo>
                    <a:lnTo>
                      <a:pt x="4"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08" name="Freeform 2459"/>
              <p:cNvSpPr>
                <a:spLocks/>
              </p:cNvSpPr>
              <p:nvPr/>
            </p:nvSpPr>
            <p:spPr bwMode="auto">
              <a:xfrm>
                <a:off x="2305" y="2474"/>
                <a:ext cx="4" cy="1"/>
              </a:xfrm>
              <a:custGeom>
                <a:avLst/>
                <a:gdLst>
                  <a:gd name="T0" fmla="*/ 2 w 4"/>
                  <a:gd name="T1" fmla="*/ 0 h 1"/>
                  <a:gd name="T2" fmla="*/ 0 w 4"/>
                  <a:gd name="T3" fmla="*/ 0 h 1"/>
                  <a:gd name="T4" fmla="*/ 0 w 4"/>
                  <a:gd name="T5" fmla="*/ 1 h 1"/>
                  <a:gd name="T6" fmla="*/ 0 w 4"/>
                  <a:gd name="T7" fmla="*/ 1 h 1"/>
                  <a:gd name="T8" fmla="*/ 2 w 4"/>
                  <a:gd name="T9" fmla="*/ 1 h 1"/>
                  <a:gd name="T10" fmla="*/ 4 w 4"/>
                  <a:gd name="T11" fmla="*/ 0 h 1"/>
                  <a:gd name="T12" fmla="*/ 2 w 4"/>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4" h="1">
                    <a:moveTo>
                      <a:pt x="2" y="0"/>
                    </a:moveTo>
                    <a:lnTo>
                      <a:pt x="0" y="0"/>
                    </a:lnTo>
                    <a:lnTo>
                      <a:pt x="0" y="1"/>
                    </a:lnTo>
                    <a:lnTo>
                      <a:pt x="0" y="1"/>
                    </a:lnTo>
                    <a:lnTo>
                      <a:pt x="2" y="1"/>
                    </a:lnTo>
                    <a:lnTo>
                      <a:pt x="4"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09" name="Freeform 2460"/>
              <p:cNvSpPr>
                <a:spLocks/>
              </p:cNvSpPr>
              <p:nvPr/>
            </p:nvSpPr>
            <p:spPr bwMode="auto">
              <a:xfrm>
                <a:off x="2892" y="2629"/>
                <a:ext cx="306" cy="296"/>
              </a:xfrm>
              <a:custGeom>
                <a:avLst/>
                <a:gdLst>
                  <a:gd name="T0" fmla="*/ 288 w 306"/>
                  <a:gd name="T1" fmla="*/ 200 h 296"/>
                  <a:gd name="T2" fmla="*/ 275 w 306"/>
                  <a:gd name="T3" fmla="*/ 187 h 296"/>
                  <a:gd name="T4" fmla="*/ 274 w 306"/>
                  <a:gd name="T5" fmla="*/ 173 h 296"/>
                  <a:gd name="T6" fmla="*/ 272 w 306"/>
                  <a:gd name="T7" fmla="*/ 150 h 296"/>
                  <a:gd name="T8" fmla="*/ 274 w 306"/>
                  <a:gd name="T9" fmla="*/ 130 h 296"/>
                  <a:gd name="T10" fmla="*/ 279 w 306"/>
                  <a:gd name="T11" fmla="*/ 105 h 296"/>
                  <a:gd name="T12" fmla="*/ 297 w 306"/>
                  <a:gd name="T13" fmla="*/ 59 h 296"/>
                  <a:gd name="T14" fmla="*/ 306 w 306"/>
                  <a:gd name="T15" fmla="*/ 50 h 296"/>
                  <a:gd name="T16" fmla="*/ 302 w 306"/>
                  <a:gd name="T17" fmla="*/ 46 h 296"/>
                  <a:gd name="T18" fmla="*/ 299 w 306"/>
                  <a:gd name="T19" fmla="*/ 30 h 296"/>
                  <a:gd name="T20" fmla="*/ 297 w 306"/>
                  <a:gd name="T21" fmla="*/ 27 h 296"/>
                  <a:gd name="T22" fmla="*/ 272 w 306"/>
                  <a:gd name="T23" fmla="*/ 12 h 296"/>
                  <a:gd name="T24" fmla="*/ 261 w 306"/>
                  <a:gd name="T25" fmla="*/ 14 h 296"/>
                  <a:gd name="T26" fmla="*/ 247 w 306"/>
                  <a:gd name="T27" fmla="*/ 3 h 296"/>
                  <a:gd name="T28" fmla="*/ 234 w 306"/>
                  <a:gd name="T29" fmla="*/ 3 h 296"/>
                  <a:gd name="T30" fmla="*/ 225 w 306"/>
                  <a:gd name="T31" fmla="*/ 0 h 296"/>
                  <a:gd name="T32" fmla="*/ 208 w 306"/>
                  <a:gd name="T33" fmla="*/ 3 h 296"/>
                  <a:gd name="T34" fmla="*/ 199 w 306"/>
                  <a:gd name="T35" fmla="*/ 3 h 296"/>
                  <a:gd name="T36" fmla="*/ 197 w 306"/>
                  <a:gd name="T37" fmla="*/ 2 h 296"/>
                  <a:gd name="T38" fmla="*/ 170 w 306"/>
                  <a:gd name="T39" fmla="*/ 7 h 296"/>
                  <a:gd name="T40" fmla="*/ 163 w 306"/>
                  <a:gd name="T41" fmla="*/ 14 h 296"/>
                  <a:gd name="T42" fmla="*/ 138 w 306"/>
                  <a:gd name="T43" fmla="*/ 11 h 296"/>
                  <a:gd name="T44" fmla="*/ 127 w 306"/>
                  <a:gd name="T45" fmla="*/ 7 h 296"/>
                  <a:gd name="T46" fmla="*/ 117 w 306"/>
                  <a:gd name="T47" fmla="*/ 2 h 296"/>
                  <a:gd name="T48" fmla="*/ 106 w 306"/>
                  <a:gd name="T49" fmla="*/ 12 h 296"/>
                  <a:gd name="T50" fmla="*/ 102 w 306"/>
                  <a:gd name="T51" fmla="*/ 25 h 296"/>
                  <a:gd name="T52" fmla="*/ 88 w 306"/>
                  <a:gd name="T53" fmla="*/ 95 h 296"/>
                  <a:gd name="T54" fmla="*/ 61 w 306"/>
                  <a:gd name="T55" fmla="*/ 139 h 296"/>
                  <a:gd name="T56" fmla="*/ 36 w 306"/>
                  <a:gd name="T57" fmla="*/ 161 h 296"/>
                  <a:gd name="T58" fmla="*/ 33 w 306"/>
                  <a:gd name="T59" fmla="*/ 153 h 296"/>
                  <a:gd name="T60" fmla="*/ 20 w 306"/>
                  <a:gd name="T61" fmla="*/ 161 h 296"/>
                  <a:gd name="T62" fmla="*/ 11 w 306"/>
                  <a:gd name="T63" fmla="*/ 159 h 296"/>
                  <a:gd name="T64" fmla="*/ 0 w 306"/>
                  <a:gd name="T65" fmla="*/ 177 h 296"/>
                  <a:gd name="T66" fmla="*/ 0 w 306"/>
                  <a:gd name="T67" fmla="*/ 184 h 296"/>
                  <a:gd name="T68" fmla="*/ 34 w 306"/>
                  <a:gd name="T69" fmla="*/ 177 h 296"/>
                  <a:gd name="T70" fmla="*/ 65 w 306"/>
                  <a:gd name="T71" fmla="*/ 177 h 296"/>
                  <a:gd name="T72" fmla="*/ 68 w 306"/>
                  <a:gd name="T73" fmla="*/ 178 h 296"/>
                  <a:gd name="T74" fmla="*/ 88 w 306"/>
                  <a:gd name="T75" fmla="*/ 212 h 296"/>
                  <a:gd name="T76" fmla="*/ 113 w 306"/>
                  <a:gd name="T77" fmla="*/ 211 h 296"/>
                  <a:gd name="T78" fmla="*/ 117 w 306"/>
                  <a:gd name="T79" fmla="*/ 195 h 296"/>
                  <a:gd name="T80" fmla="*/ 136 w 306"/>
                  <a:gd name="T81" fmla="*/ 193 h 296"/>
                  <a:gd name="T82" fmla="*/ 152 w 306"/>
                  <a:gd name="T83" fmla="*/ 203 h 296"/>
                  <a:gd name="T84" fmla="*/ 154 w 306"/>
                  <a:gd name="T85" fmla="*/ 237 h 296"/>
                  <a:gd name="T86" fmla="*/ 156 w 306"/>
                  <a:gd name="T87" fmla="*/ 261 h 296"/>
                  <a:gd name="T88" fmla="*/ 156 w 306"/>
                  <a:gd name="T89" fmla="*/ 262 h 296"/>
                  <a:gd name="T90" fmla="*/ 161 w 306"/>
                  <a:gd name="T91" fmla="*/ 264 h 296"/>
                  <a:gd name="T92" fmla="*/ 165 w 306"/>
                  <a:gd name="T93" fmla="*/ 259 h 296"/>
                  <a:gd name="T94" fmla="*/ 184 w 306"/>
                  <a:gd name="T95" fmla="*/ 259 h 296"/>
                  <a:gd name="T96" fmla="*/ 188 w 306"/>
                  <a:gd name="T97" fmla="*/ 257 h 296"/>
                  <a:gd name="T98" fmla="*/ 195 w 306"/>
                  <a:gd name="T99" fmla="*/ 259 h 296"/>
                  <a:gd name="T100" fmla="*/ 197 w 306"/>
                  <a:gd name="T101" fmla="*/ 264 h 296"/>
                  <a:gd name="T102" fmla="*/ 208 w 306"/>
                  <a:gd name="T103" fmla="*/ 261 h 296"/>
                  <a:gd name="T104" fmla="*/ 211 w 306"/>
                  <a:gd name="T105" fmla="*/ 268 h 296"/>
                  <a:gd name="T106" fmla="*/ 236 w 306"/>
                  <a:gd name="T107" fmla="*/ 271 h 296"/>
                  <a:gd name="T108" fmla="*/ 250 w 306"/>
                  <a:gd name="T109" fmla="*/ 280 h 296"/>
                  <a:gd name="T110" fmla="*/ 258 w 306"/>
                  <a:gd name="T111" fmla="*/ 287 h 296"/>
                  <a:gd name="T112" fmla="*/ 274 w 306"/>
                  <a:gd name="T113" fmla="*/ 295 h 296"/>
                  <a:gd name="T114" fmla="*/ 277 w 306"/>
                  <a:gd name="T115" fmla="*/ 296 h 296"/>
                  <a:gd name="T116" fmla="*/ 281 w 306"/>
                  <a:gd name="T117" fmla="*/ 296 h 296"/>
                  <a:gd name="T118" fmla="*/ 277 w 306"/>
                  <a:gd name="T119" fmla="*/ 278 h 296"/>
                  <a:gd name="T120" fmla="*/ 267 w 306"/>
                  <a:gd name="T121" fmla="*/ 278 h 296"/>
                  <a:gd name="T122" fmla="*/ 267 w 306"/>
                  <a:gd name="T123" fmla="*/ 243 h 296"/>
                  <a:gd name="T124" fmla="*/ 272 w 306"/>
                  <a:gd name="T125" fmla="*/ 22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296">
                    <a:moveTo>
                      <a:pt x="293" y="214"/>
                    </a:moveTo>
                    <a:lnTo>
                      <a:pt x="292" y="203"/>
                    </a:lnTo>
                    <a:lnTo>
                      <a:pt x="288" y="200"/>
                    </a:lnTo>
                    <a:lnTo>
                      <a:pt x="284" y="200"/>
                    </a:lnTo>
                    <a:lnTo>
                      <a:pt x="277" y="193"/>
                    </a:lnTo>
                    <a:lnTo>
                      <a:pt x="275" y="187"/>
                    </a:lnTo>
                    <a:lnTo>
                      <a:pt x="275" y="186"/>
                    </a:lnTo>
                    <a:lnTo>
                      <a:pt x="274" y="182"/>
                    </a:lnTo>
                    <a:lnTo>
                      <a:pt x="274" y="173"/>
                    </a:lnTo>
                    <a:lnTo>
                      <a:pt x="270" y="164"/>
                    </a:lnTo>
                    <a:lnTo>
                      <a:pt x="272" y="153"/>
                    </a:lnTo>
                    <a:lnTo>
                      <a:pt x="272" y="150"/>
                    </a:lnTo>
                    <a:lnTo>
                      <a:pt x="270" y="152"/>
                    </a:lnTo>
                    <a:lnTo>
                      <a:pt x="274" y="137"/>
                    </a:lnTo>
                    <a:lnTo>
                      <a:pt x="274" y="130"/>
                    </a:lnTo>
                    <a:lnTo>
                      <a:pt x="268" y="125"/>
                    </a:lnTo>
                    <a:lnTo>
                      <a:pt x="268" y="121"/>
                    </a:lnTo>
                    <a:lnTo>
                      <a:pt x="279" y="105"/>
                    </a:lnTo>
                    <a:lnTo>
                      <a:pt x="281" y="103"/>
                    </a:lnTo>
                    <a:lnTo>
                      <a:pt x="283" y="77"/>
                    </a:lnTo>
                    <a:lnTo>
                      <a:pt x="297" y="59"/>
                    </a:lnTo>
                    <a:lnTo>
                      <a:pt x="302" y="55"/>
                    </a:lnTo>
                    <a:lnTo>
                      <a:pt x="304" y="53"/>
                    </a:lnTo>
                    <a:lnTo>
                      <a:pt x="306" y="50"/>
                    </a:lnTo>
                    <a:lnTo>
                      <a:pt x="306" y="48"/>
                    </a:lnTo>
                    <a:lnTo>
                      <a:pt x="304" y="46"/>
                    </a:lnTo>
                    <a:lnTo>
                      <a:pt x="302" y="46"/>
                    </a:lnTo>
                    <a:lnTo>
                      <a:pt x="299" y="45"/>
                    </a:lnTo>
                    <a:lnTo>
                      <a:pt x="299" y="41"/>
                    </a:lnTo>
                    <a:lnTo>
                      <a:pt x="299" y="30"/>
                    </a:lnTo>
                    <a:lnTo>
                      <a:pt x="300" y="27"/>
                    </a:lnTo>
                    <a:lnTo>
                      <a:pt x="299" y="25"/>
                    </a:lnTo>
                    <a:lnTo>
                      <a:pt x="297" y="27"/>
                    </a:lnTo>
                    <a:lnTo>
                      <a:pt x="279" y="11"/>
                    </a:lnTo>
                    <a:lnTo>
                      <a:pt x="275" y="12"/>
                    </a:lnTo>
                    <a:lnTo>
                      <a:pt x="272" y="12"/>
                    </a:lnTo>
                    <a:lnTo>
                      <a:pt x="265" y="11"/>
                    </a:lnTo>
                    <a:lnTo>
                      <a:pt x="263" y="14"/>
                    </a:lnTo>
                    <a:lnTo>
                      <a:pt x="261" y="14"/>
                    </a:lnTo>
                    <a:lnTo>
                      <a:pt x="254" y="12"/>
                    </a:lnTo>
                    <a:lnTo>
                      <a:pt x="250" y="7"/>
                    </a:lnTo>
                    <a:lnTo>
                      <a:pt x="247" y="3"/>
                    </a:lnTo>
                    <a:lnTo>
                      <a:pt x="245" y="2"/>
                    </a:lnTo>
                    <a:lnTo>
                      <a:pt x="236" y="2"/>
                    </a:lnTo>
                    <a:lnTo>
                      <a:pt x="234" y="3"/>
                    </a:lnTo>
                    <a:lnTo>
                      <a:pt x="231" y="2"/>
                    </a:lnTo>
                    <a:lnTo>
                      <a:pt x="229" y="3"/>
                    </a:lnTo>
                    <a:lnTo>
                      <a:pt x="225" y="0"/>
                    </a:lnTo>
                    <a:lnTo>
                      <a:pt x="215" y="2"/>
                    </a:lnTo>
                    <a:lnTo>
                      <a:pt x="208" y="0"/>
                    </a:lnTo>
                    <a:lnTo>
                      <a:pt x="208" y="3"/>
                    </a:lnTo>
                    <a:lnTo>
                      <a:pt x="204" y="3"/>
                    </a:lnTo>
                    <a:lnTo>
                      <a:pt x="202" y="5"/>
                    </a:lnTo>
                    <a:lnTo>
                      <a:pt x="199" y="3"/>
                    </a:lnTo>
                    <a:lnTo>
                      <a:pt x="200" y="3"/>
                    </a:lnTo>
                    <a:lnTo>
                      <a:pt x="199" y="2"/>
                    </a:lnTo>
                    <a:lnTo>
                      <a:pt x="197" y="2"/>
                    </a:lnTo>
                    <a:lnTo>
                      <a:pt x="179" y="9"/>
                    </a:lnTo>
                    <a:lnTo>
                      <a:pt x="175" y="7"/>
                    </a:lnTo>
                    <a:lnTo>
                      <a:pt x="170" y="7"/>
                    </a:lnTo>
                    <a:lnTo>
                      <a:pt x="167" y="9"/>
                    </a:lnTo>
                    <a:lnTo>
                      <a:pt x="167" y="14"/>
                    </a:lnTo>
                    <a:lnTo>
                      <a:pt x="163" y="14"/>
                    </a:lnTo>
                    <a:lnTo>
                      <a:pt x="149" y="14"/>
                    </a:lnTo>
                    <a:lnTo>
                      <a:pt x="142" y="12"/>
                    </a:lnTo>
                    <a:lnTo>
                      <a:pt x="138" y="11"/>
                    </a:lnTo>
                    <a:lnTo>
                      <a:pt x="136" y="12"/>
                    </a:lnTo>
                    <a:lnTo>
                      <a:pt x="134" y="12"/>
                    </a:lnTo>
                    <a:lnTo>
                      <a:pt x="127" y="7"/>
                    </a:lnTo>
                    <a:lnTo>
                      <a:pt x="127" y="3"/>
                    </a:lnTo>
                    <a:lnTo>
                      <a:pt x="125" y="2"/>
                    </a:lnTo>
                    <a:lnTo>
                      <a:pt x="117" y="2"/>
                    </a:lnTo>
                    <a:lnTo>
                      <a:pt x="111" y="5"/>
                    </a:lnTo>
                    <a:lnTo>
                      <a:pt x="109" y="11"/>
                    </a:lnTo>
                    <a:lnTo>
                      <a:pt x="106" y="12"/>
                    </a:lnTo>
                    <a:lnTo>
                      <a:pt x="106" y="21"/>
                    </a:lnTo>
                    <a:lnTo>
                      <a:pt x="106" y="23"/>
                    </a:lnTo>
                    <a:lnTo>
                      <a:pt x="102" y="25"/>
                    </a:lnTo>
                    <a:lnTo>
                      <a:pt x="102" y="30"/>
                    </a:lnTo>
                    <a:lnTo>
                      <a:pt x="93" y="53"/>
                    </a:lnTo>
                    <a:lnTo>
                      <a:pt x="88" y="95"/>
                    </a:lnTo>
                    <a:lnTo>
                      <a:pt x="77" y="102"/>
                    </a:lnTo>
                    <a:lnTo>
                      <a:pt x="65" y="118"/>
                    </a:lnTo>
                    <a:lnTo>
                      <a:pt x="61" y="139"/>
                    </a:lnTo>
                    <a:lnTo>
                      <a:pt x="52" y="150"/>
                    </a:lnTo>
                    <a:lnTo>
                      <a:pt x="43" y="159"/>
                    </a:lnTo>
                    <a:lnTo>
                      <a:pt x="36" y="161"/>
                    </a:lnTo>
                    <a:lnTo>
                      <a:pt x="33" y="159"/>
                    </a:lnTo>
                    <a:lnTo>
                      <a:pt x="33" y="155"/>
                    </a:lnTo>
                    <a:lnTo>
                      <a:pt x="33" y="153"/>
                    </a:lnTo>
                    <a:lnTo>
                      <a:pt x="24" y="155"/>
                    </a:lnTo>
                    <a:lnTo>
                      <a:pt x="22" y="157"/>
                    </a:lnTo>
                    <a:lnTo>
                      <a:pt x="20" y="161"/>
                    </a:lnTo>
                    <a:lnTo>
                      <a:pt x="17" y="161"/>
                    </a:lnTo>
                    <a:lnTo>
                      <a:pt x="11" y="159"/>
                    </a:lnTo>
                    <a:lnTo>
                      <a:pt x="11" y="159"/>
                    </a:lnTo>
                    <a:lnTo>
                      <a:pt x="6" y="162"/>
                    </a:lnTo>
                    <a:lnTo>
                      <a:pt x="4" y="175"/>
                    </a:lnTo>
                    <a:lnTo>
                      <a:pt x="0" y="177"/>
                    </a:lnTo>
                    <a:lnTo>
                      <a:pt x="0" y="180"/>
                    </a:lnTo>
                    <a:lnTo>
                      <a:pt x="0" y="182"/>
                    </a:lnTo>
                    <a:lnTo>
                      <a:pt x="0" y="184"/>
                    </a:lnTo>
                    <a:lnTo>
                      <a:pt x="0" y="182"/>
                    </a:lnTo>
                    <a:lnTo>
                      <a:pt x="17" y="177"/>
                    </a:lnTo>
                    <a:lnTo>
                      <a:pt x="34" y="177"/>
                    </a:lnTo>
                    <a:lnTo>
                      <a:pt x="36" y="177"/>
                    </a:lnTo>
                    <a:lnTo>
                      <a:pt x="65" y="177"/>
                    </a:lnTo>
                    <a:lnTo>
                      <a:pt x="65" y="177"/>
                    </a:lnTo>
                    <a:lnTo>
                      <a:pt x="67" y="178"/>
                    </a:lnTo>
                    <a:lnTo>
                      <a:pt x="67" y="178"/>
                    </a:lnTo>
                    <a:lnTo>
                      <a:pt x="68" y="178"/>
                    </a:lnTo>
                    <a:lnTo>
                      <a:pt x="75" y="200"/>
                    </a:lnTo>
                    <a:lnTo>
                      <a:pt x="84" y="212"/>
                    </a:lnTo>
                    <a:lnTo>
                      <a:pt x="88" y="212"/>
                    </a:lnTo>
                    <a:lnTo>
                      <a:pt x="92" y="212"/>
                    </a:lnTo>
                    <a:lnTo>
                      <a:pt x="102" y="211"/>
                    </a:lnTo>
                    <a:lnTo>
                      <a:pt x="113" y="211"/>
                    </a:lnTo>
                    <a:lnTo>
                      <a:pt x="115" y="205"/>
                    </a:lnTo>
                    <a:lnTo>
                      <a:pt x="115" y="203"/>
                    </a:lnTo>
                    <a:lnTo>
                      <a:pt x="117" y="195"/>
                    </a:lnTo>
                    <a:lnTo>
                      <a:pt x="129" y="195"/>
                    </a:lnTo>
                    <a:lnTo>
                      <a:pt x="129" y="193"/>
                    </a:lnTo>
                    <a:lnTo>
                      <a:pt x="136" y="193"/>
                    </a:lnTo>
                    <a:lnTo>
                      <a:pt x="136" y="200"/>
                    </a:lnTo>
                    <a:lnTo>
                      <a:pt x="150" y="200"/>
                    </a:lnTo>
                    <a:lnTo>
                      <a:pt x="152" y="203"/>
                    </a:lnTo>
                    <a:lnTo>
                      <a:pt x="154" y="227"/>
                    </a:lnTo>
                    <a:lnTo>
                      <a:pt x="154" y="230"/>
                    </a:lnTo>
                    <a:lnTo>
                      <a:pt x="154" y="237"/>
                    </a:lnTo>
                    <a:lnTo>
                      <a:pt x="159" y="252"/>
                    </a:lnTo>
                    <a:lnTo>
                      <a:pt x="159" y="255"/>
                    </a:lnTo>
                    <a:lnTo>
                      <a:pt x="156" y="261"/>
                    </a:lnTo>
                    <a:lnTo>
                      <a:pt x="156" y="261"/>
                    </a:lnTo>
                    <a:lnTo>
                      <a:pt x="156" y="261"/>
                    </a:lnTo>
                    <a:lnTo>
                      <a:pt x="156" y="262"/>
                    </a:lnTo>
                    <a:lnTo>
                      <a:pt x="158" y="262"/>
                    </a:lnTo>
                    <a:lnTo>
                      <a:pt x="159" y="264"/>
                    </a:lnTo>
                    <a:lnTo>
                      <a:pt x="161" y="264"/>
                    </a:lnTo>
                    <a:lnTo>
                      <a:pt x="161" y="264"/>
                    </a:lnTo>
                    <a:lnTo>
                      <a:pt x="163" y="261"/>
                    </a:lnTo>
                    <a:lnTo>
                      <a:pt x="165" y="259"/>
                    </a:lnTo>
                    <a:lnTo>
                      <a:pt x="179" y="259"/>
                    </a:lnTo>
                    <a:lnTo>
                      <a:pt x="183" y="259"/>
                    </a:lnTo>
                    <a:lnTo>
                      <a:pt x="184" y="259"/>
                    </a:lnTo>
                    <a:lnTo>
                      <a:pt x="186" y="259"/>
                    </a:lnTo>
                    <a:lnTo>
                      <a:pt x="188" y="257"/>
                    </a:lnTo>
                    <a:lnTo>
                      <a:pt x="188" y="257"/>
                    </a:lnTo>
                    <a:lnTo>
                      <a:pt x="193" y="255"/>
                    </a:lnTo>
                    <a:lnTo>
                      <a:pt x="193" y="257"/>
                    </a:lnTo>
                    <a:lnTo>
                      <a:pt x="195" y="259"/>
                    </a:lnTo>
                    <a:lnTo>
                      <a:pt x="195" y="262"/>
                    </a:lnTo>
                    <a:lnTo>
                      <a:pt x="195" y="264"/>
                    </a:lnTo>
                    <a:lnTo>
                      <a:pt x="197" y="264"/>
                    </a:lnTo>
                    <a:lnTo>
                      <a:pt x="202" y="262"/>
                    </a:lnTo>
                    <a:lnTo>
                      <a:pt x="204" y="262"/>
                    </a:lnTo>
                    <a:lnTo>
                      <a:pt x="208" y="261"/>
                    </a:lnTo>
                    <a:lnTo>
                      <a:pt x="209" y="264"/>
                    </a:lnTo>
                    <a:lnTo>
                      <a:pt x="209" y="266"/>
                    </a:lnTo>
                    <a:lnTo>
                      <a:pt x="211" y="268"/>
                    </a:lnTo>
                    <a:lnTo>
                      <a:pt x="224" y="273"/>
                    </a:lnTo>
                    <a:lnTo>
                      <a:pt x="227" y="275"/>
                    </a:lnTo>
                    <a:lnTo>
                      <a:pt x="236" y="271"/>
                    </a:lnTo>
                    <a:lnTo>
                      <a:pt x="238" y="271"/>
                    </a:lnTo>
                    <a:lnTo>
                      <a:pt x="243" y="277"/>
                    </a:lnTo>
                    <a:lnTo>
                      <a:pt x="250" y="280"/>
                    </a:lnTo>
                    <a:lnTo>
                      <a:pt x="254" y="280"/>
                    </a:lnTo>
                    <a:lnTo>
                      <a:pt x="256" y="282"/>
                    </a:lnTo>
                    <a:lnTo>
                      <a:pt x="258" y="287"/>
                    </a:lnTo>
                    <a:lnTo>
                      <a:pt x="267" y="293"/>
                    </a:lnTo>
                    <a:lnTo>
                      <a:pt x="272" y="295"/>
                    </a:lnTo>
                    <a:lnTo>
                      <a:pt x="274" y="295"/>
                    </a:lnTo>
                    <a:lnTo>
                      <a:pt x="275" y="295"/>
                    </a:lnTo>
                    <a:lnTo>
                      <a:pt x="275" y="295"/>
                    </a:lnTo>
                    <a:lnTo>
                      <a:pt x="277" y="296"/>
                    </a:lnTo>
                    <a:lnTo>
                      <a:pt x="279" y="296"/>
                    </a:lnTo>
                    <a:lnTo>
                      <a:pt x="281" y="296"/>
                    </a:lnTo>
                    <a:lnTo>
                      <a:pt x="281" y="296"/>
                    </a:lnTo>
                    <a:lnTo>
                      <a:pt x="279" y="282"/>
                    </a:lnTo>
                    <a:lnTo>
                      <a:pt x="279" y="280"/>
                    </a:lnTo>
                    <a:lnTo>
                      <a:pt x="277" y="278"/>
                    </a:lnTo>
                    <a:lnTo>
                      <a:pt x="275" y="280"/>
                    </a:lnTo>
                    <a:lnTo>
                      <a:pt x="268" y="280"/>
                    </a:lnTo>
                    <a:lnTo>
                      <a:pt x="267" y="278"/>
                    </a:lnTo>
                    <a:lnTo>
                      <a:pt x="261" y="271"/>
                    </a:lnTo>
                    <a:lnTo>
                      <a:pt x="261" y="270"/>
                    </a:lnTo>
                    <a:lnTo>
                      <a:pt x="267" y="243"/>
                    </a:lnTo>
                    <a:lnTo>
                      <a:pt x="265" y="230"/>
                    </a:lnTo>
                    <a:lnTo>
                      <a:pt x="270" y="220"/>
                    </a:lnTo>
                    <a:lnTo>
                      <a:pt x="272" y="220"/>
                    </a:lnTo>
                    <a:lnTo>
                      <a:pt x="293" y="21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10" name="Freeform 2461"/>
              <p:cNvSpPr>
                <a:spLocks/>
              </p:cNvSpPr>
              <p:nvPr/>
            </p:nvSpPr>
            <p:spPr bwMode="auto">
              <a:xfrm>
                <a:off x="2892" y="2629"/>
                <a:ext cx="306" cy="296"/>
              </a:xfrm>
              <a:custGeom>
                <a:avLst/>
                <a:gdLst>
                  <a:gd name="T0" fmla="*/ 288 w 306"/>
                  <a:gd name="T1" fmla="*/ 200 h 296"/>
                  <a:gd name="T2" fmla="*/ 275 w 306"/>
                  <a:gd name="T3" fmla="*/ 187 h 296"/>
                  <a:gd name="T4" fmla="*/ 274 w 306"/>
                  <a:gd name="T5" fmla="*/ 173 h 296"/>
                  <a:gd name="T6" fmla="*/ 272 w 306"/>
                  <a:gd name="T7" fmla="*/ 150 h 296"/>
                  <a:gd name="T8" fmla="*/ 274 w 306"/>
                  <a:gd name="T9" fmla="*/ 130 h 296"/>
                  <a:gd name="T10" fmla="*/ 279 w 306"/>
                  <a:gd name="T11" fmla="*/ 105 h 296"/>
                  <a:gd name="T12" fmla="*/ 297 w 306"/>
                  <a:gd name="T13" fmla="*/ 59 h 296"/>
                  <a:gd name="T14" fmla="*/ 306 w 306"/>
                  <a:gd name="T15" fmla="*/ 50 h 296"/>
                  <a:gd name="T16" fmla="*/ 302 w 306"/>
                  <a:gd name="T17" fmla="*/ 46 h 296"/>
                  <a:gd name="T18" fmla="*/ 299 w 306"/>
                  <a:gd name="T19" fmla="*/ 30 h 296"/>
                  <a:gd name="T20" fmla="*/ 297 w 306"/>
                  <a:gd name="T21" fmla="*/ 27 h 296"/>
                  <a:gd name="T22" fmla="*/ 272 w 306"/>
                  <a:gd name="T23" fmla="*/ 12 h 296"/>
                  <a:gd name="T24" fmla="*/ 261 w 306"/>
                  <a:gd name="T25" fmla="*/ 14 h 296"/>
                  <a:gd name="T26" fmla="*/ 247 w 306"/>
                  <a:gd name="T27" fmla="*/ 3 h 296"/>
                  <a:gd name="T28" fmla="*/ 234 w 306"/>
                  <a:gd name="T29" fmla="*/ 3 h 296"/>
                  <a:gd name="T30" fmla="*/ 225 w 306"/>
                  <a:gd name="T31" fmla="*/ 0 h 296"/>
                  <a:gd name="T32" fmla="*/ 208 w 306"/>
                  <a:gd name="T33" fmla="*/ 3 h 296"/>
                  <a:gd name="T34" fmla="*/ 199 w 306"/>
                  <a:gd name="T35" fmla="*/ 3 h 296"/>
                  <a:gd name="T36" fmla="*/ 197 w 306"/>
                  <a:gd name="T37" fmla="*/ 2 h 296"/>
                  <a:gd name="T38" fmla="*/ 170 w 306"/>
                  <a:gd name="T39" fmla="*/ 7 h 296"/>
                  <a:gd name="T40" fmla="*/ 163 w 306"/>
                  <a:gd name="T41" fmla="*/ 14 h 296"/>
                  <a:gd name="T42" fmla="*/ 138 w 306"/>
                  <a:gd name="T43" fmla="*/ 11 h 296"/>
                  <a:gd name="T44" fmla="*/ 127 w 306"/>
                  <a:gd name="T45" fmla="*/ 7 h 296"/>
                  <a:gd name="T46" fmla="*/ 117 w 306"/>
                  <a:gd name="T47" fmla="*/ 2 h 296"/>
                  <a:gd name="T48" fmla="*/ 106 w 306"/>
                  <a:gd name="T49" fmla="*/ 12 h 296"/>
                  <a:gd name="T50" fmla="*/ 102 w 306"/>
                  <a:gd name="T51" fmla="*/ 25 h 296"/>
                  <a:gd name="T52" fmla="*/ 88 w 306"/>
                  <a:gd name="T53" fmla="*/ 95 h 296"/>
                  <a:gd name="T54" fmla="*/ 61 w 306"/>
                  <a:gd name="T55" fmla="*/ 139 h 296"/>
                  <a:gd name="T56" fmla="*/ 36 w 306"/>
                  <a:gd name="T57" fmla="*/ 161 h 296"/>
                  <a:gd name="T58" fmla="*/ 33 w 306"/>
                  <a:gd name="T59" fmla="*/ 153 h 296"/>
                  <a:gd name="T60" fmla="*/ 20 w 306"/>
                  <a:gd name="T61" fmla="*/ 161 h 296"/>
                  <a:gd name="T62" fmla="*/ 11 w 306"/>
                  <a:gd name="T63" fmla="*/ 159 h 296"/>
                  <a:gd name="T64" fmla="*/ 0 w 306"/>
                  <a:gd name="T65" fmla="*/ 177 h 296"/>
                  <a:gd name="T66" fmla="*/ 0 w 306"/>
                  <a:gd name="T67" fmla="*/ 184 h 296"/>
                  <a:gd name="T68" fmla="*/ 34 w 306"/>
                  <a:gd name="T69" fmla="*/ 177 h 296"/>
                  <a:gd name="T70" fmla="*/ 65 w 306"/>
                  <a:gd name="T71" fmla="*/ 177 h 296"/>
                  <a:gd name="T72" fmla="*/ 68 w 306"/>
                  <a:gd name="T73" fmla="*/ 178 h 296"/>
                  <a:gd name="T74" fmla="*/ 88 w 306"/>
                  <a:gd name="T75" fmla="*/ 212 h 296"/>
                  <a:gd name="T76" fmla="*/ 113 w 306"/>
                  <a:gd name="T77" fmla="*/ 211 h 296"/>
                  <a:gd name="T78" fmla="*/ 117 w 306"/>
                  <a:gd name="T79" fmla="*/ 195 h 296"/>
                  <a:gd name="T80" fmla="*/ 136 w 306"/>
                  <a:gd name="T81" fmla="*/ 193 h 296"/>
                  <a:gd name="T82" fmla="*/ 152 w 306"/>
                  <a:gd name="T83" fmla="*/ 203 h 296"/>
                  <a:gd name="T84" fmla="*/ 154 w 306"/>
                  <a:gd name="T85" fmla="*/ 237 h 296"/>
                  <a:gd name="T86" fmla="*/ 156 w 306"/>
                  <a:gd name="T87" fmla="*/ 261 h 296"/>
                  <a:gd name="T88" fmla="*/ 156 w 306"/>
                  <a:gd name="T89" fmla="*/ 262 h 296"/>
                  <a:gd name="T90" fmla="*/ 161 w 306"/>
                  <a:gd name="T91" fmla="*/ 264 h 296"/>
                  <a:gd name="T92" fmla="*/ 165 w 306"/>
                  <a:gd name="T93" fmla="*/ 259 h 296"/>
                  <a:gd name="T94" fmla="*/ 184 w 306"/>
                  <a:gd name="T95" fmla="*/ 259 h 296"/>
                  <a:gd name="T96" fmla="*/ 188 w 306"/>
                  <a:gd name="T97" fmla="*/ 257 h 296"/>
                  <a:gd name="T98" fmla="*/ 195 w 306"/>
                  <a:gd name="T99" fmla="*/ 259 h 296"/>
                  <a:gd name="T100" fmla="*/ 197 w 306"/>
                  <a:gd name="T101" fmla="*/ 264 h 296"/>
                  <a:gd name="T102" fmla="*/ 208 w 306"/>
                  <a:gd name="T103" fmla="*/ 261 h 296"/>
                  <a:gd name="T104" fmla="*/ 211 w 306"/>
                  <a:gd name="T105" fmla="*/ 268 h 296"/>
                  <a:gd name="T106" fmla="*/ 236 w 306"/>
                  <a:gd name="T107" fmla="*/ 271 h 296"/>
                  <a:gd name="T108" fmla="*/ 250 w 306"/>
                  <a:gd name="T109" fmla="*/ 280 h 296"/>
                  <a:gd name="T110" fmla="*/ 258 w 306"/>
                  <a:gd name="T111" fmla="*/ 287 h 296"/>
                  <a:gd name="T112" fmla="*/ 274 w 306"/>
                  <a:gd name="T113" fmla="*/ 295 h 296"/>
                  <a:gd name="T114" fmla="*/ 277 w 306"/>
                  <a:gd name="T115" fmla="*/ 296 h 296"/>
                  <a:gd name="T116" fmla="*/ 281 w 306"/>
                  <a:gd name="T117" fmla="*/ 296 h 296"/>
                  <a:gd name="T118" fmla="*/ 277 w 306"/>
                  <a:gd name="T119" fmla="*/ 278 h 296"/>
                  <a:gd name="T120" fmla="*/ 267 w 306"/>
                  <a:gd name="T121" fmla="*/ 278 h 296"/>
                  <a:gd name="T122" fmla="*/ 267 w 306"/>
                  <a:gd name="T123" fmla="*/ 243 h 296"/>
                  <a:gd name="T124" fmla="*/ 272 w 306"/>
                  <a:gd name="T125" fmla="*/ 22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296">
                    <a:moveTo>
                      <a:pt x="293" y="214"/>
                    </a:moveTo>
                    <a:lnTo>
                      <a:pt x="292" y="203"/>
                    </a:lnTo>
                    <a:lnTo>
                      <a:pt x="288" y="200"/>
                    </a:lnTo>
                    <a:lnTo>
                      <a:pt x="284" y="200"/>
                    </a:lnTo>
                    <a:lnTo>
                      <a:pt x="277" y="193"/>
                    </a:lnTo>
                    <a:lnTo>
                      <a:pt x="275" y="187"/>
                    </a:lnTo>
                    <a:lnTo>
                      <a:pt x="275" y="186"/>
                    </a:lnTo>
                    <a:lnTo>
                      <a:pt x="274" y="182"/>
                    </a:lnTo>
                    <a:lnTo>
                      <a:pt x="274" y="173"/>
                    </a:lnTo>
                    <a:lnTo>
                      <a:pt x="270" y="164"/>
                    </a:lnTo>
                    <a:lnTo>
                      <a:pt x="272" y="153"/>
                    </a:lnTo>
                    <a:lnTo>
                      <a:pt x="272" y="150"/>
                    </a:lnTo>
                    <a:lnTo>
                      <a:pt x="270" y="152"/>
                    </a:lnTo>
                    <a:lnTo>
                      <a:pt x="274" y="137"/>
                    </a:lnTo>
                    <a:lnTo>
                      <a:pt x="274" y="130"/>
                    </a:lnTo>
                    <a:lnTo>
                      <a:pt x="268" y="125"/>
                    </a:lnTo>
                    <a:lnTo>
                      <a:pt x="268" y="121"/>
                    </a:lnTo>
                    <a:lnTo>
                      <a:pt x="279" y="105"/>
                    </a:lnTo>
                    <a:lnTo>
                      <a:pt x="281" y="103"/>
                    </a:lnTo>
                    <a:lnTo>
                      <a:pt x="283" y="77"/>
                    </a:lnTo>
                    <a:lnTo>
                      <a:pt x="297" y="59"/>
                    </a:lnTo>
                    <a:lnTo>
                      <a:pt x="302" y="55"/>
                    </a:lnTo>
                    <a:lnTo>
                      <a:pt x="304" y="53"/>
                    </a:lnTo>
                    <a:lnTo>
                      <a:pt x="306" y="50"/>
                    </a:lnTo>
                    <a:lnTo>
                      <a:pt x="306" y="48"/>
                    </a:lnTo>
                    <a:lnTo>
                      <a:pt x="304" y="46"/>
                    </a:lnTo>
                    <a:lnTo>
                      <a:pt x="302" y="46"/>
                    </a:lnTo>
                    <a:lnTo>
                      <a:pt x="299" y="45"/>
                    </a:lnTo>
                    <a:lnTo>
                      <a:pt x="299" y="41"/>
                    </a:lnTo>
                    <a:lnTo>
                      <a:pt x="299" y="30"/>
                    </a:lnTo>
                    <a:lnTo>
                      <a:pt x="300" y="27"/>
                    </a:lnTo>
                    <a:lnTo>
                      <a:pt x="299" y="25"/>
                    </a:lnTo>
                    <a:lnTo>
                      <a:pt x="297" y="27"/>
                    </a:lnTo>
                    <a:lnTo>
                      <a:pt x="279" y="11"/>
                    </a:lnTo>
                    <a:lnTo>
                      <a:pt x="275" y="12"/>
                    </a:lnTo>
                    <a:lnTo>
                      <a:pt x="272" y="12"/>
                    </a:lnTo>
                    <a:lnTo>
                      <a:pt x="265" y="11"/>
                    </a:lnTo>
                    <a:lnTo>
                      <a:pt x="263" y="14"/>
                    </a:lnTo>
                    <a:lnTo>
                      <a:pt x="261" y="14"/>
                    </a:lnTo>
                    <a:lnTo>
                      <a:pt x="254" y="12"/>
                    </a:lnTo>
                    <a:lnTo>
                      <a:pt x="250" y="7"/>
                    </a:lnTo>
                    <a:lnTo>
                      <a:pt x="247" y="3"/>
                    </a:lnTo>
                    <a:lnTo>
                      <a:pt x="245" y="2"/>
                    </a:lnTo>
                    <a:lnTo>
                      <a:pt x="236" y="2"/>
                    </a:lnTo>
                    <a:lnTo>
                      <a:pt x="234" y="3"/>
                    </a:lnTo>
                    <a:lnTo>
                      <a:pt x="231" y="2"/>
                    </a:lnTo>
                    <a:lnTo>
                      <a:pt x="229" y="3"/>
                    </a:lnTo>
                    <a:lnTo>
                      <a:pt x="225" y="0"/>
                    </a:lnTo>
                    <a:lnTo>
                      <a:pt x="215" y="2"/>
                    </a:lnTo>
                    <a:lnTo>
                      <a:pt x="208" y="0"/>
                    </a:lnTo>
                    <a:lnTo>
                      <a:pt x="208" y="3"/>
                    </a:lnTo>
                    <a:lnTo>
                      <a:pt x="204" y="3"/>
                    </a:lnTo>
                    <a:lnTo>
                      <a:pt x="202" y="5"/>
                    </a:lnTo>
                    <a:lnTo>
                      <a:pt x="199" y="3"/>
                    </a:lnTo>
                    <a:lnTo>
                      <a:pt x="200" y="3"/>
                    </a:lnTo>
                    <a:lnTo>
                      <a:pt x="199" y="2"/>
                    </a:lnTo>
                    <a:lnTo>
                      <a:pt x="197" y="2"/>
                    </a:lnTo>
                    <a:lnTo>
                      <a:pt x="179" y="9"/>
                    </a:lnTo>
                    <a:lnTo>
                      <a:pt x="175" y="7"/>
                    </a:lnTo>
                    <a:lnTo>
                      <a:pt x="170" y="7"/>
                    </a:lnTo>
                    <a:lnTo>
                      <a:pt x="167" y="9"/>
                    </a:lnTo>
                    <a:lnTo>
                      <a:pt x="167" y="14"/>
                    </a:lnTo>
                    <a:lnTo>
                      <a:pt x="163" y="14"/>
                    </a:lnTo>
                    <a:lnTo>
                      <a:pt x="149" y="14"/>
                    </a:lnTo>
                    <a:lnTo>
                      <a:pt x="142" y="12"/>
                    </a:lnTo>
                    <a:lnTo>
                      <a:pt x="138" y="11"/>
                    </a:lnTo>
                    <a:lnTo>
                      <a:pt x="136" y="12"/>
                    </a:lnTo>
                    <a:lnTo>
                      <a:pt x="134" y="12"/>
                    </a:lnTo>
                    <a:lnTo>
                      <a:pt x="127" y="7"/>
                    </a:lnTo>
                    <a:lnTo>
                      <a:pt x="127" y="3"/>
                    </a:lnTo>
                    <a:lnTo>
                      <a:pt x="125" y="2"/>
                    </a:lnTo>
                    <a:lnTo>
                      <a:pt x="117" y="2"/>
                    </a:lnTo>
                    <a:lnTo>
                      <a:pt x="111" y="5"/>
                    </a:lnTo>
                    <a:lnTo>
                      <a:pt x="109" y="11"/>
                    </a:lnTo>
                    <a:lnTo>
                      <a:pt x="106" y="12"/>
                    </a:lnTo>
                    <a:lnTo>
                      <a:pt x="106" y="21"/>
                    </a:lnTo>
                    <a:lnTo>
                      <a:pt x="106" y="23"/>
                    </a:lnTo>
                    <a:lnTo>
                      <a:pt x="102" y="25"/>
                    </a:lnTo>
                    <a:lnTo>
                      <a:pt x="102" y="30"/>
                    </a:lnTo>
                    <a:lnTo>
                      <a:pt x="93" y="53"/>
                    </a:lnTo>
                    <a:lnTo>
                      <a:pt x="88" y="95"/>
                    </a:lnTo>
                    <a:lnTo>
                      <a:pt x="77" y="102"/>
                    </a:lnTo>
                    <a:lnTo>
                      <a:pt x="65" y="118"/>
                    </a:lnTo>
                    <a:lnTo>
                      <a:pt x="61" y="139"/>
                    </a:lnTo>
                    <a:lnTo>
                      <a:pt x="52" y="150"/>
                    </a:lnTo>
                    <a:lnTo>
                      <a:pt x="43" y="159"/>
                    </a:lnTo>
                    <a:lnTo>
                      <a:pt x="36" y="161"/>
                    </a:lnTo>
                    <a:lnTo>
                      <a:pt x="33" y="159"/>
                    </a:lnTo>
                    <a:lnTo>
                      <a:pt x="33" y="155"/>
                    </a:lnTo>
                    <a:lnTo>
                      <a:pt x="33" y="153"/>
                    </a:lnTo>
                    <a:lnTo>
                      <a:pt x="24" y="155"/>
                    </a:lnTo>
                    <a:lnTo>
                      <a:pt x="22" y="157"/>
                    </a:lnTo>
                    <a:lnTo>
                      <a:pt x="20" y="161"/>
                    </a:lnTo>
                    <a:lnTo>
                      <a:pt x="17" y="161"/>
                    </a:lnTo>
                    <a:lnTo>
                      <a:pt x="11" y="159"/>
                    </a:lnTo>
                    <a:lnTo>
                      <a:pt x="11" y="159"/>
                    </a:lnTo>
                    <a:lnTo>
                      <a:pt x="6" y="162"/>
                    </a:lnTo>
                    <a:lnTo>
                      <a:pt x="4" y="175"/>
                    </a:lnTo>
                    <a:lnTo>
                      <a:pt x="0" y="177"/>
                    </a:lnTo>
                    <a:lnTo>
                      <a:pt x="0" y="180"/>
                    </a:lnTo>
                    <a:lnTo>
                      <a:pt x="0" y="182"/>
                    </a:lnTo>
                    <a:lnTo>
                      <a:pt x="0" y="184"/>
                    </a:lnTo>
                    <a:lnTo>
                      <a:pt x="0" y="182"/>
                    </a:lnTo>
                    <a:lnTo>
                      <a:pt x="17" y="177"/>
                    </a:lnTo>
                    <a:lnTo>
                      <a:pt x="34" y="177"/>
                    </a:lnTo>
                    <a:lnTo>
                      <a:pt x="36" y="177"/>
                    </a:lnTo>
                    <a:lnTo>
                      <a:pt x="65" y="177"/>
                    </a:lnTo>
                    <a:lnTo>
                      <a:pt x="65" y="177"/>
                    </a:lnTo>
                    <a:lnTo>
                      <a:pt x="67" y="178"/>
                    </a:lnTo>
                    <a:lnTo>
                      <a:pt x="67" y="178"/>
                    </a:lnTo>
                    <a:lnTo>
                      <a:pt x="68" y="178"/>
                    </a:lnTo>
                    <a:lnTo>
                      <a:pt x="75" y="200"/>
                    </a:lnTo>
                    <a:lnTo>
                      <a:pt x="84" y="212"/>
                    </a:lnTo>
                    <a:lnTo>
                      <a:pt x="88" y="212"/>
                    </a:lnTo>
                    <a:lnTo>
                      <a:pt x="92" y="212"/>
                    </a:lnTo>
                    <a:lnTo>
                      <a:pt x="102" y="211"/>
                    </a:lnTo>
                    <a:lnTo>
                      <a:pt x="113" y="211"/>
                    </a:lnTo>
                    <a:lnTo>
                      <a:pt x="115" y="205"/>
                    </a:lnTo>
                    <a:lnTo>
                      <a:pt x="115" y="203"/>
                    </a:lnTo>
                    <a:lnTo>
                      <a:pt x="117" y="195"/>
                    </a:lnTo>
                    <a:lnTo>
                      <a:pt x="129" y="195"/>
                    </a:lnTo>
                    <a:lnTo>
                      <a:pt x="129" y="193"/>
                    </a:lnTo>
                    <a:lnTo>
                      <a:pt x="136" y="193"/>
                    </a:lnTo>
                    <a:lnTo>
                      <a:pt x="136" y="200"/>
                    </a:lnTo>
                    <a:lnTo>
                      <a:pt x="150" y="200"/>
                    </a:lnTo>
                    <a:lnTo>
                      <a:pt x="152" y="203"/>
                    </a:lnTo>
                    <a:lnTo>
                      <a:pt x="154" y="227"/>
                    </a:lnTo>
                    <a:lnTo>
                      <a:pt x="154" y="230"/>
                    </a:lnTo>
                    <a:lnTo>
                      <a:pt x="154" y="237"/>
                    </a:lnTo>
                    <a:lnTo>
                      <a:pt x="159" y="252"/>
                    </a:lnTo>
                    <a:lnTo>
                      <a:pt x="159" y="255"/>
                    </a:lnTo>
                    <a:lnTo>
                      <a:pt x="156" y="261"/>
                    </a:lnTo>
                    <a:lnTo>
                      <a:pt x="156" y="261"/>
                    </a:lnTo>
                    <a:lnTo>
                      <a:pt x="156" y="261"/>
                    </a:lnTo>
                    <a:lnTo>
                      <a:pt x="156" y="262"/>
                    </a:lnTo>
                    <a:lnTo>
                      <a:pt x="158" y="262"/>
                    </a:lnTo>
                    <a:lnTo>
                      <a:pt x="159" y="264"/>
                    </a:lnTo>
                    <a:lnTo>
                      <a:pt x="161" y="264"/>
                    </a:lnTo>
                    <a:lnTo>
                      <a:pt x="161" y="264"/>
                    </a:lnTo>
                    <a:lnTo>
                      <a:pt x="163" y="261"/>
                    </a:lnTo>
                    <a:lnTo>
                      <a:pt x="165" y="259"/>
                    </a:lnTo>
                    <a:lnTo>
                      <a:pt x="179" y="259"/>
                    </a:lnTo>
                    <a:lnTo>
                      <a:pt x="183" y="259"/>
                    </a:lnTo>
                    <a:lnTo>
                      <a:pt x="184" y="259"/>
                    </a:lnTo>
                    <a:lnTo>
                      <a:pt x="186" y="259"/>
                    </a:lnTo>
                    <a:lnTo>
                      <a:pt x="188" y="257"/>
                    </a:lnTo>
                    <a:lnTo>
                      <a:pt x="188" y="257"/>
                    </a:lnTo>
                    <a:lnTo>
                      <a:pt x="193" y="255"/>
                    </a:lnTo>
                    <a:lnTo>
                      <a:pt x="193" y="257"/>
                    </a:lnTo>
                    <a:lnTo>
                      <a:pt x="195" y="259"/>
                    </a:lnTo>
                    <a:lnTo>
                      <a:pt x="195" y="262"/>
                    </a:lnTo>
                    <a:lnTo>
                      <a:pt x="195" y="264"/>
                    </a:lnTo>
                    <a:lnTo>
                      <a:pt x="197" y="264"/>
                    </a:lnTo>
                    <a:lnTo>
                      <a:pt x="202" y="262"/>
                    </a:lnTo>
                    <a:lnTo>
                      <a:pt x="204" y="262"/>
                    </a:lnTo>
                    <a:lnTo>
                      <a:pt x="208" y="261"/>
                    </a:lnTo>
                    <a:lnTo>
                      <a:pt x="209" y="264"/>
                    </a:lnTo>
                    <a:lnTo>
                      <a:pt x="209" y="266"/>
                    </a:lnTo>
                    <a:lnTo>
                      <a:pt x="211" y="268"/>
                    </a:lnTo>
                    <a:lnTo>
                      <a:pt x="224" y="273"/>
                    </a:lnTo>
                    <a:lnTo>
                      <a:pt x="227" y="275"/>
                    </a:lnTo>
                    <a:lnTo>
                      <a:pt x="236" y="271"/>
                    </a:lnTo>
                    <a:lnTo>
                      <a:pt x="238" y="271"/>
                    </a:lnTo>
                    <a:lnTo>
                      <a:pt x="243" y="277"/>
                    </a:lnTo>
                    <a:lnTo>
                      <a:pt x="250" y="280"/>
                    </a:lnTo>
                    <a:lnTo>
                      <a:pt x="254" y="280"/>
                    </a:lnTo>
                    <a:lnTo>
                      <a:pt x="256" y="282"/>
                    </a:lnTo>
                    <a:lnTo>
                      <a:pt x="258" y="287"/>
                    </a:lnTo>
                    <a:lnTo>
                      <a:pt x="267" y="293"/>
                    </a:lnTo>
                    <a:lnTo>
                      <a:pt x="272" y="295"/>
                    </a:lnTo>
                    <a:lnTo>
                      <a:pt x="274" y="295"/>
                    </a:lnTo>
                    <a:lnTo>
                      <a:pt x="275" y="295"/>
                    </a:lnTo>
                    <a:lnTo>
                      <a:pt x="275" y="295"/>
                    </a:lnTo>
                    <a:lnTo>
                      <a:pt x="277" y="296"/>
                    </a:lnTo>
                    <a:lnTo>
                      <a:pt x="279" y="296"/>
                    </a:lnTo>
                    <a:lnTo>
                      <a:pt x="281" y="296"/>
                    </a:lnTo>
                    <a:lnTo>
                      <a:pt x="281" y="296"/>
                    </a:lnTo>
                    <a:lnTo>
                      <a:pt x="279" y="282"/>
                    </a:lnTo>
                    <a:lnTo>
                      <a:pt x="279" y="280"/>
                    </a:lnTo>
                    <a:lnTo>
                      <a:pt x="277" y="278"/>
                    </a:lnTo>
                    <a:lnTo>
                      <a:pt x="275" y="280"/>
                    </a:lnTo>
                    <a:lnTo>
                      <a:pt x="268" y="280"/>
                    </a:lnTo>
                    <a:lnTo>
                      <a:pt x="267" y="278"/>
                    </a:lnTo>
                    <a:lnTo>
                      <a:pt x="261" y="271"/>
                    </a:lnTo>
                    <a:lnTo>
                      <a:pt x="261" y="270"/>
                    </a:lnTo>
                    <a:lnTo>
                      <a:pt x="267" y="243"/>
                    </a:lnTo>
                    <a:lnTo>
                      <a:pt x="265" y="230"/>
                    </a:lnTo>
                    <a:lnTo>
                      <a:pt x="270" y="220"/>
                    </a:lnTo>
                    <a:lnTo>
                      <a:pt x="272" y="220"/>
                    </a:lnTo>
                    <a:lnTo>
                      <a:pt x="293" y="21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11" name="Freeform 2462"/>
              <p:cNvSpPr>
                <a:spLocks/>
              </p:cNvSpPr>
              <p:nvPr/>
            </p:nvSpPr>
            <p:spPr bwMode="auto">
              <a:xfrm>
                <a:off x="3130" y="3186"/>
                <a:ext cx="37" cy="38"/>
              </a:xfrm>
              <a:custGeom>
                <a:avLst/>
                <a:gdLst>
                  <a:gd name="T0" fmla="*/ 36 w 37"/>
                  <a:gd name="T1" fmla="*/ 14 h 38"/>
                  <a:gd name="T2" fmla="*/ 37 w 37"/>
                  <a:gd name="T3" fmla="*/ 14 h 38"/>
                  <a:gd name="T4" fmla="*/ 37 w 37"/>
                  <a:gd name="T5" fmla="*/ 16 h 38"/>
                  <a:gd name="T6" fmla="*/ 30 w 37"/>
                  <a:gd name="T7" fmla="*/ 29 h 38"/>
                  <a:gd name="T8" fmla="*/ 21 w 37"/>
                  <a:gd name="T9" fmla="*/ 32 h 38"/>
                  <a:gd name="T10" fmla="*/ 18 w 37"/>
                  <a:gd name="T11" fmla="*/ 36 h 38"/>
                  <a:gd name="T12" fmla="*/ 16 w 37"/>
                  <a:gd name="T13" fmla="*/ 38 h 38"/>
                  <a:gd name="T14" fmla="*/ 12 w 37"/>
                  <a:gd name="T15" fmla="*/ 38 h 38"/>
                  <a:gd name="T16" fmla="*/ 4 w 37"/>
                  <a:gd name="T17" fmla="*/ 29 h 38"/>
                  <a:gd name="T18" fmla="*/ 0 w 37"/>
                  <a:gd name="T19" fmla="*/ 21 h 38"/>
                  <a:gd name="T20" fmla="*/ 0 w 37"/>
                  <a:gd name="T21" fmla="*/ 18 h 38"/>
                  <a:gd name="T22" fmla="*/ 12 w 37"/>
                  <a:gd name="T23" fmla="*/ 4 h 38"/>
                  <a:gd name="T24" fmla="*/ 20 w 37"/>
                  <a:gd name="T25" fmla="*/ 0 h 38"/>
                  <a:gd name="T26" fmla="*/ 25 w 37"/>
                  <a:gd name="T27" fmla="*/ 0 h 38"/>
                  <a:gd name="T28" fmla="*/ 29 w 37"/>
                  <a:gd name="T29" fmla="*/ 2 h 38"/>
                  <a:gd name="T30" fmla="*/ 36 w 37"/>
                  <a:gd name="T31" fmla="*/ 13 h 38"/>
                  <a:gd name="T32" fmla="*/ 36 w 37"/>
                  <a:gd name="T33"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38">
                    <a:moveTo>
                      <a:pt x="36" y="14"/>
                    </a:moveTo>
                    <a:lnTo>
                      <a:pt x="37" y="14"/>
                    </a:lnTo>
                    <a:lnTo>
                      <a:pt x="37" y="16"/>
                    </a:lnTo>
                    <a:lnTo>
                      <a:pt x="30" y="29"/>
                    </a:lnTo>
                    <a:lnTo>
                      <a:pt x="21" y="32"/>
                    </a:lnTo>
                    <a:lnTo>
                      <a:pt x="18" y="36"/>
                    </a:lnTo>
                    <a:lnTo>
                      <a:pt x="16" y="38"/>
                    </a:lnTo>
                    <a:lnTo>
                      <a:pt x="12" y="38"/>
                    </a:lnTo>
                    <a:lnTo>
                      <a:pt x="4" y="29"/>
                    </a:lnTo>
                    <a:lnTo>
                      <a:pt x="0" y="21"/>
                    </a:lnTo>
                    <a:lnTo>
                      <a:pt x="0" y="18"/>
                    </a:lnTo>
                    <a:lnTo>
                      <a:pt x="12" y="4"/>
                    </a:lnTo>
                    <a:lnTo>
                      <a:pt x="20" y="0"/>
                    </a:lnTo>
                    <a:lnTo>
                      <a:pt x="25" y="0"/>
                    </a:lnTo>
                    <a:lnTo>
                      <a:pt x="29" y="2"/>
                    </a:lnTo>
                    <a:lnTo>
                      <a:pt x="36" y="13"/>
                    </a:lnTo>
                    <a:lnTo>
                      <a:pt x="36" y="1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12" name="Freeform 2463"/>
              <p:cNvSpPr>
                <a:spLocks/>
              </p:cNvSpPr>
              <p:nvPr/>
            </p:nvSpPr>
            <p:spPr bwMode="auto">
              <a:xfrm>
                <a:off x="3130" y="3186"/>
                <a:ext cx="37" cy="38"/>
              </a:xfrm>
              <a:custGeom>
                <a:avLst/>
                <a:gdLst>
                  <a:gd name="T0" fmla="*/ 36 w 37"/>
                  <a:gd name="T1" fmla="*/ 14 h 38"/>
                  <a:gd name="T2" fmla="*/ 37 w 37"/>
                  <a:gd name="T3" fmla="*/ 14 h 38"/>
                  <a:gd name="T4" fmla="*/ 37 w 37"/>
                  <a:gd name="T5" fmla="*/ 16 h 38"/>
                  <a:gd name="T6" fmla="*/ 30 w 37"/>
                  <a:gd name="T7" fmla="*/ 29 h 38"/>
                  <a:gd name="T8" fmla="*/ 21 w 37"/>
                  <a:gd name="T9" fmla="*/ 32 h 38"/>
                  <a:gd name="T10" fmla="*/ 18 w 37"/>
                  <a:gd name="T11" fmla="*/ 36 h 38"/>
                  <a:gd name="T12" fmla="*/ 16 w 37"/>
                  <a:gd name="T13" fmla="*/ 38 h 38"/>
                  <a:gd name="T14" fmla="*/ 12 w 37"/>
                  <a:gd name="T15" fmla="*/ 38 h 38"/>
                  <a:gd name="T16" fmla="*/ 4 w 37"/>
                  <a:gd name="T17" fmla="*/ 29 h 38"/>
                  <a:gd name="T18" fmla="*/ 0 w 37"/>
                  <a:gd name="T19" fmla="*/ 21 h 38"/>
                  <a:gd name="T20" fmla="*/ 0 w 37"/>
                  <a:gd name="T21" fmla="*/ 18 h 38"/>
                  <a:gd name="T22" fmla="*/ 12 w 37"/>
                  <a:gd name="T23" fmla="*/ 4 h 38"/>
                  <a:gd name="T24" fmla="*/ 20 w 37"/>
                  <a:gd name="T25" fmla="*/ 0 h 38"/>
                  <a:gd name="T26" fmla="*/ 25 w 37"/>
                  <a:gd name="T27" fmla="*/ 0 h 38"/>
                  <a:gd name="T28" fmla="*/ 29 w 37"/>
                  <a:gd name="T29" fmla="*/ 2 h 38"/>
                  <a:gd name="T30" fmla="*/ 36 w 37"/>
                  <a:gd name="T31" fmla="*/ 13 h 38"/>
                  <a:gd name="T32" fmla="*/ 36 w 37"/>
                  <a:gd name="T33" fmla="*/ 1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38">
                    <a:moveTo>
                      <a:pt x="36" y="14"/>
                    </a:moveTo>
                    <a:lnTo>
                      <a:pt x="37" y="14"/>
                    </a:lnTo>
                    <a:lnTo>
                      <a:pt x="37" y="16"/>
                    </a:lnTo>
                    <a:lnTo>
                      <a:pt x="30" y="29"/>
                    </a:lnTo>
                    <a:lnTo>
                      <a:pt x="21" y="32"/>
                    </a:lnTo>
                    <a:lnTo>
                      <a:pt x="18" y="36"/>
                    </a:lnTo>
                    <a:lnTo>
                      <a:pt x="16" y="38"/>
                    </a:lnTo>
                    <a:lnTo>
                      <a:pt x="12" y="38"/>
                    </a:lnTo>
                    <a:lnTo>
                      <a:pt x="4" y="29"/>
                    </a:lnTo>
                    <a:lnTo>
                      <a:pt x="0" y="21"/>
                    </a:lnTo>
                    <a:lnTo>
                      <a:pt x="0" y="18"/>
                    </a:lnTo>
                    <a:lnTo>
                      <a:pt x="12" y="4"/>
                    </a:lnTo>
                    <a:lnTo>
                      <a:pt x="20" y="0"/>
                    </a:lnTo>
                    <a:lnTo>
                      <a:pt x="25" y="0"/>
                    </a:lnTo>
                    <a:lnTo>
                      <a:pt x="29" y="2"/>
                    </a:lnTo>
                    <a:lnTo>
                      <a:pt x="36" y="13"/>
                    </a:lnTo>
                    <a:lnTo>
                      <a:pt x="36" y="1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13" name="Freeform 2464"/>
              <p:cNvSpPr>
                <a:spLocks/>
              </p:cNvSpPr>
              <p:nvPr/>
            </p:nvSpPr>
            <p:spPr bwMode="auto">
              <a:xfrm>
                <a:off x="2425" y="2254"/>
                <a:ext cx="134" cy="116"/>
              </a:xfrm>
              <a:custGeom>
                <a:avLst/>
                <a:gdLst>
                  <a:gd name="T0" fmla="*/ 59 w 134"/>
                  <a:gd name="T1" fmla="*/ 109 h 116"/>
                  <a:gd name="T2" fmla="*/ 5 w 134"/>
                  <a:gd name="T3" fmla="*/ 109 h 116"/>
                  <a:gd name="T4" fmla="*/ 5 w 134"/>
                  <a:gd name="T5" fmla="*/ 112 h 116"/>
                  <a:gd name="T6" fmla="*/ 1 w 134"/>
                  <a:gd name="T7" fmla="*/ 116 h 116"/>
                  <a:gd name="T8" fmla="*/ 1 w 134"/>
                  <a:gd name="T9" fmla="*/ 114 h 116"/>
                  <a:gd name="T10" fmla="*/ 0 w 134"/>
                  <a:gd name="T11" fmla="*/ 116 h 116"/>
                  <a:gd name="T12" fmla="*/ 1 w 134"/>
                  <a:gd name="T13" fmla="*/ 103 h 116"/>
                  <a:gd name="T14" fmla="*/ 5 w 134"/>
                  <a:gd name="T15" fmla="*/ 96 h 116"/>
                  <a:gd name="T16" fmla="*/ 9 w 134"/>
                  <a:gd name="T17" fmla="*/ 95 h 116"/>
                  <a:gd name="T18" fmla="*/ 14 w 134"/>
                  <a:gd name="T19" fmla="*/ 82 h 116"/>
                  <a:gd name="T20" fmla="*/ 14 w 134"/>
                  <a:gd name="T21" fmla="*/ 80 h 116"/>
                  <a:gd name="T22" fmla="*/ 21 w 134"/>
                  <a:gd name="T23" fmla="*/ 70 h 116"/>
                  <a:gd name="T24" fmla="*/ 21 w 134"/>
                  <a:gd name="T25" fmla="*/ 66 h 116"/>
                  <a:gd name="T26" fmla="*/ 35 w 134"/>
                  <a:gd name="T27" fmla="*/ 46 h 116"/>
                  <a:gd name="T28" fmla="*/ 41 w 134"/>
                  <a:gd name="T29" fmla="*/ 28 h 116"/>
                  <a:gd name="T30" fmla="*/ 46 w 134"/>
                  <a:gd name="T31" fmla="*/ 23 h 116"/>
                  <a:gd name="T32" fmla="*/ 57 w 134"/>
                  <a:gd name="T33" fmla="*/ 16 h 116"/>
                  <a:gd name="T34" fmla="*/ 62 w 134"/>
                  <a:gd name="T35" fmla="*/ 2 h 116"/>
                  <a:gd name="T36" fmla="*/ 64 w 134"/>
                  <a:gd name="T37" fmla="*/ 0 h 116"/>
                  <a:gd name="T38" fmla="*/ 134 w 134"/>
                  <a:gd name="T39" fmla="*/ 0 h 116"/>
                  <a:gd name="T40" fmla="*/ 134 w 134"/>
                  <a:gd name="T41" fmla="*/ 28 h 116"/>
                  <a:gd name="T42" fmla="*/ 82 w 134"/>
                  <a:gd name="T43" fmla="*/ 28 h 116"/>
                  <a:gd name="T44" fmla="*/ 82 w 134"/>
                  <a:gd name="T45" fmla="*/ 73 h 116"/>
                  <a:gd name="T46" fmla="*/ 68 w 134"/>
                  <a:gd name="T47" fmla="*/ 77 h 116"/>
                  <a:gd name="T48" fmla="*/ 66 w 134"/>
                  <a:gd name="T49" fmla="*/ 78 h 116"/>
                  <a:gd name="T50" fmla="*/ 64 w 134"/>
                  <a:gd name="T51" fmla="*/ 84 h 116"/>
                  <a:gd name="T52" fmla="*/ 66 w 134"/>
                  <a:gd name="T53" fmla="*/ 109 h 116"/>
                  <a:gd name="T54" fmla="*/ 59 w 134"/>
                  <a:gd name="T55" fmla="*/ 10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4" h="116">
                    <a:moveTo>
                      <a:pt x="59" y="109"/>
                    </a:moveTo>
                    <a:lnTo>
                      <a:pt x="5" y="109"/>
                    </a:lnTo>
                    <a:lnTo>
                      <a:pt x="5" y="112"/>
                    </a:lnTo>
                    <a:lnTo>
                      <a:pt x="1" y="116"/>
                    </a:lnTo>
                    <a:lnTo>
                      <a:pt x="1" y="114"/>
                    </a:lnTo>
                    <a:lnTo>
                      <a:pt x="0" y="116"/>
                    </a:lnTo>
                    <a:lnTo>
                      <a:pt x="1" y="103"/>
                    </a:lnTo>
                    <a:lnTo>
                      <a:pt x="5" y="96"/>
                    </a:lnTo>
                    <a:lnTo>
                      <a:pt x="9" y="95"/>
                    </a:lnTo>
                    <a:lnTo>
                      <a:pt x="14" y="82"/>
                    </a:lnTo>
                    <a:lnTo>
                      <a:pt x="14" y="80"/>
                    </a:lnTo>
                    <a:lnTo>
                      <a:pt x="21" y="70"/>
                    </a:lnTo>
                    <a:lnTo>
                      <a:pt x="21" y="66"/>
                    </a:lnTo>
                    <a:lnTo>
                      <a:pt x="35" y="46"/>
                    </a:lnTo>
                    <a:lnTo>
                      <a:pt x="41" y="28"/>
                    </a:lnTo>
                    <a:lnTo>
                      <a:pt x="46" y="23"/>
                    </a:lnTo>
                    <a:lnTo>
                      <a:pt x="57" y="16"/>
                    </a:lnTo>
                    <a:lnTo>
                      <a:pt x="62" y="2"/>
                    </a:lnTo>
                    <a:lnTo>
                      <a:pt x="64" y="0"/>
                    </a:lnTo>
                    <a:lnTo>
                      <a:pt x="134" y="0"/>
                    </a:lnTo>
                    <a:lnTo>
                      <a:pt x="134" y="28"/>
                    </a:lnTo>
                    <a:lnTo>
                      <a:pt x="82" y="28"/>
                    </a:lnTo>
                    <a:lnTo>
                      <a:pt x="82" y="73"/>
                    </a:lnTo>
                    <a:lnTo>
                      <a:pt x="68" y="77"/>
                    </a:lnTo>
                    <a:lnTo>
                      <a:pt x="66" y="78"/>
                    </a:lnTo>
                    <a:lnTo>
                      <a:pt x="64" y="84"/>
                    </a:lnTo>
                    <a:lnTo>
                      <a:pt x="66" y="109"/>
                    </a:lnTo>
                    <a:lnTo>
                      <a:pt x="59" y="10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14" name="Freeform 2465"/>
              <p:cNvSpPr>
                <a:spLocks/>
              </p:cNvSpPr>
              <p:nvPr/>
            </p:nvSpPr>
            <p:spPr bwMode="auto">
              <a:xfrm>
                <a:off x="2425" y="2254"/>
                <a:ext cx="134" cy="116"/>
              </a:xfrm>
              <a:custGeom>
                <a:avLst/>
                <a:gdLst>
                  <a:gd name="T0" fmla="*/ 59 w 134"/>
                  <a:gd name="T1" fmla="*/ 109 h 116"/>
                  <a:gd name="T2" fmla="*/ 5 w 134"/>
                  <a:gd name="T3" fmla="*/ 109 h 116"/>
                  <a:gd name="T4" fmla="*/ 5 w 134"/>
                  <a:gd name="T5" fmla="*/ 112 h 116"/>
                  <a:gd name="T6" fmla="*/ 1 w 134"/>
                  <a:gd name="T7" fmla="*/ 116 h 116"/>
                  <a:gd name="T8" fmla="*/ 1 w 134"/>
                  <a:gd name="T9" fmla="*/ 114 h 116"/>
                  <a:gd name="T10" fmla="*/ 0 w 134"/>
                  <a:gd name="T11" fmla="*/ 116 h 116"/>
                  <a:gd name="T12" fmla="*/ 1 w 134"/>
                  <a:gd name="T13" fmla="*/ 103 h 116"/>
                  <a:gd name="T14" fmla="*/ 5 w 134"/>
                  <a:gd name="T15" fmla="*/ 96 h 116"/>
                  <a:gd name="T16" fmla="*/ 9 w 134"/>
                  <a:gd name="T17" fmla="*/ 95 h 116"/>
                  <a:gd name="T18" fmla="*/ 14 w 134"/>
                  <a:gd name="T19" fmla="*/ 82 h 116"/>
                  <a:gd name="T20" fmla="*/ 14 w 134"/>
                  <a:gd name="T21" fmla="*/ 80 h 116"/>
                  <a:gd name="T22" fmla="*/ 21 w 134"/>
                  <a:gd name="T23" fmla="*/ 70 h 116"/>
                  <a:gd name="T24" fmla="*/ 21 w 134"/>
                  <a:gd name="T25" fmla="*/ 66 h 116"/>
                  <a:gd name="T26" fmla="*/ 35 w 134"/>
                  <a:gd name="T27" fmla="*/ 46 h 116"/>
                  <a:gd name="T28" fmla="*/ 41 w 134"/>
                  <a:gd name="T29" fmla="*/ 28 h 116"/>
                  <a:gd name="T30" fmla="*/ 46 w 134"/>
                  <a:gd name="T31" fmla="*/ 23 h 116"/>
                  <a:gd name="T32" fmla="*/ 57 w 134"/>
                  <a:gd name="T33" fmla="*/ 16 h 116"/>
                  <a:gd name="T34" fmla="*/ 62 w 134"/>
                  <a:gd name="T35" fmla="*/ 2 h 116"/>
                  <a:gd name="T36" fmla="*/ 64 w 134"/>
                  <a:gd name="T37" fmla="*/ 0 h 116"/>
                  <a:gd name="T38" fmla="*/ 134 w 134"/>
                  <a:gd name="T39" fmla="*/ 0 h 116"/>
                  <a:gd name="T40" fmla="*/ 134 w 134"/>
                  <a:gd name="T41" fmla="*/ 28 h 116"/>
                  <a:gd name="T42" fmla="*/ 82 w 134"/>
                  <a:gd name="T43" fmla="*/ 28 h 116"/>
                  <a:gd name="T44" fmla="*/ 82 w 134"/>
                  <a:gd name="T45" fmla="*/ 73 h 116"/>
                  <a:gd name="T46" fmla="*/ 68 w 134"/>
                  <a:gd name="T47" fmla="*/ 77 h 116"/>
                  <a:gd name="T48" fmla="*/ 66 w 134"/>
                  <a:gd name="T49" fmla="*/ 78 h 116"/>
                  <a:gd name="T50" fmla="*/ 64 w 134"/>
                  <a:gd name="T51" fmla="*/ 84 h 116"/>
                  <a:gd name="T52" fmla="*/ 66 w 134"/>
                  <a:gd name="T53" fmla="*/ 109 h 116"/>
                  <a:gd name="T54" fmla="*/ 59 w 134"/>
                  <a:gd name="T55" fmla="*/ 10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4" h="116">
                    <a:moveTo>
                      <a:pt x="59" y="109"/>
                    </a:moveTo>
                    <a:lnTo>
                      <a:pt x="5" y="109"/>
                    </a:lnTo>
                    <a:lnTo>
                      <a:pt x="5" y="112"/>
                    </a:lnTo>
                    <a:lnTo>
                      <a:pt x="1" y="116"/>
                    </a:lnTo>
                    <a:lnTo>
                      <a:pt x="1" y="114"/>
                    </a:lnTo>
                    <a:lnTo>
                      <a:pt x="0" y="116"/>
                    </a:lnTo>
                    <a:lnTo>
                      <a:pt x="1" y="103"/>
                    </a:lnTo>
                    <a:lnTo>
                      <a:pt x="5" y="96"/>
                    </a:lnTo>
                    <a:lnTo>
                      <a:pt x="9" y="95"/>
                    </a:lnTo>
                    <a:lnTo>
                      <a:pt x="14" y="82"/>
                    </a:lnTo>
                    <a:lnTo>
                      <a:pt x="14" y="80"/>
                    </a:lnTo>
                    <a:lnTo>
                      <a:pt x="21" y="70"/>
                    </a:lnTo>
                    <a:lnTo>
                      <a:pt x="21" y="66"/>
                    </a:lnTo>
                    <a:lnTo>
                      <a:pt x="35" y="46"/>
                    </a:lnTo>
                    <a:lnTo>
                      <a:pt x="41" y="28"/>
                    </a:lnTo>
                    <a:lnTo>
                      <a:pt x="46" y="23"/>
                    </a:lnTo>
                    <a:lnTo>
                      <a:pt x="57" y="16"/>
                    </a:lnTo>
                    <a:lnTo>
                      <a:pt x="62" y="2"/>
                    </a:lnTo>
                    <a:lnTo>
                      <a:pt x="64" y="0"/>
                    </a:lnTo>
                    <a:lnTo>
                      <a:pt x="134" y="0"/>
                    </a:lnTo>
                    <a:lnTo>
                      <a:pt x="134" y="28"/>
                    </a:lnTo>
                    <a:lnTo>
                      <a:pt x="82" y="28"/>
                    </a:lnTo>
                    <a:lnTo>
                      <a:pt x="82" y="73"/>
                    </a:lnTo>
                    <a:lnTo>
                      <a:pt x="68" y="77"/>
                    </a:lnTo>
                    <a:lnTo>
                      <a:pt x="66" y="78"/>
                    </a:lnTo>
                    <a:lnTo>
                      <a:pt x="64" y="84"/>
                    </a:lnTo>
                    <a:lnTo>
                      <a:pt x="66" y="109"/>
                    </a:lnTo>
                    <a:lnTo>
                      <a:pt x="59" y="10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15" name="Freeform 2466"/>
              <p:cNvSpPr>
                <a:spLocks/>
              </p:cNvSpPr>
              <p:nvPr/>
            </p:nvSpPr>
            <p:spPr bwMode="auto">
              <a:xfrm>
                <a:off x="3366" y="2507"/>
                <a:ext cx="25" cy="31"/>
              </a:xfrm>
              <a:custGeom>
                <a:avLst/>
                <a:gdLst>
                  <a:gd name="T0" fmla="*/ 19 w 25"/>
                  <a:gd name="T1" fmla="*/ 0 h 31"/>
                  <a:gd name="T2" fmla="*/ 7 w 25"/>
                  <a:gd name="T3" fmla="*/ 9 h 31"/>
                  <a:gd name="T4" fmla="*/ 3 w 25"/>
                  <a:gd name="T5" fmla="*/ 18 h 31"/>
                  <a:gd name="T6" fmla="*/ 0 w 25"/>
                  <a:gd name="T7" fmla="*/ 25 h 31"/>
                  <a:gd name="T8" fmla="*/ 0 w 25"/>
                  <a:gd name="T9" fmla="*/ 29 h 31"/>
                  <a:gd name="T10" fmla="*/ 1 w 25"/>
                  <a:gd name="T11" fmla="*/ 31 h 31"/>
                  <a:gd name="T12" fmla="*/ 5 w 25"/>
                  <a:gd name="T13" fmla="*/ 31 h 31"/>
                  <a:gd name="T14" fmla="*/ 7 w 25"/>
                  <a:gd name="T15" fmla="*/ 31 h 31"/>
                  <a:gd name="T16" fmla="*/ 9 w 25"/>
                  <a:gd name="T17" fmla="*/ 31 h 31"/>
                  <a:gd name="T18" fmla="*/ 9 w 25"/>
                  <a:gd name="T19" fmla="*/ 31 h 31"/>
                  <a:gd name="T20" fmla="*/ 9 w 25"/>
                  <a:gd name="T21" fmla="*/ 31 h 31"/>
                  <a:gd name="T22" fmla="*/ 12 w 25"/>
                  <a:gd name="T23" fmla="*/ 29 h 31"/>
                  <a:gd name="T24" fmla="*/ 14 w 25"/>
                  <a:gd name="T25" fmla="*/ 29 h 31"/>
                  <a:gd name="T26" fmla="*/ 18 w 25"/>
                  <a:gd name="T27" fmla="*/ 31 h 31"/>
                  <a:gd name="T28" fmla="*/ 18 w 25"/>
                  <a:gd name="T29" fmla="*/ 31 h 31"/>
                  <a:gd name="T30" fmla="*/ 18 w 25"/>
                  <a:gd name="T31" fmla="*/ 29 h 31"/>
                  <a:gd name="T32" fmla="*/ 21 w 25"/>
                  <a:gd name="T33" fmla="*/ 25 h 31"/>
                  <a:gd name="T34" fmla="*/ 21 w 25"/>
                  <a:gd name="T35" fmla="*/ 24 h 31"/>
                  <a:gd name="T36" fmla="*/ 23 w 25"/>
                  <a:gd name="T37" fmla="*/ 22 h 31"/>
                  <a:gd name="T38" fmla="*/ 21 w 25"/>
                  <a:gd name="T39" fmla="*/ 22 h 31"/>
                  <a:gd name="T40" fmla="*/ 21 w 25"/>
                  <a:gd name="T41" fmla="*/ 22 h 31"/>
                  <a:gd name="T42" fmla="*/ 21 w 25"/>
                  <a:gd name="T43" fmla="*/ 20 h 31"/>
                  <a:gd name="T44" fmla="*/ 18 w 25"/>
                  <a:gd name="T45" fmla="*/ 22 h 31"/>
                  <a:gd name="T46" fmla="*/ 16 w 25"/>
                  <a:gd name="T47" fmla="*/ 22 h 31"/>
                  <a:gd name="T48" fmla="*/ 14 w 25"/>
                  <a:gd name="T49" fmla="*/ 22 h 31"/>
                  <a:gd name="T50" fmla="*/ 14 w 25"/>
                  <a:gd name="T51" fmla="*/ 22 h 31"/>
                  <a:gd name="T52" fmla="*/ 12 w 25"/>
                  <a:gd name="T53" fmla="*/ 22 h 31"/>
                  <a:gd name="T54" fmla="*/ 12 w 25"/>
                  <a:gd name="T55" fmla="*/ 22 h 31"/>
                  <a:gd name="T56" fmla="*/ 10 w 25"/>
                  <a:gd name="T57" fmla="*/ 22 h 31"/>
                  <a:gd name="T58" fmla="*/ 10 w 25"/>
                  <a:gd name="T59" fmla="*/ 20 h 31"/>
                  <a:gd name="T60" fmla="*/ 12 w 25"/>
                  <a:gd name="T61" fmla="*/ 22 h 31"/>
                  <a:gd name="T62" fmla="*/ 14 w 25"/>
                  <a:gd name="T63" fmla="*/ 22 h 31"/>
                  <a:gd name="T64" fmla="*/ 14 w 25"/>
                  <a:gd name="T65" fmla="*/ 20 h 31"/>
                  <a:gd name="T66" fmla="*/ 16 w 25"/>
                  <a:gd name="T67" fmla="*/ 18 h 31"/>
                  <a:gd name="T68" fmla="*/ 16 w 25"/>
                  <a:gd name="T69" fmla="*/ 18 h 31"/>
                  <a:gd name="T70" fmla="*/ 18 w 25"/>
                  <a:gd name="T71" fmla="*/ 17 h 31"/>
                  <a:gd name="T72" fmla="*/ 19 w 25"/>
                  <a:gd name="T73" fmla="*/ 15 h 31"/>
                  <a:gd name="T74" fmla="*/ 23 w 25"/>
                  <a:gd name="T75" fmla="*/ 15 h 31"/>
                  <a:gd name="T76" fmla="*/ 25 w 25"/>
                  <a:gd name="T77" fmla="*/ 13 h 31"/>
                  <a:gd name="T78" fmla="*/ 25 w 25"/>
                  <a:gd name="T79" fmla="*/ 11 h 31"/>
                  <a:gd name="T80" fmla="*/ 23 w 25"/>
                  <a:gd name="T81" fmla="*/ 6 h 31"/>
                  <a:gd name="T82" fmla="*/ 21 w 25"/>
                  <a:gd name="T83" fmla="*/ 6 h 31"/>
                  <a:gd name="T84" fmla="*/ 21 w 25"/>
                  <a:gd name="T85" fmla="*/ 4 h 31"/>
                  <a:gd name="T86" fmla="*/ 19 w 25"/>
                  <a:gd name="T87" fmla="*/ 2 h 31"/>
                  <a:gd name="T88" fmla="*/ 19 w 25"/>
                  <a:gd name="T8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 h="31">
                    <a:moveTo>
                      <a:pt x="19" y="0"/>
                    </a:moveTo>
                    <a:lnTo>
                      <a:pt x="7" y="9"/>
                    </a:lnTo>
                    <a:lnTo>
                      <a:pt x="3" y="18"/>
                    </a:lnTo>
                    <a:lnTo>
                      <a:pt x="0" y="25"/>
                    </a:lnTo>
                    <a:lnTo>
                      <a:pt x="0" y="29"/>
                    </a:lnTo>
                    <a:lnTo>
                      <a:pt x="1" y="31"/>
                    </a:lnTo>
                    <a:lnTo>
                      <a:pt x="5" y="31"/>
                    </a:lnTo>
                    <a:lnTo>
                      <a:pt x="7" y="31"/>
                    </a:lnTo>
                    <a:lnTo>
                      <a:pt x="9" y="31"/>
                    </a:lnTo>
                    <a:lnTo>
                      <a:pt x="9" y="31"/>
                    </a:lnTo>
                    <a:lnTo>
                      <a:pt x="9" y="31"/>
                    </a:lnTo>
                    <a:lnTo>
                      <a:pt x="12" y="29"/>
                    </a:lnTo>
                    <a:lnTo>
                      <a:pt x="14" y="29"/>
                    </a:lnTo>
                    <a:lnTo>
                      <a:pt x="18" y="31"/>
                    </a:lnTo>
                    <a:lnTo>
                      <a:pt x="18" y="31"/>
                    </a:lnTo>
                    <a:lnTo>
                      <a:pt x="18" y="29"/>
                    </a:lnTo>
                    <a:lnTo>
                      <a:pt x="21" y="25"/>
                    </a:lnTo>
                    <a:lnTo>
                      <a:pt x="21" y="24"/>
                    </a:lnTo>
                    <a:lnTo>
                      <a:pt x="23" y="22"/>
                    </a:lnTo>
                    <a:lnTo>
                      <a:pt x="21" y="22"/>
                    </a:lnTo>
                    <a:lnTo>
                      <a:pt x="21" y="22"/>
                    </a:lnTo>
                    <a:lnTo>
                      <a:pt x="21" y="20"/>
                    </a:lnTo>
                    <a:lnTo>
                      <a:pt x="18" y="22"/>
                    </a:lnTo>
                    <a:lnTo>
                      <a:pt x="16" y="22"/>
                    </a:lnTo>
                    <a:lnTo>
                      <a:pt x="14" y="22"/>
                    </a:lnTo>
                    <a:lnTo>
                      <a:pt x="14" y="22"/>
                    </a:lnTo>
                    <a:lnTo>
                      <a:pt x="12" y="22"/>
                    </a:lnTo>
                    <a:lnTo>
                      <a:pt x="12" y="22"/>
                    </a:lnTo>
                    <a:lnTo>
                      <a:pt x="10" y="22"/>
                    </a:lnTo>
                    <a:lnTo>
                      <a:pt x="10" y="20"/>
                    </a:lnTo>
                    <a:lnTo>
                      <a:pt x="12" y="22"/>
                    </a:lnTo>
                    <a:lnTo>
                      <a:pt x="14" y="22"/>
                    </a:lnTo>
                    <a:lnTo>
                      <a:pt x="14" y="20"/>
                    </a:lnTo>
                    <a:lnTo>
                      <a:pt x="16" y="18"/>
                    </a:lnTo>
                    <a:lnTo>
                      <a:pt x="16" y="18"/>
                    </a:lnTo>
                    <a:lnTo>
                      <a:pt x="18" y="17"/>
                    </a:lnTo>
                    <a:lnTo>
                      <a:pt x="19" y="15"/>
                    </a:lnTo>
                    <a:lnTo>
                      <a:pt x="23" y="15"/>
                    </a:lnTo>
                    <a:lnTo>
                      <a:pt x="25" y="13"/>
                    </a:lnTo>
                    <a:lnTo>
                      <a:pt x="25" y="11"/>
                    </a:lnTo>
                    <a:lnTo>
                      <a:pt x="23" y="6"/>
                    </a:lnTo>
                    <a:lnTo>
                      <a:pt x="21" y="6"/>
                    </a:lnTo>
                    <a:lnTo>
                      <a:pt x="21" y="4"/>
                    </a:lnTo>
                    <a:lnTo>
                      <a:pt x="19" y="2"/>
                    </a:lnTo>
                    <a:lnTo>
                      <a:pt x="19"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16" name="Freeform 2467"/>
              <p:cNvSpPr>
                <a:spLocks/>
              </p:cNvSpPr>
              <p:nvPr/>
            </p:nvSpPr>
            <p:spPr bwMode="auto">
              <a:xfrm>
                <a:off x="3366" y="2507"/>
                <a:ext cx="25" cy="31"/>
              </a:xfrm>
              <a:custGeom>
                <a:avLst/>
                <a:gdLst>
                  <a:gd name="T0" fmla="*/ 19 w 25"/>
                  <a:gd name="T1" fmla="*/ 0 h 31"/>
                  <a:gd name="T2" fmla="*/ 7 w 25"/>
                  <a:gd name="T3" fmla="*/ 9 h 31"/>
                  <a:gd name="T4" fmla="*/ 3 w 25"/>
                  <a:gd name="T5" fmla="*/ 18 h 31"/>
                  <a:gd name="T6" fmla="*/ 0 w 25"/>
                  <a:gd name="T7" fmla="*/ 25 h 31"/>
                  <a:gd name="T8" fmla="*/ 0 w 25"/>
                  <a:gd name="T9" fmla="*/ 29 h 31"/>
                  <a:gd name="T10" fmla="*/ 1 w 25"/>
                  <a:gd name="T11" fmla="*/ 31 h 31"/>
                  <a:gd name="T12" fmla="*/ 5 w 25"/>
                  <a:gd name="T13" fmla="*/ 31 h 31"/>
                  <a:gd name="T14" fmla="*/ 7 w 25"/>
                  <a:gd name="T15" fmla="*/ 31 h 31"/>
                  <a:gd name="T16" fmla="*/ 9 w 25"/>
                  <a:gd name="T17" fmla="*/ 31 h 31"/>
                  <a:gd name="T18" fmla="*/ 9 w 25"/>
                  <a:gd name="T19" fmla="*/ 31 h 31"/>
                  <a:gd name="T20" fmla="*/ 9 w 25"/>
                  <a:gd name="T21" fmla="*/ 31 h 31"/>
                  <a:gd name="T22" fmla="*/ 12 w 25"/>
                  <a:gd name="T23" fmla="*/ 29 h 31"/>
                  <a:gd name="T24" fmla="*/ 14 w 25"/>
                  <a:gd name="T25" fmla="*/ 29 h 31"/>
                  <a:gd name="T26" fmla="*/ 18 w 25"/>
                  <a:gd name="T27" fmla="*/ 31 h 31"/>
                  <a:gd name="T28" fmla="*/ 18 w 25"/>
                  <a:gd name="T29" fmla="*/ 31 h 31"/>
                  <a:gd name="T30" fmla="*/ 18 w 25"/>
                  <a:gd name="T31" fmla="*/ 29 h 31"/>
                  <a:gd name="T32" fmla="*/ 21 w 25"/>
                  <a:gd name="T33" fmla="*/ 25 h 31"/>
                  <a:gd name="T34" fmla="*/ 21 w 25"/>
                  <a:gd name="T35" fmla="*/ 24 h 31"/>
                  <a:gd name="T36" fmla="*/ 23 w 25"/>
                  <a:gd name="T37" fmla="*/ 22 h 31"/>
                  <a:gd name="T38" fmla="*/ 21 w 25"/>
                  <a:gd name="T39" fmla="*/ 22 h 31"/>
                  <a:gd name="T40" fmla="*/ 21 w 25"/>
                  <a:gd name="T41" fmla="*/ 22 h 31"/>
                  <a:gd name="T42" fmla="*/ 21 w 25"/>
                  <a:gd name="T43" fmla="*/ 20 h 31"/>
                  <a:gd name="T44" fmla="*/ 18 w 25"/>
                  <a:gd name="T45" fmla="*/ 22 h 31"/>
                  <a:gd name="T46" fmla="*/ 16 w 25"/>
                  <a:gd name="T47" fmla="*/ 22 h 31"/>
                  <a:gd name="T48" fmla="*/ 14 w 25"/>
                  <a:gd name="T49" fmla="*/ 22 h 31"/>
                  <a:gd name="T50" fmla="*/ 14 w 25"/>
                  <a:gd name="T51" fmla="*/ 22 h 31"/>
                  <a:gd name="T52" fmla="*/ 12 w 25"/>
                  <a:gd name="T53" fmla="*/ 22 h 31"/>
                  <a:gd name="T54" fmla="*/ 12 w 25"/>
                  <a:gd name="T55" fmla="*/ 22 h 31"/>
                  <a:gd name="T56" fmla="*/ 10 w 25"/>
                  <a:gd name="T57" fmla="*/ 22 h 31"/>
                  <a:gd name="T58" fmla="*/ 10 w 25"/>
                  <a:gd name="T59" fmla="*/ 20 h 31"/>
                  <a:gd name="T60" fmla="*/ 12 w 25"/>
                  <a:gd name="T61" fmla="*/ 22 h 31"/>
                  <a:gd name="T62" fmla="*/ 14 w 25"/>
                  <a:gd name="T63" fmla="*/ 22 h 31"/>
                  <a:gd name="T64" fmla="*/ 14 w 25"/>
                  <a:gd name="T65" fmla="*/ 20 h 31"/>
                  <a:gd name="T66" fmla="*/ 16 w 25"/>
                  <a:gd name="T67" fmla="*/ 18 h 31"/>
                  <a:gd name="T68" fmla="*/ 16 w 25"/>
                  <a:gd name="T69" fmla="*/ 18 h 31"/>
                  <a:gd name="T70" fmla="*/ 18 w 25"/>
                  <a:gd name="T71" fmla="*/ 17 h 31"/>
                  <a:gd name="T72" fmla="*/ 19 w 25"/>
                  <a:gd name="T73" fmla="*/ 15 h 31"/>
                  <a:gd name="T74" fmla="*/ 23 w 25"/>
                  <a:gd name="T75" fmla="*/ 15 h 31"/>
                  <a:gd name="T76" fmla="*/ 25 w 25"/>
                  <a:gd name="T77" fmla="*/ 13 h 31"/>
                  <a:gd name="T78" fmla="*/ 25 w 25"/>
                  <a:gd name="T79" fmla="*/ 11 h 31"/>
                  <a:gd name="T80" fmla="*/ 23 w 25"/>
                  <a:gd name="T81" fmla="*/ 6 h 31"/>
                  <a:gd name="T82" fmla="*/ 21 w 25"/>
                  <a:gd name="T83" fmla="*/ 6 h 31"/>
                  <a:gd name="T84" fmla="*/ 21 w 25"/>
                  <a:gd name="T85" fmla="*/ 4 h 31"/>
                  <a:gd name="T86" fmla="*/ 19 w 25"/>
                  <a:gd name="T87" fmla="*/ 2 h 31"/>
                  <a:gd name="T88" fmla="*/ 19 w 25"/>
                  <a:gd name="T8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 h="31">
                    <a:moveTo>
                      <a:pt x="19" y="0"/>
                    </a:moveTo>
                    <a:lnTo>
                      <a:pt x="7" y="9"/>
                    </a:lnTo>
                    <a:lnTo>
                      <a:pt x="3" y="18"/>
                    </a:lnTo>
                    <a:lnTo>
                      <a:pt x="0" y="25"/>
                    </a:lnTo>
                    <a:lnTo>
                      <a:pt x="0" y="29"/>
                    </a:lnTo>
                    <a:lnTo>
                      <a:pt x="1" y="31"/>
                    </a:lnTo>
                    <a:lnTo>
                      <a:pt x="5" y="31"/>
                    </a:lnTo>
                    <a:lnTo>
                      <a:pt x="7" y="31"/>
                    </a:lnTo>
                    <a:lnTo>
                      <a:pt x="9" y="31"/>
                    </a:lnTo>
                    <a:lnTo>
                      <a:pt x="9" y="31"/>
                    </a:lnTo>
                    <a:lnTo>
                      <a:pt x="9" y="31"/>
                    </a:lnTo>
                    <a:lnTo>
                      <a:pt x="12" y="29"/>
                    </a:lnTo>
                    <a:lnTo>
                      <a:pt x="14" y="29"/>
                    </a:lnTo>
                    <a:lnTo>
                      <a:pt x="18" y="31"/>
                    </a:lnTo>
                    <a:lnTo>
                      <a:pt x="18" y="31"/>
                    </a:lnTo>
                    <a:lnTo>
                      <a:pt x="18" y="29"/>
                    </a:lnTo>
                    <a:lnTo>
                      <a:pt x="21" y="25"/>
                    </a:lnTo>
                    <a:lnTo>
                      <a:pt x="21" y="24"/>
                    </a:lnTo>
                    <a:lnTo>
                      <a:pt x="23" y="22"/>
                    </a:lnTo>
                    <a:lnTo>
                      <a:pt x="21" y="22"/>
                    </a:lnTo>
                    <a:lnTo>
                      <a:pt x="21" y="22"/>
                    </a:lnTo>
                    <a:lnTo>
                      <a:pt x="21" y="20"/>
                    </a:lnTo>
                    <a:lnTo>
                      <a:pt x="18" y="22"/>
                    </a:lnTo>
                    <a:lnTo>
                      <a:pt x="16" y="22"/>
                    </a:lnTo>
                    <a:lnTo>
                      <a:pt x="14" y="22"/>
                    </a:lnTo>
                    <a:lnTo>
                      <a:pt x="14" y="22"/>
                    </a:lnTo>
                    <a:lnTo>
                      <a:pt x="12" y="22"/>
                    </a:lnTo>
                    <a:lnTo>
                      <a:pt x="12" y="22"/>
                    </a:lnTo>
                    <a:lnTo>
                      <a:pt x="10" y="22"/>
                    </a:lnTo>
                    <a:lnTo>
                      <a:pt x="10" y="20"/>
                    </a:lnTo>
                    <a:lnTo>
                      <a:pt x="12" y="22"/>
                    </a:lnTo>
                    <a:lnTo>
                      <a:pt x="14" y="22"/>
                    </a:lnTo>
                    <a:lnTo>
                      <a:pt x="14" y="20"/>
                    </a:lnTo>
                    <a:lnTo>
                      <a:pt x="16" y="18"/>
                    </a:lnTo>
                    <a:lnTo>
                      <a:pt x="16" y="18"/>
                    </a:lnTo>
                    <a:lnTo>
                      <a:pt x="18" y="17"/>
                    </a:lnTo>
                    <a:lnTo>
                      <a:pt x="19" y="15"/>
                    </a:lnTo>
                    <a:lnTo>
                      <a:pt x="23" y="15"/>
                    </a:lnTo>
                    <a:lnTo>
                      <a:pt x="25" y="13"/>
                    </a:lnTo>
                    <a:lnTo>
                      <a:pt x="25" y="11"/>
                    </a:lnTo>
                    <a:lnTo>
                      <a:pt x="23" y="6"/>
                    </a:lnTo>
                    <a:lnTo>
                      <a:pt x="21" y="6"/>
                    </a:lnTo>
                    <a:lnTo>
                      <a:pt x="21" y="4"/>
                    </a:lnTo>
                    <a:lnTo>
                      <a:pt x="19" y="2"/>
                    </a:lnTo>
                    <a:lnTo>
                      <a:pt x="19"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17" name="Freeform 2468"/>
              <p:cNvSpPr>
                <a:spLocks/>
              </p:cNvSpPr>
              <p:nvPr/>
            </p:nvSpPr>
            <p:spPr bwMode="auto">
              <a:xfrm>
                <a:off x="3785" y="2099"/>
                <a:ext cx="470" cy="485"/>
              </a:xfrm>
              <a:custGeom>
                <a:avLst/>
                <a:gdLst>
                  <a:gd name="T0" fmla="*/ 98 w 470"/>
                  <a:gd name="T1" fmla="*/ 378 h 485"/>
                  <a:gd name="T2" fmla="*/ 159 w 470"/>
                  <a:gd name="T3" fmla="*/ 476 h 485"/>
                  <a:gd name="T4" fmla="*/ 195 w 470"/>
                  <a:gd name="T5" fmla="*/ 400 h 485"/>
                  <a:gd name="T6" fmla="*/ 195 w 470"/>
                  <a:gd name="T7" fmla="*/ 360 h 485"/>
                  <a:gd name="T8" fmla="*/ 256 w 470"/>
                  <a:gd name="T9" fmla="*/ 317 h 485"/>
                  <a:gd name="T10" fmla="*/ 316 w 470"/>
                  <a:gd name="T11" fmla="*/ 258 h 485"/>
                  <a:gd name="T12" fmla="*/ 329 w 470"/>
                  <a:gd name="T13" fmla="*/ 262 h 485"/>
                  <a:gd name="T14" fmla="*/ 329 w 470"/>
                  <a:gd name="T15" fmla="*/ 239 h 485"/>
                  <a:gd name="T16" fmla="*/ 316 w 470"/>
                  <a:gd name="T17" fmla="*/ 205 h 485"/>
                  <a:gd name="T18" fmla="*/ 320 w 470"/>
                  <a:gd name="T19" fmla="*/ 189 h 485"/>
                  <a:gd name="T20" fmla="*/ 341 w 470"/>
                  <a:gd name="T21" fmla="*/ 185 h 485"/>
                  <a:gd name="T22" fmla="*/ 384 w 470"/>
                  <a:gd name="T23" fmla="*/ 205 h 485"/>
                  <a:gd name="T24" fmla="*/ 384 w 470"/>
                  <a:gd name="T25" fmla="*/ 225 h 485"/>
                  <a:gd name="T26" fmla="*/ 404 w 470"/>
                  <a:gd name="T27" fmla="*/ 241 h 485"/>
                  <a:gd name="T28" fmla="*/ 434 w 470"/>
                  <a:gd name="T29" fmla="*/ 189 h 485"/>
                  <a:gd name="T30" fmla="*/ 464 w 470"/>
                  <a:gd name="T31" fmla="*/ 155 h 485"/>
                  <a:gd name="T32" fmla="*/ 450 w 470"/>
                  <a:gd name="T33" fmla="*/ 128 h 485"/>
                  <a:gd name="T34" fmla="*/ 411 w 470"/>
                  <a:gd name="T35" fmla="*/ 137 h 485"/>
                  <a:gd name="T36" fmla="*/ 386 w 470"/>
                  <a:gd name="T37" fmla="*/ 166 h 485"/>
                  <a:gd name="T38" fmla="*/ 332 w 470"/>
                  <a:gd name="T39" fmla="*/ 169 h 485"/>
                  <a:gd name="T40" fmla="*/ 332 w 470"/>
                  <a:gd name="T41" fmla="*/ 155 h 485"/>
                  <a:gd name="T42" fmla="*/ 316 w 470"/>
                  <a:gd name="T43" fmla="*/ 167 h 485"/>
                  <a:gd name="T44" fmla="*/ 284 w 470"/>
                  <a:gd name="T45" fmla="*/ 175 h 485"/>
                  <a:gd name="T46" fmla="*/ 243 w 470"/>
                  <a:gd name="T47" fmla="*/ 162 h 485"/>
                  <a:gd name="T48" fmla="*/ 206 w 470"/>
                  <a:gd name="T49" fmla="*/ 142 h 485"/>
                  <a:gd name="T50" fmla="*/ 193 w 470"/>
                  <a:gd name="T51" fmla="*/ 132 h 485"/>
                  <a:gd name="T52" fmla="*/ 200 w 470"/>
                  <a:gd name="T53" fmla="*/ 114 h 485"/>
                  <a:gd name="T54" fmla="*/ 198 w 470"/>
                  <a:gd name="T55" fmla="*/ 105 h 485"/>
                  <a:gd name="T56" fmla="*/ 184 w 470"/>
                  <a:gd name="T57" fmla="*/ 94 h 485"/>
                  <a:gd name="T58" fmla="*/ 170 w 470"/>
                  <a:gd name="T59" fmla="*/ 87 h 485"/>
                  <a:gd name="T60" fmla="*/ 170 w 470"/>
                  <a:gd name="T61" fmla="*/ 64 h 485"/>
                  <a:gd name="T62" fmla="*/ 181 w 470"/>
                  <a:gd name="T63" fmla="*/ 66 h 485"/>
                  <a:gd name="T64" fmla="*/ 177 w 470"/>
                  <a:gd name="T65" fmla="*/ 53 h 485"/>
                  <a:gd name="T66" fmla="*/ 177 w 470"/>
                  <a:gd name="T67" fmla="*/ 39 h 485"/>
                  <a:gd name="T68" fmla="*/ 190 w 470"/>
                  <a:gd name="T69" fmla="*/ 26 h 485"/>
                  <a:gd name="T70" fmla="*/ 193 w 470"/>
                  <a:gd name="T71" fmla="*/ 10 h 485"/>
                  <a:gd name="T72" fmla="*/ 184 w 470"/>
                  <a:gd name="T73" fmla="*/ 1 h 485"/>
                  <a:gd name="T74" fmla="*/ 161 w 470"/>
                  <a:gd name="T75" fmla="*/ 8 h 485"/>
                  <a:gd name="T76" fmla="*/ 141 w 470"/>
                  <a:gd name="T77" fmla="*/ 25 h 485"/>
                  <a:gd name="T78" fmla="*/ 123 w 470"/>
                  <a:gd name="T79" fmla="*/ 28 h 485"/>
                  <a:gd name="T80" fmla="*/ 95 w 470"/>
                  <a:gd name="T81" fmla="*/ 23 h 485"/>
                  <a:gd name="T82" fmla="*/ 93 w 470"/>
                  <a:gd name="T83" fmla="*/ 35 h 485"/>
                  <a:gd name="T84" fmla="*/ 98 w 470"/>
                  <a:gd name="T85" fmla="*/ 48 h 485"/>
                  <a:gd name="T86" fmla="*/ 106 w 470"/>
                  <a:gd name="T87" fmla="*/ 60 h 485"/>
                  <a:gd name="T88" fmla="*/ 115 w 470"/>
                  <a:gd name="T89" fmla="*/ 75 h 485"/>
                  <a:gd name="T90" fmla="*/ 107 w 470"/>
                  <a:gd name="T91" fmla="*/ 87 h 485"/>
                  <a:gd name="T92" fmla="*/ 106 w 470"/>
                  <a:gd name="T93" fmla="*/ 94 h 485"/>
                  <a:gd name="T94" fmla="*/ 86 w 470"/>
                  <a:gd name="T95" fmla="*/ 116 h 485"/>
                  <a:gd name="T96" fmla="*/ 41 w 470"/>
                  <a:gd name="T97" fmla="*/ 150 h 485"/>
                  <a:gd name="T98" fmla="*/ 34 w 470"/>
                  <a:gd name="T99" fmla="*/ 176 h 485"/>
                  <a:gd name="T100" fmla="*/ 41 w 470"/>
                  <a:gd name="T101" fmla="*/ 198 h 485"/>
                  <a:gd name="T102" fmla="*/ 48 w 470"/>
                  <a:gd name="T103" fmla="*/ 214 h 485"/>
                  <a:gd name="T104" fmla="*/ 40 w 470"/>
                  <a:gd name="T105" fmla="*/ 212 h 485"/>
                  <a:gd name="T106" fmla="*/ 13 w 470"/>
                  <a:gd name="T107" fmla="*/ 216 h 485"/>
                  <a:gd name="T108" fmla="*/ 0 w 470"/>
                  <a:gd name="T109" fmla="*/ 225 h 485"/>
                  <a:gd name="T110" fmla="*/ 29 w 470"/>
                  <a:gd name="T111" fmla="*/ 248 h 485"/>
                  <a:gd name="T112" fmla="*/ 65 w 470"/>
                  <a:gd name="T113" fmla="*/ 264 h 485"/>
                  <a:gd name="T114" fmla="*/ 72 w 470"/>
                  <a:gd name="T115" fmla="*/ 260 h 485"/>
                  <a:gd name="T116" fmla="*/ 75 w 470"/>
                  <a:gd name="T117" fmla="*/ 305 h 485"/>
                  <a:gd name="T118" fmla="*/ 86 w 470"/>
                  <a:gd name="T119" fmla="*/ 353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0" h="485">
                    <a:moveTo>
                      <a:pt x="90" y="360"/>
                    </a:moveTo>
                    <a:lnTo>
                      <a:pt x="90" y="360"/>
                    </a:lnTo>
                    <a:lnTo>
                      <a:pt x="91" y="364"/>
                    </a:lnTo>
                    <a:lnTo>
                      <a:pt x="91" y="366"/>
                    </a:lnTo>
                    <a:lnTo>
                      <a:pt x="91" y="364"/>
                    </a:lnTo>
                    <a:lnTo>
                      <a:pt x="93" y="364"/>
                    </a:lnTo>
                    <a:lnTo>
                      <a:pt x="93" y="366"/>
                    </a:lnTo>
                    <a:lnTo>
                      <a:pt x="93" y="367"/>
                    </a:lnTo>
                    <a:lnTo>
                      <a:pt x="95" y="373"/>
                    </a:lnTo>
                    <a:lnTo>
                      <a:pt x="97" y="376"/>
                    </a:lnTo>
                    <a:lnTo>
                      <a:pt x="98" y="378"/>
                    </a:lnTo>
                    <a:lnTo>
                      <a:pt x="111" y="417"/>
                    </a:lnTo>
                    <a:lnTo>
                      <a:pt x="122" y="430"/>
                    </a:lnTo>
                    <a:lnTo>
                      <a:pt x="134" y="466"/>
                    </a:lnTo>
                    <a:lnTo>
                      <a:pt x="148" y="485"/>
                    </a:lnTo>
                    <a:lnTo>
                      <a:pt x="154" y="483"/>
                    </a:lnTo>
                    <a:lnTo>
                      <a:pt x="156" y="482"/>
                    </a:lnTo>
                    <a:lnTo>
                      <a:pt x="156" y="482"/>
                    </a:lnTo>
                    <a:lnTo>
                      <a:pt x="157" y="480"/>
                    </a:lnTo>
                    <a:lnTo>
                      <a:pt x="159" y="478"/>
                    </a:lnTo>
                    <a:lnTo>
                      <a:pt x="161" y="476"/>
                    </a:lnTo>
                    <a:lnTo>
                      <a:pt x="159" y="476"/>
                    </a:lnTo>
                    <a:lnTo>
                      <a:pt x="163" y="469"/>
                    </a:lnTo>
                    <a:lnTo>
                      <a:pt x="168" y="467"/>
                    </a:lnTo>
                    <a:lnTo>
                      <a:pt x="173" y="466"/>
                    </a:lnTo>
                    <a:lnTo>
                      <a:pt x="173" y="460"/>
                    </a:lnTo>
                    <a:lnTo>
                      <a:pt x="179" y="450"/>
                    </a:lnTo>
                    <a:lnTo>
                      <a:pt x="184" y="448"/>
                    </a:lnTo>
                    <a:lnTo>
                      <a:pt x="184" y="450"/>
                    </a:lnTo>
                    <a:lnTo>
                      <a:pt x="188" y="450"/>
                    </a:lnTo>
                    <a:lnTo>
                      <a:pt x="188" y="425"/>
                    </a:lnTo>
                    <a:lnTo>
                      <a:pt x="195" y="403"/>
                    </a:lnTo>
                    <a:lnTo>
                      <a:pt x="195" y="400"/>
                    </a:lnTo>
                    <a:lnTo>
                      <a:pt x="193" y="398"/>
                    </a:lnTo>
                    <a:lnTo>
                      <a:pt x="193" y="396"/>
                    </a:lnTo>
                    <a:lnTo>
                      <a:pt x="191" y="396"/>
                    </a:lnTo>
                    <a:lnTo>
                      <a:pt x="193" y="394"/>
                    </a:lnTo>
                    <a:lnTo>
                      <a:pt x="193" y="396"/>
                    </a:lnTo>
                    <a:lnTo>
                      <a:pt x="191" y="385"/>
                    </a:lnTo>
                    <a:lnTo>
                      <a:pt x="193" y="383"/>
                    </a:lnTo>
                    <a:lnTo>
                      <a:pt x="193" y="380"/>
                    </a:lnTo>
                    <a:lnTo>
                      <a:pt x="191" y="378"/>
                    </a:lnTo>
                    <a:lnTo>
                      <a:pt x="191" y="367"/>
                    </a:lnTo>
                    <a:lnTo>
                      <a:pt x="195" y="360"/>
                    </a:lnTo>
                    <a:lnTo>
                      <a:pt x="198" y="358"/>
                    </a:lnTo>
                    <a:lnTo>
                      <a:pt x="200" y="358"/>
                    </a:lnTo>
                    <a:lnTo>
                      <a:pt x="204" y="360"/>
                    </a:lnTo>
                    <a:lnTo>
                      <a:pt x="206" y="360"/>
                    </a:lnTo>
                    <a:lnTo>
                      <a:pt x="209" y="353"/>
                    </a:lnTo>
                    <a:lnTo>
                      <a:pt x="211" y="351"/>
                    </a:lnTo>
                    <a:lnTo>
                      <a:pt x="225" y="348"/>
                    </a:lnTo>
                    <a:lnTo>
                      <a:pt x="227" y="346"/>
                    </a:lnTo>
                    <a:lnTo>
                      <a:pt x="227" y="342"/>
                    </a:lnTo>
                    <a:lnTo>
                      <a:pt x="229" y="339"/>
                    </a:lnTo>
                    <a:lnTo>
                      <a:pt x="256" y="317"/>
                    </a:lnTo>
                    <a:lnTo>
                      <a:pt x="256" y="317"/>
                    </a:lnTo>
                    <a:lnTo>
                      <a:pt x="257" y="317"/>
                    </a:lnTo>
                    <a:lnTo>
                      <a:pt x="270" y="301"/>
                    </a:lnTo>
                    <a:lnTo>
                      <a:pt x="291" y="291"/>
                    </a:lnTo>
                    <a:lnTo>
                      <a:pt x="291" y="291"/>
                    </a:lnTo>
                    <a:lnTo>
                      <a:pt x="298" y="283"/>
                    </a:lnTo>
                    <a:lnTo>
                      <a:pt x="300" y="282"/>
                    </a:lnTo>
                    <a:lnTo>
                      <a:pt x="302" y="278"/>
                    </a:lnTo>
                    <a:lnTo>
                      <a:pt x="300" y="271"/>
                    </a:lnTo>
                    <a:lnTo>
                      <a:pt x="302" y="266"/>
                    </a:lnTo>
                    <a:lnTo>
                      <a:pt x="316" y="258"/>
                    </a:lnTo>
                    <a:lnTo>
                      <a:pt x="318" y="255"/>
                    </a:lnTo>
                    <a:lnTo>
                      <a:pt x="320" y="253"/>
                    </a:lnTo>
                    <a:lnTo>
                      <a:pt x="322" y="253"/>
                    </a:lnTo>
                    <a:lnTo>
                      <a:pt x="320" y="260"/>
                    </a:lnTo>
                    <a:lnTo>
                      <a:pt x="320" y="260"/>
                    </a:lnTo>
                    <a:lnTo>
                      <a:pt x="322" y="260"/>
                    </a:lnTo>
                    <a:lnTo>
                      <a:pt x="322" y="260"/>
                    </a:lnTo>
                    <a:lnTo>
                      <a:pt x="323" y="264"/>
                    </a:lnTo>
                    <a:lnTo>
                      <a:pt x="325" y="262"/>
                    </a:lnTo>
                    <a:lnTo>
                      <a:pt x="327" y="262"/>
                    </a:lnTo>
                    <a:lnTo>
                      <a:pt x="329" y="262"/>
                    </a:lnTo>
                    <a:lnTo>
                      <a:pt x="329" y="260"/>
                    </a:lnTo>
                    <a:lnTo>
                      <a:pt x="329" y="258"/>
                    </a:lnTo>
                    <a:lnTo>
                      <a:pt x="331" y="262"/>
                    </a:lnTo>
                    <a:lnTo>
                      <a:pt x="331" y="262"/>
                    </a:lnTo>
                    <a:lnTo>
                      <a:pt x="334" y="262"/>
                    </a:lnTo>
                    <a:lnTo>
                      <a:pt x="332" y="257"/>
                    </a:lnTo>
                    <a:lnTo>
                      <a:pt x="332" y="257"/>
                    </a:lnTo>
                    <a:lnTo>
                      <a:pt x="331" y="246"/>
                    </a:lnTo>
                    <a:lnTo>
                      <a:pt x="329" y="244"/>
                    </a:lnTo>
                    <a:lnTo>
                      <a:pt x="329" y="242"/>
                    </a:lnTo>
                    <a:lnTo>
                      <a:pt x="329" y="239"/>
                    </a:lnTo>
                    <a:lnTo>
                      <a:pt x="329" y="239"/>
                    </a:lnTo>
                    <a:lnTo>
                      <a:pt x="329" y="235"/>
                    </a:lnTo>
                    <a:lnTo>
                      <a:pt x="329" y="233"/>
                    </a:lnTo>
                    <a:lnTo>
                      <a:pt x="327" y="233"/>
                    </a:lnTo>
                    <a:lnTo>
                      <a:pt x="327" y="228"/>
                    </a:lnTo>
                    <a:lnTo>
                      <a:pt x="325" y="226"/>
                    </a:lnTo>
                    <a:lnTo>
                      <a:pt x="327" y="216"/>
                    </a:lnTo>
                    <a:lnTo>
                      <a:pt x="325" y="212"/>
                    </a:lnTo>
                    <a:lnTo>
                      <a:pt x="316" y="208"/>
                    </a:lnTo>
                    <a:lnTo>
                      <a:pt x="316" y="207"/>
                    </a:lnTo>
                    <a:lnTo>
                      <a:pt x="316" y="205"/>
                    </a:lnTo>
                    <a:lnTo>
                      <a:pt x="318" y="203"/>
                    </a:lnTo>
                    <a:lnTo>
                      <a:pt x="320" y="201"/>
                    </a:lnTo>
                    <a:lnTo>
                      <a:pt x="322" y="201"/>
                    </a:lnTo>
                    <a:lnTo>
                      <a:pt x="323" y="200"/>
                    </a:lnTo>
                    <a:lnTo>
                      <a:pt x="329" y="198"/>
                    </a:lnTo>
                    <a:lnTo>
                      <a:pt x="329" y="196"/>
                    </a:lnTo>
                    <a:lnTo>
                      <a:pt x="327" y="194"/>
                    </a:lnTo>
                    <a:lnTo>
                      <a:pt x="327" y="194"/>
                    </a:lnTo>
                    <a:lnTo>
                      <a:pt x="323" y="194"/>
                    </a:lnTo>
                    <a:lnTo>
                      <a:pt x="322" y="192"/>
                    </a:lnTo>
                    <a:lnTo>
                      <a:pt x="320" y="189"/>
                    </a:lnTo>
                    <a:lnTo>
                      <a:pt x="320" y="187"/>
                    </a:lnTo>
                    <a:lnTo>
                      <a:pt x="323" y="180"/>
                    </a:lnTo>
                    <a:lnTo>
                      <a:pt x="325" y="176"/>
                    </a:lnTo>
                    <a:lnTo>
                      <a:pt x="325" y="176"/>
                    </a:lnTo>
                    <a:lnTo>
                      <a:pt x="331" y="183"/>
                    </a:lnTo>
                    <a:lnTo>
                      <a:pt x="332" y="178"/>
                    </a:lnTo>
                    <a:lnTo>
                      <a:pt x="334" y="178"/>
                    </a:lnTo>
                    <a:lnTo>
                      <a:pt x="334" y="183"/>
                    </a:lnTo>
                    <a:lnTo>
                      <a:pt x="336" y="185"/>
                    </a:lnTo>
                    <a:lnTo>
                      <a:pt x="338" y="183"/>
                    </a:lnTo>
                    <a:lnTo>
                      <a:pt x="341" y="185"/>
                    </a:lnTo>
                    <a:lnTo>
                      <a:pt x="343" y="182"/>
                    </a:lnTo>
                    <a:lnTo>
                      <a:pt x="343" y="183"/>
                    </a:lnTo>
                    <a:lnTo>
                      <a:pt x="347" y="194"/>
                    </a:lnTo>
                    <a:lnTo>
                      <a:pt x="348" y="196"/>
                    </a:lnTo>
                    <a:lnTo>
                      <a:pt x="350" y="198"/>
                    </a:lnTo>
                    <a:lnTo>
                      <a:pt x="364" y="200"/>
                    </a:lnTo>
                    <a:lnTo>
                      <a:pt x="364" y="198"/>
                    </a:lnTo>
                    <a:lnTo>
                      <a:pt x="375" y="198"/>
                    </a:lnTo>
                    <a:lnTo>
                      <a:pt x="388" y="201"/>
                    </a:lnTo>
                    <a:lnTo>
                      <a:pt x="386" y="203"/>
                    </a:lnTo>
                    <a:lnTo>
                      <a:pt x="384" y="205"/>
                    </a:lnTo>
                    <a:lnTo>
                      <a:pt x="382" y="208"/>
                    </a:lnTo>
                    <a:lnTo>
                      <a:pt x="375" y="216"/>
                    </a:lnTo>
                    <a:lnTo>
                      <a:pt x="368" y="219"/>
                    </a:lnTo>
                    <a:lnTo>
                      <a:pt x="368" y="223"/>
                    </a:lnTo>
                    <a:lnTo>
                      <a:pt x="370" y="232"/>
                    </a:lnTo>
                    <a:lnTo>
                      <a:pt x="373" y="233"/>
                    </a:lnTo>
                    <a:lnTo>
                      <a:pt x="375" y="235"/>
                    </a:lnTo>
                    <a:lnTo>
                      <a:pt x="377" y="237"/>
                    </a:lnTo>
                    <a:lnTo>
                      <a:pt x="381" y="228"/>
                    </a:lnTo>
                    <a:lnTo>
                      <a:pt x="382" y="225"/>
                    </a:lnTo>
                    <a:lnTo>
                      <a:pt x="384" y="225"/>
                    </a:lnTo>
                    <a:lnTo>
                      <a:pt x="393" y="257"/>
                    </a:lnTo>
                    <a:lnTo>
                      <a:pt x="393" y="257"/>
                    </a:lnTo>
                    <a:lnTo>
                      <a:pt x="395" y="255"/>
                    </a:lnTo>
                    <a:lnTo>
                      <a:pt x="398" y="255"/>
                    </a:lnTo>
                    <a:lnTo>
                      <a:pt x="398" y="255"/>
                    </a:lnTo>
                    <a:lnTo>
                      <a:pt x="400" y="253"/>
                    </a:lnTo>
                    <a:lnTo>
                      <a:pt x="400" y="251"/>
                    </a:lnTo>
                    <a:lnTo>
                      <a:pt x="400" y="251"/>
                    </a:lnTo>
                    <a:lnTo>
                      <a:pt x="400" y="248"/>
                    </a:lnTo>
                    <a:lnTo>
                      <a:pt x="400" y="241"/>
                    </a:lnTo>
                    <a:lnTo>
                      <a:pt x="404" y="241"/>
                    </a:lnTo>
                    <a:lnTo>
                      <a:pt x="404" y="239"/>
                    </a:lnTo>
                    <a:lnTo>
                      <a:pt x="404" y="225"/>
                    </a:lnTo>
                    <a:lnTo>
                      <a:pt x="407" y="223"/>
                    </a:lnTo>
                    <a:lnTo>
                      <a:pt x="411" y="223"/>
                    </a:lnTo>
                    <a:lnTo>
                      <a:pt x="416" y="223"/>
                    </a:lnTo>
                    <a:lnTo>
                      <a:pt x="418" y="221"/>
                    </a:lnTo>
                    <a:lnTo>
                      <a:pt x="427" y="201"/>
                    </a:lnTo>
                    <a:lnTo>
                      <a:pt x="425" y="200"/>
                    </a:lnTo>
                    <a:lnTo>
                      <a:pt x="427" y="196"/>
                    </a:lnTo>
                    <a:lnTo>
                      <a:pt x="432" y="194"/>
                    </a:lnTo>
                    <a:lnTo>
                      <a:pt x="434" y="189"/>
                    </a:lnTo>
                    <a:lnTo>
                      <a:pt x="434" y="182"/>
                    </a:lnTo>
                    <a:lnTo>
                      <a:pt x="436" y="176"/>
                    </a:lnTo>
                    <a:lnTo>
                      <a:pt x="439" y="173"/>
                    </a:lnTo>
                    <a:lnTo>
                      <a:pt x="445" y="171"/>
                    </a:lnTo>
                    <a:lnTo>
                      <a:pt x="448" y="166"/>
                    </a:lnTo>
                    <a:lnTo>
                      <a:pt x="456" y="164"/>
                    </a:lnTo>
                    <a:lnTo>
                      <a:pt x="457" y="162"/>
                    </a:lnTo>
                    <a:lnTo>
                      <a:pt x="463" y="164"/>
                    </a:lnTo>
                    <a:lnTo>
                      <a:pt x="464" y="162"/>
                    </a:lnTo>
                    <a:lnTo>
                      <a:pt x="463" y="158"/>
                    </a:lnTo>
                    <a:lnTo>
                      <a:pt x="464" y="155"/>
                    </a:lnTo>
                    <a:lnTo>
                      <a:pt x="468" y="153"/>
                    </a:lnTo>
                    <a:lnTo>
                      <a:pt x="470" y="151"/>
                    </a:lnTo>
                    <a:lnTo>
                      <a:pt x="470" y="148"/>
                    </a:lnTo>
                    <a:lnTo>
                      <a:pt x="468" y="144"/>
                    </a:lnTo>
                    <a:lnTo>
                      <a:pt x="464" y="142"/>
                    </a:lnTo>
                    <a:lnTo>
                      <a:pt x="461" y="142"/>
                    </a:lnTo>
                    <a:lnTo>
                      <a:pt x="459" y="141"/>
                    </a:lnTo>
                    <a:lnTo>
                      <a:pt x="454" y="141"/>
                    </a:lnTo>
                    <a:lnTo>
                      <a:pt x="454" y="133"/>
                    </a:lnTo>
                    <a:lnTo>
                      <a:pt x="450" y="132"/>
                    </a:lnTo>
                    <a:lnTo>
                      <a:pt x="450" y="128"/>
                    </a:lnTo>
                    <a:lnTo>
                      <a:pt x="450" y="126"/>
                    </a:lnTo>
                    <a:lnTo>
                      <a:pt x="447" y="123"/>
                    </a:lnTo>
                    <a:lnTo>
                      <a:pt x="443" y="125"/>
                    </a:lnTo>
                    <a:lnTo>
                      <a:pt x="439" y="126"/>
                    </a:lnTo>
                    <a:lnTo>
                      <a:pt x="436" y="128"/>
                    </a:lnTo>
                    <a:lnTo>
                      <a:pt x="427" y="128"/>
                    </a:lnTo>
                    <a:lnTo>
                      <a:pt x="425" y="126"/>
                    </a:lnTo>
                    <a:lnTo>
                      <a:pt x="423" y="126"/>
                    </a:lnTo>
                    <a:lnTo>
                      <a:pt x="418" y="130"/>
                    </a:lnTo>
                    <a:lnTo>
                      <a:pt x="416" y="132"/>
                    </a:lnTo>
                    <a:lnTo>
                      <a:pt x="411" y="137"/>
                    </a:lnTo>
                    <a:lnTo>
                      <a:pt x="407" y="139"/>
                    </a:lnTo>
                    <a:lnTo>
                      <a:pt x="400" y="146"/>
                    </a:lnTo>
                    <a:lnTo>
                      <a:pt x="379" y="153"/>
                    </a:lnTo>
                    <a:lnTo>
                      <a:pt x="379" y="153"/>
                    </a:lnTo>
                    <a:lnTo>
                      <a:pt x="379" y="155"/>
                    </a:lnTo>
                    <a:lnTo>
                      <a:pt x="379" y="157"/>
                    </a:lnTo>
                    <a:lnTo>
                      <a:pt x="379" y="157"/>
                    </a:lnTo>
                    <a:lnTo>
                      <a:pt x="379" y="158"/>
                    </a:lnTo>
                    <a:lnTo>
                      <a:pt x="384" y="160"/>
                    </a:lnTo>
                    <a:lnTo>
                      <a:pt x="386" y="162"/>
                    </a:lnTo>
                    <a:lnTo>
                      <a:pt x="386" y="166"/>
                    </a:lnTo>
                    <a:lnTo>
                      <a:pt x="386" y="167"/>
                    </a:lnTo>
                    <a:lnTo>
                      <a:pt x="386" y="167"/>
                    </a:lnTo>
                    <a:lnTo>
                      <a:pt x="382" y="169"/>
                    </a:lnTo>
                    <a:lnTo>
                      <a:pt x="364" y="173"/>
                    </a:lnTo>
                    <a:lnTo>
                      <a:pt x="357" y="171"/>
                    </a:lnTo>
                    <a:lnTo>
                      <a:pt x="350" y="173"/>
                    </a:lnTo>
                    <a:lnTo>
                      <a:pt x="339" y="173"/>
                    </a:lnTo>
                    <a:lnTo>
                      <a:pt x="336" y="171"/>
                    </a:lnTo>
                    <a:lnTo>
                      <a:pt x="334" y="171"/>
                    </a:lnTo>
                    <a:lnTo>
                      <a:pt x="334" y="171"/>
                    </a:lnTo>
                    <a:lnTo>
                      <a:pt x="332" y="169"/>
                    </a:lnTo>
                    <a:lnTo>
                      <a:pt x="332" y="167"/>
                    </a:lnTo>
                    <a:lnTo>
                      <a:pt x="332" y="167"/>
                    </a:lnTo>
                    <a:lnTo>
                      <a:pt x="331" y="167"/>
                    </a:lnTo>
                    <a:lnTo>
                      <a:pt x="331" y="166"/>
                    </a:lnTo>
                    <a:lnTo>
                      <a:pt x="334" y="162"/>
                    </a:lnTo>
                    <a:lnTo>
                      <a:pt x="334" y="162"/>
                    </a:lnTo>
                    <a:lnTo>
                      <a:pt x="332" y="162"/>
                    </a:lnTo>
                    <a:lnTo>
                      <a:pt x="331" y="162"/>
                    </a:lnTo>
                    <a:lnTo>
                      <a:pt x="331" y="160"/>
                    </a:lnTo>
                    <a:lnTo>
                      <a:pt x="331" y="158"/>
                    </a:lnTo>
                    <a:lnTo>
                      <a:pt x="332" y="155"/>
                    </a:lnTo>
                    <a:lnTo>
                      <a:pt x="331" y="150"/>
                    </a:lnTo>
                    <a:lnTo>
                      <a:pt x="331" y="150"/>
                    </a:lnTo>
                    <a:lnTo>
                      <a:pt x="329" y="148"/>
                    </a:lnTo>
                    <a:lnTo>
                      <a:pt x="329" y="150"/>
                    </a:lnTo>
                    <a:lnTo>
                      <a:pt x="325" y="151"/>
                    </a:lnTo>
                    <a:lnTo>
                      <a:pt x="323" y="151"/>
                    </a:lnTo>
                    <a:lnTo>
                      <a:pt x="320" y="151"/>
                    </a:lnTo>
                    <a:lnTo>
                      <a:pt x="318" y="157"/>
                    </a:lnTo>
                    <a:lnTo>
                      <a:pt x="318" y="166"/>
                    </a:lnTo>
                    <a:lnTo>
                      <a:pt x="316" y="167"/>
                    </a:lnTo>
                    <a:lnTo>
                      <a:pt x="316" y="167"/>
                    </a:lnTo>
                    <a:lnTo>
                      <a:pt x="320" y="169"/>
                    </a:lnTo>
                    <a:lnTo>
                      <a:pt x="322" y="173"/>
                    </a:lnTo>
                    <a:lnTo>
                      <a:pt x="320" y="175"/>
                    </a:lnTo>
                    <a:lnTo>
                      <a:pt x="318" y="178"/>
                    </a:lnTo>
                    <a:lnTo>
                      <a:pt x="318" y="178"/>
                    </a:lnTo>
                    <a:lnTo>
                      <a:pt x="314" y="178"/>
                    </a:lnTo>
                    <a:lnTo>
                      <a:pt x="313" y="178"/>
                    </a:lnTo>
                    <a:lnTo>
                      <a:pt x="307" y="178"/>
                    </a:lnTo>
                    <a:lnTo>
                      <a:pt x="306" y="178"/>
                    </a:lnTo>
                    <a:lnTo>
                      <a:pt x="302" y="178"/>
                    </a:lnTo>
                    <a:lnTo>
                      <a:pt x="284" y="175"/>
                    </a:lnTo>
                    <a:lnTo>
                      <a:pt x="282" y="173"/>
                    </a:lnTo>
                    <a:lnTo>
                      <a:pt x="270" y="171"/>
                    </a:lnTo>
                    <a:lnTo>
                      <a:pt x="264" y="167"/>
                    </a:lnTo>
                    <a:lnTo>
                      <a:pt x="263" y="164"/>
                    </a:lnTo>
                    <a:lnTo>
                      <a:pt x="261" y="162"/>
                    </a:lnTo>
                    <a:lnTo>
                      <a:pt x="254" y="162"/>
                    </a:lnTo>
                    <a:lnTo>
                      <a:pt x="254" y="162"/>
                    </a:lnTo>
                    <a:lnTo>
                      <a:pt x="252" y="162"/>
                    </a:lnTo>
                    <a:lnTo>
                      <a:pt x="248" y="162"/>
                    </a:lnTo>
                    <a:lnTo>
                      <a:pt x="245" y="160"/>
                    </a:lnTo>
                    <a:lnTo>
                      <a:pt x="243" y="162"/>
                    </a:lnTo>
                    <a:lnTo>
                      <a:pt x="236" y="160"/>
                    </a:lnTo>
                    <a:lnTo>
                      <a:pt x="232" y="157"/>
                    </a:lnTo>
                    <a:lnTo>
                      <a:pt x="232" y="157"/>
                    </a:lnTo>
                    <a:lnTo>
                      <a:pt x="229" y="157"/>
                    </a:lnTo>
                    <a:lnTo>
                      <a:pt x="225" y="155"/>
                    </a:lnTo>
                    <a:lnTo>
                      <a:pt x="222" y="153"/>
                    </a:lnTo>
                    <a:lnTo>
                      <a:pt x="220" y="153"/>
                    </a:lnTo>
                    <a:lnTo>
                      <a:pt x="215" y="150"/>
                    </a:lnTo>
                    <a:lnTo>
                      <a:pt x="211" y="146"/>
                    </a:lnTo>
                    <a:lnTo>
                      <a:pt x="206" y="142"/>
                    </a:lnTo>
                    <a:lnTo>
                      <a:pt x="206" y="142"/>
                    </a:lnTo>
                    <a:lnTo>
                      <a:pt x="202" y="139"/>
                    </a:lnTo>
                    <a:lnTo>
                      <a:pt x="200" y="139"/>
                    </a:lnTo>
                    <a:lnTo>
                      <a:pt x="200" y="141"/>
                    </a:lnTo>
                    <a:lnTo>
                      <a:pt x="198" y="141"/>
                    </a:lnTo>
                    <a:lnTo>
                      <a:pt x="198" y="139"/>
                    </a:lnTo>
                    <a:lnTo>
                      <a:pt x="197" y="139"/>
                    </a:lnTo>
                    <a:lnTo>
                      <a:pt x="195" y="137"/>
                    </a:lnTo>
                    <a:lnTo>
                      <a:pt x="193" y="135"/>
                    </a:lnTo>
                    <a:lnTo>
                      <a:pt x="193" y="135"/>
                    </a:lnTo>
                    <a:lnTo>
                      <a:pt x="193" y="133"/>
                    </a:lnTo>
                    <a:lnTo>
                      <a:pt x="193" y="132"/>
                    </a:lnTo>
                    <a:lnTo>
                      <a:pt x="195" y="130"/>
                    </a:lnTo>
                    <a:lnTo>
                      <a:pt x="195" y="128"/>
                    </a:lnTo>
                    <a:lnTo>
                      <a:pt x="197" y="128"/>
                    </a:lnTo>
                    <a:lnTo>
                      <a:pt x="195" y="125"/>
                    </a:lnTo>
                    <a:lnTo>
                      <a:pt x="197" y="123"/>
                    </a:lnTo>
                    <a:lnTo>
                      <a:pt x="198" y="121"/>
                    </a:lnTo>
                    <a:lnTo>
                      <a:pt x="197" y="119"/>
                    </a:lnTo>
                    <a:lnTo>
                      <a:pt x="197" y="117"/>
                    </a:lnTo>
                    <a:lnTo>
                      <a:pt x="198" y="116"/>
                    </a:lnTo>
                    <a:lnTo>
                      <a:pt x="200" y="116"/>
                    </a:lnTo>
                    <a:lnTo>
                      <a:pt x="200" y="114"/>
                    </a:lnTo>
                    <a:lnTo>
                      <a:pt x="204" y="112"/>
                    </a:lnTo>
                    <a:lnTo>
                      <a:pt x="204" y="110"/>
                    </a:lnTo>
                    <a:lnTo>
                      <a:pt x="204" y="110"/>
                    </a:lnTo>
                    <a:lnTo>
                      <a:pt x="206" y="108"/>
                    </a:lnTo>
                    <a:lnTo>
                      <a:pt x="206" y="110"/>
                    </a:lnTo>
                    <a:lnTo>
                      <a:pt x="207" y="108"/>
                    </a:lnTo>
                    <a:lnTo>
                      <a:pt x="207" y="108"/>
                    </a:lnTo>
                    <a:lnTo>
                      <a:pt x="202" y="107"/>
                    </a:lnTo>
                    <a:lnTo>
                      <a:pt x="202" y="107"/>
                    </a:lnTo>
                    <a:lnTo>
                      <a:pt x="200" y="105"/>
                    </a:lnTo>
                    <a:lnTo>
                      <a:pt x="198" y="105"/>
                    </a:lnTo>
                    <a:lnTo>
                      <a:pt x="195" y="101"/>
                    </a:lnTo>
                    <a:lnTo>
                      <a:pt x="191" y="101"/>
                    </a:lnTo>
                    <a:lnTo>
                      <a:pt x="191" y="100"/>
                    </a:lnTo>
                    <a:lnTo>
                      <a:pt x="191" y="98"/>
                    </a:lnTo>
                    <a:lnTo>
                      <a:pt x="190" y="98"/>
                    </a:lnTo>
                    <a:lnTo>
                      <a:pt x="190" y="98"/>
                    </a:lnTo>
                    <a:lnTo>
                      <a:pt x="188" y="96"/>
                    </a:lnTo>
                    <a:lnTo>
                      <a:pt x="188" y="96"/>
                    </a:lnTo>
                    <a:lnTo>
                      <a:pt x="184" y="98"/>
                    </a:lnTo>
                    <a:lnTo>
                      <a:pt x="184" y="96"/>
                    </a:lnTo>
                    <a:lnTo>
                      <a:pt x="184" y="94"/>
                    </a:lnTo>
                    <a:lnTo>
                      <a:pt x="184" y="94"/>
                    </a:lnTo>
                    <a:lnTo>
                      <a:pt x="182" y="94"/>
                    </a:lnTo>
                    <a:lnTo>
                      <a:pt x="177" y="94"/>
                    </a:lnTo>
                    <a:lnTo>
                      <a:pt x="175" y="96"/>
                    </a:lnTo>
                    <a:lnTo>
                      <a:pt x="175" y="96"/>
                    </a:lnTo>
                    <a:lnTo>
                      <a:pt x="173" y="94"/>
                    </a:lnTo>
                    <a:lnTo>
                      <a:pt x="175" y="92"/>
                    </a:lnTo>
                    <a:lnTo>
                      <a:pt x="173" y="91"/>
                    </a:lnTo>
                    <a:lnTo>
                      <a:pt x="172" y="89"/>
                    </a:lnTo>
                    <a:lnTo>
                      <a:pt x="172" y="89"/>
                    </a:lnTo>
                    <a:lnTo>
                      <a:pt x="170" y="87"/>
                    </a:lnTo>
                    <a:lnTo>
                      <a:pt x="170" y="85"/>
                    </a:lnTo>
                    <a:lnTo>
                      <a:pt x="172" y="83"/>
                    </a:lnTo>
                    <a:lnTo>
                      <a:pt x="170" y="82"/>
                    </a:lnTo>
                    <a:lnTo>
                      <a:pt x="170" y="78"/>
                    </a:lnTo>
                    <a:lnTo>
                      <a:pt x="172" y="76"/>
                    </a:lnTo>
                    <a:lnTo>
                      <a:pt x="166" y="71"/>
                    </a:lnTo>
                    <a:lnTo>
                      <a:pt x="166" y="69"/>
                    </a:lnTo>
                    <a:lnTo>
                      <a:pt x="166" y="67"/>
                    </a:lnTo>
                    <a:lnTo>
                      <a:pt x="166" y="66"/>
                    </a:lnTo>
                    <a:lnTo>
                      <a:pt x="170" y="66"/>
                    </a:lnTo>
                    <a:lnTo>
                      <a:pt x="170" y="64"/>
                    </a:lnTo>
                    <a:lnTo>
                      <a:pt x="172" y="64"/>
                    </a:lnTo>
                    <a:lnTo>
                      <a:pt x="172" y="67"/>
                    </a:lnTo>
                    <a:lnTo>
                      <a:pt x="172" y="67"/>
                    </a:lnTo>
                    <a:lnTo>
                      <a:pt x="173" y="69"/>
                    </a:lnTo>
                    <a:lnTo>
                      <a:pt x="175" y="69"/>
                    </a:lnTo>
                    <a:lnTo>
                      <a:pt x="175" y="69"/>
                    </a:lnTo>
                    <a:lnTo>
                      <a:pt x="177" y="69"/>
                    </a:lnTo>
                    <a:lnTo>
                      <a:pt x="177" y="69"/>
                    </a:lnTo>
                    <a:lnTo>
                      <a:pt x="177" y="67"/>
                    </a:lnTo>
                    <a:lnTo>
                      <a:pt x="179" y="67"/>
                    </a:lnTo>
                    <a:lnTo>
                      <a:pt x="181" y="66"/>
                    </a:lnTo>
                    <a:lnTo>
                      <a:pt x="181" y="66"/>
                    </a:lnTo>
                    <a:lnTo>
                      <a:pt x="181" y="66"/>
                    </a:lnTo>
                    <a:lnTo>
                      <a:pt x="182" y="66"/>
                    </a:lnTo>
                    <a:lnTo>
                      <a:pt x="184" y="64"/>
                    </a:lnTo>
                    <a:lnTo>
                      <a:pt x="184" y="62"/>
                    </a:lnTo>
                    <a:lnTo>
                      <a:pt x="182" y="58"/>
                    </a:lnTo>
                    <a:lnTo>
                      <a:pt x="181" y="57"/>
                    </a:lnTo>
                    <a:lnTo>
                      <a:pt x="182" y="57"/>
                    </a:lnTo>
                    <a:lnTo>
                      <a:pt x="182" y="55"/>
                    </a:lnTo>
                    <a:lnTo>
                      <a:pt x="179" y="53"/>
                    </a:lnTo>
                    <a:lnTo>
                      <a:pt x="177" y="53"/>
                    </a:lnTo>
                    <a:lnTo>
                      <a:pt x="177" y="53"/>
                    </a:lnTo>
                    <a:lnTo>
                      <a:pt x="175" y="50"/>
                    </a:lnTo>
                    <a:lnTo>
                      <a:pt x="175" y="46"/>
                    </a:lnTo>
                    <a:lnTo>
                      <a:pt x="175" y="46"/>
                    </a:lnTo>
                    <a:lnTo>
                      <a:pt x="175" y="44"/>
                    </a:lnTo>
                    <a:lnTo>
                      <a:pt x="175" y="42"/>
                    </a:lnTo>
                    <a:lnTo>
                      <a:pt x="175" y="42"/>
                    </a:lnTo>
                    <a:lnTo>
                      <a:pt x="173" y="41"/>
                    </a:lnTo>
                    <a:lnTo>
                      <a:pt x="173" y="39"/>
                    </a:lnTo>
                    <a:lnTo>
                      <a:pt x="173" y="39"/>
                    </a:lnTo>
                    <a:lnTo>
                      <a:pt x="177" y="39"/>
                    </a:lnTo>
                    <a:lnTo>
                      <a:pt x="179" y="37"/>
                    </a:lnTo>
                    <a:lnTo>
                      <a:pt x="181" y="39"/>
                    </a:lnTo>
                    <a:lnTo>
                      <a:pt x="182" y="39"/>
                    </a:lnTo>
                    <a:lnTo>
                      <a:pt x="184" y="33"/>
                    </a:lnTo>
                    <a:lnTo>
                      <a:pt x="184" y="30"/>
                    </a:lnTo>
                    <a:lnTo>
                      <a:pt x="188" y="30"/>
                    </a:lnTo>
                    <a:lnTo>
                      <a:pt x="188" y="30"/>
                    </a:lnTo>
                    <a:lnTo>
                      <a:pt x="188" y="30"/>
                    </a:lnTo>
                    <a:lnTo>
                      <a:pt x="188" y="28"/>
                    </a:lnTo>
                    <a:lnTo>
                      <a:pt x="190" y="28"/>
                    </a:lnTo>
                    <a:lnTo>
                      <a:pt x="190" y="26"/>
                    </a:lnTo>
                    <a:lnTo>
                      <a:pt x="193" y="25"/>
                    </a:lnTo>
                    <a:lnTo>
                      <a:pt x="193" y="23"/>
                    </a:lnTo>
                    <a:lnTo>
                      <a:pt x="193" y="21"/>
                    </a:lnTo>
                    <a:lnTo>
                      <a:pt x="195" y="16"/>
                    </a:lnTo>
                    <a:lnTo>
                      <a:pt x="195" y="14"/>
                    </a:lnTo>
                    <a:lnTo>
                      <a:pt x="195" y="12"/>
                    </a:lnTo>
                    <a:lnTo>
                      <a:pt x="197" y="10"/>
                    </a:lnTo>
                    <a:lnTo>
                      <a:pt x="197" y="8"/>
                    </a:lnTo>
                    <a:lnTo>
                      <a:pt x="197" y="8"/>
                    </a:lnTo>
                    <a:lnTo>
                      <a:pt x="195" y="8"/>
                    </a:lnTo>
                    <a:lnTo>
                      <a:pt x="193" y="10"/>
                    </a:lnTo>
                    <a:lnTo>
                      <a:pt x="193" y="10"/>
                    </a:lnTo>
                    <a:lnTo>
                      <a:pt x="191" y="10"/>
                    </a:lnTo>
                    <a:lnTo>
                      <a:pt x="191" y="7"/>
                    </a:lnTo>
                    <a:lnTo>
                      <a:pt x="190" y="7"/>
                    </a:lnTo>
                    <a:lnTo>
                      <a:pt x="188" y="7"/>
                    </a:lnTo>
                    <a:lnTo>
                      <a:pt x="188" y="7"/>
                    </a:lnTo>
                    <a:lnTo>
                      <a:pt x="186" y="7"/>
                    </a:lnTo>
                    <a:lnTo>
                      <a:pt x="186" y="5"/>
                    </a:lnTo>
                    <a:lnTo>
                      <a:pt x="186" y="3"/>
                    </a:lnTo>
                    <a:lnTo>
                      <a:pt x="184" y="3"/>
                    </a:lnTo>
                    <a:lnTo>
                      <a:pt x="184" y="1"/>
                    </a:lnTo>
                    <a:lnTo>
                      <a:pt x="184" y="1"/>
                    </a:lnTo>
                    <a:lnTo>
                      <a:pt x="182" y="1"/>
                    </a:lnTo>
                    <a:lnTo>
                      <a:pt x="181" y="0"/>
                    </a:lnTo>
                    <a:lnTo>
                      <a:pt x="181" y="0"/>
                    </a:lnTo>
                    <a:lnTo>
                      <a:pt x="179" y="0"/>
                    </a:lnTo>
                    <a:lnTo>
                      <a:pt x="179" y="0"/>
                    </a:lnTo>
                    <a:lnTo>
                      <a:pt x="177" y="0"/>
                    </a:lnTo>
                    <a:lnTo>
                      <a:pt x="175" y="1"/>
                    </a:lnTo>
                    <a:lnTo>
                      <a:pt x="172" y="1"/>
                    </a:lnTo>
                    <a:lnTo>
                      <a:pt x="163" y="7"/>
                    </a:lnTo>
                    <a:lnTo>
                      <a:pt x="161" y="8"/>
                    </a:lnTo>
                    <a:lnTo>
                      <a:pt x="159" y="8"/>
                    </a:lnTo>
                    <a:lnTo>
                      <a:pt x="159" y="10"/>
                    </a:lnTo>
                    <a:lnTo>
                      <a:pt x="157" y="8"/>
                    </a:lnTo>
                    <a:lnTo>
                      <a:pt x="156" y="10"/>
                    </a:lnTo>
                    <a:lnTo>
                      <a:pt x="154" y="10"/>
                    </a:lnTo>
                    <a:lnTo>
                      <a:pt x="143" y="17"/>
                    </a:lnTo>
                    <a:lnTo>
                      <a:pt x="143" y="19"/>
                    </a:lnTo>
                    <a:lnTo>
                      <a:pt x="143" y="19"/>
                    </a:lnTo>
                    <a:lnTo>
                      <a:pt x="143" y="21"/>
                    </a:lnTo>
                    <a:lnTo>
                      <a:pt x="141" y="23"/>
                    </a:lnTo>
                    <a:lnTo>
                      <a:pt x="141" y="25"/>
                    </a:lnTo>
                    <a:lnTo>
                      <a:pt x="140" y="23"/>
                    </a:lnTo>
                    <a:lnTo>
                      <a:pt x="138" y="23"/>
                    </a:lnTo>
                    <a:lnTo>
                      <a:pt x="132" y="23"/>
                    </a:lnTo>
                    <a:lnTo>
                      <a:pt x="132" y="23"/>
                    </a:lnTo>
                    <a:lnTo>
                      <a:pt x="131" y="25"/>
                    </a:lnTo>
                    <a:lnTo>
                      <a:pt x="131" y="25"/>
                    </a:lnTo>
                    <a:lnTo>
                      <a:pt x="129" y="26"/>
                    </a:lnTo>
                    <a:lnTo>
                      <a:pt x="127" y="25"/>
                    </a:lnTo>
                    <a:lnTo>
                      <a:pt x="125" y="25"/>
                    </a:lnTo>
                    <a:lnTo>
                      <a:pt x="125" y="26"/>
                    </a:lnTo>
                    <a:lnTo>
                      <a:pt x="123" y="28"/>
                    </a:lnTo>
                    <a:lnTo>
                      <a:pt x="123" y="28"/>
                    </a:lnTo>
                    <a:lnTo>
                      <a:pt x="122" y="26"/>
                    </a:lnTo>
                    <a:lnTo>
                      <a:pt x="120" y="28"/>
                    </a:lnTo>
                    <a:lnTo>
                      <a:pt x="118" y="26"/>
                    </a:lnTo>
                    <a:lnTo>
                      <a:pt x="115" y="26"/>
                    </a:lnTo>
                    <a:lnTo>
                      <a:pt x="115" y="26"/>
                    </a:lnTo>
                    <a:lnTo>
                      <a:pt x="113" y="26"/>
                    </a:lnTo>
                    <a:lnTo>
                      <a:pt x="100" y="21"/>
                    </a:lnTo>
                    <a:lnTo>
                      <a:pt x="98" y="21"/>
                    </a:lnTo>
                    <a:lnTo>
                      <a:pt x="97" y="23"/>
                    </a:lnTo>
                    <a:lnTo>
                      <a:pt x="95" y="23"/>
                    </a:lnTo>
                    <a:lnTo>
                      <a:pt x="95" y="23"/>
                    </a:lnTo>
                    <a:lnTo>
                      <a:pt x="93" y="23"/>
                    </a:lnTo>
                    <a:lnTo>
                      <a:pt x="93" y="26"/>
                    </a:lnTo>
                    <a:lnTo>
                      <a:pt x="91" y="30"/>
                    </a:lnTo>
                    <a:lnTo>
                      <a:pt x="91" y="30"/>
                    </a:lnTo>
                    <a:lnTo>
                      <a:pt x="93" y="30"/>
                    </a:lnTo>
                    <a:lnTo>
                      <a:pt x="95" y="32"/>
                    </a:lnTo>
                    <a:lnTo>
                      <a:pt x="95" y="33"/>
                    </a:lnTo>
                    <a:lnTo>
                      <a:pt x="93" y="33"/>
                    </a:lnTo>
                    <a:lnTo>
                      <a:pt x="93" y="35"/>
                    </a:lnTo>
                    <a:lnTo>
                      <a:pt x="93" y="35"/>
                    </a:lnTo>
                    <a:lnTo>
                      <a:pt x="93" y="37"/>
                    </a:lnTo>
                    <a:lnTo>
                      <a:pt x="95" y="37"/>
                    </a:lnTo>
                    <a:lnTo>
                      <a:pt x="98" y="37"/>
                    </a:lnTo>
                    <a:lnTo>
                      <a:pt x="98" y="37"/>
                    </a:lnTo>
                    <a:lnTo>
                      <a:pt x="98" y="39"/>
                    </a:lnTo>
                    <a:lnTo>
                      <a:pt x="98" y="39"/>
                    </a:lnTo>
                    <a:lnTo>
                      <a:pt x="97" y="41"/>
                    </a:lnTo>
                    <a:lnTo>
                      <a:pt x="95" y="41"/>
                    </a:lnTo>
                    <a:lnTo>
                      <a:pt x="95" y="42"/>
                    </a:lnTo>
                    <a:lnTo>
                      <a:pt x="98" y="46"/>
                    </a:lnTo>
                    <a:lnTo>
                      <a:pt x="98" y="48"/>
                    </a:lnTo>
                    <a:lnTo>
                      <a:pt x="98" y="50"/>
                    </a:lnTo>
                    <a:lnTo>
                      <a:pt x="95" y="51"/>
                    </a:lnTo>
                    <a:lnTo>
                      <a:pt x="95" y="53"/>
                    </a:lnTo>
                    <a:lnTo>
                      <a:pt x="97" y="53"/>
                    </a:lnTo>
                    <a:lnTo>
                      <a:pt x="97" y="57"/>
                    </a:lnTo>
                    <a:lnTo>
                      <a:pt x="100" y="58"/>
                    </a:lnTo>
                    <a:lnTo>
                      <a:pt x="100" y="60"/>
                    </a:lnTo>
                    <a:lnTo>
                      <a:pt x="102" y="60"/>
                    </a:lnTo>
                    <a:lnTo>
                      <a:pt x="104" y="62"/>
                    </a:lnTo>
                    <a:lnTo>
                      <a:pt x="104" y="60"/>
                    </a:lnTo>
                    <a:lnTo>
                      <a:pt x="106" y="60"/>
                    </a:lnTo>
                    <a:lnTo>
                      <a:pt x="106" y="64"/>
                    </a:lnTo>
                    <a:lnTo>
                      <a:pt x="107" y="67"/>
                    </a:lnTo>
                    <a:lnTo>
                      <a:pt x="107" y="67"/>
                    </a:lnTo>
                    <a:lnTo>
                      <a:pt x="113" y="67"/>
                    </a:lnTo>
                    <a:lnTo>
                      <a:pt x="115" y="69"/>
                    </a:lnTo>
                    <a:lnTo>
                      <a:pt x="115" y="67"/>
                    </a:lnTo>
                    <a:lnTo>
                      <a:pt x="116" y="71"/>
                    </a:lnTo>
                    <a:lnTo>
                      <a:pt x="116" y="71"/>
                    </a:lnTo>
                    <a:lnTo>
                      <a:pt x="116" y="73"/>
                    </a:lnTo>
                    <a:lnTo>
                      <a:pt x="116" y="75"/>
                    </a:lnTo>
                    <a:lnTo>
                      <a:pt x="115" y="75"/>
                    </a:lnTo>
                    <a:lnTo>
                      <a:pt x="113" y="76"/>
                    </a:lnTo>
                    <a:lnTo>
                      <a:pt x="111" y="75"/>
                    </a:lnTo>
                    <a:lnTo>
                      <a:pt x="109" y="75"/>
                    </a:lnTo>
                    <a:lnTo>
                      <a:pt x="109" y="76"/>
                    </a:lnTo>
                    <a:lnTo>
                      <a:pt x="106" y="78"/>
                    </a:lnTo>
                    <a:lnTo>
                      <a:pt x="104" y="80"/>
                    </a:lnTo>
                    <a:lnTo>
                      <a:pt x="104" y="83"/>
                    </a:lnTo>
                    <a:lnTo>
                      <a:pt x="106" y="85"/>
                    </a:lnTo>
                    <a:lnTo>
                      <a:pt x="106" y="87"/>
                    </a:lnTo>
                    <a:lnTo>
                      <a:pt x="106" y="87"/>
                    </a:lnTo>
                    <a:lnTo>
                      <a:pt x="107" y="87"/>
                    </a:lnTo>
                    <a:lnTo>
                      <a:pt x="106" y="89"/>
                    </a:lnTo>
                    <a:lnTo>
                      <a:pt x="104" y="89"/>
                    </a:lnTo>
                    <a:lnTo>
                      <a:pt x="104" y="91"/>
                    </a:lnTo>
                    <a:lnTo>
                      <a:pt x="104" y="92"/>
                    </a:lnTo>
                    <a:lnTo>
                      <a:pt x="106" y="92"/>
                    </a:lnTo>
                    <a:lnTo>
                      <a:pt x="107" y="92"/>
                    </a:lnTo>
                    <a:lnTo>
                      <a:pt x="109" y="94"/>
                    </a:lnTo>
                    <a:lnTo>
                      <a:pt x="107" y="94"/>
                    </a:lnTo>
                    <a:lnTo>
                      <a:pt x="107" y="96"/>
                    </a:lnTo>
                    <a:lnTo>
                      <a:pt x="106" y="94"/>
                    </a:lnTo>
                    <a:lnTo>
                      <a:pt x="106" y="94"/>
                    </a:lnTo>
                    <a:lnTo>
                      <a:pt x="104" y="96"/>
                    </a:lnTo>
                    <a:lnTo>
                      <a:pt x="100" y="98"/>
                    </a:lnTo>
                    <a:lnTo>
                      <a:pt x="97" y="103"/>
                    </a:lnTo>
                    <a:lnTo>
                      <a:pt x="95" y="103"/>
                    </a:lnTo>
                    <a:lnTo>
                      <a:pt x="93" y="107"/>
                    </a:lnTo>
                    <a:lnTo>
                      <a:pt x="93" y="108"/>
                    </a:lnTo>
                    <a:lnTo>
                      <a:pt x="93" y="110"/>
                    </a:lnTo>
                    <a:lnTo>
                      <a:pt x="91" y="112"/>
                    </a:lnTo>
                    <a:lnTo>
                      <a:pt x="90" y="114"/>
                    </a:lnTo>
                    <a:lnTo>
                      <a:pt x="88" y="114"/>
                    </a:lnTo>
                    <a:lnTo>
                      <a:pt x="86" y="116"/>
                    </a:lnTo>
                    <a:lnTo>
                      <a:pt x="75" y="133"/>
                    </a:lnTo>
                    <a:lnTo>
                      <a:pt x="72" y="135"/>
                    </a:lnTo>
                    <a:lnTo>
                      <a:pt x="59" y="151"/>
                    </a:lnTo>
                    <a:lnTo>
                      <a:pt x="57" y="151"/>
                    </a:lnTo>
                    <a:lnTo>
                      <a:pt x="57" y="153"/>
                    </a:lnTo>
                    <a:lnTo>
                      <a:pt x="50" y="151"/>
                    </a:lnTo>
                    <a:lnTo>
                      <a:pt x="47" y="153"/>
                    </a:lnTo>
                    <a:lnTo>
                      <a:pt x="45" y="155"/>
                    </a:lnTo>
                    <a:lnTo>
                      <a:pt x="45" y="155"/>
                    </a:lnTo>
                    <a:lnTo>
                      <a:pt x="43" y="155"/>
                    </a:lnTo>
                    <a:lnTo>
                      <a:pt x="41" y="150"/>
                    </a:lnTo>
                    <a:lnTo>
                      <a:pt x="40" y="150"/>
                    </a:lnTo>
                    <a:lnTo>
                      <a:pt x="38" y="150"/>
                    </a:lnTo>
                    <a:lnTo>
                      <a:pt x="25" y="164"/>
                    </a:lnTo>
                    <a:lnTo>
                      <a:pt x="23" y="171"/>
                    </a:lnTo>
                    <a:lnTo>
                      <a:pt x="23" y="173"/>
                    </a:lnTo>
                    <a:lnTo>
                      <a:pt x="23" y="175"/>
                    </a:lnTo>
                    <a:lnTo>
                      <a:pt x="25" y="175"/>
                    </a:lnTo>
                    <a:lnTo>
                      <a:pt x="27" y="175"/>
                    </a:lnTo>
                    <a:lnTo>
                      <a:pt x="29" y="176"/>
                    </a:lnTo>
                    <a:lnTo>
                      <a:pt x="32" y="176"/>
                    </a:lnTo>
                    <a:lnTo>
                      <a:pt x="34" y="176"/>
                    </a:lnTo>
                    <a:lnTo>
                      <a:pt x="34" y="176"/>
                    </a:lnTo>
                    <a:lnTo>
                      <a:pt x="34" y="178"/>
                    </a:lnTo>
                    <a:lnTo>
                      <a:pt x="32" y="185"/>
                    </a:lnTo>
                    <a:lnTo>
                      <a:pt x="32" y="187"/>
                    </a:lnTo>
                    <a:lnTo>
                      <a:pt x="32" y="187"/>
                    </a:lnTo>
                    <a:lnTo>
                      <a:pt x="36" y="191"/>
                    </a:lnTo>
                    <a:lnTo>
                      <a:pt x="38" y="191"/>
                    </a:lnTo>
                    <a:lnTo>
                      <a:pt x="40" y="191"/>
                    </a:lnTo>
                    <a:lnTo>
                      <a:pt x="41" y="191"/>
                    </a:lnTo>
                    <a:lnTo>
                      <a:pt x="41" y="192"/>
                    </a:lnTo>
                    <a:lnTo>
                      <a:pt x="41" y="198"/>
                    </a:lnTo>
                    <a:lnTo>
                      <a:pt x="43" y="200"/>
                    </a:lnTo>
                    <a:lnTo>
                      <a:pt x="43" y="201"/>
                    </a:lnTo>
                    <a:lnTo>
                      <a:pt x="47" y="205"/>
                    </a:lnTo>
                    <a:lnTo>
                      <a:pt x="47" y="205"/>
                    </a:lnTo>
                    <a:lnTo>
                      <a:pt x="48" y="207"/>
                    </a:lnTo>
                    <a:lnTo>
                      <a:pt x="48" y="208"/>
                    </a:lnTo>
                    <a:lnTo>
                      <a:pt x="47" y="208"/>
                    </a:lnTo>
                    <a:lnTo>
                      <a:pt x="47" y="208"/>
                    </a:lnTo>
                    <a:lnTo>
                      <a:pt x="47" y="212"/>
                    </a:lnTo>
                    <a:lnTo>
                      <a:pt x="47" y="214"/>
                    </a:lnTo>
                    <a:lnTo>
                      <a:pt x="48" y="214"/>
                    </a:lnTo>
                    <a:lnTo>
                      <a:pt x="48" y="214"/>
                    </a:lnTo>
                    <a:lnTo>
                      <a:pt x="47" y="214"/>
                    </a:lnTo>
                    <a:lnTo>
                      <a:pt x="45" y="216"/>
                    </a:lnTo>
                    <a:lnTo>
                      <a:pt x="45" y="216"/>
                    </a:lnTo>
                    <a:lnTo>
                      <a:pt x="45" y="217"/>
                    </a:lnTo>
                    <a:lnTo>
                      <a:pt x="41" y="216"/>
                    </a:lnTo>
                    <a:lnTo>
                      <a:pt x="41" y="216"/>
                    </a:lnTo>
                    <a:lnTo>
                      <a:pt x="41" y="216"/>
                    </a:lnTo>
                    <a:lnTo>
                      <a:pt x="41" y="214"/>
                    </a:lnTo>
                    <a:lnTo>
                      <a:pt x="41" y="214"/>
                    </a:lnTo>
                    <a:lnTo>
                      <a:pt x="40" y="212"/>
                    </a:lnTo>
                    <a:lnTo>
                      <a:pt x="34" y="216"/>
                    </a:lnTo>
                    <a:lnTo>
                      <a:pt x="32" y="217"/>
                    </a:lnTo>
                    <a:lnTo>
                      <a:pt x="32" y="217"/>
                    </a:lnTo>
                    <a:lnTo>
                      <a:pt x="27" y="217"/>
                    </a:lnTo>
                    <a:lnTo>
                      <a:pt x="25" y="216"/>
                    </a:lnTo>
                    <a:lnTo>
                      <a:pt x="23" y="216"/>
                    </a:lnTo>
                    <a:lnTo>
                      <a:pt x="22" y="216"/>
                    </a:lnTo>
                    <a:lnTo>
                      <a:pt x="16" y="216"/>
                    </a:lnTo>
                    <a:lnTo>
                      <a:pt x="15" y="216"/>
                    </a:lnTo>
                    <a:lnTo>
                      <a:pt x="15" y="216"/>
                    </a:lnTo>
                    <a:lnTo>
                      <a:pt x="13" y="216"/>
                    </a:lnTo>
                    <a:lnTo>
                      <a:pt x="13" y="214"/>
                    </a:lnTo>
                    <a:lnTo>
                      <a:pt x="13" y="214"/>
                    </a:lnTo>
                    <a:lnTo>
                      <a:pt x="11" y="216"/>
                    </a:lnTo>
                    <a:lnTo>
                      <a:pt x="11" y="221"/>
                    </a:lnTo>
                    <a:lnTo>
                      <a:pt x="6" y="221"/>
                    </a:lnTo>
                    <a:lnTo>
                      <a:pt x="6" y="221"/>
                    </a:lnTo>
                    <a:lnTo>
                      <a:pt x="4" y="221"/>
                    </a:lnTo>
                    <a:lnTo>
                      <a:pt x="4" y="223"/>
                    </a:lnTo>
                    <a:lnTo>
                      <a:pt x="2" y="223"/>
                    </a:lnTo>
                    <a:lnTo>
                      <a:pt x="2" y="223"/>
                    </a:lnTo>
                    <a:lnTo>
                      <a:pt x="0" y="225"/>
                    </a:lnTo>
                    <a:lnTo>
                      <a:pt x="0" y="228"/>
                    </a:lnTo>
                    <a:lnTo>
                      <a:pt x="4" y="228"/>
                    </a:lnTo>
                    <a:lnTo>
                      <a:pt x="11" y="239"/>
                    </a:lnTo>
                    <a:lnTo>
                      <a:pt x="15" y="241"/>
                    </a:lnTo>
                    <a:lnTo>
                      <a:pt x="25" y="241"/>
                    </a:lnTo>
                    <a:lnTo>
                      <a:pt x="32" y="239"/>
                    </a:lnTo>
                    <a:lnTo>
                      <a:pt x="34" y="235"/>
                    </a:lnTo>
                    <a:lnTo>
                      <a:pt x="36" y="235"/>
                    </a:lnTo>
                    <a:lnTo>
                      <a:pt x="36" y="237"/>
                    </a:lnTo>
                    <a:lnTo>
                      <a:pt x="34" y="242"/>
                    </a:lnTo>
                    <a:lnTo>
                      <a:pt x="29" y="248"/>
                    </a:lnTo>
                    <a:lnTo>
                      <a:pt x="18" y="250"/>
                    </a:lnTo>
                    <a:lnTo>
                      <a:pt x="15" y="248"/>
                    </a:lnTo>
                    <a:lnTo>
                      <a:pt x="15" y="250"/>
                    </a:lnTo>
                    <a:lnTo>
                      <a:pt x="15" y="253"/>
                    </a:lnTo>
                    <a:lnTo>
                      <a:pt x="36" y="275"/>
                    </a:lnTo>
                    <a:lnTo>
                      <a:pt x="45" y="276"/>
                    </a:lnTo>
                    <a:lnTo>
                      <a:pt x="50" y="275"/>
                    </a:lnTo>
                    <a:lnTo>
                      <a:pt x="54" y="273"/>
                    </a:lnTo>
                    <a:lnTo>
                      <a:pt x="56" y="273"/>
                    </a:lnTo>
                    <a:lnTo>
                      <a:pt x="61" y="269"/>
                    </a:lnTo>
                    <a:lnTo>
                      <a:pt x="65" y="264"/>
                    </a:lnTo>
                    <a:lnTo>
                      <a:pt x="66" y="248"/>
                    </a:lnTo>
                    <a:lnTo>
                      <a:pt x="66" y="250"/>
                    </a:lnTo>
                    <a:lnTo>
                      <a:pt x="66" y="250"/>
                    </a:lnTo>
                    <a:lnTo>
                      <a:pt x="75" y="250"/>
                    </a:lnTo>
                    <a:lnTo>
                      <a:pt x="75" y="251"/>
                    </a:lnTo>
                    <a:lnTo>
                      <a:pt x="73" y="253"/>
                    </a:lnTo>
                    <a:lnTo>
                      <a:pt x="72" y="253"/>
                    </a:lnTo>
                    <a:lnTo>
                      <a:pt x="70" y="257"/>
                    </a:lnTo>
                    <a:lnTo>
                      <a:pt x="70" y="257"/>
                    </a:lnTo>
                    <a:lnTo>
                      <a:pt x="70" y="260"/>
                    </a:lnTo>
                    <a:lnTo>
                      <a:pt x="72" y="260"/>
                    </a:lnTo>
                    <a:lnTo>
                      <a:pt x="73" y="262"/>
                    </a:lnTo>
                    <a:lnTo>
                      <a:pt x="72" y="266"/>
                    </a:lnTo>
                    <a:lnTo>
                      <a:pt x="72" y="269"/>
                    </a:lnTo>
                    <a:lnTo>
                      <a:pt x="72" y="269"/>
                    </a:lnTo>
                    <a:lnTo>
                      <a:pt x="73" y="271"/>
                    </a:lnTo>
                    <a:lnTo>
                      <a:pt x="75" y="283"/>
                    </a:lnTo>
                    <a:lnTo>
                      <a:pt x="72" y="291"/>
                    </a:lnTo>
                    <a:lnTo>
                      <a:pt x="73" y="300"/>
                    </a:lnTo>
                    <a:lnTo>
                      <a:pt x="73" y="301"/>
                    </a:lnTo>
                    <a:lnTo>
                      <a:pt x="73" y="305"/>
                    </a:lnTo>
                    <a:lnTo>
                      <a:pt x="75" y="305"/>
                    </a:lnTo>
                    <a:lnTo>
                      <a:pt x="77" y="303"/>
                    </a:lnTo>
                    <a:lnTo>
                      <a:pt x="77" y="305"/>
                    </a:lnTo>
                    <a:lnTo>
                      <a:pt x="77" y="307"/>
                    </a:lnTo>
                    <a:lnTo>
                      <a:pt x="77" y="308"/>
                    </a:lnTo>
                    <a:lnTo>
                      <a:pt x="75" y="316"/>
                    </a:lnTo>
                    <a:lnTo>
                      <a:pt x="77" y="319"/>
                    </a:lnTo>
                    <a:lnTo>
                      <a:pt x="77" y="319"/>
                    </a:lnTo>
                    <a:lnTo>
                      <a:pt x="77" y="325"/>
                    </a:lnTo>
                    <a:lnTo>
                      <a:pt x="77" y="325"/>
                    </a:lnTo>
                    <a:lnTo>
                      <a:pt x="84" y="353"/>
                    </a:lnTo>
                    <a:lnTo>
                      <a:pt x="86" y="353"/>
                    </a:lnTo>
                    <a:lnTo>
                      <a:pt x="86" y="357"/>
                    </a:lnTo>
                    <a:lnTo>
                      <a:pt x="90" y="36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18" name="Freeform 2469"/>
              <p:cNvSpPr>
                <a:spLocks/>
              </p:cNvSpPr>
              <p:nvPr/>
            </p:nvSpPr>
            <p:spPr bwMode="auto">
              <a:xfrm>
                <a:off x="3785" y="2099"/>
                <a:ext cx="470" cy="485"/>
              </a:xfrm>
              <a:custGeom>
                <a:avLst/>
                <a:gdLst>
                  <a:gd name="T0" fmla="*/ 98 w 470"/>
                  <a:gd name="T1" fmla="*/ 378 h 485"/>
                  <a:gd name="T2" fmla="*/ 159 w 470"/>
                  <a:gd name="T3" fmla="*/ 476 h 485"/>
                  <a:gd name="T4" fmla="*/ 195 w 470"/>
                  <a:gd name="T5" fmla="*/ 400 h 485"/>
                  <a:gd name="T6" fmla="*/ 195 w 470"/>
                  <a:gd name="T7" fmla="*/ 360 h 485"/>
                  <a:gd name="T8" fmla="*/ 256 w 470"/>
                  <a:gd name="T9" fmla="*/ 317 h 485"/>
                  <a:gd name="T10" fmla="*/ 316 w 470"/>
                  <a:gd name="T11" fmla="*/ 258 h 485"/>
                  <a:gd name="T12" fmla="*/ 329 w 470"/>
                  <a:gd name="T13" fmla="*/ 262 h 485"/>
                  <a:gd name="T14" fmla="*/ 329 w 470"/>
                  <a:gd name="T15" fmla="*/ 239 h 485"/>
                  <a:gd name="T16" fmla="*/ 316 w 470"/>
                  <a:gd name="T17" fmla="*/ 205 h 485"/>
                  <a:gd name="T18" fmla="*/ 320 w 470"/>
                  <a:gd name="T19" fmla="*/ 189 h 485"/>
                  <a:gd name="T20" fmla="*/ 341 w 470"/>
                  <a:gd name="T21" fmla="*/ 185 h 485"/>
                  <a:gd name="T22" fmla="*/ 384 w 470"/>
                  <a:gd name="T23" fmla="*/ 205 h 485"/>
                  <a:gd name="T24" fmla="*/ 384 w 470"/>
                  <a:gd name="T25" fmla="*/ 225 h 485"/>
                  <a:gd name="T26" fmla="*/ 404 w 470"/>
                  <a:gd name="T27" fmla="*/ 241 h 485"/>
                  <a:gd name="T28" fmla="*/ 434 w 470"/>
                  <a:gd name="T29" fmla="*/ 189 h 485"/>
                  <a:gd name="T30" fmla="*/ 464 w 470"/>
                  <a:gd name="T31" fmla="*/ 155 h 485"/>
                  <a:gd name="T32" fmla="*/ 450 w 470"/>
                  <a:gd name="T33" fmla="*/ 128 h 485"/>
                  <a:gd name="T34" fmla="*/ 411 w 470"/>
                  <a:gd name="T35" fmla="*/ 137 h 485"/>
                  <a:gd name="T36" fmla="*/ 386 w 470"/>
                  <a:gd name="T37" fmla="*/ 166 h 485"/>
                  <a:gd name="T38" fmla="*/ 332 w 470"/>
                  <a:gd name="T39" fmla="*/ 169 h 485"/>
                  <a:gd name="T40" fmla="*/ 332 w 470"/>
                  <a:gd name="T41" fmla="*/ 155 h 485"/>
                  <a:gd name="T42" fmla="*/ 316 w 470"/>
                  <a:gd name="T43" fmla="*/ 167 h 485"/>
                  <a:gd name="T44" fmla="*/ 284 w 470"/>
                  <a:gd name="T45" fmla="*/ 175 h 485"/>
                  <a:gd name="T46" fmla="*/ 243 w 470"/>
                  <a:gd name="T47" fmla="*/ 162 h 485"/>
                  <a:gd name="T48" fmla="*/ 206 w 470"/>
                  <a:gd name="T49" fmla="*/ 142 h 485"/>
                  <a:gd name="T50" fmla="*/ 193 w 470"/>
                  <a:gd name="T51" fmla="*/ 132 h 485"/>
                  <a:gd name="T52" fmla="*/ 200 w 470"/>
                  <a:gd name="T53" fmla="*/ 114 h 485"/>
                  <a:gd name="T54" fmla="*/ 198 w 470"/>
                  <a:gd name="T55" fmla="*/ 105 h 485"/>
                  <a:gd name="T56" fmla="*/ 184 w 470"/>
                  <a:gd name="T57" fmla="*/ 94 h 485"/>
                  <a:gd name="T58" fmla="*/ 170 w 470"/>
                  <a:gd name="T59" fmla="*/ 87 h 485"/>
                  <a:gd name="T60" fmla="*/ 170 w 470"/>
                  <a:gd name="T61" fmla="*/ 64 h 485"/>
                  <a:gd name="T62" fmla="*/ 181 w 470"/>
                  <a:gd name="T63" fmla="*/ 66 h 485"/>
                  <a:gd name="T64" fmla="*/ 177 w 470"/>
                  <a:gd name="T65" fmla="*/ 53 h 485"/>
                  <a:gd name="T66" fmla="*/ 177 w 470"/>
                  <a:gd name="T67" fmla="*/ 39 h 485"/>
                  <a:gd name="T68" fmla="*/ 190 w 470"/>
                  <a:gd name="T69" fmla="*/ 26 h 485"/>
                  <a:gd name="T70" fmla="*/ 193 w 470"/>
                  <a:gd name="T71" fmla="*/ 10 h 485"/>
                  <a:gd name="T72" fmla="*/ 184 w 470"/>
                  <a:gd name="T73" fmla="*/ 1 h 485"/>
                  <a:gd name="T74" fmla="*/ 161 w 470"/>
                  <a:gd name="T75" fmla="*/ 8 h 485"/>
                  <a:gd name="T76" fmla="*/ 141 w 470"/>
                  <a:gd name="T77" fmla="*/ 25 h 485"/>
                  <a:gd name="T78" fmla="*/ 123 w 470"/>
                  <a:gd name="T79" fmla="*/ 28 h 485"/>
                  <a:gd name="T80" fmla="*/ 95 w 470"/>
                  <a:gd name="T81" fmla="*/ 23 h 485"/>
                  <a:gd name="T82" fmla="*/ 93 w 470"/>
                  <a:gd name="T83" fmla="*/ 35 h 485"/>
                  <a:gd name="T84" fmla="*/ 98 w 470"/>
                  <a:gd name="T85" fmla="*/ 48 h 485"/>
                  <a:gd name="T86" fmla="*/ 106 w 470"/>
                  <a:gd name="T87" fmla="*/ 60 h 485"/>
                  <a:gd name="T88" fmla="*/ 115 w 470"/>
                  <a:gd name="T89" fmla="*/ 75 h 485"/>
                  <a:gd name="T90" fmla="*/ 107 w 470"/>
                  <a:gd name="T91" fmla="*/ 87 h 485"/>
                  <a:gd name="T92" fmla="*/ 106 w 470"/>
                  <a:gd name="T93" fmla="*/ 94 h 485"/>
                  <a:gd name="T94" fmla="*/ 86 w 470"/>
                  <a:gd name="T95" fmla="*/ 116 h 485"/>
                  <a:gd name="T96" fmla="*/ 41 w 470"/>
                  <a:gd name="T97" fmla="*/ 150 h 485"/>
                  <a:gd name="T98" fmla="*/ 34 w 470"/>
                  <a:gd name="T99" fmla="*/ 176 h 485"/>
                  <a:gd name="T100" fmla="*/ 41 w 470"/>
                  <a:gd name="T101" fmla="*/ 198 h 485"/>
                  <a:gd name="T102" fmla="*/ 48 w 470"/>
                  <a:gd name="T103" fmla="*/ 214 h 485"/>
                  <a:gd name="T104" fmla="*/ 40 w 470"/>
                  <a:gd name="T105" fmla="*/ 212 h 485"/>
                  <a:gd name="T106" fmla="*/ 13 w 470"/>
                  <a:gd name="T107" fmla="*/ 216 h 485"/>
                  <a:gd name="T108" fmla="*/ 0 w 470"/>
                  <a:gd name="T109" fmla="*/ 225 h 485"/>
                  <a:gd name="T110" fmla="*/ 29 w 470"/>
                  <a:gd name="T111" fmla="*/ 248 h 485"/>
                  <a:gd name="T112" fmla="*/ 65 w 470"/>
                  <a:gd name="T113" fmla="*/ 264 h 485"/>
                  <a:gd name="T114" fmla="*/ 72 w 470"/>
                  <a:gd name="T115" fmla="*/ 260 h 485"/>
                  <a:gd name="T116" fmla="*/ 75 w 470"/>
                  <a:gd name="T117" fmla="*/ 305 h 485"/>
                  <a:gd name="T118" fmla="*/ 86 w 470"/>
                  <a:gd name="T119" fmla="*/ 353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0" h="485">
                    <a:moveTo>
                      <a:pt x="90" y="360"/>
                    </a:moveTo>
                    <a:lnTo>
                      <a:pt x="90" y="360"/>
                    </a:lnTo>
                    <a:lnTo>
                      <a:pt x="91" y="364"/>
                    </a:lnTo>
                    <a:lnTo>
                      <a:pt x="91" y="366"/>
                    </a:lnTo>
                    <a:lnTo>
                      <a:pt x="91" y="364"/>
                    </a:lnTo>
                    <a:lnTo>
                      <a:pt x="93" y="364"/>
                    </a:lnTo>
                    <a:lnTo>
                      <a:pt x="93" y="366"/>
                    </a:lnTo>
                    <a:lnTo>
                      <a:pt x="93" y="367"/>
                    </a:lnTo>
                    <a:lnTo>
                      <a:pt x="95" y="373"/>
                    </a:lnTo>
                    <a:lnTo>
                      <a:pt x="97" y="376"/>
                    </a:lnTo>
                    <a:lnTo>
                      <a:pt x="98" y="378"/>
                    </a:lnTo>
                    <a:lnTo>
                      <a:pt x="111" y="417"/>
                    </a:lnTo>
                    <a:lnTo>
                      <a:pt x="122" y="430"/>
                    </a:lnTo>
                    <a:lnTo>
                      <a:pt x="134" y="466"/>
                    </a:lnTo>
                    <a:lnTo>
                      <a:pt x="148" y="485"/>
                    </a:lnTo>
                    <a:lnTo>
                      <a:pt x="154" y="483"/>
                    </a:lnTo>
                    <a:lnTo>
                      <a:pt x="156" y="482"/>
                    </a:lnTo>
                    <a:lnTo>
                      <a:pt x="156" y="482"/>
                    </a:lnTo>
                    <a:lnTo>
                      <a:pt x="157" y="480"/>
                    </a:lnTo>
                    <a:lnTo>
                      <a:pt x="159" y="478"/>
                    </a:lnTo>
                    <a:lnTo>
                      <a:pt x="161" y="476"/>
                    </a:lnTo>
                    <a:lnTo>
                      <a:pt x="159" y="476"/>
                    </a:lnTo>
                    <a:lnTo>
                      <a:pt x="163" y="469"/>
                    </a:lnTo>
                    <a:lnTo>
                      <a:pt x="168" y="467"/>
                    </a:lnTo>
                    <a:lnTo>
                      <a:pt x="173" y="466"/>
                    </a:lnTo>
                    <a:lnTo>
                      <a:pt x="173" y="460"/>
                    </a:lnTo>
                    <a:lnTo>
                      <a:pt x="179" y="450"/>
                    </a:lnTo>
                    <a:lnTo>
                      <a:pt x="184" y="448"/>
                    </a:lnTo>
                    <a:lnTo>
                      <a:pt x="184" y="450"/>
                    </a:lnTo>
                    <a:lnTo>
                      <a:pt x="188" y="450"/>
                    </a:lnTo>
                    <a:lnTo>
                      <a:pt x="188" y="425"/>
                    </a:lnTo>
                    <a:lnTo>
                      <a:pt x="195" y="403"/>
                    </a:lnTo>
                    <a:lnTo>
                      <a:pt x="195" y="400"/>
                    </a:lnTo>
                    <a:lnTo>
                      <a:pt x="193" y="398"/>
                    </a:lnTo>
                    <a:lnTo>
                      <a:pt x="193" y="396"/>
                    </a:lnTo>
                    <a:lnTo>
                      <a:pt x="191" y="396"/>
                    </a:lnTo>
                    <a:lnTo>
                      <a:pt x="193" y="394"/>
                    </a:lnTo>
                    <a:lnTo>
                      <a:pt x="193" y="396"/>
                    </a:lnTo>
                    <a:lnTo>
                      <a:pt x="191" y="385"/>
                    </a:lnTo>
                    <a:lnTo>
                      <a:pt x="193" y="383"/>
                    </a:lnTo>
                    <a:lnTo>
                      <a:pt x="193" y="380"/>
                    </a:lnTo>
                    <a:lnTo>
                      <a:pt x="191" y="378"/>
                    </a:lnTo>
                    <a:lnTo>
                      <a:pt x="191" y="367"/>
                    </a:lnTo>
                    <a:lnTo>
                      <a:pt x="195" y="360"/>
                    </a:lnTo>
                    <a:lnTo>
                      <a:pt x="198" y="358"/>
                    </a:lnTo>
                    <a:lnTo>
                      <a:pt x="200" y="358"/>
                    </a:lnTo>
                    <a:lnTo>
                      <a:pt x="204" y="360"/>
                    </a:lnTo>
                    <a:lnTo>
                      <a:pt x="206" y="360"/>
                    </a:lnTo>
                    <a:lnTo>
                      <a:pt x="209" y="353"/>
                    </a:lnTo>
                    <a:lnTo>
                      <a:pt x="211" y="351"/>
                    </a:lnTo>
                    <a:lnTo>
                      <a:pt x="225" y="348"/>
                    </a:lnTo>
                    <a:lnTo>
                      <a:pt x="227" y="346"/>
                    </a:lnTo>
                    <a:lnTo>
                      <a:pt x="227" y="342"/>
                    </a:lnTo>
                    <a:lnTo>
                      <a:pt x="229" y="339"/>
                    </a:lnTo>
                    <a:lnTo>
                      <a:pt x="256" y="317"/>
                    </a:lnTo>
                    <a:lnTo>
                      <a:pt x="256" y="317"/>
                    </a:lnTo>
                    <a:lnTo>
                      <a:pt x="257" y="317"/>
                    </a:lnTo>
                    <a:lnTo>
                      <a:pt x="270" y="301"/>
                    </a:lnTo>
                    <a:lnTo>
                      <a:pt x="291" y="291"/>
                    </a:lnTo>
                    <a:lnTo>
                      <a:pt x="291" y="291"/>
                    </a:lnTo>
                    <a:lnTo>
                      <a:pt x="298" y="283"/>
                    </a:lnTo>
                    <a:lnTo>
                      <a:pt x="300" y="282"/>
                    </a:lnTo>
                    <a:lnTo>
                      <a:pt x="302" y="278"/>
                    </a:lnTo>
                    <a:lnTo>
                      <a:pt x="300" y="271"/>
                    </a:lnTo>
                    <a:lnTo>
                      <a:pt x="302" y="266"/>
                    </a:lnTo>
                    <a:lnTo>
                      <a:pt x="316" y="258"/>
                    </a:lnTo>
                    <a:lnTo>
                      <a:pt x="318" y="255"/>
                    </a:lnTo>
                    <a:lnTo>
                      <a:pt x="320" y="253"/>
                    </a:lnTo>
                    <a:lnTo>
                      <a:pt x="322" y="253"/>
                    </a:lnTo>
                    <a:lnTo>
                      <a:pt x="320" y="260"/>
                    </a:lnTo>
                    <a:lnTo>
                      <a:pt x="320" y="260"/>
                    </a:lnTo>
                    <a:lnTo>
                      <a:pt x="322" y="260"/>
                    </a:lnTo>
                    <a:lnTo>
                      <a:pt x="322" y="260"/>
                    </a:lnTo>
                    <a:lnTo>
                      <a:pt x="323" y="264"/>
                    </a:lnTo>
                    <a:lnTo>
                      <a:pt x="325" y="262"/>
                    </a:lnTo>
                    <a:lnTo>
                      <a:pt x="327" y="262"/>
                    </a:lnTo>
                    <a:lnTo>
                      <a:pt x="329" y="262"/>
                    </a:lnTo>
                    <a:lnTo>
                      <a:pt x="329" y="260"/>
                    </a:lnTo>
                    <a:lnTo>
                      <a:pt x="329" y="258"/>
                    </a:lnTo>
                    <a:lnTo>
                      <a:pt x="331" y="262"/>
                    </a:lnTo>
                    <a:lnTo>
                      <a:pt x="331" y="262"/>
                    </a:lnTo>
                    <a:lnTo>
                      <a:pt x="334" y="262"/>
                    </a:lnTo>
                    <a:lnTo>
                      <a:pt x="332" y="257"/>
                    </a:lnTo>
                    <a:lnTo>
                      <a:pt x="332" y="257"/>
                    </a:lnTo>
                    <a:lnTo>
                      <a:pt x="331" y="246"/>
                    </a:lnTo>
                    <a:lnTo>
                      <a:pt x="329" y="244"/>
                    </a:lnTo>
                    <a:lnTo>
                      <a:pt x="329" y="242"/>
                    </a:lnTo>
                    <a:lnTo>
                      <a:pt x="329" y="239"/>
                    </a:lnTo>
                    <a:lnTo>
                      <a:pt x="329" y="239"/>
                    </a:lnTo>
                    <a:lnTo>
                      <a:pt x="329" y="235"/>
                    </a:lnTo>
                    <a:lnTo>
                      <a:pt x="329" y="233"/>
                    </a:lnTo>
                    <a:lnTo>
                      <a:pt x="327" y="233"/>
                    </a:lnTo>
                    <a:lnTo>
                      <a:pt x="327" y="228"/>
                    </a:lnTo>
                    <a:lnTo>
                      <a:pt x="325" y="226"/>
                    </a:lnTo>
                    <a:lnTo>
                      <a:pt x="327" y="216"/>
                    </a:lnTo>
                    <a:lnTo>
                      <a:pt x="325" y="212"/>
                    </a:lnTo>
                    <a:lnTo>
                      <a:pt x="316" y="208"/>
                    </a:lnTo>
                    <a:lnTo>
                      <a:pt x="316" y="207"/>
                    </a:lnTo>
                    <a:lnTo>
                      <a:pt x="316" y="205"/>
                    </a:lnTo>
                    <a:lnTo>
                      <a:pt x="318" y="203"/>
                    </a:lnTo>
                    <a:lnTo>
                      <a:pt x="320" y="201"/>
                    </a:lnTo>
                    <a:lnTo>
                      <a:pt x="322" y="201"/>
                    </a:lnTo>
                    <a:lnTo>
                      <a:pt x="323" y="200"/>
                    </a:lnTo>
                    <a:lnTo>
                      <a:pt x="329" y="198"/>
                    </a:lnTo>
                    <a:lnTo>
                      <a:pt x="329" y="196"/>
                    </a:lnTo>
                    <a:lnTo>
                      <a:pt x="327" y="194"/>
                    </a:lnTo>
                    <a:lnTo>
                      <a:pt x="327" y="194"/>
                    </a:lnTo>
                    <a:lnTo>
                      <a:pt x="323" y="194"/>
                    </a:lnTo>
                    <a:lnTo>
                      <a:pt x="322" y="192"/>
                    </a:lnTo>
                    <a:lnTo>
                      <a:pt x="320" y="189"/>
                    </a:lnTo>
                    <a:lnTo>
                      <a:pt x="320" y="187"/>
                    </a:lnTo>
                    <a:lnTo>
                      <a:pt x="323" y="180"/>
                    </a:lnTo>
                    <a:lnTo>
                      <a:pt x="325" y="176"/>
                    </a:lnTo>
                    <a:lnTo>
                      <a:pt x="325" y="176"/>
                    </a:lnTo>
                    <a:lnTo>
                      <a:pt x="331" y="183"/>
                    </a:lnTo>
                    <a:lnTo>
                      <a:pt x="332" y="178"/>
                    </a:lnTo>
                    <a:lnTo>
                      <a:pt x="334" y="178"/>
                    </a:lnTo>
                    <a:lnTo>
                      <a:pt x="334" y="183"/>
                    </a:lnTo>
                    <a:lnTo>
                      <a:pt x="336" y="185"/>
                    </a:lnTo>
                    <a:lnTo>
                      <a:pt x="338" y="183"/>
                    </a:lnTo>
                    <a:lnTo>
                      <a:pt x="341" y="185"/>
                    </a:lnTo>
                    <a:lnTo>
                      <a:pt x="343" y="182"/>
                    </a:lnTo>
                    <a:lnTo>
                      <a:pt x="343" y="183"/>
                    </a:lnTo>
                    <a:lnTo>
                      <a:pt x="347" y="194"/>
                    </a:lnTo>
                    <a:lnTo>
                      <a:pt x="348" y="196"/>
                    </a:lnTo>
                    <a:lnTo>
                      <a:pt x="350" y="198"/>
                    </a:lnTo>
                    <a:lnTo>
                      <a:pt x="364" y="200"/>
                    </a:lnTo>
                    <a:lnTo>
                      <a:pt x="364" y="198"/>
                    </a:lnTo>
                    <a:lnTo>
                      <a:pt x="375" y="198"/>
                    </a:lnTo>
                    <a:lnTo>
                      <a:pt x="388" y="201"/>
                    </a:lnTo>
                    <a:lnTo>
                      <a:pt x="386" y="203"/>
                    </a:lnTo>
                    <a:lnTo>
                      <a:pt x="384" y="205"/>
                    </a:lnTo>
                    <a:lnTo>
                      <a:pt x="382" y="208"/>
                    </a:lnTo>
                    <a:lnTo>
                      <a:pt x="375" y="216"/>
                    </a:lnTo>
                    <a:lnTo>
                      <a:pt x="368" y="219"/>
                    </a:lnTo>
                    <a:lnTo>
                      <a:pt x="368" y="223"/>
                    </a:lnTo>
                    <a:lnTo>
                      <a:pt x="370" y="232"/>
                    </a:lnTo>
                    <a:lnTo>
                      <a:pt x="373" y="233"/>
                    </a:lnTo>
                    <a:lnTo>
                      <a:pt x="375" y="235"/>
                    </a:lnTo>
                    <a:lnTo>
                      <a:pt x="377" y="237"/>
                    </a:lnTo>
                    <a:lnTo>
                      <a:pt x="381" y="228"/>
                    </a:lnTo>
                    <a:lnTo>
                      <a:pt x="382" y="225"/>
                    </a:lnTo>
                    <a:lnTo>
                      <a:pt x="384" y="225"/>
                    </a:lnTo>
                    <a:lnTo>
                      <a:pt x="393" y="257"/>
                    </a:lnTo>
                    <a:lnTo>
                      <a:pt x="393" y="257"/>
                    </a:lnTo>
                    <a:lnTo>
                      <a:pt x="395" y="255"/>
                    </a:lnTo>
                    <a:lnTo>
                      <a:pt x="398" y="255"/>
                    </a:lnTo>
                    <a:lnTo>
                      <a:pt x="398" y="255"/>
                    </a:lnTo>
                    <a:lnTo>
                      <a:pt x="400" y="253"/>
                    </a:lnTo>
                    <a:lnTo>
                      <a:pt x="400" y="251"/>
                    </a:lnTo>
                    <a:lnTo>
                      <a:pt x="400" y="251"/>
                    </a:lnTo>
                    <a:lnTo>
                      <a:pt x="400" y="248"/>
                    </a:lnTo>
                    <a:lnTo>
                      <a:pt x="400" y="241"/>
                    </a:lnTo>
                    <a:lnTo>
                      <a:pt x="404" y="241"/>
                    </a:lnTo>
                    <a:lnTo>
                      <a:pt x="404" y="239"/>
                    </a:lnTo>
                    <a:lnTo>
                      <a:pt x="404" y="225"/>
                    </a:lnTo>
                    <a:lnTo>
                      <a:pt x="407" y="223"/>
                    </a:lnTo>
                    <a:lnTo>
                      <a:pt x="411" y="223"/>
                    </a:lnTo>
                    <a:lnTo>
                      <a:pt x="416" y="223"/>
                    </a:lnTo>
                    <a:lnTo>
                      <a:pt x="418" y="221"/>
                    </a:lnTo>
                    <a:lnTo>
                      <a:pt x="427" y="201"/>
                    </a:lnTo>
                    <a:lnTo>
                      <a:pt x="425" y="200"/>
                    </a:lnTo>
                    <a:lnTo>
                      <a:pt x="427" y="196"/>
                    </a:lnTo>
                    <a:lnTo>
                      <a:pt x="432" y="194"/>
                    </a:lnTo>
                    <a:lnTo>
                      <a:pt x="434" y="189"/>
                    </a:lnTo>
                    <a:lnTo>
                      <a:pt x="434" y="182"/>
                    </a:lnTo>
                    <a:lnTo>
                      <a:pt x="436" y="176"/>
                    </a:lnTo>
                    <a:lnTo>
                      <a:pt x="439" y="173"/>
                    </a:lnTo>
                    <a:lnTo>
                      <a:pt x="445" y="171"/>
                    </a:lnTo>
                    <a:lnTo>
                      <a:pt x="448" y="166"/>
                    </a:lnTo>
                    <a:lnTo>
                      <a:pt x="456" y="164"/>
                    </a:lnTo>
                    <a:lnTo>
                      <a:pt x="457" y="162"/>
                    </a:lnTo>
                    <a:lnTo>
                      <a:pt x="463" y="164"/>
                    </a:lnTo>
                    <a:lnTo>
                      <a:pt x="464" y="162"/>
                    </a:lnTo>
                    <a:lnTo>
                      <a:pt x="463" y="158"/>
                    </a:lnTo>
                    <a:lnTo>
                      <a:pt x="464" y="155"/>
                    </a:lnTo>
                    <a:lnTo>
                      <a:pt x="468" y="153"/>
                    </a:lnTo>
                    <a:lnTo>
                      <a:pt x="470" y="151"/>
                    </a:lnTo>
                    <a:lnTo>
                      <a:pt x="470" y="148"/>
                    </a:lnTo>
                    <a:lnTo>
                      <a:pt x="468" y="144"/>
                    </a:lnTo>
                    <a:lnTo>
                      <a:pt x="464" y="142"/>
                    </a:lnTo>
                    <a:lnTo>
                      <a:pt x="461" y="142"/>
                    </a:lnTo>
                    <a:lnTo>
                      <a:pt x="459" y="141"/>
                    </a:lnTo>
                    <a:lnTo>
                      <a:pt x="454" y="141"/>
                    </a:lnTo>
                    <a:lnTo>
                      <a:pt x="454" y="133"/>
                    </a:lnTo>
                    <a:lnTo>
                      <a:pt x="450" y="132"/>
                    </a:lnTo>
                    <a:lnTo>
                      <a:pt x="450" y="128"/>
                    </a:lnTo>
                    <a:lnTo>
                      <a:pt x="450" y="126"/>
                    </a:lnTo>
                    <a:lnTo>
                      <a:pt x="447" y="123"/>
                    </a:lnTo>
                    <a:lnTo>
                      <a:pt x="443" y="125"/>
                    </a:lnTo>
                    <a:lnTo>
                      <a:pt x="439" y="126"/>
                    </a:lnTo>
                    <a:lnTo>
                      <a:pt x="436" y="128"/>
                    </a:lnTo>
                    <a:lnTo>
                      <a:pt x="427" y="128"/>
                    </a:lnTo>
                    <a:lnTo>
                      <a:pt x="425" y="126"/>
                    </a:lnTo>
                    <a:lnTo>
                      <a:pt x="423" y="126"/>
                    </a:lnTo>
                    <a:lnTo>
                      <a:pt x="418" y="130"/>
                    </a:lnTo>
                    <a:lnTo>
                      <a:pt x="416" y="132"/>
                    </a:lnTo>
                    <a:lnTo>
                      <a:pt x="411" y="137"/>
                    </a:lnTo>
                    <a:lnTo>
                      <a:pt x="407" y="139"/>
                    </a:lnTo>
                    <a:lnTo>
                      <a:pt x="400" y="146"/>
                    </a:lnTo>
                    <a:lnTo>
                      <a:pt x="379" y="153"/>
                    </a:lnTo>
                    <a:lnTo>
                      <a:pt x="379" y="153"/>
                    </a:lnTo>
                    <a:lnTo>
                      <a:pt x="379" y="155"/>
                    </a:lnTo>
                    <a:lnTo>
                      <a:pt x="379" y="157"/>
                    </a:lnTo>
                    <a:lnTo>
                      <a:pt x="379" y="157"/>
                    </a:lnTo>
                    <a:lnTo>
                      <a:pt x="379" y="158"/>
                    </a:lnTo>
                    <a:lnTo>
                      <a:pt x="384" y="160"/>
                    </a:lnTo>
                    <a:lnTo>
                      <a:pt x="386" y="162"/>
                    </a:lnTo>
                    <a:lnTo>
                      <a:pt x="386" y="166"/>
                    </a:lnTo>
                    <a:lnTo>
                      <a:pt x="386" y="167"/>
                    </a:lnTo>
                    <a:lnTo>
                      <a:pt x="386" y="167"/>
                    </a:lnTo>
                    <a:lnTo>
                      <a:pt x="382" y="169"/>
                    </a:lnTo>
                    <a:lnTo>
                      <a:pt x="364" y="173"/>
                    </a:lnTo>
                    <a:lnTo>
                      <a:pt x="357" y="171"/>
                    </a:lnTo>
                    <a:lnTo>
                      <a:pt x="350" y="173"/>
                    </a:lnTo>
                    <a:lnTo>
                      <a:pt x="339" y="173"/>
                    </a:lnTo>
                    <a:lnTo>
                      <a:pt x="336" y="171"/>
                    </a:lnTo>
                    <a:lnTo>
                      <a:pt x="334" y="171"/>
                    </a:lnTo>
                    <a:lnTo>
                      <a:pt x="334" y="171"/>
                    </a:lnTo>
                    <a:lnTo>
                      <a:pt x="332" y="169"/>
                    </a:lnTo>
                    <a:lnTo>
                      <a:pt x="332" y="167"/>
                    </a:lnTo>
                    <a:lnTo>
                      <a:pt x="332" y="167"/>
                    </a:lnTo>
                    <a:lnTo>
                      <a:pt x="331" y="167"/>
                    </a:lnTo>
                    <a:lnTo>
                      <a:pt x="331" y="166"/>
                    </a:lnTo>
                    <a:lnTo>
                      <a:pt x="334" y="162"/>
                    </a:lnTo>
                    <a:lnTo>
                      <a:pt x="334" y="162"/>
                    </a:lnTo>
                    <a:lnTo>
                      <a:pt x="332" y="162"/>
                    </a:lnTo>
                    <a:lnTo>
                      <a:pt x="331" y="162"/>
                    </a:lnTo>
                    <a:lnTo>
                      <a:pt x="331" y="160"/>
                    </a:lnTo>
                    <a:lnTo>
                      <a:pt x="331" y="158"/>
                    </a:lnTo>
                    <a:lnTo>
                      <a:pt x="332" y="155"/>
                    </a:lnTo>
                    <a:lnTo>
                      <a:pt x="331" y="150"/>
                    </a:lnTo>
                    <a:lnTo>
                      <a:pt x="331" y="150"/>
                    </a:lnTo>
                    <a:lnTo>
                      <a:pt x="329" y="148"/>
                    </a:lnTo>
                    <a:lnTo>
                      <a:pt x="329" y="150"/>
                    </a:lnTo>
                    <a:lnTo>
                      <a:pt x="325" y="151"/>
                    </a:lnTo>
                    <a:lnTo>
                      <a:pt x="323" y="151"/>
                    </a:lnTo>
                    <a:lnTo>
                      <a:pt x="320" y="151"/>
                    </a:lnTo>
                    <a:lnTo>
                      <a:pt x="318" y="157"/>
                    </a:lnTo>
                    <a:lnTo>
                      <a:pt x="318" y="166"/>
                    </a:lnTo>
                    <a:lnTo>
                      <a:pt x="316" y="167"/>
                    </a:lnTo>
                    <a:lnTo>
                      <a:pt x="316" y="167"/>
                    </a:lnTo>
                    <a:lnTo>
                      <a:pt x="320" y="169"/>
                    </a:lnTo>
                    <a:lnTo>
                      <a:pt x="322" y="173"/>
                    </a:lnTo>
                    <a:lnTo>
                      <a:pt x="320" y="175"/>
                    </a:lnTo>
                    <a:lnTo>
                      <a:pt x="318" y="178"/>
                    </a:lnTo>
                    <a:lnTo>
                      <a:pt x="318" y="178"/>
                    </a:lnTo>
                    <a:lnTo>
                      <a:pt x="314" y="178"/>
                    </a:lnTo>
                    <a:lnTo>
                      <a:pt x="313" y="178"/>
                    </a:lnTo>
                    <a:lnTo>
                      <a:pt x="307" y="178"/>
                    </a:lnTo>
                    <a:lnTo>
                      <a:pt x="306" y="178"/>
                    </a:lnTo>
                    <a:lnTo>
                      <a:pt x="302" y="178"/>
                    </a:lnTo>
                    <a:lnTo>
                      <a:pt x="284" y="175"/>
                    </a:lnTo>
                    <a:lnTo>
                      <a:pt x="282" y="173"/>
                    </a:lnTo>
                    <a:lnTo>
                      <a:pt x="270" y="171"/>
                    </a:lnTo>
                    <a:lnTo>
                      <a:pt x="264" y="167"/>
                    </a:lnTo>
                    <a:lnTo>
                      <a:pt x="263" y="164"/>
                    </a:lnTo>
                    <a:lnTo>
                      <a:pt x="261" y="162"/>
                    </a:lnTo>
                    <a:lnTo>
                      <a:pt x="254" y="162"/>
                    </a:lnTo>
                    <a:lnTo>
                      <a:pt x="254" y="162"/>
                    </a:lnTo>
                    <a:lnTo>
                      <a:pt x="252" y="162"/>
                    </a:lnTo>
                    <a:lnTo>
                      <a:pt x="248" y="162"/>
                    </a:lnTo>
                    <a:lnTo>
                      <a:pt x="245" y="160"/>
                    </a:lnTo>
                    <a:lnTo>
                      <a:pt x="243" y="162"/>
                    </a:lnTo>
                    <a:lnTo>
                      <a:pt x="236" y="160"/>
                    </a:lnTo>
                    <a:lnTo>
                      <a:pt x="232" y="157"/>
                    </a:lnTo>
                    <a:lnTo>
                      <a:pt x="232" y="157"/>
                    </a:lnTo>
                    <a:lnTo>
                      <a:pt x="229" y="157"/>
                    </a:lnTo>
                    <a:lnTo>
                      <a:pt x="225" y="155"/>
                    </a:lnTo>
                    <a:lnTo>
                      <a:pt x="222" y="153"/>
                    </a:lnTo>
                    <a:lnTo>
                      <a:pt x="220" y="153"/>
                    </a:lnTo>
                    <a:lnTo>
                      <a:pt x="215" y="150"/>
                    </a:lnTo>
                    <a:lnTo>
                      <a:pt x="211" y="146"/>
                    </a:lnTo>
                    <a:lnTo>
                      <a:pt x="206" y="142"/>
                    </a:lnTo>
                    <a:lnTo>
                      <a:pt x="206" y="142"/>
                    </a:lnTo>
                    <a:lnTo>
                      <a:pt x="202" y="139"/>
                    </a:lnTo>
                    <a:lnTo>
                      <a:pt x="200" y="139"/>
                    </a:lnTo>
                    <a:lnTo>
                      <a:pt x="200" y="141"/>
                    </a:lnTo>
                    <a:lnTo>
                      <a:pt x="198" y="141"/>
                    </a:lnTo>
                    <a:lnTo>
                      <a:pt x="198" y="139"/>
                    </a:lnTo>
                    <a:lnTo>
                      <a:pt x="197" y="139"/>
                    </a:lnTo>
                    <a:lnTo>
                      <a:pt x="195" y="137"/>
                    </a:lnTo>
                    <a:lnTo>
                      <a:pt x="193" y="135"/>
                    </a:lnTo>
                    <a:lnTo>
                      <a:pt x="193" y="135"/>
                    </a:lnTo>
                    <a:lnTo>
                      <a:pt x="193" y="133"/>
                    </a:lnTo>
                    <a:lnTo>
                      <a:pt x="193" y="132"/>
                    </a:lnTo>
                    <a:lnTo>
                      <a:pt x="195" y="130"/>
                    </a:lnTo>
                    <a:lnTo>
                      <a:pt x="195" y="128"/>
                    </a:lnTo>
                    <a:lnTo>
                      <a:pt x="197" y="128"/>
                    </a:lnTo>
                    <a:lnTo>
                      <a:pt x="195" y="125"/>
                    </a:lnTo>
                    <a:lnTo>
                      <a:pt x="197" y="123"/>
                    </a:lnTo>
                    <a:lnTo>
                      <a:pt x="198" y="121"/>
                    </a:lnTo>
                    <a:lnTo>
                      <a:pt x="197" y="119"/>
                    </a:lnTo>
                    <a:lnTo>
                      <a:pt x="197" y="117"/>
                    </a:lnTo>
                    <a:lnTo>
                      <a:pt x="198" y="116"/>
                    </a:lnTo>
                    <a:lnTo>
                      <a:pt x="200" y="116"/>
                    </a:lnTo>
                    <a:lnTo>
                      <a:pt x="200" y="114"/>
                    </a:lnTo>
                    <a:lnTo>
                      <a:pt x="204" y="112"/>
                    </a:lnTo>
                    <a:lnTo>
                      <a:pt x="204" y="110"/>
                    </a:lnTo>
                    <a:lnTo>
                      <a:pt x="204" y="110"/>
                    </a:lnTo>
                    <a:lnTo>
                      <a:pt x="206" y="108"/>
                    </a:lnTo>
                    <a:lnTo>
                      <a:pt x="206" y="110"/>
                    </a:lnTo>
                    <a:lnTo>
                      <a:pt x="207" y="108"/>
                    </a:lnTo>
                    <a:lnTo>
                      <a:pt x="207" y="108"/>
                    </a:lnTo>
                    <a:lnTo>
                      <a:pt x="202" y="107"/>
                    </a:lnTo>
                    <a:lnTo>
                      <a:pt x="202" y="107"/>
                    </a:lnTo>
                    <a:lnTo>
                      <a:pt x="200" y="105"/>
                    </a:lnTo>
                    <a:lnTo>
                      <a:pt x="198" y="105"/>
                    </a:lnTo>
                    <a:lnTo>
                      <a:pt x="195" y="101"/>
                    </a:lnTo>
                    <a:lnTo>
                      <a:pt x="191" y="101"/>
                    </a:lnTo>
                    <a:lnTo>
                      <a:pt x="191" y="100"/>
                    </a:lnTo>
                    <a:lnTo>
                      <a:pt x="191" y="98"/>
                    </a:lnTo>
                    <a:lnTo>
                      <a:pt x="190" y="98"/>
                    </a:lnTo>
                    <a:lnTo>
                      <a:pt x="190" y="98"/>
                    </a:lnTo>
                    <a:lnTo>
                      <a:pt x="188" y="96"/>
                    </a:lnTo>
                    <a:lnTo>
                      <a:pt x="188" y="96"/>
                    </a:lnTo>
                    <a:lnTo>
                      <a:pt x="184" y="98"/>
                    </a:lnTo>
                    <a:lnTo>
                      <a:pt x="184" y="96"/>
                    </a:lnTo>
                    <a:lnTo>
                      <a:pt x="184" y="94"/>
                    </a:lnTo>
                    <a:lnTo>
                      <a:pt x="184" y="94"/>
                    </a:lnTo>
                    <a:lnTo>
                      <a:pt x="182" y="94"/>
                    </a:lnTo>
                    <a:lnTo>
                      <a:pt x="177" y="94"/>
                    </a:lnTo>
                    <a:lnTo>
                      <a:pt x="175" y="96"/>
                    </a:lnTo>
                    <a:lnTo>
                      <a:pt x="175" y="96"/>
                    </a:lnTo>
                    <a:lnTo>
                      <a:pt x="173" y="94"/>
                    </a:lnTo>
                    <a:lnTo>
                      <a:pt x="175" y="92"/>
                    </a:lnTo>
                    <a:lnTo>
                      <a:pt x="173" y="91"/>
                    </a:lnTo>
                    <a:lnTo>
                      <a:pt x="172" y="89"/>
                    </a:lnTo>
                    <a:lnTo>
                      <a:pt x="172" y="89"/>
                    </a:lnTo>
                    <a:lnTo>
                      <a:pt x="170" y="87"/>
                    </a:lnTo>
                    <a:lnTo>
                      <a:pt x="170" y="85"/>
                    </a:lnTo>
                    <a:lnTo>
                      <a:pt x="172" y="83"/>
                    </a:lnTo>
                    <a:lnTo>
                      <a:pt x="170" y="82"/>
                    </a:lnTo>
                    <a:lnTo>
                      <a:pt x="170" y="78"/>
                    </a:lnTo>
                    <a:lnTo>
                      <a:pt x="172" y="76"/>
                    </a:lnTo>
                    <a:lnTo>
                      <a:pt x="166" y="71"/>
                    </a:lnTo>
                    <a:lnTo>
                      <a:pt x="166" y="69"/>
                    </a:lnTo>
                    <a:lnTo>
                      <a:pt x="166" y="67"/>
                    </a:lnTo>
                    <a:lnTo>
                      <a:pt x="166" y="66"/>
                    </a:lnTo>
                    <a:lnTo>
                      <a:pt x="170" y="66"/>
                    </a:lnTo>
                    <a:lnTo>
                      <a:pt x="170" y="64"/>
                    </a:lnTo>
                    <a:lnTo>
                      <a:pt x="172" y="64"/>
                    </a:lnTo>
                    <a:lnTo>
                      <a:pt x="172" y="67"/>
                    </a:lnTo>
                    <a:lnTo>
                      <a:pt x="172" y="67"/>
                    </a:lnTo>
                    <a:lnTo>
                      <a:pt x="173" y="69"/>
                    </a:lnTo>
                    <a:lnTo>
                      <a:pt x="175" y="69"/>
                    </a:lnTo>
                    <a:lnTo>
                      <a:pt x="175" y="69"/>
                    </a:lnTo>
                    <a:lnTo>
                      <a:pt x="177" y="69"/>
                    </a:lnTo>
                    <a:lnTo>
                      <a:pt x="177" y="69"/>
                    </a:lnTo>
                    <a:lnTo>
                      <a:pt x="177" y="67"/>
                    </a:lnTo>
                    <a:lnTo>
                      <a:pt x="179" y="67"/>
                    </a:lnTo>
                    <a:lnTo>
                      <a:pt x="181" y="66"/>
                    </a:lnTo>
                    <a:lnTo>
                      <a:pt x="181" y="66"/>
                    </a:lnTo>
                    <a:lnTo>
                      <a:pt x="181" y="66"/>
                    </a:lnTo>
                    <a:lnTo>
                      <a:pt x="182" y="66"/>
                    </a:lnTo>
                    <a:lnTo>
                      <a:pt x="184" y="64"/>
                    </a:lnTo>
                    <a:lnTo>
                      <a:pt x="184" y="62"/>
                    </a:lnTo>
                    <a:lnTo>
                      <a:pt x="182" y="58"/>
                    </a:lnTo>
                    <a:lnTo>
                      <a:pt x="181" y="57"/>
                    </a:lnTo>
                    <a:lnTo>
                      <a:pt x="182" y="57"/>
                    </a:lnTo>
                    <a:lnTo>
                      <a:pt x="182" y="55"/>
                    </a:lnTo>
                    <a:lnTo>
                      <a:pt x="179" y="53"/>
                    </a:lnTo>
                    <a:lnTo>
                      <a:pt x="177" y="53"/>
                    </a:lnTo>
                    <a:lnTo>
                      <a:pt x="177" y="53"/>
                    </a:lnTo>
                    <a:lnTo>
                      <a:pt x="175" y="50"/>
                    </a:lnTo>
                    <a:lnTo>
                      <a:pt x="175" y="46"/>
                    </a:lnTo>
                    <a:lnTo>
                      <a:pt x="175" y="46"/>
                    </a:lnTo>
                    <a:lnTo>
                      <a:pt x="175" y="44"/>
                    </a:lnTo>
                    <a:lnTo>
                      <a:pt x="175" y="42"/>
                    </a:lnTo>
                    <a:lnTo>
                      <a:pt x="175" y="42"/>
                    </a:lnTo>
                    <a:lnTo>
                      <a:pt x="173" y="41"/>
                    </a:lnTo>
                    <a:lnTo>
                      <a:pt x="173" y="39"/>
                    </a:lnTo>
                    <a:lnTo>
                      <a:pt x="173" y="39"/>
                    </a:lnTo>
                    <a:lnTo>
                      <a:pt x="177" y="39"/>
                    </a:lnTo>
                    <a:lnTo>
                      <a:pt x="179" y="37"/>
                    </a:lnTo>
                    <a:lnTo>
                      <a:pt x="181" y="39"/>
                    </a:lnTo>
                    <a:lnTo>
                      <a:pt x="182" y="39"/>
                    </a:lnTo>
                    <a:lnTo>
                      <a:pt x="184" y="33"/>
                    </a:lnTo>
                    <a:lnTo>
                      <a:pt x="184" y="30"/>
                    </a:lnTo>
                    <a:lnTo>
                      <a:pt x="188" y="30"/>
                    </a:lnTo>
                    <a:lnTo>
                      <a:pt x="188" y="30"/>
                    </a:lnTo>
                    <a:lnTo>
                      <a:pt x="188" y="30"/>
                    </a:lnTo>
                    <a:lnTo>
                      <a:pt x="188" y="28"/>
                    </a:lnTo>
                    <a:lnTo>
                      <a:pt x="190" y="28"/>
                    </a:lnTo>
                    <a:lnTo>
                      <a:pt x="190" y="26"/>
                    </a:lnTo>
                    <a:lnTo>
                      <a:pt x="193" y="25"/>
                    </a:lnTo>
                    <a:lnTo>
                      <a:pt x="193" y="23"/>
                    </a:lnTo>
                    <a:lnTo>
                      <a:pt x="193" y="21"/>
                    </a:lnTo>
                    <a:lnTo>
                      <a:pt x="195" y="16"/>
                    </a:lnTo>
                    <a:lnTo>
                      <a:pt x="195" y="14"/>
                    </a:lnTo>
                    <a:lnTo>
                      <a:pt x="195" y="12"/>
                    </a:lnTo>
                    <a:lnTo>
                      <a:pt x="197" y="10"/>
                    </a:lnTo>
                    <a:lnTo>
                      <a:pt x="197" y="8"/>
                    </a:lnTo>
                    <a:lnTo>
                      <a:pt x="197" y="8"/>
                    </a:lnTo>
                    <a:lnTo>
                      <a:pt x="195" y="8"/>
                    </a:lnTo>
                    <a:lnTo>
                      <a:pt x="193" y="10"/>
                    </a:lnTo>
                    <a:lnTo>
                      <a:pt x="193" y="10"/>
                    </a:lnTo>
                    <a:lnTo>
                      <a:pt x="191" y="10"/>
                    </a:lnTo>
                    <a:lnTo>
                      <a:pt x="191" y="7"/>
                    </a:lnTo>
                    <a:lnTo>
                      <a:pt x="190" y="7"/>
                    </a:lnTo>
                    <a:lnTo>
                      <a:pt x="188" y="7"/>
                    </a:lnTo>
                    <a:lnTo>
                      <a:pt x="188" y="7"/>
                    </a:lnTo>
                    <a:lnTo>
                      <a:pt x="186" y="7"/>
                    </a:lnTo>
                    <a:lnTo>
                      <a:pt x="186" y="5"/>
                    </a:lnTo>
                    <a:lnTo>
                      <a:pt x="186" y="3"/>
                    </a:lnTo>
                    <a:lnTo>
                      <a:pt x="184" y="3"/>
                    </a:lnTo>
                    <a:lnTo>
                      <a:pt x="184" y="1"/>
                    </a:lnTo>
                    <a:lnTo>
                      <a:pt x="184" y="1"/>
                    </a:lnTo>
                    <a:lnTo>
                      <a:pt x="182" y="1"/>
                    </a:lnTo>
                    <a:lnTo>
                      <a:pt x="181" y="0"/>
                    </a:lnTo>
                    <a:lnTo>
                      <a:pt x="181" y="0"/>
                    </a:lnTo>
                    <a:lnTo>
                      <a:pt x="179" y="0"/>
                    </a:lnTo>
                    <a:lnTo>
                      <a:pt x="179" y="0"/>
                    </a:lnTo>
                    <a:lnTo>
                      <a:pt x="177" y="0"/>
                    </a:lnTo>
                    <a:lnTo>
                      <a:pt x="175" y="1"/>
                    </a:lnTo>
                    <a:lnTo>
                      <a:pt x="172" y="1"/>
                    </a:lnTo>
                    <a:lnTo>
                      <a:pt x="163" y="7"/>
                    </a:lnTo>
                    <a:lnTo>
                      <a:pt x="161" y="8"/>
                    </a:lnTo>
                    <a:lnTo>
                      <a:pt x="159" y="8"/>
                    </a:lnTo>
                    <a:lnTo>
                      <a:pt x="159" y="10"/>
                    </a:lnTo>
                    <a:lnTo>
                      <a:pt x="157" y="8"/>
                    </a:lnTo>
                    <a:lnTo>
                      <a:pt x="156" y="10"/>
                    </a:lnTo>
                    <a:lnTo>
                      <a:pt x="154" y="10"/>
                    </a:lnTo>
                    <a:lnTo>
                      <a:pt x="143" y="17"/>
                    </a:lnTo>
                    <a:lnTo>
                      <a:pt x="143" y="19"/>
                    </a:lnTo>
                    <a:lnTo>
                      <a:pt x="143" y="19"/>
                    </a:lnTo>
                    <a:lnTo>
                      <a:pt x="143" y="21"/>
                    </a:lnTo>
                    <a:lnTo>
                      <a:pt x="141" y="23"/>
                    </a:lnTo>
                    <a:lnTo>
                      <a:pt x="141" y="25"/>
                    </a:lnTo>
                    <a:lnTo>
                      <a:pt x="140" y="23"/>
                    </a:lnTo>
                    <a:lnTo>
                      <a:pt x="138" y="23"/>
                    </a:lnTo>
                    <a:lnTo>
                      <a:pt x="132" y="23"/>
                    </a:lnTo>
                    <a:lnTo>
                      <a:pt x="132" y="23"/>
                    </a:lnTo>
                    <a:lnTo>
                      <a:pt x="131" y="25"/>
                    </a:lnTo>
                    <a:lnTo>
                      <a:pt x="131" y="25"/>
                    </a:lnTo>
                    <a:lnTo>
                      <a:pt x="129" y="26"/>
                    </a:lnTo>
                    <a:lnTo>
                      <a:pt x="127" y="25"/>
                    </a:lnTo>
                    <a:lnTo>
                      <a:pt x="125" y="25"/>
                    </a:lnTo>
                    <a:lnTo>
                      <a:pt x="125" y="26"/>
                    </a:lnTo>
                    <a:lnTo>
                      <a:pt x="123" y="28"/>
                    </a:lnTo>
                    <a:lnTo>
                      <a:pt x="123" y="28"/>
                    </a:lnTo>
                    <a:lnTo>
                      <a:pt x="122" y="26"/>
                    </a:lnTo>
                    <a:lnTo>
                      <a:pt x="120" y="28"/>
                    </a:lnTo>
                    <a:lnTo>
                      <a:pt x="118" y="26"/>
                    </a:lnTo>
                    <a:lnTo>
                      <a:pt x="115" y="26"/>
                    </a:lnTo>
                    <a:lnTo>
                      <a:pt x="115" y="26"/>
                    </a:lnTo>
                    <a:lnTo>
                      <a:pt x="113" y="26"/>
                    </a:lnTo>
                    <a:lnTo>
                      <a:pt x="100" y="21"/>
                    </a:lnTo>
                    <a:lnTo>
                      <a:pt x="98" y="21"/>
                    </a:lnTo>
                    <a:lnTo>
                      <a:pt x="97" y="23"/>
                    </a:lnTo>
                    <a:lnTo>
                      <a:pt x="95" y="23"/>
                    </a:lnTo>
                    <a:lnTo>
                      <a:pt x="95" y="23"/>
                    </a:lnTo>
                    <a:lnTo>
                      <a:pt x="93" y="23"/>
                    </a:lnTo>
                    <a:lnTo>
                      <a:pt x="93" y="26"/>
                    </a:lnTo>
                    <a:lnTo>
                      <a:pt x="91" y="30"/>
                    </a:lnTo>
                    <a:lnTo>
                      <a:pt x="91" y="30"/>
                    </a:lnTo>
                    <a:lnTo>
                      <a:pt x="93" y="30"/>
                    </a:lnTo>
                    <a:lnTo>
                      <a:pt x="95" y="32"/>
                    </a:lnTo>
                    <a:lnTo>
                      <a:pt x="95" y="33"/>
                    </a:lnTo>
                    <a:lnTo>
                      <a:pt x="93" y="33"/>
                    </a:lnTo>
                    <a:lnTo>
                      <a:pt x="93" y="35"/>
                    </a:lnTo>
                    <a:lnTo>
                      <a:pt x="93" y="35"/>
                    </a:lnTo>
                    <a:lnTo>
                      <a:pt x="93" y="37"/>
                    </a:lnTo>
                    <a:lnTo>
                      <a:pt x="95" y="37"/>
                    </a:lnTo>
                    <a:lnTo>
                      <a:pt x="98" y="37"/>
                    </a:lnTo>
                    <a:lnTo>
                      <a:pt x="98" y="37"/>
                    </a:lnTo>
                    <a:lnTo>
                      <a:pt x="98" y="39"/>
                    </a:lnTo>
                    <a:lnTo>
                      <a:pt x="98" y="39"/>
                    </a:lnTo>
                    <a:lnTo>
                      <a:pt x="97" y="41"/>
                    </a:lnTo>
                    <a:lnTo>
                      <a:pt x="95" y="41"/>
                    </a:lnTo>
                    <a:lnTo>
                      <a:pt x="95" y="42"/>
                    </a:lnTo>
                    <a:lnTo>
                      <a:pt x="98" y="46"/>
                    </a:lnTo>
                    <a:lnTo>
                      <a:pt x="98" y="48"/>
                    </a:lnTo>
                    <a:lnTo>
                      <a:pt x="98" y="50"/>
                    </a:lnTo>
                    <a:lnTo>
                      <a:pt x="95" y="51"/>
                    </a:lnTo>
                    <a:lnTo>
                      <a:pt x="95" y="53"/>
                    </a:lnTo>
                    <a:lnTo>
                      <a:pt x="97" y="53"/>
                    </a:lnTo>
                    <a:lnTo>
                      <a:pt x="97" y="57"/>
                    </a:lnTo>
                    <a:lnTo>
                      <a:pt x="100" y="58"/>
                    </a:lnTo>
                    <a:lnTo>
                      <a:pt x="100" y="60"/>
                    </a:lnTo>
                    <a:lnTo>
                      <a:pt x="102" y="60"/>
                    </a:lnTo>
                    <a:lnTo>
                      <a:pt x="104" y="62"/>
                    </a:lnTo>
                    <a:lnTo>
                      <a:pt x="104" y="60"/>
                    </a:lnTo>
                    <a:lnTo>
                      <a:pt x="106" y="60"/>
                    </a:lnTo>
                    <a:lnTo>
                      <a:pt x="106" y="64"/>
                    </a:lnTo>
                    <a:lnTo>
                      <a:pt x="107" y="67"/>
                    </a:lnTo>
                    <a:lnTo>
                      <a:pt x="107" y="67"/>
                    </a:lnTo>
                    <a:lnTo>
                      <a:pt x="113" y="67"/>
                    </a:lnTo>
                    <a:lnTo>
                      <a:pt x="115" y="69"/>
                    </a:lnTo>
                    <a:lnTo>
                      <a:pt x="115" y="67"/>
                    </a:lnTo>
                    <a:lnTo>
                      <a:pt x="116" y="71"/>
                    </a:lnTo>
                    <a:lnTo>
                      <a:pt x="116" y="71"/>
                    </a:lnTo>
                    <a:lnTo>
                      <a:pt x="116" y="73"/>
                    </a:lnTo>
                    <a:lnTo>
                      <a:pt x="116" y="75"/>
                    </a:lnTo>
                    <a:lnTo>
                      <a:pt x="115" y="75"/>
                    </a:lnTo>
                    <a:lnTo>
                      <a:pt x="113" y="76"/>
                    </a:lnTo>
                    <a:lnTo>
                      <a:pt x="111" y="75"/>
                    </a:lnTo>
                    <a:lnTo>
                      <a:pt x="109" y="75"/>
                    </a:lnTo>
                    <a:lnTo>
                      <a:pt x="109" y="76"/>
                    </a:lnTo>
                    <a:lnTo>
                      <a:pt x="106" y="78"/>
                    </a:lnTo>
                    <a:lnTo>
                      <a:pt x="104" y="80"/>
                    </a:lnTo>
                    <a:lnTo>
                      <a:pt x="104" y="83"/>
                    </a:lnTo>
                    <a:lnTo>
                      <a:pt x="106" y="85"/>
                    </a:lnTo>
                    <a:lnTo>
                      <a:pt x="106" y="87"/>
                    </a:lnTo>
                    <a:lnTo>
                      <a:pt x="106" y="87"/>
                    </a:lnTo>
                    <a:lnTo>
                      <a:pt x="107" y="87"/>
                    </a:lnTo>
                    <a:lnTo>
                      <a:pt x="106" y="89"/>
                    </a:lnTo>
                    <a:lnTo>
                      <a:pt x="104" y="89"/>
                    </a:lnTo>
                    <a:lnTo>
                      <a:pt x="104" y="91"/>
                    </a:lnTo>
                    <a:lnTo>
                      <a:pt x="104" y="92"/>
                    </a:lnTo>
                    <a:lnTo>
                      <a:pt x="106" y="92"/>
                    </a:lnTo>
                    <a:lnTo>
                      <a:pt x="107" y="92"/>
                    </a:lnTo>
                    <a:lnTo>
                      <a:pt x="109" y="94"/>
                    </a:lnTo>
                    <a:lnTo>
                      <a:pt x="107" y="94"/>
                    </a:lnTo>
                    <a:lnTo>
                      <a:pt x="107" y="96"/>
                    </a:lnTo>
                    <a:lnTo>
                      <a:pt x="106" y="94"/>
                    </a:lnTo>
                    <a:lnTo>
                      <a:pt x="106" y="94"/>
                    </a:lnTo>
                    <a:lnTo>
                      <a:pt x="104" y="96"/>
                    </a:lnTo>
                    <a:lnTo>
                      <a:pt x="100" y="98"/>
                    </a:lnTo>
                    <a:lnTo>
                      <a:pt x="97" y="103"/>
                    </a:lnTo>
                    <a:lnTo>
                      <a:pt x="95" y="103"/>
                    </a:lnTo>
                    <a:lnTo>
                      <a:pt x="93" y="107"/>
                    </a:lnTo>
                    <a:lnTo>
                      <a:pt x="93" y="108"/>
                    </a:lnTo>
                    <a:lnTo>
                      <a:pt x="93" y="110"/>
                    </a:lnTo>
                    <a:lnTo>
                      <a:pt x="91" y="112"/>
                    </a:lnTo>
                    <a:lnTo>
                      <a:pt x="90" y="114"/>
                    </a:lnTo>
                    <a:lnTo>
                      <a:pt x="88" y="114"/>
                    </a:lnTo>
                    <a:lnTo>
                      <a:pt x="86" y="116"/>
                    </a:lnTo>
                    <a:lnTo>
                      <a:pt x="75" y="133"/>
                    </a:lnTo>
                    <a:lnTo>
                      <a:pt x="72" y="135"/>
                    </a:lnTo>
                    <a:lnTo>
                      <a:pt x="59" y="151"/>
                    </a:lnTo>
                    <a:lnTo>
                      <a:pt x="57" y="151"/>
                    </a:lnTo>
                    <a:lnTo>
                      <a:pt x="57" y="153"/>
                    </a:lnTo>
                    <a:lnTo>
                      <a:pt x="50" y="151"/>
                    </a:lnTo>
                    <a:lnTo>
                      <a:pt x="47" y="153"/>
                    </a:lnTo>
                    <a:lnTo>
                      <a:pt x="45" y="155"/>
                    </a:lnTo>
                    <a:lnTo>
                      <a:pt x="45" y="155"/>
                    </a:lnTo>
                    <a:lnTo>
                      <a:pt x="43" y="155"/>
                    </a:lnTo>
                    <a:lnTo>
                      <a:pt x="41" y="150"/>
                    </a:lnTo>
                    <a:lnTo>
                      <a:pt x="40" y="150"/>
                    </a:lnTo>
                    <a:lnTo>
                      <a:pt x="38" y="150"/>
                    </a:lnTo>
                    <a:lnTo>
                      <a:pt x="25" y="164"/>
                    </a:lnTo>
                    <a:lnTo>
                      <a:pt x="23" y="171"/>
                    </a:lnTo>
                    <a:lnTo>
                      <a:pt x="23" y="173"/>
                    </a:lnTo>
                    <a:lnTo>
                      <a:pt x="23" y="175"/>
                    </a:lnTo>
                    <a:lnTo>
                      <a:pt x="25" y="175"/>
                    </a:lnTo>
                    <a:lnTo>
                      <a:pt x="27" y="175"/>
                    </a:lnTo>
                    <a:lnTo>
                      <a:pt x="29" y="176"/>
                    </a:lnTo>
                    <a:lnTo>
                      <a:pt x="32" y="176"/>
                    </a:lnTo>
                    <a:lnTo>
                      <a:pt x="34" y="176"/>
                    </a:lnTo>
                    <a:lnTo>
                      <a:pt x="34" y="176"/>
                    </a:lnTo>
                    <a:lnTo>
                      <a:pt x="34" y="178"/>
                    </a:lnTo>
                    <a:lnTo>
                      <a:pt x="32" y="185"/>
                    </a:lnTo>
                    <a:lnTo>
                      <a:pt x="32" y="187"/>
                    </a:lnTo>
                    <a:lnTo>
                      <a:pt x="32" y="187"/>
                    </a:lnTo>
                    <a:lnTo>
                      <a:pt x="36" y="191"/>
                    </a:lnTo>
                    <a:lnTo>
                      <a:pt x="38" y="191"/>
                    </a:lnTo>
                    <a:lnTo>
                      <a:pt x="40" y="191"/>
                    </a:lnTo>
                    <a:lnTo>
                      <a:pt x="41" y="191"/>
                    </a:lnTo>
                    <a:lnTo>
                      <a:pt x="41" y="192"/>
                    </a:lnTo>
                    <a:lnTo>
                      <a:pt x="41" y="198"/>
                    </a:lnTo>
                    <a:lnTo>
                      <a:pt x="43" y="200"/>
                    </a:lnTo>
                    <a:lnTo>
                      <a:pt x="43" y="201"/>
                    </a:lnTo>
                    <a:lnTo>
                      <a:pt x="47" y="205"/>
                    </a:lnTo>
                    <a:lnTo>
                      <a:pt x="47" y="205"/>
                    </a:lnTo>
                    <a:lnTo>
                      <a:pt x="48" y="207"/>
                    </a:lnTo>
                    <a:lnTo>
                      <a:pt x="48" y="208"/>
                    </a:lnTo>
                    <a:lnTo>
                      <a:pt x="47" y="208"/>
                    </a:lnTo>
                    <a:lnTo>
                      <a:pt x="47" y="208"/>
                    </a:lnTo>
                    <a:lnTo>
                      <a:pt x="47" y="212"/>
                    </a:lnTo>
                    <a:lnTo>
                      <a:pt x="47" y="214"/>
                    </a:lnTo>
                    <a:lnTo>
                      <a:pt x="48" y="214"/>
                    </a:lnTo>
                    <a:lnTo>
                      <a:pt x="48" y="214"/>
                    </a:lnTo>
                    <a:lnTo>
                      <a:pt x="47" y="214"/>
                    </a:lnTo>
                    <a:lnTo>
                      <a:pt x="45" y="216"/>
                    </a:lnTo>
                    <a:lnTo>
                      <a:pt x="45" y="216"/>
                    </a:lnTo>
                    <a:lnTo>
                      <a:pt x="45" y="217"/>
                    </a:lnTo>
                    <a:lnTo>
                      <a:pt x="41" y="216"/>
                    </a:lnTo>
                    <a:lnTo>
                      <a:pt x="41" y="216"/>
                    </a:lnTo>
                    <a:lnTo>
                      <a:pt x="41" y="216"/>
                    </a:lnTo>
                    <a:lnTo>
                      <a:pt x="41" y="214"/>
                    </a:lnTo>
                    <a:lnTo>
                      <a:pt x="41" y="214"/>
                    </a:lnTo>
                    <a:lnTo>
                      <a:pt x="40" y="212"/>
                    </a:lnTo>
                    <a:lnTo>
                      <a:pt x="34" y="216"/>
                    </a:lnTo>
                    <a:lnTo>
                      <a:pt x="32" y="217"/>
                    </a:lnTo>
                    <a:lnTo>
                      <a:pt x="32" y="217"/>
                    </a:lnTo>
                    <a:lnTo>
                      <a:pt x="27" y="217"/>
                    </a:lnTo>
                    <a:lnTo>
                      <a:pt x="25" y="216"/>
                    </a:lnTo>
                    <a:lnTo>
                      <a:pt x="23" y="216"/>
                    </a:lnTo>
                    <a:lnTo>
                      <a:pt x="22" y="216"/>
                    </a:lnTo>
                    <a:lnTo>
                      <a:pt x="16" y="216"/>
                    </a:lnTo>
                    <a:lnTo>
                      <a:pt x="15" y="216"/>
                    </a:lnTo>
                    <a:lnTo>
                      <a:pt x="15" y="216"/>
                    </a:lnTo>
                    <a:lnTo>
                      <a:pt x="13" y="216"/>
                    </a:lnTo>
                    <a:lnTo>
                      <a:pt x="13" y="214"/>
                    </a:lnTo>
                    <a:lnTo>
                      <a:pt x="13" y="214"/>
                    </a:lnTo>
                    <a:lnTo>
                      <a:pt x="11" y="216"/>
                    </a:lnTo>
                    <a:lnTo>
                      <a:pt x="11" y="221"/>
                    </a:lnTo>
                    <a:lnTo>
                      <a:pt x="6" y="221"/>
                    </a:lnTo>
                    <a:lnTo>
                      <a:pt x="6" y="221"/>
                    </a:lnTo>
                    <a:lnTo>
                      <a:pt x="4" y="221"/>
                    </a:lnTo>
                    <a:lnTo>
                      <a:pt x="4" y="223"/>
                    </a:lnTo>
                    <a:lnTo>
                      <a:pt x="2" y="223"/>
                    </a:lnTo>
                    <a:lnTo>
                      <a:pt x="2" y="223"/>
                    </a:lnTo>
                    <a:lnTo>
                      <a:pt x="0" y="225"/>
                    </a:lnTo>
                    <a:lnTo>
                      <a:pt x="0" y="228"/>
                    </a:lnTo>
                    <a:lnTo>
                      <a:pt x="4" y="228"/>
                    </a:lnTo>
                    <a:lnTo>
                      <a:pt x="11" y="239"/>
                    </a:lnTo>
                    <a:lnTo>
                      <a:pt x="15" y="241"/>
                    </a:lnTo>
                    <a:lnTo>
                      <a:pt x="25" y="241"/>
                    </a:lnTo>
                    <a:lnTo>
                      <a:pt x="32" y="239"/>
                    </a:lnTo>
                    <a:lnTo>
                      <a:pt x="34" y="235"/>
                    </a:lnTo>
                    <a:lnTo>
                      <a:pt x="36" y="235"/>
                    </a:lnTo>
                    <a:lnTo>
                      <a:pt x="36" y="237"/>
                    </a:lnTo>
                    <a:lnTo>
                      <a:pt x="34" y="242"/>
                    </a:lnTo>
                    <a:lnTo>
                      <a:pt x="29" y="248"/>
                    </a:lnTo>
                    <a:lnTo>
                      <a:pt x="18" y="250"/>
                    </a:lnTo>
                    <a:lnTo>
                      <a:pt x="15" y="248"/>
                    </a:lnTo>
                    <a:lnTo>
                      <a:pt x="15" y="250"/>
                    </a:lnTo>
                    <a:lnTo>
                      <a:pt x="15" y="253"/>
                    </a:lnTo>
                    <a:lnTo>
                      <a:pt x="36" y="275"/>
                    </a:lnTo>
                    <a:lnTo>
                      <a:pt x="45" y="276"/>
                    </a:lnTo>
                    <a:lnTo>
                      <a:pt x="50" y="275"/>
                    </a:lnTo>
                    <a:lnTo>
                      <a:pt x="54" y="273"/>
                    </a:lnTo>
                    <a:lnTo>
                      <a:pt x="56" y="273"/>
                    </a:lnTo>
                    <a:lnTo>
                      <a:pt x="61" y="269"/>
                    </a:lnTo>
                    <a:lnTo>
                      <a:pt x="65" y="264"/>
                    </a:lnTo>
                    <a:lnTo>
                      <a:pt x="66" y="248"/>
                    </a:lnTo>
                    <a:lnTo>
                      <a:pt x="66" y="250"/>
                    </a:lnTo>
                    <a:lnTo>
                      <a:pt x="66" y="250"/>
                    </a:lnTo>
                    <a:lnTo>
                      <a:pt x="75" y="250"/>
                    </a:lnTo>
                    <a:lnTo>
                      <a:pt x="75" y="251"/>
                    </a:lnTo>
                    <a:lnTo>
                      <a:pt x="73" y="253"/>
                    </a:lnTo>
                    <a:lnTo>
                      <a:pt x="72" y="253"/>
                    </a:lnTo>
                    <a:lnTo>
                      <a:pt x="70" y="257"/>
                    </a:lnTo>
                    <a:lnTo>
                      <a:pt x="70" y="257"/>
                    </a:lnTo>
                    <a:lnTo>
                      <a:pt x="70" y="260"/>
                    </a:lnTo>
                    <a:lnTo>
                      <a:pt x="72" y="260"/>
                    </a:lnTo>
                    <a:lnTo>
                      <a:pt x="73" y="262"/>
                    </a:lnTo>
                    <a:lnTo>
                      <a:pt x="72" y="266"/>
                    </a:lnTo>
                    <a:lnTo>
                      <a:pt x="72" y="269"/>
                    </a:lnTo>
                    <a:lnTo>
                      <a:pt x="72" y="269"/>
                    </a:lnTo>
                    <a:lnTo>
                      <a:pt x="73" y="271"/>
                    </a:lnTo>
                    <a:lnTo>
                      <a:pt x="75" y="283"/>
                    </a:lnTo>
                    <a:lnTo>
                      <a:pt x="72" y="291"/>
                    </a:lnTo>
                    <a:lnTo>
                      <a:pt x="73" y="300"/>
                    </a:lnTo>
                    <a:lnTo>
                      <a:pt x="73" y="301"/>
                    </a:lnTo>
                    <a:lnTo>
                      <a:pt x="73" y="305"/>
                    </a:lnTo>
                    <a:lnTo>
                      <a:pt x="75" y="305"/>
                    </a:lnTo>
                    <a:lnTo>
                      <a:pt x="77" y="303"/>
                    </a:lnTo>
                    <a:lnTo>
                      <a:pt x="77" y="305"/>
                    </a:lnTo>
                    <a:lnTo>
                      <a:pt x="77" y="307"/>
                    </a:lnTo>
                    <a:lnTo>
                      <a:pt x="77" y="308"/>
                    </a:lnTo>
                    <a:lnTo>
                      <a:pt x="75" y="316"/>
                    </a:lnTo>
                    <a:lnTo>
                      <a:pt x="77" y="319"/>
                    </a:lnTo>
                    <a:lnTo>
                      <a:pt x="77" y="319"/>
                    </a:lnTo>
                    <a:lnTo>
                      <a:pt x="77" y="325"/>
                    </a:lnTo>
                    <a:lnTo>
                      <a:pt x="77" y="325"/>
                    </a:lnTo>
                    <a:lnTo>
                      <a:pt x="84" y="353"/>
                    </a:lnTo>
                    <a:lnTo>
                      <a:pt x="86" y="353"/>
                    </a:lnTo>
                    <a:lnTo>
                      <a:pt x="86" y="357"/>
                    </a:lnTo>
                    <a:lnTo>
                      <a:pt x="90" y="360"/>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19" name="Freeform 2470"/>
              <p:cNvSpPr>
                <a:spLocks/>
              </p:cNvSpPr>
              <p:nvPr/>
            </p:nvSpPr>
            <p:spPr bwMode="auto">
              <a:xfrm>
                <a:off x="4330" y="2334"/>
                <a:ext cx="116" cy="241"/>
              </a:xfrm>
              <a:custGeom>
                <a:avLst/>
                <a:gdLst>
                  <a:gd name="T0" fmla="*/ 71 w 116"/>
                  <a:gd name="T1" fmla="*/ 223 h 241"/>
                  <a:gd name="T2" fmla="*/ 71 w 116"/>
                  <a:gd name="T3" fmla="*/ 220 h 241"/>
                  <a:gd name="T4" fmla="*/ 73 w 116"/>
                  <a:gd name="T5" fmla="*/ 215 h 241"/>
                  <a:gd name="T6" fmla="*/ 78 w 116"/>
                  <a:gd name="T7" fmla="*/ 211 h 241"/>
                  <a:gd name="T8" fmla="*/ 94 w 116"/>
                  <a:gd name="T9" fmla="*/ 207 h 241"/>
                  <a:gd name="T10" fmla="*/ 107 w 116"/>
                  <a:gd name="T11" fmla="*/ 198 h 241"/>
                  <a:gd name="T12" fmla="*/ 112 w 116"/>
                  <a:gd name="T13" fmla="*/ 191 h 241"/>
                  <a:gd name="T14" fmla="*/ 112 w 116"/>
                  <a:gd name="T15" fmla="*/ 188 h 241"/>
                  <a:gd name="T16" fmla="*/ 112 w 116"/>
                  <a:gd name="T17" fmla="*/ 179 h 241"/>
                  <a:gd name="T18" fmla="*/ 114 w 116"/>
                  <a:gd name="T19" fmla="*/ 175 h 241"/>
                  <a:gd name="T20" fmla="*/ 116 w 116"/>
                  <a:gd name="T21" fmla="*/ 170 h 241"/>
                  <a:gd name="T22" fmla="*/ 98 w 116"/>
                  <a:gd name="T23" fmla="*/ 123 h 241"/>
                  <a:gd name="T24" fmla="*/ 96 w 116"/>
                  <a:gd name="T25" fmla="*/ 120 h 241"/>
                  <a:gd name="T26" fmla="*/ 89 w 116"/>
                  <a:gd name="T27" fmla="*/ 115 h 241"/>
                  <a:gd name="T28" fmla="*/ 57 w 116"/>
                  <a:gd name="T29" fmla="*/ 79 h 241"/>
                  <a:gd name="T30" fmla="*/ 71 w 116"/>
                  <a:gd name="T31" fmla="*/ 48 h 241"/>
                  <a:gd name="T32" fmla="*/ 84 w 116"/>
                  <a:gd name="T33" fmla="*/ 36 h 241"/>
                  <a:gd name="T34" fmla="*/ 93 w 116"/>
                  <a:gd name="T35" fmla="*/ 31 h 241"/>
                  <a:gd name="T36" fmla="*/ 91 w 116"/>
                  <a:gd name="T37" fmla="*/ 27 h 241"/>
                  <a:gd name="T38" fmla="*/ 75 w 116"/>
                  <a:gd name="T39" fmla="*/ 22 h 241"/>
                  <a:gd name="T40" fmla="*/ 73 w 116"/>
                  <a:gd name="T41" fmla="*/ 9 h 241"/>
                  <a:gd name="T42" fmla="*/ 50 w 116"/>
                  <a:gd name="T43" fmla="*/ 0 h 241"/>
                  <a:gd name="T44" fmla="*/ 36 w 116"/>
                  <a:gd name="T45" fmla="*/ 7 h 241"/>
                  <a:gd name="T46" fmla="*/ 28 w 116"/>
                  <a:gd name="T47" fmla="*/ 11 h 241"/>
                  <a:gd name="T48" fmla="*/ 21 w 116"/>
                  <a:gd name="T49" fmla="*/ 7 h 241"/>
                  <a:gd name="T50" fmla="*/ 12 w 116"/>
                  <a:gd name="T51" fmla="*/ 11 h 241"/>
                  <a:gd name="T52" fmla="*/ 7 w 116"/>
                  <a:gd name="T53" fmla="*/ 7 h 241"/>
                  <a:gd name="T54" fmla="*/ 2 w 116"/>
                  <a:gd name="T55" fmla="*/ 13 h 241"/>
                  <a:gd name="T56" fmla="*/ 12 w 116"/>
                  <a:gd name="T57" fmla="*/ 32 h 241"/>
                  <a:gd name="T58" fmla="*/ 23 w 116"/>
                  <a:gd name="T59" fmla="*/ 40 h 241"/>
                  <a:gd name="T60" fmla="*/ 37 w 116"/>
                  <a:gd name="T61" fmla="*/ 45 h 241"/>
                  <a:gd name="T62" fmla="*/ 41 w 116"/>
                  <a:gd name="T63" fmla="*/ 50 h 241"/>
                  <a:gd name="T64" fmla="*/ 39 w 116"/>
                  <a:gd name="T65" fmla="*/ 59 h 241"/>
                  <a:gd name="T66" fmla="*/ 30 w 116"/>
                  <a:gd name="T67" fmla="*/ 61 h 241"/>
                  <a:gd name="T68" fmla="*/ 48 w 116"/>
                  <a:gd name="T69" fmla="*/ 77 h 241"/>
                  <a:gd name="T70" fmla="*/ 55 w 116"/>
                  <a:gd name="T71" fmla="*/ 90 h 241"/>
                  <a:gd name="T72" fmla="*/ 68 w 116"/>
                  <a:gd name="T73" fmla="*/ 100 h 241"/>
                  <a:gd name="T74" fmla="*/ 69 w 116"/>
                  <a:gd name="T75" fmla="*/ 107 h 241"/>
                  <a:gd name="T76" fmla="*/ 80 w 116"/>
                  <a:gd name="T77" fmla="*/ 116 h 241"/>
                  <a:gd name="T78" fmla="*/ 87 w 116"/>
                  <a:gd name="T79" fmla="*/ 163 h 241"/>
                  <a:gd name="T80" fmla="*/ 82 w 116"/>
                  <a:gd name="T81" fmla="*/ 182 h 241"/>
                  <a:gd name="T82" fmla="*/ 69 w 116"/>
                  <a:gd name="T83" fmla="*/ 188 h 241"/>
                  <a:gd name="T84" fmla="*/ 61 w 116"/>
                  <a:gd name="T85" fmla="*/ 197 h 241"/>
                  <a:gd name="T86" fmla="*/ 53 w 116"/>
                  <a:gd name="T87" fmla="*/ 206 h 241"/>
                  <a:gd name="T88" fmla="*/ 46 w 116"/>
                  <a:gd name="T89" fmla="*/ 206 h 241"/>
                  <a:gd name="T90" fmla="*/ 37 w 116"/>
                  <a:gd name="T91" fmla="*/ 211 h 241"/>
                  <a:gd name="T92" fmla="*/ 48 w 116"/>
                  <a:gd name="T93" fmla="*/ 218 h 241"/>
                  <a:gd name="T94" fmla="*/ 46 w 116"/>
                  <a:gd name="T95" fmla="*/ 240 h 241"/>
                  <a:gd name="T96" fmla="*/ 48 w 116"/>
                  <a:gd name="T97" fmla="*/ 241 h 241"/>
                  <a:gd name="T98" fmla="*/ 64 w 116"/>
                  <a:gd name="T99" fmla="*/ 22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6" h="241">
                    <a:moveTo>
                      <a:pt x="68" y="225"/>
                    </a:moveTo>
                    <a:lnTo>
                      <a:pt x="69" y="225"/>
                    </a:lnTo>
                    <a:lnTo>
                      <a:pt x="71" y="223"/>
                    </a:lnTo>
                    <a:lnTo>
                      <a:pt x="69" y="220"/>
                    </a:lnTo>
                    <a:lnTo>
                      <a:pt x="69" y="218"/>
                    </a:lnTo>
                    <a:lnTo>
                      <a:pt x="71" y="220"/>
                    </a:lnTo>
                    <a:lnTo>
                      <a:pt x="73" y="218"/>
                    </a:lnTo>
                    <a:lnTo>
                      <a:pt x="73" y="218"/>
                    </a:lnTo>
                    <a:lnTo>
                      <a:pt x="73" y="215"/>
                    </a:lnTo>
                    <a:lnTo>
                      <a:pt x="73" y="215"/>
                    </a:lnTo>
                    <a:lnTo>
                      <a:pt x="75" y="213"/>
                    </a:lnTo>
                    <a:lnTo>
                      <a:pt x="78" y="211"/>
                    </a:lnTo>
                    <a:lnTo>
                      <a:pt x="80" y="213"/>
                    </a:lnTo>
                    <a:lnTo>
                      <a:pt x="84" y="213"/>
                    </a:lnTo>
                    <a:lnTo>
                      <a:pt x="94" y="207"/>
                    </a:lnTo>
                    <a:lnTo>
                      <a:pt x="96" y="204"/>
                    </a:lnTo>
                    <a:lnTo>
                      <a:pt x="105" y="200"/>
                    </a:lnTo>
                    <a:lnTo>
                      <a:pt x="107" y="198"/>
                    </a:lnTo>
                    <a:lnTo>
                      <a:pt x="111" y="197"/>
                    </a:lnTo>
                    <a:lnTo>
                      <a:pt x="111" y="193"/>
                    </a:lnTo>
                    <a:lnTo>
                      <a:pt x="112" y="191"/>
                    </a:lnTo>
                    <a:lnTo>
                      <a:pt x="112" y="190"/>
                    </a:lnTo>
                    <a:lnTo>
                      <a:pt x="112" y="190"/>
                    </a:lnTo>
                    <a:lnTo>
                      <a:pt x="112" y="188"/>
                    </a:lnTo>
                    <a:lnTo>
                      <a:pt x="114" y="188"/>
                    </a:lnTo>
                    <a:lnTo>
                      <a:pt x="112" y="181"/>
                    </a:lnTo>
                    <a:lnTo>
                      <a:pt x="112" y="179"/>
                    </a:lnTo>
                    <a:lnTo>
                      <a:pt x="114" y="181"/>
                    </a:lnTo>
                    <a:lnTo>
                      <a:pt x="114" y="177"/>
                    </a:lnTo>
                    <a:lnTo>
                      <a:pt x="114" y="175"/>
                    </a:lnTo>
                    <a:lnTo>
                      <a:pt x="116" y="175"/>
                    </a:lnTo>
                    <a:lnTo>
                      <a:pt x="116" y="177"/>
                    </a:lnTo>
                    <a:lnTo>
                      <a:pt x="116" y="170"/>
                    </a:lnTo>
                    <a:lnTo>
                      <a:pt x="114" y="170"/>
                    </a:lnTo>
                    <a:lnTo>
                      <a:pt x="107" y="132"/>
                    </a:lnTo>
                    <a:lnTo>
                      <a:pt x="98" y="123"/>
                    </a:lnTo>
                    <a:lnTo>
                      <a:pt x="98" y="118"/>
                    </a:lnTo>
                    <a:lnTo>
                      <a:pt x="98" y="120"/>
                    </a:lnTo>
                    <a:lnTo>
                      <a:pt x="96" y="120"/>
                    </a:lnTo>
                    <a:lnTo>
                      <a:pt x="96" y="118"/>
                    </a:lnTo>
                    <a:lnTo>
                      <a:pt x="94" y="116"/>
                    </a:lnTo>
                    <a:lnTo>
                      <a:pt x="89" y="115"/>
                    </a:lnTo>
                    <a:lnTo>
                      <a:pt x="69" y="93"/>
                    </a:lnTo>
                    <a:lnTo>
                      <a:pt x="68" y="86"/>
                    </a:lnTo>
                    <a:lnTo>
                      <a:pt x="57" y="79"/>
                    </a:lnTo>
                    <a:lnTo>
                      <a:pt x="57" y="75"/>
                    </a:lnTo>
                    <a:lnTo>
                      <a:pt x="62" y="56"/>
                    </a:lnTo>
                    <a:lnTo>
                      <a:pt x="71" y="48"/>
                    </a:lnTo>
                    <a:lnTo>
                      <a:pt x="71" y="43"/>
                    </a:lnTo>
                    <a:lnTo>
                      <a:pt x="75" y="40"/>
                    </a:lnTo>
                    <a:lnTo>
                      <a:pt x="84" y="36"/>
                    </a:lnTo>
                    <a:lnTo>
                      <a:pt x="84" y="32"/>
                    </a:lnTo>
                    <a:lnTo>
                      <a:pt x="89" y="31"/>
                    </a:lnTo>
                    <a:lnTo>
                      <a:pt x="93" y="31"/>
                    </a:lnTo>
                    <a:lnTo>
                      <a:pt x="93" y="31"/>
                    </a:lnTo>
                    <a:lnTo>
                      <a:pt x="93" y="29"/>
                    </a:lnTo>
                    <a:lnTo>
                      <a:pt x="91" y="27"/>
                    </a:lnTo>
                    <a:lnTo>
                      <a:pt x="82" y="27"/>
                    </a:lnTo>
                    <a:lnTo>
                      <a:pt x="82" y="25"/>
                    </a:lnTo>
                    <a:lnTo>
                      <a:pt x="75" y="22"/>
                    </a:lnTo>
                    <a:lnTo>
                      <a:pt x="73" y="18"/>
                    </a:lnTo>
                    <a:lnTo>
                      <a:pt x="71" y="15"/>
                    </a:lnTo>
                    <a:lnTo>
                      <a:pt x="73" y="9"/>
                    </a:lnTo>
                    <a:lnTo>
                      <a:pt x="71" y="7"/>
                    </a:lnTo>
                    <a:lnTo>
                      <a:pt x="62" y="6"/>
                    </a:lnTo>
                    <a:lnTo>
                      <a:pt x="50" y="0"/>
                    </a:lnTo>
                    <a:lnTo>
                      <a:pt x="48" y="0"/>
                    </a:lnTo>
                    <a:lnTo>
                      <a:pt x="41" y="6"/>
                    </a:lnTo>
                    <a:lnTo>
                      <a:pt x="36" y="7"/>
                    </a:lnTo>
                    <a:lnTo>
                      <a:pt x="34" y="7"/>
                    </a:lnTo>
                    <a:lnTo>
                      <a:pt x="30" y="9"/>
                    </a:lnTo>
                    <a:lnTo>
                      <a:pt x="28" y="11"/>
                    </a:lnTo>
                    <a:lnTo>
                      <a:pt x="27" y="9"/>
                    </a:lnTo>
                    <a:lnTo>
                      <a:pt x="23" y="9"/>
                    </a:lnTo>
                    <a:lnTo>
                      <a:pt x="21" y="7"/>
                    </a:lnTo>
                    <a:lnTo>
                      <a:pt x="19" y="9"/>
                    </a:lnTo>
                    <a:lnTo>
                      <a:pt x="14" y="11"/>
                    </a:lnTo>
                    <a:lnTo>
                      <a:pt x="12" y="11"/>
                    </a:lnTo>
                    <a:lnTo>
                      <a:pt x="11" y="9"/>
                    </a:lnTo>
                    <a:lnTo>
                      <a:pt x="7" y="9"/>
                    </a:lnTo>
                    <a:lnTo>
                      <a:pt x="7" y="7"/>
                    </a:lnTo>
                    <a:lnTo>
                      <a:pt x="5" y="7"/>
                    </a:lnTo>
                    <a:lnTo>
                      <a:pt x="2" y="13"/>
                    </a:lnTo>
                    <a:lnTo>
                      <a:pt x="2" y="13"/>
                    </a:lnTo>
                    <a:lnTo>
                      <a:pt x="0" y="13"/>
                    </a:lnTo>
                    <a:lnTo>
                      <a:pt x="12" y="29"/>
                    </a:lnTo>
                    <a:lnTo>
                      <a:pt x="12" y="32"/>
                    </a:lnTo>
                    <a:lnTo>
                      <a:pt x="12" y="34"/>
                    </a:lnTo>
                    <a:lnTo>
                      <a:pt x="18" y="40"/>
                    </a:lnTo>
                    <a:lnTo>
                      <a:pt x="23" y="40"/>
                    </a:lnTo>
                    <a:lnTo>
                      <a:pt x="28" y="38"/>
                    </a:lnTo>
                    <a:lnTo>
                      <a:pt x="34" y="40"/>
                    </a:lnTo>
                    <a:lnTo>
                      <a:pt x="37" y="45"/>
                    </a:lnTo>
                    <a:lnTo>
                      <a:pt x="37" y="47"/>
                    </a:lnTo>
                    <a:lnTo>
                      <a:pt x="41" y="48"/>
                    </a:lnTo>
                    <a:lnTo>
                      <a:pt x="41" y="50"/>
                    </a:lnTo>
                    <a:lnTo>
                      <a:pt x="43" y="52"/>
                    </a:lnTo>
                    <a:lnTo>
                      <a:pt x="43" y="56"/>
                    </a:lnTo>
                    <a:lnTo>
                      <a:pt x="39" y="59"/>
                    </a:lnTo>
                    <a:lnTo>
                      <a:pt x="34" y="59"/>
                    </a:lnTo>
                    <a:lnTo>
                      <a:pt x="32" y="59"/>
                    </a:lnTo>
                    <a:lnTo>
                      <a:pt x="30" y="61"/>
                    </a:lnTo>
                    <a:lnTo>
                      <a:pt x="28" y="65"/>
                    </a:lnTo>
                    <a:lnTo>
                      <a:pt x="30" y="66"/>
                    </a:lnTo>
                    <a:lnTo>
                      <a:pt x="48" y="77"/>
                    </a:lnTo>
                    <a:lnTo>
                      <a:pt x="48" y="81"/>
                    </a:lnTo>
                    <a:lnTo>
                      <a:pt x="55" y="88"/>
                    </a:lnTo>
                    <a:lnTo>
                      <a:pt x="55" y="90"/>
                    </a:lnTo>
                    <a:lnTo>
                      <a:pt x="61" y="95"/>
                    </a:lnTo>
                    <a:lnTo>
                      <a:pt x="62" y="97"/>
                    </a:lnTo>
                    <a:lnTo>
                      <a:pt x="68" y="100"/>
                    </a:lnTo>
                    <a:lnTo>
                      <a:pt x="69" y="107"/>
                    </a:lnTo>
                    <a:lnTo>
                      <a:pt x="69" y="107"/>
                    </a:lnTo>
                    <a:lnTo>
                      <a:pt x="69" y="107"/>
                    </a:lnTo>
                    <a:lnTo>
                      <a:pt x="71" y="111"/>
                    </a:lnTo>
                    <a:lnTo>
                      <a:pt x="73" y="111"/>
                    </a:lnTo>
                    <a:lnTo>
                      <a:pt x="80" y="116"/>
                    </a:lnTo>
                    <a:lnTo>
                      <a:pt x="86" y="131"/>
                    </a:lnTo>
                    <a:lnTo>
                      <a:pt x="86" y="157"/>
                    </a:lnTo>
                    <a:lnTo>
                      <a:pt x="87" y="163"/>
                    </a:lnTo>
                    <a:lnTo>
                      <a:pt x="87" y="181"/>
                    </a:lnTo>
                    <a:lnTo>
                      <a:pt x="86" y="182"/>
                    </a:lnTo>
                    <a:lnTo>
                      <a:pt x="82" y="182"/>
                    </a:lnTo>
                    <a:lnTo>
                      <a:pt x="77" y="186"/>
                    </a:lnTo>
                    <a:lnTo>
                      <a:pt x="75" y="186"/>
                    </a:lnTo>
                    <a:lnTo>
                      <a:pt x="69" y="188"/>
                    </a:lnTo>
                    <a:lnTo>
                      <a:pt x="69" y="191"/>
                    </a:lnTo>
                    <a:lnTo>
                      <a:pt x="61" y="191"/>
                    </a:lnTo>
                    <a:lnTo>
                      <a:pt x="61" y="197"/>
                    </a:lnTo>
                    <a:lnTo>
                      <a:pt x="61" y="200"/>
                    </a:lnTo>
                    <a:lnTo>
                      <a:pt x="57" y="202"/>
                    </a:lnTo>
                    <a:lnTo>
                      <a:pt x="53" y="206"/>
                    </a:lnTo>
                    <a:lnTo>
                      <a:pt x="50" y="206"/>
                    </a:lnTo>
                    <a:lnTo>
                      <a:pt x="48" y="206"/>
                    </a:lnTo>
                    <a:lnTo>
                      <a:pt x="46" y="206"/>
                    </a:lnTo>
                    <a:lnTo>
                      <a:pt x="46" y="207"/>
                    </a:lnTo>
                    <a:lnTo>
                      <a:pt x="44" y="209"/>
                    </a:lnTo>
                    <a:lnTo>
                      <a:pt x="37" y="211"/>
                    </a:lnTo>
                    <a:lnTo>
                      <a:pt x="39" y="215"/>
                    </a:lnTo>
                    <a:lnTo>
                      <a:pt x="44" y="216"/>
                    </a:lnTo>
                    <a:lnTo>
                      <a:pt x="48" y="218"/>
                    </a:lnTo>
                    <a:lnTo>
                      <a:pt x="44" y="223"/>
                    </a:lnTo>
                    <a:lnTo>
                      <a:pt x="43" y="232"/>
                    </a:lnTo>
                    <a:lnTo>
                      <a:pt x="46" y="240"/>
                    </a:lnTo>
                    <a:lnTo>
                      <a:pt x="44" y="240"/>
                    </a:lnTo>
                    <a:lnTo>
                      <a:pt x="44" y="241"/>
                    </a:lnTo>
                    <a:lnTo>
                      <a:pt x="48" y="241"/>
                    </a:lnTo>
                    <a:lnTo>
                      <a:pt x="57" y="232"/>
                    </a:lnTo>
                    <a:lnTo>
                      <a:pt x="64" y="229"/>
                    </a:lnTo>
                    <a:lnTo>
                      <a:pt x="64" y="229"/>
                    </a:lnTo>
                    <a:lnTo>
                      <a:pt x="64" y="225"/>
                    </a:lnTo>
                    <a:lnTo>
                      <a:pt x="68" y="22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20" name="Freeform 2471"/>
              <p:cNvSpPr>
                <a:spLocks/>
              </p:cNvSpPr>
              <p:nvPr/>
            </p:nvSpPr>
            <p:spPr bwMode="auto">
              <a:xfrm>
                <a:off x="4330" y="2334"/>
                <a:ext cx="116" cy="241"/>
              </a:xfrm>
              <a:custGeom>
                <a:avLst/>
                <a:gdLst>
                  <a:gd name="T0" fmla="*/ 71 w 116"/>
                  <a:gd name="T1" fmla="*/ 223 h 241"/>
                  <a:gd name="T2" fmla="*/ 71 w 116"/>
                  <a:gd name="T3" fmla="*/ 220 h 241"/>
                  <a:gd name="T4" fmla="*/ 73 w 116"/>
                  <a:gd name="T5" fmla="*/ 215 h 241"/>
                  <a:gd name="T6" fmla="*/ 78 w 116"/>
                  <a:gd name="T7" fmla="*/ 211 h 241"/>
                  <a:gd name="T8" fmla="*/ 94 w 116"/>
                  <a:gd name="T9" fmla="*/ 207 h 241"/>
                  <a:gd name="T10" fmla="*/ 107 w 116"/>
                  <a:gd name="T11" fmla="*/ 198 h 241"/>
                  <a:gd name="T12" fmla="*/ 112 w 116"/>
                  <a:gd name="T13" fmla="*/ 191 h 241"/>
                  <a:gd name="T14" fmla="*/ 112 w 116"/>
                  <a:gd name="T15" fmla="*/ 188 h 241"/>
                  <a:gd name="T16" fmla="*/ 112 w 116"/>
                  <a:gd name="T17" fmla="*/ 179 h 241"/>
                  <a:gd name="T18" fmla="*/ 114 w 116"/>
                  <a:gd name="T19" fmla="*/ 175 h 241"/>
                  <a:gd name="T20" fmla="*/ 116 w 116"/>
                  <a:gd name="T21" fmla="*/ 170 h 241"/>
                  <a:gd name="T22" fmla="*/ 98 w 116"/>
                  <a:gd name="T23" fmla="*/ 123 h 241"/>
                  <a:gd name="T24" fmla="*/ 96 w 116"/>
                  <a:gd name="T25" fmla="*/ 120 h 241"/>
                  <a:gd name="T26" fmla="*/ 89 w 116"/>
                  <a:gd name="T27" fmla="*/ 115 h 241"/>
                  <a:gd name="T28" fmla="*/ 57 w 116"/>
                  <a:gd name="T29" fmla="*/ 79 h 241"/>
                  <a:gd name="T30" fmla="*/ 71 w 116"/>
                  <a:gd name="T31" fmla="*/ 48 h 241"/>
                  <a:gd name="T32" fmla="*/ 84 w 116"/>
                  <a:gd name="T33" fmla="*/ 36 h 241"/>
                  <a:gd name="T34" fmla="*/ 93 w 116"/>
                  <a:gd name="T35" fmla="*/ 31 h 241"/>
                  <a:gd name="T36" fmla="*/ 91 w 116"/>
                  <a:gd name="T37" fmla="*/ 27 h 241"/>
                  <a:gd name="T38" fmla="*/ 75 w 116"/>
                  <a:gd name="T39" fmla="*/ 22 h 241"/>
                  <a:gd name="T40" fmla="*/ 73 w 116"/>
                  <a:gd name="T41" fmla="*/ 9 h 241"/>
                  <a:gd name="T42" fmla="*/ 50 w 116"/>
                  <a:gd name="T43" fmla="*/ 0 h 241"/>
                  <a:gd name="T44" fmla="*/ 36 w 116"/>
                  <a:gd name="T45" fmla="*/ 7 h 241"/>
                  <a:gd name="T46" fmla="*/ 28 w 116"/>
                  <a:gd name="T47" fmla="*/ 11 h 241"/>
                  <a:gd name="T48" fmla="*/ 21 w 116"/>
                  <a:gd name="T49" fmla="*/ 7 h 241"/>
                  <a:gd name="T50" fmla="*/ 12 w 116"/>
                  <a:gd name="T51" fmla="*/ 11 h 241"/>
                  <a:gd name="T52" fmla="*/ 7 w 116"/>
                  <a:gd name="T53" fmla="*/ 7 h 241"/>
                  <a:gd name="T54" fmla="*/ 2 w 116"/>
                  <a:gd name="T55" fmla="*/ 13 h 241"/>
                  <a:gd name="T56" fmla="*/ 12 w 116"/>
                  <a:gd name="T57" fmla="*/ 32 h 241"/>
                  <a:gd name="T58" fmla="*/ 23 w 116"/>
                  <a:gd name="T59" fmla="*/ 40 h 241"/>
                  <a:gd name="T60" fmla="*/ 37 w 116"/>
                  <a:gd name="T61" fmla="*/ 45 h 241"/>
                  <a:gd name="T62" fmla="*/ 41 w 116"/>
                  <a:gd name="T63" fmla="*/ 50 h 241"/>
                  <a:gd name="T64" fmla="*/ 39 w 116"/>
                  <a:gd name="T65" fmla="*/ 59 h 241"/>
                  <a:gd name="T66" fmla="*/ 30 w 116"/>
                  <a:gd name="T67" fmla="*/ 61 h 241"/>
                  <a:gd name="T68" fmla="*/ 48 w 116"/>
                  <a:gd name="T69" fmla="*/ 77 h 241"/>
                  <a:gd name="T70" fmla="*/ 55 w 116"/>
                  <a:gd name="T71" fmla="*/ 90 h 241"/>
                  <a:gd name="T72" fmla="*/ 68 w 116"/>
                  <a:gd name="T73" fmla="*/ 100 h 241"/>
                  <a:gd name="T74" fmla="*/ 69 w 116"/>
                  <a:gd name="T75" fmla="*/ 107 h 241"/>
                  <a:gd name="T76" fmla="*/ 80 w 116"/>
                  <a:gd name="T77" fmla="*/ 116 h 241"/>
                  <a:gd name="T78" fmla="*/ 87 w 116"/>
                  <a:gd name="T79" fmla="*/ 163 h 241"/>
                  <a:gd name="T80" fmla="*/ 82 w 116"/>
                  <a:gd name="T81" fmla="*/ 182 h 241"/>
                  <a:gd name="T82" fmla="*/ 69 w 116"/>
                  <a:gd name="T83" fmla="*/ 188 h 241"/>
                  <a:gd name="T84" fmla="*/ 61 w 116"/>
                  <a:gd name="T85" fmla="*/ 197 h 241"/>
                  <a:gd name="T86" fmla="*/ 53 w 116"/>
                  <a:gd name="T87" fmla="*/ 206 h 241"/>
                  <a:gd name="T88" fmla="*/ 46 w 116"/>
                  <a:gd name="T89" fmla="*/ 206 h 241"/>
                  <a:gd name="T90" fmla="*/ 37 w 116"/>
                  <a:gd name="T91" fmla="*/ 211 h 241"/>
                  <a:gd name="T92" fmla="*/ 48 w 116"/>
                  <a:gd name="T93" fmla="*/ 218 h 241"/>
                  <a:gd name="T94" fmla="*/ 46 w 116"/>
                  <a:gd name="T95" fmla="*/ 240 h 241"/>
                  <a:gd name="T96" fmla="*/ 48 w 116"/>
                  <a:gd name="T97" fmla="*/ 241 h 241"/>
                  <a:gd name="T98" fmla="*/ 64 w 116"/>
                  <a:gd name="T99" fmla="*/ 229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6" h="241">
                    <a:moveTo>
                      <a:pt x="68" y="225"/>
                    </a:moveTo>
                    <a:lnTo>
                      <a:pt x="69" y="225"/>
                    </a:lnTo>
                    <a:lnTo>
                      <a:pt x="71" y="223"/>
                    </a:lnTo>
                    <a:lnTo>
                      <a:pt x="69" y="220"/>
                    </a:lnTo>
                    <a:lnTo>
                      <a:pt x="69" y="218"/>
                    </a:lnTo>
                    <a:lnTo>
                      <a:pt x="71" y="220"/>
                    </a:lnTo>
                    <a:lnTo>
                      <a:pt x="73" y="218"/>
                    </a:lnTo>
                    <a:lnTo>
                      <a:pt x="73" y="218"/>
                    </a:lnTo>
                    <a:lnTo>
                      <a:pt x="73" y="215"/>
                    </a:lnTo>
                    <a:lnTo>
                      <a:pt x="73" y="215"/>
                    </a:lnTo>
                    <a:lnTo>
                      <a:pt x="75" y="213"/>
                    </a:lnTo>
                    <a:lnTo>
                      <a:pt x="78" y="211"/>
                    </a:lnTo>
                    <a:lnTo>
                      <a:pt x="80" y="213"/>
                    </a:lnTo>
                    <a:lnTo>
                      <a:pt x="84" y="213"/>
                    </a:lnTo>
                    <a:lnTo>
                      <a:pt x="94" y="207"/>
                    </a:lnTo>
                    <a:lnTo>
                      <a:pt x="96" y="204"/>
                    </a:lnTo>
                    <a:lnTo>
                      <a:pt x="105" y="200"/>
                    </a:lnTo>
                    <a:lnTo>
                      <a:pt x="107" y="198"/>
                    </a:lnTo>
                    <a:lnTo>
                      <a:pt x="111" y="197"/>
                    </a:lnTo>
                    <a:lnTo>
                      <a:pt x="111" y="193"/>
                    </a:lnTo>
                    <a:lnTo>
                      <a:pt x="112" y="191"/>
                    </a:lnTo>
                    <a:lnTo>
                      <a:pt x="112" y="190"/>
                    </a:lnTo>
                    <a:lnTo>
                      <a:pt x="112" y="190"/>
                    </a:lnTo>
                    <a:lnTo>
                      <a:pt x="112" y="188"/>
                    </a:lnTo>
                    <a:lnTo>
                      <a:pt x="114" y="188"/>
                    </a:lnTo>
                    <a:lnTo>
                      <a:pt x="112" y="181"/>
                    </a:lnTo>
                    <a:lnTo>
                      <a:pt x="112" y="179"/>
                    </a:lnTo>
                    <a:lnTo>
                      <a:pt x="114" y="181"/>
                    </a:lnTo>
                    <a:lnTo>
                      <a:pt x="114" y="177"/>
                    </a:lnTo>
                    <a:lnTo>
                      <a:pt x="114" y="175"/>
                    </a:lnTo>
                    <a:lnTo>
                      <a:pt x="116" y="175"/>
                    </a:lnTo>
                    <a:lnTo>
                      <a:pt x="116" y="177"/>
                    </a:lnTo>
                    <a:lnTo>
                      <a:pt x="116" y="170"/>
                    </a:lnTo>
                    <a:lnTo>
                      <a:pt x="114" y="170"/>
                    </a:lnTo>
                    <a:lnTo>
                      <a:pt x="107" y="132"/>
                    </a:lnTo>
                    <a:lnTo>
                      <a:pt x="98" y="123"/>
                    </a:lnTo>
                    <a:lnTo>
                      <a:pt x="98" y="118"/>
                    </a:lnTo>
                    <a:lnTo>
                      <a:pt x="98" y="120"/>
                    </a:lnTo>
                    <a:lnTo>
                      <a:pt x="96" y="120"/>
                    </a:lnTo>
                    <a:lnTo>
                      <a:pt x="96" y="118"/>
                    </a:lnTo>
                    <a:lnTo>
                      <a:pt x="94" y="116"/>
                    </a:lnTo>
                    <a:lnTo>
                      <a:pt x="89" y="115"/>
                    </a:lnTo>
                    <a:lnTo>
                      <a:pt x="69" y="93"/>
                    </a:lnTo>
                    <a:lnTo>
                      <a:pt x="68" y="86"/>
                    </a:lnTo>
                    <a:lnTo>
                      <a:pt x="57" y="79"/>
                    </a:lnTo>
                    <a:lnTo>
                      <a:pt x="57" y="75"/>
                    </a:lnTo>
                    <a:lnTo>
                      <a:pt x="62" y="56"/>
                    </a:lnTo>
                    <a:lnTo>
                      <a:pt x="71" y="48"/>
                    </a:lnTo>
                    <a:lnTo>
                      <a:pt x="71" y="43"/>
                    </a:lnTo>
                    <a:lnTo>
                      <a:pt x="75" y="40"/>
                    </a:lnTo>
                    <a:lnTo>
                      <a:pt x="84" y="36"/>
                    </a:lnTo>
                    <a:lnTo>
                      <a:pt x="84" y="32"/>
                    </a:lnTo>
                    <a:lnTo>
                      <a:pt x="89" y="31"/>
                    </a:lnTo>
                    <a:lnTo>
                      <a:pt x="93" y="31"/>
                    </a:lnTo>
                    <a:lnTo>
                      <a:pt x="93" y="31"/>
                    </a:lnTo>
                    <a:lnTo>
                      <a:pt x="93" y="29"/>
                    </a:lnTo>
                    <a:lnTo>
                      <a:pt x="91" y="27"/>
                    </a:lnTo>
                    <a:lnTo>
                      <a:pt x="82" y="27"/>
                    </a:lnTo>
                    <a:lnTo>
                      <a:pt x="82" y="25"/>
                    </a:lnTo>
                    <a:lnTo>
                      <a:pt x="75" y="22"/>
                    </a:lnTo>
                    <a:lnTo>
                      <a:pt x="73" y="18"/>
                    </a:lnTo>
                    <a:lnTo>
                      <a:pt x="71" y="15"/>
                    </a:lnTo>
                    <a:lnTo>
                      <a:pt x="73" y="9"/>
                    </a:lnTo>
                    <a:lnTo>
                      <a:pt x="71" y="7"/>
                    </a:lnTo>
                    <a:lnTo>
                      <a:pt x="62" y="6"/>
                    </a:lnTo>
                    <a:lnTo>
                      <a:pt x="50" y="0"/>
                    </a:lnTo>
                    <a:lnTo>
                      <a:pt x="48" y="0"/>
                    </a:lnTo>
                    <a:lnTo>
                      <a:pt x="41" y="6"/>
                    </a:lnTo>
                    <a:lnTo>
                      <a:pt x="36" y="7"/>
                    </a:lnTo>
                    <a:lnTo>
                      <a:pt x="34" y="7"/>
                    </a:lnTo>
                    <a:lnTo>
                      <a:pt x="30" y="9"/>
                    </a:lnTo>
                    <a:lnTo>
                      <a:pt x="28" y="11"/>
                    </a:lnTo>
                    <a:lnTo>
                      <a:pt x="27" y="9"/>
                    </a:lnTo>
                    <a:lnTo>
                      <a:pt x="23" y="9"/>
                    </a:lnTo>
                    <a:lnTo>
                      <a:pt x="21" y="7"/>
                    </a:lnTo>
                    <a:lnTo>
                      <a:pt x="19" y="9"/>
                    </a:lnTo>
                    <a:lnTo>
                      <a:pt x="14" y="11"/>
                    </a:lnTo>
                    <a:lnTo>
                      <a:pt x="12" y="11"/>
                    </a:lnTo>
                    <a:lnTo>
                      <a:pt x="11" y="9"/>
                    </a:lnTo>
                    <a:lnTo>
                      <a:pt x="7" y="9"/>
                    </a:lnTo>
                    <a:lnTo>
                      <a:pt x="7" y="7"/>
                    </a:lnTo>
                    <a:lnTo>
                      <a:pt x="5" y="7"/>
                    </a:lnTo>
                    <a:lnTo>
                      <a:pt x="2" y="13"/>
                    </a:lnTo>
                    <a:lnTo>
                      <a:pt x="2" y="13"/>
                    </a:lnTo>
                    <a:lnTo>
                      <a:pt x="0" y="13"/>
                    </a:lnTo>
                    <a:lnTo>
                      <a:pt x="12" y="29"/>
                    </a:lnTo>
                    <a:lnTo>
                      <a:pt x="12" y="32"/>
                    </a:lnTo>
                    <a:lnTo>
                      <a:pt x="12" y="34"/>
                    </a:lnTo>
                    <a:lnTo>
                      <a:pt x="18" y="40"/>
                    </a:lnTo>
                    <a:lnTo>
                      <a:pt x="23" y="40"/>
                    </a:lnTo>
                    <a:lnTo>
                      <a:pt x="28" y="38"/>
                    </a:lnTo>
                    <a:lnTo>
                      <a:pt x="34" y="40"/>
                    </a:lnTo>
                    <a:lnTo>
                      <a:pt x="37" y="45"/>
                    </a:lnTo>
                    <a:lnTo>
                      <a:pt x="37" y="47"/>
                    </a:lnTo>
                    <a:lnTo>
                      <a:pt x="41" y="48"/>
                    </a:lnTo>
                    <a:lnTo>
                      <a:pt x="41" y="50"/>
                    </a:lnTo>
                    <a:lnTo>
                      <a:pt x="43" y="52"/>
                    </a:lnTo>
                    <a:lnTo>
                      <a:pt x="43" y="56"/>
                    </a:lnTo>
                    <a:lnTo>
                      <a:pt x="39" y="59"/>
                    </a:lnTo>
                    <a:lnTo>
                      <a:pt x="34" y="59"/>
                    </a:lnTo>
                    <a:lnTo>
                      <a:pt x="32" y="59"/>
                    </a:lnTo>
                    <a:lnTo>
                      <a:pt x="30" y="61"/>
                    </a:lnTo>
                    <a:lnTo>
                      <a:pt x="28" y="65"/>
                    </a:lnTo>
                    <a:lnTo>
                      <a:pt x="30" y="66"/>
                    </a:lnTo>
                    <a:lnTo>
                      <a:pt x="48" y="77"/>
                    </a:lnTo>
                    <a:lnTo>
                      <a:pt x="48" y="81"/>
                    </a:lnTo>
                    <a:lnTo>
                      <a:pt x="55" y="88"/>
                    </a:lnTo>
                    <a:lnTo>
                      <a:pt x="55" y="90"/>
                    </a:lnTo>
                    <a:lnTo>
                      <a:pt x="61" y="95"/>
                    </a:lnTo>
                    <a:lnTo>
                      <a:pt x="62" y="97"/>
                    </a:lnTo>
                    <a:lnTo>
                      <a:pt x="68" y="100"/>
                    </a:lnTo>
                    <a:lnTo>
                      <a:pt x="69" y="107"/>
                    </a:lnTo>
                    <a:lnTo>
                      <a:pt x="69" y="107"/>
                    </a:lnTo>
                    <a:lnTo>
                      <a:pt x="69" y="107"/>
                    </a:lnTo>
                    <a:lnTo>
                      <a:pt x="71" y="111"/>
                    </a:lnTo>
                    <a:lnTo>
                      <a:pt x="73" y="111"/>
                    </a:lnTo>
                    <a:lnTo>
                      <a:pt x="80" y="116"/>
                    </a:lnTo>
                    <a:lnTo>
                      <a:pt x="86" y="131"/>
                    </a:lnTo>
                    <a:lnTo>
                      <a:pt x="86" y="157"/>
                    </a:lnTo>
                    <a:lnTo>
                      <a:pt x="87" y="163"/>
                    </a:lnTo>
                    <a:lnTo>
                      <a:pt x="87" y="181"/>
                    </a:lnTo>
                    <a:lnTo>
                      <a:pt x="86" y="182"/>
                    </a:lnTo>
                    <a:lnTo>
                      <a:pt x="82" y="182"/>
                    </a:lnTo>
                    <a:lnTo>
                      <a:pt x="77" y="186"/>
                    </a:lnTo>
                    <a:lnTo>
                      <a:pt x="75" y="186"/>
                    </a:lnTo>
                    <a:lnTo>
                      <a:pt x="69" y="188"/>
                    </a:lnTo>
                    <a:lnTo>
                      <a:pt x="69" y="191"/>
                    </a:lnTo>
                    <a:lnTo>
                      <a:pt x="61" y="191"/>
                    </a:lnTo>
                    <a:lnTo>
                      <a:pt x="61" y="197"/>
                    </a:lnTo>
                    <a:lnTo>
                      <a:pt x="61" y="200"/>
                    </a:lnTo>
                    <a:lnTo>
                      <a:pt x="57" y="202"/>
                    </a:lnTo>
                    <a:lnTo>
                      <a:pt x="53" y="206"/>
                    </a:lnTo>
                    <a:lnTo>
                      <a:pt x="50" y="206"/>
                    </a:lnTo>
                    <a:lnTo>
                      <a:pt x="48" y="206"/>
                    </a:lnTo>
                    <a:lnTo>
                      <a:pt x="46" y="206"/>
                    </a:lnTo>
                    <a:lnTo>
                      <a:pt x="46" y="207"/>
                    </a:lnTo>
                    <a:lnTo>
                      <a:pt x="44" y="209"/>
                    </a:lnTo>
                    <a:lnTo>
                      <a:pt x="37" y="211"/>
                    </a:lnTo>
                    <a:lnTo>
                      <a:pt x="39" y="215"/>
                    </a:lnTo>
                    <a:lnTo>
                      <a:pt x="44" y="216"/>
                    </a:lnTo>
                    <a:lnTo>
                      <a:pt x="48" y="218"/>
                    </a:lnTo>
                    <a:lnTo>
                      <a:pt x="44" y="223"/>
                    </a:lnTo>
                    <a:lnTo>
                      <a:pt x="43" y="232"/>
                    </a:lnTo>
                    <a:lnTo>
                      <a:pt x="46" y="240"/>
                    </a:lnTo>
                    <a:lnTo>
                      <a:pt x="44" y="240"/>
                    </a:lnTo>
                    <a:lnTo>
                      <a:pt x="44" y="241"/>
                    </a:lnTo>
                    <a:lnTo>
                      <a:pt x="48" y="241"/>
                    </a:lnTo>
                    <a:lnTo>
                      <a:pt x="57" y="232"/>
                    </a:lnTo>
                    <a:lnTo>
                      <a:pt x="64" y="229"/>
                    </a:lnTo>
                    <a:lnTo>
                      <a:pt x="64" y="229"/>
                    </a:lnTo>
                    <a:lnTo>
                      <a:pt x="64" y="225"/>
                    </a:lnTo>
                    <a:lnTo>
                      <a:pt x="68" y="22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21" name="Freeform 2472"/>
              <p:cNvSpPr>
                <a:spLocks/>
              </p:cNvSpPr>
              <p:nvPr/>
            </p:nvSpPr>
            <p:spPr bwMode="auto">
              <a:xfrm>
                <a:off x="4101" y="1736"/>
                <a:ext cx="506" cy="248"/>
              </a:xfrm>
              <a:custGeom>
                <a:avLst/>
                <a:gdLst>
                  <a:gd name="T0" fmla="*/ 4 w 506"/>
                  <a:gd name="T1" fmla="*/ 73 h 248"/>
                  <a:gd name="T2" fmla="*/ 18 w 506"/>
                  <a:gd name="T3" fmla="*/ 64 h 248"/>
                  <a:gd name="T4" fmla="*/ 72 w 506"/>
                  <a:gd name="T5" fmla="*/ 39 h 248"/>
                  <a:gd name="T6" fmla="*/ 86 w 506"/>
                  <a:gd name="T7" fmla="*/ 45 h 248"/>
                  <a:gd name="T8" fmla="*/ 102 w 506"/>
                  <a:gd name="T9" fmla="*/ 45 h 248"/>
                  <a:gd name="T10" fmla="*/ 118 w 506"/>
                  <a:gd name="T11" fmla="*/ 55 h 248"/>
                  <a:gd name="T12" fmla="*/ 136 w 506"/>
                  <a:gd name="T13" fmla="*/ 55 h 248"/>
                  <a:gd name="T14" fmla="*/ 163 w 506"/>
                  <a:gd name="T15" fmla="*/ 52 h 248"/>
                  <a:gd name="T16" fmla="*/ 163 w 506"/>
                  <a:gd name="T17" fmla="*/ 43 h 248"/>
                  <a:gd name="T18" fmla="*/ 165 w 506"/>
                  <a:gd name="T19" fmla="*/ 34 h 248"/>
                  <a:gd name="T20" fmla="*/ 161 w 506"/>
                  <a:gd name="T21" fmla="*/ 23 h 248"/>
                  <a:gd name="T22" fmla="*/ 179 w 506"/>
                  <a:gd name="T23" fmla="*/ 0 h 248"/>
                  <a:gd name="T24" fmla="*/ 188 w 506"/>
                  <a:gd name="T25" fmla="*/ 2 h 248"/>
                  <a:gd name="T26" fmla="*/ 204 w 506"/>
                  <a:gd name="T27" fmla="*/ 7 h 248"/>
                  <a:gd name="T28" fmla="*/ 225 w 506"/>
                  <a:gd name="T29" fmla="*/ 16 h 248"/>
                  <a:gd name="T30" fmla="*/ 231 w 506"/>
                  <a:gd name="T31" fmla="*/ 36 h 248"/>
                  <a:gd name="T32" fmla="*/ 243 w 506"/>
                  <a:gd name="T33" fmla="*/ 45 h 248"/>
                  <a:gd name="T34" fmla="*/ 261 w 506"/>
                  <a:gd name="T35" fmla="*/ 46 h 248"/>
                  <a:gd name="T36" fmla="*/ 298 w 506"/>
                  <a:gd name="T37" fmla="*/ 46 h 248"/>
                  <a:gd name="T38" fmla="*/ 302 w 506"/>
                  <a:gd name="T39" fmla="*/ 48 h 248"/>
                  <a:gd name="T40" fmla="*/ 322 w 506"/>
                  <a:gd name="T41" fmla="*/ 59 h 248"/>
                  <a:gd name="T42" fmla="*/ 334 w 506"/>
                  <a:gd name="T43" fmla="*/ 70 h 248"/>
                  <a:gd name="T44" fmla="*/ 368 w 506"/>
                  <a:gd name="T45" fmla="*/ 75 h 248"/>
                  <a:gd name="T46" fmla="*/ 420 w 506"/>
                  <a:gd name="T47" fmla="*/ 52 h 248"/>
                  <a:gd name="T48" fmla="*/ 434 w 506"/>
                  <a:gd name="T49" fmla="*/ 52 h 248"/>
                  <a:gd name="T50" fmla="*/ 447 w 506"/>
                  <a:gd name="T51" fmla="*/ 57 h 248"/>
                  <a:gd name="T52" fmla="*/ 456 w 506"/>
                  <a:gd name="T53" fmla="*/ 55 h 248"/>
                  <a:gd name="T54" fmla="*/ 457 w 506"/>
                  <a:gd name="T55" fmla="*/ 57 h 248"/>
                  <a:gd name="T56" fmla="*/ 445 w 506"/>
                  <a:gd name="T57" fmla="*/ 75 h 248"/>
                  <a:gd name="T58" fmla="*/ 443 w 506"/>
                  <a:gd name="T59" fmla="*/ 95 h 248"/>
                  <a:gd name="T60" fmla="*/ 447 w 506"/>
                  <a:gd name="T61" fmla="*/ 111 h 248"/>
                  <a:gd name="T62" fmla="*/ 473 w 506"/>
                  <a:gd name="T63" fmla="*/ 111 h 248"/>
                  <a:gd name="T64" fmla="*/ 491 w 506"/>
                  <a:gd name="T65" fmla="*/ 111 h 248"/>
                  <a:gd name="T66" fmla="*/ 502 w 506"/>
                  <a:gd name="T67" fmla="*/ 121 h 248"/>
                  <a:gd name="T68" fmla="*/ 506 w 506"/>
                  <a:gd name="T69" fmla="*/ 130 h 248"/>
                  <a:gd name="T70" fmla="*/ 504 w 506"/>
                  <a:gd name="T71" fmla="*/ 136 h 248"/>
                  <a:gd name="T72" fmla="*/ 465 w 506"/>
                  <a:gd name="T73" fmla="*/ 136 h 248"/>
                  <a:gd name="T74" fmla="*/ 438 w 506"/>
                  <a:gd name="T75" fmla="*/ 161 h 248"/>
                  <a:gd name="T76" fmla="*/ 420 w 506"/>
                  <a:gd name="T77" fmla="*/ 173 h 248"/>
                  <a:gd name="T78" fmla="*/ 400 w 506"/>
                  <a:gd name="T79" fmla="*/ 177 h 248"/>
                  <a:gd name="T80" fmla="*/ 393 w 506"/>
                  <a:gd name="T81" fmla="*/ 171 h 248"/>
                  <a:gd name="T82" fmla="*/ 381 w 506"/>
                  <a:gd name="T83" fmla="*/ 184 h 248"/>
                  <a:gd name="T84" fmla="*/ 386 w 506"/>
                  <a:gd name="T85" fmla="*/ 196 h 248"/>
                  <a:gd name="T86" fmla="*/ 370 w 506"/>
                  <a:gd name="T87" fmla="*/ 216 h 248"/>
                  <a:gd name="T88" fmla="*/ 348 w 506"/>
                  <a:gd name="T89" fmla="*/ 230 h 248"/>
                  <a:gd name="T90" fmla="*/ 338 w 506"/>
                  <a:gd name="T91" fmla="*/ 230 h 248"/>
                  <a:gd name="T92" fmla="*/ 325 w 506"/>
                  <a:gd name="T93" fmla="*/ 230 h 248"/>
                  <a:gd name="T94" fmla="*/ 298 w 506"/>
                  <a:gd name="T95" fmla="*/ 236 h 248"/>
                  <a:gd name="T96" fmla="*/ 281 w 506"/>
                  <a:gd name="T97" fmla="*/ 243 h 248"/>
                  <a:gd name="T98" fmla="*/ 272 w 506"/>
                  <a:gd name="T99" fmla="*/ 248 h 248"/>
                  <a:gd name="T100" fmla="*/ 265 w 506"/>
                  <a:gd name="T101" fmla="*/ 245 h 248"/>
                  <a:gd name="T102" fmla="*/ 220 w 506"/>
                  <a:gd name="T103" fmla="*/ 225 h 248"/>
                  <a:gd name="T104" fmla="*/ 148 w 506"/>
                  <a:gd name="T105" fmla="*/ 223 h 248"/>
                  <a:gd name="T106" fmla="*/ 120 w 506"/>
                  <a:gd name="T107" fmla="*/ 188 h 248"/>
                  <a:gd name="T108" fmla="*/ 82 w 506"/>
                  <a:gd name="T109" fmla="*/ 171 h 248"/>
                  <a:gd name="T110" fmla="*/ 48 w 506"/>
                  <a:gd name="T111" fmla="*/ 168 h 248"/>
                  <a:gd name="T112" fmla="*/ 47 w 506"/>
                  <a:gd name="T113" fmla="*/ 161 h 248"/>
                  <a:gd name="T114" fmla="*/ 45 w 506"/>
                  <a:gd name="T115" fmla="*/ 125 h 248"/>
                  <a:gd name="T116" fmla="*/ 31 w 506"/>
                  <a:gd name="T117" fmla="*/ 107 h 248"/>
                  <a:gd name="T118" fmla="*/ 23 w 506"/>
                  <a:gd name="T119" fmla="*/ 104 h 248"/>
                  <a:gd name="T120" fmla="*/ 16 w 506"/>
                  <a:gd name="T121" fmla="*/ 104 h 248"/>
                  <a:gd name="T122" fmla="*/ 4 w 506"/>
                  <a:gd name="T123" fmla="*/ 91 h 248"/>
                  <a:gd name="T124" fmla="*/ 0 w 506"/>
                  <a:gd name="T125" fmla="*/ 8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 h="248">
                    <a:moveTo>
                      <a:pt x="0" y="80"/>
                    </a:moveTo>
                    <a:lnTo>
                      <a:pt x="4" y="73"/>
                    </a:lnTo>
                    <a:lnTo>
                      <a:pt x="9" y="68"/>
                    </a:lnTo>
                    <a:lnTo>
                      <a:pt x="18" y="64"/>
                    </a:lnTo>
                    <a:lnTo>
                      <a:pt x="45" y="46"/>
                    </a:lnTo>
                    <a:lnTo>
                      <a:pt x="72" y="39"/>
                    </a:lnTo>
                    <a:lnTo>
                      <a:pt x="82" y="41"/>
                    </a:lnTo>
                    <a:lnTo>
                      <a:pt x="86" y="45"/>
                    </a:lnTo>
                    <a:lnTo>
                      <a:pt x="97" y="43"/>
                    </a:lnTo>
                    <a:lnTo>
                      <a:pt x="102" y="45"/>
                    </a:lnTo>
                    <a:lnTo>
                      <a:pt x="113" y="55"/>
                    </a:lnTo>
                    <a:lnTo>
                      <a:pt x="118" y="55"/>
                    </a:lnTo>
                    <a:lnTo>
                      <a:pt x="132" y="54"/>
                    </a:lnTo>
                    <a:lnTo>
                      <a:pt x="136" y="55"/>
                    </a:lnTo>
                    <a:lnTo>
                      <a:pt x="159" y="54"/>
                    </a:lnTo>
                    <a:lnTo>
                      <a:pt x="163" y="52"/>
                    </a:lnTo>
                    <a:lnTo>
                      <a:pt x="161" y="46"/>
                    </a:lnTo>
                    <a:lnTo>
                      <a:pt x="163" y="43"/>
                    </a:lnTo>
                    <a:lnTo>
                      <a:pt x="165" y="38"/>
                    </a:lnTo>
                    <a:lnTo>
                      <a:pt x="165" y="34"/>
                    </a:lnTo>
                    <a:lnTo>
                      <a:pt x="161" y="29"/>
                    </a:lnTo>
                    <a:lnTo>
                      <a:pt x="161" y="23"/>
                    </a:lnTo>
                    <a:lnTo>
                      <a:pt x="161" y="18"/>
                    </a:lnTo>
                    <a:lnTo>
                      <a:pt x="179" y="0"/>
                    </a:lnTo>
                    <a:lnTo>
                      <a:pt x="182" y="0"/>
                    </a:lnTo>
                    <a:lnTo>
                      <a:pt x="188" y="2"/>
                    </a:lnTo>
                    <a:lnTo>
                      <a:pt x="193" y="5"/>
                    </a:lnTo>
                    <a:lnTo>
                      <a:pt x="204" y="7"/>
                    </a:lnTo>
                    <a:lnTo>
                      <a:pt x="207" y="13"/>
                    </a:lnTo>
                    <a:lnTo>
                      <a:pt x="225" y="16"/>
                    </a:lnTo>
                    <a:lnTo>
                      <a:pt x="229" y="21"/>
                    </a:lnTo>
                    <a:lnTo>
                      <a:pt x="231" y="36"/>
                    </a:lnTo>
                    <a:lnTo>
                      <a:pt x="231" y="36"/>
                    </a:lnTo>
                    <a:lnTo>
                      <a:pt x="243" y="45"/>
                    </a:lnTo>
                    <a:lnTo>
                      <a:pt x="252" y="48"/>
                    </a:lnTo>
                    <a:lnTo>
                      <a:pt x="261" y="46"/>
                    </a:lnTo>
                    <a:lnTo>
                      <a:pt x="275" y="39"/>
                    </a:lnTo>
                    <a:lnTo>
                      <a:pt x="298" y="46"/>
                    </a:lnTo>
                    <a:lnTo>
                      <a:pt x="302" y="48"/>
                    </a:lnTo>
                    <a:lnTo>
                      <a:pt x="302" y="48"/>
                    </a:lnTo>
                    <a:lnTo>
                      <a:pt x="309" y="54"/>
                    </a:lnTo>
                    <a:lnTo>
                      <a:pt x="322" y="59"/>
                    </a:lnTo>
                    <a:lnTo>
                      <a:pt x="327" y="64"/>
                    </a:lnTo>
                    <a:lnTo>
                      <a:pt x="334" y="70"/>
                    </a:lnTo>
                    <a:lnTo>
                      <a:pt x="363" y="71"/>
                    </a:lnTo>
                    <a:lnTo>
                      <a:pt x="368" y="75"/>
                    </a:lnTo>
                    <a:lnTo>
                      <a:pt x="402" y="66"/>
                    </a:lnTo>
                    <a:lnTo>
                      <a:pt x="420" y="52"/>
                    </a:lnTo>
                    <a:lnTo>
                      <a:pt x="427" y="50"/>
                    </a:lnTo>
                    <a:lnTo>
                      <a:pt x="434" y="52"/>
                    </a:lnTo>
                    <a:lnTo>
                      <a:pt x="440" y="57"/>
                    </a:lnTo>
                    <a:lnTo>
                      <a:pt x="447" y="57"/>
                    </a:lnTo>
                    <a:lnTo>
                      <a:pt x="450" y="57"/>
                    </a:lnTo>
                    <a:lnTo>
                      <a:pt x="456" y="55"/>
                    </a:lnTo>
                    <a:lnTo>
                      <a:pt x="457" y="55"/>
                    </a:lnTo>
                    <a:lnTo>
                      <a:pt x="457" y="57"/>
                    </a:lnTo>
                    <a:lnTo>
                      <a:pt x="454" y="59"/>
                    </a:lnTo>
                    <a:lnTo>
                      <a:pt x="445" y="75"/>
                    </a:lnTo>
                    <a:lnTo>
                      <a:pt x="445" y="89"/>
                    </a:lnTo>
                    <a:lnTo>
                      <a:pt x="443" y="95"/>
                    </a:lnTo>
                    <a:lnTo>
                      <a:pt x="443" y="107"/>
                    </a:lnTo>
                    <a:lnTo>
                      <a:pt x="447" y="111"/>
                    </a:lnTo>
                    <a:lnTo>
                      <a:pt x="457" y="114"/>
                    </a:lnTo>
                    <a:lnTo>
                      <a:pt x="473" y="111"/>
                    </a:lnTo>
                    <a:lnTo>
                      <a:pt x="486" y="102"/>
                    </a:lnTo>
                    <a:lnTo>
                      <a:pt x="491" y="111"/>
                    </a:lnTo>
                    <a:lnTo>
                      <a:pt x="500" y="116"/>
                    </a:lnTo>
                    <a:lnTo>
                      <a:pt x="502" y="121"/>
                    </a:lnTo>
                    <a:lnTo>
                      <a:pt x="502" y="127"/>
                    </a:lnTo>
                    <a:lnTo>
                      <a:pt x="506" y="130"/>
                    </a:lnTo>
                    <a:lnTo>
                      <a:pt x="506" y="134"/>
                    </a:lnTo>
                    <a:lnTo>
                      <a:pt x="504" y="136"/>
                    </a:lnTo>
                    <a:lnTo>
                      <a:pt x="493" y="132"/>
                    </a:lnTo>
                    <a:lnTo>
                      <a:pt x="465" y="136"/>
                    </a:lnTo>
                    <a:lnTo>
                      <a:pt x="445" y="157"/>
                    </a:lnTo>
                    <a:lnTo>
                      <a:pt x="438" y="161"/>
                    </a:lnTo>
                    <a:lnTo>
                      <a:pt x="431" y="161"/>
                    </a:lnTo>
                    <a:lnTo>
                      <a:pt x="420" y="173"/>
                    </a:lnTo>
                    <a:lnTo>
                      <a:pt x="411" y="179"/>
                    </a:lnTo>
                    <a:lnTo>
                      <a:pt x="400" y="177"/>
                    </a:lnTo>
                    <a:lnTo>
                      <a:pt x="397" y="173"/>
                    </a:lnTo>
                    <a:lnTo>
                      <a:pt x="393" y="171"/>
                    </a:lnTo>
                    <a:lnTo>
                      <a:pt x="386" y="173"/>
                    </a:lnTo>
                    <a:lnTo>
                      <a:pt x="381" y="184"/>
                    </a:lnTo>
                    <a:lnTo>
                      <a:pt x="379" y="188"/>
                    </a:lnTo>
                    <a:lnTo>
                      <a:pt x="386" y="196"/>
                    </a:lnTo>
                    <a:lnTo>
                      <a:pt x="386" y="200"/>
                    </a:lnTo>
                    <a:lnTo>
                      <a:pt x="370" y="216"/>
                    </a:lnTo>
                    <a:lnTo>
                      <a:pt x="366" y="220"/>
                    </a:lnTo>
                    <a:lnTo>
                      <a:pt x="348" y="230"/>
                    </a:lnTo>
                    <a:lnTo>
                      <a:pt x="340" y="230"/>
                    </a:lnTo>
                    <a:lnTo>
                      <a:pt x="338" y="230"/>
                    </a:lnTo>
                    <a:lnTo>
                      <a:pt x="331" y="229"/>
                    </a:lnTo>
                    <a:lnTo>
                      <a:pt x="325" y="230"/>
                    </a:lnTo>
                    <a:lnTo>
                      <a:pt x="318" y="230"/>
                    </a:lnTo>
                    <a:lnTo>
                      <a:pt x="298" y="236"/>
                    </a:lnTo>
                    <a:lnTo>
                      <a:pt x="297" y="238"/>
                    </a:lnTo>
                    <a:lnTo>
                      <a:pt x="281" y="243"/>
                    </a:lnTo>
                    <a:lnTo>
                      <a:pt x="275" y="246"/>
                    </a:lnTo>
                    <a:lnTo>
                      <a:pt x="272" y="248"/>
                    </a:lnTo>
                    <a:lnTo>
                      <a:pt x="268" y="246"/>
                    </a:lnTo>
                    <a:lnTo>
                      <a:pt x="265" y="245"/>
                    </a:lnTo>
                    <a:lnTo>
                      <a:pt x="227" y="232"/>
                    </a:lnTo>
                    <a:lnTo>
                      <a:pt x="220" y="225"/>
                    </a:lnTo>
                    <a:lnTo>
                      <a:pt x="202" y="220"/>
                    </a:lnTo>
                    <a:lnTo>
                      <a:pt x="148" y="223"/>
                    </a:lnTo>
                    <a:lnTo>
                      <a:pt x="143" y="221"/>
                    </a:lnTo>
                    <a:lnTo>
                      <a:pt x="120" y="188"/>
                    </a:lnTo>
                    <a:lnTo>
                      <a:pt x="116" y="188"/>
                    </a:lnTo>
                    <a:lnTo>
                      <a:pt x="82" y="171"/>
                    </a:lnTo>
                    <a:lnTo>
                      <a:pt x="75" y="173"/>
                    </a:lnTo>
                    <a:lnTo>
                      <a:pt x="48" y="168"/>
                    </a:lnTo>
                    <a:lnTo>
                      <a:pt x="45" y="166"/>
                    </a:lnTo>
                    <a:lnTo>
                      <a:pt x="47" y="161"/>
                    </a:lnTo>
                    <a:lnTo>
                      <a:pt x="48" y="155"/>
                    </a:lnTo>
                    <a:lnTo>
                      <a:pt x="45" y="125"/>
                    </a:lnTo>
                    <a:lnTo>
                      <a:pt x="36" y="109"/>
                    </a:lnTo>
                    <a:lnTo>
                      <a:pt x="31" y="107"/>
                    </a:lnTo>
                    <a:lnTo>
                      <a:pt x="27" y="105"/>
                    </a:lnTo>
                    <a:lnTo>
                      <a:pt x="23" y="104"/>
                    </a:lnTo>
                    <a:lnTo>
                      <a:pt x="20" y="107"/>
                    </a:lnTo>
                    <a:lnTo>
                      <a:pt x="16" y="104"/>
                    </a:lnTo>
                    <a:lnTo>
                      <a:pt x="13" y="98"/>
                    </a:lnTo>
                    <a:lnTo>
                      <a:pt x="4" y="91"/>
                    </a:lnTo>
                    <a:lnTo>
                      <a:pt x="0" y="80"/>
                    </a:lnTo>
                    <a:lnTo>
                      <a:pt x="0" y="8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22" name="Freeform 2473"/>
              <p:cNvSpPr>
                <a:spLocks/>
              </p:cNvSpPr>
              <p:nvPr/>
            </p:nvSpPr>
            <p:spPr bwMode="auto">
              <a:xfrm>
                <a:off x="4101" y="1736"/>
                <a:ext cx="506" cy="248"/>
              </a:xfrm>
              <a:custGeom>
                <a:avLst/>
                <a:gdLst>
                  <a:gd name="T0" fmla="*/ 4 w 506"/>
                  <a:gd name="T1" fmla="*/ 73 h 248"/>
                  <a:gd name="T2" fmla="*/ 18 w 506"/>
                  <a:gd name="T3" fmla="*/ 64 h 248"/>
                  <a:gd name="T4" fmla="*/ 72 w 506"/>
                  <a:gd name="T5" fmla="*/ 39 h 248"/>
                  <a:gd name="T6" fmla="*/ 86 w 506"/>
                  <a:gd name="T7" fmla="*/ 45 h 248"/>
                  <a:gd name="T8" fmla="*/ 102 w 506"/>
                  <a:gd name="T9" fmla="*/ 45 h 248"/>
                  <a:gd name="T10" fmla="*/ 118 w 506"/>
                  <a:gd name="T11" fmla="*/ 55 h 248"/>
                  <a:gd name="T12" fmla="*/ 136 w 506"/>
                  <a:gd name="T13" fmla="*/ 55 h 248"/>
                  <a:gd name="T14" fmla="*/ 163 w 506"/>
                  <a:gd name="T15" fmla="*/ 52 h 248"/>
                  <a:gd name="T16" fmla="*/ 163 w 506"/>
                  <a:gd name="T17" fmla="*/ 43 h 248"/>
                  <a:gd name="T18" fmla="*/ 165 w 506"/>
                  <a:gd name="T19" fmla="*/ 34 h 248"/>
                  <a:gd name="T20" fmla="*/ 161 w 506"/>
                  <a:gd name="T21" fmla="*/ 23 h 248"/>
                  <a:gd name="T22" fmla="*/ 179 w 506"/>
                  <a:gd name="T23" fmla="*/ 0 h 248"/>
                  <a:gd name="T24" fmla="*/ 188 w 506"/>
                  <a:gd name="T25" fmla="*/ 2 h 248"/>
                  <a:gd name="T26" fmla="*/ 204 w 506"/>
                  <a:gd name="T27" fmla="*/ 7 h 248"/>
                  <a:gd name="T28" fmla="*/ 225 w 506"/>
                  <a:gd name="T29" fmla="*/ 16 h 248"/>
                  <a:gd name="T30" fmla="*/ 231 w 506"/>
                  <a:gd name="T31" fmla="*/ 36 h 248"/>
                  <a:gd name="T32" fmla="*/ 243 w 506"/>
                  <a:gd name="T33" fmla="*/ 45 h 248"/>
                  <a:gd name="T34" fmla="*/ 261 w 506"/>
                  <a:gd name="T35" fmla="*/ 46 h 248"/>
                  <a:gd name="T36" fmla="*/ 298 w 506"/>
                  <a:gd name="T37" fmla="*/ 46 h 248"/>
                  <a:gd name="T38" fmla="*/ 302 w 506"/>
                  <a:gd name="T39" fmla="*/ 48 h 248"/>
                  <a:gd name="T40" fmla="*/ 322 w 506"/>
                  <a:gd name="T41" fmla="*/ 59 h 248"/>
                  <a:gd name="T42" fmla="*/ 334 w 506"/>
                  <a:gd name="T43" fmla="*/ 70 h 248"/>
                  <a:gd name="T44" fmla="*/ 368 w 506"/>
                  <a:gd name="T45" fmla="*/ 75 h 248"/>
                  <a:gd name="T46" fmla="*/ 420 w 506"/>
                  <a:gd name="T47" fmla="*/ 52 h 248"/>
                  <a:gd name="T48" fmla="*/ 434 w 506"/>
                  <a:gd name="T49" fmla="*/ 52 h 248"/>
                  <a:gd name="T50" fmla="*/ 447 w 506"/>
                  <a:gd name="T51" fmla="*/ 57 h 248"/>
                  <a:gd name="T52" fmla="*/ 456 w 506"/>
                  <a:gd name="T53" fmla="*/ 55 h 248"/>
                  <a:gd name="T54" fmla="*/ 457 w 506"/>
                  <a:gd name="T55" fmla="*/ 57 h 248"/>
                  <a:gd name="T56" fmla="*/ 445 w 506"/>
                  <a:gd name="T57" fmla="*/ 75 h 248"/>
                  <a:gd name="T58" fmla="*/ 443 w 506"/>
                  <a:gd name="T59" fmla="*/ 95 h 248"/>
                  <a:gd name="T60" fmla="*/ 447 w 506"/>
                  <a:gd name="T61" fmla="*/ 111 h 248"/>
                  <a:gd name="T62" fmla="*/ 473 w 506"/>
                  <a:gd name="T63" fmla="*/ 111 h 248"/>
                  <a:gd name="T64" fmla="*/ 491 w 506"/>
                  <a:gd name="T65" fmla="*/ 111 h 248"/>
                  <a:gd name="T66" fmla="*/ 502 w 506"/>
                  <a:gd name="T67" fmla="*/ 121 h 248"/>
                  <a:gd name="T68" fmla="*/ 506 w 506"/>
                  <a:gd name="T69" fmla="*/ 130 h 248"/>
                  <a:gd name="T70" fmla="*/ 504 w 506"/>
                  <a:gd name="T71" fmla="*/ 136 h 248"/>
                  <a:gd name="T72" fmla="*/ 465 w 506"/>
                  <a:gd name="T73" fmla="*/ 136 h 248"/>
                  <a:gd name="T74" fmla="*/ 438 w 506"/>
                  <a:gd name="T75" fmla="*/ 161 h 248"/>
                  <a:gd name="T76" fmla="*/ 420 w 506"/>
                  <a:gd name="T77" fmla="*/ 173 h 248"/>
                  <a:gd name="T78" fmla="*/ 400 w 506"/>
                  <a:gd name="T79" fmla="*/ 177 h 248"/>
                  <a:gd name="T80" fmla="*/ 393 w 506"/>
                  <a:gd name="T81" fmla="*/ 171 h 248"/>
                  <a:gd name="T82" fmla="*/ 381 w 506"/>
                  <a:gd name="T83" fmla="*/ 184 h 248"/>
                  <a:gd name="T84" fmla="*/ 386 w 506"/>
                  <a:gd name="T85" fmla="*/ 196 h 248"/>
                  <a:gd name="T86" fmla="*/ 370 w 506"/>
                  <a:gd name="T87" fmla="*/ 216 h 248"/>
                  <a:gd name="T88" fmla="*/ 348 w 506"/>
                  <a:gd name="T89" fmla="*/ 230 h 248"/>
                  <a:gd name="T90" fmla="*/ 338 w 506"/>
                  <a:gd name="T91" fmla="*/ 230 h 248"/>
                  <a:gd name="T92" fmla="*/ 325 w 506"/>
                  <a:gd name="T93" fmla="*/ 230 h 248"/>
                  <a:gd name="T94" fmla="*/ 298 w 506"/>
                  <a:gd name="T95" fmla="*/ 236 h 248"/>
                  <a:gd name="T96" fmla="*/ 281 w 506"/>
                  <a:gd name="T97" fmla="*/ 243 h 248"/>
                  <a:gd name="T98" fmla="*/ 272 w 506"/>
                  <a:gd name="T99" fmla="*/ 248 h 248"/>
                  <a:gd name="T100" fmla="*/ 265 w 506"/>
                  <a:gd name="T101" fmla="*/ 245 h 248"/>
                  <a:gd name="T102" fmla="*/ 220 w 506"/>
                  <a:gd name="T103" fmla="*/ 225 h 248"/>
                  <a:gd name="T104" fmla="*/ 148 w 506"/>
                  <a:gd name="T105" fmla="*/ 223 h 248"/>
                  <a:gd name="T106" fmla="*/ 120 w 506"/>
                  <a:gd name="T107" fmla="*/ 188 h 248"/>
                  <a:gd name="T108" fmla="*/ 82 w 506"/>
                  <a:gd name="T109" fmla="*/ 171 h 248"/>
                  <a:gd name="T110" fmla="*/ 48 w 506"/>
                  <a:gd name="T111" fmla="*/ 168 h 248"/>
                  <a:gd name="T112" fmla="*/ 47 w 506"/>
                  <a:gd name="T113" fmla="*/ 161 h 248"/>
                  <a:gd name="T114" fmla="*/ 45 w 506"/>
                  <a:gd name="T115" fmla="*/ 125 h 248"/>
                  <a:gd name="T116" fmla="*/ 31 w 506"/>
                  <a:gd name="T117" fmla="*/ 107 h 248"/>
                  <a:gd name="T118" fmla="*/ 23 w 506"/>
                  <a:gd name="T119" fmla="*/ 104 h 248"/>
                  <a:gd name="T120" fmla="*/ 16 w 506"/>
                  <a:gd name="T121" fmla="*/ 104 h 248"/>
                  <a:gd name="T122" fmla="*/ 4 w 506"/>
                  <a:gd name="T123" fmla="*/ 91 h 248"/>
                  <a:gd name="T124" fmla="*/ 0 w 506"/>
                  <a:gd name="T125" fmla="*/ 8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06" h="248">
                    <a:moveTo>
                      <a:pt x="0" y="80"/>
                    </a:moveTo>
                    <a:lnTo>
                      <a:pt x="4" y="73"/>
                    </a:lnTo>
                    <a:lnTo>
                      <a:pt x="9" y="68"/>
                    </a:lnTo>
                    <a:lnTo>
                      <a:pt x="18" y="64"/>
                    </a:lnTo>
                    <a:lnTo>
                      <a:pt x="45" y="46"/>
                    </a:lnTo>
                    <a:lnTo>
                      <a:pt x="72" y="39"/>
                    </a:lnTo>
                    <a:lnTo>
                      <a:pt x="82" y="41"/>
                    </a:lnTo>
                    <a:lnTo>
                      <a:pt x="86" y="45"/>
                    </a:lnTo>
                    <a:lnTo>
                      <a:pt x="97" y="43"/>
                    </a:lnTo>
                    <a:lnTo>
                      <a:pt x="102" y="45"/>
                    </a:lnTo>
                    <a:lnTo>
                      <a:pt x="113" y="55"/>
                    </a:lnTo>
                    <a:lnTo>
                      <a:pt x="118" y="55"/>
                    </a:lnTo>
                    <a:lnTo>
                      <a:pt x="132" y="54"/>
                    </a:lnTo>
                    <a:lnTo>
                      <a:pt x="136" y="55"/>
                    </a:lnTo>
                    <a:lnTo>
                      <a:pt x="159" y="54"/>
                    </a:lnTo>
                    <a:lnTo>
                      <a:pt x="163" y="52"/>
                    </a:lnTo>
                    <a:lnTo>
                      <a:pt x="161" y="46"/>
                    </a:lnTo>
                    <a:lnTo>
                      <a:pt x="163" y="43"/>
                    </a:lnTo>
                    <a:lnTo>
                      <a:pt x="165" y="38"/>
                    </a:lnTo>
                    <a:lnTo>
                      <a:pt x="165" y="34"/>
                    </a:lnTo>
                    <a:lnTo>
                      <a:pt x="161" y="29"/>
                    </a:lnTo>
                    <a:lnTo>
                      <a:pt x="161" y="23"/>
                    </a:lnTo>
                    <a:lnTo>
                      <a:pt x="161" y="18"/>
                    </a:lnTo>
                    <a:lnTo>
                      <a:pt x="179" y="0"/>
                    </a:lnTo>
                    <a:lnTo>
                      <a:pt x="182" y="0"/>
                    </a:lnTo>
                    <a:lnTo>
                      <a:pt x="188" y="2"/>
                    </a:lnTo>
                    <a:lnTo>
                      <a:pt x="193" y="5"/>
                    </a:lnTo>
                    <a:lnTo>
                      <a:pt x="204" y="7"/>
                    </a:lnTo>
                    <a:lnTo>
                      <a:pt x="207" y="13"/>
                    </a:lnTo>
                    <a:lnTo>
                      <a:pt x="225" y="16"/>
                    </a:lnTo>
                    <a:lnTo>
                      <a:pt x="229" y="21"/>
                    </a:lnTo>
                    <a:lnTo>
                      <a:pt x="231" y="36"/>
                    </a:lnTo>
                    <a:lnTo>
                      <a:pt x="231" y="36"/>
                    </a:lnTo>
                    <a:lnTo>
                      <a:pt x="243" y="45"/>
                    </a:lnTo>
                    <a:lnTo>
                      <a:pt x="252" y="48"/>
                    </a:lnTo>
                    <a:lnTo>
                      <a:pt x="261" y="46"/>
                    </a:lnTo>
                    <a:lnTo>
                      <a:pt x="275" y="39"/>
                    </a:lnTo>
                    <a:lnTo>
                      <a:pt x="298" y="46"/>
                    </a:lnTo>
                    <a:lnTo>
                      <a:pt x="302" y="48"/>
                    </a:lnTo>
                    <a:lnTo>
                      <a:pt x="302" y="48"/>
                    </a:lnTo>
                    <a:lnTo>
                      <a:pt x="309" y="54"/>
                    </a:lnTo>
                    <a:lnTo>
                      <a:pt x="322" y="59"/>
                    </a:lnTo>
                    <a:lnTo>
                      <a:pt x="327" y="64"/>
                    </a:lnTo>
                    <a:lnTo>
                      <a:pt x="334" y="70"/>
                    </a:lnTo>
                    <a:lnTo>
                      <a:pt x="363" y="71"/>
                    </a:lnTo>
                    <a:lnTo>
                      <a:pt x="368" y="75"/>
                    </a:lnTo>
                    <a:lnTo>
                      <a:pt x="402" y="66"/>
                    </a:lnTo>
                    <a:lnTo>
                      <a:pt x="420" y="52"/>
                    </a:lnTo>
                    <a:lnTo>
                      <a:pt x="427" y="50"/>
                    </a:lnTo>
                    <a:lnTo>
                      <a:pt x="434" y="52"/>
                    </a:lnTo>
                    <a:lnTo>
                      <a:pt x="440" y="57"/>
                    </a:lnTo>
                    <a:lnTo>
                      <a:pt x="447" y="57"/>
                    </a:lnTo>
                    <a:lnTo>
                      <a:pt x="450" y="57"/>
                    </a:lnTo>
                    <a:lnTo>
                      <a:pt x="456" y="55"/>
                    </a:lnTo>
                    <a:lnTo>
                      <a:pt x="457" y="55"/>
                    </a:lnTo>
                    <a:lnTo>
                      <a:pt x="457" y="57"/>
                    </a:lnTo>
                    <a:lnTo>
                      <a:pt x="454" y="59"/>
                    </a:lnTo>
                    <a:lnTo>
                      <a:pt x="445" y="75"/>
                    </a:lnTo>
                    <a:lnTo>
                      <a:pt x="445" y="89"/>
                    </a:lnTo>
                    <a:lnTo>
                      <a:pt x="443" y="95"/>
                    </a:lnTo>
                    <a:lnTo>
                      <a:pt x="443" y="107"/>
                    </a:lnTo>
                    <a:lnTo>
                      <a:pt x="447" y="111"/>
                    </a:lnTo>
                    <a:lnTo>
                      <a:pt x="457" y="114"/>
                    </a:lnTo>
                    <a:lnTo>
                      <a:pt x="473" y="111"/>
                    </a:lnTo>
                    <a:lnTo>
                      <a:pt x="486" y="102"/>
                    </a:lnTo>
                    <a:lnTo>
                      <a:pt x="491" y="111"/>
                    </a:lnTo>
                    <a:lnTo>
                      <a:pt x="500" y="116"/>
                    </a:lnTo>
                    <a:lnTo>
                      <a:pt x="502" y="121"/>
                    </a:lnTo>
                    <a:lnTo>
                      <a:pt x="502" y="127"/>
                    </a:lnTo>
                    <a:lnTo>
                      <a:pt x="506" y="130"/>
                    </a:lnTo>
                    <a:lnTo>
                      <a:pt x="506" y="134"/>
                    </a:lnTo>
                    <a:lnTo>
                      <a:pt x="504" y="136"/>
                    </a:lnTo>
                    <a:lnTo>
                      <a:pt x="493" y="132"/>
                    </a:lnTo>
                    <a:lnTo>
                      <a:pt x="465" y="136"/>
                    </a:lnTo>
                    <a:lnTo>
                      <a:pt x="445" y="157"/>
                    </a:lnTo>
                    <a:lnTo>
                      <a:pt x="438" y="161"/>
                    </a:lnTo>
                    <a:lnTo>
                      <a:pt x="431" y="161"/>
                    </a:lnTo>
                    <a:lnTo>
                      <a:pt x="420" y="173"/>
                    </a:lnTo>
                    <a:lnTo>
                      <a:pt x="411" y="179"/>
                    </a:lnTo>
                    <a:lnTo>
                      <a:pt x="400" y="177"/>
                    </a:lnTo>
                    <a:lnTo>
                      <a:pt x="397" y="173"/>
                    </a:lnTo>
                    <a:lnTo>
                      <a:pt x="393" y="171"/>
                    </a:lnTo>
                    <a:lnTo>
                      <a:pt x="386" y="173"/>
                    </a:lnTo>
                    <a:lnTo>
                      <a:pt x="381" y="184"/>
                    </a:lnTo>
                    <a:lnTo>
                      <a:pt x="379" y="188"/>
                    </a:lnTo>
                    <a:lnTo>
                      <a:pt x="386" y="196"/>
                    </a:lnTo>
                    <a:lnTo>
                      <a:pt x="386" y="200"/>
                    </a:lnTo>
                    <a:lnTo>
                      <a:pt x="370" y="216"/>
                    </a:lnTo>
                    <a:lnTo>
                      <a:pt x="366" y="220"/>
                    </a:lnTo>
                    <a:lnTo>
                      <a:pt x="348" y="230"/>
                    </a:lnTo>
                    <a:lnTo>
                      <a:pt x="340" y="230"/>
                    </a:lnTo>
                    <a:lnTo>
                      <a:pt x="338" y="230"/>
                    </a:lnTo>
                    <a:lnTo>
                      <a:pt x="331" y="229"/>
                    </a:lnTo>
                    <a:lnTo>
                      <a:pt x="325" y="230"/>
                    </a:lnTo>
                    <a:lnTo>
                      <a:pt x="318" y="230"/>
                    </a:lnTo>
                    <a:lnTo>
                      <a:pt x="298" y="236"/>
                    </a:lnTo>
                    <a:lnTo>
                      <a:pt x="297" y="238"/>
                    </a:lnTo>
                    <a:lnTo>
                      <a:pt x="281" y="243"/>
                    </a:lnTo>
                    <a:lnTo>
                      <a:pt x="275" y="246"/>
                    </a:lnTo>
                    <a:lnTo>
                      <a:pt x="272" y="248"/>
                    </a:lnTo>
                    <a:lnTo>
                      <a:pt x="268" y="246"/>
                    </a:lnTo>
                    <a:lnTo>
                      <a:pt x="265" y="245"/>
                    </a:lnTo>
                    <a:lnTo>
                      <a:pt x="227" y="232"/>
                    </a:lnTo>
                    <a:lnTo>
                      <a:pt x="220" y="225"/>
                    </a:lnTo>
                    <a:lnTo>
                      <a:pt x="202" y="220"/>
                    </a:lnTo>
                    <a:lnTo>
                      <a:pt x="148" y="223"/>
                    </a:lnTo>
                    <a:lnTo>
                      <a:pt x="143" y="221"/>
                    </a:lnTo>
                    <a:lnTo>
                      <a:pt x="120" y="188"/>
                    </a:lnTo>
                    <a:lnTo>
                      <a:pt x="116" y="188"/>
                    </a:lnTo>
                    <a:lnTo>
                      <a:pt x="82" y="171"/>
                    </a:lnTo>
                    <a:lnTo>
                      <a:pt x="75" y="173"/>
                    </a:lnTo>
                    <a:lnTo>
                      <a:pt x="48" y="168"/>
                    </a:lnTo>
                    <a:lnTo>
                      <a:pt x="45" y="166"/>
                    </a:lnTo>
                    <a:lnTo>
                      <a:pt x="47" y="161"/>
                    </a:lnTo>
                    <a:lnTo>
                      <a:pt x="48" y="155"/>
                    </a:lnTo>
                    <a:lnTo>
                      <a:pt x="45" y="125"/>
                    </a:lnTo>
                    <a:lnTo>
                      <a:pt x="36" y="109"/>
                    </a:lnTo>
                    <a:lnTo>
                      <a:pt x="31" y="107"/>
                    </a:lnTo>
                    <a:lnTo>
                      <a:pt x="27" y="105"/>
                    </a:lnTo>
                    <a:lnTo>
                      <a:pt x="23" y="104"/>
                    </a:lnTo>
                    <a:lnTo>
                      <a:pt x="20" y="107"/>
                    </a:lnTo>
                    <a:lnTo>
                      <a:pt x="16" y="104"/>
                    </a:lnTo>
                    <a:lnTo>
                      <a:pt x="13" y="98"/>
                    </a:lnTo>
                    <a:lnTo>
                      <a:pt x="4" y="91"/>
                    </a:lnTo>
                    <a:lnTo>
                      <a:pt x="0" y="80"/>
                    </a:lnTo>
                    <a:lnTo>
                      <a:pt x="0" y="8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23" name="Freeform 2474"/>
              <p:cNvSpPr>
                <a:spLocks/>
              </p:cNvSpPr>
              <p:nvPr/>
            </p:nvSpPr>
            <p:spPr bwMode="auto">
              <a:xfrm>
                <a:off x="4333" y="2477"/>
                <a:ext cx="84" cy="68"/>
              </a:xfrm>
              <a:custGeom>
                <a:avLst/>
                <a:gdLst>
                  <a:gd name="T0" fmla="*/ 33 w 84"/>
                  <a:gd name="T1" fmla="*/ 68 h 68"/>
                  <a:gd name="T2" fmla="*/ 31 w 84"/>
                  <a:gd name="T3" fmla="*/ 66 h 68"/>
                  <a:gd name="T4" fmla="*/ 24 w 84"/>
                  <a:gd name="T5" fmla="*/ 66 h 68"/>
                  <a:gd name="T6" fmla="*/ 20 w 84"/>
                  <a:gd name="T7" fmla="*/ 64 h 68"/>
                  <a:gd name="T8" fmla="*/ 22 w 84"/>
                  <a:gd name="T9" fmla="*/ 59 h 68"/>
                  <a:gd name="T10" fmla="*/ 18 w 84"/>
                  <a:gd name="T11" fmla="*/ 59 h 68"/>
                  <a:gd name="T12" fmla="*/ 15 w 84"/>
                  <a:gd name="T13" fmla="*/ 61 h 68"/>
                  <a:gd name="T14" fmla="*/ 11 w 84"/>
                  <a:gd name="T15" fmla="*/ 54 h 68"/>
                  <a:gd name="T16" fmla="*/ 13 w 84"/>
                  <a:gd name="T17" fmla="*/ 54 h 68"/>
                  <a:gd name="T18" fmla="*/ 11 w 84"/>
                  <a:gd name="T19" fmla="*/ 50 h 68"/>
                  <a:gd name="T20" fmla="*/ 11 w 84"/>
                  <a:gd name="T21" fmla="*/ 45 h 68"/>
                  <a:gd name="T22" fmla="*/ 2 w 84"/>
                  <a:gd name="T23" fmla="*/ 34 h 68"/>
                  <a:gd name="T24" fmla="*/ 0 w 84"/>
                  <a:gd name="T25" fmla="*/ 18 h 68"/>
                  <a:gd name="T26" fmla="*/ 4 w 84"/>
                  <a:gd name="T27" fmla="*/ 14 h 68"/>
                  <a:gd name="T28" fmla="*/ 13 w 84"/>
                  <a:gd name="T29" fmla="*/ 5 h 68"/>
                  <a:gd name="T30" fmla="*/ 41 w 84"/>
                  <a:gd name="T31" fmla="*/ 5 h 68"/>
                  <a:gd name="T32" fmla="*/ 47 w 84"/>
                  <a:gd name="T33" fmla="*/ 7 h 68"/>
                  <a:gd name="T34" fmla="*/ 58 w 84"/>
                  <a:gd name="T35" fmla="*/ 11 h 68"/>
                  <a:gd name="T36" fmla="*/ 61 w 84"/>
                  <a:gd name="T37" fmla="*/ 5 h 68"/>
                  <a:gd name="T38" fmla="*/ 70 w 84"/>
                  <a:gd name="T39" fmla="*/ 2 h 68"/>
                  <a:gd name="T40" fmla="*/ 75 w 84"/>
                  <a:gd name="T41" fmla="*/ 5 h 68"/>
                  <a:gd name="T42" fmla="*/ 81 w 84"/>
                  <a:gd name="T43" fmla="*/ 0 h 68"/>
                  <a:gd name="T44" fmla="*/ 83 w 84"/>
                  <a:gd name="T45" fmla="*/ 14 h 68"/>
                  <a:gd name="T46" fmla="*/ 84 w 84"/>
                  <a:gd name="T47" fmla="*/ 38 h 68"/>
                  <a:gd name="T48" fmla="*/ 79 w 84"/>
                  <a:gd name="T49" fmla="*/ 39 h 68"/>
                  <a:gd name="T50" fmla="*/ 72 w 84"/>
                  <a:gd name="T51" fmla="*/ 43 h 68"/>
                  <a:gd name="T52" fmla="*/ 66 w 84"/>
                  <a:gd name="T53" fmla="*/ 48 h 68"/>
                  <a:gd name="T54" fmla="*/ 58 w 84"/>
                  <a:gd name="T55" fmla="*/ 54 h 68"/>
                  <a:gd name="T56" fmla="*/ 54 w 84"/>
                  <a:gd name="T57" fmla="*/ 59 h 68"/>
                  <a:gd name="T58" fmla="*/ 47 w 84"/>
                  <a:gd name="T59" fmla="*/ 63 h 68"/>
                  <a:gd name="T60" fmla="*/ 43 w 84"/>
                  <a:gd name="T61" fmla="*/ 63 h 68"/>
                  <a:gd name="T62" fmla="*/ 41 w 84"/>
                  <a:gd name="T63"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 h="68">
                    <a:moveTo>
                      <a:pt x="34" y="68"/>
                    </a:moveTo>
                    <a:lnTo>
                      <a:pt x="33" y="68"/>
                    </a:lnTo>
                    <a:lnTo>
                      <a:pt x="33" y="68"/>
                    </a:lnTo>
                    <a:lnTo>
                      <a:pt x="31" y="66"/>
                    </a:lnTo>
                    <a:lnTo>
                      <a:pt x="25" y="66"/>
                    </a:lnTo>
                    <a:lnTo>
                      <a:pt x="24" y="66"/>
                    </a:lnTo>
                    <a:lnTo>
                      <a:pt x="20" y="66"/>
                    </a:lnTo>
                    <a:lnTo>
                      <a:pt x="20" y="64"/>
                    </a:lnTo>
                    <a:lnTo>
                      <a:pt x="22" y="63"/>
                    </a:lnTo>
                    <a:lnTo>
                      <a:pt x="22" y="59"/>
                    </a:lnTo>
                    <a:lnTo>
                      <a:pt x="20" y="57"/>
                    </a:lnTo>
                    <a:lnTo>
                      <a:pt x="18" y="59"/>
                    </a:lnTo>
                    <a:lnTo>
                      <a:pt x="16" y="61"/>
                    </a:lnTo>
                    <a:lnTo>
                      <a:pt x="15" y="61"/>
                    </a:lnTo>
                    <a:lnTo>
                      <a:pt x="11" y="54"/>
                    </a:lnTo>
                    <a:lnTo>
                      <a:pt x="11" y="54"/>
                    </a:lnTo>
                    <a:lnTo>
                      <a:pt x="13" y="54"/>
                    </a:lnTo>
                    <a:lnTo>
                      <a:pt x="13" y="54"/>
                    </a:lnTo>
                    <a:lnTo>
                      <a:pt x="11" y="50"/>
                    </a:lnTo>
                    <a:lnTo>
                      <a:pt x="11" y="50"/>
                    </a:lnTo>
                    <a:lnTo>
                      <a:pt x="11" y="48"/>
                    </a:lnTo>
                    <a:lnTo>
                      <a:pt x="11" y="45"/>
                    </a:lnTo>
                    <a:lnTo>
                      <a:pt x="8" y="38"/>
                    </a:lnTo>
                    <a:lnTo>
                      <a:pt x="2" y="34"/>
                    </a:lnTo>
                    <a:lnTo>
                      <a:pt x="0" y="23"/>
                    </a:lnTo>
                    <a:lnTo>
                      <a:pt x="0" y="18"/>
                    </a:lnTo>
                    <a:lnTo>
                      <a:pt x="2" y="18"/>
                    </a:lnTo>
                    <a:lnTo>
                      <a:pt x="4" y="14"/>
                    </a:lnTo>
                    <a:lnTo>
                      <a:pt x="6" y="13"/>
                    </a:lnTo>
                    <a:lnTo>
                      <a:pt x="13" y="5"/>
                    </a:lnTo>
                    <a:lnTo>
                      <a:pt x="15" y="5"/>
                    </a:lnTo>
                    <a:lnTo>
                      <a:pt x="41" y="5"/>
                    </a:lnTo>
                    <a:lnTo>
                      <a:pt x="43" y="7"/>
                    </a:lnTo>
                    <a:lnTo>
                      <a:pt x="47" y="7"/>
                    </a:lnTo>
                    <a:lnTo>
                      <a:pt x="49" y="9"/>
                    </a:lnTo>
                    <a:lnTo>
                      <a:pt x="58" y="11"/>
                    </a:lnTo>
                    <a:lnTo>
                      <a:pt x="59" y="11"/>
                    </a:lnTo>
                    <a:lnTo>
                      <a:pt x="61" y="5"/>
                    </a:lnTo>
                    <a:lnTo>
                      <a:pt x="68" y="2"/>
                    </a:lnTo>
                    <a:lnTo>
                      <a:pt x="70" y="2"/>
                    </a:lnTo>
                    <a:lnTo>
                      <a:pt x="74" y="5"/>
                    </a:lnTo>
                    <a:lnTo>
                      <a:pt x="75" y="5"/>
                    </a:lnTo>
                    <a:lnTo>
                      <a:pt x="79" y="4"/>
                    </a:lnTo>
                    <a:lnTo>
                      <a:pt x="81" y="0"/>
                    </a:lnTo>
                    <a:lnTo>
                      <a:pt x="83" y="0"/>
                    </a:lnTo>
                    <a:lnTo>
                      <a:pt x="83" y="14"/>
                    </a:lnTo>
                    <a:lnTo>
                      <a:pt x="84" y="20"/>
                    </a:lnTo>
                    <a:lnTo>
                      <a:pt x="84" y="38"/>
                    </a:lnTo>
                    <a:lnTo>
                      <a:pt x="83" y="39"/>
                    </a:lnTo>
                    <a:lnTo>
                      <a:pt x="79" y="39"/>
                    </a:lnTo>
                    <a:lnTo>
                      <a:pt x="74" y="43"/>
                    </a:lnTo>
                    <a:lnTo>
                      <a:pt x="72" y="43"/>
                    </a:lnTo>
                    <a:lnTo>
                      <a:pt x="66" y="45"/>
                    </a:lnTo>
                    <a:lnTo>
                      <a:pt x="66" y="48"/>
                    </a:lnTo>
                    <a:lnTo>
                      <a:pt x="58" y="48"/>
                    </a:lnTo>
                    <a:lnTo>
                      <a:pt x="58" y="54"/>
                    </a:lnTo>
                    <a:lnTo>
                      <a:pt x="58" y="57"/>
                    </a:lnTo>
                    <a:lnTo>
                      <a:pt x="54" y="59"/>
                    </a:lnTo>
                    <a:lnTo>
                      <a:pt x="50" y="63"/>
                    </a:lnTo>
                    <a:lnTo>
                      <a:pt x="47" y="63"/>
                    </a:lnTo>
                    <a:lnTo>
                      <a:pt x="45" y="63"/>
                    </a:lnTo>
                    <a:lnTo>
                      <a:pt x="43" y="63"/>
                    </a:lnTo>
                    <a:lnTo>
                      <a:pt x="43" y="64"/>
                    </a:lnTo>
                    <a:lnTo>
                      <a:pt x="41" y="66"/>
                    </a:lnTo>
                    <a:lnTo>
                      <a:pt x="34" y="6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24" name="Freeform 2475"/>
              <p:cNvSpPr>
                <a:spLocks/>
              </p:cNvSpPr>
              <p:nvPr/>
            </p:nvSpPr>
            <p:spPr bwMode="auto">
              <a:xfrm>
                <a:off x="4333" y="2477"/>
                <a:ext cx="84" cy="68"/>
              </a:xfrm>
              <a:custGeom>
                <a:avLst/>
                <a:gdLst>
                  <a:gd name="T0" fmla="*/ 33 w 84"/>
                  <a:gd name="T1" fmla="*/ 68 h 68"/>
                  <a:gd name="T2" fmla="*/ 31 w 84"/>
                  <a:gd name="T3" fmla="*/ 66 h 68"/>
                  <a:gd name="T4" fmla="*/ 24 w 84"/>
                  <a:gd name="T5" fmla="*/ 66 h 68"/>
                  <a:gd name="T6" fmla="*/ 20 w 84"/>
                  <a:gd name="T7" fmla="*/ 64 h 68"/>
                  <a:gd name="T8" fmla="*/ 22 w 84"/>
                  <a:gd name="T9" fmla="*/ 59 h 68"/>
                  <a:gd name="T10" fmla="*/ 18 w 84"/>
                  <a:gd name="T11" fmla="*/ 59 h 68"/>
                  <a:gd name="T12" fmla="*/ 15 w 84"/>
                  <a:gd name="T13" fmla="*/ 61 h 68"/>
                  <a:gd name="T14" fmla="*/ 11 w 84"/>
                  <a:gd name="T15" fmla="*/ 54 h 68"/>
                  <a:gd name="T16" fmla="*/ 13 w 84"/>
                  <a:gd name="T17" fmla="*/ 54 h 68"/>
                  <a:gd name="T18" fmla="*/ 11 w 84"/>
                  <a:gd name="T19" fmla="*/ 50 h 68"/>
                  <a:gd name="T20" fmla="*/ 11 w 84"/>
                  <a:gd name="T21" fmla="*/ 45 h 68"/>
                  <a:gd name="T22" fmla="*/ 2 w 84"/>
                  <a:gd name="T23" fmla="*/ 34 h 68"/>
                  <a:gd name="T24" fmla="*/ 0 w 84"/>
                  <a:gd name="T25" fmla="*/ 18 h 68"/>
                  <a:gd name="T26" fmla="*/ 4 w 84"/>
                  <a:gd name="T27" fmla="*/ 14 h 68"/>
                  <a:gd name="T28" fmla="*/ 13 w 84"/>
                  <a:gd name="T29" fmla="*/ 5 h 68"/>
                  <a:gd name="T30" fmla="*/ 41 w 84"/>
                  <a:gd name="T31" fmla="*/ 5 h 68"/>
                  <a:gd name="T32" fmla="*/ 47 w 84"/>
                  <a:gd name="T33" fmla="*/ 7 h 68"/>
                  <a:gd name="T34" fmla="*/ 58 w 84"/>
                  <a:gd name="T35" fmla="*/ 11 h 68"/>
                  <a:gd name="T36" fmla="*/ 61 w 84"/>
                  <a:gd name="T37" fmla="*/ 5 h 68"/>
                  <a:gd name="T38" fmla="*/ 70 w 84"/>
                  <a:gd name="T39" fmla="*/ 2 h 68"/>
                  <a:gd name="T40" fmla="*/ 75 w 84"/>
                  <a:gd name="T41" fmla="*/ 5 h 68"/>
                  <a:gd name="T42" fmla="*/ 81 w 84"/>
                  <a:gd name="T43" fmla="*/ 0 h 68"/>
                  <a:gd name="T44" fmla="*/ 83 w 84"/>
                  <a:gd name="T45" fmla="*/ 14 h 68"/>
                  <a:gd name="T46" fmla="*/ 84 w 84"/>
                  <a:gd name="T47" fmla="*/ 38 h 68"/>
                  <a:gd name="T48" fmla="*/ 79 w 84"/>
                  <a:gd name="T49" fmla="*/ 39 h 68"/>
                  <a:gd name="T50" fmla="*/ 72 w 84"/>
                  <a:gd name="T51" fmla="*/ 43 h 68"/>
                  <a:gd name="T52" fmla="*/ 66 w 84"/>
                  <a:gd name="T53" fmla="*/ 48 h 68"/>
                  <a:gd name="T54" fmla="*/ 58 w 84"/>
                  <a:gd name="T55" fmla="*/ 54 h 68"/>
                  <a:gd name="T56" fmla="*/ 54 w 84"/>
                  <a:gd name="T57" fmla="*/ 59 h 68"/>
                  <a:gd name="T58" fmla="*/ 47 w 84"/>
                  <a:gd name="T59" fmla="*/ 63 h 68"/>
                  <a:gd name="T60" fmla="*/ 43 w 84"/>
                  <a:gd name="T61" fmla="*/ 63 h 68"/>
                  <a:gd name="T62" fmla="*/ 41 w 84"/>
                  <a:gd name="T63" fmla="*/ 6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4" h="68">
                    <a:moveTo>
                      <a:pt x="34" y="68"/>
                    </a:moveTo>
                    <a:lnTo>
                      <a:pt x="33" y="68"/>
                    </a:lnTo>
                    <a:lnTo>
                      <a:pt x="33" y="68"/>
                    </a:lnTo>
                    <a:lnTo>
                      <a:pt x="31" y="66"/>
                    </a:lnTo>
                    <a:lnTo>
                      <a:pt x="25" y="66"/>
                    </a:lnTo>
                    <a:lnTo>
                      <a:pt x="24" y="66"/>
                    </a:lnTo>
                    <a:lnTo>
                      <a:pt x="20" y="66"/>
                    </a:lnTo>
                    <a:lnTo>
                      <a:pt x="20" y="64"/>
                    </a:lnTo>
                    <a:lnTo>
                      <a:pt x="22" y="63"/>
                    </a:lnTo>
                    <a:lnTo>
                      <a:pt x="22" y="59"/>
                    </a:lnTo>
                    <a:lnTo>
                      <a:pt x="20" y="57"/>
                    </a:lnTo>
                    <a:lnTo>
                      <a:pt x="18" y="59"/>
                    </a:lnTo>
                    <a:lnTo>
                      <a:pt x="16" y="61"/>
                    </a:lnTo>
                    <a:lnTo>
                      <a:pt x="15" y="61"/>
                    </a:lnTo>
                    <a:lnTo>
                      <a:pt x="11" y="54"/>
                    </a:lnTo>
                    <a:lnTo>
                      <a:pt x="11" y="54"/>
                    </a:lnTo>
                    <a:lnTo>
                      <a:pt x="13" y="54"/>
                    </a:lnTo>
                    <a:lnTo>
                      <a:pt x="13" y="54"/>
                    </a:lnTo>
                    <a:lnTo>
                      <a:pt x="11" y="50"/>
                    </a:lnTo>
                    <a:lnTo>
                      <a:pt x="11" y="50"/>
                    </a:lnTo>
                    <a:lnTo>
                      <a:pt x="11" y="48"/>
                    </a:lnTo>
                    <a:lnTo>
                      <a:pt x="11" y="45"/>
                    </a:lnTo>
                    <a:lnTo>
                      <a:pt x="8" y="38"/>
                    </a:lnTo>
                    <a:lnTo>
                      <a:pt x="2" y="34"/>
                    </a:lnTo>
                    <a:lnTo>
                      <a:pt x="0" y="23"/>
                    </a:lnTo>
                    <a:lnTo>
                      <a:pt x="0" y="18"/>
                    </a:lnTo>
                    <a:lnTo>
                      <a:pt x="2" y="18"/>
                    </a:lnTo>
                    <a:lnTo>
                      <a:pt x="4" y="14"/>
                    </a:lnTo>
                    <a:lnTo>
                      <a:pt x="6" y="13"/>
                    </a:lnTo>
                    <a:lnTo>
                      <a:pt x="13" y="5"/>
                    </a:lnTo>
                    <a:lnTo>
                      <a:pt x="15" y="5"/>
                    </a:lnTo>
                    <a:lnTo>
                      <a:pt x="41" y="5"/>
                    </a:lnTo>
                    <a:lnTo>
                      <a:pt x="43" y="7"/>
                    </a:lnTo>
                    <a:lnTo>
                      <a:pt x="47" y="7"/>
                    </a:lnTo>
                    <a:lnTo>
                      <a:pt x="49" y="9"/>
                    </a:lnTo>
                    <a:lnTo>
                      <a:pt x="58" y="11"/>
                    </a:lnTo>
                    <a:lnTo>
                      <a:pt x="59" y="11"/>
                    </a:lnTo>
                    <a:lnTo>
                      <a:pt x="61" y="5"/>
                    </a:lnTo>
                    <a:lnTo>
                      <a:pt x="68" y="2"/>
                    </a:lnTo>
                    <a:lnTo>
                      <a:pt x="70" y="2"/>
                    </a:lnTo>
                    <a:lnTo>
                      <a:pt x="74" y="5"/>
                    </a:lnTo>
                    <a:lnTo>
                      <a:pt x="75" y="5"/>
                    </a:lnTo>
                    <a:lnTo>
                      <a:pt x="79" y="4"/>
                    </a:lnTo>
                    <a:lnTo>
                      <a:pt x="81" y="0"/>
                    </a:lnTo>
                    <a:lnTo>
                      <a:pt x="83" y="0"/>
                    </a:lnTo>
                    <a:lnTo>
                      <a:pt x="83" y="14"/>
                    </a:lnTo>
                    <a:lnTo>
                      <a:pt x="84" y="20"/>
                    </a:lnTo>
                    <a:lnTo>
                      <a:pt x="84" y="38"/>
                    </a:lnTo>
                    <a:lnTo>
                      <a:pt x="83" y="39"/>
                    </a:lnTo>
                    <a:lnTo>
                      <a:pt x="79" y="39"/>
                    </a:lnTo>
                    <a:lnTo>
                      <a:pt x="74" y="43"/>
                    </a:lnTo>
                    <a:lnTo>
                      <a:pt x="72" y="43"/>
                    </a:lnTo>
                    <a:lnTo>
                      <a:pt x="66" y="45"/>
                    </a:lnTo>
                    <a:lnTo>
                      <a:pt x="66" y="48"/>
                    </a:lnTo>
                    <a:lnTo>
                      <a:pt x="58" y="48"/>
                    </a:lnTo>
                    <a:lnTo>
                      <a:pt x="58" y="54"/>
                    </a:lnTo>
                    <a:lnTo>
                      <a:pt x="58" y="57"/>
                    </a:lnTo>
                    <a:lnTo>
                      <a:pt x="54" y="59"/>
                    </a:lnTo>
                    <a:lnTo>
                      <a:pt x="50" y="63"/>
                    </a:lnTo>
                    <a:lnTo>
                      <a:pt x="47" y="63"/>
                    </a:lnTo>
                    <a:lnTo>
                      <a:pt x="45" y="63"/>
                    </a:lnTo>
                    <a:lnTo>
                      <a:pt x="43" y="63"/>
                    </a:lnTo>
                    <a:lnTo>
                      <a:pt x="43" y="64"/>
                    </a:lnTo>
                    <a:lnTo>
                      <a:pt x="41" y="66"/>
                    </a:lnTo>
                    <a:lnTo>
                      <a:pt x="34" y="6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25" name="Freeform 2476"/>
              <p:cNvSpPr>
                <a:spLocks/>
              </p:cNvSpPr>
              <p:nvPr/>
            </p:nvSpPr>
            <p:spPr bwMode="auto">
              <a:xfrm>
                <a:off x="3875" y="1702"/>
                <a:ext cx="978" cy="682"/>
              </a:xfrm>
              <a:custGeom>
                <a:avLst/>
                <a:gdLst>
                  <a:gd name="T0" fmla="*/ 644 w 978"/>
                  <a:gd name="T1" fmla="*/ 643 h 682"/>
                  <a:gd name="T2" fmla="*/ 623 w 978"/>
                  <a:gd name="T3" fmla="*/ 655 h 682"/>
                  <a:gd name="T4" fmla="*/ 587 w 978"/>
                  <a:gd name="T5" fmla="*/ 677 h 682"/>
                  <a:gd name="T6" fmla="*/ 557 w 978"/>
                  <a:gd name="T7" fmla="*/ 659 h 682"/>
                  <a:gd name="T8" fmla="*/ 517 w 978"/>
                  <a:gd name="T9" fmla="*/ 638 h 682"/>
                  <a:gd name="T10" fmla="*/ 467 w 978"/>
                  <a:gd name="T11" fmla="*/ 643 h 682"/>
                  <a:gd name="T12" fmla="*/ 449 w 978"/>
                  <a:gd name="T13" fmla="*/ 663 h 682"/>
                  <a:gd name="T14" fmla="*/ 403 w 978"/>
                  <a:gd name="T15" fmla="*/ 620 h 682"/>
                  <a:gd name="T16" fmla="*/ 398 w 978"/>
                  <a:gd name="T17" fmla="*/ 555 h 682"/>
                  <a:gd name="T18" fmla="*/ 364 w 978"/>
                  <a:gd name="T19" fmla="*/ 538 h 682"/>
                  <a:gd name="T20" fmla="*/ 326 w 978"/>
                  <a:gd name="T21" fmla="*/ 529 h 682"/>
                  <a:gd name="T22" fmla="*/ 267 w 978"/>
                  <a:gd name="T23" fmla="*/ 543 h 682"/>
                  <a:gd name="T24" fmla="*/ 242 w 978"/>
                  <a:gd name="T25" fmla="*/ 552 h 682"/>
                  <a:gd name="T26" fmla="*/ 219 w 978"/>
                  <a:gd name="T27" fmla="*/ 550 h 682"/>
                  <a:gd name="T28" fmla="*/ 194 w 978"/>
                  <a:gd name="T29" fmla="*/ 547 h 682"/>
                  <a:gd name="T30" fmla="*/ 173 w 978"/>
                  <a:gd name="T31" fmla="*/ 534 h 682"/>
                  <a:gd name="T32" fmla="*/ 162 w 978"/>
                  <a:gd name="T33" fmla="*/ 525 h 682"/>
                  <a:gd name="T34" fmla="*/ 123 w 978"/>
                  <a:gd name="T35" fmla="*/ 505 h 682"/>
                  <a:gd name="T36" fmla="*/ 105 w 978"/>
                  <a:gd name="T37" fmla="*/ 498 h 682"/>
                  <a:gd name="T38" fmla="*/ 87 w 978"/>
                  <a:gd name="T39" fmla="*/ 491 h 682"/>
                  <a:gd name="T40" fmla="*/ 82 w 978"/>
                  <a:gd name="T41" fmla="*/ 473 h 682"/>
                  <a:gd name="T42" fmla="*/ 87 w 978"/>
                  <a:gd name="T43" fmla="*/ 466 h 682"/>
                  <a:gd name="T44" fmla="*/ 92 w 978"/>
                  <a:gd name="T45" fmla="*/ 452 h 682"/>
                  <a:gd name="T46" fmla="*/ 87 w 978"/>
                  <a:gd name="T47" fmla="*/ 436 h 682"/>
                  <a:gd name="T48" fmla="*/ 103 w 978"/>
                  <a:gd name="T49" fmla="*/ 420 h 682"/>
                  <a:gd name="T50" fmla="*/ 100 w 978"/>
                  <a:gd name="T51" fmla="*/ 404 h 682"/>
                  <a:gd name="T52" fmla="*/ 89 w 978"/>
                  <a:gd name="T53" fmla="*/ 397 h 682"/>
                  <a:gd name="T54" fmla="*/ 46 w 978"/>
                  <a:gd name="T55" fmla="*/ 400 h 682"/>
                  <a:gd name="T56" fmla="*/ 37 w 978"/>
                  <a:gd name="T57" fmla="*/ 393 h 682"/>
                  <a:gd name="T58" fmla="*/ 23 w 978"/>
                  <a:gd name="T59" fmla="*/ 377 h 682"/>
                  <a:gd name="T60" fmla="*/ 21 w 978"/>
                  <a:gd name="T61" fmla="*/ 372 h 682"/>
                  <a:gd name="T62" fmla="*/ 16 w 978"/>
                  <a:gd name="T63" fmla="*/ 309 h 682"/>
                  <a:gd name="T64" fmla="*/ 80 w 978"/>
                  <a:gd name="T65" fmla="*/ 284 h 682"/>
                  <a:gd name="T66" fmla="*/ 137 w 978"/>
                  <a:gd name="T67" fmla="*/ 191 h 682"/>
                  <a:gd name="T68" fmla="*/ 210 w 978"/>
                  <a:gd name="T69" fmla="*/ 122 h 682"/>
                  <a:gd name="T70" fmla="*/ 262 w 978"/>
                  <a:gd name="T71" fmla="*/ 143 h 682"/>
                  <a:gd name="T72" fmla="*/ 446 w 978"/>
                  <a:gd name="T73" fmla="*/ 259 h 682"/>
                  <a:gd name="T74" fmla="*/ 557 w 978"/>
                  <a:gd name="T75" fmla="*/ 263 h 682"/>
                  <a:gd name="T76" fmla="*/ 626 w 978"/>
                  <a:gd name="T77" fmla="*/ 211 h 682"/>
                  <a:gd name="T78" fmla="*/ 726 w 978"/>
                  <a:gd name="T79" fmla="*/ 150 h 682"/>
                  <a:gd name="T80" fmla="*/ 707 w 978"/>
                  <a:gd name="T81" fmla="*/ 100 h 682"/>
                  <a:gd name="T82" fmla="*/ 749 w 978"/>
                  <a:gd name="T83" fmla="*/ 25 h 682"/>
                  <a:gd name="T84" fmla="*/ 837 w 978"/>
                  <a:gd name="T85" fmla="*/ 25 h 682"/>
                  <a:gd name="T86" fmla="*/ 907 w 978"/>
                  <a:gd name="T87" fmla="*/ 114 h 682"/>
                  <a:gd name="T88" fmla="*/ 960 w 978"/>
                  <a:gd name="T89" fmla="*/ 134 h 682"/>
                  <a:gd name="T90" fmla="*/ 932 w 978"/>
                  <a:gd name="T91" fmla="*/ 202 h 682"/>
                  <a:gd name="T92" fmla="*/ 873 w 978"/>
                  <a:gd name="T93" fmla="*/ 275 h 682"/>
                  <a:gd name="T94" fmla="*/ 780 w 978"/>
                  <a:gd name="T95" fmla="*/ 329 h 682"/>
                  <a:gd name="T96" fmla="*/ 765 w 978"/>
                  <a:gd name="T97" fmla="*/ 325 h 682"/>
                  <a:gd name="T98" fmla="*/ 730 w 978"/>
                  <a:gd name="T99" fmla="*/ 329 h 682"/>
                  <a:gd name="T100" fmla="*/ 719 w 978"/>
                  <a:gd name="T101" fmla="*/ 361 h 682"/>
                  <a:gd name="T102" fmla="*/ 767 w 978"/>
                  <a:gd name="T103" fmla="*/ 370 h 682"/>
                  <a:gd name="T104" fmla="*/ 773 w 978"/>
                  <a:gd name="T105" fmla="*/ 379 h 682"/>
                  <a:gd name="T106" fmla="*/ 742 w 978"/>
                  <a:gd name="T107" fmla="*/ 395 h 682"/>
                  <a:gd name="T108" fmla="*/ 764 w 978"/>
                  <a:gd name="T109" fmla="*/ 470 h 682"/>
                  <a:gd name="T110" fmla="*/ 764 w 978"/>
                  <a:gd name="T111" fmla="*/ 484 h 682"/>
                  <a:gd name="T112" fmla="*/ 760 w 978"/>
                  <a:gd name="T113" fmla="*/ 505 h 682"/>
                  <a:gd name="T114" fmla="*/ 765 w 978"/>
                  <a:gd name="T115" fmla="*/ 525 h 682"/>
                  <a:gd name="T116" fmla="*/ 742 w 978"/>
                  <a:gd name="T117" fmla="*/ 568 h 682"/>
                  <a:gd name="T118" fmla="*/ 732 w 978"/>
                  <a:gd name="T119" fmla="*/ 588 h 682"/>
                  <a:gd name="T120" fmla="*/ 719 w 978"/>
                  <a:gd name="T121" fmla="*/ 605 h 682"/>
                  <a:gd name="T122" fmla="*/ 699 w 978"/>
                  <a:gd name="T123" fmla="*/ 623 h 682"/>
                  <a:gd name="T124" fmla="*/ 666 w 978"/>
                  <a:gd name="T125" fmla="*/ 638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8" h="682">
                    <a:moveTo>
                      <a:pt x="655" y="643"/>
                    </a:moveTo>
                    <a:lnTo>
                      <a:pt x="653" y="645"/>
                    </a:lnTo>
                    <a:lnTo>
                      <a:pt x="653" y="643"/>
                    </a:lnTo>
                    <a:lnTo>
                      <a:pt x="653" y="643"/>
                    </a:lnTo>
                    <a:lnTo>
                      <a:pt x="651" y="641"/>
                    </a:lnTo>
                    <a:lnTo>
                      <a:pt x="649" y="643"/>
                    </a:lnTo>
                    <a:lnTo>
                      <a:pt x="648" y="643"/>
                    </a:lnTo>
                    <a:lnTo>
                      <a:pt x="648" y="643"/>
                    </a:lnTo>
                    <a:lnTo>
                      <a:pt x="649" y="645"/>
                    </a:lnTo>
                    <a:lnTo>
                      <a:pt x="644" y="647"/>
                    </a:lnTo>
                    <a:lnTo>
                      <a:pt x="644" y="645"/>
                    </a:lnTo>
                    <a:lnTo>
                      <a:pt x="644" y="645"/>
                    </a:lnTo>
                    <a:lnTo>
                      <a:pt x="644" y="643"/>
                    </a:lnTo>
                    <a:lnTo>
                      <a:pt x="641" y="641"/>
                    </a:lnTo>
                    <a:lnTo>
                      <a:pt x="639" y="639"/>
                    </a:lnTo>
                    <a:lnTo>
                      <a:pt x="637" y="638"/>
                    </a:lnTo>
                    <a:lnTo>
                      <a:pt x="637" y="648"/>
                    </a:lnTo>
                    <a:lnTo>
                      <a:pt x="637" y="648"/>
                    </a:lnTo>
                    <a:lnTo>
                      <a:pt x="635" y="648"/>
                    </a:lnTo>
                    <a:lnTo>
                      <a:pt x="632" y="643"/>
                    </a:lnTo>
                    <a:lnTo>
                      <a:pt x="630" y="641"/>
                    </a:lnTo>
                    <a:lnTo>
                      <a:pt x="628" y="648"/>
                    </a:lnTo>
                    <a:lnTo>
                      <a:pt x="628" y="652"/>
                    </a:lnTo>
                    <a:lnTo>
                      <a:pt x="628" y="654"/>
                    </a:lnTo>
                    <a:lnTo>
                      <a:pt x="626" y="654"/>
                    </a:lnTo>
                    <a:lnTo>
                      <a:pt x="623" y="655"/>
                    </a:lnTo>
                    <a:lnTo>
                      <a:pt x="619" y="655"/>
                    </a:lnTo>
                    <a:lnTo>
                      <a:pt x="617" y="657"/>
                    </a:lnTo>
                    <a:lnTo>
                      <a:pt x="614" y="657"/>
                    </a:lnTo>
                    <a:lnTo>
                      <a:pt x="614" y="655"/>
                    </a:lnTo>
                    <a:lnTo>
                      <a:pt x="610" y="655"/>
                    </a:lnTo>
                    <a:lnTo>
                      <a:pt x="607" y="659"/>
                    </a:lnTo>
                    <a:lnTo>
                      <a:pt x="599" y="661"/>
                    </a:lnTo>
                    <a:lnTo>
                      <a:pt x="598" y="661"/>
                    </a:lnTo>
                    <a:lnTo>
                      <a:pt x="598" y="661"/>
                    </a:lnTo>
                    <a:lnTo>
                      <a:pt x="591" y="664"/>
                    </a:lnTo>
                    <a:lnTo>
                      <a:pt x="587" y="663"/>
                    </a:lnTo>
                    <a:lnTo>
                      <a:pt x="583" y="670"/>
                    </a:lnTo>
                    <a:lnTo>
                      <a:pt x="587" y="677"/>
                    </a:lnTo>
                    <a:lnTo>
                      <a:pt x="587" y="679"/>
                    </a:lnTo>
                    <a:lnTo>
                      <a:pt x="583" y="682"/>
                    </a:lnTo>
                    <a:lnTo>
                      <a:pt x="580" y="680"/>
                    </a:lnTo>
                    <a:lnTo>
                      <a:pt x="574" y="668"/>
                    </a:lnTo>
                    <a:lnTo>
                      <a:pt x="576" y="661"/>
                    </a:lnTo>
                    <a:lnTo>
                      <a:pt x="576" y="659"/>
                    </a:lnTo>
                    <a:lnTo>
                      <a:pt x="571" y="663"/>
                    </a:lnTo>
                    <a:lnTo>
                      <a:pt x="567" y="663"/>
                    </a:lnTo>
                    <a:lnTo>
                      <a:pt x="566" y="661"/>
                    </a:lnTo>
                    <a:lnTo>
                      <a:pt x="566" y="659"/>
                    </a:lnTo>
                    <a:lnTo>
                      <a:pt x="558" y="657"/>
                    </a:lnTo>
                    <a:lnTo>
                      <a:pt x="557" y="657"/>
                    </a:lnTo>
                    <a:lnTo>
                      <a:pt x="557" y="659"/>
                    </a:lnTo>
                    <a:lnTo>
                      <a:pt x="553" y="661"/>
                    </a:lnTo>
                    <a:lnTo>
                      <a:pt x="553" y="663"/>
                    </a:lnTo>
                    <a:lnTo>
                      <a:pt x="553" y="659"/>
                    </a:lnTo>
                    <a:lnTo>
                      <a:pt x="548" y="661"/>
                    </a:lnTo>
                    <a:lnTo>
                      <a:pt x="546" y="659"/>
                    </a:lnTo>
                    <a:lnTo>
                      <a:pt x="537" y="659"/>
                    </a:lnTo>
                    <a:lnTo>
                      <a:pt x="537" y="657"/>
                    </a:lnTo>
                    <a:lnTo>
                      <a:pt x="530" y="654"/>
                    </a:lnTo>
                    <a:lnTo>
                      <a:pt x="528" y="650"/>
                    </a:lnTo>
                    <a:lnTo>
                      <a:pt x="526" y="647"/>
                    </a:lnTo>
                    <a:lnTo>
                      <a:pt x="528" y="641"/>
                    </a:lnTo>
                    <a:lnTo>
                      <a:pt x="526" y="639"/>
                    </a:lnTo>
                    <a:lnTo>
                      <a:pt x="517" y="638"/>
                    </a:lnTo>
                    <a:lnTo>
                      <a:pt x="505" y="632"/>
                    </a:lnTo>
                    <a:lnTo>
                      <a:pt x="503" y="632"/>
                    </a:lnTo>
                    <a:lnTo>
                      <a:pt x="496" y="638"/>
                    </a:lnTo>
                    <a:lnTo>
                      <a:pt x="491" y="639"/>
                    </a:lnTo>
                    <a:lnTo>
                      <a:pt x="489" y="639"/>
                    </a:lnTo>
                    <a:lnTo>
                      <a:pt x="485" y="641"/>
                    </a:lnTo>
                    <a:lnTo>
                      <a:pt x="483" y="643"/>
                    </a:lnTo>
                    <a:lnTo>
                      <a:pt x="482" y="641"/>
                    </a:lnTo>
                    <a:lnTo>
                      <a:pt x="478" y="641"/>
                    </a:lnTo>
                    <a:lnTo>
                      <a:pt x="476" y="639"/>
                    </a:lnTo>
                    <a:lnTo>
                      <a:pt x="474" y="641"/>
                    </a:lnTo>
                    <a:lnTo>
                      <a:pt x="469" y="643"/>
                    </a:lnTo>
                    <a:lnTo>
                      <a:pt x="467" y="643"/>
                    </a:lnTo>
                    <a:lnTo>
                      <a:pt x="466" y="641"/>
                    </a:lnTo>
                    <a:lnTo>
                      <a:pt x="462" y="641"/>
                    </a:lnTo>
                    <a:lnTo>
                      <a:pt x="462" y="639"/>
                    </a:lnTo>
                    <a:lnTo>
                      <a:pt x="460" y="639"/>
                    </a:lnTo>
                    <a:lnTo>
                      <a:pt x="457" y="645"/>
                    </a:lnTo>
                    <a:lnTo>
                      <a:pt x="457" y="645"/>
                    </a:lnTo>
                    <a:lnTo>
                      <a:pt x="455" y="645"/>
                    </a:lnTo>
                    <a:lnTo>
                      <a:pt x="455" y="643"/>
                    </a:lnTo>
                    <a:lnTo>
                      <a:pt x="449" y="643"/>
                    </a:lnTo>
                    <a:lnTo>
                      <a:pt x="448" y="645"/>
                    </a:lnTo>
                    <a:lnTo>
                      <a:pt x="448" y="654"/>
                    </a:lnTo>
                    <a:lnTo>
                      <a:pt x="449" y="659"/>
                    </a:lnTo>
                    <a:lnTo>
                      <a:pt x="449" y="663"/>
                    </a:lnTo>
                    <a:lnTo>
                      <a:pt x="448" y="664"/>
                    </a:lnTo>
                    <a:lnTo>
                      <a:pt x="442" y="664"/>
                    </a:lnTo>
                    <a:lnTo>
                      <a:pt x="439" y="655"/>
                    </a:lnTo>
                    <a:lnTo>
                      <a:pt x="437" y="655"/>
                    </a:lnTo>
                    <a:lnTo>
                      <a:pt x="432" y="659"/>
                    </a:lnTo>
                    <a:lnTo>
                      <a:pt x="426" y="659"/>
                    </a:lnTo>
                    <a:lnTo>
                      <a:pt x="421" y="654"/>
                    </a:lnTo>
                    <a:lnTo>
                      <a:pt x="419" y="652"/>
                    </a:lnTo>
                    <a:lnTo>
                      <a:pt x="410" y="648"/>
                    </a:lnTo>
                    <a:lnTo>
                      <a:pt x="414" y="636"/>
                    </a:lnTo>
                    <a:lnTo>
                      <a:pt x="405" y="630"/>
                    </a:lnTo>
                    <a:lnTo>
                      <a:pt x="405" y="623"/>
                    </a:lnTo>
                    <a:lnTo>
                      <a:pt x="403" y="620"/>
                    </a:lnTo>
                    <a:lnTo>
                      <a:pt x="403" y="616"/>
                    </a:lnTo>
                    <a:lnTo>
                      <a:pt x="392" y="616"/>
                    </a:lnTo>
                    <a:lnTo>
                      <a:pt x="385" y="623"/>
                    </a:lnTo>
                    <a:lnTo>
                      <a:pt x="383" y="622"/>
                    </a:lnTo>
                    <a:lnTo>
                      <a:pt x="385" y="616"/>
                    </a:lnTo>
                    <a:lnTo>
                      <a:pt x="387" y="614"/>
                    </a:lnTo>
                    <a:lnTo>
                      <a:pt x="385" y="609"/>
                    </a:lnTo>
                    <a:lnTo>
                      <a:pt x="389" y="600"/>
                    </a:lnTo>
                    <a:lnTo>
                      <a:pt x="391" y="597"/>
                    </a:lnTo>
                    <a:lnTo>
                      <a:pt x="392" y="593"/>
                    </a:lnTo>
                    <a:lnTo>
                      <a:pt x="394" y="593"/>
                    </a:lnTo>
                    <a:lnTo>
                      <a:pt x="399" y="582"/>
                    </a:lnTo>
                    <a:lnTo>
                      <a:pt x="398" y="555"/>
                    </a:lnTo>
                    <a:lnTo>
                      <a:pt x="394" y="555"/>
                    </a:lnTo>
                    <a:lnTo>
                      <a:pt x="392" y="552"/>
                    </a:lnTo>
                    <a:lnTo>
                      <a:pt x="391" y="547"/>
                    </a:lnTo>
                    <a:lnTo>
                      <a:pt x="387" y="543"/>
                    </a:lnTo>
                    <a:lnTo>
                      <a:pt x="383" y="541"/>
                    </a:lnTo>
                    <a:lnTo>
                      <a:pt x="383" y="541"/>
                    </a:lnTo>
                    <a:lnTo>
                      <a:pt x="382" y="543"/>
                    </a:lnTo>
                    <a:lnTo>
                      <a:pt x="380" y="545"/>
                    </a:lnTo>
                    <a:lnTo>
                      <a:pt x="378" y="541"/>
                    </a:lnTo>
                    <a:lnTo>
                      <a:pt x="374" y="539"/>
                    </a:lnTo>
                    <a:lnTo>
                      <a:pt x="371" y="539"/>
                    </a:lnTo>
                    <a:lnTo>
                      <a:pt x="369" y="538"/>
                    </a:lnTo>
                    <a:lnTo>
                      <a:pt x="364" y="538"/>
                    </a:lnTo>
                    <a:lnTo>
                      <a:pt x="364" y="530"/>
                    </a:lnTo>
                    <a:lnTo>
                      <a:pt x="360" y="529"/>
                    </a:lnTo>
                    <a:lnTo>
                      <a:pt x="360" y="525"/>
                    </a:lnTo>
                    <a:lnTo>
                      <a:pt x="360" y="523"/>
                    </a:lnTo>
                    <a:lnTo>
                      <a:pt x="357" y="520"/>
                    </a:lnTo>
                    <a:lnTo>
                      <a:pt x="353" y="522"/>
                    </a:lnTo>
                    <a:lnTo>
                      <a:pt x="349" y="523"/>
                    </a:lnTo>
                    <a:lnTo>
                      <a:pt x="346" y="525"/>
                    </a:lnTo>
                    <a:lnTo>
                      <a:pt x="337" y="525"/>
                    </a:lnTo>
                    <a:lnTo>
                      <a:pt x="335" y="523"/>
                    </a:lnTo>
                    <a:lnTo>
                      <a:pt x="333" y="523"/>
                    </a:lnTo>
                    <a:lnTo>
                      <a:pt x="328" y="527"/>
                    </a:lnTo>
                    <a:lnTo>
                      <a:pt x="326" y="529"/>
                    </a:lnTo>
                    <a:lnTo>
                      <a:pt x="321" y="534"/>
                    </a:lnTo>
                    <a:lnTo>
                      <a:pt x="317" y="536"/>
                    </a:lnTo>
                    <a:lnTo>
                      <a:pt x="310" y="543"/>
                    </a:lnTo>
                    <a:lnTo>
                      <a:pt x="289" y="550"/>
                    </a:lnTo>
                    <a:lnTo>
                      <a:pt x="289" y="550"/>
                    </a:lnTo>
                    <a:lnTo>
                      <a:pt x="289" y="550"/>
                    </a:lnTo>
                    <a:lnTo>
                      <a:pt x="285" y="548"/>
                    </a:lnTo>
                    <a:lnTo>
                      <a:pt x="283" y="547"/>
                    </a:lnTo>
                    <a:lnTo>
                      <a:pt x="283" y="547"/>
                    </a:lnTo>
                    <a:lnTo>
                      <a:pt x="280" y="548"/>
                    </a:lnTo>
                    <a:lnTo>
                      <a:pt x="269" y="547"/>
                    </a:lnTo>
                    <a:lnTo>
                      <a:pt x="267" y="545"/>
                    </a:lnTo>
                    <a:lnTo>
                      <a:pt x="267" y="543"/>
                    </a:lnTo>
                    <a:lnTo>
                      <a:pt x="266" y="543"/>
                    </a:lnTo>
                    <a:lnTo>
                      <a:pt x="264" y="541"/>
                    </a:lnTo>
                    <a:lnTo>
                      <a:pt x="260" y="541"/>
                    </a:lnTo>
                    <a:lnTo>
                      <a:pt x="257" y="543"/>
                    </a:lnTo>
                    <a:lnTo>
                      <a:pt x="253" y="547"/>
                    </a:lnTo>
                    <a:lnTo>
                      <a:pt x="251" y="552"/>
                    </a:lnTo>
                    <a:lnTo>
                      <a:pt x="244" y="557"/>
                    </a:lnTo>
                    <a:lnTo>
                      <a:pt x="244" y="559"/>
                    </a:lnTo>
                    <a:lnTo>
                      <a:pt x="242" y="559"/>
                    </a:lnTo>
                    <a:lnTo>
                      <a:pt x="241" y="559"/>
                    </a:lnTo>
                    <a:lnTo>
                      <a:pt x="241" y="557"/>
                    </a:lnTo>
                    <a:lnTo>
                      <a:pt x="241" y="555"/>
                    </a:lnTo>
                    <a:lnTo>
                      <a:pt x="242" y="552"/>
                    </a:lnTo>
                    <a:lnTo>
                      <a:pt x="241" y="547"/>
                    </a:lnTo>
                    <a:lnTo>
                      <a:pt x="241" y="547"/>
                    </a:lnTo>
                    <a:lnTo>
                      <a:pt x="239" y="545"/>
                    </a:lnTo>
                    <a:lnTo>
                      <a:pt x="239" y="547"/>
                    </a:lnTo>
                    <a:lnTo>
                      <a:pt x="235" y="548"/>
                    </a:lnTo>
                    <a:lnTo>
                      <a:pt x="233" y="548"/>
                    </a:lnTo>
                    <a:lnTo>
                      <a:pt x="230" y="548"/>
                    </a:lnTo>
                    <a:lnTo>
                      <a:pt x="230" y="548"/>
                    </a:lnTo>
                    <a:lnTo>
                      <a:pt x="230" y="548"/>
                    </a:lnTo>
                    <a:lnTo>
                      <a:pt x="226" y="548"/>
                    </a:lnTo>
                    <a:lnTo>
                      <a:pt x="226" y="552"/>
                    </a:lnTo>
                    <a:lnTo>
                      <a:pt x="221" y="550"/>
                    </a:lnTo>
                    <a:lnTo>
                      <a:pt x="219" y="550"/>
                    </a:lnTo>
                    <a:lnTo>
                      <a:pt x="217" y="550"/>
                    </a:lnTo>
                    <a:lnTo>
                      <a:pt x="212" y="548"/>
                    </a:lnTo>
                    <a:lnTo>
                      <a:pt x="210" y="547"/>
                    </a:lnTo>
                    <a:lnTo>
                      <a:pt x="207" y="547"/>
                    </a:lnTo>
                    <a:lnTo>
                      <a:pt x="207" y="547"/>
                    </a:lnTo>
                    <a:lnTo>
                      <a:pt x="205" y="548"/>
                    </a:lnTo>
                    <a:lnTo>
                      <a:pt x="205" y="548"/>
                    </a:lnTo>
                    <a:lnTo>
                      <a:pt x="203" y="548"/>
                    </a:lnTo>
                    <a:lnTo>
                      <a:pt x="201" y="548"/>
                    </a:lnTo>
                    <a:lnTo>
                      <a:pt x="199" y="548"/>
                    </a:lnTo>
                    <a:lnTo>
                      <a:pt x="198" y="548"/>
                    </a:lnTo>
                    <a:lnTo>
                      <a:pt x="196" y="548"/>
                    </a:lnTo>
                    <a:lnTo>
                      <a:pt x="194" y="547"/>
                    </a:lnTo>
                    <a:lnTo>
                      <a:pt x="194" y="545"/>
                    </a:lnTo>
                    <a:lnTo>
                      <a:pt x="192" y="543"/>
                    </a:lnTo>
                    <a:lnTo>
                      <a:pt x="191" y="543"/>
                    </a:lnTo>
                    <a:lnTo>
                      <a:pt x="187" y="543"/>
                    </a:lnTo>
                    <a:lnTo>
                      <a:pt x="183" y="541"/>
                    </a:lnTo>
                    <a:lnTo>
                      <a:pt x="183" y="539"/>
                    </a:lnTo>
                    <a:lnTo>
                      <a:pt x="183" y="536"/>
                    </a:lnTo>
                    <a:lnTo>
                      <a:pt x="183" y="536"/>
                    </a:lnTo>
                    <a:lnTo>
                      <a:pt x="182" y="536"/>
                    </a:lnTo>
                    <a:lnTo>
                      <a:pt x="178" y="536"/>
                    </a:lnTo>
                    <a:lnTo>
                      <a:pt x="176" y="536"/>
                    </a:lnTo>
                    <a:lnTo>
                      <a:pt x="174" y="536"/>
                    </a:lnTo>
                    <a:lnTo>
                      <a:pt x="173" y="534"/>
                    </a:lnTo>
                    <a:lnTo>
                      <a:pt x="171" y="534"/>
                    </a:lnTo>
                    <a:lnTo>
                      <a:pt x="171" y="534"/>
                    </a:lnTo>
                    <a:lnTo>
                      <a:pt x="169" y="532"/>
                    </a:lnTo>
                    <a:lnTo>
                      <a:pt x="167" y="532"/>
                    </a:lnTo>
                    <a:lnTo>
                      <a:pt x="167" y="532"/>
                    </a:lnTo>
                    <a:lnTo>
                      <a:pt x="169" y="529"/>
                    </a:lnTo>
                    <a:lnTo>
                      <a:pt x="167" y="527"/>
                    </a:lnTo>
                    <a:lnTo>
                      <a:pt x="169" y="525"/>
                    </a:lnTo>
                    <a:lnTo>
                      <a:pt x="169" y="523"/>
                    </a:lnTo>
                    <a:lnTo>
                      <a:pt x="167" y="523"/>
                    </a:lnTo>
                    <a:lnTo>
                      <a:pt x="166" y="523"/>
                    </a:lnTo>
                    <a:lnTo>
                      <a:pt x="164" y="523"/>
                    </a:lnTo>
                    <a:lnTo>
                      <a:pt x="162" y="525"/>
                    </a:lnTo>
                    <a:lnTo>
                      <a:pt x="162" y="525"/>
                    </a:lnTo>
                    <a:lnTo>
                      <a:pt x="162" y="527"/>
                    </a:lnTo>
                    <a:lnTo>
                      <a:pt x="160" y="527"/>
                    </a:lnTo>
                    <a:lnTo>
                      <a:pt x="160" y="529"/>
                    </a:lnTo>
                    <a:lnTo>
                      <a:pt x="157" y="527"/>
                    </a:lnTo>
                    <a:lnTo>
                      <a:pt x="155" y="527"/>
                    </a:lnTo>
                    <a:lnTo>
                      <a:pt x="155" y="522"/>
                    </a:lnTo>
                    <a:lnTo>
                      <a:pt x="150" y="516"/>
                    </a:lnTo>
                    <a:lnTo>
                      <a:pt x="146" y="514"/>
                    </a:lnTo>
                    <a:lnTo>
                      <a:pt x="141" y="509"/>
                    </a:lnTo>
                    <a:lnTo>
                      <a:pt x="128" y="505"/>
                    </a:lnTo>
                    <a:lnTo>
                      <a:pt x="128" y="505"/>
                    </a:lnTo>
                    <a:lnTo>
                      <a:pt x="123" y="505"/>
                    </a:lnTo>
                    <a:lnTo>
                      <a:pt x="123" y="505"/>
                    </a:lnTo>
                    <a:lnTo>
                      <a:pt x="123" y="507"/>
                    </a:lnTo>
                    <a:lnTo>
                      <a:pt x="121" y="509"/>
                    </a:lnTo>
                    <a:lnTo>
                      <a:pt x="123" y="509"/>
                    </a:lnTo>
                    <a:lnTo>
                      <a:pt x="121" y="511"/>
                    </a:lnTo>
                    <a:lnTo>
                      <a:pt x="119" y="507"/>
                    </a:lnTo>
                    <a:lnTo>
                      <a:pt x="119" y="507"/>
                    </a:lnTo>
                    <a:lnTo>
                      <a:pt x="117" y="505"/>
                    </a:lnTo>
                    <a:lnTo>
                      <a:pt x="112" y="504"/>
                    </a:lnTo>
                    <a:lnTo>
                      <a:pt x="112" y="504"/>
                    </a:lnTo>
                    <a:lnTo>
                      <a:pt x="110" y="502"/>
                    </a:lnTo>
                    <a:lnTo>
                      <a:pt x="108" y="502"/>
                    </a:lnTo>
                    <a:lnTo>
                      <a:pt x="105" y="498"/>
                    </a:lnTo>
                    <a:lnTo>
                      <a:pt x="101" y="498"/>
                    </a:lnTo>
                    <a:lnTo>
                      <a:pt x="101" y="497"/>
                    </a:lnTo>
                    <a:lnTo>
                      <a:pt x="101" y="495"/>
                    </a:lnTo>
                    <a:lnTo>
                      <a:pt x="100" y="495"/>
                    </a:lnTo>
                    <a:lnTo>
                      <a:pt x="100" y="495"/>
                    </a:lnTo>
                    <a:lnTo>
                      <a:pt x="98" y="493"/>
                    </a:lnTo>
                    <a:lnTo>
                      <a:pt x="98" y="493"/>
                    </a:lnTo>
                    <a:lnTo>
                      <a:pt x="94" y="495"/>
                    </a:lnTo>
                    <a:lnTo>
                      <a:pt x="94" y="493"/>
                    </a:lnTo>
                    <a:lnTo>
                      <a:pt x="94" y="491"/>
                    </a:lnTo>
                    <a:lnTo>
                      <a:pt x="94" y="491"/>
                    </a:lnTo>
                    <a:lnTo>
                      <a:pt x="92" y="491"/>
                    </a:lnTo>
                    <a:lnTo>
                      <a:pt x="87" y="491"/>
                    </a:lnTo>
                    <a:lnTo>
                      <a:pt x="85" y="493"/>
                    </a:lnTo>
                    <a:lnTo>
                      <a:pt x="85" y="493"/>
                    </a:lnTo>
                    <a:lnTo>
                      <a:pt x="83" y="491"/>
                    </a:lnTo>
                    <a:lnTo>
                      <a:pt x="85" y="489"/>
                    </a:lnTo>
                    <a:lnTo>
                      <a:pt x="83" y="488"/>
                    </a:lnTo>
                    <a:lnTo>
                      <a:pt x="82" y="486"/>
                    </a:lnTo>
                    <a:lnTo>
                      <a:pt x="82" y="486"/>
                    </a:lnTo>
                    <a:lnTo>
                      <a:pt x="80" y="484"/>
                    </a:lnTo>
                    <a:lnTo>
                      <a:pt x="80" y="482"/>
                    </a:lnTo>
                    <a:lnTo>
                      <a:pt x="82" y="480"/>
                    </a:lnTo>
                    <a:lnTo>
                      <a:pt x="80" y="479"/>
                    </a:lnTo>
                    <a:lnTo>
                      <a:pt x="80" y="475"/>
                    </a:lnTo>
                    <a:lnTo>
                      <a:pt x="82" y="473"/>
                    </a:lnTo>
                    <a:lnTo>
                      <a:pt x="76" y="468"/>
                    </a:lnTo>
                    <a:lnTo>
                      <a:pt x="76" y="466"/>
                    </a:lnTo>
                    <a:lnTo>
                      <a:pt x="76" y="464"/>
                    </a:lnTo>
                    <a:lnTo>
                      <a:pt x="76" y="463"/>
                    </a:lnTo>
                    <a:lnTo>
                      <a:pt x="80" y="463"/>
                    </a:lnTo>
                    <a:lnTo>
                      <a:pt x="80" y="461"/>
                    </a:lnTo>
                    <a:lnTo>
                      <a:pt x="82" y="461"/>
                    </a:lnTo>
                    <a:lnTo>
                      <a:pt x="82" y="464"/>
                    </a:lnTo>
                    <a:lnTo>
                      <a:pt x="82" y="464"/>
                    </a:lnTo>
                    <a:lnTo>
                      <a:pt x="83" y="466"/>
                    </a:lnTo>
                    <a:lnTo>
                      <a:pt x="85" y="466"/>
                    </a:lnTo>
                    <a:lnTo>
                      <a:pt x="85" y="466"/>
                    </a:lnTo>
                    <a:lnTo>
                      <a:pt x="87" y="466"/>
                    </a:lnTo>
                    <a:lnTo>
                      <a:pt x="87" y="466"/>
                    </a:lnTo>
                    <a:lnTo>
                      <a:pt x="87" y="464"/>
                    </a:lnTo>
                    <a:lnTo>
                      <a:pt x="89" y="464"/>
                    </a:lnTo>
                    <a:lnTo>
                      <a:pt x="91" y="463"/>
                    </a:lnTo>
                    <a:lnTo>
                      <a:pt x="91" y="463"/>
                    </a:lnTo>
                    <a:lnTo>
                      <a:pt x="91" y="463"/>
                    </a:lnTo>
                    <a:lnTo>
                      <a:pt x="92" y="463"/>
                    </a:lnTo>
                    <a:lnTo>
                      <a:pt x="94" y="461"/>
                    </a:lnTo>
                    <a:lnTo>
                      <a:pt x="94" y="459"/>
                    </a:lnTo>
                    <a:lnTo>
                      <a:pt x="92" y="455"/>
                    </a:lnTo>
                    <a:lnTo>
                      <a:pt x="91" y="454"/>
                    </a:lnTo>
                    <a:lnTo>
                      <a:pt x="92" y="454"/>
                    </a:lnTo>
                    <a:lnTo>
                      <a:pt x="92" y="452"/>
                    </a:lnTo>
                    <a:lnTo>
                      <a:pt x="89" y="450"/>
                    </a:lnTo>
                    <a:lnTo>
                      <a:pt x="87" y="450"/>
                    </a:lnTo>
                    <a:lnTo>
                      <a:pt x="87" y="450"/>
                    </a:lnTo>
                    <a:lnTo>
                      <a:pt x="85" y="447"/>
                    </a:lnTo>
                    <a:lnTo>
                      <a:pt x="85" y="443"/>
                    </a:lnTo>
                    <a:lnTo>
                      <a:pt x="85" y="443"/>
                    </a:lnTo>
                    <a:lnTo>
                      <a:pt x="85" y="441"/>
                    </a:lnTo>
                    <a:lnTo>
                      <a:pt x="85" y="439"/>
                    </a:lnTo>
                    <a:lnTo>
                      <a:pt x="85" y="439"/>
                    </a:lnTo>
                    <a:lnTo>
                      <a:pt x="83" y="438"/>
                    </a:lnTo>
                    <a:lnTo>
                      <a:pt x="83" y="436"/>
                    </a:lnTo>
                    <a:lnTo>
                      <a:pt x="83" y="436"/>
                    </a:lnTo>
                    <a:lnTo>
                      <a:pt x="87" y="436"/>
                    </a:lnTo>
                    <a:lnTo>
                      <a:pt x="89" y="434"/>
                    </a:lnTo>
                    <a:lnTo>
                      <a:pt x="91" y="436"/>
                    </a:lnTo>
                    <a:lnTo>
                      <a:pt x="92" y="436"/>
                    </a:lnTo>
                    <a:lnTo>
                      <a:pt x="94" y="430"/>
                    </a:lnTo>
                    <a:lnTo>
                      <a:pt x="94" y="427"/>
                    </a:lnTo>
                    <a:lnTo>
                      <a:pt x="98" y="427"/>
                    </a:lnTo>
                    <a:lnTo>
                      <a:pt x="98" y="427"/>
                    </a:lnTo>
                    <a:lnTo>
                      <a:pt x="98" y="427"/>
                    </a:lnTo>
                    <a:lnTo>
                      <a:pt x="98" y="425"/>
                    </a:lnTo>
                    <a:lnTo>
                      <a:pt x="100" y="425"/>
                    </a:lnTo>
                    <a:lnTo>
                      <a:pt x="100" y="423"/>
                    </a:lnTo>
                    <a:lnTo>
                      <a:pt x="103" y="422"/>
                    </a:lnTo>
                    <a:lnTo>
                      <a:pt x="103" y="420"/>
                    </a:lnTo>
                    <a:lnTo>
                      <a:pt x="103" y="418"/>
                    </a:lnTo>
                    <a:lnTo>
                      <a:pt x="105" y="413"/>
                    </a:lnTo>
                    <a:lnTo>
                      <a:pt x="105" y="411"/>
                    </a:lnTo>
                    <a:lnTo>
                      <a:pt x="105" y="409"/>
                    </a:lnTo>
                    <a:lnTo>
                      <a:pt x="107" y="407"/>
                    </a:lnTo>
                    <a:lnTo>
                      <a:pt x="107" y="405"/>
                    </a:lnTo>
                    <a:lnTo>
                      <a:pt x="107" y="405"/>
                    </a:lnTo>
                    <a:lnTo>
                      <a:pt x="105" y="405"/>
                    </a:lnTo>
                    <a:lnTo>
                      <a:pt x="103" y="407"/>
                    </a:lnTo>
                    <a:lnTo>
                      <a:pt x="103" y="407"/>
                    </a:lnTo>
                    <a:lnTo>
                      <a:pt x="101" y="407"/>
                    </a:lnTo>
                    <a:lnTo>
                      <a:pt x="101" y="404"/>
                    </a:lnTo>
                    <a:lnTo>
                      <a:pt x="100" y="404"/>
                    </a:lnTo>
                    <a:lnTo>
                      <a:pt x="98" y="404"/>
                    </a:lnTo>
                    <a:lnTo>
                      <a:pt x="98" y="404"/>
                    </a:lnTo>
                    <a:lnTo>
                      <a:pt x="96" y="404"/>
                    </a:lnTo>
                    <a:lnTo>
                      <a:pt x="96" y="402"/>
                    </a:lnTo>
                    <a:lnTo>
                      <a:pt x="96" y="400"/>
                    </a:lnTo>
                    <a:lnTo>
                      <a:pt x="94" y="400"/>
                    </a:lnTo>
                    <a:lnTo>
                      <a:pt x="94" y="398"/>
                    </a:lnTo>
                    <a:lnTo>
                      <a:pt x="94" y="398"/>
                    </a:lnTo>
                    <a:lnTo>
                      <a:pt x="92" y="398"/>
                    </a:lnTo>
                    <a:lnTo>
                      <a:pt x="91" y="397"/>
                    </a:lnTo>
                    <a:lnTo>
                      <a:pt x="91" y="397"/>
                    </a:lnTo>
                    <a:lnTo>
                      <a:pt x="89" y="397"/>
                    </a:lnTo>
                    <a:lnTo>
                      <a:pt x="89" y="397"/>
                    </a:lnTo>
                    <a:lnTo>
                      <a:pt x="87" y="397"/>
                    </a:lnTo>
                    <a:lnTo>
                      <a:pt x="85" y="398"/>
                    </a:lnTo>
                    <a:lnTo>
                      <a:pt x="82" y="398"/>
                    </a:lnTo>
                    <a:lnTo>
                      <a:pt x="73" y="404"/>
                    </a:lnTo>
                    <a:lnTo>
                      <a:pt x="71" y="405"/>
                    </a:lnTo>
                    <a:lnTo>
                      <a:pt x="69" y="405"/>
                    </a:lnTo>
                    <a:lnTo>
                      <a:pt x="69" y="407"/>
                    </a:lnTo>
                    <a:lnTo>
                      <a:pt x="67" y="405"/>
                    </a:lnTo>
                    <a:lnTo>
                      <a:pt x="66" y="407"/>
                    </a:lnTo>
                    <a:lnTo>
                      <a:pt x="60" y="407"/>
                    </a:lnTo>
                    <a:lnTo>
                      <a:pt x="58" y="405"/>
                    </a:lnTo>
                    <a:lnTo>
                      <a:pt x="57" y="405"/>
                    </a:lnTo>
                    <a:lnTo>
                      <a:pt x="46" y="400"/>
                    </a:lnTo>
                    <a:lnTo>
                      <a:pt x="46" y="398"/>
                    </a:lnTo>
                    <a:lnTo>
                      <a:pt x="46" y="398"/>
                    </a:lnTo>
                    <a:lnTo>
                      <a:pt x="44" y="398"/>
                    </a:lnTo>
                    <a:lnTo>
                      <a:pt x="44" y="398"/>
                    </a:lnTo>
                    <a:lnTo>
                      <a:pt x="42" y="398"/>
                    </a:lnTo>
                    <a:lnTo>
                      <a:pt x="41" y="400"/>
                    </a:lnTo>
                    <a:lnTo>
                      <a:pt x="41" y="398"/>
                    </a:lnTo>
                    <a:lnTo>
                      <a:pt x="39" y="397"/>
                    </a:lnTo>
                    <a:lnTo>
                      <a:pt x="37" y="395"/>
                    </a:lnTo>
                    <a:lnTo>
                      <a:pt x="35" y="395"/>
                    </a:lnTo>
                    <a:lnTo>
                      <a:pt x="35" y="393"/>
                    </a:lnTo>
                    <a:lnTo>
                      <a:pt x="37" y="393"/>
                    </a:lnTo>
                    <a:lnTo>
                      <a:pt x="37" y="393"/>
                    </a:lnTo>
                    <a:lnTo>
                      <a:pt x="37" y="391"/>
                    </a:lnTo>
                    <a:lnTo>
                      <a:pt x="37" y="389"/>
                    </a:lnTo>
                    <a:lnTo>
                      <a:pt x="37" y="386"/>
                    </a:lnTo>
                    <a:lnTo>
                      <a:pt x="37" y="384"/>
                    </a:lnTo>
                    <a:lnTo>
                      <a:pt x="32" y="380"/>
                    </a:lnTo>
                    <a:lnTo>
                      <a:pt x="30" y="380"/>
                    </a:lnTo>
                    <a:lnTo>
                      <a:pt x="28" y="382"/>
                    </a:lnTo>
                    <a:lnTo>
                      <a:pt x="28" y="382"/>
                    </a:lnTo>
                    <a:lnTo>
                      <a:pt x="28" y="379"/>
                    </a:lnTo>
                    <a:lnTo>
                      <a:pt x="26" y="377"/>
                    </a:lnTo>
                    <a:lnTo>
                      <a:pt x="25" y="379"/>
                    </a:lnTo>
                    <a:lnTo>
                      <a:pt x="23" y="377"/>
                    </a:lnTo>
                    <a:lnTo>
                      <a:pt x="23" y="377"/>
                    </a:lnTo>
                    <a:lnTo>
                      <a:pt x="19" y="377"/>
                    </a:lnTo>
                    <a:lnTo>
                      <a:pt x="16" y="377"/>
                    </a:lnTo>
                    <a:lnTo>
                      <a:pt x="16" y="377"/>
                    </a:lnTo>
                    <a:lnTo>
                      <a:pt x="16" y="375"/>
                    </a:lnTo>
                    <a:lnTo>
                      <a:pt x="14" y="373"/>
                    </a:lnTo>
                    <a:lnTo>
                      <a:pt x="12" y="373"/>
                    </a:lnTo>
                    <a:lnTo>
                      <a:pt x="16" y="372"/>
                    </a:lnTo>
                    <a:lnTo>
                      <a:pt x="16" y="370"/>
                    </a:lnTo>
                    <a:lnTo>
                      <a:pt x="17" y="372"/>
                    </a:lnTo>
                    <a:lnTo>
                      <a:pt x="19" y="372"/>
                    </a:lnTo>
                    <a:lnTo>
                      <a:pt x="17" y="372"/>
                    </a:lnTo>
                    <a:lnTo>
                      <a:pt x="19" y="372"/>
                    </a:lnTo>
                    <a:lnTo>
                      <a:pt x="21" y="372"/>
                    </a:lnTo>
                    <a:lnTo>
                      <a:pt x="21" y="361"/>
                    </a:lnTo>
                    <a:lnTo>
                      <a:pt x="17" y="354"/>
                    </a:lnTo>
                    <a:lnTo>
                      <a:pt x="17" y="348"/>
                    </a:lnTo>
                    <a:lnTo>
                      <a:pt x="16" y="345"/>
                    </a:lnTo>
                    <a:lnTo>
                      <a:pt x="10" y="345"/>
                    </a:lnTo>
                    <a:lnTo>
                      <a:pt x="5" y="347"/>
                    </a:lnTo>
                    <a:lnTo>
                      <a:pt x="1" y="345"/>
                    </a:lnTo>
                    <a:lnTo>
                      <a:pt x="0" y="334"/>
                    </a:lnTo>
                    <a:lnTo>
                      <a:pt x="3" y="323"/>
                    </a:lnTo>
                    <a:lnTo>
                      <a:pt x="3" y="320"/>
                    </a:lnTo>
                    <a:lnTo>
                      <a:pt x="5" y="314"/>
                    </a:lnTo>
                    <a:lnTo>
                      <a:pt x="14" y="311"/>
                    </a:lnTo>
                    <a:lnTo>
                      <a:pt x="16" y="309"/>
                    </a:lnTo>
                    <a:lnTo>
                      <a:pt x="17" y="309"/>
                    </a:lnTo>
                    <a:lnTo>
                      <a:pt x="19" y="305"/>
                    </a:lnTo>
                    <a:lnTo>
                      <a:pt x="23" y="305"/>
                    </a:lnTo>
                    <a:lnTo>
                      <a:pt x="26" y="304"/>
                    </a:lnTo>
                    <a:lnTo>
                      <a:pt x="30" y="304"/>
                    </a:lnTo>
                    <a:lnTo>
                      <a:pt x="32" y="309"/>
                    </a:lnTo>
                    <a:lnTo>
                      <a:pt x="42" y="307"/>
                    </a:lnTo>
                    <a:lnTo>
                      <a:pt x="46" y="305"/>
                    </a:lnTo>
                    <a:lnTo>
                      <a:pt x="48" y="300"/>
                    </a:lnTo>
                    <a:lnTo>
                      <a:pt x="51" y="297"/>
                    </a:lnTo>
                    <a:lnTo>
                      <a:pt x="73" y="291"/>
                    </a:lnTo>
                    <a:lnTo>
                      <a:pt x="75" y="288"/>
                    </a:lnTo>
                    <a:lnTo>
                      <a:pt x="80" y="284"/>
                    </a:lnTo>
                    <a:lnTo>
                      <a:pt x="103" y="273"/>
                    </a:lnTo>
                    <a:lnTo>
                      <a:pt x="105" y="268"/>
                    </a:lnTo>
                    <a:lnTo>
                      <a:pt x="107" y="257"/>
                    </a:lnTo>
                    <a:lnTo>
                      <a:pt x="108" y="254"/>
                    </a:lnTo>
                    <a:lnTo>
                      <a:pt x="108" y="250"/>
                    </a:lnTo>
                    <a:lnTo>
                      <a:pt x="112" y="248"/>
                    </a:lnTo>
                    <a:lnTo>
                      <a:pt x="105" y="216"/>
                    </a:lnTo>
                    <a:lnTo>
                      <a:pt x="103" y="213"/>
                    </a:lnTo>
                    <a:lnTo>
                      <a:pt x="101" y="211"/>
                    </a:lnTo>
                    <a:lnTo>
                      <a:pt x="103" y="207"/>
                    </a:lnTo>
                    <a:lnTo>
                      <a:pt x="137" y="202"/>
                    </a:lnTo>
                    <a:lnTo>
                      <a:pt x="139" y="200"/>
                    </a:lnTo>
                    <a:lnTo>
                      <a:pt x="137" y="191"/>
                    </a:lnTo>
                    <a:lnTo>
                      <a:pt x="148" y="157"/>
                    </a:lnTo>
                    <a:lnTo>
                      <a:pt x="155" y="157"/>
                    </a:lnTo>
                    <a:lnTo>
                      <a:pt x="158" y="159"/>
                    </a:lnTo>
                    <a:lnTo>
                      <a:pt x="164" y="161"/>
                    </a:lnTo>
                    <a:lnTo>
                      <a:pt x="173" y="159"/>
                    </a:lnTo>
                    <a:lnTo>
                      <a:pt x="180" y="164"/>
                    </a:lnTo>
                    <a:lnTo>
                      <a:pt x="183" y="161"/>
                    </a:lnTo>
                    <a:lnTo>
                      <a:pt x="191" y="159"/>
                    </a:lnTo>
                    <a:lnTo>
                      <a:pt x="192" y="134"/>
                    </a:lnTo>
                    <a:lnTo>
                      <a:pt x="194" y="129"/>
                    </a:lnTo>
                    <a:lnTo>
                      <a:pt x="199" y="129"/>
                    </a:lnTo>
                    <a:lnTo>
                      <a:pt x="205" y="127"/>
                    </a:lnTo>
                    <a:lnTo>
                      <a:pt x="210" y="122"/>
                    </a:lnTo>
                    <a:lnTo>
                      <a:pt x="214" y="116"/>
                    </a:lnTo>
                    <a:lnTo>
                      <a:pt x="219" y="118"/>
                    </a:lnTo>
                    <a:lnTo>
                      <a:pt x="224" y="114"/>
                    </a:lnTo>
                    <a:lnTo>
                      <a:pt x="226" y="114"/>
                    </a:lnTo>
                    <a:lnTo>
                      <a:pt x="226" y="114"/>
                    </a:lnTo>
                    <a:lnTo>
                      <a:pt x="230" y="125"/>
                    </a:lnTo>
                    <a:lnTo>
                      <a:pt x="239" y="132"/>
                    </a:lnTo>
                    <a:lnTo>
                      <a:pt x="242" y="138"/>
                    </a:lnTo>
                    <a:lnTo>
                      <a:pt x="246" y="141"/>
                    </a:lnTo>
                    <a:lnTo>
                      <a:pt x="249" y="138"/>
                    </a:lnTo>
                    <a:lnTo>
                      <a:pt x="253" y="139"/>
                    </a:lnTo>
                    <a:lnTo>
                      <a:pt x="257" y="141"/>
                    </a:lnTo>
                    <a:lnTo>
                      <a:pt x="262" y="143"/>
                    </a:lnTo>
                    <a:lnTo>
                      <a:pt x="274" y="172"/>
                    </a:lnTo>
                    <a:lnTo>
                      <a:pt x="274" y="189"/>
                    </a:lnTo>
                    <a:lnTo>
                      <a:pt x="273" y="195"/>
                    </a:lnTo>
                    <a:lnTo>
                      <a:pt x="271" y="200"/>
                    </a:lnTo>
                    <a:lnTo>
                      <a:pt x="274" y="202"/>
                    </a:lnTo>
                    <a:lnTo>
                      <a:pt x="301" y="207"/>
                    </a:lnTo>
                    <a:lnTo>
                      <a:pt x="308" y="205"/>
                    </a:lnTo>
                    <a:lnTo>
                      <a:pt x="342" y="222"/>
                    </a:lnTo>
                    <a:lnTo>
                      <a:pt x="346" y="222"/>
                    </a:lnTo>
                    <a:lnTo>
                      <a:pt x="369" y="255"/>
                    </a:lnTo>
                    <a:lnTo>
                      <a:pt x="374" y="257"/>
                    </a:lnTo>
                    <a:lnTo>
                      <a:pt x="428" y="254"/>
                    </a:lnTo>
                    <a:lnTo>
                      <a:pt x="446" y="259"/>
                    </a:lnTo>
                    <a:lnTo>
                      <a:pt x="453" y="266"/>
                    </a:lnTo>
                    <a:lnTo>
                      <a:pt x="482" y="277"/>
                    </a:lnTo>
                    <a:lnTo>
                      <a:pt x="489" y="277"/>
                    </a:lnTo>
                    <a:lnTo>
                      <a:pt x="491" y="279"/>
                    </a:lnTo>
                    <a:lnTo>
                      <a:pt x="494" y="280"/>
                    </a:lnTo>
                    <a:lnTo>
                      <a:pt x="498" y="282"/>
                    </a:lnTo>
                    <a:lnTo>
                      <a:pt x="501" y="280"/>
                    </a:lnTo>
                    <a:lnTo>
                      <a:pt x="507" y="277"/>
                    </a:lnTo>
                    <a:lnTo>
                      <a:pt x="523" y="272"/>
                    </a:lnTo>
                    <a:lnTo>
                      <a:pt x="524" y="270"/>
                    </a:lnTo>
                    <a:lnTo>
                      <a:pt x="544" y="264"/>
                    </a:lnTo>
                    <a:lnTo>
                      <a:pt x="551" y="264"/>
                    </a:lnTo>
                    <a:lnTo>
                      <a:pt x="557" y="263"/>
                    </a:lnTo>
                    <a:lnTo>
                      <a:pt x="564" y="264"/>
                    </a:lnTo>
                    <a:lnTo>
                      <a:pt x="566" y="264"/>
                    </a:lnTo>
                    <a:lnTo>
                      <a:pt x="574" y="264"/>
                    </a:lnTo>
                    <a:lnTo>
                      <a:pt x="592" y="254"/>
                    </a:lnTo>
                    <a:lnTo>
                      <a:pt x="596" y="250"/>
                    </a:lnTo>
                    <a:lnTo>
                      <a:pt x="612" y="234"/>
                    </a:lnTo>
                    <a:lnTo>
                      <a:pt x="612" y="230"/>
                    </a:lnTo>
                    <a:lnTo>
                      <a:pt x="605" y="222"/>
                    </a:lnTo>
                    <a:lnTo>
                      <a:pt x="607" y="218"/>
                    </a:lnTo>
                    <a:lnTo>
                      <a:pt x="612" y="207"/>
                    </a:lnTo>
                    <a:lnTo>
                      <a:pt x="619" y="205"/>
                    </a:lnTo>
                    <a:lnTo>
                      <a:pt x="623" y="207"/>
                    </a:lnTo>
                    <a:lnTo>
                      <a:pt x="626" y="211"/>
                    </a:lnTo>
                    <a:lnTo>
                      <a:pt x="637" y="213"/>
                    </a:lnTo>
                    <a:lnTo>
                      <a:pt x="646" y="207"/>
                    </a:lnTo>
                    <a:lnTo>
                      <a:pt x="657" y="195"/>
                    </a:lnTo>
                    <a:lnTo>
                      <a:pt x="664" y="195"/>
                    </a:lnTo>
                    <a:lnTo>
                      <a:pt x="671" y="191"/>
                    </a:lnTo>
                    <a:lnTo>
                      <a:pt x="691" y="170"/>
                    </a:lnTo>
                    <a:lnTo>
                      <a:pt x="719" y="166"/>
                    </a:lnTo>
                    <a:lnTo>
                      <a:pt x="730" y="170"/>
                    </a:lnTo>
                    <a:lnTo>
                      <a:pt x="732" y="168"/>
                    </a:lnTo>
                    <a:lnTo>
                      <a:pt x="732" y="164"/>
                    </a:lnTo>
                    <a:lnTo>
                      <a:pt x="728" y="161"/>
                    </a:lnTo>
                    <a:lnTo>
                      <a:pt x="728" y="155"/>
                    </a:lnTo>
                    <a:lnTo>
                      <a:pt x="726" y="150"/>
                    </a:lnTo>
                    <a:lnTo>
                      <a:pt x="714" y="139"/>
                    </a:lnTo>
                    <a:lnTo>
                      <a:pt x="712" y="136"/>
                    </a:lnTo>
                    <a:lnTo>
                      <a:pt x="699" y="145"/>
                    </a:lnTo>
                    <a:lnTo>
                      <a:pt x="683" y="148"/>
                    </a:lnTo>
                    <a:lnTo>
                      <a:pt x="673" y="145"/>
                    </a:lnTo>
                    <a:lnTo>
                      <a:pt x="669" y="141"/>
                    </a:lnTo>
                    <a:lnTo>
                      <a:pt x="669" y="129"/>
                    </a:lnTo>
                    <a:lnTo>
                      <a:pt x="671" y="123"/>
                    </a:lnTo>
                    <a:lnTo>
                      <a:pt x="671" y="109"/>
                    </a:lnTo>
                    <a:lnTo>
                      <a:pt x="680" y="93"/>
                    </a:lnTo>
                    <a:lnTo>
                      <a:pt x="683" y="91"/>
                    </a:lnTo>
                    <a:lnTo>
                      <a:pt x="683" y="89"/>
                    </a:lnTo>
                    <a:lnTo>
                      <a:pt x="707" y="100"/>
                    </a:lnTo>
                    <a:lnTo>
                      <a:pt x="710" y="98"/>
                    </a:lnTo>
                    <a:lnTo>
                      <a:pt x="728" y="86"/>
                    </a:lnTo>
                    <a:lnTo>
                      <a:pt x="730" y="84"/>
                    </a:lnTo>
                    <a:lnTo>
                      <a:pt x="728" y="80"/>
                    </a:lnTo>
                    <a:lnTo>
                      <a:pt x="730" y="77"/>
                    </a:lnTo>
                    <a:lnTo>
                      <a:pt x="733" y="70"/>
                    </a:lnTo>
                    <a:lnTo>
                      <a:pt x="740" y="50"/>
                    </a:lnTo>
                    <a:lnTo>
                      <a:pt x="746" y="47"/>
                    </a:lnTo>
                    <a:lnTo>
                      <a:pt x="753" y="39"/>
                    </a:lnTo>
                    <a:lnTo>
                      <a:pt x="753" y="38"/>
                    </a:lnTo>
                    <a:lnTo>
                      <a:pt x="751" y="34"/>
                    </a:lnTo>
                    <a:lnTo>
                      <a:pt x="751" y="27"/>
                    </a:lnTo>
                    <a:lnTo>
                      <a:pt x="749" y="25"/>
                    </a:lnTo>
                    <a:lnTo>
                      <a:pt x="740" y="27"/>
                    </a:lnTo>
                    <a:lnTo>
                      <a:pt x="740" y="25"/>
                    </a:lnTo>
                    <a:lnTo>
                      <a:pt x="740" y="22"/>
                    </a:lnTo>
                    <a:lnTo>
                      <a:pt x="748" y="14"/>
                    </a:lnTo>
                    <a:lnTo>
                      <a:pt x="751" y="11"/>
                    </a:lnTo>
                    <a:lnTo>
                      <a:pt x="755" y="7"/>
                    </a:lnTo>
                    <a:lnTo>
                      <a:pt x="798" y="0"/>
                    </a:lnTo>
                    <a:lnTo>
                      <a:pt x="812" y="9"/>
                    </a:lnTo>
                    <a:lnTo>
                      <a:pt x="817" y="11"/>
                    </a:lnTo>
                    <a:lnTo>
                      <a:pt x="823" y="11"/>
                    </a:lnTo>
                    <a:lnTo>
                      <a:pt x="832" y="13"/>
                    </a:lnTo>
                    <a:lnTo>
                      <a:pt x="837" y="23"/>
                    </a:lnTo>
                    <a:lnTo>
                      <a:pt x="837" y="25"/>
                    </a:lnTo>
                    <a:lnTo>
                      <a:pt x="842" y="30"/>
                    </a:lnTo>
                    <a:lnTo>
                      <a:pt x="842" y="32"/>
                    </a:lnTo>
                    <a:lnTo>
                      <a:pt x="842" y="30"/>
                    </a:lnTo>
                    <a:lnTo>
                      <a:pt x="860" y="84"/>
                    </a:lnTo>
                    <a:lnTo>
                      <a:pt x="860" y="86"/>
                    </a:lnTo>
                    <a:lnTo>
                      <a:pt x="860" y="86"/>
                    </a:lnTo>
                    <a:lnTo>
                      <a:pt x="860" y="98"/>
                    </a:lnTo>
                    <a:lnTo>
                      <a:pt x="864" y="100"/>
                    </a:lnTo>
                    <a:lnTo>
                      <a:pt x="871" y="102"/>
                    </a:lnTo>
                    <a:lnTo>
                      <a:pt x="878" y="100"/>
                    </a:lnTo>
                    <a:lnTo>
                      <a:pt x="892" y="105"/>
                    </a:lnTo>
                    <a:lnTo>
                      <a:pt x="901" y="113"/>
                    </a:lnTo>
                    <a:lnTo>
                      <a:pt x="907" y="114"/>
                    </a:lnTo>
                    <a:lnTo>
                      <a:pt x="910" y="116"/>
                    </a:lnTo>
                    <a:lnTo>
                      <a:pt x="912" y="118"/>
                    </a:lnTo>
                    <a:lnTo>
                      <a:pt x="912" y="120"/>
                    </a:lnTo>
                    <a:lnTo>
                      <a:pt x="912" y="120"/>
                    </a:lnTo>
                    <a:lnTo>
                      <a:pt x="912" y="123"/>
                    </a:lnTo>
                    <a:lnTo>
                      <a:pt x="914" y="127"/>
                    </a:lnTo>
                    <a:lnTo>
                      <a:pt x="914" y="136"/>
                    </a:lnTo>
                    <a:lnTo>
                      <a:pt x="919" y="145"/>
                    </a:lnTo>
                    <a:lnTo>
                      <a:pt x="924" y="145"/>
                    </a:lnTo>
                    <a:lnTo>
                      <a:pt x="930" y="147"/>
                    </a:lnTo>
                    <a:lnTo>
                      <a:pt x="935" y="145"/>
                    </a:lnTo>
                    <a:lnTo>
                      <a:pt x="955" y="134"/>
                    </a:lnTo>
                    <a:lnTo>
                      <a:pt x="960" y="134"/>
                    </a:lnTo>
                    <a:lnTo>
                      <a:pt x="978" y="127"/>
                    </a:lnTo>
                    <a:lnTo>
                      <a:pt x="978" y="127"/>
                    </a:lnTo>
                    <a:lnTo>
                      <a:pt x="976" y="130"/>
                    </a:lnTo>
                    <a:lnTo>
                      <a:pt x="976" y="136"/>
                    </a:lnTo>
                    <a:lnTo>
                      <a:pt x="978" y="141"/>
                    </a:lnTo>
                    <a:lnTo>
                      <a:pt x="976" y="147"/>
                    </a:lnTo>
                    <a:lnTo>
                      <a:pt x="969" y="154"/>
                    </a:lnTo>
                    <a:lnTo>
                      <a:pt x="962" y="182"/>
                    </a:lnTo>
                    <a:lnTo>
                      <a:pt x="953" y="198"/>
                    </a:lnTo>
                    <a:lnTo>
                      <a:pt x="951" y="204"/>
                    </a:lnTo>
                    <a:lnTo>
                      <a:pt x="948" y="207"/>
                    </a:lnTo>
                    <a:lnTo>
                      <a:pt x="946" y="205"/>
                    </a:lnTo>
                    <a:lnTo>
                      <a:pt x="932" y="202"/>
                    </a:lnTo>
                    <a:lnTo>
                      <a:pt x="917" y="214"/>
                    </a:lnTo>
                    <a:lnTo>
                      <a:pt x="919" y="218"/>
                    </a:lnTo>
                    <a:lnTo>
                      <a:pt x="921" y="243"/>
                    </a:lnTo>
                    <a:lnTo>
                      <a:pt x="917" y="250"/>
                    </a:lnTo>
                    <a:lnTo>
                      <a:pt x="910" y="255"/>
                    </a:lnTo>
                    <a:lnTo>
                      <a:pt x="910" y="261"/>
                    </a:lnTo>
                    <a:lnTo>
                      <a:pt x="908" y="261"/>
                    </a:lnTo>
                    <a:lnTo>
                      <a:pt x="907" y="255"/>
                    </a:lnTo>
                    <a:lnTo>
                      <a:pt x="903" y="254"/>
                    </a:lnTo>
                    <a:lnTo>
                      <a:pt x="899" y="255"/>
                    </a:lnTo>
                    <a:lnTo>
                      <a:pt x="894" y="266"/>
                    </a:lnTo>
                    <a:lnTo>
                      <a:pt x="885" y="273"/>
                    </a:lnTo>
                    <a:lnTo>
                      <a:pt x="873" y="275"/>
                    </a:lnTo>
                    <a:lnTo>
                      <a:pt x="871" y="277"/>
                    </a:lnTo>
                    <a:lnTo>
                      <a:pt x="873" y="286"/>
                    </a:lnTo>
                    <a:lnTo>
                      <a:pt x="862" y="288"/>
                    </a:lnTo>
                    <a:lnTo>
                      <a:pt x="857" y="284"/>
                    </a:lnTo>
                    <a:lnTo>
                      <a:pt x="851" y="284"/>
                    </a:lnTo>
                    <a:lnTo>
                      <a:pt x="824" y="305"/>
                    </a:lnTo>
                    <a:lnTo>
                      <a:pt x="819" y="307"/>
                    </a:lnTo>
                    <a:lnTo>
                      <a:pt x="812" y="318"/>
                    </a:lnTo>
                    <a:lnTo>
                      <a:pt x="810" y="318"/>
                    </a:lnTo>
                    <a:lnTo>
                      <a:pt x="798" y="322"/>
                    </a:lnTo>
                    <a:lnTo>
                      <a:pt x="796" y="320"/>
                    </a:lnTo>
                    <a:lnTo>
                      <a:pt x="790" y="325"/>
                    </a:lnTo>
                    <a:lnTo>
                      <a:pt x="780" y="329"/>
                    </a:lnTo>
                    <a:lnTo>
                      <a:pt x="776" y="332"/>
                    </a:lnTo>
                    <a:lnTo>
                      <a:pt x="774" y="336"/>
                    </a:lnTo>
                    <a:lnTo>
                      <a:pt x="771" y="338"/>
                    </a:lnTo>
                    <a:lnTo>
                      <a:pt x="769" y="338"/>
                    </a:lnTo>
                    <a:lnTo>
                      <a:pt x="767" y="339"/>
                    </a:lnTo>
                    <a:lnTo>
                      <a:pt x="762" y="343"/>
                    </a:lnTo>
                    <a:lnTo>
                      <a:pt x="760" y="341"/>
                    </a:lnTo>
                    <a:lnTo>
                      <a:pt x="762" y="338"/>
                    </a:lnTo>
                    <a:lnTo>
                      <a:pt x="767" y="336"/>
                    </a:lnTo>
                    <a:lnTo>
                      <a:pt x="769" y="329"/>
                    </a:lnTo>
                    <a:lnTo>
                      <a:pt x="764" y="327"/>
                    </a:lnTo>
                    <a:lnTo>
                      <a:pt x="762" y="327"/>
                    </a:lnTo>
                    <a:lnTo>
                      <a:pt x="765" y="325"/>
                    </a:lnTo>
                    <a:lnTo>
                      <a:pt x="765" y="322"/>
                    </a:lnTo>
                    <a:lnTo>
                      <a:pt x="769" y="320"/>
                    </a:lnTo>
                    <a:lnTo>
                      <a:pt x="778" y="307"/>
                    </a:lnTo>
                    <a:lnTo>
                      <a:pt x="776" y="304"/>
                    </a:lnTo>
                    <a:lnTo>
                      <a:pt x="773" y="300"/>
                    </a:lnTo>
                    <a:lnTo>
                      <a:pt x="773" y="297"/>
                    </a:lnTo>
                    <a:lnTo>
                      <a:pt x="771" y="295"/>
                    </a:lnTo>
                    <a:lnTo>
                      <a:pt x="769" y="297"/>
                    </a:lnTo>
                    <a:lnTo>
                      <a:pt x="762" y="297"/>
                    </a:lnTo>
                    <a:lnTo>
                      <a:pt x="760" y="298"/>
                    </a:lnTo>
                    <a:lnTo>
                      <a:pt x="749" y="313"/>
                    </a:lnTo>
                    <a:lnTo>
                      <a:pt x="733" y="322"/>
                    </a:lnTo>
                    <a:lnTo>
                      <a:pt x="730" y="329"/>
                    </a:lnTo>
                    <a:lnTo>
                      <a:pt x="728" y="330"/>
                    </a:lnTo>
                    <a:lnTo>
                      <a:pt x="724" y="334"/>
                    </a:lnTo>
                    <a:lnTo>
                      <a:pt x="716" y="336"/>
                    </a:lnTo>
                    <a:lnTo>
                      <a:pt x="712" y="334"/>
                    </a:lnTo>
                    <a:lnTo>
                      <a:pt x="708" y="334"/>
                    </a:lnTo>
                    <a:lnTo>
                      <a:pt x="707" y="336"/>
                    </a:lnTo>
                    <a:lnTo>
                      <a:pt x="703" y="347"/>
                    </a:lnTo>
                    <a:lnTo>
                      <a:pt x="710" y="355"/>
                    </a:lnTo>
                    <a:lnTo>
                      <a:pt x="712" y="355"/>
                    </a:lnTo>
                    <a:lnTo>
                      <a:pt x="716" y="355"/>
                    </a:lnTo>
                    <a:lnTo>
                      <a:pt x="716" y="359"/>
                    </a:lnTo>
                    <a:lnTo>
                      <a:pt x="719" y="359"/>
                    </a:lnTo>
                    <a:lnTo>
                      <a:pt x="719" y="361"/>
                    </a:lnTo>
                    <a:lnTo>
                      <a:pt x="723" y="364"/>
                    </a:lnTo>
                    <a:lnTo>
                      <a:pt x="724" y="370"/>
                    </a:lnTo>
                    <a:lnTo>
                      <a:pt x="726" y="373"/>
                    </a:lnTo>
                    <a:lnTo>
                      <a:pt x="733" y="375"/>
                    </a:lnTo>
                    <a:lnTo>
                      <a:pt x="739" y="375"/>
                    </a:lnTo>
                    <a:lnTo>
                      <a:pt x="740" y="370"/>
                    </a:lnTo>
                    <a:lnTo>
                      <a:pt x="744" y="368"/>
                    </a:lnTo>
                    <a:lnTo>
                      <a:pt x="748" y="364"/>
                    </a:lnTo>
                    <a:lnTo>
                      <a:pt x="753" y="361"/>
                    </a:lnTo>
                    <a:lnTo>
                      <a:pt x="755" y="361"/>
                    </a:lnTo>
                    <a:lnTo>
                      <a:pt x="762" y="366"/>
                    </a:lnTo>
                    <a:lnTo>
                      <a:pt x="764" y="366"/>
                    </a:lnTo>
                    <a:lnTo>
                      <a:pt x="767" y="370"/>
                    </a:lnTo>
                    <a:lnTo>
                      <a:pt x="773" y="368"/>
                    </a:lnTo>
                    <a:lnTo>
                      <a:pt x="774" y="368"/>
                    </a:lnTo>
                    <a:lnTo>
                      <a:pt x="778" y="370"/>
                    </a:lnTo>
                    <a:lnTo>
                      <a:pt x="782" y="370"/>
                    </a:lnTo>
                    <a:lnTo>
                      <a:pt x="783" y="370"/>
                    </a:lnTo>
                    <a:lnTo>
                      <a:pt x="783" y="373"/>
                    </a:lnTo>
                    <a:lnTo>
                      <a:pt x="782" y="377"/>
                    </a:lnTo>
                    <a:lnTo>
                      <a:pt x="782" y="379"/>
                    </a:lnTo>
                    <a:lnTo>
                      <a:pt x="778" y="380"/>
                    </a:lnTo>
                    <a:lnTo>
                      <a:pt x="778" y="380"/>
                    </a:lnTo>
                    <a:lnTo>
                      <a:pt x="776" y="377"/>
                    </a:lnTo>
                    <a:lnTo>
                      <a:pt x="774" y="379"/>
                    </a:lnTo>
                    <a:lnTo>
                      <a:pt x="773" y="379"/>
                    </a:lnTo>
                    <a:lnTo>
                      <a:pt x="771" y="380"/>
                    </a:lnTo>
                    <a:lnTo>
                      <a:pt x="769" y="382"/>
                    </a:lnTo>
                    <a:lnTo>
                      <a:pt x="762" y="384"/>
                    </a:lnTo>
                    <a:lnTo>
                      <a:pt x="758" y="386"/>
                    </a:lnTo>
                    <a:lnTo>
                      <a:pt x="755" y="386"/>
                    </a:lnTo>
                    <a:lnTo>
                      <a:pt x="757" y="389"/>
                    </a:lnTo>
                    <a:lnTo>
                      <a:pt x="755" y="389"/>
                    </a:lnTo>
                    <a:lnTo>
                      <a:pt x="753" y="391"/>
                    </a:lnTo>
                    <a:lnTo>
                      <a:pt x="751" y="395"/>
                    </a:lnTo>
                    <a:lnTo>
                      <a:pt x="749" y="397"/>
                    </a:lnTo>
                    <a:lnTo>
                      <a:pt x="748" y="393"/>
                    </a:lnTo>
                    <a:lnTo>
                      <a:pt x="744" y="393"/>
                    </a:lnTo>
                    <a:lnTo>
                      <a:pt x="742" y="395"/>
                    </a:lnTo>
                    <a:lnTo>
                      <a:pt x="746" y="398"/>
                    </a:lnTo>
                    <a:lnTo>
                      <a:pt x="742" y="402"/>
                    </a:lnTo>
                    <a:lnTo>
                      <a:pt x="737" y="405"/>
                    </a:lnTo>
                    <a:lnTo>
                      <a:pt x="730" y="420"/>
                    </a:lnTo>
                    <a:lnTo>
                      <a:pt x="730" y="422"/>
                    </a:lnTo>
                    <a:lnTo>
                      <a:pt x="746" y="430"/>
                    </a:lnTo>
                    <a:lnTo>
                      <a:pt x="748" y="432"/>
                    </a:lnTo>
                    <a:lnTo>
                      <a:pt x="748" y="438"/>
                    </a:lnTo>
                    <a:lnTo>
                      <a:pt x="751" y="439"/>
                    </a:lnTo>
                    <a:lnTo>
                      <a:pt x="757" y="461"/>
                    </a:lnTo>
                    <a:lnTo>
                      <a:pt x="758" y="464"/>
                    </a:lnTo>
                    <a:lnTo>
                      <a:pt x="764" y="466"/>
                    </a:lnTo>
                    <a:lnTo>
                      <a:pt x="764" y="470"/>
                    </a:lnTo>
                    <a:lnTo>
                      <a:pt x="771" y="479"/>
                    </a:lnTo>
                    <a:lnTo>
                      <a:pt x="771" y="480"/>
                    </a:lnTo>
                    <a:lnTo>
                      <a:pt x="762" y="477"/>
                    </a:lnTo>
                    <a:lnTo>
                      <a:pt x="758" y="477"/>
                    </a:lnTo>
                    <a:lnTo>
                      <a:pt x="751" y="473"/>
                    </a:lnTo>
                    <a:lnTo>
                      <a:pt x="744" y="475"/>
                    </a:lnTo>
                    <a:lnTo>
                      <a:pt x="744" y="477"/>
                    </a:lnTo>
                    <a:lnTo>
                      <a:pt x="751" y="475"/>
                    </a:lnTo>
                    <a:lnTo>
                      <a:pt x="753" y="475"/>
                    </a:lnTo>
                    <a:lnTo>
                      <a:pt x="753" y="479"/>
                    </a:lnTo>
                    <a:lnTo>
                      <a:pt x="757" y="479"/>
                    </a:lnTo>
                    <a:lnTo>
                      <a:pt x="760" y="480"/>
                    </a:lnTo>
                    <a:lnTo>
                      <a:pt x="764" y="484"/>
                    </a:lnTo>
                    <a:lnTo>
                      <a:pt x="767" y="486"/>
                    </a:lnTo>
                    <a:lnTo>
                      <a:pt x="773" y="493"/>
                    </a:lnTo>
                    <a:lnTo>
                      <a:pt x="771" y="495"/>
                    </a:lnTo>
                    <a:lnTo>
                      <a:pt x="767" y="495"/>
                    </a:lnTo>
                    <a:lnTo>
                      <a:pt x="764" y="498"/>
                    </a:lnTo>
                    <a:lnTo>
                      <a:pt x="758" y="500"/>
                    </a:lnTo>
                    <a:lnTo>
                      <a:pt x="758" y="502"/>
                    </a:lnTo>
                    <a:lnTo>
                      <a:pt x="755" y="504"/>
                    </a:lnTo>
                    <a:lnTo>
                      <a:pt x="748" y="505"/>
                    </a:lnTo>
                    <a:lnTo>
                      <a:pt x="744" y="505"/>
                    </a:lnTo>
                    <a:lnTo>
                      <a:pt x="748" y="505"/>
                    </a:lnTo>
                    <a:lnTo>
                      <a:pt x="755" y="509"/>
                    </a:lnTo>
                    <a:lnTo>
                      <a:pt x="760" y="505"/>
                    </a:lnTo>
                    <a:lnTo>
                      <a:pt x="762" y="507"/>
                    </a:lnTo>
                    <a:lnTo>
                      <a:pt x="765" y="509"/>
                    </a:lnTo>
                    <a:lnTo>
                      <a:pt x="765" y="511"/>
                    </a:lnTo>
                    <a:lnTo>
                      <a:pt x="769" y="513"/>
                    </a:lnTo>
                    <a:lnTo>
                      <a:pt x="773" y="513"/>
                    </a:lnTo>
                    <a:lnTo>
                      <a:pt x="773" y="513"/>
                    </a:lnTo>
                    <a:lnTo>
                      <a:pt x="765" y="520"/>
                    </a:lnTo>
                    <a:lnTo>
                      <a:pt x="765" y="520"/>
                    </a:lnTo>
                    <a:lnTo>
                      <a:pt x="771" y="518"/>
                    </a:lnTo>
                    <a:lnTo>
                      <a:pt x="771" y="525"/>
                    </a:lnTo>
                    <a:lnTo>
                      <a:pt x="769" y="523"/>
                    </a:lnTo>
                    <a:lnTo>
                      <a:pt x="769" y="525"/>
                    </a:lnTo>
                    <a:lnTo>
                      <a:pt x="765" y="525"/>
                    </a:lnTo>
                    <a:lnTo>
                      <a:pt x="765" y="527"/>
                    </a:lnTo>
                    <a:lnTo>
                      <a:pt x="765" y="530"/>
                    </a:lnTo>
                    <a:lnTo>
                      <a:pt x="765" y="534"/>
                    </a:lnTo>
                    <a:lnTo>
                      <a:pt x="764" y="534"/>
                    </a:lnTo>
                    <a:lnTo>
                      <a:pt x="764" y="539"/>
                    </a:lnTo>
                    <a:lnTo>
                      <a:pt x="762" y="545"/>
                    </a:lnTo>
                    <a:lnTo>
                      <a:pt x="762" y="543"/>
                    </a:lnTo>
                    <a:lnTo>
                      <a:pt x="760" y="541"/>
                    </a:lnTo>
                    <a:lnTo>
                      <a:pt x="758" y="543"/>
                    </a:lnTo>
                    <a:lnTo>
                      <a:pt x="749" y="555"/>
                    </a:lnTo>
                    <a:lnTo>
                      <a:pt x="749" y="557"/>
                    </a:lnTo>
                    <a:lnTo>
                      <a:pt x="746" y="563"/>
                    </a:lnTo>
                    <a:lnTo>
                      <a:pt x="742" y="568"/>
                    </a:lnTo>
                    <a:lnTo>
                      <a:pt x="742" y="572"/>
                    </a:lnTo>
                    <a:lnTo>
                      <a:pt x="739" y="573"/>
                    </a:lnTo>
                    <a:lnTo>
                      <a:pt x="739" y="573"/>
                    </a:lnTo>
                    <a:lnTo>
                      <a:pt x="739" y="568"/>
                    </a:lnTo>
                    <a:lnTo>
                      <a:pt x="737" y="570"/>
                    </a:lnTo>
                    <a:lnTo>
                      <a:pt x="733" y="572"/>
                    </a:lnTo>
                    <a:lnTo>
                      <a:pt x="737" y="575"/>
                    </a:lnTo>
                    <a:lnTo>
                      <a:pt x="737" y="577"/>
                    </a:lnTo>
                    <a:lnTo>
                      <a:pt x="735" y="582"/>
                    </a:lnTo>
                    <a:lnTo>
                      <a:pt x="735" y="582"/>
                    </a:lnTo>
                    <a:lnTo>
                      <a:pt x="733" y="586"/>
                    </a:lnTo>
                    <a:lnTo>
                      <a:pt x="733" y="588"/>
                    </a:lnTo>
                    <a:lnTo>
                      <a:pt x="732" y="588"/>
                    </a:lnTo>
                    <a:lnTo>
                      <a:pt x="732" y="589"/>
                    </a:lnTo>
                    <a:lnTo>
                      <a:pt x="733" y="591"/>
                    </a:lnTo>
                    <a:lnTo>
                      <a:pt x="732" y="593"/>
                    </a:lnTo>
                    <a:lnTo>
                      <a:pt x="730" y="591"/>
                    </a:lnTo>
                    <a:lnTo>
                      <a:pt x="728" y="591"/>
                    </a:lnTo>
                    <a:lnTo>
                      <a:pt x="728" y="593"/>
                    </a:lnTo>
                    <a:lnTo>
                      <a:pt x="728" y="595"/>
                    </a:lnTo>
                    <a:lnTo>
                      <a:pt x="726" y="597"/>
                    </a:lnTo>
                    <a:lnTo>
                      <a:pt x="726" y="597"/>
                    </a:lnTo>
                    <a:lnTo>
                      <a:pt x="724" y="597"/>
                    </a:lnTo>
                    <a:lnTo>
                      <a:pt x="723" y="602"/>
                    </a:lnTo>
                    <a:lnTo>
                      <a:pt x="721" y="602"/>
                    </a:lnTo>
                    <a:lnTo>
                      <a:pt x="719" y="605"/>
                    </a:lnTo>
                    <a:lnTo>
                      <a:pt x="719" y="607"/>
                    </a:lnTo>
                    <a:lnTo>
                      <a:pt x="714" y="607"/>
                    </a:lnTo>
                    <a:lnTo>
                      <a:pt x="712" y="607"/>
                    </a:lnTo>
                    <a:lnTo>
                      <a:pt x="708" y="609"/>
                    </a:lnTo>
                    <a:lnTo>
                      <a:pt x="708" y="611"/>
                    </a:lnTo>
                    <a:lnTo>
                      <a:pt x="710" y="613"/>
                    </a:lnTo>
                    <a:lnTo>
                      <a:pt x="708" y="614"/>
                    </a:lnTo>
                    <a:lnTo>
                      <a:pt x="705" y="618"/>
                    </a:lnTo>
                    <a:lnTo>
                      <a:pt x="703" y="618"/>
                    </a:lnTo>
                    <a:lnTo>
                      <a:pt x="703" y="622"/>
                    </a:lnTo>
                    <a:lnTo>
                      <a:pt x="701" y="620"/>
                    </a:lnTo>
                    <a:lnTo>
                      <a:pt x="701" y="622"/>
                    </a:lnTo>
                    <a:lnTo>
                      <a:pt x="699" y="623"/>
                    </a:lnTo>
                    <a:lnTo>
                      <a:pt x="699" y="623"/>
                    </a:lnTo>
                    <a:lnTo>
                      <a:pt x="698" y="623"/>
                    </a:lnTo>
                    <a:lnTo>
                      <a:pt x="696" y="625"/>
                    </a:lnTo>
                    <a:lnTo>
                      <a:pt x="694" y="625"/>
                    </a:lnTo>
                    <a:lnTo>
                      <a:pt x="692" y="625"/>
                    </a:lnTo>
                    <a:lnTo>
                      <a:pt x="687" y="634"/>
                    </a:lnTo>
                    <a:lnTo>
                      <a:pt x="676" y="639"/>
                    </a:lnTo>
                    <a:lnTo>
                      <a:pt x="671" y="638"/>
                    </a:lnTo>
                    <a:lnTo>
                      <a:pt x="671" y="639"/>
                    </a:lnTo>
                    <a:lnTo>
                      <a:pt x="669" y="639"/>
                    </a:lnTo>
                    <a:lnTo>
                      <a:pt x="667" y="641"/>
                    </a:lnTo>
                    <a:lnTo>
                      <a:pt x="666" y="639"/>
                    </a:lnTo>
                    <a:lnTo>
                      <a:pt x="666" y="638"/>
                    </a:lnTo>
                    <a:lnTo>
                      <a:pt x="664" y="638"/>
                    </a:lnTo>
                    <a:lnTo>
                      <a:pt x="662" y="639"/>
                    </a:lnTo>
                    <a:lnTo>
                      <a:pt x="660" y="641"/>
                    </a:lnTo>
                    <a:lnTo>
                      <a:pt x="658" y="641"/>
                    </a:lnTo>
                    <a:lnTo>
                      <a:pt x="657" y="639"/>
                    </a:lnTo>
                    <a:lnTo>
                      <a:pt x="657" y="639"/>
                    </a:lnTo>
                    <a:lnTo>
                      <a:pt x="655" y="639"/>
                    </a:lnTo>
                    <a:lnTo>
                      <a:pt x="655" y="643"/>
                    </a:lnTo>
                    <a:lnTo>
                      <a:pt x="655" y="64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26" name="Freeform 2477"/>
              <p:cNvSpPr>
                <a:spLocks/>
              </p:cNvSpPr>
              <p:nvPr/>
            </p:nvSpPr>
            <p:spPr bwMode="auto">
              <a:xfrm>
                <a:off x="3875" y="1702"/>
                <a:ext cx="978" cy="682"/>
              </a:xfrm>
              <a:custGeom>
                <a:avLst/>
                <a:gdLst>
                  <a:gd name="T0" fmla="*/ 644 w 978"/>
                  <a:gd name="T1" fmla="*/ 643 h 682"/>
                  <a:gd name="T2" fmla="*/ 623 w 978"/>
                  <a:gd name="T3" fmla="*/ 655 h 682"/>
                  <a:gd name="T4" fmla="*/ 587 w 978"/>
                  <a:gd name="T5" fmla="*/ 677 h 682"/>
                  <a:gd name="T6" fmla="*/ 557 w 978"/>
                  <a:gd name="T7" fmla="*/ 659 h 682"/>
                  <a:gd name="T8" fmla="*/ 517 w 978"/>
                  <a:gd name="T9" fmla="*/ 638 h 682"/>
                  <a:gd name="T10" fmla="*/ 467 w 978"/>
                  <a:gd name="T11" fmla="*/ 643 h 682"/>
                  <a:gd name="T12" fmla="*/ 449 w 978"/>
                  <a:gd name="T13" fmla="*/ 663 h 682"/>
                  <a:gd name="T14" fmla="*/ 403 w 978"/>
                  <a:gd name="T15" fmla="*/ 620 h 682"/>
                  <a:gd name="T16" fmla="*/ 398 w 978"/>
                  <a:gd name="T17" fmla="*/ 555 h 682"/>
                  <a:gd name="T18" fmla="*/ 364 w 978"/>
                  <a:gd name="T19" fmla="*/ 538 h 682"/>
                  <a:gd name="T20" fmla="*/ 326 w 978"/>
                  <a:gd name="T21" fmla="*/ 529 h 682"/>
                  <a:gd name="T22" fmla="*/ 267 w 978"/>
                  <a:gd name="T23" fmla="*/ 543 h 682"/>
                  <a:gd name="T24" fmla="*/ 242 w 978"/>
                  <a:gd name="T25" fmla="*/ 552 h 682"/>
                  <a:gd name="T26" fmla="*/ 219 w 978"/>
                  <a:gd name="T27" fmla="*/ 550 h 682"/>
                  <a:gd name="T28" fmla="*/ 194 w 978"/>
                  <a:gd name="T29" fmla="*/ 547 h 682"/>
                  <a:gd name="T30" fmla="*/ 173 w 978"/>
                  <a:gd name="T31" fmla="*/ 534 h 682"/>
                  <a:gd name="T32" fmla="*/ 162 w 978"/>
                  <a:gd name="T33" fmla="*/ 525 h 682"/>
                  <a:gd name="T34" fmla="*/ 123 w 978"/>
                  <a:gd name="T35" fmla="*/ 505 h 682"/>
                  <a:gd name="T36" fmla="*/ 105 w 978"/>
                  <a:gd name="T37" fmla="*/ 498 h 682"/>
                  <a:gd name="T38" fmla="*/ 87 w 978"/>
                  <a:gd name="T39" fmla="*/ 491 h 682"/>
                  <a:gd name="T40" fmla="*/ 82 w 978"/>
                  <a:gd name="T41" fmla="*/ 473 h 682"/>
                  <a:gd name="T42" fmla="*/ 87 w 978"/>
                  <a:gd name="T43" fmla="*/ 466 h 682"/>
                  <a:gd name="T44" fmla="*/ 92 w 978"/>
                  <a:gd name="T45" fmla="*/ 452 h 682"/>
                  <a:gd name="T46" fmla="*/ 87 w 978"/>
                  <a:gd name="T47" fmla="*/ 436 h 682"/>
                  <a:gd name="T48" fmla="*/ 103 w 978"/>
                  <a:gd name="T49" fmla="*/ 420 h 682"/>
                  <a:gd name="T50" fmla="*/ 100 w 978"/>
                  <a:gd name="T51" fmla="*/ 404 h 682"/>
                  <a:gd name="T52" fmla="*/ 89 w 978"/>
                  <a:gd name="T53" fmla="*/ 397 h 682"/>
                  <a:gd name="T54" fmla="*/ 46 w 978"/>
                  <a:gd name="T55" fmla="*/ 400 h 682"/>
                  <a:gd name="T56" fmla="*/ 37 w 978"/>
                  <a:gd name="T57" fmla="*/ 393 h 682"/>
                  <a:gd name="T58" fmla="*/ 23 w 978"/>
                  <a:gd name="T59" fmla="*/ 377 h 682"/>
                  <a:gd name="T60" fmla="*/ 21 w 978"/>
                  <a:gd name="T61" fmla="*/ 372 h 682"/>
                  <a:gd name="T62" fmla="*/ 16 w 978"/>
                  <a:gd name="T63" fmla="*/ 309 h 682"/>
                  <a:gd name="T64" fmla="*/ 80 w 978"/>
                  <a:gd name="T65" fmla="*/ 284 h 682"/>
                  <a:gd name="T66" fmla="*/ 137 w 978"/>
                  <a:gd name="T67" fmla="*/ 191 h 682"/>
                  <a:gd name="T68" fmla="*/ 210 w 978"/>
                  <a:gd name="T69" fmla="*/ 122 h 682"/>
                  <a:gd name="T70" fmla="*/ 262 w 978"/>
                  <a:gd name="T71" fmla="*/ 143 h 682"/>
                  <a:gd name="T72" fmla="*/ 446 w 978"/>
                  <a:gd name="T73" fmla="*/ 259 h 682"/>
                  <a:gd name="T74" fmla="*/ 557 w 978"/>
                  <a:gd name="T75" fmla="*/ 263 h 682"/>
                  <a:gd name="T76" fmla="*/ 626 w 978"/>
                  <a:gd name="T77" fmla="*/ 211 h 682"/>
                  <a:gd name="T78" fmla="*/ 726 w 978"/>
                  <a:gd name="T79" fmla="*/ 150 h 682"/>
                  <a:gd name="T80" fmla="*/ 707 w 978"/>
                  <a:gd name="T81" fmla="*/ 100 h 682"/>
                  <a:gd name="T82" fmla="*/ 749 w 978"/>
                  <a:gd name="T83" fmla="*/ 25 h 682"/>
                  <a:gd name="T84" fmla="*/ 837 w 978"/>
                  <a:gd name="T85" fmla="*/ 25 h 682"/>
                  <a:gd name="T86" fmla="*/ 907 w 978"/>
                  <a:gd name="T87" fmla="*/ 114 h 682"/>
                  <a:gd name="T88" fmla="*/ 960 w 978"/>
                  <a:gd name="T89" fmla="*/ 134 h 682"/>
                  <a:gd name="T90" fmla="*/ 932 w 978"/>
                  <a:gd name="T91" fmla="*/ 202 h 682"/>
                  <a:gd name="T92" fmla="*/ 873 w 978"/>
                  <a:gd name="T93" fmla="*/ 275 h 682"/>
                  <a:gd name="T94" fmla="*/ 780 w 978"/>
                  <a:gd name="T95" fmla="*/ 329 h 682"/>
                  <a:gd name="T96" fmla="*/ 765 w 978"/>
                  <a:gd name="T97" fmla="*/ 325 h 682"/>
                  <a:gd name="T98" fmla="*/ 730 w 978"/>
                  <a:gd name="T99" fmla="*/ 329 h 682"/>
                  <a:gd name="T100" fmla="*/ 719 w 978"/>
                  <a:gd name="T101" fmla="*/ 361 h 682"/>
                  <a:gd name="T102" fmla="*/ 767 w 978"/>
                  <a:gd name="T103" fmla="*/ 370 h 682"/>
                  <a:gd name="T104" fmla="*/ 773 w 978"/>
                  <a:gd name="T105" fmla="*/ 379 h 682"/>
                  <a:gd name="T106" fmla="*/ 742 w 978"/>
                  <a:gd name="T107" fmla="*/ 395 h 682"/>
                  <a:gd name="T108" fmla="*/ 764 w 978"/>
                  <a:gd name="T109" fmla="*/ 470 h 682"/>
                  <a:gd name="T110" fmla="*/ 764 w 978"/>
                  <a:gd name="T111" fmla="*/ 484 h 682"/>
                  <a:gd name="T112" fmla="*/ 760 w 978"/>
                  <a:gd name="T113" fmla="*/ 505 h 682"/>
                  <a:gd name="T114" fmla="*/ 765 w 978"/>
                  <a:gd name="T115" fmla="*/ 525 h 682"/>
                  <a:gd name="T116" fmla="*/ 742 w 978"/>
                  <a:gd name="T117" fmla="*/ 568 h 682"/>
                  <a:gd name="T118" fmla="*/ 732 w 978"/>
                  <a:gd name="T119" fmla="*/ 588 h 682"/>
                  <a:gd name="T120" fmla="*/ 719 w 978"/>
                  <a:gd name="T121" fmla="*/ 605 h 682"/>
                  <a:gd name="T122" fmla="*/ 699 w 978"/>
                  <a:gd name="T123" fmla="*/ 623 h 682"/>
                  <a:gd name="T124" fmla="*/ 666 w 978"/>
                  <a:gd name="T125" fmla="*/ 638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78" h="682">
                    <a:moveTo>
                      <a:pt x="655" y="643"/>
                    </a:moveTo>
                    <a:lnTo>
                      <a:pt x="653" y="645"/>
                    </a:lnTo>
                    <a:lnTo>
                      <a:pt x="653" y="643"/>
                    </a:lnTo>
                    <a:lnTo>
                      <a:pt x="653" y="643"/>
                    </a:lnTo>
                    <a:lnTo>
                      <a:pt x="651" y="641"/>
                    </a:lnTo>
                    <a:lnTo>
                      <a:pt x="649" y="643"/>
                    </a:lnTo>
                    <a:lnTo>
                      <a:pt x="648" y="643"/>
                    </a:lnTo>
                    <a:lnTo>
                      <a:pt x="648" y="643"/>
                    </a:lnTo>
                    <a:lnTo>
                      <a:pt x="649" y="645"/>
                    </a:lnTo>
                    <a:lnTo>
                      <a:pt x="644" y="647"/>
                    </a:lnTo>
                    <a:lnTo>
                      <a:pt x="644" y="645"/>
                    </a:lnTo>
                    <a:lnTo>
                      <a:pt x="644" y="645"/>
                    </a:lnTo>
                    <a:lnTo>
                      <a:pt x="644" y="643"/>
                    </a:lnTo>
                    <a:lnTo>
                      <a:pt x="641" y="641"/>
                    </a:lnTo>
                    <a:lnTo>
                      <a:pt x="639" y="639"/>
                    </a:lnTo>
                    <a:lnTo>
                      <a:pt x="637" y="638"/>
                    </a:lnTo>
                    <a:lnTo>
                      <a:pt x="637" y="648"/>
                    </a:lnTo>
                    <a:lnTo>
                      <a:pt x="637" y="648"/>
                    </a:lnTo>
                    <a:lnTo>
                      <a:pt x="635" y="648"/>
                    </a:lnTo>
                    <a:lnTo>
                      <a:pt x="632" y="643"/>
                    </a:lnTo>
                    <a:lnTo>
                      <a:pt x="630" y="641"/>
                    </a:lnTo>
                    <a:lnTo>
                      <a:pt x="628" y="648"/>
                    </a:lnTo>
                    <a:lnTo>
                      <a:pt x="628" y="652"/>
                    </a:lnTo>
                    <a:lnTo>
                      <a:pt x="628" y="654"/>
                    </a:lnTo>
                    <a:lnTo>
                      <a:pt x="626" y="654"/>
                    </a:lnTo>
                    <a:lnTo>
                      <a:pt x="623" y="655"/>
                    </a:lnTo>
                    <a:lnTo>
                      <a:pt x="619" y="655"/>
                    </a:lnTo>
                    <a:lnTo>
                      <a:pt x="617" y="657"/>
                    </a:lnTo>
                    <a:lnTo>
                      <a:pt x="614" y="657"/>
                    </a:lnTo>
                    <a:lnTo>
                      <a:pt x="614" y="655"/>
                    </a:lnTo>
                    <a:lnTo>
                      <a:pt x="610" y="655"/>
                    </a:lnTo>
                    <a:lnTo>
                      <a:pt x="607" y="659"/>
                    </a:lnTo>
                    <a:lnTo>
                      <a:pt x="599" y="661"/>
                    </a:lnTo>
                    <a:lnTo>
                      <a:pt x="598" y="661"/>
                    </a:lnTo>
                    <a:lnTo>
                      <a:pt x="598" y="661"/>
                    </a:lnTo>
                    <a:lnTo>
                      <a:pt x="591" y="664"/>
                    </a:lnTo>
                    <a:lnTo>
                      <a:pt x="587" y="663"/>
                    </a:lnTo>
                    <a:lnTo>
                      <a:pt x="583" y="670"/>
                    </a:lnTo>
                    <a:lnTo>
                      <a:pt x="587" y="677"/>
                    </a:lnTo>
                    <a:lnTo>
                      <a:pt x="587" y="679"/>
                    </a:lnTo>
                    <a:lnTo>
                      <a:pt x="583" y="682"/>
                    </a:lnTo>
                    <a:lnTo>
                      <a:pt x="580" y="680"/>
                    </a:lnTo>
                    <a:lnTo>
                      <a:pt x="574" y="668"/>
                    </a:lnTo>
                    <a:lnTo>
                      <a:pt x="576" y="661"/>
                    </a:lnTo>
                    <a:lnTo>
                      <a:pt x="576" y="659"/>
                    </a:lnTo>
                    <a:lnTo>
                      <a:pt x="571" y="663"/>
                    </a:lnTo>
                    <a:lnTo>
                      <a:pt x="567" y="663"/>
                    </a:lnTo>
                    <a:lnTo>
                      <a:pt x="566" y="661"/>
                    </a:lnTo>
                    <a:lnTo>
                      <a:pt x="566" y="659"/>
                    </a:lnTo>
                    <a:lnTo>
                      <a:pt x="558" y="657"/>
                    </a:lnTo>
                    <a:lnTo>
                      <a:pt x="557" y="657"/>
                    </a:lnTo>
                    <a:lnTo>
                      <a:pt x="557" y="659"/>
                    </a:lnTo>
                    <a:lnTo>
                      <a:pt x="553" y="661"/>
                    </a:lnTo>
                    <a:lnTo>
                      <a:pt x="553" y="663"/>
                    </a:lnTo>
                    <a:lnTo>
                      <a:pt x="553" y="659"/>
                    </a:lnTo>
                    <a:lnTo>
                      <a:pt x="548" y="661"/>
                    </a:lnTo>
                    <a:lnTo>
                      <a:pt x="546" y="659"/>
                    </a:lnTo>
                    <a:lnTo>
                      <a:pt x="537" y="659"/>
                    </a:lnTo>
                    <a:lnTo>
                      <a:pt x="537" y="657"/>
                    </a:lnTo>
                    <a:lnTo>
                      <a:pt x="530" y="654"/>
                    </a:lnTo>
                    <a:lnTo>
                      <a:pt x="528" y="650"/>
                    </a:lnTo>
                    <a:lnTo>
                      <a:pt x="526" y="647"/>
                    </a:lnTo>
                    <a:lnTo>
                      <a:pt x="528" y="641"/>
                    </a:lnTo>
                    <a:lnTo>
                      <a:pt x="526" y="639"/>
                    </a:lnTo>
                    <a:lnTo>
                      <a:pt x="517" y="638"/>
                    </a:lnTo>
                    <a:lnTo>
                      <a:pt x="505" y="632"/>
                    </a:lnTo>
                    <a:lnTo>
                      <a:pt x="503" y="632"/>
                    </a:lnTo>
                    <a:lnTo>
                      <a:pt x="496" y="638"/>
                    </a:lnTo>
                    <a:lnTo>
                      <a:pt x="491" y="639"/>
                    </a:lnTo>
                    <a:lnTo>
                      <a:pt x="489" y="639"/>
                    </a:lnTo>
                    <a:lnTo>
                      <a:pt x="485" y="641"/>
                    </a:lnTo>
                    <a:lnTo>
                      <a:pt x="483" y="643"/>
                    </a:lnTo>
                    <a:lnTo>
                      <a:pt x="482" y="641"/>
                    </a:lnTo>
                    <a:lnTo>
                      <a:pt x="478" y="641"/>
                    </a:lnTo>
                    <a:lnTo>
                      <a:pt x="476" y="639"/>
                    </a:lnTo>
                    <a:lnTo>
                      <a:pt x="474" y="641"/>
                    </a:lnTo>
                    <a:lnTo>
                      <a:pt x="469" y="643"/>
                    </a:lnTo>
                    <a:lnTo>
                      <a:pt x="467" y="643"/>
                    </a:lnTo>
                    <a:lnTo>
                      <a:pt x="466" y="641"/>
                    </a:lnTo>
                    <a:lnTo>
                      <a:pt x="462" y="641"/>
                    </a:lnTo>
                    <a:lnTo>
                      <a:pt x="462" y="639"/>
                    </a:lnTo>
                    <a:lnTo>
                      <a:pt x="460" y="639"/>
                    </a:lnTo>
                    <a:lnTo>
                      <a:pt x="457" y="645"/>
                    </a:lnTo>
                    <a:lnTo>
                      <a:pt x="457" y="645"/>
                    </a:lnTo>
                    <a:lnTo>
                      <a:pt x="455" y="645"/>
                    </a:lnTo>
                    <a:lnTo>
                      <a:pt x="455" y="643"/>
                    </a:lnTo>
                    <a:lnTo>
                      <a:pt x="449" y="643"/>
                    </a:lnTo>
                    <a:lnTo>
                      <a:pt x="448" y="645"/>
                    </a:lnTo>
                    <a:lnTo>
                      <a:pt x="448" y="654"/>
                    </a:lnTo>
                    <a:lnTo>
                      <a:pt x="449" y="659"/>
                    </a:lnTo>
                    <a:lnTo>
                      <a:pt x="449" y="663"/>
                    </a:lnTo>
                    <a:lnTo>
                      <a:pt x="448" y="664"/>
                    </a:lnTo>
                    <a:lnTo>
                      <a:pt x="442" y="664"/>
                    </a:lnTo>
                    <a:lnTo>
                      <a:pt x="439" y="655"/>
                    </a:lnTo>
                    <a:lnTo>
                      <a:pt x="437" y="655"/>
                    </a:lnTo>
                    <a:lnTo>
                      <a:pt x="432" y="659"/>
                    </a:lnTo>
                    <a:lnTo>
                      <a:pt x="426" y="659"/>
                    </a:lnTo>
                    <a:lnTo>
                      <a:pt x="421" y="654"/>
                    </a:lnTo>
                    <a:lnTo>
                      <a:pt x="419" y="652"/>
                    </a:lnTo>
                    <a:lnTo>
                      <a:pt x="410" y="648"/>
                    </a:lnTo>
                    <a:lnTo>
                      <a:pt x="414" y="636"/>
                    </a:lnTo>
                    <a:lnTo>
                      <a:pt x="405" y="630"/>
                    </a:lnTo>
                    <a:lnTo>
                      <a:pt x="405" y="623"/>
                    </a:lnTo>
                    <a:lnTo>
                      <a:pt x="403" y="620"/>
                    </a:lnTo>
                    <a:lnTo>
                      <a:pt x="403" y="616"/>
                    </a:lnTo>
                    <a:lnTo>
                      <a:pt x="392" y="616"/>
                    </a:lnTo>
                    <a:lnTo>
                      <a:pt x="385" y="623"/>
                    </a:lnTo>
                    <a:lnTo>
                      <a:pt x="383" y="622"/>
                    </a:lnTo>
                    <a:lnTo>
                      <a:pt x="385" y="616"/>
                    </a:lnTo>
                    <a:lnTo>
                      <a:pt x="387" y="614"/>
                    </a:lnTo>
                    <a:lnTo>
                      <a:pt x="385" y="609"/>
                    </a:lnTo>
                    <a:lnTo>
                      <a:pt x="389" y="600"/>
                    </a:lnTo>
                    <a:lnTo>
                      <a:pt x="391" y="597"/>
                    </a:lnTo>
                    <a:lnTo>
                      <a:pt x="392" y="593"/>
                    </a:lnTo>
                    <a:lnTo>
                      <a:pt x="394" y="593"/>
                    </a:lnTo>
                    <a:lnTo>
                      <a:pt x="399" y="582"/>
                    </a:lnTo>
                    <a:lnTo>
                      <a:pt x="398" y="555"/>
                    </a:lnTo>
                    <a:lnTo>
                      <a:pt x="394" y="555"/>
                    </a:lnTo>
                    <a:lnTo>
                      <a:pt x="392" y="552"/>
                    </a:lnTo>
                    <a:lnTo>
                      <a:pt x="391" y="547"/>
                    </a:lnTo>
                    <a:lnTo>
                      <a:pt x="387" y="543"/>
                    </a:lnTo>
                    <a:lnTo>
                      <a:pt x="383" y="541"/>
                    </a:lnTo>
                    <a:lnTo>
                      <a:pt x="383" y="541"/>
                    </a:lnTo>
                    <a:lnTo>
                      <a:pt x="382" y="543"/>
                    </a:lnTo>
                    <a:lnTo>
                      <a:pt x="380" y="545"/>
                    </a:lnTo>
                    <a:lnTo>
                      <a:pt x="378" y="541"/>
                    </a:lnTo>
                    <a:lnTo>
                      <a:pt x="374" y="539"/>
                    </a:lnTo>
                    <a:lnTo>
                      <a:pt x="371" y="539"/>
                    </a:lnTo>
                    <a:lnTo>
                      <a:pt x="369" y="538"/>
                    </a:lnTo>
                    <a:lnTo>
                      <a:pt x="364" y="538"/>
                    </a:lnTo>
                    <a:lnTo>
                      <a:pt x="364" y="530"/>
                    </a:lnTo>
                    <a:lnTo>
                      <a:pt x="360" y="529"/>
                    </a:lnTo>
                    <a:lnTo>
                      <a:pt x="360" y="525"/>
                    </a:lnTo>
                    <a:lnTo>
                      <a:pt x="360" y="523"/>
                    </a:lnTo>
                    <a:lnTo>
                      <a:pt x="357" y="520"/>
                    </a:lnTo>
                    <a:lnTo>
                      <a:pt x="353" y="522"/>
                    </a:lnTo>
                    <a:lnTo>
                      <a:pt x="349" y="523"/>
                    </a:lnTo>
                    <a:lnTo>
                      <a:pt x="346" y="525"/>
                    </a:lnTo>
                    <a:lnTo>
                      <a:pt x="337" y="525"/>
                    </a:lnTo>
                    <a:lnTo>
                      <a:pt x="335" y="523"/>
                    </a:lnTo>
                    <a:lnTo>
                      <a:pt x="333" y="523"/>
                    </a:lnTo>
                    <a:lnTo>
                      <a:pt x="328" y="527"/>
                    </a:lnTo>
                    <a:lnTo>
                      <a:pt x="326" y="529"/>
                    </a:lnTo>
                    <a:lnTo>
                      <a:pt x="321" y="534"/>
                    </a:lnTo>
                    <a:lnTo>
                      <a:pt x="317" y="536"/>
                    </a:lnTo>
                    <a:lnTo>
                      <a:pt x="310" y="543"/>
                    </a:lnTo>
                    <a:lnTo>
                      <a:pt x="289" y="550"/>
                    </a:lnTo>
                    <a:lnTo>
                      <a:pt x="289" y="550"/>
                    </a:lnTo>
                    <a:lnTo>
                      <a:pt x="289" y="550"/>
                    </a:lnTo>
                    <a:lnTo>
                      <a:pt x="285" y="548"/>
                    </a:lnTo>
                    <a:lnTo>
                      <a:pt x="283" y="547"/>
                    </a:lnTo>
                    <a:lnTo>
                      <a:pt x="283" y="547"/>
                    </a:lnTo>
                    <a:lnTo>
                      <a:pt x="280" y="548"/>
                    </a:lnTo>
                    <a:lnTo>
                      <a:pt x="269" y="547"/>
                    </a:lnTo>
                    <a:lnTo>
                      <a:pt x="267" y="545"/>
                    </a:lnTo>
                    <a:lnTo>
                      <a:pt x="267" y="543"/>
                    </a:lnTo>
                    <a:lnTo>
                      <a:pt x="266" y="543"/>
                    </a:lnTo>
                    <a:lnTo>
                      <a:pt x="264" y="541"/>
                    </a:lnTo>
                    <a:lnTo>
                      <a:pt x="260" y="541"/>
                    </a:lnTo>
                    <a:lnTo>
                      <a:pt x="257" y="543"/>
                    </a:lnTo>
                    <a:lnTo>
                      <a:pt x="253" y="547"/>
                    </a:lnTo>
                    <a:lnTo>
                      <a:pt x="251" y="552"/>
                    </a:lnTo>
                    <a:lnTo>
                      <a:pt x="244" y="557"/>
                    </a:lnTo>
                    <a:lnTo>
                      <a:pt x="244" y="559"/>
                    </a:lnTo>
                    <a:lnTo>
                      <a:pt x="242" y="559"/>
                    </a:lnTo>
                    <a:lnTo>
                      <a:pt x="241" y="559"/>
                    </a:lnTo>
                    <a:lnTo>
                      <a:pt x="241" y="557"/>
                    </a:lnTo>
                    <a:lnTo>
                      <a:pt x="241" y="555"/>
                    </a:lnTo>
                    <a:lnTo>
                      <a:pt x="242" y="552"/>
                    </a:lnTo>
                    <a:lnTo>
                      <a:pt x="241" y="547"/>
                    </a:lnTo>
                    <a:lnTo>
                      <a:pt x="241" y="547"/>
                    </a:lnTo>
                    <a:lnTo>
                      <a:pt x="239" y="545"/>
                    </a:lnTo>
                    <a:lnTo>
                      <a:pt x="239" y="547"/>
                    </a:lnTo>
                    <a:lnTo>
                      <a:pt x="235" y="548"/>
                    </a:lnTo>
                    <a:lnTo>
                      <a:pt x="233" y="548"/>
                    </a:lnTo>
                    <a:lnTo>
                      <a:pt x="230" y="548"/>
                    </a:lnTo>
                    <a:lnTo>
                      <a:pt x="230" y="548"/>
                    </a:lnTo>
                    <a:lnTo>
                      <a:pt x="230" y="548"/>
                    </a:lnTo>
                    <a:lnTo>
                      <a:pt x="226" y="548"/>
                    </a:lnTo>
                    <a:lnTo>
                      <a:pt x="226" y="552"/>
                    </a:lnTo>
                    <a:lnTo>
                      <a:pt x="221" y="550"/>
                    </a:lnTo>
                    <a:lnTo>
                      <a:pt x="219" y="550"/>
                    </a:lnTo>
                    <a:lnTo>
                      <a:pt x="217" y="550"/>
                    </a:lnTo>
                    <a:lnTo>
                      <a:pt x="212" y="548"/>
                    </a:lnTo>
                    <a:lnTo>
                      <a:pt x="210" y="547"/>
                    </a:lnTo>
                    <a:lnTo>
                      <a:pt x="207" y="547"/>
                    </a:lnTo>
                    <a:lnTo>
                      <a:pt x="207" y="547"/>
                    </a:lnTo>
                    <a:lnTo>
                      <a:pt x="205" y="548"/>
                    </a:lnTo>
                    <a:lnTo>
                      <a:pt x="205" y="548"/>
                    </a:lnTo>
                    <a:lnTo>
                      <a:pt x="203" y="548"/>
                    </a:lnTo>
                    <a:lnTo>
                      <a:pt x="201" y="548"/>
                    </a:lnTo>
                    <a:lnTo>
                      <a:pt x="199" y="548"/>
                    </a:lnTo>
                    <a:lnTo>
                      <a:pt x="198" y="548"/>
                    </a:lnTo>
                    <a:lnTo>
                      <a:pt x="196" y="548"/>
                    </a:lnTo>
                    <a:lnTo>
                      <a:pt x="194" y="547"/>
                    </a:lnTo>
                    <a:lnTo>
                      <a:pt x="194" y="545"/>
                    </a:lnTo>
                    <a:lnTo>
                      <a:pt x="192" y="543"/>
                    </a:lnTo>
                    <a:lnTo>
                      <a:pt x="191" y="543"/>
                    </a:lnTo>
                    <a:lnTo>
                      <a:pt x="187" y="543"/>
                    </a:lnTo>
                    <a:lnTo>
                      <a:pt x="183" y="541"/>
                    </a:lnTo>
                    <a:lnTo>
                      <a:pt x="183" y="539"/>
                    </a:lnTo>
                    <a:lnTo>
                      <a:pt x="183" y="536"/>
                    </a:lnTo>
                    <a:lnTo>
                      <a:pt x="183" y="536"/>
                    </a:lnTo>
                    <a:lnTo>
                      <a:pt x="182" y="536"/>
                    </a:lnTo>
                    <a:lnTo>
                      <a:pt x="178" y="536"/>
                    </a:lnTo>
                    <a:lnTo>
                      <a:pt x="176" y="536"/>
                    </a:lnTo>
                    <a:lnTo>
                      <a:pt x="174" y="536"/>
                    </a:lnTo>
                    <a:lnTo>
                      <a:pt x="173" y="534"/>
                    </a:lnTo>
                    <a:lnTo>
                      <a:pt x="171" y="534"/>
                    </a:lnTo>
                    <a:lnTo>
                      <a:pt x="171" y="534"/>
                    </a:lnTo>
                    <a:lnTo>
                      <a:pt x="169" y="532"/>
                    </a:lnTo>
                    <a:lnTo>
                      <a:pt x="167" y="532"/>
                    </a:lnTo>
                    <a:lnTo>
                      <a:pt x="167" y="532"/>
                    </a:lnTo>
                    <a:lnTo>
                      <a:pt x="169" y="529"/>
                    </a:lnTo>
                    <a:lnTo>
                      <a:pt x="167" y="527"/>
                    </a:lnTo>
                    <a:lnTo>
                      <a:pt x="169" y="525"/>
                    </a:lnTo>
                    <a:lnTo>
                      <a:pt x="169" y="523"/>
                    </a:lnTo>
                    <a:lnTo>
                      <a:pt x="167" y="523"/>
                    </a:lnTo>
                    <a:lnTo>
                      <a:pt x="166" y="523"/>
                    </a:lnTo>
                    <a:lnTo>
                      <a:pt x="164" y="523"/>
                    </a:lnTo>
                    <a:lnTo>
                      <a:pt x="162" y="525"/>
                    </a:lnTo>
                    <a:lnTo>
                      <a:pt x="162" y="525"/>
                    </a:lnTo>
                    <a:lnTo>
                      <a:pt x="162" y="527"/>
                    </a:lnTo>
                    <a:lnTo>
                      <a:pt x="160" y="527"/>
                    </a:lnTo>
                    <a:lnTo>
                      <a:pt x="160" y="529"/>
                    </a:lnTo>
                    <a:lnTo>
                      <a:pt x="157" y="527"/>
                    </a:lnTo>
                    <a:lnTo>
                      <a:pt x="155" y="527"/>
                    </a:lnTo>
                    <a:lnTo>
                      <a:pt x="155" y="522"/>
                    </a:lnTo>
                    <a:lnTo>
                      <a:pt x="150" y="516"/>
                    </a:lnTo>
                    <a:lnTo>
                      <a:pt x="146" y="514"/>
                    </a:lnTo>
                    <a:lnTo>
                      <a:pt x="141" y="509"/>
                    </a:lnTo>
                    <a:lnTo>
                      <a:pt x="128" y="505"/>
                    </a:lnTo>
                    <a:lnTo>
                      <a:pt x="128" y="505"/>
                    </a:lnTo>
                    <a:lnTo>
                      <a:pt x="123" y="505"/>
                    </a:lnTo>
                    <a:lnTo>
                      <a:pt x="123" y="505"/>
                    </a:lnTo>
                    <a:lnTo>
                      <a:pt x="123" y="507"/>
                    </a:lnTo>
                    <a:lnTo>
                      <a:pt x="121" y="509"/>
                    </a:lnTo>
                    <a:lnTo>
                      <a:pt x="123" y="509"/>
                    </a:lnTo>
                    <a:lnTo>
                      <a:pt x="121" y="511"/>
                    </a:lnTo>
                    <a:lnTo>
                      <a:pt x="119" y="507"/>
                    </a:lnTo>
                    <a:lnTo>
                      <a:pt x="119" y="507"/>
                    </a:lnTo>
                    <a:lnTo>
                      <a:pt x="117" y="505"/>
                    </a:lnTo>
                    <a:lnTo>
                      <a:pt x="112" y="504"/>
                    </a:lnTo>
                    <a:lnTo>
                      <a:pt x="112" y="504"/>
                    </a:lnTo>
                    <a:lnTo>
                      <a:pt x="110" y="502"/>
                    </a:lnTo>
                    <a:lnTo>
                      <a:pt x="108" y="502"/>
                    </a:lnTo>
                    <a:lnTo>
                      <a:pt x="105" y="498"/>
                    </a:lnTo>
                    <a:lnTo>
                      <a:pt x="101" y="498"/>
                    </a:lnTo>
                    <a:lnTo>
                      <a:pt x="101" y="497"/>
                    </a:lnTo>
                    <a:lnTo>
                      <a:pt x="101" y="495"/>
                    </a:lnTo>
                    <a:lnTo>
                      <a:pt x="100" y="495"/>
                    </a:lnTo>
                    <a:lnTo>
                      <a:pt x="100" y="495"/>
                    </a:lnTo>
                    <a:lnTo>
                      <a:pt x="98" y="493"/>
                    </a:lnTo>
                    <a:lnTo>
                      <a:pt x="98" y="493"/>
                    </a:lnTo>
                    <a:lnTo>
                      <a:pt x="94" y="495"/>
                    </a:lnTo>
                    <a:lnTo>
                      <a:pt x="94" y="493"/>
                    </a:lnTo>
                    <a:lnTo>
                      <a:pt x="94" y="491"/>
                    </a:lnTo>
                    <a:lnTo>
                      <a:pt x="94" y="491"/>
                    </a:lnTo>
                    <a:lnTo>
                      <a:pt x="92" y="491"/>
                    </a:lnTo>
                    <a:lnTo>
                      <a:pt x="87" y="491"/>
                    </a:lnTo>
                    <a:lnTo>
                      <a:pt x="85" y="493"/>
                    </a:lnTo>
                    <a:lnTo>
                      <a:pt x="85" y="493"/>
                    </a:lnTo>
                    <a:lnTo>
                      <a:pt x="83" y="491"/>
                    </a:lnTo>
                    <a:lnTo>
                      <a:pt x="85" y="489"/>
                    </a:lnTo>
                    <a:lnTo>
                      <a:pt x="83" y="488"/>
                    </a:lnTo>
                    <a:lnTo>
                      <a:pt x="82" y="486"/>
                    </a:lnTo>
                    <a:lnTo>
                      <a:pt x="82" y="486"/>
                    </a:lnTo>
                    <a:lnTo>
                      <a:pt x="80" y="484"/>
                    </a:lnTo>
                    <a:lnTo>
                      <a:pt x="80" y="482"/>
                    </a:lnTo>
                    <a:lnTo>
                      <a:pt x="82" y="480"/>
                    </a:lnTo>
                    <a:lnTo>
                      <a:pt x="80" y="479"/>
                    </a:lnTo>
                    <a:lnTo>
                      <a:pt x="80" y="475"/>
                    </a:lnTo>
                    <a:lnTo>
                      <a:pt x="82" y="473"/>
                    </a:lnTo>
                    <a:lnTo>
                      <a:pt x="76" y="468"/>
                    </a:lnTo>
                    <a:lnTo>
                      <a:pt x="76" y="466"/>
                    </a:lnTo>
                    <a:lnTo>
                      <a:pt x="76" y="464"/>
                    </a:lnTo>
                    <a:lnTo>
                      <a:pt x="76" y="463"/>
                    </a:lnTo>
                    <a:lnTo>
                      <a:pt x="80" y="463"/>
                    </a:lnTo>
                    <a:lnTo>
                      <a:pt x="80" y="461"/>
                    </a:lnTo>
                    <a:lnTo>
                      <a:pt x="82" y="461"/>
                    </a:lnTo>
                    <a:lnTo>
                      <a:pt x="82" y="464"/>
                    </a:lnTo>
                    <a:lnTo>
                      <a:pt x="82" y="464"/>
                    </a:lnTo>
                    <a:lnTo>
                      <a:pt x="83" y="466"/>
                    </a:lnTo>
                    <a:lnTo>
                      <a:pt x="85" y="466"/>
                    </a:lnTo>
                    <a:lnTo>
                      <a:pt x="85" y="466"/>
                    </a:lnTo>
                    <a:lnTo>
                      <a:pt x="87" y="466"/>
                    </a:lnTo>
                    <a:lnTo>
                      <a:pt x="87" y="466"/>
                    </a:lnTo>
                    <a:lnTo>
                      <a:pt x="87" y="464"/>
                    </a:lnTo>
                    <a:lnTo>
                      <a:pt x="89" y="464"/>
                    </a:lnTo>
                    <a:lnTo>
                      <a:pt x="91" y="463"/>
                    </a:lnTo>
                    <a:lnTo>
                      <a:pt x="91" y="463"/>
                    </a:lnTo>
                    <a:lnTo>
                      <a:pt x="91" y="463"/>
                    </a:lnTo>
                    <a:lnTo>
                      <a:pt x="92" y="463"/>
                    </a:lnTo>
                    <a:lnTo>
                      <a:pt x="94" y="461"/>
                    </a:lnTo>
                    <a:lnTo>
                      <a:pt x="94" y="459"/>
                    </a:lnTo>
                    <a:lnTo>
                      <a:pt x="92" y="455"/>
                    </a:lnTo>
                    <a:lnTo>
                      <a:pt x="91" y="454"/>
                    </a:lnTo>
                    <a:lnTo>
                      <a:pt x="92" y="454"/>
                    </a:lnTo>
                    <a:lnTo>
                      <a:pt x="92" y="452"/>
                    </a:lnTo>
                    <a:lnTo>
                      <a:pt x="89" y="450"/>
                    </a:lnTo>
                    <a:lnTo>
                      <a:pt x="87" y="450"/>
                    </a:lnTo>
                    <a:lnTo>
                      <a:pt x="87" y="450"/>
                    </a:lnTo>
                    <a:lnTo>
                      <a:pt x="85" y="447"/>
                    </a:lnTo>
                    <a:lnTo>
                      <a:pt x="85" y="443"/>
                    </a:lnTo>
                    <a:lnTo>
                      <a:pt x="85" y="443"/>
                    </a:lnTo>
                    <a:lnTo>
                      <a:pt x="85" y="441"/>
                    </a:lnTo>
                    <a:lnTo>
                      <a:pt x="85" y="439"/>
                    </a:lnTo>
                    <a:lnTo>
                      <a:pt x="85" y="439"/>
                    </a:lnTo>
                    <a:lnTo>
                      <a:pt x="83" y="438"/>
                    </a:lnTo>
                    <a:lnTo>
                      <a:pt x="83" y="436"/>
                    </a:lnTo>
                    <a:lnTo>
                      <a:pt x="83" y="436"/>
                    </a:lnTo>
                    <a:lnTo>
                      <a:pt x="87" y="436"/>
                    </a:lnTo>
                    <a:lnTo>
                      <a:pt x="89" y="434"/>
                    </a:lnTo>
                    <a:lnTo>
                      <a:pt x="91" y="436"/>
                    </a:lnTo>
                    <a:lnTo>
                      <a:pt x="92" y="436"/>
                    </a:lnTo>
                    <a:lnTo>
                      <a:pt x="94" y="430"/>
                    </a:lnTo>
                    <a:lnTo>
                      <a:pt x="94" y="427"/>
                    </a:lnTo>
                    <a:lnTo>
                      <a:pt x="98" y="427"/>
                    </a:lnTo>
                    <a:lnTo>
                      <a:pt x="98" y="427"/>
                    </a:lnTo>
                    <a:lnTo>
                      <a:pt x="98" y="427"/>
                    </a:lnTo>
                    <a:lnTo>
                      <a:pt x="98" y="425"/>
                    </a:lnTo>
                    <a:lnTo>
                      <a:pt x="100" y="425"/>
                    </a:lnTo>
                    <a:lnTo>
                      <a:pt x="100" y="423"/>
                    </a:lnTo>
                    <a:lnTo>
                      <a:pt x="103" y="422"/>
                    </a:lnTo>
                    <a:lnTo>
                      <a:pt x="103" y="420"/>
                    </a:lnTo>
                    <a:lnTo>
                      <a:pt x="103" y="418"/>
                    </a:lnTo>
                    <a:lnTo>
                      <a:pt x="105" y="413"/>
                    </a:lnTo>
                    <a:lnTo>
                      <a:pt x="105" y="411"/>
                    </a:lnTo>
                    <a:lnTo>
                      <a:pt x="105" y="409"/>
                    </a:lnTo>
                    <a:lnTo>
                      <a:pt x="107" y="407"/>
                    </a:lnTo>
                    <a:lnTo>
                      <a:pt x="107" y="405"/>
                    </a:lnTo>
                    <a:lnTo>
                      <a:pt x="107" y="405"/>
                    </a:lnTo>
                    <a:lnTo>
                      <a:pt x="105" y="405"/>
                    </a:lnTo>
                    <a:lnTo>
                      <a:pt x="103" y="407"/>
                    </a:lnTo>
                    <a:lnTo>
                      <a:pt x="103" y="407"/>
                    </a:lnTo>
                    <a:lnTo>
                      <a:pt x="101" y="407"/>
                    </a:lnTo>
                    <a:lnTo>
                      <a:pt x="101" y="404"/>
                    </a:lnTo>
                    <a:lnTo>
                      <a:pt x="100" y="404"/>
                    </a:lnTo>
                    <a:lnTo>
                      <a:pt x="98" y="404"/>
                    </a:lnTo>
                    <a:lnTo>
                      <a:pt x="98" y="404"/>
                    </a:lnTo>
                    <a:lnTo>
                      <a:pt x="96" y="404"/>
                    </a:lnTo>
                    <a:lnTo>
                      <a:pt x="96" y="402"/>
                    </a:lnTo>
                    <a:lnTo>
                      <a:pt x="96" y="400"/>
                    </a:lnTo>
                    <a:lnTo>
                      <a:pt x="94" y="400"/>
                    </a:lnTo>
                    <a:lnTo>
                      <a:pt x="94" y="398"/>
                    </a:lnTo>
                    <a:lnTo>
                      <a:pt x="94" y="398"/>
                    </a:lnTo>
                    <a:lnTo>
                      <a:pt x="92" y="398"/>
                    </a:lnTo>
                    <a:lnTo>
                      <a:pt x="91" y="397"/>
                    </a:lnTo>
                    <a:lnTo>
                      <a:pt x="91" y="397"/>
                    </a:lnTo>
                    <a:lnTo>
                      <a:pt x="89" y="397"/>
                    </a:lnTo>
                    <a:lnTo>
                      <a:pt x="89" y="397"/>
                    </a:lnTo>
                    <a:lnTo>
                      <a:pt x="87" y="397"/>
                    </a:lnTo>
                    <a:lnTo>
                      <a:pt x="85" y="398"/>
                    </a:lnTo>
                    <a:lnTo>
                      <a:pt x="82" y="398"/>
                    </a:lnTo>
                    <a:lnTo>
                      <a:pt x="73" y="404"/>
                    </a:lnTo>
                    <a:lnTo>
                      <a:pt x="71" y="405"/>
                    </a:lnTo>
                    <a:lnTo>
                      <a:pt x="69" y="405"/>
                    </a:lnTo>
                    <a:lnTo>
                      <a:pt x="69" y="407"/>
                    </a:lnTo>
                    <a:lnTo>
                      <a:pt x="67" y="405"/>
                    </a:lnTo>
                    <a:lnTo>
                      <a:pt x="66" y="407"/>
                    </a:lnTo>
                    <a:lnTo>
                      <a:pt x="60" y="407"/>
                    </a:lnTo>
                    <a:lnTo>
                      <a:pt x="58" y="405"/>
                    </a:lnTo>
                    <a:lnTo>
                      <a:pt x="57" y="405"/>
                    </a:lnTo>
                    <a:lnTo>
                      <a:pt x="46" y="400"/>
                    </a:lnTo>
                    <a:lnTo>
                      <a:pt x="46" y="398"/>
                    </a:lnTo>
                    <a:lnTo>
                      <a:pt x="46" y="398"/>
                    </a:lnTo>
                    <a:lnTo>
                      <a:pt x="44" y="398"/>
                    </a:lnTo>
                    <a:lnTo>
                      <a:pt x="44" y="398"/>
                    </a:lnTo>
                    <a:lnTo>
                      <a:pt x="42" y="398"/>
                    </a:lnTo>
                    <a:lnTo>
                      <a:pt x="41" y="400"/>
                    </a:lnTo>
                    <a:lnTo>
                      <a:pt x="41" y="398"/>
                    </a:lnTo>
                    <a:lnTo>
                      <a:pt x="39" y="397"/>
                    </a:lnTo>
                    <a:lnTo>
                      <a:pt x="37" y="395"/>
                    </a:lnTo>
                    <a:lnTo>
                      <a:pt x="35" y="395"/>
                    </a:lnTo>
                    <a:lnTo>
                      <a:pt x="35" y="393"/>
                    </a:lnTo>
                    <a:lnTo>
                      <a:pt x="37" y="393"/>
                    </a:lnTo>
                    <a:lnTo>
                      <a:pt x="37" y="393"/>
                    </a:lnTo>
                    <a:lnTo>
                      <a:pt x="37" y="391"/>
                    </a:lnTo>
                    <a:lnTo>
                      <a:pt x="37" y="389"/>
                    </a:lnTo>
                    <a:lnTo>
                      <a:pt x="37" y="386"/>
                    </a:lnTo>
                    <a:lnTo>
                      <a:pt x="37" y="384"/>
                    </a:lnTo>
                    <a:lnTo>
                      <a:pt x="32" y="380"/>
                    </a:lnTo>
                    <a:lnTo>
                      <a:pt x="30" y="380"/>
                    </a:lnTo>
                    <a:lnTo>
                      <a:pt x="28" y="382"/>
                    </a:lnTo>
                    <a:lnTo>
                      <a:pt x="28" y="382"/>
                    </a:lnTo>
                    <a:lnTo>
                      <a:pt x="28" y="379"/>
                    </a:lnTo>
                    <a:lnTo>
                      <a:pt x="26" y="377"/>
                    </a:lnTo>
                    <a:lnTo>
                      <a:pt x="25" y="379"/>
                    </a:lnTo>
                    <a:lnTo>
                      <a:pt x="23" y="377"/>
                    </a:lnTo>
                    <a:lnTo>
                      <a:pt x="23" y="377"/>
                    </a:lnTo>
                    <a:lnTo>
                      <a:pt x="19" y="377"/>
                    </a:lnTo>
                    <a:lnTo>
                      <a:pt x="16" y="377"/>
                    </a:lnTo>
                    <a:lnTo>
                      <a:pt x="16" y="377"/>
                    </a:lnTo>
                    <a:lnTo>
                      <a:pt x="16" y="375"/>
                    </a:lnTo>
                    <a:lnTo>
                      <a:pt x="14" y="373"/>
                    </a:lnTo>
                    <a:lnTo>
                      <a:pt x="12" y="373"/>
                    </a:lnTo>
                    <a:lnTo>
                      <a:pt x="16" y="372"/>
                    </a:lnTo>
                    <a:lnTo>
                      <a:pt x="16" y="370"/>
                    </a:lnTo>
                    <a:lnTo>
                      <a:pt x="17" y="372"/>
                    </a:lnTo>
                    <a:lnTo>
                      <a:pt x="19" y="372"/>
                    </a:lnTo>
                    <a:lnTo>
                      <a:pt x="17" y="372"/>
                    </a:lnTo>
                    <a:lnTo>
                      <a:pt x="19" y="372"/>
                    </a:lnTo>
                    <a:lnTo>
                      <a:pt x="21" y="372"/>
                    </a:lnTo>
                    <a:lnTo>
                      <a:pt x="21" y="361"/>
                    </a:lnTo>
                    <a:lnTo>
                      <a:pt x="17" y="354"/>
                    </a:lnTo>
                    <a:lnTo>
                      <a:pt x="17" y="348"/>
                    </a:lnTo>
                    <a:lnTo>
                      <a:pt x="16" y="345"/>
                    </a:lnTo>
                    <a:lnTo>
                      <a:pt x="10" y="345"/>
                    </a:lnTo>
                    <a:lnTo>
                      <a:pt x="5" y="347"/>
                    </a:lnTo>
                    <a:lnTo>
                      <a:pt x="1" y="345"/>
                    </a:lnTo>
                    <a:lnTo>
                      <a:pt x="0" y="334"/>
                    </a:lnTo>
                    <a:lnTo>
                      <a:pt x="3" y="323"/>
                    </a:lnTo>
                    <a:lnTo>
                      <a:pt x="3" y="320"/>
                    </a:lnTo>
                    <a:lnTo>
                      <a:pt x="5" y="314"/>
                    </a:lnTo>
                    <a:lnTo>
                      <a:pt x="14" y="311"/>
                    </a:lnTo>
                    <a:lnTo>
                      <a:pt x="16" y="309"/>
                    </a:lnTo>
                    <a:lnTo>
                      <a:pt x="17" y="309"/>
                    </a:lnTo>
                    <a:lnTo>
                      <a:pt x="19" y="305"/>
                    </a:lnTo>
                    <a:lnTo>
                      <a:pt x="23" y="305"/>
                    </a:lnTo>
                    <a:lnTo>
                      <a:pt x="26" y="304"/>
                    </a:lnTo>
                    <a:lnTo>
                      <a:pt x="30" y="304"/>
                    </a:lnTo>
                    <a:lnTo>
                      <a:pt x="32" y="309"/>
                    </a:lnTo>
                    <a:lnTo>
                      <a:pt x="42" y="307"/>
                    </a:lnTo>
                    <a:lnTo>
                      <a:pt x="46" y="305"/>
                    </a:lnTo>
                    <a:lnTo>
                      <a:pt x="48" y="300"/>
                    </a:lnTo>
                    <a:lnTo>
                      <a:pt x="51" y="297"/>
                    </a:lnTo>
                    <a:lnTo>
                      <a:pt x="73" y="291"/>
                    </a:lnTo>
                    <a:lnTo>
                      <a:pt x="75" y="288"/>
                    </a:lnTo>
                    <a:lnTo>
                      <a:pt x="80" y="284"/>
                    </a:lnTo>
                    <a:lnTo>
                      <a:pt x="103" y="273"/>
                    </a:lnTo>
                    <a:lnTo>
                      <a:pt x="105" y="268"/>
                    </a:lnTo>
                    <a:lnTo>
                      <a:pt x="107" y="257"/>
                    </a:lnTo>
                    <a:lnTo>
                      <a:pt x="108" y="254"/>
                    </a:lnTo>
                    <a:lnTo>
                      <a:pt x="108" y="250"/>
                    </a:lnTo>
                    <a:lnTo>
                      <a:pt x="112" y="248"/>
                    </a:lnTo>
                    <a:lnTo>
                      <a:pt x="105" y="216"/>
                    </a:lnTo>
                    <a:lnTo>
                      <a:pt x="103" y="213"/>
                    </a:lnTo>
                    <a:lnTo>
                      <a:pt x="101" y="211"/>
                    </a:lnTo>
                    <a:lnTo>
                      <a:pt x="103" y="207"/>
                    </a:lnTo>
                    <a:lnTo>
                      <a:pt x="137" y="202"/>
                    </a:lnTo>
                    <a:lnTo>
                      <a:pt x="139" y="200"/>
                    </a:lnTo>
                    <a:lnTo>
                      <a:pt x="137" y="191"/>
                    </a:lnTo>
                    <a:lnTo>
                      <a:pt x="148" y="157"/>
                    </a:lnTo>
                    <a:lnTo>
                      <a:pt x="155" y="157"/>
                    </a:lnTo>
                    <a:lnTo>
                      <a:pt x="158" y="159"/>
                    </a:lnTo>
                    <a:lnTo>
                      <a:pt x="164" y="161"/>
                    </a:lnTo>
                    <a:lnTo>
                      <a:pt x="173" y="159"/>
                    </a:lnTo>
                    <a:lnTo>
                      <a:pt x="180" y="164"/>
                    </a:lnTo>
                    <a:lnTo>
                      <a:pt x="183" y="161"/>
                    </a:lnTo>
                    <a:lnTo>
                      <a:pt x="191" y="159"/>
                    </a:lnTo>
                    <a:lnTo>
                      <a:pt x="192" y="134"/>
                    </a:lnTo>
                    <a:lnTo>
                      <a:pt x="194" y="129"/>
                    </a:lnTo>
                    <a:lnTo>
                      <a:pt x="199" y="129"/>
                    </a:lnTo>
                    <a:lnTo>
                      <a:pt x="205" y="127"/>
                    </a:lnTo>
                    <a:lnTo>
                      <a:pt x="210" y="122"/>
                    </a:lnTo>
                    <a:lnTo>
                      <a:pt x="214" y="116"/>
                    </a:lnTo>
                    <a:lnTo>
                      <a:pt x="219" y="118"/>
                    </a:lnTo>
                    <a:lnTo>
                      <a:pt x="224" y="114"/>
                    </a:lnTo>
                    <a:lnTo>
                      <a:pt x="226" y="114"/>
                    </a:lnTo>
                    <a:lnTo>
                      <a:pt x="226" y="114"/>
                    </a:lnTo>
                    <a:lnTo>
                      <a:pt x="230" y="125"/>
                    </a:lnTo>
                    <a:lnTo>
                      <a:pt x="239" y="132"/>
                    </a:lnTo>
                    <a:lnTo>
                      <a:pt x="242" y="138"/>
                    </a:lnTo>
                    <a:lnTo>
                      <a:pt x="246" y="141"/>
                    </a:lnTo>
                    <a:lnTo>
                      <a:pt x="249" y="138"/>
                    </a:lnTo>
                    <a:lnTo>
                      <a:pt x="253" y="139"/>
                    </a:lnTo>
                    <a:lnTo>
                      <a:pt x="257" y="141"/>
                    </a:lnTo>
                    <a:lnTo>
                      <a:pt x="262" y="143"/>
                    </a:lnTo>
                    <a:lnTo>
                      <a:pt x="274" y="172"/>
                    </a:lnTo>
                    <a:lnTo>
                      <a:pt x="274" y="189"/>
                    </a:lnTo>
                    <a:lnTo>
                      <a:pt x="273" y="195"/>
                    </a:lnTo>
                    <a:lnTo>
                      <a:pt x="271" y="200"/>
                    </a:lnTo>
                    <a:lnTo>
                      <a:pt x="274" y="202"/>
                    </a:lnTo>
                    <a:lnTo>
                      <a:pt x="301" y="207"/>
                    </a:lnTo>
                    <a:lnTo>
                      <a:pt x="308" y="205"/>
                    </a:lnTo>
                    <a:lnTo>
                      <a:pt x="342" y="222"/>
                    </a:lnTo>
                    <a:lnTo>
                      <a:pt x="346" y="222"/>
                    </a:lnTo>
                    <a:lnTo>
                      <a:pt x="369" y="255"/>
                    </a:lnTo>
                    <a:lnTo>
                      <a:pt x="374" y="257"/>
                    </a:lnTo>
                    <a:lnTo>
                      <a:pt x="428" y="254"/>
                    </a:lnTo>
                    <a:lnTo>
                      <a:pt x="446" y="259"/>
                    </a:lnTo>
                    <a:lnTo>
                      <a:pt x="453" y="266"/>
                    </a:lnTo>
                    <a:lnTo>
                      <a:pt x="482" y="277"/>
                    </a:lnTo>
                    <a:lnTo>
                      <a:pt x="489" y="277"/>
                    </a:lnTo>
                    <a:lnTo>
                      <a:pt x="491" y="279"/>
                    </a:lnTo>
                    <a:lnTo>
                      <a:pt x="494" y="280"/>
                    </a:lnTo>
                    <a:lnTo>
                      <a:pt x="498" y="282"/>
                    </a:lnTo>
                    <a:lnTo>
                      <a:pt x="501" y="280"/>
                    </a:lnTo>
                    <a:lnTo>
                      <a:pt x="507" y="277"/>
                    </a:lnTo>
                    <a:lnTo>
                      <a:pt x="523" y="272"/>
                    </a:lnTo>
                    <a:lnTo>
                      <a:pt x="524" y="270"/>
                    </a:lnTo>
                    <a:lnTo>
                      <a:pt x="544" y="264"/>
                    </a:lnTo>
                    <a:lnTo>
                      <a:pt x="551" y="264"/>
                    </a:lnTo>
                    <a:lnTo>
                      <a:pt x="557" y="263"/>
                    </a:lnTo>
                    <a:lnTo>
                      <a:pt x="564" y="264"/>
                    </a:lnTo>
                    <a:lnTo>
                      <a:pt x="566" y="264"/>
                    </a:lnTo>
                    <a:lnTo>
                      <a:pt x="574" y="264"/>
                    </a:lnTo>
                    <a:lnTo>
                      <a:pt x="592" y="254"/>
                    </a:lnTo>
                    <a:lnTo>
                      <a:pt x="596" y="250"/>
                    </a:lnTo>
                    <a:lnTo>
                      <a:pt x="612" y="234"/>
                    </a:lnTo>
                    <a:lnTo>
                      <a:pt x="612" y="230"/>
                    </a:lnTo>
                    <a:lnTo>
                      <a:pt x="605" y="222"/>
                    </a:lnTo>
                    <a:lnTo>
                      <a:pt x="607" y="218"/>
                    </a:lnTo>
                    <a:lnTo>
                      <a:pt x="612" y="207"/>
                    </a:lnTo>
                    <a:lnTo>
                      <a:pt x="619" y="205"/>
                    </a:lnTo>
                    <a:lnTo>
                      <a:pt x="623" y="207"/>
                    </a:lnTo>
                    <a:lnTo>
                      <a:pt x="626" y="211"/>
                    </a:lnTo>
                    <a:lnTo>
                      <a:pt x="637" y="213"/>
                    </a:lnTo>
                    <a:lnTo>
                      <a:pt x="646" y="207"/>
                    </a:lnTo>
                    <a:lnTo>
                      <a:pt x="657" y="195"/>
                    </a:lnTo>
                    <a:lnTo>
                      <a:pt x="664" y="195"/>
                    </a:lnTo>
                    <a:lnTo>
                      <a:pt x="671" y="191"/>
                    </a:lnTo>
                    <a:lnTo>
                      <a:pt x="691" y="170"/>
                    </a:lnTo>
                    <a:lnTo>
                      <a:pt x="719" y="166"/>
                    </a:lnTo>
                    <a:lnTo>
                      <a:pt x="730" y="170"/>
                    </a:lnTo>
                    <a:lnTo>
                      <a:pt x="732" y="168"/>
                    </a:lnTo>
                    <a:lnTo>
                      <a:pt x="732" y="164"/>
                    </a:lnTo>
                    <a:lnTo>
                      <a:pt x="728" y="161"/>
                    </a:lnTo>
                    <a:lnTo>
                      <a:pt x="728" y="155"/>
                    </a:lnTo>
                    <a:lnTo>
                      <a:pt x="726" y="150"/>
                    </a:lnTo>
                    <a:lnTo>
                      <a:pt x="714" y="139"/>
                    </a:lnTo>
                    <a:lnTo>
                      <a:pt x="712" y="136"/>
                    </a:lnTo>
                    <a:lnTo>
                      <a:pt x="699" y="145"/>
                    </a:lnTo>
                    <a:lnTo>
                      <a:pt x="683" y="148"/>
                    </a:lnTo>
                    <a:lnTo>
                      <a:pt x="673" y="145"/>
                    </a:lnTo>
                    <a:lnTo>
                      <a:pt x="669" y="141"/>
                    </a:lnTo>
                    <a:lnTo>
                      <a:pt x="669" y="129"/>
                    </a:lnTo>
                    <a:lnTo>
                      <a:pt x="671" y="123"/>
                    </a:lnTo>
                    <a:lnTo>
                      <a:pt x="671" y="109"/>
                    </a:lnTo>
                    <a:lnTo>
                      <a:pt x="680" y="93"/>
                    </a:lnTo>
                    <a:lnTo>
                      <a:pt x="683" y="91"/>
                    </a:lnTo>
                    <a:lnTo>
                      <a:pt x="683" y="89"/>
                    </a:lnTo>
                    <a:lnTo>
                      <a:pt x="707" y="100"/>
                    </a:lnTo>
                    <a:lnTo>
                      <a:pt x="710" y="98"/>
                    </a:lnTo>
                    <a:lnTo>
                      <a:pt x="728" y="86"/>
                    </a:lnTo>
                    <a:lnTo>
                      <a:pt x="730" y="84"/>
                    </a:lnTo>
                    <a:lnTo>
                      <a:pt x="728" y="80"/>
                    </a:lnTo>
                    <a:lnTo>
                      <a:pt x="730" y="77"/>
                    </a:lnTo>
                    <a:lnTo>
                      <a:pt x="733" y="70"/>
                    </a:lnTo>
                    <a:lnTo>
                      <a:pt x="740" y="50"/>
                    </a:lnTo>
                    <a:lnTo>
                      <a:pt x="746" y="47"/>
                    </a:lnTo>
                    <a:lnTo>
                      <a:pt x="753" y="39"/>
                    </a:lnTo>
                    <a:lnTo>
                      <a:pt x="753" y="38"/>
                    </a:lnTo>
                    <a:lnTo>
                      <a:pt x="751" y="34"/>
                    </a:lnTo>
                    <a:lnTo>
                      <a:pt x="751" y="27"/>
                    </a:lnTo>
                    <a:lnTo>
                      <a:pt x="749" y="25"/>
                    </a:lnTo>
                    <a:lnTo>
                      <a:pt x="740" y="27"/>
                    </a:lnTo>
                    <a:lnTo>
                      <a:pt x="740" y="25"/>
                    </a:lnTo>
                    <a:lnTo>
                      <a:pt x="740" y="22"/>
                    </a:lnTo>
                    <a:lnTo>
                      <a:pt x="748" y="14"/>
                    </a:lnTo>
                    <a:lnTo>
                      <a:pt x="751" y="11"/>
                    </a:lnTo>
                    <a:lnTo>
                      <a:pt x="755" y="7"/>
                    </a:lnTo>
                    <a:lnTo>
                      <a:pt x="798" y="0"/>
                    </a:lnTo>
                    <a:lnTo>
                      <a:pt x="812" y="9"/>
                    </a:lnTo>
                    <a:lnTo>
                      <a:pt x="817" y="11"/>
                    </a:lnTo>
                    <a:lnTo>
                      <a:pt x="823" y="11"/>
                    </a:lnTo>
                    <a:lnTo>
                      <a:pt x="832" y="13"/>
                    </a:lnTo>
                    <a:lnTo>
                      <a:pt x="837" y="23"/>
                    </a:lnTo>
                    <a:lnTo>
                      <a:pt x="837" y="25"/>
                    </a:lnTo>
                    <a:lnTo>
                      <a:pt x="842" y="30"/>
                    </a:lnTo>
                    <a:lnTo>
                      <a:pt x="842" y="32"/>
                    </a:lnTo>
                    <a:lnTo>
                      <a:pt x="842" y="30"/>
                    </a:lnTo>
                    <a:lnTo>
                      <a:pt x="860" y="84"/>
                    </a:lnTo>
                    <a:lnTo>
                      <a:pt x="860" y="86"/>
                    </a:lnTo>
                    <a:lnTo>
                      <a:pt x="860" y="86"/>
                    </a:lnTo>
                    <a:lnTo>
                      <a:pt x="860" y="98"/>
                    </a:lnTo>
                    <a:lnTo>
                      <a:pt x="864" y="100"/>
                    </a:lnTo>
                    <a:lnTo>
                      <a:pt x="871" y="102"/>
                    </a:lnTo>
                    <a:lnTo>
                      <a:pt x="878" y="100"/>
                    </a:lnTo>
                    <a:lnTo>
                      <a:pt x="892" y="105"/>
                    </a:lnTo>
                    <a:lnTo>
                      <a:pt x="901" y="113"/>
                    </a:lnTo>
                    <a:lnTo>
                      <a:pt x="907" y="114"/>
                    </a:lnTo>
                    <a:lnTo>
                      <a:pt x="910" y="116"/>
                    </a:lnTo>
                    <a:lnTo>
                      <a:pt x="912" y="118"/>
                    </a:lnTo>
                    <a:lnTo>
                      <a:pt x="912" y="120"/>
                    </a:lnTo>
                    <a:lnTo>
                      <a:pt x="912" y="120"/>
                    </a:lnTo>
                    <a:lnTo>
                      <a:pt x="912" y="123"/>
                    </a:lnTo>
                    <a:lnTo>
                      <a:pt x="914" y="127"/>
                    </a:lnTo>
                    <a:lnTo>
                      <a:pt x="914" y="136"/>
                    </a:lnTo>
                    <a:lnTo>
                      <a:pt x="919" y="145"/>
                    </a:lnTo>
                    <a:lnTo>
                      <a:pt x="924" y="145"/>
                    </a:lnTo>
                    <a:lnTo>
                      <a:pt x="930" y="147"/>
                    </a:lnTo>
                    <a:lnTo>
                      <a:pt x="935" y="145"/>
                    </a:lnTo>
                    <a:lnTo>
                      <a:pt x="955" y="134"/>
                    </a:lnTo>
                    <a:lnTo>
                      <a:pt x="960" y="134"/>
                    </a:lnTo>
                    <a:lnTo>
                      <a:pt x="978" y="127"/>
                    </a:lnTo>
                    <a:lnTo>
                      <a:pt x="978" y="127"/>
                    </a:lnTo>
                    <a:lnTo>
                      <a:pt x="976" y="130"/>
                    </a:lnTo>
                    <a:lnTo>
                      <a:pt x="976" y="136"/>
                    </a:lnTo>
                    <a:lnTo>
                      <a:pt x="978" y="141"/>
                    </a:lnTo>
                    <a:lnTo>
                      <a:pt x="976" y="147"/>
                    </a:lnTo>
                    <a:lnTo>
                      <a:pt x="969" y="154"/>
                    </a:lnTo>
                    <a:lnTo>
                      <a:pt x="962" y="182"/>
                    </a:lnTo>
                    <a:lnTo>
                      <a:pt x="953" y="198"/>
                    </a:lnTo>
                    <a:lnTo>
                      <a:pt x="951" y="204"/>
                    </a:lnTo>
                    <a:lnTo>
                      <a:pt x="948" y="207"/>
                    </a:lnTo>
                    <a:lnTo>
                      <a:pt x="946" y="205"/>
                    </a:lnTo>
                    <a:lnTo>
                      <a:pt x="932" y="202"/>
                    </a:lnTo>
                    <a:lnTo>
                      <a:pt x="917" y="214"/>
                    </a:lnTo>
                    <a:lnTo>
                      <a:pt x="919" y="218"/>
                    </a:lnTo>
                    <a:lnTo>
                      <a:pt x="921" y="243"/>
                    </a:lnTo>
                    <a:lnTo>
                      <a:pt x="917" y="250"/>
                    </a:lnTo>
                    <a:lnTo>
                      <a:pt x="910" y="255"/>
                    </a:lnTo>
                    <a:lnTo>
                      <a:pt x="910" y="261"/>
                    </a:lnTo>
                    <a:lnTo>
                      <a:pt x="908" y="261"/>
                    </a:lnTo>
                    <a:lnTo>
                      <a:pt x="907" y="255"/>
                    </a:lnTo>
                    <a:lnTo>
                      <a:pt x="903" y="254"/>
                    </a:lnTo>
                    <a:lnTo>
                      <a:pt x="899" y="255"/>
                    </a:lnTo>
                    <a:lnTo>
                      <a:pt x="894" y="266"/>
                    </a:lnTo>
                    <a:lnTo>
                      <a:pt x="885" y="273"/>
                    </a:lnTo>
                    <a:lnTo>
                      <a:pt x="873" y="275"/>
                    </a:lnTo>
                    <a:lnTo>
                      <a:pt x="871" y="277"/>
                    </a:lnTo>
                    <a:lnTo>
                      <a:pt x="873" y="286"/>
                    </a:lnTo>
                    <a:lnTo>
                      <a:pt x="862" y="288"/>
                    </a:lnTo>
                    <a:lnTo>
                      <a:pt x="857" y="284"/>
                    </a:lnTo>
                    <a:lnTo>
                      <a:pt x="851" y="284"/>
                    </a:lnTo>
                    <a:lnTo>
                      <a:pt x="824" y="305"/>
                    </a:lnTo>
                    <a:lnTo>
                      <a:pt x="819" y="307"/>
                    </a:lnTo>
                    <a:lnTo>
                      <a:pt x="812" y="318"/>
                    </a:lnTo>
                    <a:lnTo>
                      <a:pt x="810" y="318"/>
                    </a:lnTo>
                    <a:lnTo>
                      <a:pt x="798" y="322"/>
                    </a:lnTo>
                    <a:lnTo>
                      <a:pt x="796" y="320"/>
                    </a:lnTo>
                    <a:lnTo>
                      <a:pt x="790" y="325"/>
                    </a:lnTo>
                    <a:lnTo>
                      <a:pt x="780" y="329"/>
                    </a:lnTo>
                    <a:lnTo>
                      <a:pt x="776" y="332"/>
                    </a:lnTo>
                    <a:lnTo>
                      <a:pt x="774" y="336"/>
                    </a:lnTo>
                    <a:lnTo>
                      <a:pt x="771" y="338"/>
                    </a:lnTo>
                    <a:lnTo>
                      <a:pt x="769" y="338"/>
                    </a:lnTo>
                    <a:lnTo>
                      <a:pt x="767" y="339"/>
                    </a:lnTo>
                    <a:lnTo>
                      <a:pt x="762" y="343"/>
                    </a:lnTo>
                    <a:lnTo>
                      <a:pt x="760" y="341"/>
                    </a:lnTo>
                    <a:lnTo>
                      <a:pt x="762" y="338"/>
                    </a:lnTo>
                    <a:lnTo>
                      <a:pt x="767" y="336"/>
                    </a:lnTo>
                    <a:lnTo>
                      <a:pt x="769" y="329"/>
                    </a:lnTo>
                    <a:lnTo>
                      <a:pt x="764" y="327"/>
                    </a:lnTo>
                    <a:lnTo>
                      <a:pt x="762" y="327"/>
                    </a:lnTo>
                    <a:lnTo>
                      <a:pt x="765" y="325"/>
                    </a:lnTo>
                    <a:lnTo>
                      <a:pt x="765" y="322"/>
                    </a:lnTo>
                    <a:lnTo>
                      <a:pt x="769" y="320"/>
                    </a:lnTo>
                    <a:lnTo>
                      <a:pt x="778" y="307"/>
                    </a:lnTo>
                    <a:lnTo>
                      <a:pt x="776" y="304"/>
                    </a:lnTo>
                    <a:lnTo>
                      <a:pt x="773" y="300"/>
                    </a:lnTo>
                    <a:lnTo>
                      <a:pt x="773" y="297"/>
                    </a:lnTo>
                    <a:lnTo>
                      <a:pt x="771" y="295"/>
                    </a:lnTo>
                    <a:lnTo>
                      <a:pt x="769" y="297"/>
                    </a:lnTo>
                    <a:lnTo>
                      <a:pt x="762" y="297"/>
                    </a:lnTo>
                    <a:lnTo>
                      <a:pt x="760" y="298"/>
                    </a:lnTo>
                    <a:lnTo>
                      <a:pt x="749" y="313"/>
                    </a:lnTo>
                    <a:lnTo>
                      <a:pt x="733" y="322"/>
                    </a:lnTo>
                    <a:lnTo>
                      <a:pt x="730" y="329"/>
                    </a:lnTo>
                    <a:lnTo>
                      <a:pt x="728" y="330"/>
                    </a:lnTo>
                    <a:lnTo>
                      <a:pt x="724" y="334"/>
                    </a:lnTo>
                    <a:lnTo>
                      <a:pt x="716" y="336"/>
                    </a:lnTo>
                    <a:lnTo>
                      <a:pt x="712" y="334"/>
                    </a:lnTo>
                    <a:lnTo>
                      <a:pt x="708" y="334"/>
                    </a:lnTo>
                    <a:lnTo>
                      <a:pt x="707" y="336"/>
                    </a:lnTo>
                    <a:lnTo>
                      <a:pt x="703" y="347"/>
                    </a:lnTo>
                    <a:lnTo>
                      <a:pt x="710" y="355"/>
                    </a:lnTo>
                    <a:lnTo>
                      <a:pt x="712" y="355"/>
                    </a:lnTo>
                    <a:lnTo>
                      <a:pt x="716" y="355"/>
                    </a:lnTo>
                    <a:lnTo>
                      <a:pt x="716" y="359"/>
                    </a:lnTo>
                    <a:lnTo>
                      <a:pt x="719" y="359"/>
                    </a:lnTo>
                    <a:lnTo>
                      <a:pt x="719" y="361"/>
                    </a:lnTo>
                    <a:lnTo>
                      <a:pt x="723" y="364"/>
                    </a:lnTo>
                    <a:lnTo>
                      <a:pt x="724" y="370"/>
                    </a:lnTo>
                    <a:lnTo>
                      <a:pt x="726" y="373"/>
                    </a:lnTo>
                    <a:lnTo>
                      <a:pt x="733" y="375"/>
                    </a:lnTo>
                    <a:lnTo>
                      <a:pt x="739" y="375"/>
                    </a:lnTo>
                    <a:lnTo>
                      <a:pt x="740" y="370"/>
                    </a:lnTo>
                    <a:lnTo>
                      <a:pt x="744" y="368"/>
                    </a:lnTo>
                    <a:lnTo>
                      <a:pt x="748" y="364"/>
                    </a:lnTo>
                    <a:lnTo>
                      <a:pt x="753" y="361"/>
                    </a:lnTo>
                    <a:lnTo>
                      <a:pt x="755" y="361"/>
                    </a:lnTo>
                    <a:lnTo>
                      <a:pt x="762" y="366"/>
                    </a:lnTo>
                    <a:lnTo>
                      <a:pt x="764" y="366"/>
                    </a:lnTo>
                    <a:lnTo>
                      <a:pt x="767" y="370"/>
                    </a:lnTo>
                    <a:lnTo>
                      <a:pt x="773" y="368"/>
                    </a:lnTo>
                    <a:lnTo>
                      <a:pt x="774" y="368"/>
                    </a:lnTo>
                    <a:lnTo>
                      <a:pt x="778" y="370"/>
                    </a:lnTo>
                    <a:lnTo>
                      <a:pt x="782" y="370"/>
                    </a:lnTo>
                    <a:lnTo>
                      <a:pt x="783" y="370"/>
                    </a:lnTo>
                    <a:lnTo>
                      <a:pt x="783" y="373"/>
                    </a:lnTo>
                    <a:lnTo>
                      <a:pt x="782" y="377"/>
                    </a:lnTo>
                    <a:lnTo>
                      <a:pt x="782" y="379"/>
                    </a:lnTo>
                    <a:lnTo>
                      <a:pt x="778" y="380"/>
                    </a:lnTo>
                    <a:lnTo>
                      <a:pt x="778" y="380"/>
                    </a:lnTo>
                    <a:lnTo>
                      <a:pt x="776" y="377"/>
                    </a:lnTo>
                    <a:lnTo>
                      <a:pt x="774" y="379"/>
                    </a:lnTo>
                    <a:lnTo>
                      <a:pt x="773" y="379"/>
                    </a:lnTo>
                    <a:lnTo>
                      <a:pt x="771" y="380"/>
                    </a:lnTo>
                    <a:lnTo>
                      <a:pt x="769" y="382"/>
                    </a:lnTo>
                    <a:lnTo>
                      <a:pt x="762" y="384"/>
                    </a:lnTo>
                    <a:lnTo>
                      <a:pt x="758" y="386"/>
                    </a:lnTo>
                    <a:lnTo>
                      <a:pt x="755" y="386"/>
                    </a:lnTo>
                    <a:lnTo>
                      <a:pt x="757" y="389"/>
                    </a:lnTo>
                    <a:lnTo>
                      <a:pt x="755" y="389"/>
                    </a:lnTo>
                    <a:lnTo>
                      <a:pt x="753" y="391"/>
                    </a:lnTo>
                    <a:lnTo>
                      <a:pt x="751" y="395"/>
                    </a:lnTo>
                    <a:lnTo>
                      <a:pt x="749" y="397"/>
                    </a:lnTo>
                    <a:lnTo>
                      <a:pt x="748" y="393"/>
                    </a:lnTo>
                    <a:lnTo>
                      <a:pt x="744" y="393"/>
                    </a:lnTo>
                    <a:lnTo>
                      <a:pt x="742" y="395"/>
                    </a:lnTo>
                    <a:lnTo>
                      <a:pt x="746" y="398"/>
                    </a:lnTo>
                    <a:lnTo>
                      <a:pt x="742" y="402"/>
                    </a:lnTo>
                    <a:lnTo>
                      <a:pt x="737" y="405"/>
                    </a:lnTo>
                    <a:lnTo>
                      <a:pt x="730" y="420"/>
                    </a:lnTo>
                    <a:lnTo>
                      <a:pt x="730" y="422"/>
                    </a:lnTo>
                    <a:lnTo>
                      <a:pt x="746" y="430"/>
                    </a:lnTo>
                    <a:lnTo>
                      <a:pt x="748" y="432"/>
                    </a:lnTo>
                    <a:lnTo>
                      <a:pt x="748" y="438"/>
                    </a:lnTo>
                    <a:lnTo>
                      <a:pt x="751" y="439"/>
                    </a:lnTo>
                    <a:lnTo>
                      <a:pt x="757" y="461"/>
                    </a:lnTo>
                    <a:lnTo>
                      <a:pt x="758" y="464"/>
                    </a:lnTo>
                    <a:lnTo>
                      <a:pt x="764" y="466"/>
                    </a:lnTo>
                    <a:lnTo>
                      <a:pt x="764" y="470"/>
                    </a:lnTo>
                    <a:lnTo>
                      <a:pt x="771" y="479"/>
                    </a:lnTo>
                    <a:lnTo>
                      <a:pt x="771" y="480"/>
                    </a:lnTo>
                    <a:lnTo>
                      <a:pt x="762" y="477"/>
                    </a:lnTo>
                    <a:lnTo>
                      <a:pt x="758" y="477"/>
                    </a:lnTo>
                    <a:lnTo>
                      <a:pt x="751" y="473"/>
                    </a:lnTo>
                    <a:lnTo>
                      <a:pt x="744" y="475"/>
                    </a:lnTo>
                    <a:lnTo>
                      <a:pt x="744" y="477"/>
                    </a:lnTo>
                    <a:lnTo>
                      <a:pt x="751" y="475"/>
                    </a:lnTo>
                    <a:lnTo>
                      <a:pt x="753" y="475"/>
                    </a:lnTo>
                    <a:lnTo>
                      <a:pt x="753" y="479"/>
                    </a:lnTo>
                    <a:lnTo>
                      <a:pt x="757" y="479"/>
                    </a:lnTo>
                    <a:lnTo>
                      <a:pt x="760" y="480"/>
                    </a:lnTo>
                    <a:lnTo>
                      <a:pt x="764" y="484"/>
                    </a:lnTo>
                    <a:lnTo>
                      <a:pt x="767" y="486"/>
                    </a:lnTo>
                    <a:lnTo>
                      <a:pt x="773" y="493"/>
                    </a:lnTo>
                    <a:lnTo>
                      <a:pt x="771" y="495"/>
                    </a:lnTo>
                    <a:lnTo>
                      <a:pt x="767" y="495"/>
                    </a:lnTo>
                    <a:lnTo>
                      <a:pt x="764" y="498"/>
                    </a:lnTo>
                    <a:lnTo>
                      <a:pt x="758" y="500"/>
                    </a:lnTo>
                    <a:lnTo>
                      <a:pt x="758" y="502"/>
                    </a:lnTo>
                    <a:lnTo>
                      <a:pt x="755" y="504"/>
                    </a:lnTo>
                    <a:lnTo>
                      <a:pt x="748" y="505"/>
                    </a:lnTo>
                    <a:lnTo>
                      <a:pt x="744" y="505"/>
                    </a:lnTo>
                    <a:lnTo>
                      <a:pt x="748" y="505"/>
                    </a:lnTo>
                    <a:lnTo>
                      <a:pt x="755" y="509"/>
                    </a:lnTo>
                    <a:lnTo>
                      <a:pt x="760" y="505"/>
                    </a:lnTo>
                    <a:lnTo>
                      <a:pt x="762" y="507"/>
                    </a:lnTo>
                    <a:lnTo>
                      <a:pt x="765" y="509"/>
                    </a:lnTo>
                    <a:lnTo>
                      <a:pt x="765" y="511"/>
                    </a:lnTo>
                    <a:lnTo>
                      <a:pt x="769" y="513"/>
                    </a:lnTo>
                    <a:lnTo>
                      <a:pt x="773" y="513"/>
                    </a:lnTo>
                    <a:lnTo>
                      <a:pt x="773" y="513"/>
                    </a:lnTo>
                    <a:lnTo>
                      <a:pt x="765" y="520"/>
                    </a:lnTo>
                    <a:lnTo>
                      <a:pt x="765" y="520"/>
                    </a:lnTo>
                    <a:lnTo>
                      <a:pt x="771" y="518"/>
                    </a:lnTo>
                    <a:lnTo>
                      <a:pt x="771" y="525"/>
                    </a:lnTo>
                    <a:lnTo>
                      <a:pt x="769" y="523"/>
                    </a:lnTo>
                    <a:lnTo>
                      <a:pt x="769" y="525"/>
                    </a:lnTo>
                    <a:lnTo>
                      <a:pt x="765" y="525"/>
                    </a:lnTo>
                    <a:lnTo>
                      <a:pt x="765" y="527"/>
                    </a:lnTo>
                    <a:lnTo>
                      <a:pt x="765" y="530"/>
                    </a:lnTo>
                    <a:lnTo>
                      <a:pt x="765" y="534"/>
                    </a:lnTo>
                    <a:lnTo>
                      <a:pt x="764" y="534"/>
                    </a:lnTo>
                    <a:lnTo>
                      <a:pt x="764" y="539"/>
                    </a:lnTo>
                    <a:lnTo>
                      <a:pt x="762" y="545"/>
                    </a:lnTo>
                    <a:lnTo>
                      <a:pt x="762" y="543"/>
                    </a:lnTo>
                    <a:lnTo>
                      <a:pt x="760" y="541"/>
                    </a:lnTo>
                    <a:lnTo>
                      <a:pt x="758" y="543"/>
                    </a:lnTo>
                    <a:lnTo>
                      <a:pt x="749" y="555"/>
                    </a:lnTo>
                    <a:lnTo>
                      <a:pt x="749" y="557"/>
                    </a:lnTo>
                    <a:lnTo>
                      <a:pt x="746" y="563"/>
                    </a:lnTo>
                    <a:lnTo>
                      <a:pt x="742" y="568"/>
                    </a:lnTo>
                    <a:lnTo>
                      <a:pt x="742" y="572"/>
                    </a:lnTo>
                    <a:lnTo>
                      <a:pt x="739" y="573"/>
                    </a:lnTo>
                    <a:lnTo>
                      <a:pt x="739" y="573"/>
                    </a:lnTo>
                    <a:lnTo>
                      <a:pt x="739" y="568"/>
                    </a:lnTo>
                    <a:lnTo>
                      <a:pt x="737" y="570"/>
                    </a:lnTo>
                    <a:lnTo>
                      <a:pt x="733" y="572"/>
                    </a:lnTo>
                    <a:lnTo>
                      <a:pt x="737" y="575"/>
                    </a:lnTo>
                    <a:lnTo>
                      <a:pt x="737" y="577"/>
                    </a:lnTo>
                    <a:lnTo>
                      <a:pt x="735" y="582"/>
                    </a:lnTo>
                    <a:lnTo>
                      <a:pt x="735" y="582"/>
                    </a:lnTo>
                    <a:lnTo>
                      <a:pt x="733" y="586"/>
                    </a:lnTo>
                    <a:lnTo>
                      <a:pt x="733" y="588"/>
                    </a:lnTo>
                    <a:lnTo>
                      <a:pt x="732" y="588"/>
                    </a:lnTo>
                    <a:lnTo>
                      <a:pt x="732" y="589"/>
                    </a:lnTo>
                    <a:lnTo>
                      <a:pt x="733" y="591"/>
                    </a:lnTo>
                    <a:lnTo>
                      <a:pt x="732" y="593"/>
                    </a:lnTo>
                    <a:lnTo>
                      <a:pt x="730" y="591"/>
                    </a:lnTo>
                    <a:lnTo>
                      <a:pt x="728" y="591"/>
                    </a:lnTo>
                    <a:lnTo>
                      <a:pt x="728" y="593"/>
                    </a:lnTo>
                    <a:lnTo>
                      <a:pt x="728" y="595"/>
                    </a:lnTo>
                    <a:lnTo>
                      <a:pt x="726" y="597"/>
                    </a:lnTo>
                    <a:lnTo>
                      <a:pt x="726" y="597"/>
                    </a:lnTo>
                    <a:lnTo>
                      <a:pt x="724" y="597"/>
                    </a:lnTo>
                    <a:lnTo>
                      <a:pt x="723" y="602"/>
                    </a:lnTo>
                    <a:lnTo>
                      <a:pt x="721" y="602"/>
                    </a:lnTo>
                    <a:lnTo>
                      <a:pt x="719" y="605"/>
                    </a:lnTo>
                    <a:lnTo>
                      <a:pt x="719" y="607"/>
                    </a:lnTo>
                    <a:lnTo>
                      <a:pt x="714" y="607"/>
                    </a:lnTo>
                    <a:lnTo>
                      <a:pt x="712" y="607"/>
                    </a:lnTo>
                    <a:lnTo>
                      <a:pt x="708" y="609"/>
                    </a:lnTo>
                    <a:lnTo>
                      <a:pt x="708" y="611"/>
                    </a:lnTo>
                    <a:lnTo>
                      <a:pt x="710" y="613"/>
                    </a:lnTo>
                    <a:lnTo>
                      <a:pt x="708" y="614"/>
                    </a:lnTo>
                    <a:lnTo>
                      <a:pt x="705" y="618"/>
                    </a:lnTo>
                    <a:lnTo>
                      <a:pt x="703" y="618"/>
                    </a:lnTo>
                    <a:lnTo>
                      <a:pt x="703" y="622"/>
                    </a:lnTo>
                    <a:lnTo>
                      <a:pt x="701" y="620"/>
                    </a:lnTo>
                    <a:lnTo>
                      <a:pt x="701" y="622"/>
                    </a:lnTo>
                    <a:lnTo>
                      <a:pt x="699" y="623"/>
                    </a:lnTo>
                    <a:lnTo>
                      <a:pt x="699" y="623"/>
                    </a:lnTo>
                    <a:lnTo>
                      <a:pt x="698" y="623"/>
                    </a:lnTo>
                    <a:lnTo>
                      <a:pt x="696" y="625"/>
                    </a:lnTo>
                    <a:lnTo>
                      <a:pt x="694" y="625"/>
                    </a:lnTo>
                    <a:lnTo>
                      <a:pt x="692" y="625"/>
                    </a:lnTo>
                    <a:lnTo>
                      <a:pt x="687" y="634"/>
                    </a:lnTo>
                    <a:lnTo>
                      <a:pt x="676" y="639"/>
                    </a:lnTo>
                    <a:lnTo>
                      <a:pt x="671" y="638"/>
                    </a:lnTo>
                    <a:lnTo>
                      <a:pt x="671" y="639"/>
                    </a:lnTo>
                    <a:lnTo>
                      <a:pt x="669" y="639"/>
                    </a:lnTo>
                    <a:lnTo>
                      <a:pt x="667" y="641"/>
                    </a:lnTo>
                    <a:lnTo>
                      <a:pt x="666" y="639"/>
                    </a:lnTo>
                    <a:lnTo>
                      <a:pt x="666" y="638"/>
                    </a:lnTo>
                    <a:lnTo>
                      <a:pt x="664" y="638"/>
                    </a:lnTo>
                    <a:lnTo>
                      <a:pt x="662" y="639"/>
                    </a:lnTo>
                    <a:lnTo>
                      <a:pt x="660" y="641"/>
                    </a:lnTo>
                    <a:lnTo>
                      <a:pt x="658" y="641"/>
                    </a:lnTo>
                    <a:lnTo>
                      <a:pt x="657" y="639"/>
                    </a:lnTo>
                    <a:lnTo>
                      <a:pt x="657" y="639"/>
                    </a:lnTo>
                    <a:lnTo>
                      <a:pt x="655" y="639"/>
                    </a:lnTo>
                    <a:lnTo>
                      <a:pt x="655" y="643"/>
                    </a:lnTo>
                    <a:lnTo>
                      <a:pt x="655" y="64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27" name="Freeform 2478"/>
              <p:cNvSpPr>
                <a:spLocks/>
              </p:cNvSpPr>
              <p:nvPr/>
            </p:nvSpPr>
            <p:spPr bwMode="auto">
              <a:xfrm>
                <a:off x="4258" y="2375"/>
                <a:ext cx="125" cy="247"/>
              </a:xfrm>
              <a:custGeom>
                <a:avLst/>
                <a:gdLst>
                  <a:gd name="T0" fmla="*/ 38 w 125"/>
                  <a:gd name="T1" fmla="*/ 7 h 247"/>
                  <a:gd name="T2" fmla="*/ 8 w 125"/>
                  <a:gd name="T3" fmla="*/ 20 h 247"/>
                  <a:gd name="T4" fmla="*/ 0 w 125"/>
                  <a:gd name="T5" fmla="*/ 40 h 247"/>
                  <a:gd name="T6" fmla="*/ 15 w 125"/>
                  <a:gd name="T7" fmla="*/ 61 h 247"/>
                  <a:gd name="T8" fmla="*/ 20 w 125"/>
                  <a:gd name="T9" fmla="*/ 77 h 247"/>
                  <a:gd name="T10" fmla="*/ 15 w 125"/>
                  <a:gd name="T11" fmla="*/ 90 h 247"/>
                  <a:gd name="T12" fmla="*/ 9 w 125"/>
                  <a:gd name="T13" fmla="*/ 99 h 247"/>
                  <a:gd name="T14" fmla="*/ 27 w 125"/>
                  <a:gd name="T15" fmla="*/ 132 h 247"/>
                  <a:gd name="T16" fmla="*/ 33 w 125"/>
                  <a:gd name="T17" fmla="*/ 150 h 247"/>
                  <a:gd name="T18" fmla="*/ 11 w 125"/>
                  <a:gd name="T19" fmla="*/ 204 h 247"/>
                  <a:gd name="T20" fmla="*/ 24 w 125"/>
                  <a:gd name="T21" fmla="*/ 213 h 247"/>
                  <a:gd name="T22" fmla="*/ 34 w 125"/>
                  <a:gd name="T23" fmla="*/ 227 h 247"/>
                  <a:gd name="T24" fmla="*/ 45 w 125"/>
                  <a:gd name="T25" fmla="*/ 231 h 247"/>
                  <a:gd name="T26" fmla="*/ 58 w 125"/>
                  <a:gd name="T27" fmla="*/ 240 h 247"/>
                  <a:gd name="T28" fmla="*/ 65 w 125"/>
                  <a:gd name="T29" fmla="*/ 243 h 247"/>
                  <a:gd name="T30" fmla="*/ 74 w 125"/>
                  <a:gd name="T31" fmla="*/ 240 h 247"/>
                  <a:gd name="T32" fmla="*/ 49 w 125"/>
                  <a:gd name="T33" fmla="*/ 222 h 247"/>
                  <a:gd name="T34" fmla="*/ 38 w 125"/>
                  <a:gd name="T35" fmla="*/ 193 h 247"/>
                  <a:gd name="T36" fmla="*/ 31 w 125"/>
                  <a:gd name="T37" fmla="*/ 191 h 247"/>
                  <a:gd name="T38" fmla="*/ 27 w 125"/>
                  <a:gd name="T39" fmla="*/ 170 h 247"/>
                  <a:gd name="T40" fmla="*/ 31 w 125"/>
                  <a:gd name="T41" fmla="*/ 163 h 247"/>
                  <a:gd name="T42" fmla="*/ 40 w 125"/>
                  <a:gd name="T43" fmla="*/ 129 h 247"/>
                  <a:gd name="T44" fmla="*/ 47 w 125"/>
                  <a:gd name="T45" fmla="*/ 120 h 247"/>
                  <a:gd name="T46" fmla="*/ 52 w 125"/>
                  <a:gd name="T47" fmla="*/ 134 h 247"/>
                  <a:gd name="T48" fmla="*/ 54 w 125"/>
                  <a:gd name="T49" fmla="*/ 134 h 247"/>
                  <a:gd name="T50" fmla="*/ 79 w 125"/>
                  <a:gd name="T51" fmla="*/ 145 h 247"/>
                  <a:gd name="T52" fmla="*/ 84 w 125"/>
                  <a:gd name="T53" fmla="*/ 150 h 247"/>
                  <a:gd name="T54" fmla="*/ 86 w 125"/>
                  <a:gd name="T55" fmla="*/ 147 h 247"/>
                  <a:gd name="T56" fmla="*/ 75 w 125"/>
                  <a:gd name="T57" fmla="*/ 125 h 247"/>
                  <a:gd name="T58" fmla="*/ 79 w 125"/>
                  <a:gd name="T59" fmla="*/ 116 h 247"/>
                  <a:gd name="T60" fmla="*/ 90 w 125"/>
                  <a:gd name="T61" fmla="*/ 107 h 247"/>
                  <a:gd name="T62" fmla="*/ 122 w 125"/>
                  <a:gd name="T63" fmla="*/ 109 h 247"/>
                  <a:gd name="T64" fmla="*/ 125 w 125"/>
                  <a:gd name="T65" fmla="*/ 104 h 247"/>
                  <a:gd name="T66" fmla="*/ 125 w 125"/>
                  <a:gd name="T67" fmla="*/ 86 h 247"/>
                  <a:gd name="T68" fmla="*/ 122 w 125"/>
                  <a:gd name="T69" fmla="*/ 81 h 247"/>
                  <a:gd name="T70" fmla="*/ 116 w 125"/>
                  <a:gd name="T71" fmla="*/ 77 h 247"/>
                  <a:gd name="T72" fmla="*/ 113 w 125"/>
                  <a:gd name="T73" fmla="*/ 61 h 247"/>
                  <a:gd name="T74" fmla="*/ 108 w 125"/>
                  <a:gd name="T75" fmla="*/ 50 h 247"/>
                  <a:gd name="T76" fmla="*/ 88 w 125"/>
                  <a:gd name="T77" fmla="*/ 41 h 247"/>
                  <a:gd name="T78" fmla="*/ 79 w 125"/>
                  <a:gd name="T79" fmla="*/ 49 h 247"/>
                  <a:gd name="T80" fmla="*/ 74 w 125"/>
                  <a:gd name="T81" fmla="*/ 43 h 247"/>
                  <a:gd name="T82" fmla="*/ 61 w 125"/>
                  <a:gd name="T83" fmla="*/ 49 h 247"/>
                  <a:gd name="T84" fmla="*/ 54 w 125"/>
                  <a:gd name="T85" fmla="*/ 54 h 247"/>
                  <a:gd name="T86" fmla="*/ 58 w 125"/>
                  <a:gd name="T87" fmla="*/ 29 h 247"/>
                  <a:gd name="T88" fmla="*/ 56 w 125"/>
                  <a:gd name="T89" fmla="*/ 18 h 247"/>
                  <a:gd name="T90" fmla="*/ 47 w 125"/>
                  <a:gd name="T91" fmla="*/ 7 h 247"/>
                  <a:gd name="T92" fmla="*/ 41 w 125"/>
                  <a:gd name="T93" fmla="*/ 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247">
                    <a:moveTo>
                      <a:pt x="41" y="0"/>
                    </a:moveTo>
                    <a:lnTo>
                      <a:pt x="40" y="2"/>
                    </a:lnTo>
                    <a:lnTo>
                      <a:pt x="38" y="7"/>
                    </a:lnTo>
                    <a:lnTo>
                      <a:pt x="33" y="9"/>
                    </a:lnTo>
                    <a:lnTo>
                      <a:pt x="20" y="18"/>
                    </a:lnTo>
                    <a:lnTo>
                      <a:pt x="8" y="20"/>
                    </a:lnTo>
                    <a:lnTo>
                      <a:pt x="2" y="36"/>
                    </a:lnTo>
                    <a:lnTo>
                      <a:pt x="2" y="38"/>
                    </a:lnTo>
                    <a:lnTo>
                      <a:pt x="0" y="40"/>
                    </a:lnTo>
                    <a:lnTo>
                      <a:pt x="6" y="54"/>
                    </a:lnTo>
                    <a:lnTo>
                      <a:pt x="13" y="59"/>
                    </a:lnTo>
                    <a:lnTo>
                      <a:pt x="15" y="61"/>
                    </a:lnTo>
                    <a:lnTo>
                      <a:pt x="15" y="75"/>
                    </a:lnTo>
                    <a:lnTo>
                      <a:pt x="18" y="75"/>
                    </a:lnTo>
                    <a:lnTo>
                      <a:pt x="20" y="77"/>
                    </a:lnTo>
                    <a:lnTo>
                      <a:pt x="18" y="79"/>
                    </a:lnTo>
                    <a:lnTo>
                      <a:pt x="15" y="86"/>
                    </a:lnTo>
                    <a:lnTo>
                      <a:pt x="15" y="90"/>
                    </a:lnTo>
                    <a:lnTo>
                      <a:pt x="11" y="93"/>
                    </a:lnTo>
                    <a:lnTo>
                      <a:pt x="11" y="95"/>
                    </a:lnTo>
                    <a:lnTo>
                      <a:pt x="9" y="99"/>
                    </a:lnTo>
                    <a:lnTo>
                      <a:pt x="11" y="104"/>
                    </a:lnTo>
                    <a:lnTo>
                      <a:pt x="24" y="113"/>
                    </a:lnTo>
                    <a:lnTo>
                      <a:pt x="27" y="132"/>
                    </a:lnTo>
                    <a:lnTo>
                      <a:pt x="27" y="132"/>
                    </a:lnTo>
                    <a:lnTo>
                      <a:pt x="33" y="147"/>
                    </a:lnTo>
                    <a:lnTo>
                      <a:pt x="33" y="150"/>
                    </a:lnTo>
                    <a:lnTo>
                      <a:pt x="27" y="157"/>
                    </a:lnTo>
                    <a:lnTo>
                      <a:pt x="24" y="161"/>
                    </a:lnTo>
                    <a:lnTo>
                      <a:pt x="11" y="204"/>
                    </a:lnTo>
                    <a:lnTo>
                      <a:pt x="13" y="207"/>
                    </a:lnTo>
                    <a:lnTo>
                      <a:pt x="18" y="206"/>
                    </a:lnTo>
                    <a:lnTo>
                      <a:pt x="24" y="213"/>
                    </a:lnTo>
                    <a:lnTo>
                      <a:pt x="25" y="213"/>
                    </a:lnTo>
                    <a:lnTo>
                      <a:pt x="33" y="222"/>
                    </a:lnTo>
                    <a:lnTo>
                      <a:pt x="34" y="227"/>
                    </a:lnTo>
                    <a:lnTo>
                      <a:pt x="43" y="236"/>
                    </a:lnTo>
                    <a:lnTo>
                      <a:pt x="41" y="231"/>
                    </a:lnTo>
                    <a:lnTo>
                      <a:pt x="45" y="231"/>
                    </a:lnTo>
                    <a:lnTo>
                      <a:pt x="47" y="234"/>
                    </a:lnTo>
                    <a:lnTo>
                      <a:pt x="54" y="234"/>
                    </a:lnTo>
                    <a:lnTo>
                      <a:pt x="58" y="240"/>
                    </a:lnTo>
                    <a:lnTo>
                      <a:pt x="58" y="243"/>
                    </a:lnTo>
                    <a:lnTo>
                      <a:pt x="58" y="247"/>
                    </a:lnTo>
                    <a:lnTo>
                      <a:pt x="65" y="243"/>
                    </a:lnTo>
                    <a:lnTo>
                      <a:pt x="68" y="243"/>
                    </a:lnTo>
                    <a:lnTo>
                      <a:pt x="72" y="243"/>
                    </a:lnTo>
                    <a:lnTo>
                      <a:pt x="74" y="240"/>
                    </a:lnTo>
                    <a:lnTo>
                      <a:pt x="63" y="227"/>
                    </a:lnTo>
                    <a:lnTo>
                      <a:pt x="54" y="227"/>
                    </a:lnTo>
                    <a:lnTo>
                      <a:pt x="49" y="222"/>
                    </a:lnTo>
                    <a:lnTo>
                      <a:pt x="45" y="207"/>
                    </a:lnTo>
                    <a:lnTo>
                      <a:pt x="40" y="202"/>
                    </a:lnTo>
                    <a:lnTo>
                      <a:pt x="38" y="193"/>
                    </a:lnTo>
                    <a:lnTo>
                      <a:pt x="36" y="190"/>
                    </a:lnTo>
                    <a:lnTo>
                      <a:pt x="34" y="190"/>
                    </a:lnTo>
                    <a:lnTo>
                      <a:pt x="31" y="191"/>
                    </a:lnTo>
                    <a:lnTo>
                      <a:pt x="27" y="190"/>
                    </a:lnTo>
                    <a:lnTo>
                      <a:pt x="25" y="174"/>
                    </a:lnTo>
                    <a:lnTo>
                      <a:pt x="27" y="170"/>
                    </a:lnTo>
                    <a:lnTo>
                      <a:pt x="27" y="166"/>
                    </a:lnTo>
                    <a:lnTo>
                      <a:pt x="29" y="165"/>
                    </a:lnTo>
                    <a:lnTo>
                      <a:pt x="31" y="163"/>
                    </a:lnTo>
                    <a:lnTo>
                      <a:pt x="31" y="159"/>
                    </a:lnTo>
                    <a:lnTo>
                      <a:pt x="38" y="143"/>
                    </a:lnTo>
                    <a:lnTo>
                      <a:pt x="40" y="129"/>
                    </a:lnTo>
                    <a:lnTo>
                      <a:pt x="38" y="122"/>
                    </a:lnTo>
                    <a:lnTo>
                      <a:pt x="41" y="120"/>
                    </a:lnTo>
                    <a:lnTo>
                      <a:pt x="47" y="120"/>
                    </a:lnTo>
                    <a:lnTo>
                      <a:pt x="52" y="122"/>
                    </a:lnTo>
                    <a:lnTo>
                      <a:pt x="54" y="124"/>
                    </a:lnTo>
                    <a:lnTo>
                      <a:pt x="52" y="134"/>
                    </a:lnTo>
                    <a:lnTo>
                      <a:pt x="54" y="136"/>
                    </a:lnTo>
                    <a:lnTo>
                      <a:pt x="56" y="136"/>
                    </a:lnTo>
                    <a:lnTo>
                      <a:pt x="54" y="134"/>
                    </a:lnTo>
                    <a:lnTo>
                      <a:pt x="68" y="136"/>
                    </a:lnTo>
                    <a:lnTo>
                      <a:pt x="75" y="141"/>
                    </a:lnTo>
                    <a:lnTo>
                      <a:pt x="79" y="145"/>
                    </a:lnTo>
                    <a:lnTo>
                      <a:pt x="79" y="143"/>
                    </a:lnTo>
                    <a:lnTo>
                      <a:pt x="81" y="145"/>
                    </a:lnTo>
                    <a:lnTo>
                      <a:pt x="84" y="150"/>
                    </a:lnTo>
                    <a:lnTo>
                      <a:pt x="86" y="152"/>
                    </a:lnTo>
                    <a:lnTo>
                      <a:pt x="86" y="150"/>
                    </a:lnTo>
                    <a:lnTo>
                      <a:pt x="86" y="147"/>
                    </a:lnTo>
                    <a:lnTo>
                      <a:pt x="83" y="140"/>
                    </a:lnTo>
                    <a:lnTo>
                      <a:pt x="77" y="136"/>
                    </a:lnTo>
                    <a:lnTo>
                      <a:pt x="75" y="125"/>
                    </a:lnTo>
                    <a:lnTo>
                      <a:pt x="75" y="120"/>
                    </a:lnTo>
                    <a:lnTo>
                      <a:pt x="77" y="120"/>
                    </a:lnTo>
                    <a:lnTo>
                      <a:pt x="79" y="116"/>
                    </a:lnTo>
                    <a:lnTo>
                      <a:pt x="81" y="115"/>
                    </a:lnTo>
                    <a:lnTo>
                      <a:pt x="88" y="107"/>
                    </a:lnTo>
                    <a:lnTo>
                      <a:pt x="90" y="107"/>
                    </a:lnTo>
                    <a:lnTo>
                      <a:pt x="116" y="107"/>
                    </a:lnTo>
                    <a:lnTo>
                      <a:pt x="118" y="109"/>
                    </a:lnTo>
                    <a:lnTo>
                      <a:pt x="122" y="109"/>
                    </a:lnTo>
                    <a:lnTo>
                      <a:pt x="122" y="107"/>
                    </a:lnTo>
                    <a:lnTo>
                      <a:pt x="124" y="107"/>
                    </a:lnTo>
                    <a:lnTo>
                      <a:pt x="125" y="104"/>
                    </a:lnTo>
                    <a:lnTo>
                      <a:pt x="125" y="91"/>
                    </a:lnTo>
                    <a:lnTo>
                      <a:pt x="125" y="90"/>
                    </a:lnTo>
                    <a:lnTo>
                      <a:pt x="125" y="86"/>
                    </a:lnTo>
                    <a:lnTo>
                      <a:pt x="125" y="84"/>
                    </a:lnTo>
                    <a:lnTo>
                      <a:pt x="124" y="82"/>
                    </a:lnTo>
                    <a:lnTo>
                      <a:pt x="122" y="81"/>
                    </a:lnTo>
                    <a:lnTo>
                      <a:pt x="122" y="79"/>
                    </a:lnTo>
                    <a:lnTo>
                      <a:pt x="118" y="79"/>
                    </a:lnTo>
                    <a:lnTo>
                      <a:pt x="116" y="77"/>
                    </a:lnTo>
                    <a:lnTo>
                      <a:pt x="115" y="75"/>
                    </a:lnTo>
                    <a:lnTo>
                      <a:pt x="113" y="72"/>
                    </a:lnTo>
                    <a:lnTo>
                      <a:pt x="113" y="61"/>
                    </a:lnTo>
                    <a:lnTo>
                      <a:pt x="111" y="54"/>
                    </a:lnTo>
                    <a:lnTo>
                      <a:pt x="109" y="52"/>
                    </a:lnTo>
                    <a:lnTo>
                      <a:pt x="108" y="50"/>
                    </a:lnTo>
                    <a:lnTo>
                      <a:pt x="104" y="47"/>
                    </a:lnTo>
                    <a:lnTo>
                      <a:pt x="99" y="40"/>
                    </a:lnTo>
                    <a:lnTo>
                      <a:pt x="88" y="41"/>
                    </a:lnTo>
                    <a:lnTo>
                      <a:pt x="88" y="45"/>
                    </a:lnTo>
                    <a:lnTo>
                      <a:pt x="86" y="45"/>
                    </a:lnTo>
                    <a:lnTo>
                      <a:pt x="79" y="49"/>
                    </a:lnTo>
                    <a:lnTo>
                      <a:pt x="77" y="49"/>
                    </a:lnTo>
                    <a:lnTo>
                      <a:pt x="75" y="47"/>
                    </a:lnTo>
                    <a:lnTo>
                      <a:pt x="74" y="43"/>
                    </a:lnTo>
                    <a:lnTo>
                      <a:pt x="72" y="43"/>
                    </a:lnTo>
                    <a:lnTo>
                      <a:pt x="65" y="45"/>
                    </a:lnTo>
                    <a:lnTo>
                      <a:pt x="61" y="49"/>
                    </a:lnTo>
                    <a:lnTo>
                      <a:pt x="58" y="50"/>
                    </a:lnTo>
                    <a:lnTo>
                      <a:pt x="56" y="52"/>
                    </a:lnTo>
                    <a:lnTo>
                      <a:pt x="54" y="54"/>
                    </a:lnTo>
                    <a:lnTo>
                      <a:pt x="54" y="52"/>
                    </a:lnTo>
                    <a:lnTo>
                      <a:pt x="52" y="49"/>
                    </a:lnTo>
                    <a:lnTo>
                      <a:pt x="58" y="29"/>
                    </a:lnTo>
                    <a:lnTo>
                      <a:pt x="56" y="25"/>
                    </a:lnTo>
                    <a:lnTo>
                      <a:pt x="58" y="20"/>
                    </a:lnTo>
                    <a:lnTo>
                      <a:pt x="56" y="18"/>
                    </a:lnTo>
                    <a:lnTo>
                      <a:pt x="49" y="18"/>
                    </a:lnTo>
                    <a:lnTo>
                      <a:pt x="47" y="18"/>
                    </a:lnTo>
                    <a:lnTo>
                      <a:pt x="47" y="7"/>
                    </a:lnTo>
                    <a:lnTo>
                      <a:pt x="43" y="4"/>
                    </a:lnTo>
                    <a:lnTo>
                      <a:pt x="41" y="4"/>
                    </a:lnTo>
                    <a:lnTo>
                      <a:pt x="41" y="4"/>
                    </a:lnTo>
                    <a:lnTo>
                      <a:pt x="41" y="0"/>
                    </a:lnTo>
                    <a:lnTo>
                      <a:pt x="4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28" name="Freeform 2479"/>
              <p:cNvSpPr>
                <a:spLocks/>
              </p:cNvSpPr>
              <p:nvPr/>
            </p:nvSpPr>
            <p:spPr bwMode="auto">
              <a:xfrm>
                <a:off x="4258" y="2375"/>
                <a:ext cx="125" cy="247"/>
              </a:xfrm>
              <a:custGeom>
                <a:avLst/>
                <a:gdLst>
                  <a:gd name="T0" fmla="*/ 38 w 125"/>
                  <a:gd name="T1" fmla="*/ 7 h 247"/>
                  <a:gd name="T2" fmla="*/ 8 w 125"/>
                  <a:gd name="T3" fmla="*/ 20 h 247"/>
                  <a:gd name="T4" fmla="*/ 0 w 125"/>
                  <a:gd name="T5" fmla="*/ 40 h 247"/>
                  <a:gd name="T6" fmla="*/ 15 w 125"/>
                  <a:gd name="T7" fmla="*/ 61 h 247"/>
                  <a:gd name="T8" fmla="*/ 20 w 125"/>
                  <a:gd name="T9" fmla="*/ 77 h 247"/>
                  <a:gd name="T10" fmla="*/ 15 w 125"/>
                  <a:gd name="T11" fmla="*/ 90 h 247"/>
                  <a:gd name="T12" fmla="*/ 9 w 125"/>
                  <a:gd name="T13" fmla="*/ 99 h 247"/>
                  <a:gd name="T14" fmla="*/ 27 w 125"/>
                  <a:gd name="T15" fmla="*/ 132 h 247"/>
                  <a:gd name="T16" fmla="*/ 33 w 125"/>
                  <a:gd name="T17" fmla="*/ 150 h 247"/>
                  <a:gd name="T18" fmla="*/ 11 w 125"/>
                  <a:gd name="T19" fmla="*/ 204 h 247"/>
                  <a:gd name="T20" fmla="*/ 24 w 125"/>
                  <a:gd name="T21" fmla="*/ 213 h 247"/>
                  <a:gd name="T22" fmla="*/ 34 w 125"/>
                  <a:gd name="T23" fmla="*/ 227 h 247"/>
                  <a:gd name="T24" fmla="*/ 45 w 125"/>
                  <a:gd name="T25" fmla="*/ 231 h 247"/>
                  <a:gd name="T26" fmla="*/ 58 w 125"/>
                  <a:gd name="T27" fmla="*/ 240 h 247"/>
                  <a:gd name="T28" fmla="*/ 65 w 125"/>
                  <a:gd name="T29" fmla="*/ 243 h 247"/>
                  <a:gd name="T30" fmla="*/ 74 w 125"/>
                  <a:gd name="T31" fmla="*/ 240 h 247"/>
                  <a:gd name="T32" fmla="*/ 49 w 125"/>
                  <a:gd name="T33" fmla="*/ 222 h 247"/>
                  <a:gd name="T34" fmla="*/ 38 w 125"/>
                  <a:gd name="T35" fmla="*/ 193 h 247"/>
                  <a:gd name="T36" fmla="*/ 31 w 125"/>
                  <a:gd name="T37" fmla="*/ 191 h 247"/>
                  <a:gd name="T38" fmla="*/ 27 w 125"/>
                  <a:gd name="T39" fmla="*/ 170 h 247"/>
                  <a:gd name="T40" fmla="*/ 31 w 125"/>
                  <a:gd name="T41" fmla="*/ 163 h 247"/>
                  <a:gd name="T42" fmla="*/ 40 w 125"/>
                  <a:gd name="T43" fmla="*/ 129 h 247"/>
                  <a:gd name="T44" fmla="*/ 47 w 125"/>
                  <a:gd name="T45" fmla="*/ 120 h 247"/>
                  <a:gd name="T46" fmla="*/ 52 w 125"/>
                  <a:gd name="T47" fmla="*/ 134 h 247"/>
                  <a:gd name="T48" fmla="*/ 54 w 125"/>
                  <a:gd name="T49" fmla="*/ 134 h 247"/>
                  <a:gd name="T50" fmla="*/ 79 w 125"/>
                  <a:gd name="T51" fmla="*/ 145 h 247"/>
                  <a:gd name="T52" fmla="*/ 84 w 125"/>
                  <a:gd name="T53" fmla="*/ 150 h 247"/>
                  <a:gd name="T54" fmla="*/ 86 w 125"/>
                  <a:gd name="T55" fmla="*/ 147 h 247"/>
                  <a:gd name="T56" fmla="*/ 75 w 125"/>
                  <a:gd name="T57" fmla="*/ 125 h 247"/>
                  <a:gd name="T58" fmla="*/ 79 w 125"/>
                  <a:gd name="T59" fmla="*/ 116 h 247"/>
                  <a:gd name="T60" fmla="*/ 90 w 125"/>
                  <a:gd name="T61" fmla="*/ 107 h 247"/>
                  <a:gd name="T62" fmla="*/ 122 w 125"/>
                  <a:gd name="T63" fmla="*/ 109 h 247"/>
                  <a:gd name="T64" fmla="*/ 125 w 125"/>
                  <a:gd name="T65" fmla="*/ 104 h 247"/>
                  <a:gd name="T66" fmla="*/ 125 w 125"/>
                  <a:gd name="T67" fmla="*/ 86 h 247"/>
                  <a:gd name="T68" fmla="*/ 122 w 125"/>
                  <a:gd name="T69" fmla="*/ 81 h 247"/>
                  <a:gd name="T70" fmla="*/ 116 w 125"/>
                  <a:gd name="T71" fmla="*/ 77 h 247"/>
                  <a:gd name="T72" fmla="*/ 113 w 125"/>
                  <a:gd name="T73" fmla="*/ 61 h 247"/>
                  <a:gd name="T74" fmla="*/ 108 w 125"/>
                  <a:gd name="T75" fmla="*/ 50 h 247"/>
                  <a:gd name="T76" fmla="*/ 88 w 125"/>
                  <a:gd name="T77" fmla="*/ 41 h 247"/>
                  <a:gd name="T78" fmla="*/ 79 w 125"/>
                  <a:gd name="T79" fmla="*/ 49 h 247"/>
                  <a:gd name="T80" fmla="*/ 74 w 125"/>
                  <a:gd name="T81" fmla="*/ 43 h 247"/>
                  <a:gd name="T82" fmla="*/ 61 w 125"/>
                  <a:gd name="T83" fmla="*/ 49 h 247"/>
                  <a:gd name="T84" fmla="*/ 54 w 125"/>
                  <a:gd name="T85" fmla="*/ 54 h 247"/>
                  <a:gd name="T86" fmla="*/ 58 w 125"/>
                  <a:gd name="T87" fmla="*/ 29 h 247"/>
                  <a:gd name="T88" fmla="*/ 56 w 125"/>
                  <a:gd name="T89" fmla="*/ 18 h 247"/>
                  <a:gd name="T90" fmla="*/ 47 w 125"/>
                  <a:gd name="T91" fmla="*/ 7 h 247"/>
                  <a:gd name="T92" fmla="*/ 41 w 125"/>
                  <a:gd name="T93" fmla="*/ 4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5" h="247">
                    <a:moveTo>
                      <a:pt x="41" y="0"/>
                    </a:moveTo>
                    <a:lnTo>
                      <a:pt x="40" y="2"/>
                    </a:lnTo>
                    <a:lnTo>
                      <a:pt x="38" y="7"/>
                    </a:lnTo>
                    <a:lnTo>
                      <a:pt x="33" y="9"/>
                    </a:lnTo>
                    <a:lnTo>
                      <a:pt x="20" y="18"/>
                    </a:lnTo>
                    <a:lnTo>
                      <a:pt x="8" y="20"/>
                    </a:lnTo>
                    <a:lnTo>
                      <a:pt x="2" y="36"/>
                    </a:lnTo>
                    <a:lnTo>
                      <a:pt x="2" y="38"/>
                    </a:lnTo>
                    <a:lnTo>
                      <a:pt x="0" y="40"/>
                    </a:lnTo>
                    <a:lnTo>
                      <a:pt x="6" y="54"/>
                    </a:lnTo>
                    <a:lnTo>
                      <a:pt x="13" y="59"/>
                    </a:lnTo>
                    <a:lnTo>
                      <a:pt x="15" y="61"/>
                    </a:lnTo>
                    <a:lnTo>
                      <a:pt x="15" y="75"/>
                    </a:lnTo>
                    <a:lnTo>
                      <a:pt x="18" y="75"/>
                    </a:lnTo>
                    <a:lnTo>
                      <a:pt x="20" y="77"/>
                    </a:lnTo>
                    <a:lnTo>
                      <a:pt x="18" y="79"/>
                    </a:lnTo>
                    <a:lnTo>
                      <a:pt x="15" y="86"/>
                    </a:lnTo>
                    <a:lnTo>
                      <a:pt x="15" y="90"/>
                    </a:lnTo>
                    <a:lnTo>
                      <a:pt x="11" y="93"/>
                    </a:lnTo>
                    <a:lnTo>
                      <a:pt x="11" y="95"/>
                    </a:lnTo>
                    <a:lnTo>
                      <a:pt x="9" y="99"/>
                    </a:lnTo>
                    <a:lnTo>
                      <a:pt x="11" y="104"/>
                    </a:lnTo>
                    <a:lnTo>
                      <a:pt x="24" y="113"/>
                    </a:lnTo>
                    <a:lnTo>
                      <a:pt x="27" y="132"/>
                    </a:lnTo>
                    <a:lnTo>
                      <a:pt x="27" y="132"/>
                    </a:lnTo>
                    <a:lnTo>
                      <a:pt x="33" y="147"/>
                    </a:lnTo>
                    <a:lnTo>
                      <a:pt x="33" y="150"/>
                    </a:lnTo>
                    <a:lnTo>
                      <a:pt x="27" y="157"/>
                    </a:lnTo>
                    <a:lnTo>
                      <a:pt x="24" y="161"/>
                    </a:lnTo>
                    <a:lnTo>
                      <a:pt x="11" y="204"/>
                    </a:lnTo>
                    <a:lnTo>
                      <a:pt x="13" y="207"/>
                    </a:lnTo>
                    <a:lnTo>
                      <a:pt x="18" y="206"/>
                    </a:lnTo>
                    <a:lnTo>
                      <a:pt x="24" y="213"/>
                    </a:lnTo>
                    <a:lnTo>
                      <a:pt x="25" y="213"/>
                    </a:lnTo>
                    <a:lnTo>
                      <a:pt x="33" y="222"/>
                    </a:lnTo>
                    <a:lnTo>
                      <a:pt x="34" y="227"/>
                    </a:lnTo>
                    <a:lnTo>
                      <a:pt x="43" y="236"/>
                    </a:lnTo>
                    <a:lnTo>
                      <a:pt x="41" y="231"/>
                    </a:lnTo>
                    <a:lnTo>
                      <a:pt x="45" y="231"/>
                    </a:lnTo>
                    <a:lnTo>
                      <a:pt x="47" y="234"/>
                    </a:lnTo>
                    <a:lnTo>
                      <a:pt x="54" y="234"/>
                    </a:lnTo>
                    <a:lnTo>
                      <a:pt x="58" y="240"/>
                    </a:lnTo>
                    <a:lnTo>
                      <a:pt x="58" y="243"/>
                    </a:lnTo>
                    <a:lnTo>
                      <a:pt x="58" y="247"/>
                    </a:lnTo>
                    <a:lnTo>
                      <a:pt x="65" y="243"/>
                    </a:lnTo>
                    <a:lnTo>
                      <a:pt x="68" y="243"/>
                    </a:lnTo>
                    <a:lnTo>
                      <a:pt x="72" y="243"/>
                    </a:lnTo>
                    <a:lnTo>
                      <a:pt x="74" y="240"/>
                    </a:lnTo>
                    <a:lnTo>
                      <a:pt x="63" y="227"/>
                    </a:lnTo>
                    <a:lnTo>
                      <a:pt x="54" y="227"/>
                    </a:lnTo>
                    <a:lnTo>
                      <a:pt x="49" y="222"/>
                    </a:lnTo>
                    <a:lnTo>
                      <a:pt x="45" y="207"/>
                    </a:lnTo>
                    <a:lnTo>
                      <a:pt x="40" y="202"/>
                    </a:lnTo>
                    <a:lnTo>
                      <a:pt x="38" y="193"/>
                    </a:lnTo>
                    <a:lnTo>
                      <a:pt x="36" y="190"/>
                    </a:lnTo>
                    <a:lnTo>
                      <a:pt x="34" y="190"/>
                    </a:lnTo>
                    <a:lnTo>
                      <a:pt x="31" y="191"/>
                    </a:lnTo>
                    <a:lnTo>
                      <a:pt x="27" y="190"/>
                    </a:lnTo>
                    <a:lnTo>
                      <a:pt x="25" y="174"/>
                    </a:lnTo>
                    <a:lnTo>
                      <a:pt x="27" y="170"/>
                    </a:lnTo>
                    <a:lnTo>
                      <a:pt x="27" y="166"/>
                    </a:lnTo>
                    <a:lnTo>
                      <a:pt x="29" y="165"/>
                    </a:lnTo>
                    <a:lnTo>
                      <a:pt x="31" y="163"/>
                    </a:lnTo>
                    <a:lnTo>
                      <a:pt x="31" y="159"/>
                    </a:lnTo>
                    <a:lnTo>
                      <a:pt x="38" y="143"/>
                    </a:lnTo>
                    <a:lnTo>
                      <a:pt x="40" y="129"/>
                    </a:lnTo>
                    <a:lnTo>
                      <a:pt x="38" y="122"/>
                    </a:lnTo>
                    <a:lnTo>
                      <a:pt x="41" y="120"/>
                    </a:lnTo>
                    <a:lnTo>
                      <a:pt x="47" y="120"/>
                    </a:lnTo>
                    <a:lnTo>
                      <a:pt x="52" y="122"/>
                    </a:lnTo>
                    <a:lnTo>
                      <a:pt x="54" y="124"/>
                    </a:lnTo>
                    <a:lnTo>
                      <a:pt x="52" y="134"/>
                    </a:lnTo>
                    <a:lnTo>
                      <a:pt x="54" y="136"/>
                    </a:lnTo>
                    <a:lnTo>
                      <a:pt x="56" y="136"/>
                    </a:lnTo>
                    <a:lnTo>
                      <a:pt x="54" y="134"/>
                    </a:lnTo>
                    <a:lnTo>
                      <a:pt x="68" y="136"/>
                    </a:lnTo>
                    <a:lnTo>
                      <a:pt x="75" y="141"/>
                    </a:lnTo>
                    <a:lnTo>
                      <a:pt x="79" y="145"/>
                    </a:lnTo>
                    <a:lnTo>
                      <a:pt x="79" y="143"/>
                    </a:lnTo>
                    <a:lnTo>
                      <a:pt x="81" y="145"/>
                    </a:lnTo>
                    <a:lnTo>
                      <a:pt x="84" y="150"/>
                    </a:lnTo>
                    <a:lnTo>
                      <a:pt x="86" y="152"/>
                    </a:lnTo>
                    <a:lnTo>
                      <a:pt x="86" y="150"/>
                    </a:lnTo>
                    <a:lnTo>
                      <a:pt x="86" y="147"/>
                    </a:lnTo>
                    <a:lnTo>
                      <a:pt x="83" y="140"/>
                    </a:lnTo>
                    <a:lnTo>
                      <a:pt x="77" y="136"/>
                    </a:lnTo>
                    <a:lnTo>
                      <a:pt x="75" y="125"/>
                    </a:lnTo>
                    <a:lnTo>
                      <a:pt x="75" y="120"/>
                    </a:lnTo>
                    <a:lnTo>
                      <a:pt x="77" y="120"/>
                    </a:lnTo>
                    <a:lnTo>
                      <a:pt x="79" y="116"/>
                    </a:lnTo>
                    <a:lnTo>
                      <a:pt x="81" y="115"/>
                    </a:lnTo>
                    <a:lnTo>
                      <a:pt x="88" y="107"/>
                    </a:lnTo>
                    <a:lnTo>
                      <a:pt x="90" y="107"/>
                    </a:lnTo>
                    <a:lnTo>
                      <a:pt x="116" y="107"/>
                    </a:lnTo>
                    <a:lnTo>
                      <a:pt x="118" y="109"/>
                    </a:lnTo>
                    <a:lnTo>
                      <a:pt x="122" y="109"/>
                    </a:lnTo>
                    <a:lnTo>
                      <a:pt x="122" y="107"/>
                    </a:lnTo>
                    <a:lnTo>
                      <a:pt x="124" y="107"/>
                    </a:lnTo>
                    <a:lnTo>
                      <a:pt x="125" y="104"/>
                    </a:lnTo>
                    <a:lnTo>
                      <a:pt x="125" y="91"/>
                    </a:lnTo>
                    <a:lnTo>
                      <a:pt x="125" y="90"/>
                    </a:lnTo>
                    <a:lnTo>
                      <a:pt x="125" y="86"/>
                    </a:lnTo>
                    <a:lnTo>
                      <a:pt x="125" y="84"/>
                    </a:lnTo>
                    <a:lnTo>
                      <a:pt x="124" y="82"/>
                    </a:lnTo>
                    <a:lnTo>
                      <a:pt x="122" y="81"/>
                    </a:lnTo>
                    <a:lnTo>
                      <a:pt x="122" y="79"/>
                    </a:lnTo>
                    <a:lnTo>
                      <a:pt x="118" y="79"/>
                    </a:lnTo>
                    <a:lnTo>
                      <a:pt x="116" y="77"/>
                    </a:lnTo>
                    <a:lnTo>
                      <a:pt x="115" y="75"/>
                    </a:lnTo>
                    <a:lnTo>
                      <a:pt x="113" y="72"/>
                    </a:lnTo>
                    <a:lnTo>
                      <a:pt x="113" y="61"/>
                    </a:lnTo>
                    <a:lnTo>
                      <a:pt x="111" y="54"/>
                    </a:lnTo>
                    <a:lnTo>
                      <a:pt x="109" y="52"/>
                    </a:lnTo>
                    <a:lnTo>
                      <a:pt x="108" y="50"/>
                    </a:lnTo>
                    <a:lnTo>
                      <a:pt x="104" y="47"/>
                    </a:lnTo>
                    <a:lnTo>
                      <a:pt x="99" y="40"/>
                    </a:lnTo>
                    <a:lnTo>
                      <a:pt x="88" y="41"/>
                    </a:lnTo>
                    <a:lnTo>
                      <a:pt x="88" y="45"/>
                    </a:lnTo>
                    <a:lnTo>
                      <a:pt x="86" y="45"/>
                    </a:lnTo>
                    <a:lnTo>
                      <a:pt x="79" y="49"/>
                    </a:lnTo>
                    <a:lnTo>
                      <a:pt x="77" y="49"/>
                    </a:lnTo>
                    <a:lnTo>
                      <a:pt x="75" y="47"/>
                    </a:lnTo>
                    <a:lnTo>
                      <a:pt x="74" y="43"/>
                    </a:lnTo>
                    <a:lnTo>
                      <a:pt x="72" y="43"/>
                    </a:lnTo>
                    <a:lnTo>
                      <a:pt x="65" y="45"/>
                    </a:lnTo>
                    <a:lnTo>
                      <a:pt x="61" y="49"/>
                    </a:lnTo>
                    <a:lnTo>
                      <a:pt x="58" y="50"/>
                    </a:lnTo>
                    <a:lnTo>
                      <a:pt x="56" y="52"/>
                    </a:lnTo>
                    <a:lnTo>
                      <a:pt x="54" y="54"/>
                    </a:lnTo>
                    <a:lnTo>
                      <a:pt x="54" y="52"/>
                    </a:lnTo>
                    <a:lnTo>
                      <a:pt x="52" y="49"/>
                    </a:lnTo>
                    <a:lnTo>
                      <a:pt x="58" y="29"/>
                    </a:lnTo>
                    <a:lnTo>
                      <a:pt x="56" y="25"/>
                    </a:lnTo>
                    <a:lnTo>
                      <a:pt x="58" y="20"/>
                    </a:lnTo>
                    <a:lnTo>
                      <a:pt x="56" y="18"/>
                    </a:lnTo>
                    <a:lnTo>
                      <a:pt x="49" y="18"/>
                    </a:lnTo>
                    <a:lnTo>
                      <a:pt x="47" y="18"/>
                    </a:lnTo>
                    <a:lnTo>
                      <a:pt x="47" y="7"/>
                    </a:lnTo>
                    <a:lnTo>
                      <a:pt x="43" y="4"/>
                    </a:lnTo>
                    <a:lnTo>
                      <a:pt x="41" y="4"/>
                    </a:lnTo>
                    <a:lnTo>
                      <a:pt x="41" y="4"/>
                    </a:lnTo>
                    <a:lnTo>
                      <a:pt x="41" y="0"/>
                    </a:lnTo>
                    <a:lnTo>
                      <a:pt x="4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29" name="Freeform 2480"/>
              <p:cNvSpPr>
                <a:spLocks/>
              </p:cNvSpPr>
              <p:nvPr/>
            </p:nvSpPr>
            <p:spPr bwMode="auto">
              <a:xfrm>
                <a:off x="3978" y="2207"/>
                <a:ext cx="129" cy="70"/>
              </a:xfrm>
              <a:custGeom>
                <a:avLst/>
                <a:gdLst>
                  <a:gd name="T0" fmla="*/ 125 w 129"/>
                  <a:gd name="T1" fmla="*/ 58 h 70"/>
                  <a:gd name="T2" fmla="*/ 127 w 129"/>
                  <a:gd name="T3" fmla="*/ 61 h 70"/>
                  <a:gd name="T4" fmla="*/ 125 w 129"/>
                  <a:gd name="T5" fmla="*/ 70 h 70"/>
                  <a:gd name="T6" fmla="*/ 120 w 129"/>
                  <a:gd name="T7" fmla="*/ 70 h 70"/>
                  <a:gd name="T8" fmla="*/ 109 w 129"/>
                  <a:gd name="T9" fmla="*/ 70 h 70"/>
                  <a:gd name="T10" fmla="*/ 77 w 129"/>
                  <a:gd name="T11" fmla="*/ 63 h 70"/>
                  <a:gd name="T12" fmla="*/ 66 w 129"/>
                  <a:gd name="T13" fmla="*/ 54 h 70"/>
                  <a:gd name="T14" fmla="*/ 52 w 129"/>
                  <a:gd name="T15" fmla="*/ 52 h 70"/>
                  <a:gd name="T16" fmla="*/ 39 w 129"/>
                  <a:gd name="T17" fmla="*/ 49 h 70"/>
                  <a:gd name="T18" fmla="*/ 32 w 129"/>
                  <a:gd name="T19" fmla="*/ 47 h 70"/>
                  <a:gd name="T20" fmla="*/ 22 w 129"/>
                  <a:gd name="T21" fmla="*/ 42 h 70"/>
                  <a:gd name="T22" fmla="*/ 13 w 129"/>
                  <a:gd name="T23" fmla="*/ 34 h 70"/>
                  <a:gd name="T24" fmla="*/ 7 w 129"/>
                  <a:gd name="T25" fmla="*/ 33 h 70"/>
                  <a:gd name="T26" fmla="*/ 4 w 129"/>
                  <a:gd name="T27" fmla="*/ 31 h 70"/>
                  <a:gd name="T28" fmla="*/ 0 w 129"/>
                  <a:gd name="T29" fmla="*/ 27 h 70"/>
                  <a:gd name="T30" fmla="*/ 2 w 129"/>
                  <a:gd name="T31" fmla="*/ 22 h 70"/>
                  <a:gd name="T32" fmla="*/ 2 w 129"/>
                  <a:gd name="T33" fmla="*/ 17 h 70"/>
                  <a:gd name="T34" fmla="*/ 4 w 129"/>
                  <a:gd name="T35" fmla="*/ 11 h 70"/>
                  <a:gd name="T36" fmla="*/ 7 w 129"/>
                  <a:gd name="T37" fmla="*/ 8 h 70"/>
                  <a:gd name="T38" fmla="*/ 11 w 129"/>
                  <a:gd name="T39" fmla="*/ 2 h 70"/>
                  <a:gd name="T40" fmla="*/ 13 w 129"/>
                  <a:gd name="T41" fmla="*/ 2 h 70"/>
                  <a:gd name="T42" fmla="*/ 16 w 129"/>
                  <a:gd name="T43" fmla="*/ 2 h 70"/>
                  <a:gd name="T44" fmla="*/ 18 w 129"/>
                  <a:gd name="T45" fmla="*/ 4 h 70"/>
                  <a:gd name="T46" fmla="*/ 20 w 129"/>
                  <a:gd name="T47" fmla="*/ 0 h 70"/>
                  <a:gd name="T48" fmla="*/ 38 w 129"/>
                  <a:gd name="T49" fmla="*/ 4 h 70"/>
                  <a:gd name="T50" fmla="*/ 47 w 129"/>
                  <a:gd name="T51" fmla="*/ 11 h 70"/>
                  <a:gd name="T52" fmla="*/ 54 w 129"/>
                  <a:gd name="T53" fmla="*/ 22 h 70"/>
                  <a:gd name="T54" fmla="*/ 59 w 129"/>
                  <a:gd name="T55" fmla="*/ 22 h 70"/>
                  <a:gd name="T56" fmla="*/ 61 w 129"/>
                  <a:gd name="T57" fmla="*/ 18 h 70"/>
                  <a:gd name="T58" fmla="*/ 66 w 129"/>
                  <a:gd name="T59" fmla="*/ 18 h 70"/>
                  <a:gd name="T60" fmla="*/ 66 w 129"/>
                  <a:gd name="T61" fmla="*/ 24 h 70"/>
                  <a:gd name="T62" fmla="*/ 66 w 129"/>
                  <a:gd name="T63" fmla="*/ 27 h 70"/>
                  <a:gd name="T64" fmla="*/ 70 w 129"/>
                  <a:gd name="T65" fmla="*/ 29 h 70"/>
                  <a:gd name="T66" fmla="*/ 75 w 129"/>
                  <a:gd name="T67" fmla="*/ 31 h 70"/>
                  <a:gd name="T68" fmla="*/ 80 w 129"/>
                  <a:gd name="T69" fmla="*/ 31 h 70"/>
                  <a:gd name="T70" fmla="*/ 80 w 129"/>
                  <a:gd name="T71" fmla="*/ 36 h 70"/>
                  <a:gd name="T72" fmla="*/ 89 w 129"/>
                  <a:gd name="T73" fmla="*/ 38 h 70"/>
                  <a:gd name="T74" fmla="*/ 93 w 129"/>
                  <a:gd name="T75" fmla="*/ 43 h 70"/>
                  <a:gd name="T76" fmla="*/ 96 w 129"/>
                  <a:gd name="T77" fmla="*/ 43 h 70"/>
                  <a:gd name="T78" fmla="*/ 102 w 129"/>
                  <a:gd name="T79" fmla="*/ 43 h 70"/>
                  <a:gd name="T80" fmla="*/ 104 w 129"/>
                  <a:gd name="T81" fmla="*/ 42 h 70"/>
                  <a:gd name="T82" fmla="*/ 114 w 129"/>
                  <a:gd name="T83" fmla="*/ 45 h 70"/>
                  <a:gd name="T84" fmla="*/ 123 w 129"/>
                  <a:gd name="T85" fmla="*/ 4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9" h="70">
                    <a:moveTo>
                      <a:pt x="127" y="43"/>
                    </a:moveTo>
                    <a:lnTo>
                      <a:pt x="127" y="47"/>
                    </a:lnTo>
                    <a:lnTo>
                      <a:pt x="125" y="58"/>
                    </a:lnTo>
                    <a:lnTo>
                      <a:pt x="123" y="59"/>
                    </a:lnTo>
                    <a:lnTo>
                      <a:pt x="123" y="59"/>
                    </a:lnTo>
                    <a:lnTo>
                      <a:pt x="127" y="61"/>
                    </a:lnTo>
                    <a:lnTo>
                      <a:pt x="129" y="65"/>
                    </a:lnTo>
                    <a:lnTo>
                      <a:pt x="127" y="67"/>
                    </a:lnTo>
                    <a:lnTo>
                      <a:pt x="125" y="70"/>
                    </a:lnTo>
                    <a:lnTo>
                      <a:pt x="125" y="70"/>
                    </a:lnTo>
                    <a:lnTo>
                      <a:pt x="121" y="70"/>
                    </a:lnTo>
                    <a:lnTo>
                      <a:pt x="120" y="70"/>
                    </a:lnTo>
                    <a:lnTo>
                      <a:pt x="114" y="70"/>
                    </a:lnTo>
                    <a:lnTo>
                      <a:pt x="113" y="70"/>
                    </a:lnTo>
                    <a:lnTo>
                      <a:pt x="109" y="70"/>
                    </a:lnTo>
                    <a:lnTo>
                      <a:pt x="91" y="67"/>
                    </a:lnTo>
                    <a:lnTo>
                      <a:pt x="89" y="65"/>
                    </a:lnTo>
                    <a:lnTo>
                      <a:pt x="77" y="63"/>
                    </a:lnTo>
                    <a:lnTo>
                      <a:pt x="71" y="59"/>
                    </a:lnTo>
                    <a:lnTo>
                      <a:pt x="70" y="56"/>
                    </a:lnTo>
                    <a:lnTo>
                      <a:pt x="66" y="54"/>
                    </a:lnTo>
                    <a:lnTo>
                      <a:pt x="61" y="54"/>
                    </a:lnTo>
                    <a:lnTo>
                      <a:pt x="61" y="54"/>
                    </a:lnTo>
                    <a:lnTo>
                      <a:pt x="52" y="52"/>
                    </a:lnTo>
                    <a:lnTo>
                      <a:pt x="50" y="54"/>
                    </a:lnTo>
                    <a:lnTo>
                      <a:pt x="43" y="52"/>
                    </a:lnTo>
                    <a:lnTo>
                      <a:pt x="39" y="49"/>
                    </a:lnTo>
                    <a:lnTo>
                      <a:pt x="39" y="49"/>
                    </a:lnTo>
                    <a:lnTo>
                      <a:pt x="36" y="49"/>
                    </a:lnTo>
                    <a:lnTo>
                      <a:pt x="32" y="47"/>
                    </a:lnTo>
                    <a:lnTo>
                      <a:pt x="29" y="45"/>
                    </a:lnTo>
                    <a:lnTo>
                      <a:pt x="27" y="45"/>
                    </a:lnTo>
                    <a:lnTo>
                      <a:pt x="22" y="42"/>
                    </a:lnTo>
                    <a:lnTo>
                      <a:pt x="18" y="38"/>
                    </a:lnTo>
                    <a:lnTo>
                      <a:pt x="13" y="34"/>
                    </a:lnTo>
                    <a:lnTo>
                      <a:pt x="13" y="34"/>
                    </a:lnTo>
                    <a:lnTo>
                      <a:pt x="9" y="31"/>
                    </a:lnTo>
                    <a:lnTo>
                      <a:pt x="7" y="31"/>
                    </a:lnTo>
                    <a:lnTo>
                      <a:pt x="7" y="33"/>
                    </a:lnTo>
                    <a:lnTo>
                      <a:pt x="5" y="33"/>
                    </a:lnTo>
                    <a:lnTo>
                      <a:pt x="4" y="31"/>
                    </a:lnTo>
                    <a:lnTo>
                      <a:pt x="4" y="31"/>
                    </a:lnTo>
                    <a:lnTo>
                      <a:pt x="2" y="29"/>
                    </a:lnTo>
                    <a:lnTo>
                      <a:pt x="0" y="27"/>
                    </a:lnTo>
                    <a:lnTo>
                      <a:pt x="0" y="27"/>
                    </a:lnTo>
                    <a:lnTo>
                      <a:pt x="0" y="25"/>
                    </a:lnTo>
                    <a:lnTo>
                      <a:pt x="0" y="24"/>
                    </a:lnTo>
                    <a:lnTo>
                      <a:pt x="2" y="22"/>
                    </a:lnTo>
                    <a:lnTo>
                      <a:pt x="2" y="20"/>
                    </a:lnTo>
                    <a:lnTo>
                      <a:pt x="4" y="20"/>
                    </a:lnTo>
                    <a:lnTo>
                      <a:pt x="2" y="17"/>
                    </a:lnTo>
                    <a:lnTo>
                      <a:pt x="4" y="15"/>
                    </a:lnTo>
                    <a:lnTo>
                      <a:pt x="5" y="13"/>
                    </a:lnTo>
                    <a:lnTo>
                      <a:pt x="4" y="11"/>
                    </a:lnTo>
                    <a:lnTo>
                      <a:pt x="4" y="9"/>
                    </a:lnTo>
                    <a:lnTo>
                      <a:pt x="5" y="8"/>
                    </a:lnTo>
                    <a:lnTo>
                      <a:pt x="7" y="8"/>
                    </a:lnTo>
                    <a:lnTo>
                      <a:pt x="7" y="6"/>
                    </a:lnTo>
                    <a:lnTo>
                      <a:pt x="11" y="4"/>
                    </a:lnTo>
                    <a:lnTo>
                      <a:pt x="11" y="2"/>
                    </a:lnTo>
                    <a:lnTo>
                      <a:pt x="11" y="2"/>
                    </a:lnTo>
                    <a:lnTo>
                      <a:pt x="13" y="0"/>
                    </a:lnTo>
                    <a:lnTo>
                      <a:pt x="13" y="2"/>
                    </a:lnTo>
                    <a:lnTo>
                      <a:pt x="14" y="0"/>
                    </a:lnTo>
                    <a:lnTo>
                      <a:pt x="16" y="2"/>
                    </a:lnTo>
                    <a:lnTo>
                      <a:pt x="16" y="2"/>
                    </a:lnTo>
                    <a:lnTo>
                      <a:pt x="18" y="6"/>
                    </a:lnTo>
                    <a:lnTo>
                      <a:pt x="20" y="4"/>
                    </a:lnTo>
                    <a:lnTo>
                      <a:pt x="18" y="4"/>
                    </a:lnTo>
                    <a:lnTo>
                      <a:pt x="20" y="2"/>
                    </a:lnTo>
                    <a:lnTo>
                      <a:pt x="20" y="0"/>
                    </a:lnTo>
                    <a:lnTo>
                      <a:pt x="20" y="0"/>
                    </a:lnTo>
                    <a:lnTo>
                      <a:pt x="25" y="0"/>
                    </a:lnTo>
                    <a:lnTo>
                      <a:pt x="25" y="0"/>
                    </a:lnTo>
                    <a:lnTo>
                      <a:pt x="38" y="4"/>
                    </a:lnTo>
                    <a:lnTo>
                      <a:pt x="38" y="4"/>
                    </a:lnTo>
                    <a:lnTo>
                      <a:pt x="43" y="9"/>
                    </a:lnTo>
                    <a:lnTo>
                      <a:pt x="47" y="11"/>
                    </a:lnTo>
                    <a:lnTo>
                      <a:pt x="52" y="17"/>
                    </a:lnTo>
                    <a:lnTo>
                      <a:pt x="52" y="22"/>
                    </a:lnTo>
                    <a:lnTo>
                      <a:pt x="54" y="22"/>
                    </a:lnTo>
                    <a:lnTo>
                      <a:pt x="55" y="24"/>
                    </a:lnTo>
                    <a:lnTo>
                      <a:pt x="57" y="22"/>
                    </a:lnTo>
                    <a:lnTo>
                      <a:pt x="59" y="22"/>
                    </a:lnTo>
                    <a:lnTo>
                      <a:pt x="59" y="20"/>
                    </a:lnTo>
                    <a:lnTo>
                      <a:pt x="59" y="20"/>
                    </a:lnTo>
                    <a:lnTo>
                      <a:pt x="61" y="18"/>
                    </a:lnTo>
                    <a:lnTo>
                      <a:pt x="63" y="18"/>
                    </a:lnTo>
                    <a:lnTo>
                      <a:pt x="64" y="18"/>
                    </a:lnTo>
                    <a:lnTo>
                      <a:pt x="66" y="18"/>
                    </a:lnTo>
                    <a:lnTo>
                      <a:pt x="66" y="20"/>
                    </a:lnTo>
                    <a:lnTo>
                      <a:pt x="64" y="22"/>
                    </a:lnTo>
                    <a:lnTo>
                      <a:pt x="66" y="24"/>
                    </a:lnTo>
                    <a:lnTo>
                      <a:pt x="64" y="27"/>
                    </a:lnTo>
                    <a:lnTo>
                      <a:pt x="64" y="27"/>
                    </a:lnTo>
                    <a:lnTo>
                      <a:pt x="66" y="27"/>
                    </a:lnTo>
                    <a:lnTo>
                      <a:pt x="68" y="29"/>
                    </a:lnTo>
                    <a:lnTo>
                      <a:pt x="68" y="29"/>
                    </a:lnTo>
                    <a:lnTo>
                      <a:pt x="70" y="29"/>
                    </a:lnTo>
                    <a:lnTo>
                      <a:pt x="71" y="31"/>
                    </a:lnTo>
                    <a:lnTo>
                      <a:pt x="73" y="31"/>
                    </a:lnTo>
                    <a:lnTo>
                      <a:pt x="75" y="31"/>
                    </a:lnTo>
                    <a:lnTo>
                      <a:pt x="77" y="31"/>
                    </a:lnTo>
                    <a:lnTo>
                      <a:pt x="79" y="31"/>
                    </a:lnTo>
                    <a:lnTo>
                      <a:pt x="80" y="31"/>
                    </a:lnTo>
                    <a:lnTo>
                      <a:pt x="80" y="31"/>
                    </a:lnTo>
                    <a:lnTo>
                      <a:pt x="80" y="34"/>
                    </a:lnTo>
                    <a:lnTo>
                      <a:pt x="80" y="36"/>
                    </a:lnTo>
                    <a:lnTo>
                      <a:pt x="84" y="38"/>
                    </a:lnTo>
                    <a:lnTo>
                      <a:pt x="88" y="38"/>
                    </a:lnTo>
                    <a:lnTo>
                      <a:pt x="89" y="38"/>
                    </a:lnTo>
                    <a:lnTo>
                      <a:pt x="91" y="40"/>
                    </a:lnTo>
                    <a:lnTo>
                      <a:pt x="91" y="42"/>
                    </a:lnTo>
                    <a:lnTo>
                      <a:pt x="93" y="43"/>
                    </a:lnTo>
                    <a:lnTo>
                      <a:pt x="93" y="43"/>
                    </a:lnTo>
                    <a:lnTo>
                      <a:pt x="95" y="43"/>
                    </a:lnTo>
                    <a:lnTo>
                      <a:pt x="96" y="43"/>
                    </a:lnTo>
                    <a:lnTo>
                      <a:pt x="98" y="43"/>
                    </a:lnTo>
                    <a:lnTo>
                      <a:pt x="100" y="43"/>
                    </a:lnTo>
                    <a:lnTo>
                      <a:pt x="102" y="43"/>
                    </a:lnTo>
                    <a:lnTo>
                      <a:pt x="102" y="43"/>
                    </a:lnTo>
                    <a:lnTo>
                      <a:pt x="104" y="42"/>
                    </a:lnTo>
                    <a:lnTo>
                      <a:pt x="104" y="42"/>
                    </a:lnTo>
                    <a:lnTo>
                      <a:pt x="107" y="42"/>
                    </a:lnTo>
                    <a:lnTo>
                      <a:pt x="109" y="43"/>
                    </a:lnTo>
                    <a:lnTo>
                      <a:pt x="114" y="45"/>
                    </a:lnTo>
                    <a:lnTo>
                      <a:pt x="118" y="45"/>
                    </a:lnTo>
                    <a:lnTo>
                      <a:pt x="123" y="47"/>
                    </a:lnTo>
                    <a:lnTo>
                      <a:pt x="123" y="43"/>
                    </a:lnTo>
                    <a:lnTo>
                      <a:pt x="127" y="43"/>
                    </a:lnTo>
                    <a:lnTo>
                      <a:pt x="127" y="4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30" name="Freeform 2481"/>
              <p:cNvSpPr>
                <a:spLocks/>
              </p:cNvSpPr>
              <p:nvPr/>
            </p:nvSpPr>
            <p:spPr bwMode="auto">
              <a:xfrm>
                <a:off x="3978" y="2207"/>
                <a:ext cx="129" cy="70"/>
              </a:xfrm>
              <a:custGeom>
                <a:avLst/>
                <a:gdLst>
                  <a:gd name="T0" fmla="*/ 125 w 129"/>
                  <a:gd name="T1" fmla="*/ 58 h 70"/>
                  <a:gd name="T2" fmla="*/ 127 w 129"/>
                  <a:gd name="T3" fmla="*/ 61 h 70"/>
                  <a:gd name="T4" fmla="*/ 125 w 129"/>
                  <a:gd name="T5" fmla="*/ 70 h 70"/>
                  <a:gd name="T6" fmla="*/ 120 w 129"/>
                  <a:gd name="T7" fmla="*/ 70 h 70"/>
                  <a:gd name="T8" fmla="*/ 109 w 129"/>
                  <a:gd name="T9" fmla="*/ 70 h 70"/>
                  <a:gd name="T10" fmla="*/ 77 w 129"/>
                  <a:gd name="T11" fmla="*/ 63 h 70"/>
                  <a:gd name="T12" fmla="*/ 66 w 129"/>
                  <a:gd name="T13" fmla="*/ 54 h 70"/>
                  <a:gd name="T14" fmla="*/ 52 w 129"/>
                  <a:gd name="T15" fmla="*/ 52 h 70"/>
                  <a:gd name="T16" fmla="*/ 39 w 129"/>
                  <a:gd name="T17" fmla="*/ 49 h 70"/>
                  <a:gd name="T18" fmla="*/ 32 w 129"/>
                  <a:gd name="T19" fmla="*/ 47 h 70"/>
                  <a:gd name="T20" fmla="*/ 22 w 129"/>
                  <a:gd name="T21" fmla="*/ 42 h 70"/>
                  <a:gd name="T22" fmla="*/ 13 w 129"/>
                  <a:gd name="T23" fmla="*/ 34 h 70"/>
                  <a:gd name="T24" fmla="*/ 7 w 129"/>
                  <a:gd name="T25" fmla="*/ 33 h 70"/>
                  <a:gd name="T26" fmla="*/ 4 w 129"/>
                  <a:gd name="T27" fmla="*/ 31 h 70"/>
                  <a:gd name="T28" fmla="*/ 0 w 129"/>
                  <a:gd name="T29" fmla="*/ 27 h 70"/>
                  <a:gd name="T30" fmla="*/ 2 w 129"/>
                  <a:gd name="T31" fmla="*/ 22 h 70"/>
                  <a:gd name="T32" fmla="*/ 2 w 129"/>
                  <a:gd name="T33" fmla="*/ 17 h 70"/>
                  <a:gd name="T34" fmla="*/ 4 w 129"/>
                  <a:gd name="T35" fmla="*/ 11 h 70"/>
                  <a:gd name="T36" fmla="*/ 7 w 129"/>
                  <a:gd name="T37" fmla="*/ 8 h 70"/>
                  <a:gd name="T38" fmla="*/ 11 w 129"/>
                  <a:gd name="T39" fmla="*/ 2 h 70"/>
                  <a:gd name="T40" fmla="*/ 13 w 129"/>
                  <a:gd name="T41" fmla="*/ 2 h 70"/>
                  <a:gd name="T42" fmla="*/ 16 w 129"/>
                  <a:gd name="T43" fmla="*/ 2 h 70"/>
                  <a:gd name="T44" fmla="*/ 18 w 129"/>
                  <a:gd name="T45" fmla="*/ 4 h 70"/>
                  <a:gd name="T46" fmla="*/ 20 w 129"/>
                  <a:gd name="T47" fmla="*/ 0 h 70"/>
                  <a:gd name="T48" fmla="*/ 38 w 129"/>
                  <a:gd name="T49" fmla="*/ 4 h 70"/>
                  <a:gd name="T50" fmla="*/ 47 w 129"/>
                  <a:gd name="T51" fmla="*/ 11 h 70"/>
                  <a:gd name="T52" fmla="*/ 54 w 129"/>
                  <a:gd name="T53" fmla="*/ 22 h 70"/>
                  <a:gd name="T54" fmla="*/ 59 w 129"/>
                  <a:gd name="T55" fmla="*/ 22 h 70"/>
                  <a:gd name="T56" fmla="*/ 61 w 129"/>
                  <a:gd name="T57" fmla="*/ 18 h 70"/>
                  <a:gd name="T58" fmla="*/ 66 w 129"/>
                  <a:gd name="T59" fmla="*/ 18 h 70"/>
                  <a:gd name="T60" fmla="*/ 66 w 129"/>
                  <a:gd name="T61" fmla="*/ 24 h 70"/>
                  <a:gd name="T62" fmla="*/ 66 w 129"/>
                  <a:gd name="T63" fmla="*/ 27 h 70"/>
                  <a:gd name="T64" fmla="*/ 70 w 129"/>
                  <a:gd name="T65" fmla="*/ 29 h 70"/>
                  <a:gd name="T66" fmla="*/ 75 w 129"/>
                  <a:gd name="T67" fmla="*/ 31 h 70"/>
                  <a:gd name="T68" fmla="*/ 80 w 129"/>
                  <a:gd name="T69" fmla="*/ 31 h 70"/>
                  <a:gd name="T70" fmla="*/ 80 w 129"/>
                  <a:gd name="T71" fmla="*/ 36 h 70"/>
                  <a:gd name="T72" fmla="*/ 89 w 129"/>
                  <a:gd name="T73" fmla="*/ 38 h 70"/>
                  <a:gd name="T74" fmla="*/ 93 w 129"/>
                  <a:gd name="T75" fmla="*/ 43 h 70"/>
                  <a:gd name="T76" fmla="*/ 96 w 129"/>
                  <a:gd name="T77" fmla="*/ 43 h 70"/>
                  <a:gd name="T78" fmla="*/ 102 w 129"/>
                  <a:gd name="T79" fmla="*/ 43 h 70"/>
                  <a:gd name="T80" fmla="*/ 104 w 129"/>
                  <a:gd name="T81" fmla="*/ 42 h 70"/>
                  <a:gd name="T82" fmla="*/ 114 w 129"/>
                  <a:gd name="T83" fmla="*/ 45 h 70"/>
                  <a:gd name="T84" fmla="*/ 123 w 129"/>
                  <a:gd name="T85" fmla="*/ 4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9" h="70">
                    <a:moveTo>
                      <a:pt x="127" y="43"/>
                    </a:moveTo>
                    <a:lnTo>
                      <a:pt x="127" y="47"/>
                    </a:lnTo>
                    <a:lnTo>
                      <a:pt x="125" y="58"/>
                    </a:lnTo>
                    <a:lnTo>
                      <a:pt x="123" y="59"/>
                    </a:lnTo>
                    <a:lnTo>
                      <a:pt x="123" y="59"/>
                    </a:lnTo>
                    <a:lnTo>
                      <a:pt x="127" y="61"/>
                    </a:lnTo>
                    <a:lnTo>
                      <a:pt x="129" y="65"/>
                    </a:lnTo>
                    <a:lnTo>
                      <a:pt x="127" y="67"/>
                    </a:lnTo>
                    <a:lnTo>
                      <a:pt x="125" y="70"/>
                    </a:lnTo>
                    <a:lnTo>
                      <a:pt x="125" y="70"/>
                    </a:lnTo>
                    <a:lnTo>
                      <a:pt x="121" y="70"/>
                    </a:lnTo>
                    <a:lnTo>
                      <a:pt x="120" y="70"/>
                    </a:lnTo>
                    <a:lnTo>
                      <a:pt x="114" y="70"/>
                    </a:lnTo>
                    <a:lnTo>
                      <a:pt x="113" y="70"/>
                    </a:lnTo>
                    <a:lnTo>
                      <a:pt x="109" y="70"/>
                    </a:lnTo>
                    <a:lnTo>
                      <a:pt x="91" y="67"/>
                    </a:lnTo>
                    <a:lnTo>
                      <a:pt x="89" y="65"/>
                    </a:lnTo>
                    <a:lnTo>
                      <a:pt x="77" y="63"/>
                    </a:lnTo>
                    <a:lnTo>
                      <a:pt x="71" y="59"/>
                    </a:lnTo>
                    <a:lnTo>
                      <a:pt x="70" y="56"/>
                    </a:lnTo>
                    <a:lnTo>
                      <a:pt x="66" y="54"/>
                    </a:lnTo>
                    <a:lnTo>
                      <a:pt x="61" y="54"/>
                    </a:lnTo>
                    <a:lnTo>
                      <a:pt x="61" y="54"/>
                    </a:lnTo>
                    <a:lnTo>
                      <a:pt x="52" y="52"/>
                    </a:lnTo>
                    <a:lnTo>
                      <a:pt x="50" y="54"/>
                    </a:lnTo>
                    <a:lnTo>
                      <a:pt x="43" y="52"/>
                    </a:lnTo>
                    <a:lnTo>
                      <a:pt x="39" y="49"/>
                    </a:lnTo>
                    <a:lnTo>
                      <a:pt x="39" y="49"/>
                    </a:lnTo>
                    <a:lnTo>
                      <a:pt x="36" y="49"/>
                    </a:lnTo>
                    <a:lnTo>
                      <a:pt x="32" y="47"/>
                    </a:lnTo>
                    <a:lnTo>
                      <a:pt x="29" y="45"/>
                    </a:lnTo>
                    <a:lnTo>
                      <a:pt x="27" y="45"/>
                    </a:lnTo>
                    <a:lnTo>
                      <a:pt x="22" y="42"/>
                    </a:lnTo>
                    <a:lnTo>
                      <a:pt x="18" y="38"/>
                    </a:lnTo>
                    <a:lnTo>
                      <a:pt x="13" y="34"/>
                    </a:lnTo>
                    <a:lnTo>
                      <a:pt x="13" y="34"/>
                    </a:lnTo>
                    <a:lnTo>
                      <a:pt x="9" y="31"/>
                    </a:lnTo>
                    <a:lnTo>
                      <a:pt x="7" y="31"/>
                    </a:lnTo>
                    <a:lnTo>
                      <a:pt x="7" y="33"/>
                    </a:lnTo>
                    <a:lnTo>
                      <a:pt x="5" y="33"/>
                    </a:lnTo>
                    <a:lnTo>
                      <a:pt x="4" y="31"/>
                    </a:lnTo>
                    <a:lnTo>
                      <a:pt x="4" y="31"/>
                    </a:lnTo>
                    <a:lnTo>
                      <a:pt x="2" y="29"/>
                    </a:lnTo>
                    <a:lnTo>
                      <a:pt x="0" y="27"/>
                    </a:lnTo>
                    <a:lnTo>
                      <a:pt x="0" y="27"/>
                    </a:lnTo>
                    <a:lnTo>
                      <a:pt x="0" y="25"/>
                    </a:lnTo>
                    <a:lnTo>
                      <a:pt x="0" y="24"/>
                    </a:lnTo>
                    <a:lnTo>
                      <a:pt x="2" y="22"/>
                    </a:lnTo>
                    <a:lnTo>
                      <a:pt x="2" y="20"/>
                    </a:lnTo>
                    <a:lnTo>
                      <a:pt x="4" y="20"/>
                    </a:lnTo>
                    <a:lnTo>
                      <a:pt x="2" y="17"/>
                    </a:lnTo>
                    <a:lnTo>
                      <a:pt x="4" y="15"/>
                    </a:lnTo>
                    <a:lnTo>
                      <a:pt x="5" y="13"/>
                    </a:lnTo>
                    <a:lnTo>
                      <a:pt x="4" y="11"/>
                    </a:lnTo>
                    <a:lnTo>
                      <a:pt x="4" y="9"/>
                    </a:lnTo>
                    <a:lnTo>
                      <a:pt x="5" y="8"/>
                    </a:lnTo>
                    <a:lnTo>
                      <a:pt x="7" y="8"/>
                    </a:lnTo>
                    <a:lnTo>
                      <a:pt x="7" y="6"/>
                    </a:lnTo>
                    <a:lnTo>
                      <a:pt x="11" y="4"/>
                    </a:lnTo>
                    <a:lnTo>
                      <a:pt x="11" y="2"/>
                    </a:lnTo>
                    <a:lnTo>
                      <a:pt x="11" y="2"/>
                    </a:lnTo>
                    <a:lnTo>
                      <a:pt x="13" y="0"/>
                    </a:lnTo>
                    <a:lnTo>
                      <a:pt x="13" y="2"/>
                    </a:lnTo>
                    <a:lnTo>
                      <a:pt x="14" y="0"/>
                    </a:lnTo>
                    <a:lnTo>
                      <a:pt x="16" y="2"/>
                    </a:lnTo>
                    <a:lnTo>
                      <a:pt x="16" y="2"/>
                    </a:lnTo>
                    <a:lnTo>
                      <a:pt x="18" y="6"/>
                    </a:lnTo>
                    <a:lnTo>
                      <a:pt x="20" y="4"/>
                    </a:lnTo>
                    <a:lnTo>
                      <a:pt x="18" y="4"/>
                    </a:lnTo>
                    <a:lnTo>
                      <a:pt x="20" y="2"/>
                    </a:lnTo>
                    <a:lnTo>
                      <a:pt x="20" y="0"/>
                    </a:lnTo>
                    <a:lnTo>
                      <a:pt x="20" y="0"/>
                    </a:lnTo>
                    <a:lnTo>
                      <a:pt x="25" y="0"/>
                    </a:lnTo>
                    <a:lnTo>
                      <a:pt x="25" y="0"/>
                    </a:lnTo>
                    <a:lnTo>
                      <a:pt x="38" y="4"/>
                    </a:lnTo>
                    <a:lnTo>
                      <a:pt x="38" y="4"/>
                    </a:lnTo>
                    <a:lnTo>
                      <a:pt x="43" y="9"/>
                    </a:lnTo>
                    <a:lnTo>
                      <a:pt x="47" y="11"/>
                    </a:lnTo>
                    <a:lnTo>
                      <a:pt x="52" y="17"/>
                    </a:lnTo>
                    <a:lnTo>
                      <a:pt x="52" y="22"/>
                    </a:lnTo>
                    <a:lnTo>
                      <a:pt x="54" y="22"/>
                    </a:lnTo>
                    <a:lnTo>
                      <a:pt x="55" y="24"/>
                    </a:lnTo>
                    <a:lnTo>
                      <a:pt x="57" y="22"/>
                    </a:lnTo>
                    <a:lnTo>
                      <a:pt x="59" y="22"/>
                    </a:lnTo>
                    <a:lnTo>
                      <a:pt x="59" y="20"/>
                    </a:lnTo>
                    <a:lnTo>
                      <a:pt x="59" y="20"/>
                    </a:lnTo>
                    <a:lnTo>
                      <a:pt x="61" y="18"/>
                    </a:lnTo>
                    <a:lnTo>
                      <a:pt x="63" y="18"/>
                    </a:lnTo>
                    <a:lnTo>
                      <a:pt x="64" y="18"/>
                    </a:lnTo>
                    <a:lnTo>
                      <a:pt x="66" y="18"/>
                    </a:lnTo>
                    <a:lnTo>
                      <a:pt x="66" y="20"/>
                    </a:lnTo>
                    <a:lnTo>
                      <a:pt x="64" y="22"/>
                    </a:lnTo>
                    <a:lnTo>
                      <a:pt x="66" y="24"/>
                    </a:lnTo>
                    <a:lnTo>
                      <a:pt x="64" y="27"/>
                    </a:lnTo>
                    <a:lnTo>
                      <a:pt x="64" y="27"/>
                    </a:lnTo>
                    <a:lnTo>
                      <a:pt x="66" y="27"/>
                    </a:lnTo>
                    <a:lnTo>
                      <a:pt x="68" y="29"/>
                    </a:lnTo>
                    <a:lnTo>
                      <a:pt x="68" y="29"/>
                    </a:lnTo>
                    <a:lnTo>
                      <a:pt x="70" y="29"/>
                    </a:lnTo>
                    <a:lnTo>
                      <a:pt x="71" y="31"/>
                    </a:lnTo>
                    <a:lnTo>
                      <a:pt x="73" y="31"/>
                    </a:lnTo>
                    <a:lnTo>
                      <a:pt x="75" y="31"/>
                    </a:lnTo>
                    <a:lnTo>
                      <a:pt x="77" y="31"/>
                    </a:lnTo>
                    <a:lnTo>
                      <a:pt x="79" y="31"/>
                    </a:lnTo>
                    <a:lnTo>
                      <a:pt x="80" y="31"/>
                    </a:lnTo>
                    <a:lnTo>
                      <a:pt x="80" y="31"/>
                    </a:lnTo>
                    <a:lnTo>
                      <a:pt x="80" y="34"/>
                    </a:lnTo>
                    <a:lnTo>
                      <a:pt x="80" y="36"/>
                    </a:lnTo>
                    <a:lnTo>
                      <a:pt x="84" y="38"/>
                    </a:lnTo>
                    <a:lnTo>
                      <a:pt x="88" y="38"/>
                    </a:lnTo>
                    <a:lnTo>
                      <a:pt x="89" y="38"/>
                    </a:lnTo>
                    <a:lnTo>
                      <a:pt x="91" y="40"/>
                    </a:lnTo>
                    <a:lnTo>
                      <a:pt x="91" y="42"/>
                    </a:lnTo>
                    <a:lnTo>
                      <a:pt x="93" y="43"/>
                    </a:lnTo>
                    <a:lnTo>
                      <a:pt x="93" y="43"/>
                    </a:lnTo>
                    <a:lnTo>
                      <a:pt x="95" y="43"/>
                    </a:lnTo>
                    <a:lnTo>
                      <a:pt x="96" y="43"/>
                    </a:lnTo>
                    <a:lnTo>
                      <a:pt x="98" y="43"/>
                    </a:lnTo>
                    <a:lnTo>
                      <a:pt x="100" y="43"/>
                    </a:lnTo>
                    <a:lnTo>
                      <a:pt x="102" y="43"/>
                    </a:lnTo>
                    <a:lnTo>
                      <a:pt x="102" y="43"/>
                    </a:lnTo>
                    <a:lnTo>
                      <a:pt x="104" y="42"/>
                    </a:lnTo>
                    <a:lnTo>
                      <a:pt x="104" y="42"/>
                    </a:lnTo>
                    <a:lnTo>
                      <a:pt x="107" y="42"/>
                    </a:lnTo>
                    <a:lnTo>
                      <a:pt x="109" y="43"/>
                    </a:lnTo>
                    <a:lnTo>
                      <a:pt x="114" y="45"/>
                    </a:lnTo>
                    <a:lnTo>
                      <a:pt x="118" y="45"/>
                    </a:lnTo>
                    <a:lnTo>
                      <a:pt x="123" y="47"/>
                    </a:lnTo>
                    <a:lnTo>
                      <a:pt x="123" y="43"/>
                    </a:lnTo>
                    <a:lnTo>
                      <a:pt x="127" y="43"/>
                    </a:lnTo>
                    <a:lnTo>
                      <a:pt x="127" y="4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31" name="Freeform 2482"/>
              <p:cNvSpPr>
                <a:spLocks/>
              </p:cNvSpPr>
              <p:nvPr/>
            </p:nvSpPr>
            <p:spPr bwMode="auto">
              <a:xfrm>
                <a:off x="4101" y="2275"/>
                <a:ext cx="77" cy="99"/>
              </a:xfrm>
              <a:custGeom>
                <a:avLst/>
                <a:gdLst>
                  <a:gd name="T0" fmla="*/ 70 w 77"/>
                  <a:gd name="T1" fmla="*/ 99 h 99"/>
                  <a:gd name="T2" fmla="*/ 59 w 77"/>
                  <a:gd name="T3" fmla="*/ 66 h 99"/>
                  <a:gd name="T4" fmla="*/ 52 w 77"/>
                  <a:gd name="T5" fmla="*/ 66 h 99"/>
                  <a:gd name="T6" fmla="*/ 47 w 77"/>
                  <a:gd name="T7" fmla="*/ 63 h 99"/>
                  <a:gd name="T8" fmla="*/ 45 w 77"/>
                  <a:gd name="T9" fmla="*/ 66 h 99"/>
                  <a:gd name="T10" fmla="*/ 43 w 77"/>
                  <a:gd name="T11" fmla="*/ 75 h 99"/>
                  <a:gd name="T12" fmla="*/ 36 w 77"/>
                  <a:gd name="T13" fmla="*/ 82 h 99"/>
                  <a:gd name="T14" fmla="*/ 32 w 77"/>
                  <a:gd name="T15" fmla="*/ 81 h 99"/>
                  <a:gd name="T16" fmla="*/ 29 w 77"/>
                  <a:gd name="T17" fmla="*/ 84 h 99"/>
                  <a:gd name="T18" fmla="*/ 27 w 77"/>
                  <a:gd name="T19" fmla="*/ 82 h 99"/>
                  <a:gd name="T20" fmla="*/ 23 w 77"/>
                  <a:gd name="T21" fmla="*/ 84 h 99"/>
                  <a:gd name="T22" fmla="*/ 22 w 77"/>
                  <a:gd name="T23" fmla="*/ 84 h 99"/>
                  <a:gd name="T24" fmla="*/ 20 w 77"/>
                  <a:gd name="T25" fmla="*/ 86 h 99"/>
                  <a:gd name="T26" fmla="*/ 16 w 77"/>
                  <a:gd name="T27" fmla="*/ 81 h 99"/>
                  <a:gd name="T28" fmla="*/ 15 w 77"/>
                  <a:gd name="T29" fmla="*/ 75 h 99"/>
                  <a:gd name="T30" fmla="*/ 15 w 77"/>
                  <a:gd name="T31" fmla="*/ 70 h 99"/>
                  <a:gd name="T32" fmla="*/ 13 w 77"/>
                  <a:gd name="T33" fmla="*/ 66 h 99"/>
                  <a:gd name="T34" fmla="*/ 13 w 77"/>
                  <a:gd name="T35" fmla="*/ 63 h 99"/>
                  <a:gd name="T36" fmla="*/ 13 w 77"/>
                  <a:gd name="T37" fmla="*/ 57 h 99"/>
                  <a:gd name="T38" fmla="*/ 11 w 77"/>
                  <a:gd name="T39" fmla="*/ 52 h 99"/>
                  <a:gd name="T40" fmla="*/ 11 w 77"/>
                  <a:gd name="T41" fmla="*/ 40 h 99"/>
                  <a:gd name="T42" fmla="*/ 0 w 77"/>
                  <a:gd name="T43" fmla="*/ 32 h 99"/>
                  <a:gd name="T44" fmla="*/ 0 w 77"/>
                  <a:gd name="T45" fmla="*/ 29 h 99"/>
                  <a:gd name="T46" fmla="*/ 4 w 77"/>
                  <a:gd name="T47" fmla="*/ 25 h 99"/>
                  <a:gd name="T48" fmla="*/ 7 w 77"/>
                  <a:gd name="T49" fmla="*/ 24 h 99"/>
                  <a:gd name="T50" fmla="*/ 13 w 77"/>
                  <a:gd name="T51" fmla="*/ 20 h 99"/>
                  <a:gd name="T52" fmla="*/ 11 w 77"/>
                  <a:gd name="T53" fmla="*/ 18 h 99"/>
                  <a:gd name="T54" fmla="*/ 6 w 77"/>
                  <a:gd name="T55" fmla="*/ 16 h 99"/>
                  <a:gd name="T56" fmla="*/ 4 w 77"/>
                  <a:gd name="T57" fmla="*/ 11 h 99"/>
                  <a:gd name="T58" fmla="*/ 9 w 77"/>
                  <a:gd name="T59" fmla="*/ 0 h 99"/>
                  <a:gd name="T60" fmla="*/ 15 w 77"/>
                  <a:gd name="T61" fmla="*/ 7 h 99"/>
                  <a:gd name="T62" fmla="*/ 18 w 77"/>
                  <a:gd name="T63" fmla="*/ 2 h 99"/>
                  <a:gd name="T64" fmla="*/ 20 w 77"/>
                  <a:gd name="T65" fmla="*/ 9 h 99"/>
                  <a:gd name="T66" fmla="*/ 25 w 77"/>
                  <a:gd name="T67" fmla="*/ 9 h 99"/>
                  <a:gd name="T68" fmla="*/ 31 w 77"/>
                  <a:gd name="T69" fmla="*/ 18 h 99"/>
                  <a:gd name="T70" fmla="*/ 34 w 77"/>
                  <a:gd name="T71" fmla="*/ 22 h 99"/>
                  <a:gd name="T72" fmla="*/ 48 w 77"/>
                  <a:gd name="T73" fmla="*/ 22 h 99"/>
                  <a:gd name="T74" fmla="*/ 72 w 77"/>
                  <a:gd name="T75" fmla="*/ 25 h 99"/>
                  <a:gd name="T76" fmla="*/ 68 w 77"/>
                  <a:gd name="T77" fmla="*/ 29 h 99"/>
                  <a:gd name="T78" fmla="*/ 59 w 77"/>
                  <a:gd name="T79" fmla="*/ 40 h 99"/>
                  <a:gd name="T80" fmla="*/ 52 w 77"/>
                  <a:gd name="T81" fmla="*/ 47 h 99"/>
                  <a:gd name="T82" fmla="*/ 57 w 77"/>
                  <a:gd name="T83" fmla="*/ 57 h 99"/>
                  <a:gd name="T84" fmla="*/ 61 w 77"/>
                  <a:gd name="T85" fmla="*/ 61 h 99"/>
                  <a:gd name="T86" fmla="*/ 66 w 77"/>
                  <a:gd name="T87" fmla="*/ 49 h 99"/>
                  <a:gd name="T88" fmla="*/ 77 w 77"/>
                  <a:gd name="T89" fmla="*/ 81 h 99"/>
                  <a:gd name="T90" fmla="*/ 77 w 77"/>
                  <a:gd name="T91" fmla="*/ 90 h 99"/>
                  <a:gd name="T92" fmla="*/ 72 w 77"/>
                  <a:gd name="T93" fmla="*/ 9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99">
                    <a:moveTo>
                      <a:pt x="72" y="99"/>
                    </a:moveTo>
                    <a:lnTo>
                      <a:pt x="70" y="99"/>
                    </a:lnTo>
                    <a:lnTo>
                      <a:pt x="65" y="75"/>
                    </a:lnTo>
                    <a:lnTo>
                      <a:pt x="59" y="66"/>
                    </a:lnTo>
                    <a:lnTo>
                      <a:pt x="57" y="66"/>
                    </a:lnTo>
                    <a:lnTo>
                      <a:pt x="52" y="66"/>
                    </a:lnTo>
                    <a:lnTo>
                      <a:pt x="48" y="66"/>
                    </a:lnTo>
                    <a:lnTo>
                      <a:pt x="47" y="63"/>
                    </a:lnTo>
                    <a:lnTo>
                      <a:pt x="47" y="63"/>
                    </a:lnTo>
                    <a:lnTo>
                      <a:pt x="45" y="66"/>
                    </a:lnTo>
                    <a:lnTo>
                      <a:pt x="43" y="68"/>
                    </a:lnTo>
                    <a:lnTo>
                      <a:pt x="43" y="75"/>
                    </a:lnTo>
                    <a:lnTo>
                      <a:pt x="38" y="82"/>
                    </a:lnTo>
                    <a:lnTo>
                      <a:pt x="36" y="82"/>
                    </a:lnTo>
                    <a:lnTo>
                      <a:pt x="34" y="79"/>
                    </a:lnTo>
                    <a:lnTo>
                      <a:pt x="32" y="81"/>
                    </a:lnTo>
                    <a:lnTo>
                      <a:pt x="32" y="82"/>
                    </a:lnTo>
                    <a:lnTo>
                      <a:pt x="29" y="84"/>
                    </a:lnTo>
                    <a:lnTo>
                      <a:pt x="29" y="82"/>
                    </a:lnTo>
                    <a:lnTo>
                      <a:pt x="27" y="82"/>
                    </a:lnTo>
                    <a:lnTo>
                      <a:pt x="23" y="82"/>
                    </a:lnTo>
                    <a:lnTo>
                      <a:pt x="23" y="84"/>
                    </a:lnTo>
                    <a:lnTo>
                      <a:pt x="22" y="84"/>
                    </a:lnTo>
                    <a:lnTo>
                      <a:pt x="22" y="84"/>
                    </a:lnTo>
                    <a:lnTo>
                      <a:pt x="20" y="86"/>
                    </a:lnTo>
                    <a:lnTo>
                      <a:pt x="20" y="86"/>
                    </a:lnTo>
                    <a:lnTo>
                      <a:pt x="18" y="86"/>
                    </a:lnTo>
                    <a:lnTo>
                      <a:pt x="16" y="81"/>
                    </a:lnTo>
                    <a:lnTo>
                      <a:pt x="16" y="81"/>
                    </a:lnTo>
                    <a:lnTo>
                      <a:pt x="15" y="75"/>
                    </a:lnTo>
                    <a:lnTo>
                      <a:pt x="15" y="74"/>
                    </a:lnTo>
                    <a:lnTo>
                      <a:pt x="15" y="70"/>
                    </a:lnTo>
                    <a:lnTo>
                      <a:pt x="13" y="68"/>
                    </a:lnTo>
                    <a:lnTo>
                      <a:pt x="13" y="66"/>
                    </a:lnTo>
                    <a:lnTo>
                      <a:pt x="13" y="63"/>
                    </a:lnTo>
                    <a:lnTo>
                      <a:pt x="13" y="63"/>
                    </a:lnTo>
                    <a:lnTo>
                      <a:pt x="13" y="59"/>
                    </a:lnTo>
                    <a:lnTo>
                      <a:pt x="13" y="57"/>
                    </a:lnTo>
                    <a:lnTo>
                      <a:pt x="11" y="57"/>
                    </a:lnTo>
                    <a:lnTo>
                      <a:pt x="11" y="52"/>
                    </a:lnTo>
                    <a:lnTo>
                      <a:pt x="9" y="50"/>
                    </a:lnTo>
                    <a:lnTo>
                      <a:pt x="11" y="40"/>
                    </a:lnTo>
                    <a:lnTo>
                      <a:pt x="7" y="34"/>
                    </a:lnTo>
                    <a:lnTo>
                      <a:pt x="0" y="32"/>
                    </a:lnTo>
                    <a:lnTo>
                      <a:pt x="0" y="31"/>
                    </a:lnTo>
                    <a:lnTo>
                      <a:pt x="0" y="29"/>
                    </a:lnTo>
                    <a:lnTo>
                      <a:pt x="2" y="27"/>
                    </a:lnTo>
                    <a:lnTo>
                      <a:pt x="4" y="25"/>
                    </a:lnTo>
                    <a:lnTo>
                      <a:pt x="6" y="25"/>
                    </a:lnTo>
                    <a:lnTo>
                      <a:pt x="7" y="24"/>
                    </a:lnTo>
                    <a:lnTo>
                      <a:pt x="13" y="22"/>
                    </a:lnTo>
                    <a:lnTo>
                      <a:pt x="13" y="20"/>
                    </a:lnTo>
                    <a:lnTo>
                      <a:pt x="11" y="18"/>
                    </a:lnTo>
                    <a:lnTo>
                      <a:pt x="11" y="18"/>
                    </a:lnTo>
                    <a:lnTo>
                      <a:pt x="7" y="18"/>
                    </a:lnTo>
                    <a:lnTo>
                      <a:pt x="6" y="16"/>
                    </a:lnTo>
                    <a:lnTo>
                      <a:pt x="4" y="13"/>
                    </a:lnTo>
                    <a:lnTo>
                      <a:pt x="4" y="11"/>
                    </a:lnTo>
                    <a:lnTo>
                      <a:pt x="7" y="4"/>
                    </a:lnTo>
                    <a:lnTo>
                      <a:pt x="9" y="0"/>
                    </a:lnTo>
                    <a:lnTo>
                      <a:pt x="9" y="0"/>
                    </a:lnTo>
                    <a:lnTo>
                      <a:pt x="15" y="7"/>
                    </a:lnTo>
                    <a:lnTo>
                      <a:pt x="16" y="2"/>
                    </a:lnTo>
                    <a:lnTo>
                      <a:pt x="18" y="2"/>
                    </a:lnTo>
                    <a:lnTo>
                      <a:pt x="18" y="7"/>
                    </a:lnTo>
                    <a:lnTo>
                      <a:pt x="20" y="9"/>
                    </a:lnTo>
                    <a:lnTo>
                      <a:pt x="22" y="7"/>
                    </a:lnTo>
                    <a:lnTo>
                      <a:pt x="25" y="9"/>
                    </a:lnTo>
                    <a:lnTo>
                      <a:pt x="27" y="6"/>
                    </a:lnTo>
                    <a:lnTo>
                      <a:pt x="31" y="18"/>
                    </a:lnTo>
                    <a:lnTo>
                      <a:pt x="32" y="20"/>
                    </a:lnTo>
                    <a:lnTo>
                      <a:pt x="34" y="22"/>
                    </a:lnTo>
                    <a:lnTo>
                      <a:pt x="48" y="24"/>
                    </a:lnTo>
                    <a:lnTo>
                      <a:pt x="48" y="22"/>
                    </a:lnTo>
                    <a:lnTo>
                      <a:pt x="59" y="22"/>
                    </a:lnTo>
                    <a:lnTo>
                      <a:pt x="72" y="25"/>
                    </a:lnTo>
                    <a:lnTo>
                      <a:pt x="70" y="27"/>
                    </a:lnTo>
                    <a:lnTo>
                      <a:pt x="68" y="29"/>
                    </a:lnTo>
                    <a:lnTo>
                      <a:pt x="66" y="32"/>
                    </a:lnTo>
                    <a:lnTo>
                      <a:pt x="59" y="40"/>
                    </a:lnTo>
                    <a:lnTo>
                      <a:pt x="52" y="43"/>
                    </a:lnTo>
                    <a:lnTo>
                      <a:pt x="52" y="47"/>
                    </a:lnTo>
                    <a:lnTo>
                      <a:pt x="54" y="56"/>
                    </a:lnTo>
                    <a:lnTo>
                      <a:pt x="57" y="57"/>
                    </a:lnTo>
                    <a:lnTo>
                      <a:pt x="59" y="59"/>
                    </a:lnTo>
                    <a:lnTo>
                      <a:pt x="61" y="61"/>
                    </a:lnTo>
                    <a:lnTo>
                      <a:pt x="65" y="52"/>
                    </a:lnTo>
                    <a:lnTo>
                      <a:pt x="66" y="49"/>
                    </a:lnTo>
                    <a:lnTo>
                      <a:pt x="68" y="49"/>
                    </a:lnTo>
                    <a:lnTo>
                      <a:pt x="77" y="81"/>
                    </a:lnTo>
                    <a:lnTo>
                      <a:pt x="77" y="82"/>
                    </a:lnTo>
                    <a:lnTo>
                      <a:pt x="77" y="90"/>
                    </a:lnTo>
                    <a:lnTo>
                      <a:pt x="73" y="90"/>
                    </a:lnTo>
                    <a:lnTo>
                      <a:pt x="72" y="90"/>
                    </a:lnTo>
                    <a:lnTo>
                      <a:pt x="72" y="9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32" name="Freeform 2483"/>
              <p:cNvSpPr>
                <a:spLocks/>
              </p:cNvSpPr>
              <p:nvPr/>
            </p:nvSpPr>
            <p:spPr bwMode="auto">
              <a:xfrm>
                <a:off x="4101" y="2275"/>
                <a:ext cx="77" cy="99"/>
              </a:xfrm>
              <a:custGeom>
                <a:avLst/>
                <a:gdLst>
                  <a:gd name="T0" fmla="*/ 70 w 77"/>
                  <a:gd name="T1" fmla="*/ 99 h 99"/>
                  <a:gd name="T2" fmla="*/ 59 w 77"/>
                  <a:gd name="T3" fmla="*/ 66 h 99"/>
                  <a:gd name="T4" fmla="*/ 52 w 77"/>
                  <a:gd name="T5" fmla="*/ 66 h 99"/>
                  <a:gd name="T6" fmla="*/ 47 w 77"/>
                  <a:gd name="T7" fmla="*/ 63 h 99"/>
                  <a:gd name="T8" fmla="*/ 45 w 77"/>
                  <a:gd name="T9" fmla="*/ 66 h 99"/>
                  <a:gd name="T10" fmla="*/ 43 w 77"/>
                  <a:gd name="T11" fmla="*/ 75 h 99"/>
                  <a:gd name="T12" fmla="*/ 36 w 77"/>
                  <a:gd name="T13" fmla="*/ 82 h 99"/>
                  <a:gd name="T14" fmla="*/ 32 w 77"/>
                  <a:gd name="T15" fmla="*/ 81 h 99"/>
                  <a:gd name="T16" fmla="*/ 29 w 77"/>
                  <a:gd name="T17" fmla="*/ 84 h 99"/>
                  <a:gd name="T18" fmla="*/ 27 w 77"/>
                  <a:gd name="T19" fmla="*/ 82 h 99"/>
                  <a:gd name="T20" fmla="*/ 23 w 77"/>
                  <a:gd name="T21" fmla="*/ 84 h 99"/>
                  <a:gd name="T22" fmla="*/ 22 w 77"/>
                  <a:gd name="T23" fmla="*/ 84 h 99"/>
                  <a:gd name="T24" fmla="*/ 20 w 77"/>
                  <a:gd name="T25" fmla="*/ 86 h 99"/>
                  <a:gd name="T26" fmla="*/ 16 w 77"/>
                  <a:gd name="T27" fmla="*/ 81 h 99"/>
                  <a:gd name="T28" fmla="*/ 15 w 77"/>
                  <a:gd name="T29" fmla="*/ 75 h 99"/>
                  <a:gd name="T30" fmla="*/ 15 w 77"/>
                  <a:gd name="T31" fmla="*/ 70 h 99"/>
                  <a:gd name="T32" fmla="*/ 13 w 77"/>
                  <a:gd name="T33" fmla="*/ 66 h 99"/>
                  <a:gd name="T34" fmla="*/ 13 w 77"/>
                  <a:gd name="T35" fmla="*/ 63 h 99"/>
                  <a:gd name="T36" fmla="*/ 13 w 77"/>
                  <a:gd name="T37" fmla="*/ 57 h 99"/>
                  <a:gd name="T38" fmla="*/ 11 w 77"/>
                  <a:gd name="T39" fmla="*/ 52 h 99"/>
                  <a:gd name="T40" fmla="*/ 11 w 77"/>
                  <a:gd name="T41" fmla="*/ 40 h 99"/>
                  <a:gd name="T42" fmla="*/ 0 w 77"/>
                  <a:gd name="T43" fmla="*/ 32 h 99"/>
                  <a:gd name="T44" fmla="*/ 0 w 77"/>
                  <a:gd name="T45" fmla="*/ 29 h 99"/>
                  <a:gd name="T46" fmla="*/ 4 w 77"/>
                  <a:gd name="T47" fmla="*/ 25 h 99"/>
                  <a:gd name="T48" fmla="*/ 7 w 77"/>
                  <a:gd name="T49" fmla="*/ 24 h 99"/>
                  <a:gd name="T50" fmla="*/ 13 w 77"/>
                  <a:gd name="T51" fmla="*/ 20 h 99"/>
                  <a:gd name="T52" fmla="*/ 11 w 77"/>
                  <a:gd name="T53" fmla="*/ 18 h 99"/>
                  <a:gd name="T54" fmla="*/ 6 w 77"/>
                  <a:gd name="T55" fmla="*/ 16 h 99"/>
                  <a:gd name="T56" fmla="*/ 4 w 77"/>
                  <a:gd name="T57" fmla="*/ 11 h 99"/>
                  <a:gd name="T58" fmla="*/ 9 w 77"/>
                  <a:gd name="T59" fmla="*/ 0 h 99"/>
                  <a:gd name="T60" fmla="*/ 15 w 77"/>
                  <a:gd name="T61" fmla="*/ 7 h 99"/>
                  <a:gd name="T62" fmla="*/ 18 w 77"/>
                  <a:gd name="T63" fmla="*/ 2 h 99"/>
                  <a:gd name="T64" fmla="*/ 20 w 77"/>
                  <a:gd name="T65" fmla="*/ 9 h 99"/>
                  <a:gd name="T66" fmla="*/ 25 w 77"/>
                  <a:gd name="T67" fmla="*/ 9 h 99"/>
                  <a:gd name="T68" fmla="*/ 31 w 77"/>
                  <a:gd name="T69" fmla="*/ 18 h 99"/>
                  <a:gd name="T70" fmla="*/ 34 w 77"/>
                  <a:gd name="T71" fmla="*/ 22 h 99"/>
                  <a:gd name="T72" fmla="*/ 48 w 77"/>
                  <a:gd name="T73" fmla="*/ 22 h 99"/>
                  <a:gd name="T74" fmla="*/ 72 w 77"/>
                  <a:gd name="T75" fmla="*/ 25 h 99"/>
                  <a:gd name="T76" fmla="*/ 68 w 77"/>
                  <a:gd name="T77" fmla="*/ 29 h 99"/>
                  <a:gd name="T78" fmla="*/ 59 w 77"/>
                  <a:gd name="T79" fmla="*/ 40 h 99"/>
                  <a:gd name="T80" fmla="*/ 52 w 77"/>
                  <a:gd name="T81" fmla="*/ 47 h 99"/>
                  <a:gd name="T82" fmla="*/ 57 w 77"/>
                  <a:gd name="T83" fmla="*/ 57 h 99"/>
                  <a:gd name="T84" fmla="*/ 61 w 77"/>
                  <a:gd name="T85" fmla="*/ 61 h 99"/>
                  <a:gd name="T86" fmla="*/ 66 w 77"/>
                  <a:gd name="T87" fmla="*/ 49 h 99"/>
                  <a:gd name="T88" fmla="*/ 77 w 77"/>
                  <a:gd name="T89" fmla="*/ 81 h 99"/>
                  <a:gd name="T90" fmla="*/ 77 w 77"/>
                  <a:gd name="T91" fmla="*/ 90 h 99"/>
                  <a:gd name="T92" fmla="*/ 72 w 77"/>
                  <a:gd name="T93" fmla="*/ 9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7" h="99">
                    <a:moveTo>
                      <a:pt x="72" y="99"/>
                    </a:moveTo>
                    <a:lnTo>
                      <a:pt x="70" y="99"/>
                    </a:lnTo>
                    <a:lnTo>
                      <a:pt x="65" y="75"/>
                    </a:lnTo>
                    <a:lnTo>
                      <a:pt x="59" y="66"/>
                    </a:lnTo>
                    <a:lnTo>
                      <a:pt x="57" y="66"/>
                    </a:lnTo>
                    <a:lnTo>
                      <a:pt x="52" y="66"/>
                    </a:lnTo>
                    <a:lnTo>
                      <a:pt x="48" y="66"/>
                    </a:lnTo>
                    <a:lnTo>
                      <a:pt x="47" y="63"/>
                    </a:lnTo>
                    <a:lnTo>
                      <a:pt x="47" y="63"/>
                    </a:lnTo>
                    <a:lnTo>
                      <a:pt x="45" y="66"/>
                    </a:lnTo>
                    <a:lnTo>
                      <a:pt x="43" y="68"/>
                    </a:lnTo>
                    <a:lnTo>
                      <a:pt x="43" y="75"/>
                    </a:lnTo>
                    <a:lnTo>
                      <a:pt x="38" y="82"/>
                    </a:lnTo>
                    <a:lnTo>
                      <a:pt x="36" y="82"/>
                    </a:lnTo>
                    <a:lnTo>
                      <a:pt x="34" y="79"/>
                    </a:lnTo>
                    <a:lnTo>
                      <a:pt x="32" y="81"/>
                    </a:lnTo>
                    <a:lnTo>
                      <a:pt x="32" y="82"/>
                    </a:lnTo>
                    <a:lnTo>
                      <a:pt x="29" y="84"/>
                    </a:lnTo>
                    <a:lnTo>
                      <a:pt x="29" y="82"/>
                    </a:lnTo>
                    <a:lnTo>
                      <a:pt x="27" y="82"/>
                    </a:lnTo>
                    <a:lnTo>
                      <a:pt x="23" y="82"/>
                    </a:lnTo>
                    <a:lnTo>
                      <a:pt x="23" y="84"/>
                    </a:lnTo>
                    <a:lnTo>
                      <a:pt x="22" y="84"/>
                    </a:lnTo>
                    <a:lnTo>
                      <a:pt x="22" y="84"/>
                    </a:lnTo>
                    <a:lnTo>
                      <a:pt x="20" y="86"/>
                    </a:lnTo>
                    <a:lnTo>
                      <a:pt x="20" y="86"/>
                    </a:lnTo>
                    <a:lnTo>
                      <a:pt x="18" y="86"/>
                    </a:lnTo>
                    <a:lnTo>
                      <a:pt x="16" y="81"/>
                    </a:lnTo>
                    <a:lnTo>
                      <a:pt x="16" y="81"/>
                    </a:lnTo>
                    <a:lnTo>
                      <a:pt x="15" y="75"/>
                    </a:lnTo>
                    <a:lnTo>
                      <a:pt x="15" y="74"/>
                    </a:lnTo>
                    <a:lnTo>
                      <a:pt x="15" y="70"/>
                    </a:lnTo>
                    <a:lnTo>
                      <a:pt x="13" y="68"/>
                    </a:lnTo>
                    <a:lnTo>
                      <a:pt x="13" y="66"/>
                    </a:lnTo>
                    <a:lnTo>
                      <a:pt x="13" y="63"/>
                    </a:lnTo>
                    <a:lnTo>
                      <a:pt x="13" y="63"/>
                    </a:lnTo>
                    <a:lnTo>
                      <a:pt x="13" y="59"/>
                    </a:lnTo>
                    <a:lnTo>
                      <a:pt x="13" y="57"/>
                    </a:lnTo>
                    <a:lnTo>
                      <a:pt x="11" y="57"/>
                    </a:lnTo>
                    <a:lnTo>
                      <a:pt x="11" y="52"/>
                    </a:lnTo>
                    <a:lnTo>
                      <a:pt x="9" y="50"/>
                    </a:lnTo>
                    <a:lnTo>
                      <a:pt x="11" y="40"/>
                    </a:lnTo>
                    <a:lnTo>
                      <a:pt x="7" y="34"/>
                    </a:lnTo>
                    <a:lnTo>
                      <a:pt x="0" y="32"/>
                    </a:lnTo>
                    <a:lnTo>
                      <a:pt x="0" y="31"/>
                    </a:lnTo>
                    <a:lnTo>
                      <a:pt x="0" y="29"/>
                    </a:lnTo>
                    <a:lnTo>
                      <a:pt x="2" y="27"/>
                    </a:lnTo>
                    <a:lnTo>
                      <a:pt x="4" y="25"/>
                    </a:lnTo>
                    <a:lnTo>
                      <a:pt x="6" y="25"/>
                    </a:lnTo>
                    <a:lnTo>
                      <a:pt x="7" y="24"/>
                    </a:lnTo>
                    <a:lnTo>
                      <a:pt x="13" y="22"/>
                    </a:lnTo>
                    <a:lnTo>
                      <a:pt x="13" y="20"/>
                    </a:lnTo>
                    <a:lnTo>
                      <a:pt x="11" y="18"/>
                    </a:lnTo>
                    <a:lnTo>
                      <a:pt x="11" y="18"/>
                    </a:lnTo>
                    <a:lnTo>
                      <a:pt x="7" y="18"/>
                    </a:lnTo>
                    <a:lnTo>
                      <a:pt x="6" y="16"/>
                    </a:lnTo>
                    <a:lnTo>
                      <a:pt x="4" y="13"/>
                    </a:lnTo>
                    <a:lnTo>
                      <a:pt x="4" y="11"/>
                    </a:lnTo>
                    <a:lnTo>
                      <a:pt x="7" y="4"/>
                    </a:lnTo>
                    <a:lnTo>
                      <a:pt x="9" y="0"/>
                    </a:lnTo>
                    <a:lnTo>
                      <a:pt x="9" y="0"/>
                    </a:lnTo>
                    <a:lnTo>
                      <a:pt x="15" y="7"/>
                    </a:lnTo>
                    <a:lnTo>
                      <a:pt x="16" y="2"/>
                    </a:lnTo>
                    <a:lnTo>
                      <a:pt x="18" y="2"/>
                    </a:lnTo>
                    <a:lnTo>
                      <a:pt x="18" y="7"/>
                    </a:lnTo>
                    <a:lnTo>
                      <a:pt x="20" y="9"/>
                    </a:lnTo>
                    <a:lnTo>
                      <a:pt x="22" y="7"/>
                    </a:lnTo>
                    <a:lnTo>
                      <a:pt x="25" y="9"/>
                    </a:lnTo>
                    <a:lnTo>
                      <a:pt x="27" y="6"/>
                    </a:lnTo>
                    <a:lnTo>
                      <a:pt x="31" y="18"/>
                    </a:lnTo>
                    <a:lnTo>
                      <a:pt x="32" y="20"/>
                    </a:lnTo>
                    <a:lnTo>
                      <a:pt x="34" y="22"/>
                    </a:lnTo>
                    <a:lnTo>
                      <a:pt x="48" y="24"/>
                    </a:lnTo>
                    <a:lnTo>
                      <a:pt x="48" y="22"/>
                    </a:lnTo>
                    <a:lnTo>
                      <a:pt x="59" y="22"/>
                    </a:lnTo>
                    <a:lnTo>
                      <a:pt x="72" y="25"/>
                    </a:lnTo>
                    <a:lnTo>
                      <a:pt x="70" y="27"/>
                    </a:lnTo>
                    <a:lnTo>
                      <a:pt x="68" y="29"/>
                    </a:lnTo>
                    <a:lnTo>
                      <a:pt x="66" y="32"/>
                    </a:lnTo>
                    <a:lnTo>
                      <a:pt x="59" y="40"/>
                    </a:lnTo>
                    <a:lnTo>
                      <a:pt x="52" y="43"/>
                    </a:lnTo>
                    <a:lnTo>
                      <a:pt x="52" y="47"/>
                    </a:lnTo>
                    <a:lnTo>
                      <a:pt x="54" y="56"/>
                    </a:lnTo>
                    <a:lnTo>
                      <a:pt x="57" y="57"/>
                    </a:lnTo>
                    <a:lnTo>
                      <a:pt x="59" y="59"/>
                    </a:lnTo>
                    <a:lnTo>
                      <a:pt x="61" y="61"/>
                    </a:lnTo>
                    <a:lnTo>
                      <a:pt x="65" y="52"/>
                    </a:lnTo>
                    <a:lnTo>
                      <a:pt x="66" y="49"/>
                    </a:lnTo>
                    <a:lnTo>
                      <a:pt x="68" y="49"/>
                    </a:lnTo>
                    <a:lnTo>
                      <a:pt x="77" y="81"/>
                    </a:lnTo>
                    <a:lnTo>
                      <a:pt x="77" y="82"/>
                    </a:lnTo>
                    <a:lnTo>
                      <a:pt x="77" y="90"/>
                    </a:lnTo>
                    <a:lnTo>
                      <a:pt x="73" y="90"/>
                    </a:lnTo>
                    <a:lnTo>
                      <a:pt x="72" y="90"/>
                    </a:lnTo>
                    <a:lnTo>
                      <a:pt x="72" y="99"/>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33" name="Freeform 2484"/>
              <p:cNvSpPr>
                <a:spLocks/>
              </p:cNvSpPr>
              <p:nvPr/>
            </p:nvSpPr>
            <p:spPr bwMode="auto">
              <a:xfrm>
                <a:off x="3971" y="2556"/>
                <a:ext cx="34" cy="62"/>
              </a:xfrm>
              <a:custGeom>
                <a:avLst/>
                <a:gdLst>
                  <a:gd name="T0" fmla="*/ 5 w 34"/>
                  <a:gd name="T1" fmla="*/ 0 h 62"/>
                  <a:gd name="T2" fmla="*/ 4 w 34"/>
                  <a:gd name="T3" fmla="*/ 1 h 62"/>
                  <a:gd name="T4" fmla="*/ 5 w 34"/>
                  <a:gd name="T5" fmla="*/ 3 h 62"/>
                  <a:gd name="T6" fmla="*/ 9 w 34"/>
                  <a:gd name="T7" fmla="*/ 3 h 62"/>
                  <a:gd name="T8" fmla="*/ 9 w 34"/>
                  <a:gd name="T9" fmla="*/ 5 h 62"/>
                  <a:gd name="T10" fmla="*/ 9 w 34"/>
                  <a:gd name="T11" fmla="*/ 5 h 62"/>
                  <a:gd name="T12" fmla="*/ 7 w 34"/>
                  <a:gd name="T13" fmla="*/ 7 h 62"/>
                  <a:gd name="T14" fmla="*/ 5 w 34"/>
                  <a:gd name="T15" fmla="*/ 12 h 62"/>
                  <a:gd name="T16" fmla="*/ 4 w 34"/>
                  <a:gd name="T17" fmla="*/ 14 h 62"/>
                  <a:gd name="T18" fmla="*/ 2 w 34"/>
                  <a:gd name="T19" fmla="*/ 28 h 62"/>
                  <a:gd name="T20" fmla="*/ 0 w 34"/>
                  <a:gd name="T21" fmla="*/ 26 h 62"/>
                  <a:gd name="T22" fmla="*/ 0 w 34"/>
                  <a:gd name="T23" fmla="*/ 28 h 62"/>
                  <a:gd name="T24" fmla="*/ 2 w 34"/>
                  <a:gd name="T25" fmla="*/ 48 h 62"/>
                  <a:gd name="T26" fmla="*/ 5 w 34"/>
                  <a:gd name="T27" fmla="*/ 59 h 62"/>
                  <a:gd name="T28" fmla="*/ 9 w 34"/>
                  <a:gd name="T29" fmla="*/ 60 h 62"/>
                  <a:gd name="T30" fmla="*/ 18 w 34"/>
                  <a:gd name="T31" fmla="*/ 62 h 62"/>
                  <a:gd name="T32" fmla="*/ 30 w 34"/>
                  <a:gd name="T33" fmla="*/ 55 h 62"/>
                  <a:gd name="T34" fmla="*/ 32 w 34"/>
                  <a:gd name="T35" fmla="*/ 50 h 62"/>
                  <a:gd name="T36" fmla="*/ 34 w 34"/>
                  <a:gd name="T37" fmla="*/ 37 h 62"/>
                  <a:gd name="T38" fmla="*/ 34 w 34"/>
                  <a:gd name="T39" fmla="*/ 34 h 62"/>
                  <a:gd name="T40" fmla="*/ 32 w 34"/>
                  <a:gd name="T41" fmla="*/ 34 h 62"/>
                  <a:gd name="T42" fmla="*/ 27 w 34"/>
                  <a:gd name="T43" fmla="*/ 21 h 62"/>
                  <a:gd name="T44" fmla="*/ 25 w 34"/>
                  <a:gd name="T45" fmla="*/ 19 h 62"/>
                  <a:gd name="T46" fmla="*/ 23 w 34"/>
                  <a:gd name="T47" fmla="*/ 16 h 62"/>
                  <a:gd name="T48" fmla="*/ 20 w 34"/>
                  <a:gd name="T49" fmla="*/ 14 h 62"/>
                  <a:gd name="T50" fmla="*/ 18 w 34"/>
                  <a:gd name="T51" fmla="*/ 10 h 62"/>
                  <a:gd name="T52" fmla="*/ 11 w 34"/>
                  <a:gd name="T53" fmla="*/ 1 h 62"/>
                  <a:gd name="T54" fmla="*/ 7 w 34"/>
                  <a:gd name="T55" fmla="*/ 0 h 62"/>
                  <a:gd name="T56" fmla="*/ 5 w 34"/>
                  <a:gd name="T5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62">
                    <a:moveTo>
                      <a:pt x="5" y="0"/>
                    </a:moveTo>
                    <a:lnTo>
                      <a:pt x="4" y="1"/>
                    </a:lnTo>
                    <a:lnTo>
                      <a:pt x="5" y="3"/>
                    </a:lnTo>
                    <a:lnTo>
                      <a:pt x="9" y="3"/>
                    </a:lnTo>
                    <a:lnTo>
                      <a:pt x="9" y="5"/>
                    </a:lnTo>
                    <a:lnTo>
                      <a:pt x="9" y="5"/>
                    </a:lnTo>
                    <a:lnTo>
                      <a:pt x="7" y="7"/>
                    </a:lnTo>
                    <a:lnTo>
                      <a:pt x="5" y="12"/>
                    </a:lnTo>
                    <a:lnTo>
                      <a:pt x="4" y="14"/>
                    </a:lnTo>
                    <a:lnTo>
                      <a:pt x="2" y="28"/>
                    </a:lnTo>
                    <a:lnTo>
                      <a:pt x="0" y="26"/>
                    </a:lnTo>
                    <a:lnTo>
                      <a:pt x="0" y="28"/>
                    </a:lnTo>
                    <a:lnTo>
                      <a:pt x="2" y="48"/>
                    </a:lnTo>
                    <a:lnTo>
                      <a:pt x="5" y="59"/>
                    </a:lnTo>
                    <a:lnTo>
                      <a:pt x="9" y="60"/>
                    </a:lnTo>
                    <a:lnTo>
                      <a:pt x="18" y="62"/>
                    </a:lnTo>
                    <a:lnTo>
                      <a:pt x="30" y="55"/>
                    </a:lnTo>
                    <a:lnTo>
                      <a:pt x="32" y="50"/>
                    </a:lnTo>
                    <a:lnTo>
                      <a:pt x="34" y="37"/>
                    </a:lnTo>
                    <a:lnTo>
                      <a:pt x="34" y="34"/>
                    </a:lnTo>
                    <a:lnTo>
                      <a:pt x="32" y="34"/>
                    </a:lnTo>
                    <a:lnTo>
                      <a:pt x="27" y="21"/>
                    </a:lnTo>
                    <a:lnTo>
                      <a:pt x="25" y="19"/>
                    </a:lnTo>
                    <a:lnTo>
                      <a:pt x="23" y="16"/>
                    </a:lnTo>
                    <a:lnTo>
                      <a:pt x="20" y="14"/>
                    </a:lnTo>
                    <a:lnTo>
                      <a:pt x="18" y="10"/>
                    </a:lnTo>
                    <a:lnTo>
                      <a:pt x="11" y="1"/>
                    </a:lnTo>
                    <a:lnTo>
                      <a:pt x="7" y="0"/>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34" name="Freeform 2485"/>
              <p:cNvSpPr>
                <a:spLocks/>
              </p:cNvSpPr>
              <p:nvPr/>
            </p:nvSpPr>
            <p:spPr bwMode="auto">
              <a:xfrm>
                <a:off x="3971" y="2556"/>
                <a:ext cx="34" cy="62"/>
              </a:xfrm>
              <a:custGeom>
                <a:avLst/>
                <a:gdLst>
                  <a:gd name="T0" fmla="*/ 5 w 34"/>
                  <a:gd name="T1" fmla="*/ 0 h 62"/>
                  <a:gd name="T2" fmla="*/ 4 w 34"/>
                  <a:gd name="T3" fmla="*/ 1 h 62"/>
                  <a:gd name="T4" fmla="*/ 5 w 34"/>
                  <a:gd name="T5" fmla="*/ 3 h 62"/>
                  <a:gd name="T6" fmla="*/ 9 w 34"/>
                  <a:gd name="T7" fmla="*/ 3 h 62"/>
                  <a:gd name="T8" fmla="*/ 9 w 34"/>
                  <a:gd name="T9" fmla="*/ 5 h 62"/>
                  <a:gd name="T10" fmla="*/ 9 w 34"/>
                  <a:gd name="T11" fmla="*/ 5 h 62"/>
                  <a:gd name="T12" fmla="*/ 7 w 34"/>
                  <a:gd name="T13" fmla="*/ 7 h 62"/>
                  <a:gd name="T14" fmla="*/ 5 w 34"/>
                  <a:gd name="T15" fmla="*/ 12 h 62"/>
                  <a:gd name="T16" fmla="*/ 4 w 34"/>
                  <a:gd name="T17" fmla="*/ 14 h 62"/>
                  <a:gd name="T18" fmla="*/ 2 w 34"/>
                  <a:gd name="T19" fmla="*/ 28 h 62"/>
                  <a:gd name="T20" fmla="*/ 0 w 34"/>
                  <a:gd name="T21" fmla="*/ 26 h 62"/>
                  <a:gd name="T22" fmla="*/ 0 w 34"/>
                  <a:gd name="T23" fmla="*/ 28 h 62"/>
                  <a:gd name="T24" fmla="*/ 2 w 34"/>
                  <a:gd name="T25" fmla="*/ 48 h 62"/>
                  <a:gd name="T26" fmla="*/ 5 w 34"/>
                  <a:gd name="T27" fmla="*/ 59 h 62"/>
                  <a:gd name="T28" fmla="*/ 9 w 34"/>
                  <a:gd name="T29" fmla="*/ 60 h 62"/>
                  <a:gd name="T30" fmla="*/ 18 w 34"/>
                  <a:gd name="T31" fmla="*/ 62 h 62"/>
                  <a:gd name="T32" fmla="*/ 30 w 34"/>
                  <a:gd name="T33" fmla="*/ 55 h 62"/>
                  <a:gd name="T34" fmla="*/ 32 w 34"/>
                  <a:gd name="T35" fmla="*/ 50 h 62"/>
                  <a:gd name="T36" fmla="*/ 34 w 34"/>
                  <a:gd name="T37" fmla="*/ 37 h 62"/>
                  <a:gd name="T38" fmla="*/ 34 w 34"/>
                  <a:gd name="T39" fmla="*/ 34 h 62"/>
                  <a:gd name="T40" fmla="*/ 32 w 34"/>
                  <a:gd name="T41" fmla="*/ 34 h 62"/>
                  <a:gd name="T42" fmla="*/ 27 w 34"/>
                  <a:gd name="T43" fmla="*/ 21 h 62"/>
                  <a:gd name="T44" fmla="*/ 25 w 34"/>
                  <a:gd name="T45" fmla="*/ 19 h 62"/>
                  <a:gd name="T46" fmla="*/ 23 w 34"/>
                  <a:gd name="T47" fmla="*/ 16 h 62"/>
                  <a:gd name="T48" fmla="*/ 20 w 34"/>
                  <a:gd name="T49" fmla="*/ 14 h 62"/>
                  <a:gd name="T50" fmla="*/ 18 w 34"/>
                  <a:gd name="T51" fmla="*/ 10 h 62"/>
                  <a:gd name="T52" fmla="*/ 11 w 34"/>
                  <a:gd name="T53" fmla="*/ 1 h 62"/>
                  <a:gd name="T54" fmla="*/ 7 w 34"/>
                  <a:gd name="T55" fmla="*/ 0 h 62"/>
                  <a:gd name="T56" fmla="*/ 5 w 34"/>
                  <a:gd name="T5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 h="62">
                    <a:moveTo>
                      <a:pt x="5" y="0"/>
                    </a:moveTo>
                    <a:lnTo>
                      <a:pt x="4" y="1"/>
                    </a:lnTo>
                    <a:lnTo>
                      <a:pt x="5" y="3"/>
                    </a:lnTo>
                    <a:lnTo>
                      <a:pt x="9" y="3"/>
                    </a:lnTo>
                    <a:lnTo>
                      <a:pt x="9" y="5"/>
                    </a:lnTo>
                    <a:lnTo>
                      <a:pt x="9" y="5"/>
                    </a:lnTo>
                    <a:lnTo>
                      <a:pt x="7" y="7"/>
                    </a:lnTo>
                    <a:lnTo>
                      <a:pt x="5" y="12"/>
                    </a:lnTo>
                    <a:lnTo>
                      <a:pt x="4" y="14"/>
                    </a:lnTo>
                    <a:lnTo>
                      <a:pt x="2" y="28"/>
                    </a:lnTo>
                    <a:lnTo>
                      <a:pt x="0" y="26"/>
                    </a:lnTo>
                    <a:lnTo>
                      <a:pt x="0" y="28"/>
                    </a:lnTo>
                    <a:lnTo>
                      <a:pt x="2" y="48"/>
                    </a:lnTo>
                    <a:lnTo>
                      <a:pt x="5" y="59"/>
                    </a:lnTo>
                    <a:lnTo>
                      <a:pt x="9" y="60"/>
                    </a:lnTo>
                    <a:lnTo>
                      <a:pt x="18" y="62"/>
                    </a:lnTo>
                    <a:lnTo>
                      <a:pt x="30" y="55"/>
                    </a:lnTo>
                    <a:lnTo>
                      <a:pt x="32" y="50"/>
                    </a:lnTo>
                    <a:lnTo>
                      <a:pt x="34" y="37"/>
                    </a:lnTo>
                    <a:lnTo>
                      <a:pt x="34" y="34"/>
                    </a:lnTo>
                    <a:lnTo>
                      <a:pt x="32" y="34"/>
                    </a:lnTo>
                    <a:lnTo>
                      <a:pt x="27" y="21"/>
                    </a:lnTo>
                    <a:lnTo>
                      <a:pt x="25" y="19"/>
                    </a:lnTo>
                    <a:lnTo>
                      <a:pt x="23" y="16"/>
                    </a:lnTo>
                    <a:lnTo>
                      <a:pt x="20" y="14"/>
                    </a:lnTo>
                    <a:lnTo>
                      <a:pt x="18" y="10"/>
                    </a:lnTo>
                    <a:lnTo>
                      <a:pt x="11" y="1"/>
                    </a:lnTo>
                    <a:lnTo>
                      <a:pt x="7" y="0"/>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35" name="Freeform 2486"/>
              <p:cNvSpPr>
                <a:spLocks/>
              </p:cNvSpPr>
              <p:nvPr/>
            </p:nvSpPr>
            <p:spPr bwMode="auto">
              <a:xfrm>
                <a:off x="4299" y="2345"/>
                <a:ext cx="117" cy="143"/>
              </a:xfrm>
              <a:custGeom>
                <a:avLst/>
                <a:gdLst>
                  <a:gd name="T0" fmla="*/ 43 w 117"/>
                  <a:gd name="T1" fmla="*/ 18 h 143"/>
                  <a:gd name="T2" fmla="*/ 43 w 117"/>
                  <a:gd name="T3" fmla="*/ 23 h 143"/>
                  <a:gd name="T4" fmla="*/ 54 w 117"/>
                  <a:gd name="T5" fmla="*/ 29 h 143"/>
                  <a:gd name="T6" fmla="*/ 65 w 117"/>
                  <a:gd name="T7" fmla="*/ 29 h 143"/>
                  <a:gd name="T8" fmla="*/ 68 w 117"/>
                  <a:gd name="T9" fmla="*/ 36 h 143"/>
                  <a:gd name="T10" fmla="*/ 72 w 117"/>
                  <a:gd name="T11" fmla="*/ 39 h 143"/>
                  <a:gd name="T12" fmla="*/ 74 w 117"/>
                  <a:gd name="T13" fmla="*/ 45 h 143"/>
                  <a:gd name="T14" fmla="*/ 65 w 117"/>
                  <a:gd name="T15" fmla="*/ 48 h 143"/>
                  <a:gd name="T16" fmla="*/ 61 w 117"/>
                  <a:gd name="T17" fmla="*/ 50 h 143"/>
                  <a:gd name="T18" fmla="*/ 61 w 117"/>
                  <a:gd name="T19" fmla="*/ 55 h 143"/>
                  <a:gd name="T20" fmla="*/ 79 w 117"/>
                  <a:gd name="T21" fmla="*/ 70 h 143"/>
                  <a:gd name="T22" fmla="*/ 86 w 117"/>
                  <a:gd name="T23" fmla="*/ 79 h 143"/>
                  <a:gd name="T24" fmla="*/ 93 w 117"/>
                  <a:gd name="T25" fmla="*/ 86 h 143"/>
                  <a:gd name="T26" fmla="*/ 100 w 117"/>
                  <a:gd name="T27" fmla="*/ 96 h 143"/>
                  <a:gd name="T28" fmla="*/ 100 w 117"/>
                  <a:gd name="T29" fmla="*/ 96 h 143"/>
                  <a:gd name="T30" fmla="*/ 104 w 117"/>
                  <a:gd name="T31" fmla="*/ 100 h 143"/>
                  <a:gd name="T32" fmla="*/ 117 w 117"/>
                  <a:gd name="T33" fmla="*/ 120 h 143"/>
                  <a:gd name="T34" fmla="*/ 115 w 117"/>
                  <a:gd name="T35" fmla="*/ 132 h 143"/>
                  <a:gd name="T36" fmla="*/ 109 w 117"/>
                  <a:gd name="T37" fmla="*/ 137 h 143"/>
                  <a:gd name="T38" fmla="*/ 104 w 117"/>
                  <a:gd name="T39" fmla="*/ 134 h 143"/>
                  <a:gd name="T40" fmla="*/ 95 w 117"/>
                  <a:gd name="T41" fmla="*/ 137 h 143"/>
                  <a:gd name="T42" fmla="*/ 92 w 117"/>
                  <a:gd name="T43" fmla="*/ 143 h 143"/>
                  <a:gd name="T44" fmla="*/ 81 w 117"/>
                  <a:gd name="T45" fmla="*/ 139 h 143"/>
                  <a:gd name="T46" fmla="*/ 83 w 117"/>
                  <a:gd name="T47" fmla="*/ 137 h 143"/>
                  <a:gd name="T48" fmla="*/ 84 w 117"/>
                  <a:gd name="T49" fmla="*/ 121 h 143"/>
                  <a:gd name="T50" fmla="*/ 84 w 117"/>
                  <a:gd name="T51" fmla="*/ 116 h 143"/>
                  <a:gd name="T52" fmla="*/ 83 w 117"/>
                  <a:gd name="T53" fmla="*/ 112 h 143"/>
                  <a:gd name="T54" fmla="*/ 81 w 117"/>
                  <a:gd name="T55" fmla="*/ 109 h 143"/>
                  <a:gd name="T56" fmla="*/ 75 w 117"/>
                  <a:gd name="T57" fmla="*/ 107 h 143"/>
                  <a:gd name="T58" fmla="*/ 72 w 117"/>
                  <a:gd name="T59" fmla="*/ 102 h 143"/>
                  <a:gd name="T60" fmla="*/ 70 w 117"/>
                  <a:gd name="T61" fmla="*/ 84 h 143"/>
                  <a:gd name="T62" fmla="*/ 67 w 117"/>
                  <a:gd name="T63" fmla="*/ 80 h 143"/>
                  <a:gd name="T64" fmla="*/ 58 w 117"/>
                  <a:gd name="T65" fmla="*/ 70 h 143"/>
                  <a:gd name="T66" fmla="*/ 47 w 117"/>
                  <a:gd name="T67" fmla="*/ 75 h 143"/>
                  <a:gd name="T68" fmla="*/ 38 w 117"/>
                  <a:gd name="T69" fmla="*/ 79 h 143"/>
                  <a:gd name="T70" fmla="*/ 34 w 117"/>
                  <a:gd name="T71" fmla="*/ 77 h 143"/>
                  <a:gd name="T72" fmla="*/ 31 w 117"/>
                  <a:gd name="T73" fmla="*/ 73 h 143"/>
                  <a:gd name="T74" fmla="*/ 20 w 117"/>
                  <a:gd name="T75" fmla="*/ 79 h 143"/>
                  <a:gd name="T76" fmla="*/ 15 w 117"/>
                  <a:gd name="T77" fmla="*/ 82 h 143"/>
                  <a:gd name="T78" fmla="*/ 13 w 117"/>
                  <a:gd name="T79" fmla="*/ 82 h 143"/>
                  <a:gd name="T80" fmla="*/ 17 w 117"/>
                  <a:gd name="T81" fmla="*/ 59 h 143"/>
                  <a:gd name="T82" fmla="*/ 17 w 117"/>
                  <a:gd name="T83" fmla="*/ 50 h 143"/>
                  <a:gd name="T84" fmla="*/ 8 w 117"/>
                  <a:gd name="T85" fmla="*/ 48 h 143"/>
                  <a:gd name="T86" fmla="*/ 6 w 117"/>
                  <a:gd name="T87" fmla="*/ 37 h 143"/>
                  <a:gd name="T88" fmla="*/ 0 w 117"/>
                  <a:gd name="T89" fmla="*/ 34 h 143"/>
                  <a:gd name="T90" fmla="*/ 0 w 117"/>
                  <a:gd name="T91" fmla="*/ 30 h 143"/>
                  <a:gd name="T92" fmla="*/ 2 w 117"/>
                  <a:gd name="T93" fmla="*/ 29 h 143"/>
                  <a:gd name="T94" fmla="*/ 8 w 117"/>
                  <a:gd name="T95" fmla="*/ 27 h 143"/>
                  <a:gd name="T96" fmla="*/ 15 w 117"/>
                  <a:gd name="T97" fmla="*/ 18 h 143"/>
                  <a:gd name="T98" fmla="*/ 17 w 117"/>
                  <a:gd name="T99" fmla="*/ 14 h 143"/>
                  <a:gd name="T100" fmla="*/ 24 w 117"/>
                  <a:gd name="T101" fmla="*/ 21 h 143"/>
                  <a:gd name="T102" fmla="*/ 25 w 117"/>
                  <a:gd name="T103" fmla="*/ 16 h 143"/>
                  <a:gd name="T104" fmla="*/ 24 w 117"/>
                  <a:gd name="T105" fmla="*/ 2 h 143"/>
                  <a:gd name="T106" fmla="*/ 31 w 117"/>
                  <a:gd name="T10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7" h="143">
                    <a:moveTo>
                      <a:pt x="31" y="2"/>
                    </a:moveTo>
                    <a:lnTo>
                      <a:pt x="43" y="18"/>
                    </a:lnTo>
                    <a:lnTo>
                      <a:pt x="43" y="21"/>
                    </a:lnTo>
                    <a:lnTo>
                      <a:pt x="43" y="23"/>
                    </a:lnTo>
                    <a:lnTo>
                      <a:pt x="49" y="29"/>
                    </a:lnTo>
                    <a:lnTo>
                      <a:pt x="54" y="29"/>
                    </a:lnTo>
                    <a:lnTo>
                      <a:pt x="59" y="27"/>
                    </a:lnTo>
                    <a:lnTo>
                      <a:pt x="65" y="29"/>
                    </a:lnTo>
                    <a:lnTo>
                      <a:pt x="68" y="34"/>
                    </a:lnTo>
                    <a:lnTo>
                      <a:pt x="68" y="36"/>
                    </a:lnTo>
                    <a:lnTo>
                      <a:pt x="72" y="37"/>
                    </a:lnTo>
                    <a:lnTo>
                      <a:pt x="72" y="39"/>
                    </a:lnTo>
                    <a:lnTo>
                      <a:pt x="74" y="41"/>
                    </a:lnTo>
                    <a:lnTo>
                      <a:pt x="74" y="45"/>
                    </a:lnTo>
                    <a:lnTo>
                      <a:pt x="70" y="48"/>
                    </a:lnTo>
                    <a:lnTo>
                      <a:pt x="65" y="48"/>
                    </a:lnTo>
                    <a:lnTo>
                      <a:pt x="63" y="48"/>
                    </a:lnTo>
                    <a:lnTo>
                      <a:pt x="61" y="50"/>
                    </a:lnTo>
                    <a:lnTo>
                      <a:pt x="59" y="54"/>
                    </a:lnTo>
                    <a:lnTo>
                      <a:pt x="61" y="55"/>
                    </a:lnTo>
                    <a:lnTo>
                      <a:pt x="79" y="66"/>
                    </a:lnTo>
                    <a:lnTo>
                      <a:pt x="79" y="70"/>
                    </a:lnTo>
                    <a:lnTo>
                      <a:pt x="86" y="77"/>
                    </a:lnTo>
                    <a:lnTo>
                      <a:pt x="86" y="79"/>
                    </a:lnTo>
                    <a:lnTo>
                      <a:pt x="92" y="84"/>
                    </a:lnTo>
                    <a:lnTo>
                      <a:pt x="93" y="86"/>
                    </a:lnTo>
                    <a:lnTo>
                      <a:pt x="99" y="89"/>
                    </a:lnTo>
                    <a:lnTo>
                      <a:pt x="100" y="96"/>
                    </a:lnTo>
                    <a:lnTo>
                      <a:pt x="100" y="96"/>
                    </a:lnTo>
                    <a:lnTo>
                      <a:pt x="100" y="96"/>
                    </a:lnTo>
                    <a:lnTo>
                      <a:pt x="102" y="100"/>
                    </a:lnTo>
                    <a:lnTo>
                      <a:pt x="104" y="100"/>
                    </a:lnTo>
                    <a:lnTo>
                      <a:pt x="111" y="105"/>
                    </a:lnTo>
                    <a:lnTo>
                      <a:pt x="117" y="120"/>
                    </a:lnTo>
                    <a:lnTo>
                      <a:pt x="117" y="132"/>
                    </a:lnTo>
                    <a:lnTo>
                      <a:pt x="115" y="132"/>
                    </a:lnTo>
                    <a:lnTo>
                      <a:pt x="113" y="136"/>
                    </a:lnTo>
                    <a:lnTo>
                      <a:pt x="109" y="137"/>
                    </a:lnTo>
                    <a:lnTo>
                      <a:pt x="108" y="137"/>
                    </a:lnTo>
                    <a:lnTo>
                      <a:pt x="104" y="134"/>
                    </a:lnTo>
                    <a:lnTo>
                      <a:pt x="102" y="134"/>
                    </a:lnTo>
                    <a:lnTo>
                      <a:pt x="95" y="137"/>
                    </a:lnTo>
                    <a:lnTo>
                      <a:pt x="93" y="143"/>
                    </a:lnTo>
                    <a:lnTo>
                      <a:pt x="92" y="143"/>
                    </a:lnTo>
                    <a:lnTo>
                      <a:pt x="83" y="141"/>
                    </a:lnTo>
                    <a:lnTo>
                      <a:pt x="81" y="139"/>
                    </a:lnTo>
                    <a:lnTo>
                      <a:pt x="81" y="137"/>
                    </a:lnTo>
                    <a:lnTo>
                      <a:pt x="83" y="137"/>
                    </a:lnTo>
                    <a:lnTo>
                      <a:pt x="84" y="134"/>
                    </a:lnTo>
                    <a:lnTo>
                      <a:pt x="84" y="121"/>
                    </a:lnTo>
                    <a:lnTo>
                      <a:pt x="84" y="120"/>
                    </a:lnTo>
                    <a:lnTo>
                      <a:pt x="84" y="116"/>
                    </a:lnTo>
                    <a:lnTo>
                      <a:pt x="84" y="114"/>
                    </a:lnTo>
                    <a:lnTo>
                      <a:pt x="83" y="112"/>
                    </a:lnTo>
                    <a:lnTo>
                      <a:pt x="81" y="111"/>
                    </a:lnTo>
                    <a:lnTo>
                      <a:pt x="81" y="109"/>
                    </a:lnTo>
                    <a:lnTo>
                      <a:pt x="77" y="109"/>
                    </a:lnTo>
                    <a:lnTo>
                      <a:pt x="75" y="107"/>
                    </a:lnTo>
                    <a:lnTo>
                      <a:pt x="74" y="105"/>
                    </a:lnTo>
                    <a:lnTo>
                      <a:pt x="72" y="102"/>
                    </a:lnTo>
                    <a:lnTo>
                      <a:pt x="72" y="91"/>
                    </a:lnTo>
                    <a:lnTo>
                      <a:pt x="70" y="84"/>
                    </a:lnTo>
                    <a:lnTo>
                      <a:pt x="68" y="82"/>
                    </a:lnTo>
                    <a:lnTo>
                      <a:pt x="67" y="80"/>
                    </a:lnTo>
                    <a:lnTo>
                      <a:pt x="63" y="77"/>
                    </a:lnTo>
                    <a:lnTo>
                      <a:pt x="58" y="70"/>
                    </a:lnTo>
                    <a:lnTo>
                      <a:pt x="47" y="71"/>
                    </a:lnTo>
                    <a:lnTo>
                      <a:pt x="47" y="75"/>
                    </a:lnTo>
                    <a:lnTo>
                      <a:pt x="45" y="75"/>
                    </a:lnTo>
                    <a:lnTo>
                      <a:pt x="38" y="79"/>
                    </a:lnTo>
                    <a:lnTo>
                      <a:pt x="36" y="79"/>
                    </a:lnTo>
                    <a:lnTo>
                      <a:pt x="34" y="77"/>
                    </a:lnTo>
                    <a:lnTo>
                      <a:pt x="33" y="73"/>
                    </a:lnTo>
                    <a:lnTo>
                      <a:pt x="31" y="73"/>
                    </a:lnTo>
                    <a:lnTo>
                      <a:pt x="24" y="75"/>
                    </a:lnTo>
                    <a:lnTo>
                      <a:pt x="20" y="79"/>
                    </a:lnTo>
                    <a:lnTo>
                      <a:pt x="17" y="80"/>
                    </a:lnTo>
                    <a:lnTo>
                      <a:pt x="15" y="82"/>
                    </a:lnTo>
                    <a:lnTo>
                      <a:pt x="13" y="84"/>
                    </a:lnTo>
                    <a:lnTo>
                      <a:pt x="13" y="82"/>
                    </a:lnTo>
                    <a:lnTo>
                      <a:pt x="11" y="79"/>
                    </a:lnTo>
                    <a:lnTo>
                      <a:pt x="17" y="59"/>
                    </a:lnTo>
                    <a:lnTo>
                      <a:pt x="15" y="55"/>
                    </a:lnTo>
                    <a:lnTo>
                      <a:pt x="17" y="50"/>
                    </a:lnTo>
                    <a:lnTo>
                      <a:pt x="15" y="48"/>
                    </a:lnTo>
                    <a:lnTo>
                      <a:pt x="8" y="48"/>
                    </a:lnTo>
                    <a:lnTo>
                      <a:pt x="6" y="48"/>
                    </a:lnTo>
                    <a:lnTo>
                      <a:pt x="6" y="37"/>
                    </a:lnTo>
                    <a:lnTo>
                      <a:pt x="2" y="34"/>
                    </a:lnTo>
                    <a:lnTo>
                      <a:pt x="0" y="34"/>
                    </a:lnTo>
                    <a:lnTo>
                      <a:pt x="0" y="34"/>
                    </a:lnTo>
                    <a:lnTo>
                      <a:pt x="0" y="30"/>
                    </a:lnTo>
                    <a:lnTo>
                      <a:pt x="0" y="30"/>
                    </a:lnTo>
                    <a:lnTo>
                      <a:pt x="2" y="29"/>
                    </a:lnTo>
                    <a:lnTo>
                      <a:pt x="4" y="29"/>
                    </a:lnTo>
                    <a:lnTo>
                      <a:pt x="8" y="27"/>
                    </a:lnTo>
                    <a:lnTo>
                      <a:pt x="6" y="23"/>
                    </a:lnTo>
                    <a:lnTo>
                      <a:pt x="15" y="18"/>
                    </a:lnTo>
                    <a:lnTo>
                      <a:pt x="15" y="16"/>
                    </a:lnTo>
                    <a:lnTo>
                      <a:pt x="17" y="14"/>
                    </a:lnTo>
                    <a:lnTo>
                      <a:pt x="18" y="21"/>
                    </a:lnTo>
                    <a:lnTo>
                      <a:pt x="24" y="21"/>
                    </a:lnTo>
                    <a:lnTo>
                      <a:pt x="25" y="20"/>
                    </a:lnTo>
                    <a:lnTo>
                      <a:pt x="25" y="16"/>
                    </a:lnTo>
                    <a:lnTo>
                      <a:pt x="24" y="11"/>
                    </a:lnTo>
                    <a:lnTo>
                      <a:pt x="24" y="2"/>
                    </a:lnTo>
                    <a:lnTo>
                      <a:pt x="25" y="0"/>
                    </a:lnTo>
                    <a:lnTo>
                      <a:pt x="31" y="0"/>
                    </a:lnTo>
                    <a:lnTo>
                      <a:pt x="31"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36" name="Freeform 2487"/>
              <p:cNvSpPr>
                <a:spLocks/>
              </p:cNvSpPr>
              <p:nvPr/>
            </p:nvSpPr>
            <p:spPr bwMode="auto">
              <a:xfrm>
                <a:off x="4299" y="2345"/>
                <a:ext cx="117" cy="143"/>
              </a:xfrm>
              <a:custGeom>
                <a:avLst/>
                <a:gdLst>
                  <a:gd name="T0" fmla="*/ 43 w 117"/>
                  <a:gd name="T1" fmla="*/ 18 h 143"/>
                  <a:gd name="T2" fmla="*/ 43 w 117"/>
                  <a:gd name="T3" fmla="*/ 23 h 143"/>
                  <a:gd name="T4" fmla="*/ 54 w 117"/>
                  <a:gd name="T5" fmla="*/ 29 h 143"/>
                  <a:gd name="T6" fmla="*/ 65 w 117"/>
                  <a:gd name="T7" fmla="*/ 29 h 143"/>
                  <a:gd name="T8" fmla="*/ 68 w 117"/>
                  <a:gd name="T9" fmla="*/ 36 h 143"/>
                  <a:gd name="T10" fmla="*/ 72 w 117"/>
                  <a:gd name="T11" fmla="*/ 39 h 143"/>
                  <a:gd name="T12" fmla="*/ 74 w 117"/>
                  <a:gd name="T13" fmla="*/ 45 h 143"/>
                  <a:gd name="T14" fmla="*/ 65 w 117"/>
                  <a:gd name="T15" fmla="*/ 48 h 143"/>
                  <a:gd name="T16" fmla="*/ 61 w 117"/>
                  <a:gd name="T17" fmla="*/ 50 h 143"/>
                  <a:gd name="T18" fmla="*/ 61 w 117"/>
                  <a:gd name="T19" fmla="*/ 55 h 143"/>
                  <a:gd name="T20" fmla="*/ 79 w 117"/>
                  <a:gd name="T21" fmla="*/ 70 h 143"/>
                  <a:gd name="T22" fmla="*/ 86 w 117"/>
                  <a:gd name="T23" fmla="*/ 79 h 143"/>
                  <a:gd name="T24" fmla="*/ 93 w 117"/>
                  <a:gd name="T25" fmla="*/ 86 h 143"/>
                  <a:gd name="T26" fmla="*/ 100 w 117"/>
                  <a:gd name="T27" fmla="*/ 96 h 143"/>
                  <a:gd name="T28" fmla="*/ 100 w 117"/>
                  <a:gd name="T29" fmla="*/ 96 h 143"/>
                  <a:gd name="T30" fmla="*/ 104 w 117"/>
                  <a:gd name="T31" fmla="*/ 100 h 143"/>
                  <a:gd name="T32" fmla="*/ 117 w 117"/>
                  <a:gd name="T33" fmla="*/ 120 h 143"/>
                  <a:gd name="T34" fmla="*/ 115 w 117"/>
                  <a:gd name="T35" fmla="*/ 132 h 143"/>
                  <a:gd name="T36" fmla="*/ 109 w 117"/>
                  <a:gd name="T37" fmla="*/ 137 h 143"/>
                  <a:gd name="T38" fmla="*/ 104 w 117"/>
                  <a:gd name="T39" fmla="*/ 134 h 143"/>
                  <a:gd name="T40" fmla="*/ 95 w 117"/>
                  <a:gd name="T41" fmla="*/ 137 h 143"/>
                  <a:gd name="T42" fmla="*/ 92 w 117"/>
                  <a:gd name="T43" fmla="*/ 143 h 143"/>
                  <a:gd name="T44" fmla="*/ 81 w 117"/>
                  <a:gd name="T45" fmla="*/ 139 h 143"/>
                  <a:gd name="T46" fmla="*/ 83 w 117"/>
                  <a:gd name="T47" fmla="*/ 137 h 143"/>
                  <a:gd name="T48" fmla="*/ 84 w 117"/>
                  <a:gd name="T49" fmla="*/ 121 h 143"/>
                  <a:gd name="T50" fmla="*/ 84 w 117"/>
                  <a:gd name="T51" fmla="*/ 116 h 143"/>
                  <a:gd name="T52" fmla="*/ 83 w 117"/>
                  <a:gd name="T53" fmla="*/ 112 h 143"/>
                  <a:gd name="T54" fmla="*/ 81 w 117"/>
                  <a:gd name="T55" fmla="*/ 109 h 143"/>
                  <a:gd name="T56" fmla="*/ 75 w 117"/>
                  <a:gd name="T57" fmla="*/ 107 h 143"/>
                  <a:gd name="T58" fmla="*/ 72 w 117"/>
                  <a:gd name="T59" fmla="*/ 102 h 143"/>
                  <a:gd name="T60" fmla="*/ 70 w 117"/>
                  <a:gd name="T61" fmla="*/ 84 h 143"/>
                  <a:gd name="T62" fmla="*/ 67 w 117"/>
                  <a:gd name="T63" fmla="*/ 80 h 143"/>
                  <a:gd name="T64" fmla="*/ 58 w 117"/>
                  <a:gd name="T65" fmla="*/ 70 h 143"/>
                  <a:gd name="T66" fmla="*/ 47 w 117"/>
                  <a:gd name="T67" fmla="*/ 75 h 143"/>
                  <a:gd name="T68" fmla="*/ 38 w 117"/>
                  <a:gd name="T69" fmla="*/ 79 h 143"/>
                  <a:gd name="T70" fmla="*/ 34 w 117"/>
                  <a:gd name="T71" fmla="*/ 77 h 143"/>
                  <a:gd name="T72" fmla="*/ 31 w 117"/>
                  <a:gd name="T73" fmla="*/ 73 h 143"/>
                  <a:gd name="T74" fmla="*/ 20 w 117"/>
                  <a:gd name="T75" fmla="*/ 79 h 143"/>
                  <a:gd name="T76" fmla="*/ 15 w 117"/>
                  <a:gd name="T77" fmla="*/ 82 h 143"/>
                  <a:gd name="T78" fmla="*/ 13 w 117"/>
                  <a:gd name="T79" fmla="*/ 82 h 143"/>
                  <a:gd name="T80" fmla="*/ 17 w 117"/>
                  <a:gd name="T81" fmla="*/ 59 h 143"/>
                  <a:gd name="T82" fmla="*/ 17 w 117"/>
                  <a:gd name="T83" fmla="*/ 50 h 143"/>
                  <a:gd name="T84" fmla="*/ 8 w 117"/>
                  <a:gd name="T85" fmla="*/ 48 h 143"/>
                  <a:gd name="T86" fmla="*/ 6 w 117"/>
                  <a:gd name="T87" fmla="*/ 37 h 143"/>
                  <a:gd name="T88" fmla="*/ 0 w 117"/>
                  <a:gd name="T89" fmla="*/ 34 h 143"/>
                  <a:gd name="T90" fmla="*/ 0 w 117"/>
                  <a:gd name="T91" fmla="*/ 30 h 143"/>
                  <a:gd name="T92" fmla="*/ 2 w 117"/>
                  <a:gd name="T93" fmla="*/ 29 h 143"/>
                  <a:gd name="T94" fmla="*/ 8 w 117"/>
                  <a:gd name="T95" fmla="*/ 27 h 143"/>
                  <a:gd name="T96" fmla="*/ 15 w 117"/>
                  <a:gd name="T97" fmla="*/ 18 h 143"/>
                  <a:gd name="T98" fmla="*/ 17 w 117"/>
                  <a:gd name="T99" fmla="*/ 14 h 143"/>
                  <a:gd name="T100" fmla="*/ 24 w 117"/>
                  <a:gd name="T101" fmla="*/ 21 h 143"/>
                  <a:gd name="T102" fmla="*/ 25 w 117"/>
                  <a:gd name="T103" fmla="*/ 16 h 143"/>
                  <a:gd name="T104" fmla="*/ 24 w 117"/>
                  <a:gd name="T105" fmla="*/ 2 h 143"/>
                  <a:gd name="T106" fmla="*/ 31 w 117"/>
                  <a:gd name="T10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7" h="143">
                    <a:moveTo>
                      <a:pt x="31" y="2"/>
                    </a:moveTo>
                    <a:lnTo>
                      <a:pt x="43" y="18"/>
                    </a:lnTo>
                    <a:lnTo>
                      <a:pt x="43" y="21"/>
                    </a:lnTo>
                    <a:lnTo>
                      <a:pt x="43" y="23"/>
                    </a:lnTo>
                    <a:lnTo>
                      <a:pt x="49" y="29"/>
                    </a:lnTo>
                    <a:lnTo>
                      <a:pt x="54" y="29"/>
                    </a:lnTo>
                    <a:lnTo>
                      <a:pt x="59" y="27"/>
                    </a:lnTo>
                    <a:lnTo>
                      <a:pt x="65" y="29"/>
                    </a:lnTo>
                    <a:lnTo>
                      <a:pt x="68" y="34"/>
                    </a:lnTo>
                    <a:lnTo>
                      <a:pt x="68" y="36"/>
                    </a:lnTo>
                    <a:lnTo>
                      <a:pt x="72" y="37"/>
                    </a:lnTo>
                    <a:lnTo>
                      <a:pt x="72" y="39"/>
                    </a:lnTo>
                    <a:lnTo>
                      <a:pt x="74" y="41"/>
                    </a:lnTo>
                    <a:lnTo>
                      <a:pt x="74" y="45"/>
                    </a:lnTo>
                    <a:lnTo>
                      <a:pt x="70" y="48"/>
                    </a:lnTo>
                    <a:lnTo>
                      <a:pt x="65" y="48"/>
                    </a:lnTo>
                    <a:lnTo>
                      <a:pt x="63" y="48"/>
                    </a:lnTo>
                    <a:lnTo>
                      <a:pt x="61" y="50"/>
                    </a:lnTo>
                    <a:lnTo>
                      <a:pt x="59" y="54"/>
                    </a:lnTo>
                    <a:lnTo>
                      <a:pt x="61" y="55"/>
                    </a:lnTo>
                    <a:lnTo>
                      <a:pt x="79" y="66"/>
                    </a:lnTo>
                    <a:lnTo>
                      <a:pt x="79" y="70"/>
                    </a:lnTo>
                    <a:lnTo>
                      <a:pt x="86" y="77"/>
                    </a:lnTo>
                    <a:lnTo>
                      <a:pt x="86" y="79"/>
                    </a:lnTo>
                    <a:lnTo>
                      <a:pt x="92" y="84"/>
                    </a:lnTo>
                    <a:lnTo>
                      <a:pt x="93" y="86"/>
                    </a:lnTo>
                    <a:lnTo>
                      <a:pt x="99" y="89"/>
                    </a:lnTo>
                    <a:lnTo>
                      <a:pt x="100" y="96"/>
                    </a:lnTo>
                    <a:lnTo>
                      <a:pt x="100" y="96"/>
                    </a:lnTo>
                    <a:lnTo>
                      <a:pt x="100" y="96"/>
                    </a:lnTo>
                    <a:lnTo>
                      <a:pt x="102" y="100"/>
                    </a:lnTo>
                    <a:lnTo>
                      <a:pt x="104" y="100"/>
                    </a:lnTo>
                    <a:lnTo>
                      <a:pt x="111" y="105"/>
                    </a:lnTo>
                    <a:lnTo>
                      <a:pt x="117" y="120"/>
                    </a:lnTo>
                    <a:lnTo>
                      <a:pt x="117" y="132"/>
                    </a:lnTo>
                    <a:lnTo>
                      <a:pt x="115" y="132"/>
                    </a:lnTo>
                    <a:lnTo>
                      <a:pt x="113" y="136"/>
                    </a:lnTo>
                    <a:lnTo>
                      <a:pt x="109" y="137"/>
                    </a:lnTo>
                    <a:lnTo>
                      <a:pt x="108" y="137"/>
                    </a:lnTo>
                    <a:lnTo>
                      <a:pt x="104" y="134"/>
                    </a:lnTo>
                    <a:lnTo>
                      <a:pt x="102" y="134"/>
                    </a:lnTo>
                    <a:lnTo>
                      <a:pt x="95" y="137"/>
                    </a:lnTo>
                    <a:lnTo>
                      <a:pt x="93" y="143"/>
                    </a:lnTo>
                    <a:lnTo>
                      <a:pt x="92" y="143"/>
                    </a:lnTo>
                    <a:lnTo>
                      <a:pt x="83" y="141"/>
                    </a:lnTo>
                    <a:lnTo>
                      <a:pt x="81" y="139"/>
                    </a:lnTo>
                    <a:lnTo>
                      <a:pt x="81" y="137"/>
                    </a:lnTo>
                    <a:lnTo>
                      <a:pt x="83" y="137"/>
                    </a:lnTo>
                    <a:lnTo>
                      <a:pt x="84" y="134"/>
                    </a:lnTo>
                    <a:lnTo>
                      <a:pt x="84" y="121"/>
                    </a:lnTo>
                    <a:lnTo>
                      <a:pt x="84" y="120"/>
                    </a:lnTo>
                    <a:lnTo>
                      <a:pt x="84" y="116"/>
                    </a:lnTo>
                    <a:lnTo>
                      <a:pt x="84" y="114"/>
                    </a:lnTo>
                    <a:lnTo>
                      <a:pt x="83" y="112"/>
                    </a:lnTo>
                    <a:lnTo>
                      <a:pt x="81" y="111"/>
                    </a:lnTo>
                    <a:lnTo>
                      <a:pt x="81" y="109"/>
                    </a:lnTo>
                    <a:lnTo>
                      <a:pt x="77" y="109"/>
                    </a:lnTo>
                    <a:lnTo>
                      <a:pt x="75" y="107"/>
                    </a:lnTo>
                    <a:lnTo>
                      <a:pt x="74" y="105"/>
                    </a:lnTo>
                    <a:lnTo>
                      <a:pt x="72" y="102"/>
                    </a:lnTo>
                    <a:lnTo>
                      <a:pt x="72" y="91"/>
                    </a:lnTo>
                    <a:lnTo>
                      <a:pt x="70" y="84"/>
                    </a:lnTo>
                    <a:lnTo>
                      <a:pt x="68" y="82"/>
                    </a:lnTo>
                    <a:lnTo>
                      <a:pt x="67" y="80"/>
                    </a:lnTo>
                    <a:lnTo>
                      <a:pt x="63" y="77"/>
                    </a:lnTo>
                    <a:lnTo>
                      <a:pt x="58" y="70"/>
                    </a:lnTo>
                    <a:lnTo>
                      <a:pt x="47" y="71"/>
                    </a:lnTo>
                    <a:lnTo>
                      <a:pt x="47" y="75"/>
                    </a:lnTo>
                    <a:lnTo>
                      <a:pt x="45" y="75"/>
                    </a:lnTo>
                    <a:lnTo>
                      <a:pt x="38" y="79"/>
                    </a:lnTo>
                    <a:lnTo>
                      <a:pt x="36" y="79"/>
                    </a:lnTo>
                    <a:lnTo>
                      <a:pt x="34" y="77"/>
                    </a:lnTo>
                    <a:lnTo>
                      <a:pt x="33" y="73"/>
                    </a:lnTo>
                    <a:lnTo>
                      <a:pt x="31" y="73"/>
                    </a:lnTo>
                    <a:lnTo>
                      <a:pt x="24" y="75"/>
                    </a:lnTo>
                    <a:lnTo>
                      <a:pt x="20" y="79"/>
                    </a:lnTo>
                    <a:lnTo>
                      <a:pt x="17" y="80"/>
                    </a:lnTo>
                    <a:lnTo>
                      <a:pt x="15" y="82"/>
                    </a:lnTo>
                    <a:lnTo>
                      <a:pt x="13" y="84"/>
                    </a:lnTo>
                    <a:lnTo>
                      <a:pt x="13" y="82"/>
                    </a:lnTo>
                    <a:lnTo>
                      <a:pt x="11" y="79"/>
                    </a:lnTo>
                    <a:lnTo>
                      <a:pt x="17" y="59"/>
                    </a:lnTo>
                    <a:lnTo>
                      <a:pt x="15" y="55"/>
                    </a:lnTo>
                    <a:lnTo>
                      <a:pt x="17" y="50"/>
                    </a:lnTo>
                    <a:lnTo>
                      <a:pt x="15" y="48"/>
                    </a:lnTo>
                    <a:lnTo>
                      <a:pt x="8" y="48"/>
                    </a:lnTo>
                    <a:lnTo>
                      <a:pt x="6" y="48"/>
                    </a:lnTo>
                    <a:lnTo>
                      <a:pt x="6" y="37"/>
                    </a:lnTo>
                    <a:lnTo>
                      <a:pt x="2" y="34"/>
                    </a:lnTo>
                    <a:lnTo>
                      <a:pt x="0" y="34"/>
                    </a:lnTo>
                    <a:lnTo>
                      <a:pt x="0" y="34"/>
                    </a:lnTo>
                    <a:lnTo>
                      <a:pt x="0" y="30"/>
                    </a:lnTo>
                    <a:lnTo>
                      <a:pt x="0" y="30"/>
                    </a:lnTo>
                    <a:lnTo>
                      <a:pt x="2" y="29"/>
                    </a:lnTo>
                    <a:lnTo>
                      <a:pt x="4" y="29"/>
                    </a:lnTo>
                    <a:lnTo>
                      <a:pt x="8" y="27"/>
                    </a:lnTo>
                    <a:lnTo>
                      <a:pt x="6" y="23"/>
                    </a:lnTo>
                    <a:lnTo>
                      <a:pt x="15" y="18"/>
                    </a:lnTo>
                    <a:lnTo>
                      <a:pt x="15" y="16"/>
                    </a:lnTo>
                    <a:lnTo>
                      <a:pt x="17" y="14"/>
                    </a:lnTo>
                    <a:lnTo>
                      <a:pt x="18" y="21"/>
                    </a:lnTo>
                    <a:lnTo>
                      <a:pt x="24" y="21"/>
                    </a:lnTo>
                    <a:lnTo>
                      <a:pt x="25" y="20"/>
                    </a:lnTo>
                    <a:lnTo>
                      <a:pt x="25" y="16"/>
                    </a:lnTo>
                    <a:lnTo>
                      <a:pt x="24" y="11"/>
                    </a:lnTo>
                    <a:lnTo>
                      <a:pt x="24" y="2"/>
                    </a:lnTo>
                    <a:lnTo>
                      <a:pt x="25" y="0"/>
                    </a:lnTo>
                    <a:lnTo>
                      <a:pt x="31" y="0"/>
                    </a:lnTo>
                    <a:lnTo>
                      <a:pt x="31"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37" name="Freeform 2488"/>
              <p:cNvSpPr>
                <a:spLocks/>
              </p:cNvSpPr>
              <p:nvPr/>
            </p:nvSpPr>
            <p:spPr bwMode="auto">
              <a:xfrm>
                <a:off x="4435" y="2386"/>
                <a:ext cx="36" cy="30"/>
              </a:xfrm>
              <a:custGeom>
                <a:avLst/>
                <a:gdLst>
                  <a:gd name="T0" fmla="*/ 0 w 36"/>
                  <a:gd name="T1" fmla="*/ 13 h 30"/>
                  <a:gd name="T2" fmla="*/ 0 w 36"/>
                  <a:gd name="T3" fmla="*/ 13 h 30"/>
                  <a:gd name="T4" fmla="*/ 0 w 36"/>
                  <a:gd name="T5" fmla="*/ 16 h 30"/>
                  <a:gd name="T6" fmla="*/ 0 w 36"/>
                  <a:gd name="T7" fmla="*/ 20 h 30"/>
                  <a:gd name="T8" fmla="*/ 0 w 36"/>
                  <a:gd name="T9" fmla="*/ 20 h 30"/>
                  <a:gd name="T10" fmla="*/ 2 w 36"/>
                  <a:gd name="T11" fmla="*/ 23 h 30"/>
                  <a:gd name="T12" fmla="*/ 4 w 36"/>
                  <a:gd name="T13" fmla="*/ 27 h 30"/>
                  <a:gd name="T14" fmla="*/ 4 w 36"/>
                  <a:gd name="T15" fmla="*/ 27 h 30"/>
                  <a:gd name="T16" fmla="*/ 7 w 36"/>
                  <a:gd name="T17" fmla="*/ 29 h 30"/>
                  <a:gd name="T18" fmla="*/ 11 w 36"/>
                  <a:gd name="T19" fmla="*/ 29 h 30"/>
                  <a:gd name="T20" fmla="*/ 11 w 36"/>
                  <a:gd name="T21" fmla="*/ 29 h 30"/>
                  <a:gd name="T22" fmla="*/ 14 w 36"/>
                  <a:gd name="T23" fmla="*/ 30 h 30"/>
                  <a:gd name="T24" fmla="*/ 20 w 36"/>
                  <a:gd name="T25" fmla="*/ 30 h 30"/>
                  <a:gd name="T26" fmla="*/ 20 w 36"/>
                  <a:gd name="T27" fmla="*/ 30 h 30"/>
                  <a:gd name="T28" fmla="*/ 20 w 36"/>
                  <a:gd name="T29" fmla="*/ 29 h 30"/>
                  <a:gd name="T30" fmla="*/ 22 w 36"/>
                  <a:gd name="T31" fmla="*/ 29 h 30"/>
                  <a:gd name="T32" fmla="*/ 23 w 36"/>
                  <a:gd name="T33" fmla="*/ 27 h 30"/>
                  <a:gd name="T34" fmla="*/ 23 w 36"/>
                  <a:gd name="T35" fmla="*/ 29 h 30"/>
                  <a:gd name="T36" fmla="*/ 23 w 36"/>
                  <a:gd name="T37" fmla="*/ 29 h 30"/>
                  <a:gd name="T38" fmla="*/ 25 w 36"/>
                  <a:gd name="T39" fmla="*/ 25 h 30"/>
                  <a:gd name="T40" fmla="*/ 29 w 36"/>
                  <a:gd name="T41" fmla="*/ 23 h 30"/>
                  <a:gd name="T42" fmla="*/ 29 w 36"/>
                  <a:gd name="T43" fmla="*/ 23 h 30"/>
                  <a:gd name="T44" fmla="*/ 31 w 36"/>
                  <a:gd name="T45" fmla="*/ 20 h 30"/>
                  <a:gd name="T46" fmla="*/ 31 w 36"/>
                  <a:gd name="T47" fmla="*/ 16 h 30"/>
                  <a:gd name="T48" fmla="*/ 31 w 36"/>
                  <a:gd name="T49" fmla="*/ 16 h 30"/>
                  <a:gd name="T50" fmla="*/ 31 w 36"/>
                  <a:gd name="T51" fmla="*/ 16 h 30"/>
                  <a:gd name="T52" fmla="*/ 32 w 36"/>
                  <a:gd name="T53" fmla="*/ 13 h 30"/>
                  <a:gd name="T54" fmla="*/ 32 w 36"/>
                  <a:gd name="T55" fmla="*/ 9 h 30"/>
                  <a:gd name="T56" fmla="*/ 32 w 36"/>
                  <a:gd name="T57" fmla="*/ 9 h 30"/>
                  <a:gd name="T58" fmla="*/ 36 w 36"/>
                  <a:gd name="T59" fmla="*/ 9 h 30"/>
                  <a:gd name="T60" fmla="*/ 36 w 36"/>
                  <a:gd name="T61" fmla="*/ 7 h 30"/>
                  <a:gd name="T62" fmla="*/ 34 w 36"/>
                  <a:gd name="T63" fmla="*/ 4 h 30"/>
                  <a:gd name="T64" fmla="*/ 34 w 36"/>
                  <a:gd name="T65" fmla="*/ 4 h 30"/>
                  <a:gd name="T66" fmla="*/ 31 w 36"/>
                  <a:gd name="T67" fmla="*/ 0 h 30"/>
                  <a:gd name="T68" fmla="*/ 29 w 36"/>
                  <a:gd name="T69" fmla="*/ 2 h 30"/>
                  <a:gd name="T70" fmla="*/ 29 w 36"/>
                  <a:gd name="T71" fmla="*/ 4 h 30"/>
                  <a:gd name="T72" fmla="*/ 29 w 36"/>
                  <a:gd name="T73" fmla="*/ 4 h 30"/>
                  <a:gd name="T74" fmla="*/ 27 w 36"/>
                  <a:gd name="T75" fmla="*/ 2 h 30"/>
                  <a:gd name="T76" fmla="*/ 25 w 36"/>
                  <a:gd name="T77" fmla="*/ 2 h 30"/>
                  <a:gd name="T78" fmla="*/ 25 w 36"/>
                  <a:gd name="T79" fmla="*/ 4 h 30"/>
                  <a:gd name="T80" fmla="*/ 25 w 36"/>
                  <a:gd name="T81" fmla="*/ 4 h 30"/>
                  <a:gd name="T82" fmla="*/ 25 w 36"/>
                  <a:gd name="T83" fmla="*/ 2 h 30"/>
                  <a:gd name="T84" fmla="*/ 22 w 36"/>
                  <a:gd name="T85" fmla="*/ 2 h 30"/>
                  <a:gd name="T86" fmla="*/ 20 w 36"/>
                  <a:gd name="T87" fmla="*/ 4 h 30"/>
                  <a:gd name="T88" fmla="*/ 20 w 36"/>
                  <a:gd name="T89" fmla="*/ 4 h 30"/>
                  <a:gd name="T90" fmla="*/ 18 w 36"/>
                  <a:gd name="T91" fmla="*/ 2 h 30"/>
                  <a:gd name="T92" fmla="*/ 16 w 36"/>
                  <a:gd name="T93" fmla="*/ 2 h 30"/>
                  <a:gd name="T94" fmla="*/ 11 w 36"/>
                  <a:gd name="T95" fmla="*/ 4 h 30"/>
                  <a:gd name="T96" fmla="*/ 11 w 36"/>
                  <a:gd name="T97" fmla="*/ 4 h 30"/>
                  <a:gd name="T98" fmla="*/ 13 w 36"/>
                  <a:gd name="T99" fmla="*/ 5 h 30"/>
                  <a:gd name="T100" fmla="*/ 13 w 36"/>
                  <a:gd name="T101" fmla="*/ 5 h 30"/>
                  <a:gd name="T102" fmla="*/ 11 w 36"/>
                  <a:gd name="T103" fmla="*/ 4 h 30"/>
                  <a:gd name="T104" fmla="*/ 7 w 36"/>
                  <a:gd name="T105" fmla="*/ 4 h 30"/>
                  <a:gd name="T106" fmla="*/ 7 w 36"/>
                  <a:gd name="T107" fmla="*/ 4 h 30"/>
                  <a:gd name="T108" fmla="*/ 7 w 36"/>
                  <a:gd name="T109" fmla="*/ 4 h 30"/>
                  <a:gd name="T110" fmla="*/ 7 w 36"/>
                  <a:gd name="T111" fmla="*/ 5 h 30"/>
                  <a:gd name="T112" fmla="*/ 9 w 36"/>
                  <a:gd name="T113" fmla="*/ 7 h 30"/>
                  <a:gd name="T114" fmla="*/ 9 w 36"/>
                  <a:gd name="T115" fmla="*/ 7 h 30"/>
                  <a:gd name="T116" fmla="*/ 4 w 36"/>
                  <a:gd name="T117" fmla="*/ 9 h 30"/>
                  <a:gd name="T118" fmla="*/ 0 w 36"/>
                  <a:gd name="T119"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 h="30">
                    <a:moveTo>
                      <a:pt x="0" y="13"/>
                    </a:moveTo>
                    <a:lnTo>
                      <a:pt x="0" y="13"/>
                    </a:lnTo>
                    <a:lnTo>
                      <a:pt x="0" y="16"/>
                    </a:lnTo>
                    <a:lnTo>
                      <a:pt x="0" y="20"/>
                    </a:lnTo>
                    <a:lnTo>
                      <a:pt x="0" y="20"/>
                    </a:lnTo>
                    <a:lnTo>
                      <a:pt x="2" y="23"/>
                    </a:lnTo>
                    <a:lnTo>
                      <a:pt x="4" y="27"/>
                    </a:lnTo>
                    <a:lnTo>
                      <a:pt x="4" y="27"/>
                    </a:lnTo>
                    <a:lnTo>
                      <a:pt x="7" y="29"/>
                    </a:lnTo>
                    <a:lnTo>
                      <a:pt x="11" y="29"/>
                    </a:lnTo>
                    <a:lnTo>
                      <a:pt x="11" y="29"/>
                    </a:lnTo>
                    <a:lnTo>
                      <a:pt x="14" y="30"/>
                    </a:lnTo>
                    <a:lnTo>
                      <a:pt x="20" y="30"/>
                    </a:lnTo>
                    <a:lnTo>
                      <a:pt x="20" y="30"/>
                    </a:lnTo>
                    <a:lnTo>
                      <a:pt x="20" y="29"/>
                    </a:lnTo>
                    <a:lnTo>
                      <a:pt x="22" y="29"/>
                    </a:lnTo>
                    <a:lnTo>
                      <a:pt x="23" y="27"/>
                    </a:lnTo>
                    <a:lnTo>
                      <a:pt x="23" y="29"/>
                    </a:lnTo>
                    <a:lnTo>
                      <a:pt x="23" y="29"/>
                    </a:lnTo>
                    <a:lnTo>
                      <a:pt x="25" y="25"/>
                    </a:lnTo>
                    <a:lnTo>
                      <a:pt x="29" y="23"/>
                    </a:lnTo>
                    <a:lnTo>
                      <a:pt x="29" y="23"/>
                    </a:lnTo>
                    <a:lnTo>
                      <a:pt x="31" y="20"/>
                    </a:lnTo>
                    <a:lnTo>
                      <a:pt x="31" y="16"/>
                    </a:lnTo>
                    <a:lnTo>
                      <a:pt x="31" y="16"/>
                    </a:lnTo>
                    <a:lnTo>
                      <a:pt x="31" y="16"/>
                    </a:lnTo>
                    <a:lnTo>
                      <a:pt x="32" y="13"/>
                    </a:lnTo>
                    <a:lnTo>
                      <a:pt x="32" y="9"/>
                    </a:lnTo>
                    <a:lnTo>
                      <a:pt x="32" y="9"/>
                    </a:lnTo>
                    <a:lnTo>
                      <a:pt x="36" y="9"/>
                    </a:lnTo>
                    <a:lnTo>
                      <a:pt x="36" y="7"/>
                    </a:lnTo>
                    <a:lnTo>
                      <a:pt x="34" y="4"/>
                    </a:lnTo>
                    <a:lnTo>
                      <a:pt x="34" y="4"/>
                    </a:lnTo>
                    <a:lnTo>
                      <a:pt x="31" y="0"/>
                    </a:lnTo>
                    <a:lnTo>
                      <a:pt x="29" y="2"/>
                    </a:lnTo>
                    <a:lnTo>
                      <a:pt x="29" y="4"/>
                    </a:lnTo>
                    <a:lnTo>
                      <a:pt x="29" y="4"/>
                    </a:lnTo>
                    <a:lnTo>
                      <a:pt x="27" y="2"/>
                    </a:lnTo>
                    <a:lnTo>
                      <a:pt x="25" y="2"/>
                    </a:lnTo>
                    <a:lnTo>
                      <a:pt x="25" y="4"/>
                    </a:lnTo>
                    <a:lnTo>
                      <a:pt x="25" y="4"/>
                    </a:lnTo>
                    <a:lnTo>
                      <a:pt x="25" y="2"/>
                    </a:lnTo>
                    <a:lnTo>
                      <a:pt x="22" y="2"/>
                    </a:lnTo>
                    <a:lnTo>
                      <a:pt x="20" y="4"/>
                    </a:lnTo>
                    <a:lnTo>
                      <a:pt x="20" y="4"/>
                    </a:lnTo>
                    <a:lnTo>
                      <a:pt x="18" y="2"/>
                    </a:lnTo>
                    <a:lnTo>
                      <a:pt x="16" y="2"/>
                    </a:lnTo>
                    <a:lnTo>
                      <a:pt x="11" y="4"/>
                    </a:lnTo>
                    <a:lnTo>
                      <a:pt x="11" y="4"/>
                    </a:lnTo>
                    <a:lnTo>
                      <a:pt x="13" y="5"/>
                    </a:lnTo>
                    <a:lnTo>
                      <a:pt x="13" y="5"/>
                    </a:lnTo>
                    <a:lnTo>
                      <a:pt x="11" y="4"/>
                    </a:lnTo>
                    <a:lnTo>
                      <a:pt x="7" y="4"/>
                    </a:lnTo>
                    <a:lnTo>
                      <a:pt x="7" y="4"/>
                    </a:lnTo>
                    <a:lnTo>
                      <a:pt x="7" y="4"/>
                    </a:lnTo>
                    <a:lnTo>
                      <a:pt x="7" y="5"/>
                    </a:lnTo>
                    <a:lnTo>
                      <a:pt x="9" y="7"/>
                    </a:lnTo>
                    <a:lnTo>
                      <a:pt x="9" y="7"/>
                    </a:lnTo>
                    <a:lnTo>
                      <a:pt x="4" y="9"/>
                    </a:lnTo>
                    <a:lnTo>
                      <a:pt x="0" y="1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38" name="Freeform 2489"/>
              <p:cNvSpPr>
                <a:spLocks/>
              </p:cNvSpPr>
              <p:nvPr/>
            </p:nvSpPr>
            <p:spPr bwMode="auto">
              <a:xfrm>
                <a:off x="4435" y="2386"/>
                <a:ext cx="36" cy="30"/>
              </a:xfrm>
              <a:custGeom>
                <a:avLst/>
                <a:gdLst>
                  <a:gd name="T0" fmla="*/ 0 w 36"/>
                  <a:gd name="T1" fmla="*/ 13 h 30"/>
                  <a:gd name="T2" fmla="*/ 0 w 36"/>
                  <a:gd name="T3" fmla="*/ 13 h 30"/>
                  <a:gd name="T4" fmla="*/ 0 w 36"/>
                  <a:gd name="T5" fmla="*/ 16 h 30"/>
                  <a:gd name="T6" fmla="*/ 0 w 36"/>
                  <a:gd name="T7" fmla="*/ 20 h 30"/>
                  <a:gd name="T8" fmla="*/ 0 w 36"/>
                  <a:gd name="T9" fmla="*/ 20 h 30"/>
                  <a:gd name="T10" fmla="*/ 2 w 36"/>
                  <a:gd name="T11" fmla="*/ 23 h 30"/>
                  <a:gd name="T12" fmla="*/ 4 w 36"/>
                  <a:gd name="T13" fmla="*/ 27 h 30"/>
                  <a:gd name="T14" fmla="*/ 4 w 36"/>
                  <a:gd name="T15" fmla="*/ 27 h 30"/>
                  <a:gd name="T16" fmla="*/ 7 w 36"/>
                  <a:gd name="T17" fmla="*/ 29 h 30"/>
                  <a:gd name="T18" fmla="*/ 11 w 36"/>
                  <a:gd name="T19" fmla="*/ 29 h 30"/>
                  <a:gd name="T20" fmla="*/ 11 w 36"/>
                  <a:gd name="T21" fmla="*/ 29 h 30"/>
                  <a:gd name="T22" fmla="*/ 14 w 36"/>
                  <a:gd name="T23" fmla="*/ 30 h 30"/>
                  <a:gd name="T24" fmla="*/ 20 w 36"/>
                  <a:gd name="T25" fmla="*/ 30 h 30"/>
                  <a:gd name="T26" fmla="*/ 20 w 36"/>
                  <a:gd name="T27" fmla="*/ 30 h 30"/>
                  <a:gd name="T28" fmla="*/ 20 w 36"/>
                  <a:gd name="T29" fmla="*/ 29 h 30"/>
                  <a:gd name="T30" fmla="*/ 22 w 36"/>
                  <a:gd name="T31" fmla="*/ 29 h 30"/>
                  <a:gd name="T32" fmla="*/ 23 w 36"/>
                  <a:gd name="T33" fmla="*/ 27 h 30"/>
                  <a:gd name="T34" fmla="*/ 23 w 36"/>
                  <a:gd name="T35" fmla="*/ 29 h 30"/>
                  <a:gd name="T36" fmla="*/ 23 w 36"/>
                  <a:gd name="T37" fmla="*/ 29 h 30"/>
                  <a:gd name="T38" fmla="*/ 25 w 36"/>
                  <a:gd name="T39" fmla="*/ 25 h 30"/>
                  <a:gd name="T40" fmla="*/ 29 w 36"/>
                  <a:gd name="T41" fmla="*/ 23 h 30"/>
                  <a:gd name="T42" fmla="*/ 29 w 36"/>
                  <a:gd name="T43" fmla="*/ 23 h 30"/>
                  <a:gd name="T44" fmla="*/ 31 w 36"/>
                  <a:gd name="T45" fmla="*/ 20 h 30"/>
                  <a:gd name="T46" fmla="*/ 31 w 36"/>
                  <a:gd name="T47" fmla="*/ 16 h 30"/>
                  <a:gd name="T48" fmla="*/ 31 w 36"/>
                  <a:gd name="T49" fmla="*/ 16 h 30"/>
                  <a:gd name="T50" fmla="*/ 31 w 36"/>
                  <a:gd name="T51" fmla="*/ 16 h 30"/>
                  <a:gd name="T52" fmla="*/ 32 w 36"/>
                  <a:gd name="T53" fmla="*/ 13 h 30"/>
                  <a:gd name="T54" fmla="*/ 32 w 36"/>
                  <a:gd name="T55" fmla="*/ 9 h 30"/>
                  <a:gd name="T56" fmla="*/ 32 w 36"/>
                  <a:gd name="T57" fmla="*/ 9 h 30"/>
                  <a:gd name="T58" fmla="*/ 36 w 36"/>
                  <a:gd name="T59" fmla="*/ 9 h 30"/>
                  <a:gd name="T60" fmla="*/ 36 w 36"/>
                  <a:gd name="T61" fmla="*/ 7 h 30"/>
                  <a:gd name="T62" fmla="*/ 34 w 36"/>
                  <a:gd name="T63" fmla="*/ 4 h 30"/>
                  <a:gd name="T64" fmla="*/ 34 w 36"/>
                  <a:gd name="T65" fmla="*/ 4 h 30"/>
                  <a:gd name="T66" fmla="*/ 31 w 36"/>
                  <a:gd name="T67" fmla="*/ 0 h 30"/>
                  <a:gd name="T68" fmla="*/ 29 w 36"/>
                  <a:gd name="T69" fmla="*/ 2 h 30"/>
                  <a:gd name="T70" fmla="*/ 29 w 36"/>
                  <a:gd name="T71" fmla="*/ 4 h 30"/>
                  <a:gd name="T72" fmla="*/ 29 w 36"/>
                  <a:gd name="T73" fmla="*/ 4 h 30"/>
                  <a:gd name="T74" fmla="*/ 27 w 36"/>
                  <a:gd name="T75" fmla="*/ 2 h 30"/>
                  <a:gd name="T76" fmla="*/ 25 w 36"/>
                  <a:gd name="T77" fmla="*/ 2 h 30"/>
                  <a:gd name="T78" fmla="*/ 25 w 36"/>
                  <a:gd name="T79" fmla="*/ 4 h 30"/>
                  <a:gd name="T80" fmla="*/ 25 w 36"/>
                  <a:gd name="T81" fmla="*/ 4 h 30"/>
                  <a:gd name="T82" fmla="*/ 25 w 36"/>
                  <a:gd name="T83" fmla="*/ 2 h 30"/>
                  <a:gd name="T84" fmla="*/ 22 w 36"/>
                  <a:gd name="T85" fmla="*/ 2 h 30"/>
                  <a:gd name="T86" fmla="*/ 20 w 36"/>
                  <a:gd name="T87" fmla="*/ 4 h 30"/>
                  <a:gd name="T88" fmla="*/ 20 w 36"/>
                  <a:gd name="T89" fmla="*/ 4 h 30"/>
                  <a:gd name="T90" fmla="*/ 18 w 36"/>
                  <a:gd name="T91" fmla="*/ 2 h 30"/>
                  <a:gd name="T92" fmla="*/ 16 w 36"/>
                  <a:gd name="T93" fmla="*/ 2 h 30"/>
                  <a:gd name="T94" fmla="*/ 11 w 36"/>
                  <a:gd name="T95" fmla="*/ 4 h 30"/>
                  <a:gd name="T96" fmla="*/ 11 w 36"/>
                  <a:gd name="T97" fmla="*/ 4 h 30"/>
                  <a:gd name="T98" fmla="*/ 13 w 36"/>
                  <a:gd name="T99" fmla="*/ 5 h 30"/>
                  <a:gd name="T100" fmla="*/ 13 w 36"/>
                  <a:gd name="T101" fmla="*/ 5 h 30"/>
                  <a:gd name="T102" fmla="*/ 11 w 36"/>
                  <a:gd name="T103" fmla="*/ 4 h 30"/>
                  <a:gd name="T104" fmla="*/ 7 w 36"/>
                  <a:gd name="T105" fmla="*/ 4 h 30"/>
                  <a:gd name="T106" fmla="*/ 7 w 36"/>
                  <a:gd name="T107" fmla="*/ 4 h 30"/>
                  <a:gd name="T108" fmla="*/ 7 w 36"/>
                  <a:gd name="T109" fmla="*/ 4 h 30"/>
                  <a:gd name="T110" fmla="*/ 7 w 36"/>
                  <a:gd name="T111" fmla="*/ 5 h 30"/>
                  <a:gd name="T112" fmla="*/ 9 w 36"/>
                  <a:gd name="T113" fmla="*/ 7 h 30"/>
                  <a:gd name="T114" fmla="*/ 9 w 36"/>
                  <a:gd name="T115" fmla="*/ 7 h 30"/>
                  <a:gd name="T116" fmla="*/ 4 w 36"/>
                  <a:gd name="T117" fmla="*/ 9 h 30"/>
                  <a:gd name="T118" fmla="*/ 0 w 36"/>
                  <a:gd name="T119" fmla="*/ 1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 h="30">
                    <a:moveTo>
                      <a:pt x="0" y="13"/>
                    </a:moveTo>
                    <a:lnTo>
                      <a:pt x="0" y="13"/>
                    </a:lnTo>
                    <a:lnTo>
                      <a:pt x="0" y="16"/>
                    </a:lnTo>
                    <a:lnTo>
                      <a:pt x="0" y="20"/>
                    </a:lnTo>
                    <a:lnTo>
                      <a:pt x="0" y="20"/>
                    </a:lnTo>
                    <a:lnTo>
                      <a:pt x="2" y="23"/>
                    </a:lnTo>
                    <a:lnTo>
                      <a:pt x="4" y="27"/>
                    </a:lnTo>
                    <a:lnTo>
                      <a:pt x="4" y="27"/>
                    </a:lnTo>
                    <a:lnTo>
                      <a:pt x="7" y="29"/>
                    </a:lnTo>
                    <a:lnTo>
                      <a:pt x="11" y="29"/>
                    </a:lnTo>
                    <a:lnTo>
                      <a:pt x="11" y="29"/>
                    </a:lnTo>
                    <a:lnTo>
                      <a:pt x="14" y="30"/>
                    </a:lnTo>
                    <a:lnTo>
                      <a:pt x="20" y="30"/>
                    </a:lnTo>
                    <a:lnTo>
                      <a:pt x="20" y="30"/>
                    </a:lnTo>
                    <a:lnTo>
                      <a:pt x="20" y="29"/>
                    </a:lnTo>
                    <a:lnTo>
                      <a:pt x="22" y="29"/>
                    </a:lnTo>
                    <a:lnTo>
                      <a:pt x="23" y="27"/>
                    </a:lnTo>
                    <a:lnTo>
                      <a:pt x="23" y="29"/>
                    </a:lnTo>
                    <a:lnTo>
                      <a:pt x="23" y="29"/>
                    </a:lnTo>
                    <a:lnTo>
                      <a:pt x="25" y="25"/>
                    </a:lnTo>
                    <a:lnTo>
                      <a:pt x="29" y="23"/>
                    </a:lnTo>
                    <a:lnTo>
                      <a:pt x="29" y="23"/>
                    </a:lnTo>
                    <a:lnTo>
                      <a:pt x="31" y="20"/>
                    </a:lnTo>
                    <a:lnTo>
                      <a:pt x="31" y="16"/>
                    </a:lnTo>
                    <a:lnTo>
                      <a:pt x="31" y="16"/>
                    </a:lnTo>
                    <a:lnTo>
                      <a:pt x="31" y="16"/>
                    </a:lnTo>
                    <a:lnTo>
                      <a:pt x="32" y="13"/>
                    </a:lnTo>
                    <a:lnTo>
                      <a:pt x="32" y="9"/>
                    </a:lnTo>
                    <a:lnTo>
                      <a:pt x="32" y="9"/>
                    </a:lnTo>
                    <a:lnTo>
                      <a:pt x="36" y="9"/>
                    </a:lnTo>
                    <a:lnTo>
                      <a:pt x="36" y="7"/>
                    </a:lnTo>
                    <a:lnTo>
                      <a:pt x="34" y="4"/>
                    </a:lnTo>
                    <a:lnTo>
                      <a:pt x="34" y="4"/>
                    </a:lnTo>
                    <a:lnTo>
                      <a:pt x="31" y="0"/>
                    </a:lnTo>
                    <a:lnTo>
                      <a:pt x="29" y="2"/>
                    </a:lnTo>
                    <a:lnTo>
                      <a:pt x="29" y="4"/>
                    </a:lnTo>
                    <a:lnTo>
                      <a:pt x="29" y="4"/>
                    </a:lnTo>
                    <a:lnTo>
                      <a:pt x="27" y="2"/>
                    </a:lnTo>
                    <a:lnTo>
                      <a:pt x="25" y="2"/>
                    </a:lnTo>
                    <a:lnTo>
                      <a:pt x="25" y="4"/>
                    </a:lnTo>
                    <a:lnTo>
                      <a:pt x="25" y="4"/>
                    </a:lnTo>
                    <a:lnTo>
                      <a:pt x="25" y="2"/>
                    </a:lnTo>
                    <a:lnTo>
                      <a:pt x="22" y="2"/>
                    </a:lnTo>
                    <a:lnTo>
                      <a:pt x="20" y="4"/>
                    </a:lnTo>
                    <a:lnTo>
                      <a:pt x="20" y="4"/>
                    </a:lnTo>
                    <a:lnTo>
                      <a:pt x="18" y="2"/>
                    </a:lnTo>
                    <a:lnTo>
                      <a:pt x="16" y="2"/>
                    </a:lnTo>
                    <a:lnTo>
                      <a:pt x="11" y="4"/>
                    </a:lnTo>
                    <a:lnTo>
                      <a:pt x="11" y="4"/>
                    </a:lnTo>
                    <a:lnTo>
                      <a:pt x="13" y="5"/>
                    </a:lnTo>
                    <a:lnTo>
                      <a:pt x="13" y="5"/>
                    </a:lnTo>
                    <a:lnTo>
                      <a:pt x="11" y="4"/>
                    </a:lnTo>
                    <a:lnTo>
                      <a:pt x="7" y="4"/>
                    </a:lnTo>
                    <a:lnTo>
                      <a:pt x="7" y="4"/>
                    </a:lnTo>
                    <a:lnTo>
                      <a:pt x="7" y="4"/>
                    </a:lnTo>
                    <a:lnTo>
                      <a:pt x="7" y="5"/>
                    </a:lnTo>
                    <a:lnTo>
                      <a:pt x="9" y="7"/>
                    </a:lnTo>
                    <a:lnTo>
                      <a:pt x="9" y="7"/>
                    </a:lnTo>
                    <a:lnTo>
                      <a:pt x="4" y="9"/>
                    </a:lnTo>
                    <a:lnTo>
                      <a:pt x="0" y="1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39" name="Freeform 2490"/>
              <p:cNvSpPr>
                <a:spLocks/>
              </p:cNvSpPr>
              <p:nvPr/>
            </p:nvSpPr>
            <p:spPr bwMode="auto">
              <a:xfrm>
                <a:off x="4219" y="2624"/>
                <a:ext cx="179" cy="183"/>
              </a:xfrm>
              <a:custGeom>
                <a:avLst/>
                <a:gdLst>
                  <a:gd name="T0" fmla="*/ 32 w 179"/>
                  <a:gd name="T1" fmla="*/ 7 h 183"/>
                  <a:gd name="T2" fmla="*/ 16 w 179"/>
                  <a:gd name="T3" fmla="*/ 5 h 183"/>
                  <a:gd name="T4" fmla="*/ 2 w 179"/>
                  <a:gd name="T5" fmla="*/ 0 h 183"/>
                  <a:gd name="T6" fmla="*/ 22 w 179"/>
                  <a:gd name="T7" fmla="*/ 26 h 183"/>
                  <a:gd name="T8" fmla="*/ 29 w 179"/>
                  <a:gd name="T9" fmla="*/ 30 h 183"/>
                  <a:gd name="T10" fmla="*/ 39 w 179"/>
                  <a:gd name="T11" fmla="*/ 42 h 183"/>
                  <a:gd name="T12" fmla="*/ 43 w 179"/>
                  <a:gd name="T13" fmla="*/ 51 h 183"/>
                  <a:gd name="T14" fmla="*/ 54 w 179"/>
                  <a:gd name="T15" fmla="*/ 57 h 183"/>
                  <a:gd name="T16" fmla="*/ 61 w 179"/>
                  <a:gd name="T17" fmla="*/ 66 h 183"/>
                  <a:gd name="T18" fmla="*/ 66 w 179"/>
                  <a:gd name="T19" fmla="*/ 83 h 183"/>
                  <a:gd name="T20" fmla="*/ 72 w 179"/>
                  <a:gd name="T21" fmla="*/ 87 h 183"/>
                  <a:gd name="T22" fmla="*/ 79 w 179"/>
                  <a:gd name="T23" fmla="*/ 96 h 183"/>
                  <a:gd name="T24" fmla="*/ 88 w 179"/>
                  <a:gd name="T25" fmla="*/ 107 h 183"/>
                  <a:gd name="T26" fmla="*/ 93 w 179"/>
                  <a:gd name="T27" fmla="*/ 116 h 183"/>
                  <a:gd name="T28" fmla="*/ 97 w 179"/>
                  <a:gd name="T29" fmla="*/ 130 h 183"/>
                  <a:gd name="T30" fmla="*/ 107 w 179"/>
                  <a:gd name="T31" fmla="*/ 142 h 183"/>
                  <a:gd name="T32" fmla="*/ 120 w 179"/>
                  <a:gd name="T33" fmla="*/ 155 h 183"/>
                  <a:gd name="T34" fmla="*/ 138 w 179"/>
                  <a:gd name="T35" fmla="*/ 167 h 183"/>
                  <a:gd name="T36" fmla="*/ 145 w 179"/>
                  <a:gd name="T37" fmla="*/ 176 h 183"/>
                  <a:gd name="T38" fmla="*/ 152 w 179"/>
                  <a:gd name="T39" fmla="*/ 183 h 183"/>
                  <a:gd name="T40" fmla="*/ 152 w 179"/>
                  <a:gd name="T41" fmla="*/ 178 h 183"/>
                  <a:gd name="T42" fmla="*/ 157 w 179"/>
                  <a:gd name="T43" fmla="*/ 180 h 183"/>
                  <a:gd name="T44" fmla="*/ 164 w 179"/>
                  <a:gd name="T45" fmla="*/ 176 h 183"/>
                  <a:gd name="T46" fmla="*/ 173 w 179"/>
                  <a:gd name="T47" fmla="*/ 180 h 183"/>
                  <a:gd name="T48" fmla="*/ 175 w 179"/>
                  <a:gd name="T49" fmla="*/ 164 h 183"/>
                  <a:gd name="T50" fmla="*/ 173 w 179"/>
                  <a:gd name="T51" fmla="*/ 157 h 183"/>
                  <a:gd name="T52" fmla="*/ 173 w 179"/>
                  <a:gd name="T53" fmla="*/ 146 h 183"/>
                  <a:gd name="T54" fmla="*/ 179 w 179"/>
                  <a:gd name="T55" fmla="*/ 139 h 183"/>
                  <a:gd name="T56" fmla="*/ 172 w 179"/>
                  <a:gd name="T57" fmla="*/ 132 h 183"/>
                  <a:gd name="T58" fmla="*/ 161 w 179"/>
                  <a:gd name="T59" fmla="*/ 126 h 183"/>
                  <a:gd name="T60" fmla="*/ 154 w 179"/>
                  <a:gd name="T61" fmla="*/ 132 h 183"/>
                  <a:gd name="T62" fmla="*/ 155 w 179"/>
                  <a:gd name="T63" fmla="*/ 128 h 183"/>
                  <a:gd name="T64" fmla="*/ 155 w 179"/>
                  <a:gd name="T65" fmla="*/ 121 h 183"/>
                  <a:gd name="T66" fmla="*/ 152 w 179"/>
                  <a:gd name="T67" fmla="*/ 107 h 183"/>
                  <a:gd name="T68" fmla="*/ 143 w 179"/>
                  <a:gd name="T69" fmla="*/ 105 h 183"/>
                  <a:gd name="T70" fmla="*/ 136 w 179"/>
                  <a:gd name="T71" fmla="*/ 96 h 183"/>
                  <a:gd name="T72" fmla="*/ 138 w 179"/>
                  <a:gd name="T73" fmla="*/ 96 h 183"/>
                  <a:gd name="T74" fmla="*/ 134 w 179"/>
                  <a:gd name="T75" fmla="*/ 92 h 183"/>
                  <a:gd name="T76" fmla="*/ 143 w 179"/>
                  <a:gd name="T77" fmla="*/ 89 h 183"/>
                  <a:gd name="T78" fmla="*/ 136 w 179"/>
                  <a:gd name="T79" fmla="*/ 82 h 183"/>
                  <a:gd name="T80" fmla="*/ 120 w 179"/>
                  <a:gd name="T81" fmla="*/ 85 h 183"/>
                  <a:gd name="T82" fmla="*/ 129 w 179"/>
                  <a:gd name="T83" fmla="*/ 78 h 183"/>
                  <a:gd name="T84" fmla="*/ 118 w 179"/>
                  <a:gd name="T85" fmla="*/ 75 h 183"/>
                  <a:gd name="T86" fmla="*/ 113 w 179"/>
                  <a:gd name="T87" fmla="*/ 66 h 183"/>
                  <a:gd name="T88" fmla="*/ 104 w 179"/>
                  <a:gd name="T89" fmla="*/ 62 h 183"/>
                  <a:gd name="T90" fmla="*/ 95 w 179"/>
                  <a:gd name="T91" fmla="*/ 53 h 183"/>
                  <a:gd name="T92" fmla="*/ 97 w 179"/>
                  <a:gd name="T93" fmla="*/ 60 h 183"/>
                  <a:gd name="T94" fmla="*/ 88 w 179"/>
                  <a:gd name="T95" fmla="*/ 53 h 183"/>
                  <a:gd name="T96" fmla="*/ 82 w 179"/>
                  <a:gd name="T97" fmla="*/ 48 h 183"/>
                  <a:gd name="T98" fmla="*/ 79 w 179"/>
                  <a:gd name="T99" fmla="*/ 44 h 183"/>
                  <a:gd name="T100" fmla="*/ 72 w 179"/>
                  <a:gd name="T101" fmla="*/ 37 h 183"/>
                  <a:gd name="T102" fmla="*/ 61 w 179"/>
                  <a:gd name="T103" fmla="*/ 30 h 183"/>
                  <a:gd name="T104" fmla="*/ 52 w 179"/>
                  <a:gd name="T105" fmla="*/ 23 h 183"/>
                  <a:gd name="T106" fmla="*/ 50 w 179"/>
                  <a:gd name="T107" fmla="*/ 17 h 183"/>
                  <a:gd name="T108" fmla="*/ 38 w 179"/>
                  <a:gd name="T109" fmla="*/ 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9" h="183">
                    <a:moveTo>
                      <a:pt x="38" y="5"/>
                    </a:moveTo>
                    <a:lnTo>
                      <a:pt x="38" y="5"/>
                    </a:lnTo>
                    <a:lnTo>
                      <a:pt x="36" y="7"/>
                    </a:lnTo>
                    <a:lnTo>
                      <a:pt x="32" y="7"/>
                    </a:lnTo>
                    <a:lnTo>
                      <a:pt x="32" y="7"/>
                    </a:lnTo>
                    <a:lnTo>
                      <a:pt x="29" y="5"/>
                    </a:lnTo>
                    <a:lnTo>
                      <a:pt x="29" y="5"/>
                    </a:lnTo>
                    <a:lnTo>
                      <a:pt x="20" y="5"/>
                    </a:lnTo>
                    <a:lnTo>
                      <a:pt x="20" y="5"/>
                    </a:lnTo>
                    <a:lnTo>
                      <a:pt x="16" y="5"/>
                    </a:lnTo>
                    <a:lnTo>
                      <a:pt x="13" y="1"/>
                    </a:lnTo>
                    <a:lnTo>
                      <a:pt x="13" y="1"/>
                    </a:lnTo>
                    <a:lnTo>
                      <a:pt x="7" y="0"/>
                    </a:lnTo>
                    <a:lnTo>
                      <a:pt x="5" y="0"/>
                    </a:lnTo>
                    <a:lnTo>
                      <a:pt x="2" y="0"/>
                    </a:lnTo>
                    <a:lnTo>
                      <a:pt x="2" y="0"/>
                    </a:lnTo>
                    <a:lnTo>
                      <a:pt x="0" y="3"/>
                    </a:lnTo>
                    <a:lnTo>
                      <a:pt x="0" y="5"/>
                    </a:lnTo>
                    <a:lnTo>
                      <a:pt x="7" y="14"/>
                    </a:lnTo>
                    <a:lnTo>
                      <a:pt x="22" y="26"/>
                    </a:lnTo>
                    <a:lnTo>
                      <a:pt x="22" y="26"/>
                    </a:lnTo>
                    <a:lnTo>
                      <a:pt x="23" y="28"/>
                    </a:lnTo>
                    <a:lnTo>
                      <a:pt x="27" y="30"/>
                    </a:lnTo>
                    <a:lnTo>
                      <a:pt x="27" y="30"/>
                    </a:lnTo>
                    <a:lnTo>
                      <a:pt x="29" y="30"/>
                    </a:lnTo>
                    <a:lnTo>
                      <a:pt x="30" y="32"/>
                    </a:lnTo>
                    <a:lnTo>
                      <a:pt x="32" y="35"/>
                    </a:lnTo>
                    <a:lnTo>
                      <a:pt x="32" y="35"/>
                    </a:lnTo>
                    <a:lnTo>
                      <a:pt x="36" y="39"/>
                    </a:lnTo>
                    <a:lnTo>
                      <a:pt x="39" y="42"/>
                    </a:lnTo>
                    <a:lnTo>
                      <a:pt x="39" y="42"/>
                    </a:lnTo>
                    <a:lnTo>
                      <a:pt x="41" y="44"/>
                    </a:lnTo>
                    <a:lnTo>
                      <a:pt x="41" y="46"/>
                    </a:lnTo>
                    <a:lnTo>
                      <a:pt x="43" y="51"/>
                    </a:lnTo>
                    <a:lnTo>
                      <a:pt x="43" y="51"/>
                    </a:lnTo>
                    <a:lnTo>
                      <a:pt x="43" y="51"/>
                    </a:lnTo>
                    <a:lnTo>
                      <a:pt x="45" y="53"/>
                    </a:lnTo>
                    <a:lnTo>
                      <a:pt x="50" y="55"/>
                    </a:lnTo>
                    <a:lnTo>
                      <a:pt x="50" y="55"/>
                    </a:lnTo>
                    <a:lnTo>
                      <a:pt x="54" y="57"/>
                    </a:lnTo>
                    <a:lnTo>
                      <a:pt x="54" y="57"/>
                    </a:lnTo>
                    <a:lnTo>
                      <a:pt x="59" y="62"/>
                    </a:lnTo>
                    <a:lnTo>
                      <a:pt x="59" y="62"/>
                    </a:lnTo>
                    <a:lnTo>
                      <a:pt x="61" y="64"/>
                    </a:lnTo>
                    <a:lnTo>
                      <a:pt x="61" y="66"/>
                    </a:lnTo>
                    <a:lnTo>
                      <a:pt x="61" y="66"/>
                    </a:lnTo>
                    <a:lnTo>
                      <a:pt x="64" y="75"/>
                    </a:lnTo>
                    <a:lnTo>
                      <a:pt x="64" y="75"/>
                    </a:lnTo>
                    <a:lnTo>
                      <a:pt x="66" y="78"/>
                    </a:lnTo>
                    <a:lnTo>
                      <a:pt x="66" y="83"/>
                    </a:lnTo>
                    <a:lnTo>
                      <a:pt x="66" y="83"/>
                    </a:lnTo>
                    <a:lnTo>
                      <a:pt x="68" y="85"/>
                    </a:lnTo>
                    <a:lnTo>
                      <a:pt x="68" y="85"/>
                    </a:lnTo>
                    <a:lnTo>
                      <a:pt x="72" y="87"/>
                    </a:lnTo>
                    <a:lnTo>
                      <a:pt x="72" y="87"/>
                    </a:lnTo>
                    <a:lnTo>
                      <a:pt x="75" y="89"/>
                    </a:lnTo>
                    <a:lnTo>
                      <a:pt x="77" y="91"/>
                    </a:lnTo>
                    <a:lnTo>
                      <a:pt x="77" y="92"/>
                    </a:lnTo>
                    <a:lnTo>
                      <a:pt x="77" y="92"/>
                    </a:lnTo>
                    <a:lnTo>
                      <a:pt x="79" y="96"/>
                    </a:lnTo>
                    <a:lnTo>
                      <a:pt x="82" y="100"/>
                    </a:lnTo>
                    <a:lnTo>
                      <a:pt x="86" y="103"/>
                    </a:lnTo>
                    <a:lnTo>
                      <a:pt x="88" y="107"/>
                    </a:lnTo>
                    <a:lnTo>
                      <a:pt x="88" y="107"/>
                    </a:lnTo>
                    <a:lnTo>
                      <a:pt x="88" y="107"/>
                    </a:lnTo>
                    <a:lnTo>
                      <a:pt x="88" y="108"/>
                    </a:lnTo>
                    <a:lnTo>
                      <a:pt x="88" y="108"/>
                    </a:lnTo>
                    <a:lnTo>
                      <a:pt x="89" y="112"/>
                    </a:lnTo>
                    <a:lnTo>
                      <a:pt x="89" y="112"/>
                    </a:lnTo>
                    <a:lnTo>
                      <a:pt x="93" y="116"/>
                    </a:lnTo>
                    <a:lnTo>
                      <a:pt x="95" y="121"/>
                    </a:lnTo>
                    <a:lnTo>
                      <a:pt x="95" y="121"/>
                    </a:lnTo>
                    <a:lnTo>
                      <a:pt x="95" y="126"/>
                    </a:lnTo>
                    <a:lnTo>
                      <a:pt x="97" y="130"/>
                    </a:lnTo>
                    <a:lnTo>
                      <a:pt x="97" y="130"/>
                    </a:lnTo>
                    <a:lnTo>
                      <a:pt x="102" y="135"/>
                    </a:lnTo>
                    <a:lnTo>
                      <a:pt x="102" y="135"/>
                    </a:lnTo>
                    <a:lnTo>
                      <a:pt x="105" y="139"/>
                    </a:lnTo>
                    <a:lnTo>
                      <a:pt x="107" y="142"/>
                    </a:lnTo>
                    <a:lnTo>
                      <a:pt x="107" y="142"/>
                    </a:lnTo>
                    <a:lnTo>
                      <a:pt x="113" y="146"/>
                    </a:lnTo>
                    <a:lnTo>
                      <a:pt x="116" y="150"/>
                    </a:lnTo>
                    <a:lnTo>
                      <a:pt x="116" y="150"/>
                    </a:lnTo>
                    <a:lnTo>
                      <a:pt x="118" y="153"/>
                    </a:lnTo>
                    <a:lnTo>
                      <a:pt x="120" y="155"/>
                    </a:lnTo>
                    <a:lnTo>
                      <a:pt x="120" y="155"/>
                    </a:lnTo>
                    <a:lnTo>
                      <a:pt x="129" y="162"/>
                    </a:lnTo>
                    <a:lnTo>
                      <a:pt x="129" y="162"/>
                    </a:lnTo>
                    <a:lnTo>
                      <a:pt x="138" y="167"/>
                    </a:lnTo>
                    <a:lnTo>
                      <a:pt x="138" y="167"/>
                    </a:lnTo>
                    <a:lnTo>
                      <a:pt x="139" y="169"/>
                    </a:lnTo>
                    <a:lnTo>
                      <a:pt x="141" y="173"/>
                    </a:lnTo>
                    <a:lnTo>
                      <a:pt x="141" y="173"/>
                    </a:lnTo>
                    <a:lnTo>
                      <a:pt x="145" y="176"/>
                    </a:lnTo>
                    <a:lnTo>
                      <a:pt x="145" y="176"/>
                    </a:lnTo>
                    <a:lnTo>
                      <a:pt x="148" y="178"/>
                    </a:lnTo>
                    <a:lnTo>
                      <a:pt x="148" y="178"/>
                    </a:lnTo>
                    <a:lnTo>
                      <a:pt x="148" y="180"/>
                    </a:lnTo>
                    <a:lnTo>
                      <a:pt x="148" y="180"/>
                    </a:lnTo>
                    <a:lnTo>
                      <a:pt x="152" y="183"/>
                    </a:lnTo>
                    <a:lnTo>
                      <a:pt x="154" y="183"/>
                    </a:lnTo>
                    <a:lnTo>
                      <a:pt x="154" y="183"/>
                    </a:lnTo>
                    <a:lnTo>
                      <a:pt x="154" y="183"/>
                    </a:lnTo>
                    <a:lnTo>
                      <a:pt x="154" y="180"/>
                    </a:lnTo>
                    <a:lnTo>
                      <a:pt x="152" y="178"/>
                    </a:lnTo>
                    <a:lnTo>
                      <a:pt x="152" y="178"/>
                    </a:lnTo>
                    <a:lnTo>
                      <a:pt x="152" y="176"/>
                    </a:lnTo>
                    <a:lnTo>
                      <a:pt x="154" y="178"/>
                    </a:lnTo>
                    <a:lnTo>
                      <a:pt x="157" y="180"/>
                    </a:lnTo>
                    <a:lnTo>
                      <a:pt x="157" y="180"/>
                    </a:lnTo>
                    <a:lnTo>
                      <a:pt x="159" y="180"/>
                    </a:lnTo>
                    <a:lnTo>
                      <a:pt x="161" y="182"/>
                    </a:lnTo>
                    <a:lnTo>
                      <a:pt x="163" y="180"/>
                    </a:lnTo>
                    <a:lnTo>
                      <a:pt x="164" y="176"/>
                    </a:lnTo>
                    <a:lnTo>
                      <a:pt x="164" y="176"/>
                    </a:lnTo>
                    <a:lnTo>
                      <a:pt x="166" y="180"/>
                    </a:lnTo>
                    <a:lnTo>
                      <a:pt x="172" y="182"/>
                    </a:lnTo>
                    <a:lnTo>
                      <a:pt x="172" y="182"/>
                    </a:lnTo>
                    <a:lnTo>
                      <a:pt x="172" y="182"/>
                    </a:lnTo>
                    <a:lnTo>
                      <a:pt x="173" y="180"/>
                    </a:lnTo>
                    <a:lnTo>
                      <a:pt x="173" y="176"/>
                    </a:lnTo>
                    <a:lnTo>
                      <a:pt x="173" y="176"/>
                    </a:lnTo>
                    <a:lnTo>
                      <a:pt x="173" y="166"/>
                    </a:lnTo>
                    <a:lnTo>
                      <a:pt x="173" y="166"/>
                    </a:lnTo>
                    <a:lnTo>
                      <a:pt x="175" y="164"/>
                    </a:lnTo>
                    <a:lnTo>
                      <a:pt x="175" y="160"/>
                    </a:lnTo>
                    <a:lnTo>
                      <a:pt x="175" y="160"/>
                    </a:lnTo>
                    <a:lnTo>
                      <a:pt x="173" y="158"/>
                    </a:lnTo>
                    <a:lnTo>
                      <a:pt x="173" y="157"/>
                    </a:lnTo>
                    <a:lnTo>
                      <a:pt x="173" y="157"/>
                    </a:lnTo>
                    <a:lnTo>
                      <a:pt x="175" y="153"/>
                    </a:lnTo>
                    <a:lnTo>
                      <a:pt x="175" y="150"/>
                    </a:lnTo>
                    <a:lnTo>
                      <a:pt x="175" y="150"/>
                    </a:lnTo>
                    <a:lnTo>
                      <a:pt x="175" y="150"/>
                    </a:lnTo>
                    <a:lnTo>
                      <a:pt x="173" y="146"/>
                    </a:lnTo>
                    <a:lnTo>
                      <a:pt x="173" y="146"/>
                    </a:lnTo>
                    <a:lnTo>
                      <a:pt x="177" y="142"/>
                    </a:lnTo>
                    <a:lnTo>
                      <a:pt x="177" y="142"/>
                    </a:lnTo>
                    <a:lnTo>
                      <a:pt x="177" y="141"/>
                    </a:lnTo>
                    <a:lnTo>
                      <a:pt x="179" y="139"/>
                    </a:lnTo>
                    <a:lnTo>
                      <a:pt x="179" y="139"/>
                    </a:lnTo>
                    <a:lnTo>
                      <a:pt x="177" y="137"/>
                    </a:lnTo>
                    <a:lnTo>
                      <a:pt x="175" y="135"/>
                    </a:lnTo>
                    <a:lnTo>
                      <a:pt x="175" y="135"/>
                    </a:lnTo>
                    <a:lnTo>
                      <a:pt x="172" y="132"/>
                    </a:lnTo>
                    <a:lnTo>
                      <a:pt x="172" y="128"/>
                    </a:lnTo>
                    <a:lnTo>
                      <a:pt x="172" y="128"/>
                    </a:lnTo>
                    <a:lnTo>
                      <a:pt x="164" y="126"/>
                    </a:lnTo>
                    <a:lnTo>
                      <a:pt x="163" y="126"/>
                    </a:lnTo>
                    <a:lnTo>
                      <a:pt x="161" y="126"/>
                    </a:lnTo>
                    <a:lnTo>
                      <a:pt x="161" y="126"/>
                    </a:lnTo>
                    <a:lnTo>
                      <a:pt x="159" y="126"/>
                    </a:lnTo>
                    <a:lnTo>
                      <a:pt x="159" y="126"/>
                    </a:lnTo>
                    <a:lnTo>
                      <a:pt x="157" y="130"/>
                    </a:lnTo>
                    <a:lnTo>
                      <a:pt x="154" y="132"/>
                    </a:lnTo>
                    <a:lnTo>
                      <a:pt x="154" y="132"/>
                    </a:lnTo>
                    <a:lnTo>
                      <a:pt x="157" y="130"/>
                    </a:lnTo>
                    <a:lnTo>
                      <a:pt x="157" y="128"/>
                    </a:lnTo>
                    <a:lnTo>
                      <a:pt x="155" y="128"/>
                    </a:lnTo>
                    <a:lnTo>
                      <a:pt x="155" y="128"/>
                    </a:lnTo>
                    <a:lnTo>
                      <a:pt x="157" y="126"/>
                    </a:lnTo>
                    <a:lnTo>
                      <a:pt x="159" y="123"/>
                    </a:lnTo>
                    <a:lnTo>
                      <a:pt x="159" y="123"/>
                    </a:lnTo>
                    <a:lnTo>
                      <a:pt x="157" y="121"/>
                    </a:lnTo>
                    <a:lnTo>
                      <a:pt x="155" y="121"/>
                    </a:lnTo>
                    <a:lnTo>
                      <a:pt x="155" y="121"/>
                    </a:lnTo>
                    <a:lnTo>
                      <a:pt x="154" y="119"/>
                    </a:lnTo>
                    <a:lnTo>
                      <a:pt x="154" y="117"/>
                    </a:lnTo>
                    <a:lnTo>
                      <a:pt x="154" y="117"/>
                    </a:lnTo>
                    <a:lnTo>
                      <a:pt x="152" y="107"/>
                    </a:lnTo>
                    <a:lnTo>
                      <a:pt x="152" y="107"/>
                    </a:lnTo>
                    <a:lnTo>
                      <a:pt x="150" y="107"/>
                    </a:lnTo>
                    <a:lnTo>
                      <a:pt x="148" y="105"/>
                    </a:lnTo>
                    <a:lnTo>
                      <a:pt x="143" y="105"/>
                    </a:lnTo>
                    <a:lnTo>
                      <a:pt x="143" y="105"/>
                    </a:lnTo>
                    <a:lnTo>
                      <a:pt x="139" y="105"/>
                    </a:lnTo>
                    <a:lnTo>
                      <a:pt x="138" y="103"/>
                    </a:lnTo>
                    <a:lnTo>
                      <a:pt x="138" y="103"/>
                    </a:lnTo>
                    <a:lnTo>
                      <a:pt x="136" y="100"/>
                    </a:lnTo>
                    <a:lnTo>
                      <a:pt x="136" y="96"/>
                    </a:lnTo>
                    <a:lnTo>
                      <a:pt x="136" y="96"/>
                    </a:lnTo>
                    <a:lnTo>
                      <a:pt x="136" y="98"/>
                    </a:lnTo>
                    <a:lnTo>
                      <a:pt x="138" y="96"/>
                    </a:lnTo>
                    <a:lnTo>
                      <a:pt x="138" y="96"/>
                    </a:lnTo>
                    <a:lnTo>
                      <a:pt x="138" y="96"/>
                    </a:lnTo>
                    <a:lnTo>
                      <a:pt x="134" y="94"/>
                    </a:lnTo>
                    <a:lnTo>
                      <a:pt x="134" y="94"/>
                    </a:lnTo>
                    <a:lnTo>
                      <a:pt x="138" y="92"/>
                    </a:lnTo>
                    <a:lnTo>
                      <a:pt x="138" y="92"/>
                    </a:lnTo>
                    <a:lnTo>
                      <a:pt x="134" y="92"/>
                    </a:lnTo>
                    <a:lnTo>
                      <a:pt x="134" y="92"/>
                    </a:lnTo>
                    <a:lnTo>
                      <a:pt x="138" y="91"/>
                    </a:lnTo>
                    <a:lnTo>
                      <a:pt x="138" y="91"/>
                    </a:lnTo>
                    <a:lnTo>
                      <a:pt x="143" y="89"/>
                    </a:lnTo>
                    <a:lnTo>
                      <a:pt x="143" y="89"/>
                    </a:lnTo>
                    <a:lnTo>
                      <a:pt x="143" y="87"/>
                    </a:lnTo>
                    <a:lnTo>
                      <a:pt x="141" y="85"/>
                    </a:lnTo>
                    <a:lnTo>
                      <a:pt x="139" y="83"/>
                    </a:lnTo>
                    <a:lnTo>
                      <a:pt x="139" y="83"/>
                    </a:lnTo>
                    <a:lnTo>
                      <a:pt x="136" y="82"/>
                    </a:lnTo>
                    <a:lnTo>
                      <a:pt x="130" y="83"/>
                    </a:lnTo>
                    <a:lnTo>
                      <a:pt x="130" y="83"/>
                    </a:lnTo>
                    <a:lnTo>
                      <a:pt x="125" y="85"/>
                    </a:lnTo>
                    <a:lnTo>
                      <a:pt x="122" y="85"/>
                    </a:lnTo>
                    <a:lnTo>
                      <a:pt x="120" y="85"/>
                    </a:lnTo>
                    <a:lnTo>
                      <a:pt x="120" y="85"/>
                    </a:lnTo>
                    <a:lnTo>
                      <a:pt x="125" y="85"/>
                    </a:lnTo>
                    <a:lnTo>
                      <a:pt x="129" y="83"/>
                    </a:lnTo>
                    <a:lnTo>
                      <a:pt x="130" y="80"/>
                    </a:lnTo>
                    <a:lnTo>
                      <a:pt x="129" y="78"/>
                    </a:lnTo>
                    <a:lnTo>
                      <a:pt x="125" y="78"/>
                    </a:lnTo>
                    <a:lnTo>
                      <a:pt x="125" y="78"/>
                    </a:lnTo>
                    <a:lnTo>
                      <a:pt x="122" y="76"/>
                    </a:lnTo>
                    <a:lnTo>
                      <a:pt x="122" y="76"/>
                    </a:lnTo>
                    <a:lnTo>
                      <a:pt x="118" y="75"/>
                    </a:lnTo>
                    <a:lnTo>
                      <a:pt x="118" y="75"/>
                    </a:lnTo>
                    <a:lnTo>
                      <a:pt x="116" y="73"/>
                    </a:lnTo>
                    <a:lnTo>
                      <a:pt x="114" y="69"/>
                    </a:lnTo>
                    <a:lnTo>
                      <a:pt x="114" y="67"/>
                    </a:lnTo>
                    <a:lnTo>
                      <a:pt x="113" y="66"/>
                    </a:lnTo>
                    <a:lnTo>
                      <a:pt x="113" y="66"/>
                    </a:lnTo>
                    <a:lnTo>
                      <a:pt x="109" y="62"/>
                    </a:lnTo>
                    <a:lnTo>
                      <a:pt x="109" y="62"/>
                    </a:lnTo>
                    <a:lnTo>
                      <a:pt x="104" y="62"/>
                    </a:lnTo>
                    <a:lnTo>
                      <a:pt x="104" y="62"/>
                    </a:lnTo>
                    <a:lnTo>
                      <a:pt x="102" y="58"/>
                    </a:lnTo>
                    <a:lnTo>
                      <a:pt x="100" y="57"/>
                    </a:lnTo>
                    <a:lnTo>
                      <a:pt x="100" y="57"/>
                    </a:lnTo>
                    <a:lnTo>
                      <a:pt x="97" y="53"/>
                    </a:lnTo>
                    <a:lnTo>
                      <a:pt x="95" y="53"/>
                    </a:lnTo>
                    <a:lnTo>
                      <a:pt x="93" y="53"/>
                    </a:lnTo>
                    <a:lnTo>
                      <a:pt x="93" y="53"/>
                    </a:lnTo>
                    <a:lnTo>
                      <a:pt x="95" y="57"/>
                    </a:lnTo>
                    <a:lnTo>
                      <a:pt x="97" y="60"/>
                    </a:lnTo>
                    <a:lnTo>
                      <a:pt x="97" y="60"/>
                    </a:lnTo>
                    <a:lnTo>
                      <a:pt x="93" y="57"/>
                    </a:lnTo>
                    <a:lnTo>
                      <a:pt x="93" y="57"/>
                    </a:lnTo>
                    <a:lnTo>
                      <a:pt x="91" y="55"/>
                    </a:lnTo>
                    <a:lnTo>
                      <a:pt x="88" y="53"/>
                    </a:lnTo>
                    <a:lnTo>
                      <a:pt x="88" y="53"/>
                    </a:lnTo>
                    <a:lnTo>
                      <a:pt x="86" y="50"/>
                    </a:lnTo>
                    <a:lnTo>
                      <a:pt x="82" y="46"/>
                    </a:lnTo>
                    <a:lnTo>
                      <a:pt x="82" y="46"/>
                    </a:lnTo>
                    <a:lnTo>
                      <a:pt x="82" y="48"/>
                    </a:lnTo>
                    <a:lnTo>
                      <a:pt x="82" y="48"/>
                    </a:lnTo>
                    <a:lnTo>
                      <a:pt x="80" y="46"/>
                    </a:lnTo>
                    <a:lnTo>
                      <a:pt x="80" y="46"/>
                    </a:lnTo>
                    <a:lnTo>
                      <a:pt x="80" y="48"/>
                    </a:lnTo>
                    <a:lnTo>
                      <a:pt x="80" y="48"/>
                    </a:lnTo>
                    <a:lnTo>
                      <a:pt x="79" y="44"/>
                    </a:lnTo>
                    <a:lnTo>
                      <a:pt x="79" y="42"/>
                    </a:lnTo>
                    <a:lnTo>
                      <a:pt x="79" y="42"/>
                    </a:lnTo>
                    <a:lnTo>
                      <a:pt x="79" y="42"/>
                    </a:lnTo>
                    <a:lnTo>
                      <a:pt x="72" y="37"/>
                    </a:lnTo>
                    <a:lnTo>
                      <a:pt x="72" y="37"/>
                    </a:lnTo>
                    <a:lnTo>
                      <a:pt x="68" y="33"/>
                    </a:lnTo>
                    <a:lnTo>
                      <a:pt x="64" y="30"/>
                    </a:lnTo>
                    <a:lnTo>
                      <a:pt x="64" y="30"/>
                    </a:lnTo>
                    <a:lnTo>
                      <a:pt x="61" y="30"/>
                    </a:lnTo>
                    <a:lnTo>
                      <a:pt x="61" y="30"/>
                    </a:lnTo>
                    <a:lnTo>
                      <a:pt x="59" y="28"/>
                    </a:lnTo>
                    <a:lnTo>
                      <a:pt x="57" y="26"/>
                    </a:lnTo>
                    <a:lnTo>
                      <a:pt x="57" y="26"/>
                    </a:lnTo>
                    <a:lnTo>
                      <a:pt x="52" y="23"/>
                    </a:lnTo>
                    <a:lnTo>
                      <a:pt x="52" y="23"/>
                    </a:lnTo>
                    <a:lnTo>
                      <a:pt x="50" y="23"/>
                    </a:lnTo>
                    <a:lnTo>
                      <a:pt x="52" y="21"/>
                    </a:lnTo>
                    <a:lnTo>
                      <a:pt x="52" y="19"/>
                    </a:lnTo>
                    <a:lnTo>
                      <a:pt x="50" y="17"/>
                    </a:lnTo>
                    <a:lnTo>
                      <a:pt x="50" y="17"/>
                    </a:lnTo>
                    <a:lnTo>
                      <a:pt x="48" y="16"/>
                    </a:lnTo>
                    <a:lnTo>
                      <a:pt x="47" y="12"/>
                    </a:lnTo>
                    <a:lnTo>
                      <a:pt x="47" y="12"/>
                    </a:lnTo>
                    <a:lnTo>
                      <a:pt x="43" y="8"/>
                    </a:lnTo>
                    <a:lnTo>
                      <a:pt x="38"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40" name="Freeform 2491"/>
              <p:cNvSpPr>
                <a:spLocks/>
              </p:cNvSpPr>
              <p:nvPr/>
            </p:nvSpPr>
            <p:spPr bwMode="auto">
              <a:xfrm>
                <a:off x="4219" y="2624"/>
                <a:ext cx="179" cy="183"/>
              </a:xfrm>
              <a:custGeom>
                <a:avLst/>
                <a:gdLst>
                  <a:gd name="T0" fmla="*/ 32 w 179"/>
                  <a:gd name="T1" fmla="*/ 7 h 183"/>
                  <a:gd name="T2" fmla="*/ 16 w 179"/>
                  <a:gd name="T3" fmla="*/ 5 h 183"/>
                  <a:gd name="T4" fmla="*/ 2 w 179"/>
                  <a:gd name="T5" fmla="*/ 0 h 183"/>
                  <a:gd name="T6" fmla="*/ 22 w 179"/>
                  <a:gd name="T7" fmla="*/ 26 h 183"/>
                  <a:gd name="T8" fmla="*/ 29 w 179"/>
                  <a:gd name="T9" fmla="*/ 30 h 183"/>
                  <a:gd name="T10" fmla="*/ 39 w 179"/>
                  <a:gd name="T11" fmla="*/ 42 h 183"/>
                  <a:gd name="T12" fmla="*/ 43 w 179"/>
                  <a:gd name="T13" fmla="*/ 51 h 183"/>
                  <a:gd name="T14" fmla="*/ 54 w 179"/>
                  <a:gd name="T15" fmla="*/ 57 h 183"/>
                  <a:gd name="T16" fmla="*/ 61 w 179"/>
                  <a:gd name="T17" fmla="*/ 66 h 183"/>
                  <a:gd name="T18" fmla="*/ 66 w 179"/>
                  <a:gd name="T19" fmla="*/ 83 h 183"/>
                  <a:gd name="T20" fmla="*/ 72 w 179"/>
                  <a:gd name="T21" fmla="*/ 87 h 183"/>
                  <a:gd name="T22" fmla="*/ 79 w 179"/>
                  <a:gd name="T23" fmla="*/ 96 h 183"/>
                  <a:gd name="T24" fmla="*/ 88 w 179"/>
                  <a:gd name="T25" fmla="*/ 107 h 183"/>
                  <a:gd name="T26" fmla="*/ 93 w 179"/>
                  <a:gd name="T27" fmla="*/ 116 h 183"/>
                  <a:gd name="T28" fmla="*/ 97 w 179"/>
                  <a:gd name="T29" fmla="*/ 130 h 183"/>
                  <a:gd name="T30" fmla="*/ 107 w 179"/>
                  <a:gd name="T31" fmla="*/ 142 h 183"/>
                  <a:gd name="T32" fmla="*/ 120 w 179"/>
                  <a:gd name="T33" fmla="*/ 155 h 183"/>
                  <a:gd name="T34" fmla="*/ 138 w 179"/>
                  <a:gd name="T35" fmla="*/ 167 h 183"/>
                  <a:gd name="T36" fmla="*/ 145 w 179"/>
                  <a:gd name="T37" fmla="*/ 176 h 183"/>
                  <a:gd name="T38" fmla="*/ 152 w 179"/>
                  <a:gd name="T39" fmla="*/ 183 h 183"/>
                  <a:gd name="T40" fmla="*/ 152 w 179"/>
                  <a:gd name="T41" fmla="*/ 178 h 183"/>
                  <a:gd name="T42" fmla="*/ 157 w 179"/>
                  <a:gd name="T43" fmla="*/ 180 h 183"/>
                  <a:gd name="T44" fmla="*/ 164 w 179"/>
                  <a:gd name="T45" fmla="*/ 176 h 183"/>
                  <a:gd name="T46" fmla="*/ 173 w 179"/>
                  <a:gd name="T47" fmla="*/ 180 h 183"/>
                  <a:gd name="T48" fmla="*/ 175 w 179"/>
                  <a:gd name="T49" fmla="*/ 164 h 183"/>
                  <a:gd name="T50" fmla="*/ 173 w 179"/>
                  <a:gd name="T51" fmla="*/ 157 h 183"/>
                  <a:gd name="T52" fmla="*/ 173 w 179"/>
                  <a:gd name="T53" fmla="*/ 146 h 183"/>
                  <a:gd name="T54" fmla="*/ 179 w 179"/>
                  <a:gd name="T55" fmla="*/ 139 h 183"/>
                  <a:gd name="T56" fmla="*/ 172 w 179"/>
                  <a:gd name="T57" fmla="*/ 132 h 183"/>
                  <a:gd name="T58" fmla="*/ 161 w 179"/>
                  <a:gd name="T59" fmla="*/ 126 h 183"/>
                  <a:gd name="T60" fmla="*/ 154 w 179"/>
                  <a:gd name="T61" fmla="*/ 132 h 183"/>
                  <a:gd name="T62" fmla="*/ 155 w 179"/>
                  <a:gd name="T63" fmla="*/ 128 h 183"/>
                  <a:gd name="T64" fmla="*/ 155 w 179"/>
                  <a:gd name="T65" fmla="*/ 121 h 183"/>
                  <a:gd name="T66" fmla="*/ 152 w 179"/>
                  <a:gd name="T67" fmla="*/ 107 h 183"/>
                  <a:gd name="T68" fmla="*/ 143 w 179"/>
                  <a:gd name="T69" fmla="*/ 105 h 183"/>
                  <a:gd name="T70" fmla="*/ 136 w 179"/>
                  <a:gd name="T71" fmla="*/ 96 h 183"/>
                  <a:gd name="T72" fmla="*/ 138 w 179"/>
                  <a:gd name="T73" fmla="*/ 96 h 183"/>
                  <a:gd name="T74" fmla="*/ 134 w 179"/>
                  <a:gd name="T75" fmla="*/ 92 h 183"/>
                  <a:gd name="T76" fmla="*/ 143 w 179"/>
                  <a:gd name="T77" fmla="*/ 89 h 183"/>
                  <a:gd name="T78" fmla="*/ 136 w 179"/>
                  <a:gd name="T79" fmla="*/ 82 h 183"/>
                  <a:gd name="T80" fmla="*/ 120 w 179"/>
                  <a:gd name="T81" fmla="*/ 85 h 183"/>
                  <a:gd name="T82" fmla="*/ 129 w 179"/>
                  <a:gd name="T83" fmla="*/ 78 h 183"/>
                  <a:gd name="T84" fmla="*/ 118 w 179"/>
                  <a:gd name="T85" fmla="*/ 75 h 183"/>
                  <a:gd name="T86" fmla="*/ 113 w 179"/>
                  <a:gd name="T87" fmla="*/ 66 h 183"/>
                  <a:gd name="T88" fmla="*/ 104 w 179"/>
                  <a:gd name="T89" fmla="*/ 62 h 183"/>
                  <a:gd name="T90" fmla="*/ 95 w 179"/>
                  <a:gd name="T91" fmla="*/ 53 h 183"/>
                  <a:gd name="T92" fmla="*/ 97 w 179"/>
                  <a:gd name="T93" fmla="*/ 60 h 183"/>
                  <a:gd name="T94" fmla="*/ 88 w 179"/>
                  <a:gd name="T95" fmla="*/ 53 h 183"/>
                  <a:gd name="T96" fmla="*/ 82 w 179"/>
                  <a:gd name="T97" fmla="*/ 48 h 183"/>
                  <a:gd name="T98" fmla="*/ 79 w 179"/>
                  <a:gd name="T99" fmla="*/ 44 h 183"/>
                  <a:gd name="T100" fmla="*/ 72 w 179"/>
                  <a:gd name="T101" fmla="*/ 37 h 183"/>
                  <a:gd name="T102" fmla="*/ 61 w 179"/>
                  <a:gd name="T103" fmla="*/ 30 h 183"/>
                  <a:gd name="T104" fmla="*/ 52 w 179"/>
                  <a:gd name="T105" fmla="*/ 23 h 183"/>
                  <a:gd name="T106" fmla="*/ 50 w 179"/>
                  <a:gd name="T107" fmla="*/ 17 h 183"/>
                  <a:gd name="T108" fmla="*/ 38 w 179"/>
                  <a:gd name="T109" fmla="*/ 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9" h="183">
                    <a:moveTo>
                      <a:pt x="38" y="5"/>
                    </a:moveTo>
                    <a:lnTo>
                      <a:pt x="38" y="5"/>
                    </a:lnTo>
                    <a:lnTo>
                      <a:pt x="36" y="7"/>
                    </a:lnTo>
                    <a:lnTo>
                      <a:pt x="32" y="7"/>
                    </a:lnTo>
                    <a:lnTo>
                      <a:pt x="32" y="7"/>
                    </a:lnTo>
                    <a:lnTo>
                      <a:pt x="29" y="5"/>
                    </a:lnTo>
                    <a:lnTo>
                      <a:pt x="29" y="5"/>
                    </a:lnTo>
                    <a:lnTo>
                      <a:pt x="20" y="5"/>
                    </a:lnTo>
                    <a:lnTo>
                      <a:pt x="20" y="5"/>
                    </a:lnTo>
                    <a:lnTo>
                      <a:pt x="16" y="5"/>
                    </a:lnTo>
                    <a:lnTo>
                      <a:pt x="13" y="1"/>
                    </a:lnTo>
                    <a:lnTo>
                      <a:pt x="13" y="1"/>
                    </a:lnTo>
                    <a:lnTo>
                      <a:pt x="7" y="0"/>
                    </a:lnTo>
                    <a:lnTo>
                      <a:pt x="5" y="0"/>
                    </a:lnTo>
                    <a:lnTo>
                      <a:pt x="2" y="0"/>
                    </a:lnTo>
                    <a:lnTo>
                      <a:pt x="2" y="0"/>
                    </a:lnTo>
                    <a:lnTo>
                      <a:pt x="0" y="3"/>
                    </a:lnTo>
                    <a:lnTo>
                      <a:pt x="0" y="5"/>
                    </a:lnTo>
                    <a:lnTo>
                      <a:pt x="7" y="14"/>
                    </a:lnTo>
                    <a:lnTo>
                      <a:pt x="22" y="26"/>
                    </a:lnTo>
                    <a:lnTo>
                      <a:pt x="22" y="26"/>
                    </a:lnTo>
                    <a:lnTo>
                      <a:pt x="23" y="28"/>
                    </a:lnTo>
                    <a:lnTo>
                      <a:pt x="27" y="30"/>
                    </a:lnTo>
                    <a:lnTo>
                      <a:pt x="27" y="30"/>
                    </a:lnTo>
                    <a:lnTo>
                      <a:pt x="29" y="30"/>
                    </a:lnTo>
                    <a:lnTo>
                      <a:pt x="30" y="32"/>
                    </a:lnTo>
                    <a:lnTo>
                      <a:pt x="32" y="35"/>
                    </a:lnTo>
                    <a:lnTo>
                      <a:pt x="32" y="35"/>
                    </a:lnTo>
                    <a:lnTo>
                      <a:pt x="36" y="39"/>
                    </a:lnTo>
                    <a:lnTo>
                      <a:pt x="39" y="42"/>
                    </a:lnTo>
                    <a:lnTo>
                      <a:pt x="39" y="42"/>
                    </a:lnTo>
                    <a:lnTo>
                      <a:pt x="41" y="44"/>
                    </a:lnTo>
                    <a:lnTo>
                      <a:pt x="41" y="46"/>
                    </a:lnTo>
                    <a:lnTo>
                      <a:pt x="43" y="51"/>
                    </a:lnTo>
                    <a:lnTo>
                      <a:pt x="43" y="51"/>
                    </a:lnTo>
                    <a:lnTo>
                      <a:pt x="43" y="51"/>
                    </a:lnTo>
                    <a:lnTo>
                      <a:pt x="45" y="53"/>
                    </a:lnTo>
                    <a:lnTo>
                      <a:pt x="50" y="55"/>
                    </a:lnTo>
                    <a:lnTo>
                      <a:pt x="50" y="55"/>
                    </a:lnTo>
                    <a:lnTo>
                      <a:pt x="54" y="57"/>
                    </a:lnTo>
                    <a:lnTo>
                      <a:pt x="54" y="57"/>
                    </a:lnTo>
                    <a:lnTo>
                      <a:pt x="59" y="62"/>
                    </a:lnTo>
                    <a:lnTo>
                      <a:pt x="59" y="62"/>
                    </a:lnTo>
                    <a:lnTo>
                      <a:pt x="61" y="64"/>
                    </a:lnTo>
                    <a:lnTo>
                      <a:pt x="61" y="66"/>
                    </a:lnTo>
                    <a:lnTo>
                      <a:pt x="61" y="66"/>
                    </a:lnTo>
                    <a:lnTo>
                      <a:pt x="64" y="75"/>
                    </a:lnTo>
                    <a:lnTo>
                      <a:pt x="64" y="75"/>
                    </a:lnTo>
                    <a:lnTo>
                      <a:pt x="66" y="78"/>
                    </a:lnTo>
                    <a:lnTo>
                      <a:pt x="66" y="83"/>
                    </a:lnTo>
                    <a:lnTo>
                      <a:pt x="66" y="83"/>
                    </a:lnTo>
                    <a:lnTo>
                      <a:pt x="68" y="85"/>
                    </a:lnTo>
                    <a:lnTo>
                      <a:pt x="68" y="85"/>
                    </a:lnTo>
                    <a:lnTo>
                      <a:pt x="72" y="87"/>
                    </a:lnTo>
                    <a:lnTo>
                      <a:pt x="72" y="87"/>
                    </a:lnTo>
                    <a:lnTo>
                      <a:pt x="75" y="89"/>
                    </a:lnTo>
                    <a:lnTo>
                      <a:pt x="77" y="91"/>
                    </a:lnTo>
                    <a:lnTo>
                      <a:pt x="77" y="92"/>
                    </a:lnTo>
                    <a:lnTo>
                      <a:pt x="77" y="92"/>
                    </a:lnTo>
                    <a:lnTo>
                      <a:pt x="79" y="96"/>
                    </a:lnTo>
                    <a:lnTo>
                      <a:pt x="82" y="100"/>
                    </a:lnTo>
                    <a:lnTo>
                      <a:pt x="86" y="103"/>
                    </a:lnTo>
                    <a:lnTo>
                      <a:pt x="88" y="107"/>
                    </a:lnTo>
                    <a:lnTo>
                      <a:pt x="88" y="107"/>
                    </a:lnTo>
                    <a:lnTo>
                      <a:pt x="88" y="107"/>
                    </a:lnTo>
                    <a:lnTo>
                      <a:pt x="88" y="108"/>
                    </a:lnTo>
                    <a:lnTo>
                      <a:pt x="88" y="108"/>
                    </a:lnTo>
                    <a:lnTo>
                      <a:pt x="89" y="112"/>
                    </a:lnTo>
                    <a:lnTo>
                      <a:pt x="89" y="112"/>
                    </a:lnTo>
                    <a:lnTo>
                      <a:pt x="93" y="116"/>
                    </a:lnTo>
                    <a:lnTo>
                      <a:pt x="95" y="121"/>
                    </a:lnTo>
                    <a:lnTo>
                      <a:pt x="95" y="121"/>
                    </a:lnTo>
                    <a:lnTo>
                      <a:pt x="95" y="126"/>
                    </a:lnTo>
                    <a:lnTo>
                      <a:pt x="97" y="130"/>
                    </a:lnTo>
                    <a:lnTo>
                      <a:pt x="97" y="130"/>
                    </a:lnTo>
                    <a:lnTo>
                      <a:pt x="102" y="135"/>
                    </a:lnTo>
                    <a:lnTo>
                      <a:pt x="102" y="135"/>
                    </a:lnTo>
                    <a:lnTo>
                      <a:pt x="105" y="139"/>
                    </a:lnTo>
                    <a:lnTo>
                      <a:pt x="107" y="142"/>
                    </a:lnTo>
                    <a:lnTo>
                      <a:pt x="107" y="142"/>
                    </a:lnTo>
                    <a:lnTo>
                      <a:pt x="113" y="146"/>
                    </a:lnTo>
                    <a:lnTo>
                      <a:pt x="116" y="150"/>
                    </a:lnTo>
                    <a:lnTo>
                      <a:pt x="116" y="150"/>
                    </a:lnTo>
                    <a:lnTo>
                      <a:pt x="118" y="153"/>
                    </a:lnTo>
                    <a:lnTo>
                      <a:pt x="120" y="155"/>
                    </a:lnTo>
                    <a:lnTo>
                      <a:pt x="120" y="155"/>
                    </a:lnTo>
                    <a:lnTo>
                      <a:pt x="129" y="162"/>
                    </a:lnTo>
                    <a:lnTo>
                      <a:pt x="129" y="162"/>
                    </a:lnTo>
                    <a:lnTo>
                      <a:pt x="138" y="167"/>
                    </a:lnTo>
                    <a:lnTo>
                      <a:pt x="138" y="167"/>
                    </a:lnTo>
                    <a:lnTo>
                      <a:pt x="139" y="169"/>
                    </a:lnTo>
                    <a:lnTo>
                      <a:pt x="141" y="173"/>
                    </a:lnTo>
                    <a:lnTo>
                      <a:pt x="141" y="173"/>
                    </a:lnTo>
                    <a:lnTo>
                      <a:pt x="145" y="176"/>
                    </a:lnTo>
                    <a:lnTo>
                      <a:pt x="145" y="176"/>
                    </a:lnTo>
                    <a:lnTo>
                      <a:pt x="148" y="178"/>
                    </a:lnTo>
                    <a:lnTo>
                      <a:pt x="148" y="178"/>
                    </a:lnTo>
                    <a:lnTo>
                      <a:pt x="148" y="180"/>
                    </a:lnTo>
                    <a:lnTo>
                      <a:pt x="148" y="180"/>
                    </a:lnTo>
                    <a:lnTo>
                      <a:pt x="152" y="183"/>
                    </a:lnTo>
                    <a:lnTo>
                      <a:pt x="154" y="183"/>
                    </a:lnTo>
                    <a:lnTo>
                      <a:pt x="154" y="183"/>
                    </a:lnTo>
                    <a:lnTo>
                      <a:pt x="154" y="183"/>
                    </a:lnTo>
                    <a:lnTo>
                      <a:pt x="154" y="180"/>
                    </a:lnTo>
                    <a:lnTo>
                      <a:pt x="152" y="178"/>
                    </a:lnTo>
                    <a:lnTo>
                      <a:pt x="152" y="178"/>
                    </a:lnTo>
                    <a:lnTo>
                      <a:pt x="152" y="176"/>
                    </a:lnTo>
                    <a:lnTo>
                      <a:pt x="154" y="178"/>
                    </a:lnTo>
                    <a:lnTo>
                      <a:pt x="157" y="180"/>
                    </a:lnTo>
                    <a:lnTo>
                      <a:pt x="157" y="180"/>
                    </a:lnTo>
                    <a:lnTo>
                      <a:pt x="159" y="180"/>
                    </a:lnTo>
                    <a:lnTo>
                      <a:pt x="161" y="182"/>
                    </a:lnTo>
                    <a:lnTo>
                      <a:pt x="163" y="180"/>
                    </a:lnTo>
                    <a:lnTo>
                      <a:pt x="164" y="176"/>
                    </a:lnTo>
                    <a:lnTo>
                      <a:pt x="164" y="176"/>
                    </a:lnTo>
                    <a:lnTo>
                      <a:pt x="166" y="180"/>
                    </a:lnTo>
                    <a:lnTo>
                      <a:pt x="172" y="182"/>
                    </a:lnTo>
                    <a:lnTo>
                      <a:pt x="172" y="182"/>
                    </a:lnTo>
                    <a:lnTo>
                      <a:pt x="172" y="182"/>
                    </a:lnTo>
                    <a:lnTo>
                      <a:pt x="173" y="180"/>
                    </a:lnTo>
                    <a:lnTo>
                      <a:pt x="173" y="176"/>
                    </a:lnTo>
                    <a:lnTo>
                      <a:pt x="173" y="176"/>
                    </a:lnTo>
                    <a:lnTo>
                      <a:pt x="173" y="166"/>
                    </a:lnTo>
                    <a:lnTo>
                      <a:pt x="173" y="166"/>
                    </a:lnTo>
                    <a:lnTo>
                      <a:pt x="175" y="164"/>
                    </a:lnTo>
                    <a:lnTo>
                      <a:pt x="175" y="160"/>
                    </a:lnTo>
                    <a:lnTo>
                      <a:pt x="175" y="160"/>
                    </a:lnTo>
                    <a:lnTo>
                      <a:pt x="173" y="158"/>
                    </a:lnTo>
                    <a:lnTo>
                      <a:pt x="173" y="157"/>
                    </a:lnTo>
                    <a:lnTo>
                      <a:pt x="173" y="157"/>
                    </a:lnTo>
                    <a:lnTo>
                      <a:pt x="175" y="153"/>
                    </a:lnTo>
                    <a:lnTo>
                      <a:pt x="175" y="150"/>
                    </a:lnTo>
                    <a:lnTo>
                      <a:pt x="175" y="150"/>
                    </a:lnTo>
                    <a:lnTo>
                      <a:pt x="175" y="150"/>
                    </a:lnTo>
                    <a:lnTo>
                      <a:pt x="173" y="146"/>
                    </a:lnTo>
                    <a:lnTo>
                      <a:pt x="173" y="146"/>
                    </a:lnTo>
                    <a:lnTo>
                      <a:pt x="177" y="142"/>
                    </a:lnTo>
                    <a:lnTo>
                      <a:pt x="177" y="142"/>
                    </a:lnTo>
                    <a:lnTo>
                      <a:pt x="177" y="141"/>
                    </a:lnTo>
                    <a:lnTo>
                      <a:pt x="179" y="139"/>
                    </a:lnTo>
                    <a:lnTo>
                      <a:pt x="179" y="139"/>
                    </a:lnTo>
                    <a:lnTo>
                      <a:pt x="177" y="137"/>
                    </a:lnTo>
                    <a:lnTo>
                      <a:pt x="175" y="135"/>
                    </a:lnTo>
                    <a:lnTo>
                      <a:pt x="175" y="135"/>
                    </a:lnTo>
                    <a:lnTo>
                      <a:pt x="172" y="132"/>
                    </a:lnTo>
                    <a:lnTo>
                      <a:pt x="172" y="128"/>
                    </a:lnTo>
                    <a:lnTo>
                      <a:pt x="172" y="128"/>
                    </a:lnTo>
                    <a:lnTo>
                      <a:pt x="164" y="126"/>
                    </a:lnTo>
                    <a:lnTo>
                      <a:pt x="163" y="126"/>
                    </a:lnTo>
                    <a:lnTo>
                      <a:pt x="161" y="126"/>
                    </a:lnTo>
                    <a:lnTo>
                      <a:pt x="161" y="126"/>
                    </a:lnTo>
                    <a:lnTo>
                      <a:pt x="159" y="126"/>
                    </a:lnTo>
                    <a:lnTo>
                      <a:pt x="159" y="126"/>
                    </a:lnTo>
                    <a:lnTo>
                      <a:pt x="157" y="130"/>
                    </a:lnTo>
                    <a:lnTo>
                      <a:pt x="154" y="132"/>
                    </a:lnTo>
                    <a:lnTo>
                      <a:pt x="154" y="132"/>
                    </a:lnTo>
                    <a:lnTo>
                      <a:pt x="157" y="130"/>
                    </a:lnTo>
                    <a:lnTo>
                      <a:pt x="157" y="128"/>
                    </a:lnTo>
                    <a:lnTo>
                      <a:pt x="155" y="128"/>
                    </a:lnTo>
                    <a:lnTo>
                      <a:pt x="155" y="128"/>
                    </a:lnTo>
                    <a:lnTo>
                      <a:pt x="157" y="126"/>
                    </a:lnTo>
                    <a:lnTo>
                      <a:pt x="159" y="123"/>
                    </a:lnTo>
                    <a:lnTo>
                      <a:pt x="159" y="123"/>
                    </a:lnTo>
                    <a:lnTo>
                      <a:pt x="157" y="121"/>
                    </a:lnTo>
                    <a:lnTo>
                      <a:pt x="155" y="121"/>
                    </a:lnTo>
                    <a:lnTo>
                      <a:pt x="155" y="121"/>
                    </a:lnTo>
                    <a:lnTo>
                      <a:pt x="154" y="119"/>
                    </a:lnTo>
                    <a:lnTo>
                      <a:pt x="154" y="117"/>
                    </a:lnTo>
                    <a:lnTo>
                      <a:pt x="154" y="117"/>
                    </a:lnTo>
                    <a:lnTo>
                      <a:pt x="152" y="107"/>
                    </a:lnTo>
                    <a:lnTo>
                      <a:pt x="152" y="107"/>
                    </a:lnTo>
                    <a:lnTo>
                      <a:pt x="150" y="107"/>
                    </a:lnTo>
                    <a:lnTo>
                      <a:pt x="148" y="105"/>
                    </a:lnTo>
                    <a:lnTo>
                      <a:pt x="143" y="105"/>
                    </a:lnTo>
                    <a:lnTo>
                      <a:pt x="143" y="105"/>
                    </a:lnTo>
                    <a:lnTo>
                      <a:pt x="139" y="105"/>
                    </a:lnTo>
                    <a:lnTo>
                      <a:pt x="138" y="103"/>
                    </a:lnTo>
                    <a:lnTo>
                      <a:pt x="138" y="103"/>
                    </a:lnTo>
                    <a:lnTo>
                      <a:pt x="136" y="100"/>
                    </a:lnTo>
                    <a:lnTo>
                      <a:pt x="136" y="96"/>
                    </a:lnTo>
                    <a:lnTo>
                      <a:pt x="136" y="96"/>
                    </a:lnTo>
                    <a:lnTo>
                      <a:pt x="136" y="98"/>
                    </a:lnTo>
                    <a:lnTo>
                      <a:pt x="138" y="96"/>
                    </a:lnTo>
                    <a:lnTo>
                      <a:pt x="138" y="96"/>
                    </a:lnTo>
                    <a:lnTo>
                      <a:pt x="138" y="96"/>
                    </a:lnTo>
                    <a:lnTo>
                      <a:pt x="134" y="94"/>
                    </a:lnTo>
                    <a:lnTo>
                      <a:pt x="134" y="94"/>
                    </a:lnTo>
                    <a:lnTo>
                      <a:pt x="138" y="92"/>
                    </a:lnTo>
                    <a:lnTo>
                      <a:pt x="138" y="92"/>
                    </a:lnTo>
                    <a:lnTo>
                      <a:pt x="134" y="92"/>
                    </a:lnTo>
                    <a:lnTo>
                      <a:pt x="134" y="92"/>
                    </a:lnTo>
                    <a:lnTo>
                      <a:pt x="138" y="91"/>
                    </a:lnTo>
                    <a:lnTo>
                      <a:pt x="138" y="91"/>
                    </a:lnTo>
                    <a:lnTo>
                      <a:pt x="143" y="89"/>
                    </a:lnTo>
                    <a:lnTo>
                      <a:pt x="143" y="89"/>
                    </a:lnTo>
                    <a:lnTo>
                      <a:pt x="143" y="87"/>
                    </a:lnTo>
                    <a:lnTo>
                      <a:pt x="141" y="85"/>
                    </a:lnTo>
                    <a:lnTo>
                      <a:pt x="139" y="83"/>
                    </a:lnTo>
                    <a:lnTo>
                      <a:pt x="139" y="83"/>
                    </a:lnTo>
                    <a:lnTo>
                      <a:pt x="136" y="82"/>
                    </a:lnTo>
                    <a:lnTo>
                      <a:pt x="130" y="83"/>
                    </a:lnTo>
                    <a:lnTo>
                      <a:pt x="130" y="83"/>
                    </a:lnTo>
                    <a:lnTo>
                      <a:pt x="125" y="85"/>
                    </a:lnTo>
                    <a:lnTo>
                      <a:pt x="122" y="85"/>
                    </a:lnTo>
                    <a:lnTo>
                      <a:pt x="120" y="85"/>
                    </a:lnTo>
                    <a:lnTo>
                      <a:pt x="120" y="85"/>
                    </a:lnTo>
                    <a:lnTo>
                      <a:pt x="125" y="85"/>
                    </a:lnTo>
                    <a:lnTo>
                      <a:pt x="129" y="83"/>
                    </a:lnTo>
                    <a:lnTo>
                      <a:pt x="130" y="80"/>
                    </a:lnTo>
                    <a:lnTo>
                      <a:pt x="129" y="78"/>
                    </a:lnTo>
                    <a:lnTo>
                      <a:pt x="125" y="78"/>
                    </a:lnTo>
                    <a:lnTo>
                      <a:pt x="125" y="78"/>
                    </a:lnTo>
                    <a:lnTo>
                      <a:pt x="122" y="76"/>
                    </a:lnTo>
                    <a:lnTo>
                      <a:pt x="122" y="76"/>
                    </a:lnTo>
                    <a:lnTo>
                      <a:pt x="118" y="75"/>
                    </a:lnTo>
                    <a:lnTo>
                      <a:pt x="118" y="75"/>
                    </a:lnTo>
                    <a:lnTo>
                      <a:pt x="116" y="73"/>
                    </a:lnTo>
                    <a:lnTo>
                      <a:pt x="114" y="69"/>
                    </a:lnTo>
                    <a:lnTo>
                      <a:pt x="114" y="67"/>
                    </a:lnTo>
                    <a:lnTo>
                      <a:pt x="113" y="66"/>
                    </a:lnTo>
                    <a:lnTo>
                      <a:pt x="113" y="66"/>
                    </a:lnTo>
                    <a:lnTo>
                      <a:pt x="109" y="62"/>
                    </a:lnTo>
                    <a:lnTo>
                      <a:pt x="109" y="62"/>
                    </a:lnTo>
                    <a:lnTo>
                      <a:pt x="104" y="62"/>
                    </a:lnTo>
                    <a:lnTo>
                      <a:pt x="104" y="62"/>
                    </a:lnTo>
                    <a:lnTo>
                      <a:pt x="102" y="58"/>
                    </a:lnTo>
                    <a:lnTo>
                      <a:pt x="100" y="57"/>
                    </a:lnTo>
                    <a:lnTo>
                      <a:pt x="100" y="57"/>
                    </a:lnTo>
                    <a:lnTo>
                      <a:pt x="97" y="53"/>
                    </a:lnTo>
                    <a:lnTo>
                      <a:pt x="95" y="53"/>
                    </a:lnTo>
                    <a:lnTo>
                      <a:pt x="93" y="53"/>
                    </a:lnTo>
                    <a:lnTo>
                      <a:pt x="93" y="53"/>
                    </a:lnTo>
                    <a:lnTo>
                      <a:pt x="95" y="57"/>
                    </a:lnTo>
                    <a:lnTo>
                      <a:pt x="97" y="60"/>
                    </a:lnTo>
                    <a:lnTo>
                      <a:pt x="97" y="60"/>
                    </a:lnTo>
                    <a:lnTo>
                      <a:pt x="93" y="57"/>
                    </a:lnTo>
                    <a:lnTo>
                      <a:pt x="93" y="57"/>
                    </a:lnTo>
                    <a:lnTo>
                      <a:pt x="91" y="55"/>
                    </a:lnTo>
                    <a:lnTo>
                      <a:pt x="88" y="53"/>
                    </a:lnTo>
                    <a:lnTo>
                      <a:pt x="88" y="53"/>
                    </a:lnTo>
                    <a:lnTo>
                      <a:pt x="86" y="50"/>
                    </a:lnTo>
                    <a:lnTo>
                      <a:pt x="82" y="46"/>
                    </a:lnTo>
                    <a:lnTo>
                      <a:pt x="82" y="46"/>
                    </a:lnTo>
                    <a:lnTo>
                      <a:pt x="82" y="48"/>
                    </a:lnTo>
                    <a:lnTo>
                      <a:pt x="82" y="48"/>
                    </a:lnTo>
                    <a:lnTo>
                      <a:pt x="80" y="46"/>
                    </a:lnTo>
                    <a:lnTo>
                      <a:pt x="80" y="46"/>
                    </a:lnTo>
                    <a:lnTo>
                      <a:pt x="80" y="48"/>
                    </a:lnTo>
                    <a:lnTo>
                      <a:pt x="80" y="48"/>
                    </a:lnTo>
                    <a:lnTo>
                      <a:pt x="79" y="44"/>
                    </a:lnTo>
                    <a:lnTo>
                      <a:pt x="79" y="42"/>
                    </a:lnTo>
                    <a:lnTo>
                      <a:pt x="79" y="42"/>
                    </a:lnTo>
                    <a:lnTo>
                      <a:pt x="79" y="42"/>
                    </a:lnTo>
                    <a:lnTo>
                      <a:pt x="72" y="37"/>
                    </a:lnTo>
                    <a:lnTo>
                      <a:pt x="72" y="37"/>
                    </a:lnTo>
                    <a:lnTo>
                      <a:pt x="68" y="33"/>
                    </a:lnTo>
                    <a:lnTo>
                      <a:pt x="64" y="30"/>
                    </a:lnTo>
                    <a:lnTo>
                      <a:pt x="64" y="30"/>
                    </a:lnTo>
                    <a:lnTo>
                      <a:pt x="61" y="30"/>
                    </a:lnTo>
                    <a:lnTo>
                      <a:pt x="61" y="30"/>
                    </a:lnTo>
                    <a:lnTo>
                      <a:pt x="59" y="28"/>
                    </a:lnTo>
                    <a:lnTo>
                      <a:pt x="57" y="26"/>
                    </a:lnTo>
                    <a:lnTo>
                      <a:pt x="57" y="26"/>
                    </a:lnTo>
                    <a:lnTo>
                      <a:pt x="52" y="23"/>
                    </a:lnTo>
                    <a:lnTo>
                      <a:pt x="52" y="23"/>
                    </a:lnTo>
                    <a:lnTo>
                      <a:pt x="50" y="23"/>
                    </a:lnTo>
                    <a:lnTo>
                      <a:pt x="52" y="21"/>
                    </a:lnTo>
                    <a:lnTo>
                      <a:pt x="52" y="19"/>
                    </a:lnTo>
                    <a:lnTo>
                      <a:pt x="50" y="17"/>
                    </a:lnTo>
                    <a:lnTo>
                      <a:pt x="50" y="17"/>
                    </a:lnTo>
                    <a:lnTo>
                      <a:pt x="48" y="16"/>
                    </a:lnTo>
                    <a:lnTo>
                      <a:pt x="47" y="12"/>
                    </a:lnTo>
                    <a:lnTo>
                      <a:pt x="47" y="12"/>
                    </a:lnTo>
                    <a:lnTo>
                      <a:pt x="43" y="8"/>
                    </a:lnTo>
                    <a:lnTo>
                      <a:pt x="38"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41" name="Freeform 2492"/>
              <p:cNvSpPr>
                <a:spLocks/>
              </p:cNvSpPr>
              <p:nvPr/>
            </p:nvSpPr>
            <p:spPr bwMode="auto">
              <a:xfrm>
                <a:off x="4230" y="2666"/>
                <a:ext cx="12" cy="9"/>
              </a:xfrm>
              <a:custGeom>
                <a:avLst/>
                <a:gdLst>
                  <a:gd name="T0" fmla="*/ 11 w 12"/>
                  <a:gd name="T1" fmla="*/ 9 h 9"/>
                  <a:gd name="T2" fmla="*/ 11 w 12"/>
                  <a:gd name="T3" fmla="*/ 9 h 9"/>
                  <a:gd name="T4" fmla="*/ 12 w 12"/>
                  <a:gd name="T5" fmla="*/ 9 h 9"/>
                  <a:gd name="T6" fmla="*/ 12 w 12"/>
                  <a:gd name="T7" fmla="*/ 9 h 9"/>
                  <a:gd name="T8" fmla="*/ 12 w 12"/>
                  <a:gd name="T9" fmla="*/ 9 h 9"/>
                  <a:gd name="T10" fmla="*/ 9 w 12"/>
                  <a:gd name="T11" fmla="*/ 6 h 9"/>
                  <a:gd name="T12" fmla="*/ 9 w 12"/>
                  <a:gd name="T13" fmla="*/ 6 h 9"/>
                  <a:gd name="T14" fmla="*/ 5 w 12"/>
                  <a:gd name="T15" fmla="*/ 4 h 9"/>
                  <a:gd name="T16" fmla="*/ 5 w 12"/>
                  <a:gd name="T17" fmla="*/ 4 h 9"/>
                  <a:gd name="T18" fmla="*/ 5 w 12"/>
                  <a:gd name="T19" fmla="*/ 2 h 9"/>
                  <a:gd name="T20" fmla="*/ 3 w 12"/>
                  <a:gd name="T21" fmla="*/ 2 h 9"/>
                  <a:gd name="T22" fmla="*/ 3 w 12"/>
                  <a:gd name="T23" fmla="*/ 2 h 9"/>
                  <a:gd name="T24" fmla="*/ 2 w 12"/>
                  <a:gd name="T25" fmla="*/ 0 h 9"/>
                  <a:gd name="T26" fmla="*/ 2 w 12"/>
                  <a:gd name="T27" fmla="*/ 0 h 9"/>
                  <a:gd name="T28" fmla="*/ 2 w 12"/>
                  <a:gd name="T29" fmla="*/ 0 h 9"/>
                  <a:gd name="T30" fmla="*/ 0 w 12"/>
                  <a:gd name="T31" fmla="*/ 2 h 9"/>
                  <a:gd name="T32" fmla="*/ 2 w 12"/>
                  <a:gd name="T33" fmla="*/ 4 h 9"/>
                  <a:gd name="T34" fmla="*/ 2 w 12"/>
                  <a:gd name="T35" fmla="*/ 4 h 9"/>
                  <a:gd name="T36" fmla="*/ 5 w 12"/>
                  <a:gd name="T37" fmla="*/ 6 h 9"/>
                  <a:gd name="T38" fmla="*/ 9 w 12"/>
                  <a:gd name="T39" fmla="*/ 8 h 9"/>
                  <a:gd name="T40" fmla="*/ 11 w 12"/>
                  <a:gd name="T4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9">
                    <a:moveTo>
                      <a:pt x="11" y="9"/>
                    </a:moveTo>
                    <a:lnTo>
                      <a:pt x="11" y="9"/>
                    </a:lnTo>
                    <a:lnTo>
                      <a:pt x="12" y="9"/>
                    </a:lnTo>
                    <a:lnTo>
                      <a:pt x="12" y="9"/>
                    </a:lnTo>
                    <a:lnTo>
                      <a:pt x="12" y="9"/>
                    </a:lnTo>
                    <a:lnTo>
                      <a:pt x="9" y="6"/>
                    </a:lnTo>
                    <a:lnTo>
                      <a:pt x="9" y="6"/>
                    </a:lnTo>
                    <a:lnTo>
                      <a:pt x="5" y="4"/>
                    </a:lnTo>
                    <a:lnTo>
                      <a:pt x="5" y="4"/>
                    </a:lnTo>
                    <a:lnTo>
                      <a:pt x="5" y="2"/>
                    </a:lnTo>
                    <a:lnTo>
                      <a:pt x="3" y="2"/>
                    </a:lnTo>
                    <a:lnTo>
                      <a:pt x="3" y="2"/>
                    </a:lnTo>
                    <a:lnTo>
                      <a:pt x="2" y="0"/>
                    </a:lnTo>
                    <a:lnTo>
                      <a:pt x="2" y="0"/>
                    </a:lnTo>
                    <a:lnTo>
                      <a:pt x="2" y="0"/>
                    </a:lnTo>
                    <a:lnTo>
                      <a:pt x="0" y="2"/>
                    </a:lnTo>
                    <a:lnTo>
                      <a:pt x="2" y="4"/>
                    </a:lnTo>
                    <a:lnTo>
                      <a:pt x="2" y="4"/>
                    </a:lnTo>
                    <a:lnTo>
                      <a:pt x="5" y="6"/>
                    </a:lnTo>
                    <a:lnTo>
                      <a:pt x="9" y="8"/>
                    </a:lnTo>
                    <a:lnTo>
                      <a:pt x="11"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42" name="Freeform 2493"/>
              <p:cNvSpPr>
                <a:spLocks/>
              </p:cNvSpPr>
              <p:nvPr/>
            </p:nvSpPr>
            <p:spPr bwMode="auto">
              <a:xfrm>
                <a:off x="4230" y="2666"/>
                <a:ext cx="12" cy="9"/>
              </a:xfrm>
              <a:custGeom>
                <a:avLst/>
                <a:gdLst>
                  <a:gd name="T0" fmla="*/ 11 w 12"/>
                  <a:gd name="T1" fmla="*/ 9 h 9"/>
                  <a:gd name="T2" fmla="*/ 11 w 12"/>
                  <a:gd name="T3" fmla="*/ 9 h 9"/>
                  <a:gd name="T4" fmla="*/ 12 w 12"/>
                  <a:gd name="T5" fmla="*/ 9 h 9"/>
                  <a:gd name="T6" fmla="*/ 12 w 12"/>
                  <a:gd name="T7" fmla="*/ 9 h 9"/>
                  <a:gd name="T8" fmla="*/ 12 w 12"/>
                  <a:gd name="T9" fmla="*/ 9 h 9"/>
                  <a:gd name="T10" fmla="*/ 9 w 12"/>
                  <a:gd name="T11" fmla="*/ 6 h 9"/>
                  <a:gd name="T12" fmla="*/ 9 w 12"/>
                  <a:gd name="T13" fmla="*/ 6 h 9"/>
                  <a:gd name="T14" fmla="*/ 5 w 12"/>
                  <a:gd name="T15" fmla="*/ 4 h 9"/>
                  <a:gd name="T16" fmla="*/ 5 w 12"/>
                  <a:gd name="T17" fmla="*/ 4 h 9"/>
                  <a:gd name="T18" fmla="*/ 5 w 12"/>
                  <a:gd name="T19" fmla="*/ 2 h 9"/>
                  <a:gd name="T20" fmla="*/ 3 w 12"/>
                  <a:gd name="T21" fmla="*/ 2 h 9"/>
                  <a:gd name="T22" fmla="*/ 3 w 12"/>
                  <a:gd name="T23" fmla="*/ 2 h 9"/>
                  <a:gd name="T24" fmla="*/ 2 w 12"/>
                  <a:gd name="T25" fmla="*/ 0 h 9"/>
                  <a:gd name="T26" fmla="*/ 2 w 12"/>
                  <a:gd name="T27" fmla="*/ 0 h 9"/>
                  <a:gd name="T28" fmla="*/ 2 w 12"/>
                  <a:gd name="T29" fmla="*/ 0 h 9"/>
                  <a:gd name="T30" fmla="*/ 0 w 12"/>
                  <a:gd name="T31" fmla="*/ 2 h 9"/>
                  <a:gd name="T32" fmla="*/ 2 w 12"/>
                  <a:gd name="T33" fmla="*/ 4 h 9"/>
                  <a:gd name="T34" fmla="*/ 2 w 12"/>
                  <a:gd name="T35" fmla="*/ 4 h 9"/>
                  <a:gd name="T36" fmla="*/ 5 w 12"/>
                  <a:gd name="T37" fmla="*/ 6 h 9"/>
                  <a:gd name="T38" fmla="*/ 9 w 12"/>
                  <a:gd name="T39" fmla="*/ 8 h 9"/>
                  <a:gd name="T40" fmla="*/ 11 w 12"/>
                  <a:gd name="T4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 h="9">
                    <a:moveTo>
                      <a:pt x="11" y="9"/>
                    </a:moveTo>
                    <a:lnTo>
                      <a:pt x="11" y="9"/>
                    </a:lnTo>
                    <a:lnTo>
                      <a:pt x="12" y="9"/>
                    </a:lnTo>
                    <a:lnTo>
                      <a:pt x="12" y="9"/>
                    </a:lnTo>
                    <a:lnTo>
                      <a:pt x="12" y="9"/>
                    </a:lnTo>
                    <a:lnTo>
                      <a:pt x="9" y="6"/>
                    </a:lnTo>
                    <a:lnTo>
                      <a:pt x="9" y="6"/>
                    </a:lnTo>
                    <a:lnTo>
                      <a:pt x="5" y="4"/>
                    </a:lnTo>
                    <a:lnTo>
                      <a:pt x="5" y="4"/>
                    </a:lnTo>
                    <a:lnTo>
                      <a:pt x="5" y="2"/>
                    </a:lnTo>
                    <a:lnTo>
                      <a:pt x="3" y="2"/>
                    </a:lnTo>
                    <a:lnTo>
                      <a:pt x="3" y="2"/>
                    </a:lnTo>
                    <a:lnTo>
                      <a:pt x="2" y="0"/>
                    </a:lnTo>
                    <a:lnTo>
                      <a:pt x="2" y="0"/>
                    </a:lnTo>
                    <a:lnTo>
                      <a:pt x="2" y="0"/>
                    </a:lnTo>
                    <a:lnTo>
                      <a:pt x="0" y="2"/>
                    </a:lnTo>
                    <a:lnTo>
                      <a:pt x="2" y="4"/>
                    </a:lnTo>
                    <a:lnTo>
                      <a:pt x="2" y="4"/>
                    </a:lnTo>
                    <a:lnTo>
                      <a:pt x="5" y="6"/>
                    </a:lnTo>
                    <a:lnTo>
                      <a:pt x="9" y="8"/>
                    </a:lnTo>
                    <a:lnTo>
                      <a:pt x="11"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43" name="Freeform 2494"/>
              <p:cNvSpPr>
                <a:spLocks/>
              </p:cNvSpPr>
              <p:nvPr/>
            </p:nvSpPr>
            <p:spPr bwMode="auto">
              <a:xfrm>
                <a:off x="4253" y="2690"/>
                <a:ext cx="13" cy="14"/>
              </a:xfrm>
              <a:custGeom>
                <a:avLst/>
                <a:gdLst>
                  <a:gd name="T0" fmla="*/ 9 w 13"/>
                  <a:gd name="T1" fmla="*/ 14 h 14"/>
                  <a:gd name="T2" fmla="*/ 9 w 13"/>
                  <a:gd name="T3" fmla="*/ 14 h 14"/>
                  <a:gd name="T4" fmla="*/ 11 w 13"/>
                  <a:gd name="T5" fmla="*/ 14 h 14"/>
                  <a:gd name="T6" fmla="*/ 13 w 13"/>
                  <a:gd name="T7" fmla="*/ 12 h 14"/>
                  <a:gd name="T8" fmla="*/ 13 w 13"/>
                  <a:gd name="T9" fmla="*/ 7 h 14"/>
                  <a:gd name="T10" fmla="*/ 13 w 13"/>
                  <a:gd name="T11" fmla="*/ 7 h 14"/>
                  <a:gd name="T12" fmla="*/ 9 w 13"/>
                  <a:gd name="T13" fmla="*/ 3 h 14"/>
                  <a:gd name="T14" fmla="*/ 5 w 13"/>
                  <a:gd name="T15" fmla="*/ 0 h 14"/>
                  <a:gd name="T16" fmla="*/ 5 w 13"/>
                  <a:gd name="T17" fmla="*/ 0 h 14"/>
                  <a:gd name="T18" fmla="*/ 4 w 13"/>
                  <a:gd name="T19" fmla="*/ 0 h 14"/>
                  <a:gd name="T20" fmla="*/ 0 w 13"/>
                  <a:gd name="T21" fmla="*/ 0 h 14"/>
                  <a:gd name="T22" fmla="*/ 0 w 13"/>
                  <a:gd name="T23" fmla="*/ 0 h 14"/>
                  <a:gd name="T24" fmla="*/ 2 w 13"/>
                  <a:gd name="T25" fmla="*/ 3 h 14"/>
                  <a:gd name="T26" fmla="*/ 4 w 13"/>
                  <a:gd name="T27" fmla="*/ 7 h 14"/>
                  <a:gd name="T28" fmla="*/ 4 w 13"/>
                  <a:gd name="T29" fmla="*/ 7 h 14"/>
                  <a:gd name="T30" fmla="*/ 7 w 13"/>
                  <a:gd name="T31" fmla="*/ 10 h 14"/>
                  <a:gd name="T32" fmla="*/ 7 w 13"/>
                  <a:gd name="T33" fmla="*/ 10 h 14"/>
                  <a:gd name="T34" fmla="*/ 9 w 13"/>
                  <a:gd name="T3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4">
                    <a:moveTo>
                      <a:pt x="9" y="14"/>
                    </a:moveTo>
                    <a:lnTo>
                      <a:pt x="9" y="14"/>
                    </a:lnTo>
                    <a:lnTo>
                      <a:pt x="11" y="14"/>
                    </a:lnTo>
                    <a:lnTo>
                      <a:pt x="13" y="12"/>
                    </a:lnTo>
                    <a:lnTo>
                      <a:pt x="13" y="7"/>
                    </a:lnTo>
                    <a:lnTo>
                      <a:pt x="13" y="7"/>
                    </a:lnTo>
                    <a:lnTo>
                      <a:pt x="9" y="3"/>
                    </a:lnTo>
                    <a:lnTo>
                      <a:pt x="5" y="0"/>
                    </a:lnTo>
                    <a:lnTo>
                      <a:pt x="5" y="0"/>
                    </a:lnTo>
                    <a:lnTo>
                      <a:pt x="4" y="0"/>
                    </a:lnTo>
                    <a:lnTo>
                      <a:pt x="0" y="0"/>
                    </a:lnTo>
                    <a:lnTo>
                      <a:pt x="0" y="0"/>
                    </a:lnTo>
                    <a:lnTo>
                      <a:pt x="2" y="3"/>
                    </a:lnTo>
                    <a:lnTo>
                      <a:pt x="4" y="7"/>
                    </a:lnTo>
                    <a:lnTo>
                      <a:pt x="4" y="7"/>
                    </a:lnTo>
                    <a:lnTo>
                      <a:pt x="7" y="10"/>
                    </a:lnTo>
                    <a:lnTo>
                      <a:pt x="7" y="10"/>
                    </a:lnTo>
                    <a:lnTo>
                      <a:pt x="9" y="1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44" name="Freeform 2495"/>
              <p:cNvSpPr>
                <a:spLocks/>
              </p:cNvSpPr>
              <p:nvPr/>
            </p:nvSpPr>
            <p:spPr bwMode="auto">
              <a:xfrm>
                <a:off x="4253" y="2690"/>
                <a:ext cx="13" cy="14"/>
              </a:xfrm>
              <a:custGeom>
                <a:avLst/>
                <a:gdLst>
                  <a:gd name="T0" fmla="*/ 9 w 13"/>
                  <a:gd name="T1" fmla="*/ 14 h 14"/>
                  <a:gd name="T2" fmla="*/ 9 w 13"/>
                  <a:gd name="T3" fmla="*/ 14 h 14"/>
                  <a:gd name="T4" fmla="*/ 11 w 13"/>
                  <a:gd name="T5" fmla="*/ 14 h 14"/>
                  <a:gd name="T6" fmla="*/ 13 w 13"/>
                  <a:gd name="T7" fmla="*/ 12 h 14"/>
                  <a:gd name="T8" fmla="*/ 13 w 13"/>
                  <a:gd name="T9" fmla="*/ 7 h 14"/>
                  <a:gd name="T10" fmla="*/ 13 w 13"/>
                  <a:gd name="T11" fmla="*/ 7 h 14"/>
                  <a:gd name="T12" fmla="*/ 9 w 13"/>
                  <a:gd name="T13" fmla="*/ 3 h 14"/>
                  <a:gd name="T14" fmla="*/ 5 w 13"/>
                  <a:gd name="T15" fmla="*/ 0 h 14"/>
                  <a:gd name="T16" fmla="*/ 5 w 13"/>
                  <a:gd name="T17" fmla="*/ 0 h 14"/>
                  <a:gd name="T18" fmla="*/ 4 w 13"/>
                  <a:gd name="T19" fmla="*/ 0 h 14"/>
                  <a:gd name="T20" fmla="*/ 0 w 13"/>
                  <a:gd name="T21" fmla="*/ 0 h 14"/>
                  <a:gd name="T22" fmla="*/ 0 w 13"/>
                  <a:gd name="T23" fmla="*/ 0 h 14"/>
                  <a:gd name="T24" fmla="*/ 2 w 13"/>
                  <a:gd name="T25" fmla="*/ 3 h 14"/>
                  <a:gd name="T26" fmla="*/ 4 w 13"/>
                  <a:gd name="T27" fmla="*/ 7 h 14"/>
                  <a:gd name="T28" fmla="*/ 4 w 13"/>
                  <a:gd name="T29" fmla="*/ 7 h 14"/>
                  <a:gd name="T30" fmla="*/ 7 w 13"/>
                  <a:gd name="T31" fmla="*/ 10 h 14"/>
                  <a:gd name="T32" fmla="*/ 7 w 13"/>
                  <a:gd name="T33" fmla="*/ 10 h 14"/>
                  <a:gd name="T34" fmla="*/ 9 w 13"/>
                  <a:gd name="T35"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4">
                    <a:moveTo>
                      <a:pt x="9" y="14"/>
                    </a:moveTo>
                    <a:lnTo>
                      <a:pt x="9" y="14"/>
                    </a:lnTo>
                    <a:lnTo>
                      <a:pt x="11" y="14"/>
                    </a:lnTo>
                    <a:lnTo>
                      <a:pt x="13" y="12"/>
                    </a:lnTo>
                    <a:lnTo>
                      <a:pt x="13" y="7"/>
                    </a:lnTo>
                    <a:lnTo>
                      <a:pt x="13" y="7"/>
                    </a:lnTo>
                    <a:lnTo>
                      <a:pt x="9" y="3"/>
                    </a:lnTo>
                    <a:lnTo>
                      <a:pt x="5" y="0"/>
                    </a:lnTo>
                    <a:lnTo>
                      <a:pt x="5" y="0"/>
                    </a:lnTo>
                    <a:lnTo>
                      <a:pt x="4" y="0"/>
                    </a:lnTo>
                    <a:lnTo>
                      <a:pt x="0" y="0"/>
                    </a:lnTo>
                    <a:lnTo>
                      <a:pt x="0" y="0"/>
                    </a:lnTo>
                    <a:lnTo>
                      <a:pt x="2" y="3"/>
                    </a:lnTo>
                    <a:lnTo>
                      <a:pt x="4" y="7"/>
                    </a:lnTo>
                    <a:lnTo>
                      <a:pt x="4" y="7"/>
                    </a:lnTo>
                    <a:lnTo>
                      <a:pt x="7" y="10"/>
                    </a:lnTo>
                    <a:lnTo>
                      <a:pt x="7" y="10"/>
                    </a:lnTo>
                    <a:lnTo>
                      <a:pt x="9" y="1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45" name="Freeform 2496"/>
              <p:cNvSpPr>
                <a:spLocks/>
              </p:cNvSpPr>
              <p:nvPr/>
            </p:nvSpPr>
            <p:spPr bwMode="auto">
              <a:xfrm>
                <a:off x="4253" y="2679"/>
                <a:ext cx="4" cy="2"/>
              </a:xfrm>
              <a:custGeom>
                <a:avLst/>
                <a:gdLst>
                  <a:gd name="T0" fmla="*/ 4 w 4"/>
                  <a:gd name="T1" fmla="*/ 2 h 2"/>
                  <a:gd name="T2" fmla="*/ 4 w 4"/>
                  <a:gd name="T3" fmla="*/ 2 h 2"/>
                  <a:gd name="T4" fmla="*/ 2 w 4"/>
                  <a:gd name="T5" fmla="*/ 0 h 2"/>
                  <a:gd name="T6" fmla="*/ 0 w 4"/>
                  <a:gd name="T7" fmla="*/ 0 h 2"/>
                  <a:gd name="T8" fmla="*/ 0 w 4"/>
                  <a:gd name="T9" fmla="*/ 0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2"/>
                    </a:lnTo>
                    <a:lnTo>
                      <a:pt x="2" y="0"/>
                    </a:lnTo>
                    <a:lnTo>
                      <a:pt x="0" y="0"/>
                    </a:lnTo>
                    <a:lnTo>
                      <a:pt x="0" y="0"/>
                    </a:lnTo>
                    <a:lnTo>
                      <a:pt x="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46" name="Freeform 2497"/>
              <p:cNvSpPr>
                <a:spLocks/>
              </p:cNvSpPr>
              <p:nvPr/>
            </p:nvSpPr>
            <p:spPr bwMode="auto">
              <a:xfrm>
                <a:off x="4253" y="2679"/>
                <a:ext cx="4" cy="2"/>
              </a:xfrm>
              <a:custGeom>
                <a:avLst/>
                <a:gdLst>
                  <a:gd name="T0" fmla="*/ 4 w 4"/>
                  <a:gd name="T1" fmla="*/ 2 h 2"/>
                  <a:gd name="T2" fmla="*/ 4 w 4"/>
                  <a:gd name="T3" fmla="*/ 2 h 2"/>
                  <a:gd name="T4" fmla="*/ 2 w 4"/>
                  <a:gd name="T5" fmla="*/ 0 h 2"/>
                  <a:gd name="T6" fmla="*/ 0 w 4"/>
                  <a:gd name="T7" fmla="*/ 0 h 2"/>
                  <a:gd name="T8" fmla="*/ 0 w 4"/>
                  <a:gd name="T9" fmla="*/ 0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2"/>
                    </a:lnTo>
                    <a:lnTo>
                      <a:pt x="2" y="0"/>
                    </a:lnTo>
                    <a:lnTo>
                      <a:pt x="0" y="0"/>
                    </a:lnTo>
                    <a:lnTo>
                      <a:pt x="0" y="0"/>
                    </a:lnTo>
                    <a:lnTo>
                      <a:pt x="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47" name="Freeform 2498"/>
              <p:cNvSpPr>
                <a:spLocks/>
              </p:cNvSpPr>
              <p:nvPr/>
            </p:nvSpPr>
            <p:spPr bwMode="auto">
              <a:xfrm>
                <a:off x="4273" y="2718"/>
                <a:ext cx="3" cy="6"/>
              </a:xfrm>
              <a:custGeom>
                <a:avLst/>
                <a:gdLst>
                  <a:gd name="T0" fmla="*/ 3 w 3"/>
                  <a:gd name="T1" fmla="*/ 4 h 6"/>
                  <a:gd name="T2" fmla="*/ 3 w 3"/>
                  <a:gd name="T3" fmla="*/ 4 h 6"/>
                  <a:gd name="T4" fmla="*/ 3 w 3"/>
                  <a:gd name="T5" fmla="*/ 2 h 6"/>
                  <a:gd name="T6" fmla="*/ 1 w 3"/>
                  <a:gd name="T7" fmla="*/ 0 h 6"/>
                  <a:gd name="T8" fmla="*/ 1 w 3"/>
                  <a:gd name="T9" fmla="*/ 0 h 6"/>
                  <a:gd name="T10" fmla="*/ 0 w 3"/>
                  <a:gd name="T11" fmla="*/ 4 h 6"/>
                  <a:gd name="T12" fmla="*/ 0 w 3"/>
                  <a:gd name="T13" fmla="*/ 4 h 6"/>
                  <a:gd name="T14" fmla="*/ 0 w 3"/>
                  <a:gd name="T15" fmla="*/ 4 h 6"/>
                  <a:gd name="T16" fmla="*/ 1 w 3"/>
                  <a:gd name="T17" fmla="*/ 6 h 6"/>
                  <a:gd name="T18" fmla="*/ 3 w 3"/>
                  <a:gd name="T19" fmla="*/ 4 h 6"/>
                  <a:gd name="T20" fmla="*/ 3 w 3"/>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3" y="4"/>
                    </a:moveTo>
                    <a:lnTo>
                      <a:pt x="3" y="4"/>
                    </a:lnTo>
                    <a:lnTo>
                      <a:pt x="3" y="2"/>
                    </a:lnTo>
                    <a:lnTo>
                      <a:pt x="1" y="0"/>
                    </a:lnTo>
                    <a:lnTo>
                      <a:pt x="1" y="0"/>
                    </a:lnTo>
                    <a:lnTo>
                      <a:pt x="0" y="4"/>
                    </a:lnTo>
                    <a:lnTo>
                      <a:pt x="0" y="4"/>
                    </a:lnTo>
                    <a:lnTo>
                      <a:pt x="0" y="4"/>
                    </a:lnTo>
                    <a:lnTo>
                      <a:pt x="1" y="6"/>
                    </a:lnTo>
                    <a:lnTo>
                      <a:pt x="3" y="4"/>
                    </a:lnTo>
                    <a:lnTo>
                      <a:pt x="3"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48" name="Freeform 2499"/>
              <p:cNvSpPr>
                <a:spLocks/>
              </p:cNvSpPr>
              <p:nvPr/>
            </p:nvSpPr>
            <p:spPr bwMode="auto">
              <a:xfrm>
                <a:off x="4273" y="2718"/>
                <a:ext cx="3" cy="6"/>
              </a:xfrm>
              <a:custGeom>
                <a:avLst/>
                <a:gdLst>
                  <a:gd name="T0" fmla="*/ 3 w 3"/>
                  <a:gd name="T1" fmla="*/ 4 h 6"/>
                  <a:gd name="T2" fmla="*/ 3 w 3"/>
                  <a:gd name="T3" fmla="*/ 4 h 6"/>
                  <a:gd name="T4" fmla="*/ 3 w 3"/>
                  <a:gd name="T5" fmla="*/ 2 h 6"/>
                  <a:gd name="T6" fmla="*/ 1 w 3"/>
                  <a:gd name="T7" fmla="*/ 0 h 6"/>
                  <a:gd name="T8" fmla="*/ 1 w 3"/>
                  <a:gd name="T9" fmla="*/ 0 h 6"/>
                  <a:gd name="T10" fmla="*/ 0 w 3"/>
                  <a:gd name="T11" fmla="*/ 4 h 6"/>
                  <a:gd name="T12" fmla="*/ 0 w 3"/>
                  <a:gd name="T13" fmla="*/ 4 h 6"/>
                  <a:gd name="T14" fmla="*/ 0 w 3"/>
                  <a:gd name="T15" fmla="*/ 4 h 6"/>
                  <a:gd name="T16" fmla="*/ 1 w 3"/>
                  <a:gd name="T17" fmla="*/ 6 h 6"/>
                  <a:gd name="T18" fmla="*/ 3 w 3"/>
                  <a:gd name="T19" fmla="*/ 4 h 6"/>
                  <a:gd name="T20" fmla="*/ 3 w 3"/>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3" y="4"/>
                    </a:moveTo>
                    <a:lnTo>
                      <a:pt x="3" y="4"/>
                    </a:lnTo>
                    <a:lnTo>
                      <a:pt x="3" y="2"/>
                    </a:lnTo>
                    <a:lnTo>
                      <a:pt x="1" y="0"/>
                    </a:lnTo>
                    <a:lnTo>
                      <a:pt x="1" y="0"/>
                    </a:lnTo>
                    <a:lnTo>
                      <a:pt x="0" y="4"/>
                    </a:lnTo>
                    <a:lnTo>
                      <a:pt x="0" y="4"/>
                    </a:lnTo>
                    <a:lnTo>
                      <a:pt x="0" y="4"/>
                    </a:lnTo>
                    <a:lnTo>
                      <a:pt x="1" y="6"/>
                    </a:lnTo>
                    <a:lnTo>
                      <a:pt x="3" y="4"/>
                    </a:lnTo>
                    <a:lnTo>
                      <a:pt x="3"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49" name="Freeform 2500"/>
              <p:cNvSpPr>
                <a:spLocks/>
              </p:cNvSpPr>
              <p:nvPr/>
            </p:nvSpPr>
            <p:spPr bwMode="auto">
              <a:xfrm>
                <a:off x="4273" y="2713"/>
                <a:ext cx="3" cy="5"/>
              </a:xfrm>
              <a:custGeom>
                <a:avLst/>
                <a:gdLst>
                  <a:gd name="T0" fmla="*/ 0 w 3"/>
                  <a:gd name="T1" fmla="*/ 0 h 5"/>
                  <a:gd name="T2" fmla="*/ 0 w 3"/>
                  <a:gd name="T3" fmla="*/ 0 h 5"/>
                  <a:gd name="T4" fmla="*/ 3 w 3"/>
                  <a:gd name="T5" fmla="*/ 5 h 5"/>
                  <a:gd name="T6" fmla="*/ 3 w 3"/>
                  <a:gd name="T7" fmla="*/ 5 h 5"/>
                  <a:gd name="T8" fmla="*/ 3 w 3"/>
                  <a:gd name="T9" fmla="*/ 2 h 5"/>
                  <a:gd name="T10" fmla="*/ 1 w 3"/>
                  <a:gd name="T11" fmla="*/ 2 h 5"/>
                  <a:gd name="T12" fmla="*/ 0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0"/>
                    </a:moveTo>
                    <a:lnTo>
                      <a:pt x="0" y="0"/>
                    </a:lnTo>
                    <a:lnTo>
                      <a:pt x="3" y="5"/>
                    </a:lnTo>
                    <a:lnTo>
                      <a:pt x="3" y="5"/>
                    </a:lnTo>
                    <a:lnTo>
                      <a:pt x="3" y="2"/>
                    </a:lnTo>
                    <a:lnTo>
                      <a:pt x="1"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50" name="Freeform 2501"/>
              <p:cNvSpPr>
                <a:spLocks/>
              </p:cNvSpPr>
              <p:nvPr/>
            </p:nvSpPr>
            <p:spPr bwMode="auto">
              <a:xfrm>
                <a:off x="4273" y="2713"/>
                <a:ext cx="3" cy="5"/>
              </a:xfrm>
              <a:custGeom>
                <a:avLst/>
                <a:gdLst>
                  <a:gd name="T0" fmla="*/ 0 w 3"/>
                  <a:gd name="T1" fmla="*/ 0 h 5"/>
                  <a:gd name="T2" fmla="*/ 0 w 3"/>
                  <a:gd name="T3" fmla="*/ 0 h 5"/>
                  <a:gd name="T4" fmla="*/ 3 w 3"/>
                  <a:gd name="T5" fmla="*/ 5 h 5"/>
                  <a:gd name="T6" fmla="*/ 3 w 3"/>
                  <a:gd name="T7" fmla="*/ 5 h 5"/>
                  <a:gd name="T8" fmla="*/ 3 w 3"/>
                  <a:gd name="T9" fmla="*/ 2 h 5"/>
                  <a:gd name="T10" fmla="*/ 1 w 3"/>
                  <a:gd name="T11" fmla="*/ 2 h 5"/>
                  <a:gd name="T12" fmla="*/ 0 w 3"/>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0" y="0"/>
                    </a:moveTo>
                    <a:lnTo>
                      <a:pt x="0" y="0"/>
                    </a:lnTo>
                    <a:lnTo>
                      <a:pt x="3" y="5"/>
                    </a:lnTo>
                    <a:lnTo>
                      <a:pt x="3" y="5"/>
                    </a:lnTo>
                    <a:lnTo>
                      <a:pt x="3" y="2"/>
                    </a:lnTo>
                    <a:lnTo>
                      <a:pt x="1"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51" name="Freeform 2502"/>
              <p:cNvSpPr>
                <a:spLocks/>
              </p:cNvSpPr>
              <p:nvPr/>
            </p:nvSpPr>
            <p:spPr bwMode="auto">
              <a:xfrm>
                <a:off x="4276" y="2711"/>
                <a:ext cx="4" cy="0"/>
              </a:xfrm>
              <a:custGeom>
                <a:avLst/>
                <a:gdLst>
                  <a:gd name="T0" fmla="*/ 4 w 4"/>
                  <a:gd name="T1" fmla="*/ 4 w 4"/>
                  <a:gd name="T2" fmla="*/ 2 w 4"/>
                  <a:gd name="T3" fmla="*/ 0 w 4"/>
                  <a:gd name="T4" fmla="*/ 0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2" y="0"/>
                    </a:lnTo>
                    <a:lnTo>
                      <a:pt x="0" y="0"/>
                    </a:lnTo>
                    <a:lnTo>
                      <a:pt x="0" y="0"/>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52" name="Freeform 2503"/>
              <p:cNvSpPr>
                <a:spLocks/>
              </p:cNvSpPr>
              <p:nvPr/>
            </p:nvSpPr>
            <p:spPr bwMode="auto">
              <a:xfrm>
                <a:off x="4276" y="2711"/>
                <a:ext cx="4" cy="0"/>
              </a:xfrm>
              <a:custGeom>
                <a:avLst/>
                <a:gdLst>
                  <a:gd name="T0" fmla="*/ 4 w 4"/>
                  <a:gd name="T1" fmla="*/ 4 w 4"/>
                  <a:gd name="T2" fmla="*/ 2 w 4"/>
                  <a:gd name="T3" fmla="*/ 0 w 4"/>
                  <a:gd name="T4" fmla="*/ 0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2" y="0"/>
                    </a:lnTo>
                    <a:lnTo>
                      <a:pt x="0" y="0"/>
                    </a:lnTo>
                    <a:lnTo>
                      <a:pt x="0" y="0"/>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53" name="Freeform 2504"/>
              <p:cNvSpPr>
                <a:spLocks/>
              </p:cNvSpPr>
              <p:nvPr/>
            </p:nvSpPr>
            <p:spPr bwMode="auto">
              <a:xfrm>
                <a:off x="4278" y="2729"/>
                <a:ext cx="9" cy="12"/>
              </a:xfrm>
              <a:custGeom>
                <a:avLst/>
                <a:gdLst>
                  <a:gd name="T0" fmla="*/ 7 w 9"/>
                  <a:gd name="T1" fmla="*/ 12 h 12"/>
                  <a:gd name="T2" fmla="*/ 7 w 9"/>
                  <a:gd name="T3" fmla="*/ 12 h 12"/>
                  <a:gd name="T4" fmla="*/ 9 w 9"/>
                  <a:gd name="T5" fmla="*/ 12 h 12"/>
                  <a:gd name="T6" fmla="*/ 9 w 9"/>
                  <a:gd name="T7" fmla="*/ 11 h 12"/>
                  <a:gd name="T8" fmla="*/ 7 w 9"/>
                  <a:gd name="T9" fmla="*/ 7 h 12"/>
                  <a:gd name="T10" fmla="*/ 4 w 9"/>
                  <a:gd name="T11" fmla="*/ 0 h 12"/>
                  <a:gd name="T12" fmla="*/ 4 w 9"/>
                  <a:gd name="T13" fmla="*/ 0 h 12"/>
                  <a:gd name="T14" fmla="*/ 0 w 9"/>
                  <a:gd name="T15" fmla="*/ 0 h 12"/>
                  <a:gd name="T16" fmla="*/ 0 w 9"/>
                  <a:gd name="T17" fmla="*/ 0 h 12"/>
                  <a:gd name="T18" fmla="*/ 0 w 9"/>
                  <a:gd name="T19" fmla="*/ 3 h 12"/>
                  <a:gd name="T20" fmla="*/ 0 w 9"/>
                  <a:gd name="T21" fmla="*/ 5 h 12"/>
                  <a:gd name="T22" fmla="*/ 0 w 9"/>
                  <a:gd name="T23" fmla="*/ 5 h 12"/>
                  <a:gd name="T24" fmla="*/ 4 w 9"/>
                  <a:gd name="T25" fmla="*/ 11 h 12"/>
                  <a:gd name="T26" fmla="*/ 5 w 9"/>
                  <a:gd name="T27" fmla="*/ 12 h 12"/>
                  <a:gd name="T28" fmla="*/ 7 w 9"/>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2">
                    <a:moveTo>
                      <a:pt x="7" y="12"/>
                    </a:moveTo>
                    <a:lnTo>
                      <a:pt x="7" y="12"/>
                    </a:lnTo>
                    <a:lnTo>
                      <a:pt x="9" y="12"/>
                    </a:lnTo>
                    <a:lnTo>
                      <a:pt x="9" y="11"/>
                    </a:lnTo>
                    <a:lnTo>
                      <a:pt x="7" y="7"/>
                    </a:lnTo>
                    <a:lnTo>
                      <a:pt x="4" y="0"/>
                    </a:lnTo>
                    <a:lnTo>
                      <a:pt x="4" y="0"/>
                    </a:lnTo>
                    <a:lnTo>
                      <a:pt x="0" y="0"/>
                    </a:lnTo>
                    <a:lnTo>
                      <a:pt x="0" y="0"/>
                    </a:lnTo>
                    <a:lnTo>
                      <a:pt x="0" y="3"/>
                    </a:lnTo>
                    <a:lnTo>
                      <a:pt x="0" y="5"/>
                    </a:lnTo>
                    <a:lnTo>
                      <a:pt x="0" y="5"/>
                    </a:lnTo>
                    <a:lnTo>
                      <a:pt x="4" y="11"/>
                    </a:lnTo>
                    <a:lnTo>
                      <a:pt x="5" y="12"/>
                    </a:lnTo>
                    <a:lnTo>
                      <a:pt x="7" y="1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54" name="Freeform 2505"/>
              <p:cNvSpPr>
                <a:spLocks/>
              </p:cNvSpPr>
              <p:nvPr/>
            </p:nvSpPr>
            <p:spPr bwMode="auto">
              <a:xfrm>
                <a:off x="4278" y="2729"/>
                <a:ext cx="9" cy="12"/>
              </a:xfrm>
              <a:custGeom>
                <a:avLst/>
                <a:gdLst>
                  <a:gd name="T0" fmla="*/ 7 w 9"/>
                  <a:gd name="T1" fmla="*/ 12 h 12"/>
                  <a:gd name="T2" fmla="*/ 7 w 9"/>
                  <a:gd name="T3" fmla="*/ 12 h 12"/>
                  <a:gd name="T4" fmla="*/ 9 w 9"/>
                  <a:gd name="T5" fmla="*/ 12 h 12"/>
                  <a:gd name="T6" fmla="*/ 9 w 9"/>
                  <a:gd name="T7" fmla="*/ 11 h 12"/>
                  <a:gd name="T8" fmla="*/ 7 w 9"/>
                  <a:gd name="T9" fmla="*/ 7 h 12"/>
                  <a:gd name="T10" fmla="*/ 4 w 9"/>
                  <a:gd name="T11" fmla="*/ 0 h 12"/>
                  <a:gd name="T12" fmla="*/ 4 w 9"/>
                  <a:gd name="T13" fmla="*/ 0 h 12"/>
                  <a:gd name="T14" fmla="*/ 0 w 9"/>
                  <a:gd name="T15" fmla="*/ 0 h 12"/>
                  <a:gd name="T16" fmla="*/ 0 w 9"/>
                  <a:gd name="T17" fmla="*/ 0 h 12"/>
                  <a:gd name="T18" fmla="*/ 0 w 9"/>
                  <a:gd name="T19" fmla="*/ 3 h 12"/>
                  <a:gd name="T20" fmla="*/ 0 w 9"/>
                  <a:gd name="T21" fmla="*/ 5 h 12"/>
                  <a:gd name="T22" fmla="*/ 0 w 9"/>
                  <a:gd name="T23" fmla="*/ 5 h 12"/>
                  <a:gd name="T24" fmla="*/ 4 w 9"/>
                  <a:gd name="T25" fmla="*/ 11 h 12"/>
                  <a:gd name="T26" fmla="*/ 5 w 9"/>
                  <a:gd name="T27" fmla="*/ 12 h 12"/>
                  <a:gd name="T28" fmla="*/ 7 w 9"/>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2">
                    <a:moveTo>
                      <a:pt x="7" y="12"/>
                    </a:moveTo>
                    <a:lnTo>
                      <a:pt x="7" y="12"/>
                    </a:lnTo>
                    <a:lnTo>
                      <a:pt x="9" y="12"/>
                    </a:lnTo>
                    <a:lnTo>
                      <a:pt x="9" y="11"/>
                    </a:lnTo>
                    <a:lnTo>
                      <a:pt x="7" y="7"/>
                    </a:lnTo>
                    <a:lnTo>
                      <a:pt x="4" y="0"/>
                    </a:lnTo>
                    <a:lnTo>
                      <a:pt x="4" y="0"/>
                    </a:lnTo>
                    <a:lnTo>
                      <a:pt x="0" y="0"/>
                    </a:lnTo>
                    <a:lnTo>
                      <a:pt x="0" y="0"/>
                    </a:lnTo>
                    <a:lnTo>
                      <a:pt x="0" y="3"/>
                    </a:lnTo>
                    <a:lnTo>
                      <a:pt x="0" y="5"/>
                    </a:lnTo>
                    <a:lnTo>
                      <a:pt x="0" y="5"/>
                    </a:lnTo>
                    <a:lnTo>
                      <a:pt x="4" y="11"/>
                    </a:lnTo>
                    <a:lnTo>
                      <a:pt x="5" y="12"/>
                    </a:lnTo>
                    <a:lnTo>
                      <a:pt x="7" y="1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55" name="Freeform 2506"/>
              <p:cNvSpPr>
                <a:spLocks/>
              </p:cNvSpPr>
              <p:nvPr/>
            </p:nvSpPr>
            <p:spPr bwMode="auto">
              <a:xfrm>
                <a:off x="4292" y="2747"/>
                <a:ext cx="6" cy="5"/>
              </a:xfrm>
              <a:custGeom>
                <a:avLst/>
                <a:gdLst>
                  <a:gd name="T0" fmla="*/ 6 w 6"/>
                  <a:gd name="T1" fmla="*/ 5 h 5"/>
                  <a:gd name="T2" fmla="*/ 6 w 6"/>
                  <a:gd name="T3" fmla="*/ 5 h 5"/>
                  <a:gd name="T4" fmla="*/ 4 w 6"/>
                  <a:gd name="T5" fmla="*/ 2 h 5"/>
                  <a:gd name="T6" fmla="*/ 2 w 6"/>
                  <a:gd name="T7" fmla="*/ 0 h 5"/>
                  <a:gd name="T8" fmla="*/ 0 w 6"/>
                  <a:gd name="T9" fmla="*/ 0 h 5"/>
                  <a:gd name="T10" fmla="*/ 0 w 6"/>
                  <a:gd name="T11" fmla="*/ 0 h 5"/>
                  <a:gd name="T12" fmla="*/ 0 w 6"/>
                  <a:gd name="T13" fmla="*/ 2 h 5"/>
                  <a:gd name="T14" fmla="*/ 2 w 6"/>
                  <a:gd name="T15" fmla="*/ 2 h 5"/>
                  <a:gd name="T16" fmla="*/ 6 w 6"/>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5">
                    <a:moveTo>
                      <a:pt x="6" y="5"/>
                    </a:moveTo>
                    <a:lnTo>
                      <a:pt x="6" y="5"/>
                    </a:lnTo>
                    <a:lnTo>
                      <a:pt x="4" y="2"/>
                    </a:lnTo>
                    <a:lnTo>
                      <a:pt x="2" y="0"/>
                    </a:lnTo>
                    <a:lnTo>
                      <a:pt x="0" y="0"/>
                    </a:lnTo>
                    <a:lnTo>
                      <a:pt x="0" y="0"/>
                    </a:lnTo>
                    <a:lnTo>
                      <a:pt x="0" y="2"/>
                    </a:lnTo>
                    <a:lnTo>
                      <a:pt x="2" y="2"/>
                    </a:lnTo>
                    <a:lnTo>
                      <a:pt x="6"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56" name="Freeform 2507"/>
              <p:cNvSpPr>
                <a:spLocks/>
              </p:cNvSpPr>
              <p:nvPr/>
            </p:nvSpPr>
            <p:spPr bwMode="auto">
              <a:xfrm>
                <a:off x="4292" y="2747"/>
                <a:ext cx="6" cy="5"/>
              </a:xfrm>
              <a:custGeom>
                <a:avLst/>
                <a:gdLst>
                  <a:gd name="T0" fmla="*/ 6 w 6"/>
                  <a:gd name="T1" fmla="*/ 5 h 5"/>
                  <a:gd name="T2" fmla="*/ 6 w 6"/>
                  <a:gd name="T3" fmla="*/ 5 h 5"/>
                  <a:gd name="T4" fmla="*/ 4 w 6"/>
                  <a:gd name="T5" fmla="*/ 2 h 5"/>
                  <a:gd name="T6" fmla="*/ 2 w 6"/>
                  <a:gd name="T7" fmla="*/ 0 h 5"/>
                  <a:gd name="T8" fmla="*/ 0 w 6"/>
                  <a:gd name="T9" fmla="*/ 0 h 5"/>
                  <a:gd name="T10" fmla="*/ 0 w 6"/>
                  <a:gd name="T11" fmla="*/ 0 h 5"/>
                  <a:gd name="T12" fmla="*/ 0 w 6"/>
                  <a:gd name="T13" fmla="*/ 2 h 5"/>
                  <a:gd name="T14" fmla="*/ 2 w 6"/>
                  <a:gd name="T15" fmla="*/ 2 h 5"/>
                  <a:gd name="T16" fmla="*/ 6 w 6"/>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5">
                    <a:moveTo>
                      <a:pt x="6" y="5"/>
                    </a:moveTo>
                    <a:lnTo>
                      <a:pt x="6" y="5"/>
                    </a:lnTo>
                    <a:lnTo>
                      <a:pt x="4" y="2"/>
                    </a:lnTo>
                    <a:lnTo>
                      <a:pt x="2" y="0"/>
                    </a:lnTo>
                    <a:lnTo>
                      <a:pt x="0" y="0"/>
                    </a:lnTo>
                    <a:lnTo>
                      <a:pt x="0" y="0"/>
                    </a:lnTo>
                    <a:lnTo>
                      <a:pt x="0" y="2"/>
                    </a:lnTo>
                    <a:lnTo>
                      <a:pt x="2" y="2"/>
                    </a:lnTo>
                    <a:lnTo>
                      <a:pt x="6"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57" name="Freeform 2508"/>
              <p:cNvSpPr>
                <a:spLocks/>
              </p:cNvSpPr>
              <p:nvPr/>
            </p:nvSpPr>
            <p:spPr bwMode="auto">
              <a:xfrm>
                <a:off x="4299" y="2754"/>
                <a:ext cx="4" cy="5"/>
              </a:xfrm>
              <a:custGeom>
                <a:avLst/>
                <a:gdLst>
                  <a:gd name="T0" fmla="*/ 0 w 4"/>
                  <a:gd name="T1" fmla="*/ 3 h 5"/>
                  <a:gd name="T2" fmla="*/ 0 w 4"/>
                  <a:gd name="T3" fmla="*/ 3 h 5"/>
                  <a:gd name="T4" fmla="*/ 2 w 4"/>
                  <a:gd name="T5" fmla="*/ 5 h 5"/>
                  <a:gd name="T6" fmla="*/ 4 w 4"/>
                  <a:gd name="T7" fmla="*/ 3 h 5"/>
                  <a:gd name="T8" fmla="*/ 4 w 4"/>
                  <a:gd name="T9" fmla="*/ 3 h 5"/>
                  <a:gd name="T10" fmla="*/ 2 w 4"/>
                  <a:gd name="T11" fmla="*/ 2 h 5"/>
                  <a:gd name="T12" fmla="*/ 0 w 4"/>
                  <a:gd name="T13" fmla="*/ 0 h 5"/>
                  <a:gd name="T14" fmla="*/ 0 w 4"/>
                  <a:gd name="T15" fmla="*/ 0 h 5"/>
                  <a:gd name="T16" fmla="*/ 0 w 4"/>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0" y="3"/>
                    </a:moveTo>
                    <a:lnTo>
                      <a:pt x="0" y="3"/>
                    </a:lnTo>
                    <a:lnTo>
                      <a:pt x="2" y="5"/>
                    </a:lnTo>
                    <a:lnTo>
                      <a:pt x="4" y="3"/>
                    </a:lnTo>
                    <a:lnTo>
                      <a:pt x="4" y="3"/>
                    </a:lnTo>
                    <a:lnTo>
                      <a:pt x="2" y="2"/>
                    </a:lnTo>
                    <a:lnTo>
                      <a:pt x="0" y="0"/>
                    </a:lnTo>
                    <a:lnTo>
                      <a:pt x="0" y="0"/>
                    </a:lnTo>
                    <a:lnTo>
                      <a:pt x="0"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58" name="Freeform 2509"/>
              <p:cNvSpPr>
                <a:spLocks/>
              </p:cNvSpPr>
              <p:nvPr/>
            </p:nvSpPr>
            <p:spPr bwMode="auto">
              <a:xfrm>
                <a:off x="4299" y="2754"/>
                <a:ext cx="4" cy="5"/>
              </a:xfrm>
              <a:custGeom>
                <a:avLst/>
                <a:gdLst>
                  <a:gd name="T0" fmla="*/ 0 w 4"/>
                  <a:gd name="T1" fmla="*/ 3 h 5"/>
                  <a:gd name="T2" fmla="*/ 0 w 4"/>
                  <a:gd name="T3" fmla="*/ 3 h 5"/>
                  <a:gd name="T4" fmla="*/ 2 w 4"/>
                  <a:gd name="T5" fmla="*/ 5 h 5"/>
                  <a:gd name="T6" fmla="*/ 4 w 4"/>
                  <a:gd name="T7" fmla="*/ 3 h 5"/>
                  <a:gd name="T8" fmla="*/ 4 w 4"/>
                  <a:gd name="T9" fmla="*/ 3 h 5"/>
                  <a:gd name="T10" fmla="*/ 2 w 4"/>
                  <a:gd name="T11" fmla="*/ 2 h 5"/>
                  <a:gd name="T12" fmla="*/ 0 w 4"/>
                  <a:gd name="T13" fmla="*/ 0 h 5"/>
                  <a:gd name="T14" fmla="*/ 0 w 4"/>
                  <a:gd name="T15" fmla="*/ 0 h 5"/>
                  <a:gd name="T16" fmla="*/ 0 w 4"/>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0" y="3"/>
                    </a:moveTo>
                    <a:lnTo>
                      <a:pt x="0" y="3"/>
                    </a:lnTo>
                    <a:lnTo>
                      <a:pt x="2" y="5"/>
                    </a:lnTo>
                    <a:lnTo>
                      <a:pt x="4" y="3"/>
                    </a:lnTo>
                    <a:lnTo>
                      <a:pt x="4" y="3"/>
                    </a:lnTo>
                    <a:lnTo>
                      <a:pt x="2" y="2"/>
                    </a:lnTo>
                    <a:lnTo>
                      <a:pt x="0" y="0"/>
                    </a:lnTo>
                    <a:lnTo>
                      <a:pt x="0" y="0"/>
                    </a:lnTo>
                    <a:lnTo>
                      <a:pt x="0"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59" name="Freeform 2510"/>
              <p:cNvSpPr>
                <a:spLocks/>
              </p:cNvSpPr>
              <p:nvPr/>
            </p:nvSpPr>
            <p:spPr bwMode="auto">
              <a:xfrm>
                <a:off x="4303" y="2759"/>
                <a:ext cx="4" cy="7"/>
              </a:xfrm>
              <a:custGeom>
                <a:avLst/>
                <a:gdLst>
                  <a:gd name="T0" fmla="*/ 4 w 4"/>
                  <a:gd name="T1" fmla="*/ 7 h 7"/>
                  <a:gd name="T2" fmla="*/ 4 w 4"/>
                  <a:gd name="T3" fmla="*/ 7 h 7"/>
                  <a:gd name="T4" fmla="*/ 4 w 4"/>
                  <a:gd name="T5" fmla="*/ 6 h 7"/>
                  <a:gd name="T6" fmla="*/ 4 w 4"/>
                  <a:gd name="T7" fmla="*/ 6 h 7"/>
                  <a:gd name="T8" fmla="*/ 4 w 4"/>
                  <a:gd name="T9" fmla="*/ 4 h 7"/>
                  <a:gd name="T10" fmla="*/ 4 w 4"/>
                  <a:gd name="T11" fmla="*/ 2 h 7"/>
                  <a:gd name="T12" fmla="*/ 4 w 4"/>
                  <a:gd name="T13" fmla="*/ 2 h 7"/>
                  <a:gd name="T14" fmla="*/ 2 w 4"/>
                  <a:gd name="T15" fmla="*/ 0 h 7"/>
                  <a:gd name="T16" fmla="*/ 0 w 4"/>
                  <a:gd name="T17" fmla="*/ 0 h 7"/>
                  <a:gd name="T18" fmla="*/ 0 w 4"/>
                  <a:gd name="T19" fmla="*/ 0 h 7"/>
                  <a:gd name="T20" fmla="*/ 0 w 4"/>
                  <a:gd name="T21" fmla="*/ 0 h 7"/>
                  <a:gd name="T22" fmla="*/ 0 w 4"/>
                  <a:gd name="T23" fmla="*/ 4 h 7"/>
                  <a:gd name="T24" fmla="*/ 4 w 4"/>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4" y="7"/>
                    </a:moveTo>
                    <a:lnTo>
                      <a:pt x="4" y="7"/>
                    </a:lnTo>
                    <a:lnTo>
                      <a:pt x="4" y="6"/>
                    </a:lnTo>
                    <a:lnTo>
                      <a:pt x="4" y="6"/>
                    </a:lnTo>
                    <a:lnTo>
                      <a:pt x="4" y="4"/>
                    </a:lnTo>
                    <a:lnTo>
                      <a:pt x="4" y="2"/>
                    </a:lnTo>
                    <a:lnTo>
                      <a:pt x="4" y="2"/>
                    </a:lnTo>
                    <a:lnTo>
                      <a:pt x="2" y="0"/>
                    </a:lnTo>
                    <a:lnTo>
                      <a:pt x="0" y="0"/>
                    </a:lnTo>
                    <a:lnTo>
                      <a:pt x="0" y="0"/>
                    </a:lnTo>
                    <a:lnTo>
                      <a:pt x="0" y="0"/>
                    </a:lnTo>
                    <a:lnTo>
                      <a:pt x="0" y="4"/>
                    </a:lnTo>
                    <a:lnTo>
                      <a:pt x="4"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60" name="Freeform 2511"/>
              <p:cNvSpPr>
                <a:spLocks/>
              </p:cNvSpPr>
              <p:nvPr/>
            </p:nvSpPr>
            <p:spPr bwMode="auto">
              <a:xfrm>
                <a:off x="4303" y="2759"/>
                <a:ext cx="4" cy="7"/>
              </a:xfrm>
              <a:custGeom>
                <a:avLst/>
                <a:gdLst>
                  <a:gd name="T0" fmla="*/ 4 w 4"/>
                  <a:gd name="T1" fmla="*/ 7 h 7"/>
                  <a:gd name="T2" fmla="*/ 4 w 4"/>
                  <a:gd name="T3" fmla="*/ 7 h 7"/>
                  <a:gd name="T4" fmla="*/ 4 w 4"/>
                  <a:gd name="T5" fmla="*/ 6 h 7"/>
                  <a:gd name="T6" fmla="*/ 4 w 4"/>
                  <a:gd name="T7" fmla="*/ 6 h 7"/>
                  <a:gd name="T8" fmla="*/ 4 w 4"/>
                  <a:gd name="T9" fmla="*/ 4 h 7"/>
                  <a:gd name="T10" fmla="*/ 4 w 4"/>
                  <a:gd name="T11" fmla="*/ 2 h 7"/>
                  <a:gd name="T12" fmla="*/ 4 w 4"/>
                  <a:gd name="T13" fmla="*/ 2 h 7"/>
                  <a:gd name="T14" fmla="*/ 2 w 4"/>
                  <a:gd name="T15" fmla="*/ 0 h 7"/>
                  <a:gd name="T16" fmla="*/ 0 w 4"/>
                  <a:gd name="T17" fmla="*/ 0 h 7"/>
                  <a:gd name="T18" fmla="*/ 0 w 4"/>
                  <a:gd name="T19" fmla="*/ 0 h 7"/>
                  <a:gd name="T20" fmla="*/ 0 w 4"/>
                  <a:gd name="T21" fmla="*/ 0 h 7"/>
                  <a:gd name="T22" fmla="*/ 0 w 4"/>
                  <a:gd name="T23" fmla="*/ 4 h 7"/>
                  <a:gd name="T24" fmla="*/ 4 w 4"/>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4" y="7"/>
                    </a:moveTo>
                    <a:lnTo>
                      <a:pt x="4" y="7"/>
                    </a:lnTo>
                    <a:lnTo>
                      <a:pt x="4" y="6"/>
                    </a:lnTo>
                    <a:lnTo>
                      <a:pt x="4" y="6"/>
                    </a:lnTo>
                    <a:lnTo>
                      <a:pt x="4" y="4"/>
                    </a:lnTo>
                    <a:lnTo>
                      <a:pt x="4" y="2"/>
                    </a:lnTo>
                    <a:lnTo>
                      <a:pt x="4" y="2"/>
                    </a:lnTo>
                    <a:lnTo>
                      <a:pt x="2" y="0"/>
                    </a:lnTo>
                    <a:lnTo>
                      <a:pt x="0" y="0"/>
                    </a:lnTo>
                    <a:lnTo>
                      <a:pt x="0" y="0"/>
                    </a:lnTo>
                    <a:lnTo>
                      <a:pt x="0" y="0"/>
                    </a:lnTo>
                    <a:lnTo>
                      <a:pt x="0" y="4"/>
                    </a:lnTo>
                    <a:lnTo>
                      <a:pt x="4"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61" name="Freeform 2512"/>
              <p:cNvSpPr>
                <a:spLocks/>
              </p:cNvSpPr>
              <p:nvPr/>
            </p:nvSpPr>
            <p:spPr bwMode="auto">
              <a:xfrm>
                <a:off x="4323" y="2679"/>
                <a:ext cx="5" cy="7"/>
              </a:xfrm>
              <a:custGeom>
                <a:avLst/>
                <a:gdLst>
                  <a:gd name="T0" fmla="*/ 5 w 5"/>
                  <a:gd name="T1" fmla="*/ 3 h 7"/>
                  <a:gd name="T2" fmla="*/ 5 w 5"/>
                  <a:gd name="T3" fmla="*/ 3 h 7"/>
                  <a:gd name="T4" fmla="*/ 3 w 5"/>
                  <a:gd name="T5" fmla="*/ 2 h 7"/>
                  <a:gd name="T6" fmla="*/ 1 w 5"/>
                  <a:gd name="T7" fmla="*/ 0 h 7"/>
                  <a:gd name="T8" fmla="*/ 0 w 5"/>
                  <a:gd name="T9" fmla="*/ 2 h 7"/>
                  <a:gd name="T10" fmla="*/ 0 w 5"/>
                  <a:gd name="T11" fmla="*/ 2 h 7"/>
                  <a:gd name="T12" fmla="*/ 0 w 5"/>
                  <a:gd name="T13" fmla="*/ 2 h 7"/>
                  <a:gd name="T14" fmla="*/ 0 w 5"/>
                  <a:gd name="T15" fmla="*/ 5 h 7"/>
                  <a:gd name="T16" fmla="*/ 1 w 5"/>
                  <a:gd name="T17" fmla="*/ 7 h 7"/>
                  <a:gd name="T18" fmla="*/ 1 w 5"/>
                  <a:gd name="T19" fmla="*/ 7 h 7"/>
                  <a:gd name="T20" fmla="*/ 3 w 5"/>
                  <a:gd name="T21" fmla="*/ 7 h 7"/>
                  <a:gd name="T22" fmla="*/ 3 w 5"/>
                  <a:gd name="T23" fmla="*/ 5 h 7"/>
                  <a:gd name="T24" fmla="*/ 5 w 5"/>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7">
                    <a:moveTo>
                      <a:pt x="5" y="3"/>
                    </a:moveTo>
                    <a:lnTo>
                      <a:pt x="5" y="3"/>
                    </a:lnTo>
                    <a:lnTo>
                      <a:pt x="3" y="2"/>
                    </a:lnTo>
                    <a:lnTo>
                      <a:pt x="1" y="0"/>
                    </a:lnTo>
                    <a:lnTo>
                      <a:pt x="0" y="2"/>
                    </a:lnTo>
                    <a:lnTo>
                      <a:pt x="0" y="2"/>
                    </a:lnTo>
                    <a:lnTo>
                      <a:pt x="0" y="2"/>
                    </a:lnTo>
                    <a:lnTo>
                      <a:pt x="0" y="5"/>
                    </a:lnTo>
                    <a:lnTo>
                      <a:pt x="1" y="7"/>
                    </a:lnTo>
                    <a:lnTo>
                      <a:pt x="1" y="7"/>
                    </a:lnTo>
                    <a:lnTo>
                      <a:pt x="3" y="7"/>
                    </a:lnTo>
                    <a:lnTo>
                      <a:pt x="3" y="5"/>
                    </a:lnTo>
                    <a:lnTo>
                      <a:pt x="5"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62" name="Freeform 2513"/>
              <p:cNvSpPr>
                <a:spLocks/>
              </p:cNvSpPr>
              <p:nvPr/>
            </p:nvSpPr>
            <p:spPr bwMode="auto">
              <a:xfrm>
                <a:off x="4323" y="2679"/>
                <a:ext cx="5" cy="7"/>
              </a:xfrm>
              <a:custGeom>
                <a:avLst/>
                <a:gdLst>
                  <a:gd name="T0" fmla="*/ 5 w 5"/>
                  <a:gd name="T1" fmla="*/ 3 h 7"/>
                  <a:gd name="T2" fmla="*/ 5 w 5"/>
                  <a:gd name="T3" fmla="*/ 3 h 7"/>
                  <a:gd name="T4" fmla="*/ 3 w 5"/>
                  <a:gd name="T5" fmla="*/ 2 h 7"/>
                  <a:gd name="T6" fmla="*/ 1 w 5"/>
                  <a:gd name="T7" fmla="*/ 0 h 7"/>
                  <a:gd name="T8" fmla="*/ 0 w 5"/>
                  <a:gd name="T9" fmla="*/ 2 h 7"/>
                  <a:gd name="T10" fmla="*/ 0 w 5"/>
                  <a:gd name="T11" fmla="*/ 2 h 7"/>
                  <a:gd name="T12" fmla="*/ 0 w 5"/>
                  <a:gd name="T13" fmla="*/ 2 h 7"/>
                  <a:gd name="T14" fmla="*/ 0 w 5"/>
                  <a:gd name="T15" fmla="*/ 5 h 7"/>
                  <a:gd name="T16" fmla="*/ 1 w 5"/>
                  <a:gd name="T17" fmla="*/ 7 h 7"/>
                  <a:gd name="T18" fmla="*/ 1 w 5"/>
                  <a:gd name="T19" fmla="*/ 7 h 7"/>
                  <a:gd name="T20" fmla="*/ 3 w 5"/>
                  <a:gd name="T21" fmla="*/ 7 h 7"/>
                  <a:gd name="T22" fmla="*/ 3 w 5"/>
                  <a:gd name="T23" fmla="*/ 5 h 7"/>
                  <a:gd name="T24" fmla="*/ 5 w 5"/>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7">
                    <a:moveTo>
                      <a:pt x="5" y="3"/>
                    </a:moveTo>
                    <a:lnTo>
                      <a:pt x="5" y="3"/>
                    </a:lnTo>
                    <a:lnTo>
                      <a:pt x="3" y="2"/>
                    </a:lnTo>
                    <a:lnTo>
                      <a:pt x="1" y="0"/>
                    </a:lnTo>
                    <a:lnTo>
                      <a:pt x="0" y="2"/>
                    </a:lnTo>
                    <a:lnTo>
                      <a:pt x="0" y="2"/>
                    </a:lnTo>
                    <a:lnTo>
                      <a:pt x="0" y="2"/>
                    </a:lnTo>
                    <a:lnTo>
                      <a:pt x="0" y="5"/>
                    </a:lnTo>
                    <a:lnTo>
                      <a:pt x="1" y="7"/>
                    </a:lnTo>
                    <a:lnTo>
                      <a:pt x="1" y="7"/>
                    </a:lnTo>
                    <a:lnTo>
                      <a:pt x="3" y="7"/>
                    </a:lnTo>
                    <a:lnTo>
                      <a:pt x="3" y="5"/>
                    </a:lnTo>
                    <a:lnTo>
                      <a:pt x="5"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63" name="Freeform 2514"/>
              <p:cNvSpPr>
                <a:spLocks/>
              </p:cNvSpPr>
              <p:nvPr/>
            </p:nvSpPr>
            <p:spPr bwMode="auto">
              <a:xfrm>
                <a:off x="4332" y="2686"/>
                <a:ext cx="9" cy="7"/>
              </a:xfrm>
              <a:custGeom>
                <a:avLst/>
                <a:gdLst>
                  <a:gd name="T0" fmla="*/ 7 w 9"/>
                  <a:gd name="T1" fmla="*/ 4 h 7"/>
                  <a:gd name="T2" fmla="*/ 7 w 9"/>
                  <a:gd name="T3" fmla="*/ 4 h 7"/>
                  <a:gd name="T4" fmla="*/ 0 w 9"/>
                  <a:gd name="T5" fmla="*/ 0 h 7"/>
                  <a:gd name="T6" fmla="*/ 0 w 9"/>
                  <a:gd name="T7" fmla="*/ 0 h 7"/>
                  <a:gd name="T8" fmla="*/ 1 w 9"/>
                  <a:gd name="T9" fmla="*/ 4 h 7"/>
                  <a:gd name="T10" fmla="*/ 3 w 9"/>
                  <a:gd name="T11" fmla="*/ 4 h 7"/>
                  <a:gd name="T12" fmla="*/ 3 w 9"/>
                  <a:gd name="T13" fmla="*/ 4 h 7"/>
                  <a:gd name="T14" fmla="*/ 7 w 9"/>
                  <a:gd name="T15" fmla="*/ 5 h 7"/>
                  <a:gd name="T16" fmla="*/ 9 w 9"/>
                  <a:gd name="T17" fmla="*/ 7 h 7"/>
                  <a:gd name="T18" fmla="*/ 9 w 9"/>
                  <a:gd name="T19" fmla="*/ 7 h 7"/>
                  <a:gd name="T20" fmla="*/ 7 w 9"/>
                  <a:gd name="T2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7">
                    <a:moveTo>
                      <a:pt x="7" y="4"/>
                    </a:moveTo>
                    <a:lnTo>
                      <a:pt x="7" y="4"/>
                    </a:lnTo>
                    <a:lnTo>
                      <a:pt x="0" y="0"/>
                    </a:lnTo>
                    <a:lnTo>
                      <a:pt x="0" y="0"/>
                    </a:lnTo>
                    <a:lnTo>
                      <a:pt x="1" y="4"/>
                    </a:lnTo>
                    <a:lnTo>
                      <a:pt x="3" y="4"/>
                    </a:lnTo>
                    <a:lnTo>
                      <a:pt x="3" y="4"/>
                    </a:lnTo>
                    <a:lnTo>
                      <a:pt x="7" y="5"/>
                    </a:lnTo>
                    <a:lnTo>
                      <a:pt x="9" y="7"/>
                    </a:lnTo>
                    <a:lnTo>
                      <a:pt x="9" y="7"/>
                    </a:lnTo>
                    <a:lnTo>
                      <a:pt x="7"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64" name="Freeform 2515"/>
              <p:cNvSpPr>
                <a:spLocks/>
              </p:cNvSpPr>
              <p:nvPr/>
            </p:nvSpPr>
            <p:spPr bwMode="auto">
              <a:xfrm>
                <a:off x="4332" y="2686"/>
                <a:ext cx="9" cy="7"/>
              </a:xfrm>
              <a:custGeom>
                <a:avLst/>
                <a:gdLst>
                  <a:gd name="T0" fmla="*/ 7 w 9"/>
                  <a:gd name="T1" fmla="*/ 4 h 7"/>
                  <a:gd name="T2" fmla="*/ 7 w 9"/>
                  <a:gd name="T3" fmla="*/ 4 h 7"/>
                  <a:gd name="T4" fmla="*/ 0 w 9"/>
                  <a:gd name="T5" fmla="*/ 0 h 7"/>
                  <a:gd name="T6" fmla="*/ 0 w 9"/>
                  <a:gd name="T7" fmla="*/ 0 h 7"/>
                  <a:gd name="T8" fmla="*/ 1 w 9"/>
                  <a:gd name="T9" fmla="*/ 4 h 7"/>
                  <a:gd name="T10" fmla="*/ 3 w 9"/>
                  <a:gd name="T11" fmla="*/ 4 h 7"/>
                  <a:gd name="T12" fmla="*/ 3 w 9"/>
                  <a:gd name="T13" fmla="*/ 4 h 7"/>
                  <a:gd name="T14" fmla="*/ 7 w 9"/>
                  <a:gd name="T15" fmla="*/ 5 h 7"/>
                  <a:gd name="T16" fmla="*/ 9 w 9"/>
                  <a:gd name="T17" fmla="*/ 7 h 7"/>
                  <a:gd name="T18" fmla="*/ 9 w 9"/>
                  <a:gd name="T19" fmla="*/ 7 h 7"/>
                  <a:gd name="T20" fmla="*/ 7 w 9"/>
                  <a:gd name="T21"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7">
                    <a:moveTo>
                      <a:pt x="7" y="4"/>
                    </a:moveTo>
                    <a:lnTo>
                      <a:pt x="7" y="4"/>
                    </a:lnTo>
                    <a:lnTo>
                      <a:pt x="0" y="0"/>
                    </a:lnTo>
                    <a:lnTo>
                      <a:pt x="0" y="0"/>
                    </a:lnTo>
                    <a:lnTo>
                      <a:pt x="1" y="4"/>
                    </a:lnTo>
                    <a:lnTo>
                      <a:pt x="3" y="4"/>
                    </a:lnTo>
                    <a:lnTo>
                      <a:pt x="3" y="4"/>
                    </a:lnTo>
                    <a:lnTo>
                      <a:pt x="7" y="5"/>
                    </a:lnTo>
                    <a:lnTo>
                      <a:pt x="9" y="7"/>
                    </a:lnTo>
                    <a:lnTo>
                      <a:pt x="9" y="7"/>
                    </a:lnTo>
                    <a:lnTo>
                      <a:pt x="7"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65" name="Freeform 2516"/>
              <p:cNvSpPr>
                <a:spLocks/>
              </p:cNvSpPr>
              <p:nvPr/>
            </p:nvSpPr>
            <p:spPr bwMode="auto">
              <a:xfrm>
                <a:off x="4335" y="2691"/>
                <a:ext cx="4" cy="8"/>
              </a:xfrm>
              <a:custGeom>
                <a:avLst/>
                <a:gdLst>
                  <a:gd name="T0" fmla="*/ 4 w 4"/>
                  <a:gd name="T1" fmla="*/ 2 h 8"/>
                  <a:gd name="T2" fmla="*/ 4 w 4"/>
                  <a:gd name="T3" fmla="*/ 2 h 8"/>
                  <a:gd name="T4" fmla="*/ 4 w 4"/>
                  <a:gd name="T5" fmla="*/ 0 h 8"/>
                  <a:gd name="T6" fmla="*/ 0 w 4"/>
                  <a:gd name="T7" fmla="*/ 0 h 8"/>
                  <a:gd name="T8" fmla="*/ 0 w 4"/>
                  <a:gd name="T9" fmla="*/ 0 h 8"/>
                  <a:gd name="T10" fmla="*/ 0 w 4"/>
                  <a:gd name="T11" fmla="*/ 4 h 8"/>
                  <a:gd name="T12" fmla="*/ 2 w 4"/>
                  <a:gd name="T13" fmla="*/ 6 h 8"/>
                  <a:gd name="T14" fmla="*/ 4 w 4"/>
                  <a:gd name="T15" fmla="*/ 8 h 8"/>
                  <a:gd name="T16" fmla="*/ 4 w 4"/>
                  <a:gd name="T17" fmla="*/ 8 h 8"/>
                  <a:gd name="T18" fmla="*/ 4 w 4"/>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4" y="2"/>
                    </a:moveTo>
                    <a:lnTo>
                      <a:pt x="4" y="2"/>
                    </a:lnTo>
                    <a:lnTo>
                      <a:pt x="4" y="0"/>
                    </a:lnTo>
                    <a:lnTo>
                      <a:pt x="0" y="0"/>
                    </a:lnTo>
                    <a:lnTo>
                      <a:pt x="0" y="0"/>
                    </a:lnTo>
                    <a:lnTo>
                      <a:pt x="0" y="4"/>
                    </a:lnTo>
                    <a:lnTo>
                      <a:pt x="2" y="6"/>
                    </a:lnTo>
                    <a:lnTo>
                      <a:pt x="4" y="8"/>
                    </a:lnTo>
                    <a:lnTo>
                      <a:pt x="4" y="8"/>
                    </a:lnTo>
                    <a:lnTo>
                      <a:pt x="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66" name="Freeform 2517"/>
              <p:cNvSpPr>
                <a:spLocks/>
              </p:cNvSpPr>
              <p:nvPr/>
            </p:nvSpPr>
            <p:spPr bwMode="auto">
              <a:xfrm>
                <a:off x="4335" y="2691"/>
                <a:ext cx="4" cy="8"/>
              </a:xfrm>
              <a:custGeom>
                <a:avLst/>
                <a:gdLst>
                  <a:gd name="T0" fmla="*/ 4 w 4"/>
                  <a:gd name="T1" fmla="*/ 2 h 8"/>
                  <a:gd name="T2" fmla="*/ 4 w 4"/>
                  <a:gd name="T3" fmla="*/ 2 h 8"/>
                  <a:gd name="T4" fmla="*/ 4 w 4"/>
                  <a:gd name="T5" fmla="*/ 0 h 8"/>
                  <a:gd name="T6" fmla="*/ 0 w 4"/>
                  <a:gd name="T7" fmla="*/ 0 h 8"/>
                  <a:gd name="T8" fmla="*/ 0 w 4"/>
                  <a:gd name="T9" fmla="*/ 0 h 8"/>
                  <a:gd name="T10" fmla="*/ 0 w 4"/>
                  <a:gd name="T11" fmla="*/ 4 h 8"/>
                  <a:gd name="T12" fmla="*/ 2 w 4"/>
                  <a:gd name="T13" fmla="*/ 6 h 8"/>
                  <a:gd name="T14" fmla="*/ 4 w 4"/>
                  <a:gd name="T15" fmla="*/ 8 h 8"/>
                  <a:gd name="T16" fmla="*/ 4 w 4"/>
                  <a:gd name="T17" fmla="*/ 8 h 8"/>
                  <a:gd name="T18" fmla="*/ 4 w 4"/>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4" y="2"/>
                    </a:moveTo>
                    <a:lnTo>
                      <a:pt x="4" y="2"/>
                    </a:lnTo>
                    <a:lnTo>
                      <a:pt x="4" y="0"/>
                    </a:lnTo>
                    <a:lnTo>
                      <a:pt x="0" y="0"/>
                    </a:lnTo>
                    <a:lnTo>
                      <a:pt x="0" y="0"/>
                    </a:lnTo>
                    <a:lnTo>
                      <a:pt x="0" y="4"/>
                    </a:lnTo>
                    <a:lnTo>
                      <a:pt x="2" y="6"/>
                    </a:lnTo>
                    <a:lnTo>
                      <a:pt x="4" y="8"/>
                    </a:lnTo>
                    <a:lnTo>
                      <a:pt x="4" y="8"/>
                    </a:lnTo>
                    <a:lnTo>
                      <a:pt x="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67" name="Freeform 2518"/>
              <p:cNvSpPr>
                <a:spLocks/>
              </p:cNvSpPr>
              <p:nvPr/>
            </p:nvSpPr>
            <p:spPr bwMode="auto">
              <a:xfrm>
                <a:off x="4339" y="2695"/>
                <a:ext cx="10" cy="7"/>
              </a:xfrm>
              <a:custGeom>
                <a:avLst/>
                <a:gdLst>
                  <a:gd name="T0" fmla="*/ 10 w 10"/>
                  <a:gd name="T1" fmla="*/ 5 h 7"/>
                  <a:gd name="T2" fmla="*/ 10 w 10"/>
                  <a:gd name="T3" fmla="*/ 5 h 7"/>
                  <a:gd name="T4" fmla="*/ 7 w 10"/>
                  <a:gd name="T5" fmla="*/ 4 h 7"/>
                  <a:gd name="T6" fmla="*/ 5 w 10"/>
                  <a:gd name="T7" fmla="*/ 2 h 7"/>
                  <a:gd name="T8" fmla="*/ 5 w 10"/>
                  <a:gd name="T9" fmla="*/ 2 h 7"/>
                  <a:gd name="T10" fmla="*/ 2 w 10"/>
                  <a:gd name="T11" fmla="*/ 0 h 7"/>
                  <a:gd name="T12" fmla="*/ 2 w 10"/>
                  <a:gd name="T13" fmla="*/ 0 h 7"/>
                  <a:gd name="T14" fmla="*/ 0 w 10"/>
                  <a:gd name="T15" fmla="*/ 2 h 7"/>
                  <a:gd name="T16" fmla="*/ 2 w 10"/>
                  <a:gd name="T17" fmla="*/ 5 h 7"/>
                  <a:gd name="T18" fmla="*/ 2 w 10"/>
                  <a:gd name="T19" fmla="*/ 5 h 7"/>
                  <a:gd name="T20" fmla="*/ 5 w 10"/>
                  <a:gd name="T21" fmla="*/ 5 h 7"/>
                  <a:gd name="T22" fmla="*/ 10 w 10"/>
                  <a:gd name="T23" fmla="*/ 7 h 7"/>
                  <a:gd name="T24" fmla="*/ 10 w 10"/>
                  <a:gd name="T25" fmla="*/ 7 h 7"/>
                  <a:gd name="T26" fmla="*/ 10 w 10"/>
                  <a:gd name="T2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7">
                    <a:moveTo>
                      <a:pt x="10" y="5"/>
                    </a:moveTo>
                    <a:lnTo>
                      <a:pt x="10" y="5"/>
                    </a:lnTo>
                    <a:lnTo>
                      <a:pt x="7" y="4"/>
                    </a:lnTo>
                    <a:lnTo>
                      <a:pt x="5" y="2"/>
                    </a:lnTo>
                    <a:lnTo>
                      <a:pt x="5" y="2"/>
                    </a:lnTo>
                    <a:lnTo>
                      <a:pt x="2" y="0"/>
                    </a:lnTo>
                    <a:lnTo>
                      <a:pt x="2" y="0"/>
                    </a:lnTo>
                    <a:lnTo>
                      <a:pt x="0" y="2"/>
                    </a:lnTo>
                    <a:lnTo>
                      <a:pt x="2" y="5"/>
                    </a:lnTo>
                    <a:lnTo>
                      <a:pt x="2" y="5"/>
                    </a:lnTo>
                    <a:lnTo>
                      <a:pt x="5" y="5"/>
                    </a:lnTo>
                    <a:lnTo>
                      <a:pt x="10" y="7"/>
                    </a:lnTo>
                    <a:lnTo>
                      <a:pt x="10" y="7"/>
                    </a:lnTo>
                    <a:lnTo>
                      <a:pt x="10"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68" name="Freeform 2519"/>
              <p:cNvSpPr>
                <a:spLocks/>
              </p:cNvSpPr>
              <p:nvPr/>
            </p:nvSpPr>
            <p:spPr bwMode="auto">
              <a:xfrm>
                <a:off x="4339" y="2695"/>
                <a:ext cx="10" cy="7"/>
              </a:xfrm>
              <a:custGeom>
                <a:avLst/>
                <a:gdLst>
                  <a:gd name="T0" fmla="*/ 10 w 10"/>
                  <a:gd name="T1" fmla="*/ 5 h 7"/>
                  <a:gd name="T2" fmla="*/ 10 w 10"/>
                  <a:gd name="T3" fmla="*/ 5 h 7"/>
                  <a:gd name="T4" fmla="*/ 7 w 10"/>
                  <a:gd name="T5" fmla="*/ 4 h 7"/>
                  <a:gd name="T6" fmla="*/ 5 w 10"/>
                  <a:gd name="T7" fmla="*/ 2 h 7"/>
                  <a:gd name="T8" fmla="*/ 5 w 10"/>
                  <a:gd name="T9" fmla="*/ 2 h 7"/>
                  <a:gd name="T10" fmla="*/ 2 w 10"/>
                  <a:gd name="T11" fmla="*/ 0 h 7"/>
                  <a:gd name="T12" fmla="*/ 2 w 10"/>
                  <a:gd name="T13" fmla="*/ 0 h 7"/>
                  <a:gd name="T14" fmla="*/ 0 w 10"/>
                  <a:gd name="T15" fmla="*/ 2 h 7"/>
                  <a:gd name="T16" fmla="*/ 2 w 10"/>
                  <a:gd name="T17" fmla="*/ 5 h 7"/>
                  <a:gd name="T18" fmla="*/ 2 w 10"/>
                  <a:gd name="T19" fmla="*/ 5 h 7"/>
                  <a:gd name="T20" fmla="*/ 5 w 10"/>
                  <a:gd name="T21" fmla="*/ 5 h 7"/>
                  <a:gd name="T22" fmla="*/ 10 w 10"/>
                  <a:gd name="T23" fmla="*/ 7 h 7"/>
                  <a:gd name="T24" fmla="*/ 10 w 10"/>
                  <a:gd name="T25" fmla="*/ 7 h 7"/>
                  <a:gd name="T26" fmla="*/ 10 w 10"/>
                  <a:gd name="T2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7">
                    <a:moveTo>
                      <a:pt x="10" y="5"/>
                    </a:moveTo>
                    <a:lnTo>
                      <a:pt x="10" y="5"/>
                    </a:lnTo>
                    <a:lnTo>
                      <a:pt x="7" y="4"/>
                    </a:lnTo>
                    <a:lnTo>
                      <a:pt x="5" y="2"/>
                    </a:lnTo>
                    <a:lnTo>
                      <a:pt x="5" y="2"/>
                    </a:lnTo>
                    <a:lnTo>
                      <a:pt x="2" y="0"/>
                    </a:lnTo>
                    <a:lnTo>
                      <a:pt x="2" y="0"/>
                    </a:lnTo>
                    <a:lnTo>
                      <a:pt x="0" y="2"/>
                    </a:lnTo>
                    <a:lnTo>
                      <a:pt x="2" y="5"/>
                    </a:lnTo>
                    <a:lnTo>
                      <a:pt x="2" y="5"/>
                    </a:lnTo>
                    <a:lnTo>
                      <a:pt x="5" y="5"/>
                    </a:lnTo>
                    <a:lnTo>
                      <a:pt x="10" y="7"/>
                    </a:lnTo>
                    <a:lnTo>
                      <a:pt x="10" y="7"/>
                    </a:lnTo>
                    <a:lnTo>
                      <a:pt x="10"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69" name="Freeform 2520"/>
              <p:cNvSpPr>
                <a:spLocks/>
              </p:cNvSpPr>
              <p:nvPr/>
            </p:nvSpPr>
            <p:spPr bwMode="auto">
              <a:xfrm>
                <a:off x="4342" y="2695"/>
                <a:ext cx="9" cy="4"/>
              </a:xfrm>
              <a:custGeom>
                <a:avLst/>
                <a:gdLst>
                  <a:gd name="T0" fmla="*/ 9 w 9"/>
                  <a:gd name="T1" fmla="*/ 4 h 4"/>
                  <a:gd name="T2" fmla="*/ 9 w 9"/>
                  <a:gd name="T3" fmla="*/ 4 h 4"/>
                  <a:gd name="T4" fmla="*/ 4 w 9"/>
                  <a:gd name="T5" fmla="*/ 0 h 4"/>
                  <a:gd name="T6" fmla="*/ 2 w 9"/>
                  <a:gd name="T7" fmla="*/ 0 h 4"/>
                  <a:gd name="T8" fmla="*/ 0 w 9"/>
                  <a:gd name="T9" fmla="*/ 2 h 4"/>
                  <a:gd name="T10" fmla="*/ 0 w 9"/>
                  <a:gd name="T11" fmla="*/ 2 h 4"/>
                  <a:gd name="T12" fmla="*/ 4 w 9"/>
                  <a:gd name="T13" fmla="*/ 2 h 4"/>
                  <a:gd name="T14" fmla="*/ 6 w 9"/>
                  <a:gd name="T15" fmla="*/ 4 h 4"/>
                  <a:gd name="T16" fmla="*/ 7 w 9"/>
                  <a:gd name="T17" fmla="*/ 4 h 4"/>
                  <a:gd name="T18" fmla="*/ 9 w 9"/>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4">
                    <a:moveTo>
                      <a:pt x="9" y="4"/>
                    </a:moveTo>
                    <a:lnTo>
                      <a:pt x="9" y="4"/>
                    </a:lnTo>
                    <a:lnTo>
                      <a:pt x="4" y="0"/>
                    </a:lnTo>
                    <a:lnTo>
                      <a:pt x="2" y="0"/>
                    </a:lnTo>
                    <a:lnTo>
                      <a:pt x="0" y="2"/>
                    </a:lnTo>
                    <a:lnTo>
                      <a:pt x="0" y="2"/>
                    </a:lnTo>
                    <a:lnTo>
                      <a:pt x="4" y="2"/>
                    </a:lnTo>
                    <a:lnTo>
                      <a:pt x="6" y="4"/>
                    </a:lnTo>
                    <a:lnTo>
                      <a:pt x="7" y="4"/>
                    </a:lnTo>
                    <a:lnTo>
                      <a:pt x="9"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70" name="Freeform 2521"/>
              <p:cNvSpPr>
                <a:spLocks/>
              </p:cNvSpPr>
              <p:nvPr/>
            </p:nvSpPr>
            <p:spPr bwMode="auto">
              <a:xfrm>
                <a:off x="4342" y="2695"/>
                <a:ext cx="9" cy="4"/>
              </a:xfrm>
              <a:custGeom>
                <a:avLst/>
                <a:gdLst>
                  <a:gd name="T0" fmla="*/ 9 w 9"/>
                  <a:gd name="T1" fmla="*/ 4 h 4"/>
                  <a:gd name="T2" fmla="*/ 9 w 9"/>
                  <a:gd name="T3" fmla="*/ 4 h 4"/>
                  <a:gd name="T4" fmla="*/ 4 w 9"/>
                  <a:gd name="T5" fmla="*/ 0 h 4"/>
                  <a:gd name="T6" fmla="*/ 2 w 9"/>
                  <a:gd name="T7" fmla="*/ 0 h 4"/>
                  <a:gd name="T8" fmla="*/ 0 w 9"/>
                  <a:gd name="T9" fmla="*/ 2 h 4"/>
                  <a:gd name="T10" fmla="*/ 0 w 9"/>
                  <a:gd name="T11" fmla="*/ 2 h 4"/>
                  <a:gd name="T12" fmla="*/ 4 w 9"/>
                  <a:gd name="T13" fmla="*/ 2 h 4"/>
                  <a:gd name="T14" fmla="*/ 6 w 9"/>
                  <a:gd name="T15" fmla="*/ 4 h 4"/>
                  <a:gd name="T16" fmla="*/ 7 w 9"/>
                  <a:gd name="T17" fmla="*/ 4 h 4"/>
                  <a:gd name="T18" fmla="*/ 9 w 9"/>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4">
                    <a:moveTo>
                      <a:pt x="9" y="4"/>
                    </a:moveTo>
                    <a:lnTo>
                      <a:pt x="9" y="4"/>
                    </a:lnTo>
                    <a:lnTo>
                      <a:pt x="4" y="0"/>
                    </a:lnTo>
                    <a:lnTo>
                      <a:pt x="2" y="0"/>
                    </a:lnTo>
                    <a:lnTo>
                      <a:pt x="0" y="2"/>
                    </a:lnTo>
                    <a:lnTo>
                      <a:pt x="0" y="2"/>
                    </a:lnTo>
                    <a:lnTo>
                      <a:pt x="4" y="2"/>
                    </a:lnTo>
                    <a:lnTo>
                      <a:pt x="6" y="4"/>
                    </a:lnTo>
                    <a:lnTo>
                      <a:pt x="7" y="4"/>
                    </a:lnTo>
                    <a:lnTo>
                      <a:pt x="9"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71" name="Freeform 2522"/>
              <p:cNvSpPr>
                <a:spLocks/>
              </p:cNvSpPr>
              <p:nvPr/>
            </p:nvSpPr>
            <p:spPr bwMode="auto">
              <a:xfrm>
                <a:off x="4351" y="2702"/>
                <a:ext cx="2" cy="2"/>
              </a:xfrm>
              <a:custGeom>
                <a:avLst/>
                <a:gdLst>
                  <a:gd name="T0" fmla="*/ 2 w 2"/>
                  <a:gd name="T1" fmla="*/ 2 h 2"/>
                  <a:gd name="T2" fmla="*/ 2 w 2"/>
                  <a:gd name="T3" fmla="*/ 2 h 2"/>
                  <a:gd name="T4" fmla="*/ 0 w 2"/>
                  <a:gd name="T5" fmla="*/ 0 h 2"/>
                  <a:gd name="T6" fmla="*/ 0 w 2"/>
                  <a:gd name="T7" fmla="*/ 0 h 2"/>
                  <a:gd name="T8" fmla="*/ 0 w 2"/>
                  <a:gd name="T9" fmla="*/ 2 h 2"/>
                  <a:gd name="T10" fmla="*/ 0 w 2"/>
                  <a:gd name="T11" fmla="*/ 2 h 2"/>
                  <a:gd name="T12" fmla="*/ 0 w 2"/>
                  <a:gd name="T13" fmla="*/ 2 h 2"/>
                  <a:gd name="T14" fmla="*/ 2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2"/>
                    </a:moveTo>
                    <a:lnTo>
                      <a:pt x="2" y="2"/>
                    </a:lnTo>
                    <a:lnTo>
                      <a:pt x="0" y="0"/>
                    </a:lnTo>
                    <a:lnTo>
                      <a:pt x="0" y="0"/>
                    </a:lnTo>
                    <a:lnTo>
                      <a:pt x="0" y="2"/>
                    </a:lnTo>
                    <a:lnTo>
                      <a:pt x="0" y="2"/>
                    </a:lnTo>
                    <a:lnTo>
                      <a:pt x="0" y="2"/>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72" name="Freeform 2523"/>
              <p:cNvSpPr>
                <a:spLocks/>
              </p:cNvSpPr>
              <p:nvPr/>
            </p:nvSpPr>
            <p:spPr bwMode="auto">
              <a:xfrm>
                <a:off x="4351" y="2702"/>
                <a:ext cx="2" cy="2"/>
              </a:xfrm>
              <a:custGeom>
                <a:avLst/>
                <a:gdLst>
                  <a:gd name="T0" fmla="*/ 2 w 2"/>
                  <a:gd name="T1" fmla="*/ 2 h 2"/>
                  <a:gd name="T2" fmla="*/ 2 w 2"/>
                  <a:gd name="T3" fmla="*/ 2 h 2"/>
                  <a:gd name="T4" fmla="*/ 0 w 2"/>
                  <a:gd name="T5" fmla="*/ 0 h 2"/>
                  <a:gd name="T6" fmla="*/ 0 w 2"/>
                  <a:gd name="T7" fmla="*/ 0 h 2"/>
                  <a:gd name="T8" fmla="*/ 0 w 2"/>
                  <a:gd name="T9" fmla="*/ 2 h 2"/>
                  <a:gd name="T10" fmla="*/ 0 w 2"/>
                  <a:gd name="T11" fmla="*/ 2 h 2"/>
                  <a:gd name="T12" fmla="*/ 0 w 2"/>
                  <a:gd name="T13" fmla="*/ 2 h 2"/>
                  <a:gd name="T14" fmla="*/ 2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2"/>
                    </a:moveTo>
                    <a:lnTo>
                      <a:pt x="2" y="2"/>
                    </a:lnTo>
                    <a:lnTo>
                      <a:pt x="0" y="0"/>
                    </a:lnTo>
                    <a:lnTo>
                      <a:pt x="0" y="0"/>
                    </a:lnTo>
                    <a:lnTo>
                      <a:pt x="0" y="2"/>
                    </a:lnTo>
                    <a:lnTo>
                      <a:pt x="0" y="2"/>
                    </a:lnTo>
                    <a:lnTo>
                      <a:pt x="0" y="2"/>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73" name="Freeform 2524"/>
              <p:cNvSpPr>
                <a:spLocks/>
              </p:cNvSpPr>
              <p:nvPr/>
            </p:nvSpPr>
            <p:spPr bwMode="auto">
              <a:xfrm>
                <a:off x="4353" y="2700"/>
                <a:ext cx="4" cy="2"/>
              </a:xfrm>
              <a:custGeom>
                <a:avLst/>
                <a:gdLst>
                  <a:gd name="T0" fmla="*/ 4 w 4"/>
                  <a:gd name="T1" fmla="*/ 0 h 2"/>
                  <a:gd name="T2" fmla="*/ 4 w 4"/>
                  <a:gd name="T3" fmla="*/ 0 h 2"/>
                  <a:gd name="T4" fmla="*/ 2 w 4"/>
                  <a:gd name="T5" fmla="*/ 0 h 2"/>
                  <a:gd name="T6" fmla="*/ 0 w 4"/>
                  <a:gd name="T7" fmla="*/ 0 h 2"/>
                  <a:gd name="T8" fmla="*/ 0 w 4"/>
                  <a:gd name="T9" fmla="*/ 0 h 2"/>
                  <a:gd name="T10" fmla="*/ 2 w 4"/>
                  <a:gd name="T11" fmla="*/ 2 h 2"/>
                  <a:gd name="T12" fmla="*/ 2 w 4"/>
                  <a:gd name="T13" fmla="*/ 2 h 2"/>
                  <a:gd name="T14" fmla="*/ 4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4" y="0"/>
                    </a:moveTo>
                    <a:lnTo>
                      <a:pt x="4" y="0"/>
                    </a:lnTo>
                    <a:lnTo>
                      <a:pt x="2" y="0"/>
                    </a:lnTo>
                    <a:lnTo>
                      <a:pt x="0" y="0"/>
                    </a:lnTo>
                    <a:lnTo>
                      <a:pt x="0" y="0"/>
                    </a:lnTo>
                    <a:lnTo>
                      <a:pt x="2" y="2"/>
                    </a:lnTo>
                    <a:lnTo>
                      <a:pt x="2" y="2"/>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74" name="Freeform 2525"/>
              <p:cNvSpPr>
                <a:spLocks/>
              </p:cNvSpPr>
              <p:nvPr/>
            </p:nvSpPr>
            <p:spPr bwMode="auto">
              <a:xfrm>
                <a:off x="4353" y="2700"/>
                <a:ext cx="4" cy="2"/>
              </a:xfrm>
              <a:custGeom>
                <a:avLst/>
                <a:gdLst>
                  <a:gd name="T0" fmla="*/ 4 w 4"/>
                  <a:gd name="T1" fmla="*/ 0 h 2"/>
                  <a:gd name="T2" fmla="*/ 4 w 4"/>
                  <a:gd name="T3" fmla="*/ 0 h 2"/>
                  <a:gd name="T4" fmla="*/ 2 w 4"/>
                  <a:gd name="T5" fmla="*/ 0 h 2"/>
                  <a:gd name="T6" fmla="*/ 0 w 4"/>
                  <a:gd name="T7" fmla="*/ 0 h 2"/>
                  <a:gd name="T8" fmla="*/ 0 w 4"/>
                  <a:gd name="T9" fmla="*/ 0 h 2"/>
                  <a:gd name="T10" fmla="*/ 2 w 4"/>
                  <a:gd name="T11" fmla="*/ 2 h 2"/>
                  <a:gd name="T12" fmla="*/ 2 w 4"/>
                  <a:gd name="T13" fmla="*/ 2 h 2"/>
                  <a:gd name="T14" fmla="*/ 4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4" y="0"/>
                    </a:moveTo>
                    <a:lnTo>
                      <a:pt x="4" y="0"/>
                    </a:lnTo>
                    <a:lnTo>
                      <a:pt x="2" y="0"/>
                    </a:lnTo>
                    <a:lnTo>
                      <a:pt x="0" y="0"/>
                    </a:lnTo>
                    <a:lnTo>
                      <a:pt x="0" y="0"/>
                    </a:lnTo>
                    <a:lnTo>
                      <a:pt x="2" y="2"/>
                    </a:lnTo>
                    <a:lnTo>
                      <a:pt x="2" y="2"/>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75" name="Freeform 2526"/>
              <p:cNvSpPr>
                <a:spLocks/>
              </p:cNvSpPr>
              <p:nvPr/>
            </p:nvSpPr>
            <p:spPr bwMode="auto">
              <a:xfrm>
                <a:off x="4357" y="2716"/>
                <a:ext cx="3" cy="2"/>
              </a:xfrm>
              <a:custGeom>
                <a:avLst/>
                <a:gdLst>
                  <a:gd name="T0" fmla="*/ 3 w 3"/>
                  <a:gd name="T1" fmla="*/ 0 h 2"/>
                  <a:gd name="T2" fmla="*/ 3 w 3"/>
                  <a:gd name="T3" fmla="*/ 0 h 2"/>
                  <a:gd name="T4" fmla="*/ 0 w 3"/>
                  <a:gd name="T5" fmla="*/ 0 h 2"/>
                  <a:gd name="T6" fmla="*/ 0 w 3"/>
                  <a:gd name="T7" fmla="*/ 2 h 2"/>
                  <a:gd name="T8" fmla="*/ 0 w 3"/>
                  <a:gd name="T9" fmla="*/ 2 h 2"/>
                  <a:gd name="T10" fmla="*/ 0 w 3"/>
                  <a:gd name="T11" fmla="*/ 2 h 2"/>
                  <a:gd name="T12" fmla="*/ 1 w 3"/>
                  <a:gd name="T13" fmla="*/ 2 h 2"/>
                  <a:gd name="T14" fmla="*/ 3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3" y="0"/>
                    </a:moveTo>
                    <a:lnTo>
                      <a:pt x="3" y="0"/>
                    </a:lnTo>
                    <a:lnTo>
                      <a:pt x="0" y="0"/>
                    </a:lnTo>
                    <a:lnTo>
                      <a:pt x="0" y="2"/>
                    </a:lnTo>
                    <a:lnTo>
                      <a:pt x="0" y="2"/>
                    </a:lnTo>
                    <a:lnTo>
                      <a:pt x="0" y="2"/>
                    </a:lnTo>
                    <a:lnTo>
                      <a:pt x="1" y="2"/>
                    </a:lnTo>
                    <a:lnTo>
                      <a:pt x="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76" name="Freeform 2527"/>
              <p:cNvSpPr>
                <a:spLocks/>
              </p:cNvSpPr>
              <p:nvPr/>
            </p:nvSpPr>
            <p:spPr bwMode="auto">
              <a:xfrm>
                <a:off x="4357" y="2716"/>
                <a:ext cx="3" cy="2"/>
              </a:xfrm>
              <a:custGeom>
                <a:avLst/>
                <a:gdLst>
                  <a:gd name="T0" fmla="*/ 3 w 3"/>
                  <a:gd name="T1" fmla="*/ 0 h 2"/>
                  <a:gd name="T2" fmla="*/ 3 w 3"/>
                  <a:gd name="T3" fmla="*/ 0 h 2"/>
                  <a:gd name="T4" fmla="*/ 0 w 3"/>
                  <a:gd name="T5" fmla="*/ 0 h 2"/>
                  <a:gd name="T6" fmla="*/ 0 w 3"/>
                  <a:gd name="T7" fmla="*/ 2 h 2"/>
                  <a:gd name="T8" fmla="*/ 0 w 3"/>
                  <a:gd name="T9" fmla="*/ 2 h 2"/>
                  <a:gd name="T10" fmla="*/ 0 w 3"/>
                  <a:gd name="T11" fmla="*/ 2 h 2"/>
                  <a:gd name="T12" fmla="*/ 1 w 3"/>
                  <a:gd name="T13" fmla="*/ 2 h 2"/>
                  <a:gd name="T14" fmla="*/ 3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3" y="0"/>
                    </a:moveTo>
                    <a:lnTo>
                      <a:pt x="3" y="0"/>
                    </a:lnTo>
                    <a:lnTo>
                      <a:pt x="0" y="0"/>
                    </a:lnTo>
                    <a:lnTo>
                      <a:pt x="0" y="2"/>
                    </a:lnTo>
                    <a:lnTo>
                      <a:pt x="0" y="2"/>
                    </a:lnTo>
                    <a:lnTo>
                      <a:pt x="0" y="2"/>
                    </a:lnTo>
                    <a:lnTo>
                      <a:pt x="1" y="2"/>
                    </a:lnTo>
                    <a:lnTo>
                      <a:pt x="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77" name="Freeform 2528"/>
              <p:cNvSpPr>
                <a:spLocks/>
              </p:cNvSpPr>
              <p:nvPr/>
            </p:nvSpPr>
            <p:spPr bwMode="auto">
              <a:xfrm>
                <a:off x="4362" y="2697"/>
                <a:ext cx="2" cy="2"/>
              </a:xfrm>
              <a:custGeom>
                <a:avLst/>
                <a:gdLst>
                  <a:gd name="T0" fmla="*/ 2 w 2"/>
                  <a:gd name="T1" fmla="*/ 2 h 2"/>
                  <a:gd name="T2" fmla="*/ 2 w 2"/>
                  <a:gd name="T3" fmla="*/ 2 h 2"/>
                  <a:gd name="T4" fmla="*/ 2 w 2"/>
                  <a:gd name="T5" fmla="*/ 0 h 2"/>
                  <a:gd name="T6" fmla="*/ 0 w 2"/>
                  <a:gd name="T7" fmla="*/ 0 h 2"/>
                  <a:gd name="T8" fmla="*/ 0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2" y="2"/>
                    </a:lnTo>
                    <a:lnTo>
                      <a:pt x="2" y="0"/>
                    </a:lnTo>
                    <a:lnTo>
                      <a:pt x="0" y="0"/>
                    </a:lnTo>
                    <a:lnTo>
                      <a:pt x="0" y="0"/>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78" name="Freeform 2529"/>
              <p:cNvSpPr>
                <a:spLocks/>
              </p:cNvSpPr>
              <p:nvPr/>
            </p:nvSpPr>
            <p:spPr bwMode="auto">
              <a:xfrm>
                <a:off x="4362" y="2697"/>
                <a:ext cx="2" cy="2"/>
              </a:xfrm>
              <a:custGeom>
                <a:avLst/>
                <a:gdLst>
                  <a:gd name="T0" fmla="*/ 2 w 2"/>
                  <a:gd name="T1" fmla="*/ 2 h 2"/>
                  <a:gd name="T2" fmla="*/ 2 w 2"/>
                  <a:gd name="T3" fmla="*/ 2 h 2"/>
                  <a:gd name="T4" fmla="*/ 2 w 2"/>
                  <a:gd name="T5" fmla="*/ 0 h 2"/>
                  <a:gd name="T6" fmla="*/ 0 w 2"/>
                  <a:gd name="T7" fmla="*/ 0 h 2"/>
                  <a:gd name="T8" fmla="*/ 0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2" y="2"/>
                    </a:lnTo>
                    <a:lnTo>
                      <a:pt x="2" y="0"/>
                    </a:lnTo>
                    <a:lnTo>
                      <a:pt x="0" y="0"/>
                    </a:lnTo>
                    <a:lnTo>
                      <a:pt x="0" y="0"/>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79" name="Freeform 2530"/>
              <p:cNvSpPr>
                <a:spLocks/>
              </p:cNvSpPr>
              <p:nvPr/>
            </p:nvSpPr>
            <p:spPr bwMode="auto">
              <a:xfrm>
                <a:off x="4364" y="2693"/>
                <a:ext cx="3" cy="4"/>
              </a:xfrm>
              <a:custGeom>
                <a:avLst/>
                <a:gdLst>
                  <a:gd name="T0" fmla="*/ 3 w 3"/>
                  <a:gd name="T1" fmla="*/ 2 h 4"/>
                  <a:gd name="T2" fmla="*/ 3 w 3"/>
                  <a:gd name="T3" fmla="*/ 2 h 4"/>
                  <a:gd name="T4" fmla="*/ 2 w 3"/>
                  <a:gd name="T5" fmla="*/ 0 h 4"/>
                  <a:gd name="T6" fmla="*/ 0 w 3"/>
                  <a:gd name="T7" fmla="*/ 2 h 4"/>
                  <a:gd name="T8" fmla="*/ 0 w 3"/>
                  <a:gd name="T9" fmla="*/ 4 h 4"/>
                  <a:gd name="T10" fmla="*/ 0 w 3"/>
                  <a:gd name="T11" fmla="*/ 4 h 4"/>
                  <a:gd name="T12" fmla="*/ 0 w 3"/>
                  <a:gd name="T13" fmla="*/ 4 h 4"/>
                  <a:gd name="T14" fmla="*/ 2 w 3"/>
                  <a:gd name="T15" fmla="*/ 4 h 4"/>
                  <a:gd name="T16" fmla="*/ 3 w 3"/>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3" y="2"/>
                    </a:moveTo>
                    <a:lnTo>
                      <a:pt x="3" y="2"/>
                    </a:lnTo>
                    <a:lnTo>
                      <a:pt x="2" y="0"/>
                    </a:lnTo>
                    <a:lnTo>
                      <a:pt x="0" y="2"/>
                    </a:lnTo>
                    <a:lnTo>
                      <a:pt x="0" y="4"/>
                    </a:lnTo>
                    <a:lnTo>
                      <a:pt x="0" y="4"/>
                    </a:lnTo>
                    <a:lnTo>
                      <a:pt x="0" y="4"/>
                    </a:lnTo>
                    <a:lnTo>
                      <a:pt x="2" y="4"/>
                    </a:lnTo>
                    <a:lnTo>
                      <a:pt x="3"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80" name="Freeform 2531"/>
              <p:cNvSpPr>
                <a:spLocks/>
              </p:cNvSpPr>
              <p:nvPr/>
            </p:nvSpPr>
            <p:spPr bwMode="auto">
              <a:xfrm>
                <a:off x="4364" y="2693"/>
                <a:ext cx="3" cy="4"/>
              </a:xfrm>
              <a:custGeom>
                <a:avLst/>
                <a:gdLst>
                  <a:gd name="T0" fmla="*/ 3 w 3"/>
                  <a:gd name="T1" fmla="*/ 2 h 4"/>
                  <a:gd name="T2" fmla="*/ 3 w 3"/>
                  <a:gd name="T3" fmla="*/ 2 h 4"/>
                  <a:gd name="T4" fmla="*/ 2 w 3"/>
                  <a:gd name="T5" fmla="*/ 0 h 4"/>
                  <a:gd name="T6" fmla="*/ 0 w 3"/>
                  <a:gd name="T7" fmla="*/ 2 h 4"/>
                  <a:gd name="T8" fmla="*/ 0 w 3"/>
                  <a:gd name="T9" fmla="*/ 4 h 4"/>
                  <a:gd name="T10" fmla="*/ 0 w 3"/>
                  <a:gd name="T11" fmla="*/ 4 h 4"/>
                  <a:gd name="T12" fmla="*/ 0 w 3"/>
                  <a:gd name="T13" fmla="*/ 4 h 4"/>
                  <a:gd name="T14" fmla="*/ 2 w 3"/>
                  <a:gd name="T15" fmla="*/ 4 h 4"/>
                  <a:gd name="T16" fmla="*/ 3 w 3"/>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3" y="2"/>
                    </a:moveTo>
                    <a:lnTo>
                      <a:pt x="3" y="2"/>
                    </a:lnTo>
                    <a:lnTo>
                      <a:pt x="2" y="0"/>
                    </a:lnTo>
                    <a:lnTo>
                      <a:pt x="0" y="2"/>
                    </a:lnTo>
                    <a:lnTo>
                      <a:pt x="0" y="4"/>
                    </a:lnTo>
                    <a:lnTo>
                      <a:pt x="0" y="4"/>
                    </a:lnTo>
                    <a:lnTo>
                      <a:pt x="0" y="4"/>
                    </a:lnTo>
                    <a:lnTo>
                      <a:pt x="2" y="4"/>
                    </a:lnTo>
                    <a:lnTo>
                      <a:pt x="3"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81" name="Freeform 2532"/>
              <p:cNvSpPr>
                <a:spLocks/>
              </p:cNvSpPr>
              <p:nvPr/>
            </p:nvSpPr>
            <p:spPr bwMode="auto">
              <a:xfrm>
                <a:off x="4366" y="2699"/>
                <a:ext cx="1" cy="1"/>
              </a:xfrm>
              <a:custGeom>
                <a:avLst/>
                <a:gdLst>
                  <a:gd name="T0" fmla="*/ 1 w 1"/>
                  <a:gd name="T1" fmla="*/ 1 h 1"/>
                  <a:gd name="T2" fmla="*/ 1 w 1"/>
                  <a:gd name="T3" fmla="*/ 1 h 1"/>
                  <a:gd name="T4" fmla="*/ 1 w 1"/>
                  <a:gd name="T5" fmla="*/ 0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1"/>
                    </a:lnTo>
                    <a:lnTo>
                      <a:pt x="1" y="0"/>
                    </a:lnTo>
                    <a:lnTo>
                      <a:pt x="0" y="0"/>
                    </a:lnTo>
                    <a:lnTo>
                      <a:pt x="0" y="0"/>
                    </a:lnTo>
                    <a:lnTo>
                      <a:pt x="1"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82" name="Freeform 2533"/>
              <p:cNvSpPr>
                <a:spLocks/>
              </p:cNvSpPr>
              <p:nvPr/>
            </p:nvSpPr>
            <p:spPr bwMode="auto">
              <a:xfrm>
                <a:off x="4366" y="2699"/>
                <a:ext cx="1" cy="1"/>
              </a:xfrm>
              <a:custGeom>
                <a:avLst/>
                <a:gdLst>
                  <a:gd name="T0" fmla="*/ 1 w 1"/>
                  <a:gd name="T1" fmla="*/ 1 h 1"/>
                  <a:gd name="T2" fmla="*/ 1 w 1"/>
                  <a:gd name="T3" fmla="*/ 1 h 1"/>
                  <a:gd name="T4" fmla="*/ 1 w 1"/>
                  <a:gd name="T5" fmla="*/ 0 h 1"/>
                  <a:gd name="T6" fmla="*/ 0 w 1"/>
                  <a:gd name="T7" fmla="*/ 0 h 1"/>
                  <a:gd name="T8" fmla="*/ 0 w 1"/>
                  <a:gd name="T9" fmla="*/ 0 h 1"/>
                  <a:gd name="T10" fmla="*/ 1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1" y="1"/>
                    </a:moveTo>
                    <a:lnTo>
                      <a:pt x="1" y="1"/>
                    </a:lnTo>
                    <a:lnTo>
                      <a:pt x="1" y="0"/>
                    </a:lnTo>
                    <a:lnTo>
                      <a:pt x="0" y="0"/>
                    </a:lnTo>
                    <a:lnTo>
                      <a:pt x="0" y="0"/>
                    </a:lnTo>
                    <a:lnTo>
                      <a:pt x="1"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83" name="Freeform 2534"/>
              <p:cNvSpPr>
                <a:spLocks/>
              </p:cNvSpPr>
              <p:nvPr/>
            </p:nvSpPr>
            <p:spPr bwMode="auto">
              <a:xfrm>
                <a:off x="4369" y="2695"/>
                <a:ext cx="5" cy="4"/>
              </a:xfrm>
              <a:custGeom>
                <a:avLst/>
                <a:gdLst>
                  <a:gd name="T0" fmla="*/ 5 w 5"/>
                  <a:gd name="T1" fmla="*/ 2 h 4"/>
                  <a:gd name="T2" fmla="*/ 5 w 5"/>
                  <a:gd name="T3" fmla="*/ 2 h 4"/>
                  <a:gd name="T4" fmla="*/ 4 w 5"/>
                  <a:gd name="T5" fmla="*/ 0 h 4"/>
                  <a:gd name="T6" fmla="*/ 2 w 5"/>
                  <a:gd name="T7" fmla="*/ 0 h 4"/>
                  <a:gd name="T8" fmla="*/ 0 w 5"/>
                  <a:gd name="T9" fmla="*/ 0 h 4"/>
                  <a:gd name="T10" fmla="*/ 0 w 5"/>
                  <a:gd name="T11" fmla="*/ 2 h 4"/>
                  <a:gd name="T12" fmla="*/ 0 w 5"/>
                  <a:gd name="T13" fmla="*/ 2 h 4"/>
                  <a:gd name="T14" fmla="*/ 2 w 5"/>
                  <a:gd name="T15" fmla="*/ 2 h 4"/>
                  <a:gd name="T16" fmla="*/ 4 w 5"/>
                  <a:gd name="T17" fmla="*/ 4 h 4"/>
                  <a:gd name="T18" fmla="*/ 4 w 5"/>
                  <a:gd name="T19" fmla="*/ 4 h 4"/>
                  <a:gd name="T20" fmla="*/ 4 w 5"/>
                  <a:gd name="T21" fmla="*/ 4 h 4"/>
                  <a:gd name="T22" fmla="*/ 5 w 5"/>
                  <a:gd name="T23" fmla="*/ 4 h 4"/>
                  <a:gd name="T24" fmla="*/ 5 w 5"/>
                  <a:gd name="T2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4">
                    <a:moveTo>
                      <a:pt x="5" y="2"/>
                    </a:moveTo>
                    <a:lnTo>
                      <a:pt x="5" y="2"/>
                    </a:lnTo>
                    <a:lnTo>
                      <a:pt x="4" y="0"/>
                    </a:lnTo>
                    <a:lnTo>
                      <a:pt x="2" y="0"/>
                    </a:lnTo>
                    <a:lnTo>
                      <a:pt x="0" y="0"/>
                    </a:lnTo>
                    <a:lnTo>
                      <a:pt x="0" y="2"/>
                    </a:lnTo>
                    <a:lnTo>
                      <a:pt x="0" y="2"/>
                    </a:lnTo>
                    <a:lnTo>
                      <a:pt x="2" y="2"/>
                    </a:lnTo>
                    <a:lnTo>
                      <a:pt x="4" y="4"/>
                    </a:lnTo>
                    <a:lnTo>
                      <a:pt x="4" y="4"/>
                    </a:lnTo>
                    <a:lnTo>
                      <a:pt x="4" y="4"/>
                    </a:lnTo>
                    <a:lnTo>
                      <a:pt x="5" y="4"/>
                    </a:lnTo>
                    <a:lnTo>
                      <a:pt x="5"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84" name="Freeform 2535"/>
              <p:cNvSpPr>
                <a:spLocks/>
              </p:cNvSpPr>
              <p:nvPr/>
            </p:nvSpPr>
            <p:spPr bwMode="auto">
              <a:xfrm>
                <a:off x="4369" y="2695"/>
                <a:ext cx="5" cy="4"/>
              </a:xfrm>
              <a:custGeom>
                <a:avLst/>
                <a:gdLst>
                  <a:gd name="T0" fmla="*/ 5 w 5"/>
                  <a:gd name="T1" fmla="*/ 2 h 4"/>
                  <a:gd name="T2" fmla="*/ 5 w 5"/>
                  <a:gd name="T3" fmla="*/ 2 h 4"/>
                  <a:gd name="T4" fmla="*/ 4 w 5"/>
                  <a:gd name="T5" fmla="*/ 0 h 4"/>
                  <a:gd name="T6" fmla="*/ 2 w 5"/>
                  <a:gd name="T7" fmla="*/ 0 h 4"/>
                  <a:gd name="T8" fmla="*/ 0 w 5"/>
                  <a:gd name="T9" fmla="*/ 0 h 4"/>
                  <a:gd name="T10" fmla="*/ 0 w 5"/>
                  <a:gd name="T11" fmla="*/ 2 h 4"/>
                  <a:gd name="T12" fmla="*/ 0 w 5"/>
                  <a:gd name="T13" fmla="*/ 2 h 4"/>
                  <a:gd name="T14" fmla="*/ 2 w 5"/>
                  <a:gd name="T15" fmla="*/ 2 h 4"/>
                  <a:gd name="T16" fmla="*/ 4 w 5"/>
                  <a:gd name="T17" fmla="*/ 4 h 4"/>
                  <a:gd name="T18" fmla="*/ 4 w 5"/>
                  <a:gd name="T19" fmla="*/ 4 h 4"/>
                  <a:gd name="T20" fmla="*/ 4 w 5"/>
                  <a:gd name="T21" fmla="*/ 4 h 4"/>
                  <a:gd name="T22" fmla="*/ 5 w 5"/>
                  <a:gd name="T23" fmla="*/ 4 h 4"/>
                  <a:gd name="T24" fmla="*/ 5 w 5"/>
                  <a:gd name="T25"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4">
                    <a:moveTo>
                      <a:pt x="5" y="2"/>
                    </a:moveTo>
                    <a:lnTo>
                      <a:pt x="5" y="2"/>
                    </a:lnTo>
                    <a:lnTo>
                      <a:pt x="4" y="0"/>
                    </a:lnTo>
                    <a:lnTo>
                      <a:pt x="2" y="0"/>
                    </a:lnTo>
                    <a:lnTo>
                      <a:pt x="0" y="0"/>
                    </a:lnTo>
                    <a:lnTo>
                      <a:pt x="0" y="2"/>
                    </a:lnTo>
                    <a:lnTo>
                      <a:pt x="0" y="2"/>
                    </a:lnTo>
                    <a:lnTo>
                      <a:pt x="2" y="2"/>
                    </a:lnTo>
                    <a:lnTo>
                      <a:pt x="4" y="4"/>
                    </a:lnTo>
                    <a:lnTo>
                      <a:pt x="4" y="4"/>
                    </a:lnTo>
                    <a:lnTo>
                      <a:pt x="4" y="4"/>
                    </a:lnTo>
                    <a:lnTo>
                      <a:pt x="5" y="4"/>
                    </a:lnTo>
                    <a:lnTo>
                      <a:pt x="5"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85" name="Freeform 2536"/>
              <p:cNvSpPr>
                <a:spLocks/>
              </p:cNvSpPr>
              <p:nvPr/>
            </p:nvSpPr>
            <p:spPr bwMode="auto">
              <a:xfrm>
                <a:off x="4369" y="2718"/>
                <a:ext cx="4" cy="6"/>
              </a:xfrm>
              <a:custGeom>
                <a:avLst/>
                <a:gdLst>
                  <a:gd name="T0" fmla="*/ 4 w 4"/>
                  <a:gd name="T1" fmla="*/ 0 h 6"/>
                  <a:gd name="T2" fmla="*/ 4 w 4"/>
                  <a:gd name="T3" fmla="*/ 0 h 6"/>
                  <a:gd name="T4" fmla="*/ 0 w 4"/>
                  <a:gd name="T5" fmla="*/ 2 h 6"/>
                  <a:gd name="T6" fmla="*/ 0 w 4"/>
                  <a:gd name="T7" fmla="*/ 2 h 6"/>
                  <a:gd name="T8" fmla="*/ 0 w 4"/>
                  <a:gd name="T9" fmla="*/ 2 h 6"/>
                  <a:gd name="T10" fmla="*/ 0 w 4"/>
                  <a:gd name="T11" fmla="*/ 4 h 6"/>
                  <a:gd name="T12" fmla="*/ 2 w 4"/>
                  <a:gd name="T13" fmla="*/ 6 h 6"/>
                  <a:gd name="T14" fmla="*/ 2 w 4"/>
                  <a:gd name="T15" fmla="*/ 6 h 6"/>
                  <a:gd name="T16" fmla="*/ 2 w 4"/>
                  <a:gd name="T17" fmla="*/ 4 h 6"/>
                  <a:gd name="T18" fmla="*/ 4 w 4"/>
                  <a:gd name="T19" fmla="*/ 6 h 6"/>
                  <a:gd name="T20" fmla="*/ 4 w 4"/>
                  <a:gd name="T21" fmla="*/ 6 h 6"/>
                  <a:gd name="T22" fmla="*/ 4 w 4"/>
                  <a:gd name="T23" fmla="*/ 2 h 6"/>
                  <a:gd name="T24" fmla="*/ 4 w 4"/>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6">
                    <a:moveTo>
                      <a:pt x="4" y="0"/>
                    </a:moveTo>
                    <a:lnTo>
                      <a:pt x="4" y="0"/>
                    </a:lnTo>
                    <a:lnTo>
                      <a:pt x="0" y="2"/>
                    </a:lnTo>
                    <a:lnTo>
                      <a:pt x="0" y="2"/>
                    </a:lnTo>
                    <a:lnTo>
                      <a:pt x="0" y="2"/>
                    </a:lnTo>
                    <a:lnTo>
                      <a:pt x="0" y="4"/>
                    </a:lnTo>
                    <a:lnTo>
                      <a:pt x="2" y="6"/>
                    </a:lnTo>
                    <a:lnTo>
                      <a:pt x="2" y="6"/>
                    </a:lnTo>
                    <a:lnTo>
                      <a:pt x="2" y="4"/>
                    </a:lnTo>
                    <a:lnTo>
                      <a:pt x="4" y="6"/>
                    </a:lnTo>
                    <a:lnTo>
                      <a:pt x="4" y="6"/>
                    </a:lnTo>
                    <a:lnTo>
                      <a:pt x="4" y="2"/>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86" name="Freeform 2537"/>
              <p:cNvSpPr>
                <a:spLocks/>
              </p:cNvSpPr>
              <p:nvPr/>
            </p:nvSpPr>
            <p:spPr bwMode="auto">
              <a:xfrm>
                <a:off x="4369" y="2718"/>
                <a:ext cx="4" cy="6"/>
              </a:xfrm>
              <a:custGeom>
                <a:avLst/>
                <a:gdLst>
                  <a:gd name="T0" fmla="*/ 4 w 4"/>
                  <a:gd name="T1" fmla="*/ 0 h 6"/>
                  <a:gd name="T2" fmla="*/ 4 w 4"/>
                  <a:gd name="T3" fmla="*/ 0 h 6"/>
                  <a:gd name="T4" fmla="*/ 0 w 4"/>
                  <a:gd name="T5" fmla="*/ 2 h 6"/>
                  <a:gd name="T6" fmla="*/ 0 w 4"/>
                  <a:gd name="T7" fmla="*/ 2 h 6"/>
                  <a:gd name="T8" fmla="*/ 0 w 4"/>
                  <a:gd name="T9" fmla="*/ 2 h 6"/>
                  <a:gd name="T10" fmla="*/ 0 w 4"/>
                  <a:gd name="T11" fmla="*/ 4 h 6"/>
                  <a:gd name="T12" fmla="*/ 2 w 4"/>
                  <a:gd name="T13" fmla="*/ 6 h 6"/>
                  <a:gd name="T14" fmla="*/ 2 w 4"/>
                  <a:gd name="T15" fmla="*/ 6 h 6"/>
                  <a:gd name="T16" fmla="*/ 2 w 4"/>
                  <a:gd name="T17" fmla="*/ 4 h 6"/>
                  <a:gd name="T18" fmla="*/ 4 w 4"/>
                  <a:gd name="T19" fmla="*/ 6 h 6"/>
                  <a:gd name="T20" fmla="*/ 4 w 4"/>
                  <a:gd name="T21" fmla="*/ 6 h 6"/>
                  <a:gd name="T22" fmla="*/ 4 w 4"/>
                  <a:gd name="T23" fmla="*/ 2 h 6"/>
                  <a:gd name="T24" fmla="*/ 4 w 4"/>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6">
                    <a:moveTo>
                      <a:pt x="4" y="0"/>
                    </a:moveTo>
                    <a:lnTo>
                      <a:pt x="4" y="0"/>
                    </a:lnTo>
                    <a:lnTo>
                      <a:pt x="0" y="2"/>
                    </a:lnTo>
                    <a:lnTo>
                      <a:pt x="0" y="2"/>
                    </a:lnTo>
                    <a:lnTo>
                      <a:pt x="0" y="2"/>
                    </a:lnTo>
                    <a:lnTo>
                      <a:pt x="0" y="4"/>
                    </a:lnTo>
                    <a:lnTo>
                      <a:pt x="2" y="6"/>
                    </a:lnTo>
                    <a:lnTo>
                      <a:pt x="2" y="6"/>
                    </a:lnTo>
                    <a:lnTo>
                      <a:pt x="2" y="4"/>
                    </a:lnTo>
                    <a:lnTo>
                      <a:pt x="4" y="6"/>
                    </a:lnTo>
                    <a:lnTo>
                      <a:pt x="4" y="6"/>
                    </a:lnTo>
                    <a:lnTo>
                      <a:pt x="4" y="2"/>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87" name="Freeform 2538"/>
              <p:cNvSpPr>
                <a:spLocks/>
              </p:cNvSpPr>
              <p:nvPr/>
            </p:nvSpPr>
            <p:spPr bwMode="auto">
              <a:xfrm>
                <a:off x="4373" y="2713"/>
                <a:ext cx="7" cy="5"/>
              </a:xfrm>
              <a:custGeom>
                <a:avLst/>
                <a:gdLst>
                  <a:gd name="T0" fmla="*/ 0 w 7"/>
                  <a:gd name="T1" fmla="*/ 0 h 5"/>
                  <a:gd name="T2" fmla="*/ 0 w 7"/>
                  <a:gd name="T3" fmla="*/ 0 h 5"/>
                  <a:gd name="T4" fmla="*/ 0 w 7"/>
                  <a:gd name="T5" fmla="*/ 2 h 5"/>
                  <a:gd name="T6" fmla="*/ 0 w 7"/>
                  <a:gd name="T7" fmla="*/ 3 h 5"/>
                  <a:gd name="T8" fmla="*/ 0 w 7"/>
                  <a:gd name="T9" fmla="*/ 3 h 5"/>
                  <a:gd name="T10" fmla="*/ 0 w 7"/>
                  <a:gd name="T11" fmla="*/ 3 h 5"/>
                  <a:gd name="T12" fmla="*/ 3 w 7"/>
                  <a:gd name="T13" fmla="*/ 3 h 5"/>
                  <a:gd name="T14" fmla="*/ 3 w 7"/>
                  <a:gd name="T15" fmla="*/ 3 h 5"/>
                  <a:gd name="T16" fmla="*/ 5 w 7"/>
                  <a:gd name="T17" fmla="*/ 5 h 5"/>
                  <a:gd name="T18" fmla="*/ 7 w 7"/>
                  <a:gd name="T19" fmla="*/ 5 h 5"/>
                  <a:gd name="T20" fmla="*/ 7 w 7"/>
                  <a:gd name="T21" fmla="*/ 5 h 5"/>
                  <a:gd name="T22" fmla="*/ 3 w 7"/>
                  <a:gd name="T23" fmla="*/ 2 h 5"/>
                  <a:gd name="T24" fmla="*/ 0 w 7"/>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5">
                    <a:moveTo>
                      <a:pt x="0" y="0"/>
                    </a:moveTo>
                    <a:lnTo>
                      <a:pt x="0" y="0"/>
                    </a:lnTo>
                    <a:lnTo>
                      <a:pt x="0" y="2"/>
                    </a:lnTo>
                    <a:lnTo>
                      <a:pt x="0" y="3"/>
                    </a:lnTo>
                    <a:lnTo>
                      <a:pt x="0" y="3"/>
                    </a:lnTo>
                    <a:lnTo>
                      <a:pt x="0" y="3"/>
                    </a:lnTo>
                    <a:lnTo>
                      <a:pt x="3" y="3"/>
                    </a:lnTo>
                    <a:lnTo>
                      <a:pt x="3" y="3"/>
                    </a:lnTo>
                    <a:lnTo>
                      <a:pt x="5" y="5"/>
                    </a:lnTo>
                    <a:lnTo>
                      <a:pt x="7" y="5"/>
                    </a:lnTo>
                    <a:lnTo>
                      <a:pt x="7" y="5"/>
                    </a:lnTo>
                    <a:lnTo>
                      <a:pt x="3"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88" name="Freeform 2539"/>
              <p:cNvSpPr>
                <a:spLocks/>
              </p:cNvSpPr>
              <p:nvPr/>
            </p:nvSpPr>
            <p:spPr bwMode="auto">
              <a:xfrm>
                <a:off x="4373" y="2713"/>
                <a:ext cx="7" cy="5"/>
              </a:xfrm>
              <a:custGeom>
                <a:avLst/>
                <a:gdLst>
                  <a:gd name="T0" fmla="*/ 0 w 7"/>
                  <a:gd name="T1" fmla="*/ 0 h 5"/>
                  <a:gd name="T2" fmla="*/ 0 w 7"/>
                  <a:gd name="T3" fmla="*/ 0 h 5"/>
                  <a:gd name="T4" fmla="*/ 0 w 7"/>
                  <a:gd name="T5" fmla="*/ 2 h 5"/>
                  <a:gd name="T6" fmla="*/ 0 w 7"/>
                  <a:gd name="T7" fmla="*/ 3 h 5"/>
                  <a:gd name="T8" fmla="*/ 0 w 7"/>
                  <a:gd name="T9" fmla="*/ 3 h 5"/>
                  <a:gd name="T10" fmla="*/ 0 w 7"/>
                  <a:gd name="T11" fmla="*/ 3 h 5"/>
                  <a:gd name="T12" fmla="*/ 3 w 7"/>
                  <a:gd name="T13" fmla="*/ 3 h 5"/>
                  <a:gd name="T14" fmla="*/ 3 w 7"/>
                  <a:gd name="T15" fmla="*/ 3 h 5"/>
                  <a:gd name="T16" fmla="*/ 5 w 7"/>
                  <a:gd name="T17" fmla="*/ 5 h 5"/>
                  <a:gd name="T18" fmla="*/ 7 w 7"/>
                  <a:gd name="T19" fmla="*/ 5 h 5"/>
                  <a:gd name="T20" fmla="*/ 7 w 7"/>
                  <a:gd name="T21" fmla="*/ 5 h 5"/>
                  <a:gd name="T22" fmla="*/ 3 w 7"/>
                  <a:gd name="T23" fmla="*/ 2 h 5"/>
                  <a:gd name="T24" fmla="*/ 0 w 7"/>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5">
                    <a:moveTo>
                      <a:pt x="0" y="0"/>
                    </a:moveTo>
                    <a:lnTo>
                      <a:pt x="0" y="0"/>
                    </a:lnTo>
                    <a:lnTo>
                      <a:pt x="0" y="2"/>
                    </a:lnTo>
                    <a:lnTo>
                      <a:pt x="0" y="3"/>
                    </a:lnTo>
                    <a:lnTo>
                      <a:pt x="0" y="3"/>
                    </a:lnTo>
                    <a:lnTo>
                      <a:pt x="0" y="3"/>
                    </a:lnTo>
                    <a:lnTo>
                      <a:pt x="3" y="3"/>
                    </a:lnTo>
                    <a:lnTo>
                      <a:pt x="3" y="3"/>
                    </a:lnTo>
                    <a:lnTo>
                      <a:pt x="5" y="5"/>
                    </a:lnTo>
                    <a:lnTo>
                      <a:pt x="7" y="5"/>
                    </a:lnTo>
                    <a:lnTo>
                      <a:pt x="7" y="5"/>
                    </a:lnTo>
                    <a:lnTo>
                      <a:pt x="3"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289" name="Freeform 2540"/>
              <p:cNvSpPr>
                <a:spLocks/>
              </p:cNvSpPr>
              <p:nvPr/>
            </p:nvSpPr>
            <p:spPr bwMode="auto">
              <a:xfrm>
                <a:off x="4380" y="2818"/>
                <a:ext cx="2" cy="2"/>
              </a:xfrm>
              <a:custGeom>
                <a:avLst/>
                <a:gdLst>
                  <a:gd name="T0" fmla="*/ 2 w 2"/>
                  <a:gd name="T1" fmla="*/ 0 h 2"/>
                  <a:gd name="T2" fmla="*/ 2 w 2"/>
                  <a:gd name="T3" fmla="*/ 0 h 2"/>
                  <a:gd name="T4" fmla="*/ 0 w 2"/>
                  <a:gd name="T5" fmla="*/ 0 h 2"/>
                  <a:gd name="T6" fmla="*/ 0 w 2"/>
                  <a:gd name="T7" fmla="*/ 0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0" y="0"/>
                    </a:lnTo>
                    <a:lnTo>
                      <a:pt x="0" y="0"/>
                    </a:lnTo>
                    <a:lnTo>
                      <a:pt x="2"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grpSp>
        <p:grpSp>
          <p:nvGrpSpPr>
            <p:cNvPr id="146" name="Group 2742"/>
            <p:cNvGrpSpPr>
              <a:grpSpLocks/>
            </p:cNvGrpSpPr>
            <p:nvPr/>
          </p:nvGrpSpPr>
          <p:grpSpPr bwMode="auto">
            <a:xfrm>
              <a:off x="7141585" y="4391642"/>
              <a:ext cx="1877236" cy="577983"/>
              <a:chOff x="4299" y="2529"/>
              <a:chExt cx="1166" cy="359"/>
            </a:xfrm>
            <a:solidFill>
              <a:schemeClr val="bg1">
                <a:lumMod val="85000"/>
              </a:schemeClr>
            </a:solidFill>
          </p:grpSpPr>
          <p:sp>
            <p:nvSpPr>
              <p:cNvPr id="889" name="Freeform 2542"/>
              <p:cNvSpPr>
                <a:spLocks/>
              </p:cNvSpPr>
              <p:nvPr/>
            </p:nvSpPr>
            <p:spPr bwMode="auto">
              <a:xfrm>
                <a:off x="4380" y="2818"/>
                <a:ext cx="2" cy="2"/>
              </a:xfrm>
              <a:custGeom>
                <a:avLst/>
                <a:gdLst>
                  <a:gd name="T0" fmla="*/ 2 w 2"/>
                  <a:gd name="T1" fmla="*/ 0 h 2"/>
                  <a:gd name="T2" fmla="*/ 2 w 2"/>
                  <a:gd name="T3" fmla="*/ 0 h 2"/>
                  <a:gd name="T4" fmla="*/ 0 w 2"/>
                  <a:gd name="T5" fmla="*/ 0 h 2"/>
                  <a:gd name="T6" fmla="*/ 0 w 2"/>
                  <a:gd name="T7" fmla="*/ 0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0" y="0"/>
                    </a:lnTo>
                    <a:lnTo>
                      <a:pt x="0" y="0"/>
                    </a:lnTo>
                    <a:lnTo>
                      <a:pt x="2"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90" name="Freeform 2543"/>
              <p:cNvSpPr>
                <a:spLocks/>
              </p:cNvSpPr>
              <p:nvPr/>
            </p:nvSpPr>
            <p:spPr bwMode="auto">
              <a:xfrm>
                <a:off x="4382" y="2807"/>
                <a:ext cx="148" cy="47"/>
              </a:xfrm>
              <a:custGeom>
                <a:avLst/>
                <a:gdLst>
                  <a:gd name="T0" fmla="*/ 19 w 148"/>
                  <a:gd name="T1" fmla="*/ 2 h 47"/>
                  <a:gd name="T2" fmla="*/ 14 w 148"/>
                  <a:gd name="T3" fmla="*/ 0 h 47"/>
                  <a:gd name="T4" fmla="*/ 10 w 148"/>
                  <a:gd name="T5" fmla="*/ 4 h 47"/>
                  <a:gd name="T6" fmla="*/ 7 w 148"/>
                  <a:gd name="T7" fmla="*/ 9 h 47"/>
                  <a:gd name="T8" fmla="*/ 3 w 148"/>
                  <a:gd name="T9" fmla="*/ 15 h 47"/>
                  <a:gd name="T10" fmla="*/ 0 w 148"/>
                  <a:gd name="T11" fmla="*/ 15 h 47"/>
                  <a:gd name="T12" fmla="*/ 10 w 148"/>
                  <a:gd name="T13" fmla="*/ 17 h 47"/>
                  <a:gd name="T14" fmla="*/ 19 w 148"/>
                  <a:gd name="T15" fmla="*/ 18 h 47"/>
                  <a:gd name="T16" fmla="*/ 19 w 148"/>
                  <a:gd name="T17" fmla="*/ 20 h 47"/>
                  <a:gd name="T18" fmla="*/ 17 w 148"/>
                  <a:gd name="T19" fmla="*/ 24 h 47"/>
                  <a:gd name="T20" fmla="*/ 32 w 148"/>
                  <a:gd name="T21" fmla="*/ 25 h 47"/>
                  <a:gd name="T22" fmla="*/ 44 w 148"/>
                  <a:gd name="T23" fmla="*/ 31 h 47"/>
                  <a:gd name="T24" fmla="*/ 50 w 148"/>
                  <a:gd name="T25" fmla="*/ 31 h 47"/>
                  <a:gd name="T26" fmla="*/ 53 w 148"/>
                  <a:gd name="T27" fmla="*/ 29 h 47"/>
                  <a:gd name="T28" fmla="*/ 69 w 148"/>
                  <a:gd name="T29" fmla="*/ 31 h 47"/>
                  <a:gd name="T30" fmla="*/ 89 w 148"/>
                  <a:gd name="T31" fmla="*/ 38 h 47"/>
                  <a:gd name="T32" fmla="*/ 98 w 148"/>
                  <a:gd name="T33" fmla="*/ 38 h 47"/>
                  <a:gd name="T34" fmla="*/ 105 w 148"/>
                  <a:gd name="T35" fmla="*/ 38 h 47"/>
                  <a:gd name="T36" fmla="*/ 123 w 148"/>
                  <a:gd name="T37" fmla="*/ 40 h 47"/>
                  <a:gd name="T38" fmla="*/ 130 w 148"/>
                  <a:gd name="T39" fmla="*/ 40 h 47"/>
                  <a:gd name="T40" fmla="*/ 141 w 148"/>
                  <a:gd name="T41" fmla="*/ 43 h 47"/>
                  <a:gd name="T42" fmla="*/ 146 w 148"/>
                  <a:gd name="T43" fmla="*/ 47 h 47"/>
                  <a:gd name="T44" fmla="*/ 148 w 148"/>
                  <a:gd name="T45" fmla="*/ 45 h 47"/>
                  <a:gd name="T46" fmla="*/ 144 w 148"/>
                  <a:gd name="T47" fmla="*/ 40 h 47"/>
                  <a:gd name="T48" fmla="*/ 146 w 148"/>
                  <a:gd name="T49" fmla="*/ 33 h 47"/>
                  <a:gd name="T50" fmla="*/ 142 w 148"/>
                  <a:gd name="T51" fmla="*/ 29 h 47"/>
                  <a:gd name="T52" fmla="*/ 135 w 148"/>
                  <a:gd name="T53" fmla="*/ 29 h 47"/>
                  <a:gd name="T54" fmla="*/ 126 w 148"/>
                  <a:gd name="T55" fmla="*/ 29 h 47"/>
                  <a:gd name="T56" fmla="*/ 119 w 148"/>
                  <a:gd name="T57" fmla="*/ 25 h 47"/>
                  <a:gd name="T58" fmla="*/ 119 w 148"/>
                  <a:gd name="T59" fmla="*/ 22 h 47"/>
                  <a:gd name="T60" fmla="*/ 117 w 148"/>
                  <a:gd name="T61" fmla="*/ 17 h 47"/>
                  <a:gd name="T62" fmla="*/ 110 w 148"/>
                  <a:gd name="T63" fmla="*/ 17 h 47"/>
                  <a:gd name="T64" fmla="*/ 109 w 148"/>
                  <a:gd name="T65" fmla="*/ 15 h 47"/>
                  <a:gd name="T66" fmla="*/ 103 w 148"/>
                  <a:gd name="T67" fmla="*/ 15 h 47"/>
                  <a:gd name="T68" fmla="*/ 100 w 148"/>
                  <a:gd name="T69" fmla="*/ 13 h 47"/>
                  <a:gd name="T70" fmla="*/ 94 w 148"/>
                  <a:gd name="T71" fmla="*/ 11 h 47"/>
                  <a:gd name="T72" fmla="*/ 91 w 148"/>
                  <a:gd name="T73" fmla="*/ 9 h 47"/>
                  <a:gd name="T74" fmla="*/ 85 w 148"/>
                  <a:gd name="T75" fmla="*/ 13 h 47"/>
                  <a:gd name="T76" fmla="*/ 82 w 148"/>
                  <a:gd name="T77" fmla="*/ 17 h 47"/>
                  <a:gd name="T78" fmla="*/ 76 w 148"/>
                  <a:gd name="T79" fmla="*/ 17 h 47"/>
                  <a:gd name="T80" fmla="*/ 66 w 148"/>
                  <a:gd name="T81" fmla="*/ 17 h 47"/>
                  <a:gd name="T82" fmla="*/ 60 w 148"/>
                  <a:gd name="T83" fmla="*/ 15 h 47"/>
                  <a:gd name="T84" fmla="*/ 53 w 148"/>
                  <a:gd name="T85" fmla="*/ 13 h 47"/>
                  <a:gd name="T86" fmla="*/ 48 w 148"/>
                  <a:gd name="T87" fmla="*/ 6 h 47"/>
                  <a:gd name="T88" fmla="*/ 42 w 148"/>
                  <a:gd name="T89" fmla="*/ 6 h 47"/>
                  <a:gd name="T90" fmla="*/ 37 w 148"/>
                  <a:gd name="T91" fmla="*/ 6 h 47"/>
                  <a:gd name="T92" fmla="*/ 32 w 148"/>
                  <a:gd name="T93" fmla="*/ 2 h 47"/>
                  <a:gd name="T94" fmla="*/ 26 w 148"/>
                  <a:gd name="T95"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47">
                    <a:moveTo>
                      <a:pt x="25" y="2"/>
                    </a:moveTo>
                    <a:lnTo>
                      <a:pt x="25" y="2"/>
                    </a:lnTo>
                    <a:lnTo>
                      <a:pt x="19" y="2"/>
                    </a:lnTo>
                    <a:lnTo>
                      <a:pt x="14" y="2"/>
                    </a:lnTo>
                    <a:lnTo>
                      <a:pt x="14" y="2"/>
                    </a:lnTo>
                    <a:lnTo>
                      <a:pt x="14" y="0"/>
                    </a:lnTo>
                    <a:lnTo>
                      <a:pt x="12" y="2"/>
                    </a:lnTo>
                    <a:lnTo>
                      <a:pt x="10" y="4"/>
                    </a:lnTo>
                    <a:lnTo>
                      <a:pt x="10" y="4"/>
                    </a:lnTo>
                    <a:lnTo>
                      <a:pt x="9" y="9"/>
                    </a:lnTo>
                    <a:lnTo>
                      <a:pt x="9" y="9"/>
                    </a:lnTo>
                    <a:lnTo>
                      <a:pt x="7" y="9"/>
                    </a:lnTo>
                    <a:lnTo>
                      <a:pt x="7" y="9"/>
                    </a:lnTo>
                    <a:lnTo>
                      <a:pt x="3" y="15"/>
                    </a:lnTo>
                    <a:lnTo>
                      <a:pt x="3" y="15"/>
                    </a:lnTo>
                    <a:lnTo>
                      <a:pt x="1" y="15"/>
                    </a:lnTo>
                    <a:lnTo>
                      <a:pt x="0" y="15"/>
                    </a:lnTo>
                    <a:lnTo>
                      <a:pt x="0" y="15"/>
                    </a:lnTo>
                    <a:lnTo>
                      <a:pt x="3" y="15"/>
                    </a:lnTo>
                    <a:lnTo>
                      <a:pt x="7" y="15"/>
                    </a:lnTo>
                    <a:lnTo>
                      <a:pt x="10" y="17"/>
                    </a:lnTo>
                    <a:lnTo>
                      <a:pt x="14" y="17"/>
                    </a:lnTo>
                    <a:lnTo>
                      <a:pt x="14" y="17"/>
                    </a:lnTo>
                    <a:lnTo>
                      <a:pt x="19" y="18"/>
                    </a:lnTo>
                    <a:lnTo>
                      <a:pt x="19" y="18"/>
                    </a:lnTo>
                    <a:lnTo>
                      <a:pt x="19" y="20"/>
                    </a:lnTo>
                    <a:lnTo>
                      <a:pt x="19" y="20"/>
                    </a:lnTo>
                    <a:lnTo>
                      <a:pt x="17" y="22"/>
                    </a:lnTo>
                    <a:lnTo>
                      <a:pt x="17" y="22"/>
                    </a:lnTo>
                    <a:lnTo>
                      <a:pt x="17" y="24"/>
                    </a:lnTo>
                    <a:lnTo>
                      <a:pt x="19" y="25"/>
                    </a:lnTo>
                    <a:lnTo>
                      <a:pt x="23" y="25"/>
                    </a:lnTo>
                    <a:lnTo>
                      <a:pt x="32" y="25"/>
                    </a:lnTo>
                    <a:lnTo>
                      <a:pt x="32" y="25"/>
                    </a:lnTo>
                    <a:lnTo>
                      <a:pt x="39" y="29"/>
                    </a:lnTo>
                    <a:lnTo>
                      <a:pt x="44" y="31"/>
                    </a:lnTo>
                    <a:lnTo>
                      <a:pt x="44" y="31"/>
                    </a:lnTo>
                    <a:lnTo>
                      <a:pt x="50" y="31"/>
                    </a:lnTo>
                    <a:lnTo>
                      <a:pt x="50" y="31"/>
                    </a:lnTo>
                    <a:lnTo>
                      <a:pt x="51" y="29"/>
                    </a:lnTo>
                    <a:lnTo>
                      <a:pt x="53" y="29"/>
                    </a:lnTo>
                    <a:lnTo>
                      <a:pt x="53" y="29"/>
                    </a:lnTo>
                    <a:lnTo>
                      <a:pt x="62" y="29"/>
                    </a:lnTo>
                    <a:lnTo>
                      <a:pt x="69" y="31"/>
                    </a:lnTo>
                    <a:lnTo>
                      <a:pt x="69" y="31"/>
                    </a:lnTo>
                    <a:lnTo>
                      <a:pt x="80" y="34"/>
                    </a:lnTo>
                    <a:lnTo>
                      <a:pt x="89" y="38"/>
                    </a:lnTo>
                    <a:lnTo>
                      <a:pt x="89" y="38"/>
                    </a:lnTo>
                    <a:lnTo>
                      <a:pt x="94" y="38"/>
                    </a:lnTo>
                    <a:lnTo>
                      <a:pt x="98" y="38"/>
                    </a:lnTo>
                    <a:lnTo>
                      <a:pt x="98" y="38"/>
                    </a:lnTo>
                    <a:lnTo>
                      <a:pt x="101" y="40"/>
                    </a:lnTo>
                    <a:lnTo>
                      <a:pt x="105" y="38"/>
                    </a:lnTo>
                    <a:lnTo>
                      <a:pt x="105" y="38"/>
                    </a:lnTo>
                    <a:lnTo>
                      <a:pt x="114" y="40"/>
                    </a:lnTo>
                    <a:lnTo>
                      <a:pt x="119" y="40"/>
                    </a:lnTo>
                    <a:lnTo>
                      <a:pt x="123" y="40"/>
                    </a:lnTo>
                    <a:lnTo>
                      <a:pt x="123" y="40"/>
                    </a:lnTo>
                    <a:lnTo>
                      <a:pt x="126" y="38"/>
                    </a:lnTo>
                    <a:lnTo>
                      <a:pt x="130" y="40"/>
                    </a:lnTo>
                    <a:lnTo>
                      <a:pt x="135" y="43"/>
                    </a:lnTo>
                    <a:lnTo>
                      <a:pt x="135" y="43"/>
                    </a:lnTo>
                    <a:lnTo>
                      <a:pt x="141" y="43"/>
                    </a:lnTo>
                    <a:lnTo>
                      <a:pt x="144" y="45"/>
                    </a:lnTo>
                    <a:lnTo>
                      <a:pt x="144" y="45"/>
                    </a:lnTo>
                    <a:lnTo>
                      <a:pt x="146" y="47"/>
                    </a:lnTo>
                    <a:lnTo>
                      <a:pt x="148" y="47"/>
                    </a:lnTo>
                    <a:lnTo>
                      <a:pt x="148" y="47"/>
                    </a:lnTo>
                    <a:lnTo>
                      <a:pt x="148" y="45"/>
                    </a:lnTo>
                    <a:lnTo>
                      <a:pt x="146" y="43"/>
                    </a:lnTo>
                    <a:lnTo>
                      <a:pt x="146" y="43"/>
                    </a:lnTo>
                    <a:lnTo>
                      <a:pt x="144" y="40"/>
                    </a:lnTo>
                    <a:lnTo>
                      <a:pt x="144" y="38"/>
                    </a:lnTo>
                    <a:lnTo>
                      <a:pt x="146" y="33"/>
                    </a:lnTo>
                    <a:lnTo>
                      <a:pt x="146" y="33"/>
                    </a:lnTo>
                    <a:lnTo>
                      <a:pt x="146" y="31"/>
                    </a:lnTo>
                    <a:lnTo>
                      <a:pt x="142" y="29"/>
                    </a:lnTo>
                    <a:lnTo>
                      <a:pt x="142" y="29"/>
                    </a:lnTo>
                    <a:lnTo>
                      <a:pt x="139" y="29"/>
                    </a:lnTo>
                    <a:lnTo>
                      <a:pt x="135" y="29"/>
                    </a:lnTo>
                    <a:lnTo>
                      <a:pt x="135" y="29"/>
                    </a:lnTo>
                    <a:lnTo>
                      <a:pt x="130" y="29"/>
                    </a:lnTo>
                    <a:lnTo>
                      <a:pt x="126" y="29"/>
                    </a:lnTo>
                    <a:lnTo>
                      <a:pt x="126" y="29"/>
                    </a:lnTo>
                    <a:lnTo>
                      <a:pt x="123" y="29"/>
                    </a:lnTo>
                    <a:lnTo>
                      <a:pt x="119" y="25"/>
                    </a:lnTo>
                    <a:lnTo>
                      <a:pt x="119" y="25"/>
                    </a:lnTo>
                    <a:lnTo>
                      <a:pt x="121" y="22"/>
                    </a:lnTo>
                    <a:lnTo>
                      <a:pt x="119" y="22"/>
                    </a:lnTo>
                    <a:lnTo>
                      <a:pt x="119" y="22"/>
                    </a:lnTo>
                    <a:lnTo>
                      <a:pt x="119" y="22"/>
                    </a:lnTo>
                    <a:lnTo>
                      <a:pt x="117" y="18"/>
                    </a:lnTo>
                    <a:lnTo>
                      <a:pt x="117" y="17"/>
                    </a:lnTo>
                    <a:lnTo>
                      <a:pt x="117" y="17"/>
                    </a:lnTo>
                    <a:lnTo>
                      <a:pt x="114" y="17"/>
                    </a:lnTo>
                    <a:lnTo>
                      <a:pt x="110" y="17"/>
                    </a:lnTo>
                    <a:lnTo>
                      <a:pt x="110" y="17"/>
                    </a:lnTo>
                    <a:lnTo>
                      <a:pt x="109" y="15"/>
                    </a:lnTo>
                    <a:lnTo>
                      <a:pt x="109" y="15"/>
                    </a:lnTo>
                    <a:lnTo>
                      <a:pt x="107" y="15"/>
                    </a:lnTo>
                    <a:lnTo>
                      <a:pt x="103" y="15"/>
                    </a:lnTo>
                    <a:lnTo>
                      <a:pt x="103" y="15"/>
                    </a:lnTo>
                    <a:lnTo>
                      <a:pt x="101" y="13"/>
                    </a:lnTo>
                    <a:lnTo>
                      <a:pt x="101" y="11"/>
                    </a:lnTo>
                    <a:lnTo>
                      <a:pt x="100" y="13"/>
                    </a:lnTo>
                    <a:lnTo>
                      <a:pt x="100" y="13"/>
                    </a:lnTo>
                    <a:lnTo>
                      <a:pt x="96" y="13"/>
                    </a:lnTo>
                    <a:lnTo>
                      <a:pt x="94" y="11"/>
                    </a:lnTo>
                    <a:lnTo>
                      <a:pt x="94" y="11"/>
                    </a:lnTo>
                    <a:lnTo>
                      <a:pt x="92" y="9"/>
                    </a:lnTo>
                    <a:lnTo>
                      <a:pt x="91" y="9"/>
                    </a:lnTo>
                    <a:lnTo>
                      <a:pt x="87" y="9"/>
                    </a:lnTo>
                    <a:lnTo>
                      <a:pt x="85" y="13"/>
                    </a:lnTo>
                    <a:lnTo>
                      <a:pt x="85" y="13"/>
                    </a:lnTo>
                    <a:lnTo>
                      <a:pt x="85" y="17"/>
                    </a:lnTo>
                    <a:lnTo>
                      <a:pt x="84" y="17"/>
                    </a:lnTo>
                    <a:lnTo>
                      <a:pt x="82" y="17"/>
                    </a:lnTo>
                    <a:lnTo>
                      <a:pt x="82" y="17"/>
                    </a:lnTo>
                    <a:lnTo>
                      <a:pt x="76" y="17"/>
                    </a:lnTo>
                    <a:lnTo>
                      <a:pt x="76" y="17"/>
                    </a:lnTo>
                    <a:lnTo>
                      <a:pt x="73" y="17"/>
                    </a:lnTo>
                    <a:lnTo>
                      <a:pt x="73" y="17"/>
                    </a:lnTo>
                    <a:lnTo>
                      <a:pt x="66" y="17"/>
                    </a:lnTo>
                    <a:lnTo>
                      <a:pt x="66" y="17"/>
                    </a:lnTo>
                    <a:lnTo>
                      <a:pt x="62" y="15"/>
                    </a:lnTo>
                    <a:lnTo>
                      <a:pt x="60" y="15"/>
                    </a:lnTo>
                    <a:lnTo>
                      <a:pt x="60" y="15"/>
                    </a:lnTo>
                    <a:lnTo>
                      <a:pt x="57" y="15"/>
                    </a:lnTo>
                    <a:lnTo>
                      <a:pt x="53" y="13"/>
                    </a:lnTo>
                    <a:lnTo>
                      <a:pt x="50" y="8"/>
                    </a:lnTo>
                    <a:lnTo>
                      <a:pt x="50" y="8"/>
                    </a:lnTo>
                    <a:lnTo>
                      <a:pt x="48" y="6"/>
                    </a:lnTo>
                    <a:lnTo>
                      <a:pt x="46" y="8"/>
                    </a:lnTo>
                    <a:lnTo>
                      <a:pt x="46" y="8"/>
                    </a:lnTo>
                    <a:lnTo>
                      <a:pt x="42" y="6"/>
                    </a:lnTo>
                    <a:lnTo>
                      <a:pt x="41" y="6"/>
                    </a:lnTo>
                    <a:lnTo>
                      <a:pt x="41" y="6"/>
                    </a:lnTo>
                    <a:lnTo>
                      <a:pt x="37" y="6"/>
                    </a:lnTo>
                    <a:lnTo>
                      <a:pt x="35" y="2"/>
                    </a:lnTo>
                    <a:lnTo>
                      <a:pt x="35" y="2"/>
                    </a:lnTo>
                    <a:lnTo>
                      <a:pt x="32" y="2"/>
                    </a:lnTo>
                    <a:lnTo>
                      <a:pt x="28" y="0"/>
                    </a:lnTo>
                    <a:lnTo>
                      <a:pt x="28" y="0"/>
                    </a:lnTo>
                    <a:lnTo>
                      <a:pt x="26" y="4"/>
                    </a:lnTo>
                    <a:lnTo>
                      <a:pt x="25" y="4"/>
                    </a:lnTo>
                    <a:lnTo>
                      <a:pt x="25"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91" name="Freeform 2544"/>
              <p:cNvSpPr>
                <a:spLocks/>
              </p:cNvSpPr>
              <p:nvPr/>
            </p:nvSpPr>
            <p:spPr bwMode="auto">
              <a:xfrm>
                <a:off x="4382" y="2807"/>
                <a:ext cx="148" cy="47"/>
              </a:xfrm>
              <a:custGeom>
                <a:avLst/>
                <a:gdLst>
                  <a:gd name="T0" fmla="*/ 19 w 148"/>
                  <a:gd name="T1" fmla="*/ 2 h 47"/>
                  <a:gd name="T2" fmla="*/ 14 w 148"/>
                  <a:gd name="T3" fmla="*/ 0 h 47"/>
                  <a:gd name="T4" fmla="*/ 10 w 148"/>
                  <a:gd name="T5" fmla="*/ 4 h 47"/>
                  <a:gd name="T6" fmla="*/ 7 w 148"/>
                  <a:gd name="T7" fmla="*/ 9 h 47"/>
                  <a:gd name="T8" fmla="*/ 3 w 148"/>
                  <a:gd name="T9" fmla="*/ 15 h 47"/>
                  <a:gd name="T10" fmla="*/ 0 w 148"/>
                  <a:gd name="T11" fmla="*/ 15 h 47"/>
                  <a:gd name="T12" fmla="*/ 10 w 148"/>
                  <a:gd name="T13" fmla="*/ 17 h 47"/>
                  <a:gd name="T14" fmla="*/ 19 w 148"/>
                  <a:gd name="T15" fmla="*/ 18 h 47"/>
                  <a:gd name="T16" fmla="*/ 19 w 148"/>
                  <a:gd name="T17" fmla="*/ 20 h 47"/>
                  <a:gd name="T18" fmla="*/ 17 w 148"/>
                  <a:gd name="T19" fmla="*/ 24 h 47"/>
                  <a:gd name="T20" fmla="*/ 32 w 148"/>
                  <a:gd name="T21" fmla="*/ 25 h 47"/>
                  <a:gd name="T22" fmla="*/ 44 w 148"/>
                  <a:gd name="T23" fmla="*/ 31 h 47"/>
                  <a:gd name="T24" fmla="*/ 50 w 148"/>
                  <a:gd name="T25" fmla="*/ 31 h 47"/>
                  <a:gd name="T26" fmla="*/ 53 w 148"/>
                  <a:gd name="T27" fmla="*/ 29 h 47"/>
                  <a:gd name="T28" fmla="*/ 69 w 148"/>
                  <a:gd name="T29" fmla="*/ 31 h 47"/>
                  <a:gd name="T30" fmla="*/ 89 w 148"/>
                  <a:gd name="T31" fmla="*/ 38 h 47"/>
                  <a:gd name="T32" fmla="*/ 98 w 148"/>
                  <a:gd name="T33" fmla="*/ 38 h 47"/>
                  <a:gd name="T34" fmla="*/ 105 w 148"/>
                  <a:gd name="T35" fmla="*/ 38 h 47"/>
                  <a:gd name="T36" fmla="*/ 123 w 148"/>
                  <a:gd name="T37" fmla="*/ 40 h 47"/>
                  <a:gd name="T38" fmla="*/ 130 w 148"/>
                  <a:gd name="T39" fmla="*/ 40 h 47"/>
                  <a:gd name="T40" fmla="*/ 141 w 148"/>
                  <a:gd name="T41" fmla="*/ 43 h 47"/>
                  <a:gd name="T42" fmla="*/ 146 w 148"/>
                  <a:gd name="T43" fmla="*/ 47 h 47"/>
                  <a:gd name="T44" fmla="*/ 148 w 148"/>
                  <a:gd name="T45" fmla="*/ 45 h 47"/>
                  <a:gd name="T46" fmla="*/ 144 w 148"/>
                  <a:gd name="T47" fmla="*/ 40 h 47"/>
                  <a:gd name="T48" fmla="*/ 146 w 148"/>
                  <a:gd name="T49" fmla="*/ 33 h 47"/>
                  <a:gd name="T50" fmla="*/ 142 w 148"/>
                  <a:gd name="T51" fmla="*/ 29 h 47"/>
                  <a:gd name="T52" fmla="*/ 135 w 148"/>
                  <a:gd name="T53" fmla="*/ 29 h 47"/>
                  <a:gd name="T54" fmla="*/ 126 w 148"/>
                  <a:gd name="T55" fmla="*/ 29 h 47"/>
                  <a:gd name="T56" fmla="*/ 119 w 148"/>
                  <a:gd name="T57" fmla="*/ 25 h 47"/>
                  <a:gd name="T58" fmla="*/ 119 w 148"/>
                  <a:gd name="T59" fmla="*/ 22 h 47"/>
                  <a:gd name="T60" fmla="*/ 117 w 148"/>
                  <a:gd name="T61" fmla="*/ 17 h 47"/>
                  <a:gd name="T62" fmla="*/ 110 w 148"/>
                  <a:gd name="T63" fmla="*/ 17 h 47"/>
                  <a:gd name="T64" fmla="*/ 109 w 148"/>
                  <a:gd name="T65" fmla="*/ 15 h 47"/>
                  <a:gd name="T66" fmla="*/ 103 w 148"/>
                  <a:gd name="T67" fmla="*/ 15 h 47"/>
                  <a:gd name="T68" fmla="*/ 100 w 148"/>
                  <a:gd name="T69" fmla="*/ 13 h 47"/>
                  <a:gd name="T70" fmla="*/ 94 w 148"/>
                  <a:gd name="T71" fmla="*/ 11 h 47"/>
                  <a:gd name="T72" fmla="*/ 91 w 148"/>
                  <a:gd name="T73" fmla="*/ 9 h 47"/>
                  <a:gd name="T74" fmla="*/ 85 w 148"/>
                  <a:gd name="T75" fmla="*/ 13 h 47"/>
                  <a:gd name="T76" fmla="*/ 82 w 148"/>
                  <a:gd name="T77" fmla="*/ 17 h 47"/>
                  <a:gd name="T78" fmla="*/ 76 w 148"/>
                  <a:gd name="T79" fmla="*/ 17 h 47"/>
                  <a:gd name="T80" fmla="*/ 66 w 148"/>
                  <a:gd name="T81" fmla="*/ 17 h 47"/>
                  <a:gd name="T82" fmla="*/ 60 w 148"/>
                  <a:gd name="T83" fmla="*/ 15 h 47"/>
                  <a:gd name="T84" fmla="*/ 53 w 148"/>
                  <a:gd name="T85" fmla="*/ 13 h 47"/>
                  <a:gd name="T86" fmla="*/ 48 w 148"/>
                  <a:gd name="T87" fmla="*/ 6 h 47"/>
                  <a:gd name="T88" fmla="*/ 42 w 148"/>
                  <a:gd name="T89" fmla="*/ 6 h 47"/>
                  <a:gd name="T90" fmla="*/ 37 w 148"/>
                  <a:gd name="T91" fmla="*/ 6 h 47"/>
                  <a:gd name="T92" fmla="*/ 32 w 148"/>
                  <a:gd name="T93" fmla="*/ 2 h 47"/>
                  <a:gd name="T94" fmla="*/ 26 w 148"/>
                  <a:gd name="T95"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8" h="47">
                    <a:moveTo>
                      <a:pt x="25" y="2"/>
                    </a:moveTo>
                    <a:lnTo>
                      <a:pt x="25" y="2"/>
                    </a:lnTo>
                    <a:lnTo>
                      <a:pt x="19" y="2"/>
                    </a:lnTo>
                    <a:lnTo>
                      <a:pt x="14" y="2"/>
                    </a:lnTo>
                    <a:lnTo>
                      <a:pt x="14" y="2"/>
                    </a:lnTo>
                    <a:lnTo>
                      <a:pt x="14" y="0"/>
                    </a:lnTo>
                    <a:lnTo>
                      <a:pt x="12" y="2"/>
                    </a:lnTo>
                    <a:lnTo>
                      <a:pt x="10" y="4"/>
                    </a:lnTo>
                    <a:lnTo>
                      <a:pt x="10" y="4"/>
                    </a:lnTo>
                    <a:lnTo>
                      <a:pt x="9" y="9"/>
                    </a:lnTo>
                    <a:lnTo>
                      <a:pt x="9" y="9"/>
                    </a:lnTo>
                    <a:lnTo>
                      <a:pt x="7" y="9"/>
                    </a:lnTo>
                    <a:lnTo>
                      <a:pt x="7" y="9"/>
                    </a:lnTo>
                    <a:lnTo>
                      <a:pt x="3" y="15"/>
                    </a:lnTo>
                    <a:lnTo>
                      <a:pt x="3" y="15"/>
                    </a:lnTo>
                    <a:lnTo>
                      <a:pt x="1" y="15"/>
                    </a:lnTo>
                    <a:lnTo>
                      <a:pt x="0" y="15"/>
                    </a:lnTo>
                    <a:lnTo>
                      <a:pt x="0" y="15"/>
                    </a:lnTo>
                    <a:lnTo>
                      <a:pt x="3" y="15"/>
                    </a:lnTo>
                    <a:lnTo>
                      <a:pt x="7" y="15"/>
                    </a:lnTo>
                    <a:lnTo>
                      <a:pt x="10" y="17"/>
                    </a:lnTo>
                    <a:lnTo>
                      <a:pt x="14" y="17"/>
                    </a:lnTo>
                    <a:lnTo>
                      <a:pt x="14" y="17"/>
                    </a:lnTo>
                    <a:lnTo>
                      <a:pt x="19" y="18"/>
                    </a:lnTo>
                    <a:lnTo>
                      <a:pt x="19" y="18"/>
                    </a:lnTo>
                    <a:lnTo>
                      <a:pt x="19" y="20"/>
                    </a:lnTo>
                    <a:lnTo>
                      <a:pt x="19" y="20"/>
                    </a:lnTo>
                    <a:lnTo>
                      <a:pt x="17" y="22"/>
                    </a:lnTo>
                    <a:lnTo>
                      <a:pt x="17" y="22"/>
                    </a:lnTo>
                    <a:lnTo>
                      <a:pt x="17" y="24"/>
                    </a:lnTo>
                    <a:lnTo>
                      <a:pt x="19" y="25"/>
                    </a:lnTo>
                    <a:lnTo>
                      <a:pt x="23" y="25"/>
                    </a:lnTo>
                    <a:lnTo>
                      <a:pt x="32" y="25"/>
                    </a:lnTo>
                    <a:lnTo>
                      <a:pt x="32" y="25"/>
                    </a:lnTo>
                    <a:lnTo>
                      <a:pt x="39" y="29"/>
                    </a:lnTo>
                    <a:lnTo>
                      <a:pt x="44" y="31"/>
                    </a:lnTo>
                    <a:lnTo>
                      <a:pt x="44" y="31"/>
                    </a:lnTo>
                    <a:lnTo>
                      <a:pt x="50" y="31"/>
                    </a:lnTo>
                    <a:lnTo>
                      <a:pt x="50" y="31"/>
                    </a:lnTo>
                    <a:lnTo>
                      <a:pt x="51" y="29"/>
                    </a:lnTo>
                    <a:lnTo>
                      <a:pt x="53" y="29"/>
                    </a:lnTo>
                    <a:lnTo>
                      <a:pt x="53" y="29"/>
                    </a:lnTo>
                    <a:lnTo>
                      <a:pt x="62" y="29"/>
                    </a:lnTo>
                    <a:lnTo>
                      <a:pt x="69" y="31"/>
                    </a:lnTo>
                    <a:lnTo>
                      <a:pt x="69" y="31"/>
                    </a:lnTo>
                    <a:lnTo>
                      <a:pt x="80" y="34"/>
                    </a:lnTo>
                    <a:lnTo>
                      <a:pt x="89" y="38"/>
                    </a:lnTo>
                    <a:lnTo>
                      <a:pt x="89" y="38"/>
                    </a:lnTo>
                    <a:lnTo>
                      <a:pt x="94" y="38"/>
                    </a:lnTo>
                    <a:lnTo>
                      <a:pt x="98" y="38"/>
                    </a:lnTo>
                    <a:lnTo>
                      <a:pt x="98" y="38"/>
                    </a:lnTo>
                    <a:lnTo>
                      <a:pt x="101" y="40"/>
                    </a:lnTo>
                    <a:lnTo>
                      <a:pt x="105" y="38"/>
                    </a:lnTo>
                    <a:lnTo>
                      <a:pt x="105" y="38"/>
                    </a:lnTo>
                    <a:lnTo>
                      <a:pt x="114" y="40"/>
                    </a:lnTo>
                    <a:lnTo>
                      <a:pt x="119" y="40"/>
                    </a:lnTo>
                    <a:lnTo>
                      <a:pt x="123" y="40"/>
                    </a:lnTo>
                    <a:lnTo>
                      <a:pt x="123" y="40"/>
                    </a:lnTo>
                    <a:lnTo>
                      <a:pt x="126" y="38"/>
                    </a:lnTo>
                    <a:lnTo>
                      <a:pt x="130" y="40"/>
                    </a:lnTo>
                    <a:lnTo>
                      <a:pt x="135" y="43"/>
                    </a:lnTo>
                    <a:lnTo>
                      <a:pt x="135" y="43"/>
                    </a:lnTo>
                    <a:lnTo>
                      <a:pt x="141" y="43"/>
                    </a:lnTo>
                    <a:lnTo>
                      <a:pt x="144" y="45"/>
                    </a:lnTo>
                    <a:lnTo>
                      <a:pt x="144" y="45"/>
                    </a:lnTo>
                    <a:lnTo>
                      <a:pt x="146" y="47"/>
                    </a:lnTo>
                    <a:lnTo>
                      <a:pt x="148" y="47"/>
                    </a:lnTo>
                    <a:lnTo>
                      <a:pt x="148" y="47"/>
                    </a:lnTo>
                    <a:lnTo>
                      <a:pt x="148" y="45"/>
                    </a:lnTo>
                    <a:lnTo>
                      <a:pt x="146" y="43"/>
                    </a:lnTo>
                    <a:lnTo>
                      <a:pt x="146" y="43"/>
                    </a:lnTo>
                    <a:lnTo>
                      <a:pt x="144" y="40"/>
                    </a:lnTo>
                    <a:lnTo>
                      <a:pt x="144" y="38"/>
                    </a:lnTo>
                    <a:lnTo>
                      <a:pt x="146" y="33"/>
                    </a:lnTo>
                    <a:lnTo>
                      <a:pt x="146" y="33"/>
                    </a:lnTo>
                    <a:lnTo>
                      <a:pt x="146" y="31"/>
                    </a:lnTo>
                    <a:lnTo>
                      <a:pt x="142" y="29"/>
                    </a:lnTo>
                    <a:lnTo>
                      <a:pt x="142" y="29"/>
                    </a:lnTo>
                    <a:lnTo>
                      <a:pt x="139" y="29"/>
                    </a:lnTo>
                    <a:lnTo>
                      <a:pt x="135" y="29"/>
                    </a:lnTo>
                    <a:lnTo>
                      <a:pt x="135" y="29"/>
                    </a:lnTo>
                    <a:lnTo>
                      <a:pt x="130" y="29"/>
                    </a:lnTo>
                    <a:lnTo>
                      <a:pt x="126" y="29"/>
                    </a:lnTo>
                    <a:lnTo>
                      <a:pt x="126" y="29"/>
                    </a:lnTo>
                    <a:lnTo>
                      <a:pt x="123" y="29"/>
                    </a:lnTo>
                    <a:lnTo>
                      <a:pt x="119" y="25"/>
                    </a:lnTo>
                    <a:lnTo>
                      <a:pt x="119" y="25"/>
                    </a:lnTo>
                    <a:lnTo>
                      <a:pt x="121" y="22"/>
                    </a:lnTo>
                    <a:lnTo>
                      <a:pt x="119" y="22"/>
                    </a:lnTo>
                    <a:lnTo>
                      <a:pt x="119" y="22"/>
                    </a:lnTo>
                    <a:lnTo>
                      <a:pt x="119" y="22"/>
                    </a:lnTo>
                    <a:lnTo>
                      <a:pt x="117" y="18"/>
                    </a:lnTo>
                    <a:lnTo>
                      <a:pt x="117" y="17"/>
                    </a:lnTo>
                    <a:lnTo>
                      <a:pt x="117" y="17"/>
                    </a:lnTo>
                    <a:lnTo>
                      <a:pt x="114" y="17"/>
                    </a:lnTo>
                    <a:lnTo>
                      <a:pt x="110" y="17"/>
                    </a:lnTo>
                    <a:lnTo>
                      <a:pt x="110" y="17"/>
                    </a:lnTo>
                    <a:lnTo>
                      <a:pt x="109" y="15"/>
                    </a:lnTo>
                    <a:lnTo>
                      <a:pt x="109" y="15"/>
                    </a:lnTo>
                    <a:lnTo>
                      <a:pt x="107" y="15"/>
                    </a:lnTo>
                    <a:lnTo>
                      <a:pt x="103" y="15"/>
                    </a:lnTo>
                    <a:lnTo>
                      <a:pt x="103" y="15"/>
                    </a:lnTo>
                    <a:lnTo>
                      <a:pt x="101" y="13"/>
                    </a:lnTo>
                    <a:lnTo>
                      <a:pt x="101" y="11"/>
                    </a:lnTo>
                    <a:lnTo>
                      <a:pt x="100" y="13"/>
                    </a:lnTo>
                    <a:lnTo>
                      <a:pt x="100" y="13"/>
                    </a:lnTo>
                    <a:lnTo>
                      <a:pt x="96" y="13"/>
                    </a:lnTo>
                    <a:lnTo>
                      <a:pt x="94" y="11"/>
                    </a:lnTo>
                    <a:lnTo>
                      <a:pt x="94" y="11"/>
                    </a:lnTo>
                    <a:lnTo>
                      <a:pt x="92" y="9"/>
                    </a:lnTo>
                    <a:lnTo>
                      <a:pt x="91" y="9"/>
                    </a:lnTo>
                    <a:lnTo>
                      <a:pt x="87" y="9"/>
                    </a:lnTo>
                    <a:lnTo>
                      <a:pt x="85" y="13"/>
                    </a:lnTo>
                    <a:lnTo>
                      <a:pt x="85" y="13"/>
                    </a:lnTo>
                    <a:lnTo>
                      <a:pt x="85" y="17"/>
                    </a:lnTo>
                    <a:lnTo>
                      <a:pt x="84" y="17"/>
                    </a:lnTo>
                    <a:lnTo>
                      <a:pt x="82" y="17"/>
                    </a:lnTo>
                    <a:lnTo>
                      <a:pt x="82" y="17"/>
                    </a:lnTo>
                    <a:lnTo>
                      <a:pt x="76" y="17"/>
                    </a:lnTo>
                    <a:lnTo>
                      <a:pt x="76" y="17"/>
                    </a:lnTo>
                    <a:lnTo>
                      <a:pt x="73" y="17"/>
                    </a:lnTo>
                    <a:lnTo>
                      <a:pt x="73" y="17"/>
                    </a:lnTo>
                    <a:lnTo>
                      <a:pt x="66" y="17"/>
                    </a:lnTo>
                    <a:lnTo>
                      <a:pt x="66" y="17"/>
                    </a:lnTo>
                    <a:lnTo>
                      <a:pt x="62" y="15"/>
                    </a:lnTo>
                    <a:lnTo>
                      <a:pt x="60" y="15"/>
                    </a:lnTo>
                    <a:lnTo>
                      <a:pt x="60" y="15"/>
                    </a:lnTo>
                    <a:lnTo>
                      <a:pt x="57" y="15"/>
                    </a:lnTo>
                    <a:lnTo>
                      <a:pt x="53" y="13"/>
                    </a:lnTo>
                    <a:lnTo>
                      <a:pt x="50" y="8"/>
                    </a:lnTo>
                    <a:lnTo>
                      <a:pt x="50" y="8"/>
                    </a:lnTo>
                    <a:lnTo>
                      <a:pt x="48" y="6"/>
                    </a:lnTo>
                    <a:lnTo>
                      <a:pt x="46" y="8"/>
                    </a:lnTo>
                    <a:lnTo>
                      <a:pt x="46" y="8"/>
                    </a:lnTo>
                    <a:lnTo>
                      <a:pt x="42" y="6"/>
                    </a:lnTo>
                    <a:lnTo>
                      <a:pt x="41" y="6"/>
                    </a:lnTo>
                    <a:lnTo>
                      <a:pt x="41" y="6"/>
                    </a:lnTo>
                    <a:lnTo>
                      <a:pt x="37" y="6"/>
                    </a:lnTo>
                    <a:lnTo>
                      <a:pt x="35" y="2"/>
                    </a:lnTo>
                    <a:lnTo>
                      <a:pt x="35" y="2"/>
                    </a:lnTo>
                    <a:lnTo>
                      <a:pt x="32" y="2"/>
                    </a:lnTo>
                    <a:lnTo>
                      <a:pt x="28" y="0"/>
                    </a:lnTo>
                    <a:lnTo>
                      <a:pt x="28" y="0"/>
                    </a:lnTo>
                    <a:lnTo>
                      <a:pt x="26" y="4"/>
                    </a:lnTo>
                    <a:lnTo>
                      <a:pt x="25" y="4"/>
                    </a:lnTo>
                    <a:lnTo>
                      <a:pt x="25"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92" name="Freeform 2545"/>
              <p:cNvSpPr>
                <a:spLocks/>
              </p:cNvSpPr>
              <p:nvPr/>
            </p:nvSpPr>
            <p:spPr bwMode="auto">
              <a:xfrm>
                <a:off x="4382" y="2738"/>
                <a:ext cx="28" cy="25"/>
              </a:xfrm>
              <a:custGeom>
                <a:avLst/>
                <a:gdLst>
                  <a:gd name="T0" fmla="*/ 3 w 28"/>
                  <a:gd name="T1" fmla="*/ 2 h 25"/>
                  <a:gd name="T2" fmla="*/ 3 w 28"/>
                  <a:gd name="T3" fmla="*/ 2 h 25"/>
                  <a:gd name="T4" fmla="*/ 5 w 28"/>
                  <a:gd name="T5" fmla="*/ 3 h 25"/>
                  <a:gd name="T6" fmla="*/ 3 w 28"/>
                  <a:gd name="T7" fmla="*/ 5 h 25"/>
                  <a:gd name="T8" fmla="*/ 0 w 28"/>
                  <a:gd name="T9" fmla="*/ 7 h 25"/>
                  <a:gd name="T10" fmla="*/ 0 w 28"/>
                  <a:gd name="T11" fmla="*/ 7 h 25"/>
                  <a:gd name="T12" fmla="*/ 3 w 28"/>
                  <a:gd name="T13" fmla="*/ 9 h 25"/>
                  <a:gd name="T14" fmla="*/ 7 w 28"/>
                  <a:gd name="T15" fmla="*/ 9 h 25"/>
                  <a:gd name="T16" fmla="*/ 7 w 28"/>
                  <a:gd name="T17" fmla="*/ 9 h 25"/>
                  <a:gd name="T18" fmla="*/ 9 w 28"/>
                  <a:gd name="T19" fmla="*/ 9 h 25"/>
                  <a:gd name="T20" fmla="*/ 10 w 28"/>
                  <a:gd name="T21" fmla="*/ 11 h 25"/>
                  <a:gd name="T22" fmla="*/ 10 w 28"/>
                  <a:gd name="T23" fmla="*/ 11 h 25"/>
                  <a:gd name="T24" fmla="*/ 14 w 28"/>
                  <a:gd name="T25" fmla="*/ 14 h 25"/>
                  <a:gd name="T26" fmla="*/ 14 w 28"/>
                  <a:gd name="T27" fmla="*/ 14 h 25"/>
                  <a:gd name="T28" fmla="*/ 14 w 28"/>
                  <a:gd name="T29" fmla="*/ 18 h 25"/>
                  <a:gd name="T30" fmla="*/ 16 w 28"/>
                  <a:gd name="T31" fmla="*/ 21 h 25"/>
                  <a:gd name="T32" fmla="*/ 16 w 28"/>
                  <a:gd name="T33" fmla="*/ 21 h 25"/>
                  <a:gd name="T34" fmla="*/ 21 w 28"/>
                  <a:gd name="T35" fmla="*/ 23 h 25"/>
                  <a:gd name="T36" fmla="*/ 23 w 28"/>
                  <a:gd name="T37" fmla="*/ 25 h 25"/>
                  <a:gd name="T38" fmla="*/ 25 w 28"/>
                  <a:gd name="T39" fmla="*/ 25 h 25"/>
                  <a:gd name="T40" fmla="*/ 25 w 28"/>
                  <a:gd name="T41" fmla="*/ 25 h 25"/>
                  <a:gd name="T42" fmla="*/ 26 w 28"/>
                  <a:gd name="T43" fmla="*/ 23 h 25"/>
                  <a:gd name="T44" fmla="*/ 26 w 28"/>
                  <a:gd name="T45" fmla="*/ 23 h 25"/>
                  <a:gd name="T46" fmla="*/ 25 w 28"/>
                  <a:gd name="T47" fmla="*/ 21 h 25"/>
                  <a:gd name="T48" fmla="*/ 25 w 28"/>
                  <a:gd name="T49" fmla="*/ 21 h 25"/>
                  <a:gd name="T50" fmla="*/ 25 w 28"/>
                  <a:gd name="T51" fmla="*/ 18 h 25"/>
                  <a:gd name="T52" fmla="*/ 28 w 28"/>
                  <a:gd name="T53" fmla="*/ 16 h 25"/>
                  <a:gd name="T54" fmla="*/ 28 w 28"/>
                  <a:gd name="T55" fmla="*/ 16 h 25"/>
                  <a:gd name="T56" fmla="*/ 23 w 28"/>
                  <a:gd name="T57" fmla="*/ 16 h 25"/>
                  <a:gd name="T58" fmla="*/ 19 w 28"/>
                  <a:gd name="T59" fmla="*/ 14 h 25"/>
                  <a:gd name="T60" fmla="*/ 19 w 28"/>
                  <a:gd name="T61" fmla="*/ 14 h 25"/>
                  <a:gd name="T62" fmla="*/ 17 w 28"/>
                  <a:gd name="T63" fmla="*/ 11 h 25"/>
                  <a:gd name="T64" fmla="*/ 17 w 28"/>
                  <a:gd name="T65" fmla="*/ 7 h 25"/>
                  <a:gd name="T66" fmla="*/ 17 w 28"/>
                  <a:gd name="T67" fmla="*/ 7 h 25"/>
                  <a:gd name="T68" fmla="*/ 16 w 28"/>
                  <a:gd name="T69" fmla="*/ 0 h 25"/>
                  <a:gd name="T70" fmla="*/ 16 w 28"/>
                  <a:gd name="T71" fmla="*/ 0 h 25"/>
                  <a:gd name="T72" fmla="*/ 12 w 28"/>
                  <a:gd name="T73" fmla="*/ 0 h 25"/>
                  <a:gd name="T74" fmla="*/ 10 w 28"/>
                  <a:gd name="T75" fmla="*/ 0 h 25"/>
                  <a:gd name="T76" fmla="*/ 10 w 28"/>
                  <a:gd name="T77" fmla="*/ 2 h 25"/>
                  <a:gd name="T78" fmla="*/ 12 w 28"/>
                  <a:gd name="T79" fmla="*/ 3 h 25"/>
                  <a:gd name="T80" fmla="*/ 12 w 28"/>
                  <a:gd name="T81" fmla="*/ 3 h 25"/>
                  <a:gd name="T82" fmla="*/ 7 w 28"/>
                  <a:gd name="T83" fmla="*/ 2 h 25"/>
                  <a:gd name="T84" fmla="*/ 5 w 28"/>
                  <a:gd name="T85" fmla="*/ 0 h 25"/>
                  <a:gd name="T86" fmla="*/ 3 w 28"/>
                  <a:gd name="T8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5">
                    <a:moveTo>
                      <a:pt x="3" y="2"/>
                    </a:moveTo>
                    <a:lnTo>
                      <a:pt x="3" y="2"/>
                    </a:lnTo>
                    <a:lnTo>
                      <a:pt x="5" y="3"/>
                    </a:lnTo>
                    <a:lnTo>
                      <a:pt x="3" y="5"/>
                    </a:lnTo>
                    <a:lnTo>
                      <a:pt x="0" y="7"/>
                    </a:lnTo>
                    <a:lnTo>
                      <a:pt x="0" y="7"/>
                    </a:lnTo>
                    <a:lnTo>
                      <a:pt x="3" y="9"/>
                    </a:lnTo>
                    <a:lnTo>
                      <a:pt x="7" y="9"/>
                    </a:lnTo>
                    <a:lnTo>
                      <a:pt x="7" y="9"/>
                    </a:lnTo>
                    <a:lnTo>
                      <a:pt x="9" y="9"/>
                    </a:lnTo>
                    <a:lnTo>
                      <a:pt x="10" y="11"/>
                    </a:lnTo>
                    <a:lnTo>
                      <a:pt x="10" y="11"/>
                    </a:lnTo>
                    <a:lnTo>
                      <a:pt x="14" y="14"/>
                    </a:lnTo>
                    <a:lnTo>
                      <a:pt x="14" y="14"/>
                    </a:lnTo>
                    <a:lnTo>
                      <a:pt x="14" y="18"/>
                    </a:lnTo>
                    <a:lnTo>
                      <a:pt x="16" y="21"/>
                    </a:lnTo>
                    <a:lnTo>
                      <a:pt x="16" y="21"/>
                    </a:lnTo>
                    <a:lnTo>
                      <a:pt x="21" y="23"/>
                    </a:lnTo>
                    <a:lnTo>
                      <a:pt x="23" y="25"/>
                    </a:lnTo>
                    <a:lnTo>
                      <a:pt x="25" y="25"/>
                    </a:lnTo>
                    <a:lnTo>
                      <a:pt x="25" y="25"/>
                    </a:lnTo>
                    <a:lnTo>
                      <a:pt x="26" y="23"/>
                    </a:lnTo>
                    <a:lnTo>
                      <a:pt x="26" y="23"/>
                    </a:lnTo>
                    <a:lnTo>
                      <a:pt x="25" y="21"/>
                    </a:lnTo>
                    <a:lnTo>
                      <a:pt x="25" y="21"/>
                    </a:lnTo>
                    <a:lnTo>
                      <a:pt x="25" y="18"/>
                    </a:lnTo>
                    <a:lnTo>
                      <a:pt x="28" y="16"/>
                    </a:lnTo>
                    <a:lnTo>
                      <a:pt x="28" y="16"/>
                    </a:lnTo>
                    <a:lnTo>
                      <a:pt x="23" y="16"/>
                    </a:lnTo>
                    <a:lnTo>
                      <a:pt x="19" y="14"/>
                    </a:lnTo>
                    <a:lnTo>
                      <a:pt x="19" y="14"/>
                    </a:lnTo>
                    <a:lnTo>
                      <a:pt x="17" y="11"/>
                    </a:lnTo>
                    <a:lnTo>
                      <a:pt x="17" y="7"/>
                    </a:lnTo>
                    <a:lnTo>
                      <a:pt x="17" y="7"/>
                    </a:lnTo>
                    <a:lnTo>
                      <a:pt x="16" y="0"/>
                    </a:lnTo>
                    <a:lnTo>
                      <a:pt x="16" y="0"/>
                    </a:lnTo>
                    <a:lnTo>
                      <a:pt x="12" y="0"/>
                    </a:lnTo>
                    <a:lnTo>
                      <a:pt x="10" y="0"/>
                    </a:lnTo>
                    <a:lnTo>
                      <a:pt x="10" y="2"/>
                    </a:lnTo>
                    <a:lnTo>
                      <a:pt x="12" y="3"/>
                    </a:lnTo>
                    <a:lnTo>
                      <a:pt x="12" y="3"/>
                    </a:lnTo>
                    <a:lnTo>
                      <a:pt x="7" y="2"/>
                    </a:lnTo>
                    <a:lnTo>
                      <a:pt x="5" y="0"/>
                    </a:lnTo>
                    <a:lnTo>
                      <a:pt x="3"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93" name="Freeform 2546"/>
              <p:cNvSpPr>
                <a:spLocks/>
              </p:cNvSpPr>
              <p:nvPr/>
            </p:nvSpPr>
            <p:spPr bwMode="auto">
              <a:xfrm>
                <a:off x="4382" y="2738"/>
                <a:ext cx="28" cy="25"/>
              </a:xfrm>
              <a:custGeom>
                <a:avLst/>
                <a:gdLst>
                  <a:gd name="T0" fmla="*/ 3 w 28"/>
                  <a:gd name="T1" fmla="*/ 2 h 25"/>
                  <a:gd name="T2" fmla="*/ 3 w 28"/>
                  <a:gd name="T3" fmla="*/ 2 h 25"/>
                  <a:gd name="T4" fmla="*/ 5 w 28"/>
                  <a:gd name="T5" fmla="*/ 3 h 25"/>
                  <a:gd name="T6" fmla="*/ 3 w 28"/>
                  <a:gd name="T7" fmla="*/ 5 h 25"/>
                  <a:gd name="T8" fmla="*/ 0 w 28"/>
                  <a:gd name="T9" fmla="*/ 7 h 25"/>
                  <a:gd name="T10" fmla="*/ 0 w 28"/>
                  <a:gd name="T11" fmla="*/ 7 h 25"/>
                  <a:gd name="T12" fmla="*/ 3 w 28"/>
                  <a:gd name="T13" fmla="*/ 9 h 25"/>
                  <a:gd name="T14" fmla="*/ 7 w 28"/>
                  <a:gd name="T15" fmla="*/ 9 h 25"/>
                  <a:gd name="T16" fmla="*/ 7 w 28"/>
                  <a:gd name="T17" fmla="*/ 9 h 25"/>
                  <a:gd name="T18" fmla="*/ 9 w 28"/>
                  <a:gd name="T19" fmla="*/ 9 h 25"/>
                  <a:gd name="T20" fmla="*/ 10 w 28"/>
                  <a:gd name="T21" fmla="*/ 11 h 25"/>
                  <a:gd name="T22" fmla="*/ 10 w 28"/>
                  <a:gd name="T23" fmla="*/ 11 h 25"/>
                  <a:gd name="T24" fmla="*/ 14 w 28"/>
                  <a:gd name="T25" fmla="*/ 14 h 25"/>
                  <a:gd name="T26" fmla="*/ 14 w 28"/>
                  <a:gd name="T27" fmla="*/ 14 h 25"/>
                  <a:gd name="T28" fmla="*/ 14 w 28"/>
                  <a:gd name="T29" fmla="*/ 18 h 25"/>
                  <a:gd name="T30" fmla="*/ 16 w 28"/>
                  <a:gd name="T31" fmla="*/ 21 h 25"/>
                  <a:gd name="T32" fmla="*/ 16 w 28"/>
                  <a:gd name="T33" fmla="*/ 21 h 25"/>
                  <a:gd name="T34" fmla="*/ 21 w 28"/>
                  <a:gd name="T35" fmla="*/ 23 h 25"/>
                  <a:gd name="T36" fmla="*/ 23 w 28"/>
                  <a:gd name="T37" fmla="*/ 25 h 25"/>
                  <a:gd name="T38" fmla="*/ 25 w 28"/>
                  <a:gd name="T39" fmla="*/ 25 h 25"/>
                  <a:gd name="T40" fmla="*/ 25 w 28"/>
                  <a:gd name="T41" fmla="*/ 25 h 25"/>
                  <a:gd name="T42" fmla="*/ 26 w 28"/>
                  <a:gd name="T43" fmla="*/ 23 h 25"/>
                  <a:gd name="T44" fmla="*/ 26 w 28"/>
                  <a:gd name="T45" fmla="*/ 23 h 25"/>
                  <a:gd name="T46" fmla="*/ 25 w 28"/>
                  <a:gd name="T47" fmla="*/ 21 h 25"/>
                  <a:gd name="T48" fmla="*/ 25 w 28"/>
                  <a:gd name="T49" fmla="*/ 21 h 25"/>
                  <a:gd name="T50" fmla="*/ 25 w 28"/>
                  <a:gd name="T51" fmla="*/ 18 h 25"/>
                  <a:gd name="T52" fmla="*/ 28 w 28"/>
                  <a:gd name="T53" fmla="*/ 16 h 25"/>
                  <a:gd name="T54" fmla="*/ 28 w 28"/>
                  <a:gd name="T55" fmla="*/ 16 h 25"/>
                  <a:gd name="T56" fmla="*/ 23 w 28"/>
                  <a:gd name="T57" fmla="*/ 16 h 25"/>
                  <a:gd name="T58" fmla="*/ 19 w 28"/>
                  <a:gd name="T59" fmla="*/ 14 h 25"/>
                  <a:gd name="T60" fmla="*/ 19 w 28"/>
                  <a:gd name="T61" fmla="*/ 14 h 25"/>
                  <a:gd name="T62" fmla="*/ 17 w 28"/>
                  <a:gd name="T63" fmla="*/ 11 h 25"/>
                  <a:gd name="T64" fmla="*/ 17 w 28"/>
                  <a:gd name="T65" fmla="*/ 7 h 25"/>
                  <a:gd name="T66" fmla="*/ 17 w 28"/>
                  <a:gd name="T67" fmla="*/ 7 h 25"/>
                  <a:gd name="T68" fmla="*/ 16 w 28"/>
                  <a:gd name="T69" fmla="*/ 0 h 25"/>
                  <a:gd name="T70" fmla="*/ 16 w 28"/>
                  <a:gd name="T71" fmla="*/ 0 h 25"/>
                  <a:gd name="T72" fmla="*/ 12 w 28"/>
                  <a:gd name="T73" fmla="*/ 0 h 25"/>
                  <a:gd name="T74" fmla="*/ 10 w 28"/>
                  <a:gd name="T75" fmla="*/ 0 h 25"/>
                  <a:gd name="T76" fmla="*/ 10 w 28"/>
                  <a:gd name="T77" fmla="*/ 2 h 25"/>
                  <a:gd name="T78" fmla="*/ 12 w 28"/>
                  <a:gd name="T79" fmla="*/ 3 h 25"/>
                  <a:gd name="T80" fmla="*/ 12 w 28"/>
                  <a:gd name="T81" fmla="*/ 3 h 25"/>
                  <a:gd name="T82" fmla="*/ 7 w 28"/>
                  <a:gd name="T83" fmla="*/ 2 h 25"/>
                  <a:gd name="T84" fmla="*/ 5 w 28"/>
                  <a:gd name="T85" fmla="*/ 0 h 25"/>
                  <a:gd name="T86" fmla="*/ 3 w 28"/>
                  <a:gd name="T8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 h="25">
                    <a:moveTo>
                      <a:pt x="3" y="2"/>
                    </a:moveTo>
                    <a:lnTo>
                      <a:pt x="3" y="2"/>
                    </a:lnTo>
                    <a:lnTo>
                      <a:pt x="5" y="3"/>
                    </a:lnTo>
                    <a:lnTo>
                      <a:pt x="3" y="5"/>
                    </a:lnTo>
                    <a:lnTo>
                      <a:pt x="0" y="7"/>
                    </a:lnTo>
                    <a:lnTo>
                      <a:pt x="0" y="7"/>
                    </a:lnTo>
                    <a:lnTo>
                      <a:pt x="3" y="9"/>
                    </a:lnTo>
                    <a:lnTo>
                      <a:pt x="7" y="9"/>
                    </a:lnTo>
                    <a:lnTo>
                      <a:pt x="7" y="9"/>
                    </a:lnTo>
                    <a:lnTo>
                      <a:pt x="9" y="9"/>
                    </a:lnTo>
                    <a:lnTo>
                      <a:pt x="10" y="11"/>
                    </a:lnTo>
                    <a:lnTo>
                      <a:pt x="10" y="11"/>
                    </a:lnTo>
                    <a:lnTo>
                      <a:pt x="14" y="14"/>
                    </a:lnTo>
                    <a:lnTo>
                      <a:pt x="14" y="14"/>
                    </a:lnTo>
                    <a:lnTo>
                      <a:pt x="14" y="18"/>
                    </a:lnTo>
                    <a:lnTo>
                      <a:pt x="16" y="21"/>
                    </a:lnTo>
                    <a:lnTo>
                      <a:pt x="16" y="21"/>
                    </a:lnTo>
                    <a:lnTo>
                      <a:pt x="21" y="23"/>
                    </a:lnTo>
                    <a:lnTo>
                      <a:pt x="23" y="25"/>
                    </a:lnTo>
                    <a:lnTo>
                      <a:pt x="25" y="25"/>
                    </a:lnTo>
                    <a:lnTo>
                      <a:pt x="25" y="25"/>
                    </a:lnTo>
                    <a:lnTo>
                      <a:pt x="26" y="23"/>
                    </a:lnTo>
                    <a:lnTo>
                      <a:pt x="26" y="23"/>
                    </a:lnTo>
                    <a:lnTo>
                      <a:pt x="25" y="21"/>
                    </a:lnTo>
                    <a:lnTo>
                      <a:pt x="25" y="21"/>
                    </a:lnTo>
                    <a:lnTo>
                      <a:pt x="25" y="18"/>
                    </a:lnTo>
                    <a:lnTo>
                      <a:pt x="28" y="16"/>
                    </a:lnTo>
                    <a:lnTo>
                      <a:pt x="28" y="16"/>
                    </a:lnTo>
                    <a:lnTo>
                      <a:pt x="23" y="16"/>
                    </a:lnTo>
                    <a:lnTo>
                      <a:pt x="19" y="14"/>
                    </a:lnTo>
                    <a:lnTo>
                      <a:pt x="19" y="14"/>
                    </a:lnTo>
                    <a:lnTo>
                      <a:pt x="17" y="11"/>
                    </a:lnTo>
                    <a:lnTo>
                      <a:pt x="17" y="7"/>
                    </a:lnTo>
                    <a:lnTo>
                      <a:pt x="17" y="7"/>
                    </a:lnTo>
                    <a:lnTo>
                      <a:pt x="16" y="0"/>
                    </a:lnTo>
                    <a:lnTo>
                      <a:pt x="16" y="0"/>
                    </a:lnTo>
                    <a:lnTo>
                      <a:pt x="12" y="0"/>
                    </a:lnTo>
                    <a:lnTo>
                      <a:pt x="10" y="0"/>
                    </a:lnTo>
                    <a:lnTo>
                      <a:pt x="10" y="2"/>
                    </a:lnTo>
                    <a:lnTo>
                      <a:pt x="12" y="3"/>
                    </a:lnTo>
                    <a:lnTo>
                      <a:pt x="12" y="3"/>
                    </a:lnTo>
                    <a:lnTo>
                      <a:pt x="7" y="2"/>
                    </a:lnTo>
                    <a:lnTo>
                      <a:pt x="5" y="0"/>
                    </a:lnTo>
                    <a:lnTo>
                      <a:pt x="3"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94" name="Freeform 2547"/>
              <p:cNvSpPr>
                <a:spLocks/>
              </p:cNvSpPr>
              <p:nvPr/>
            </p:nvSpPr>
            <p:spPr bwMode="auto">
              <a:xfrm>
                <a:off x="4391" y="2665"/>
                <a:ext cx="1" cy="1"/>
              </a:xfrm>
              <a:custGeom>
                <a:avLst/>
                <a:gdLst>
                  <a:gd name="T0" fmla="*/ 0 w 1"/>
                  <a:gd name="T1" fmla="*/ 1 h 1"/>
                  <a:gd name="T2" fmla="*/ 0 w 1"/>
                  <a:gd name="T3" fmla="*/ 1 h 1"/>
                  <a:gd name="T4" fmla="*/ 1 w 1"/>
                  <a:gd name="T5" fmla="*/ 1 h 1"/>
                  <a:gd name="T6" fmla="*/ 0 w 1"/>
                  <a:gd name="T7" fmla="*/ 0 h 1"/>
                  <a:gd name="T8" fmla="*/ 0 w 1"/>
                  <a:gd name="T9" fmla="*/ 0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lnTo>
                      <a:pt x="0" y="1"/>
                    </a:lnTo>
                    <a:lnTo>
                      <a:pt x="1" y="1"/>
                    </a:lnTo>
                    <a:lnTo>
                      <a:pt x="0" y="0"/>
                    </a:lnTo>
                    <a:lnTo>
                      <a:pt x="0" y="0"/>
                    </a:lnTo>
                    <a:lnTo>
                      <a:pt x="0"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95" name="Freeform 2548"/>
              <p:cNvSpPr>
                <a:spLocks/>
              </p:cNvSpPr>
              <p:nvPr/>
            </p:nvSpPr>
            <p:spPr bwMode="auto">
              <a:xfrm>
                <a:off x="4391" y="2665"/>
                <a:ext cx="1" cy="1"/>
              </a:xfrm>
              <a:custGeom>
                <a:avLst/>
                <a:gdLst>
                  <a:gd name="T0" fmla="*/ 0 w 1"/>
                  <a:gd name="T1" fmla="*/ 1 h 1"/>
                  <a:gd name="T2" fmla="*/ 0 w 1"/>
                  <a:gd name="T3" fmla="*/ 1 h 1"/>
                  <a:gd name="T4" fmla="*/ 1 w 1"/>
                  <a:gd name="T5" fmla="*/ 1 h 1"/>
                  <a:gd name="T6" fmla="*/ 0 w 1"/>
                  <a:gd name="T7" fmla="*/ 0 h 1"/>
                  <a:gd name="T8" fmla="*/ 0 w 1"/>
                  <a:gd name="T9" fmla="*/ 0 h 1"/>
                  <a:gd name="T10" fmla="*/ 0 w 1"/>
                  <a:gd name="T11" fmla="*/ 1 h 1"/>
                </a:gdLst>
                <a:ahLst/>
                <a:cxnLst>
                  <a:cxn ang="0">
                    <a:pos x="T0" y="T1"/>
                  </a:cxn>
                  <a:cxn ang="0">
                    <a:pos x="T2" y="T3"/>
                  </a:cxn>
                  <a:cxn ang="0">
                    <a:pos x="T4" y="T5"/>
                  </a:cxn>
                  <a:cxn ang="0">
                    <a:pos x="T6" y="T7"/>
                  </a:cxn>
                  <a:cxn ang="0">
                    <a:pos x="T8" y="T9"/>
                  </a:cxn>
                  <a:cxn ang="0">
                    <a:pos x="T10" y="T11"/>
                  </a:cxn>
                </a:cxnLst>
                <a:rect l="0" t="0" r="r" b="b"/>
                <a:pathLst>
                  <a:path w="1" h="1">
                    <a:moveTo>
                      <a:pt x="0" y="1"/>
                    </a:moveTo>
                    <a:lnTo>
                      <a:pt x="0" y="1"/>
                    </a:lnTo>
                    <a:lnTo>
                      <a:pt x="1" y="1"/>
                    </a:lnTo>
                    <a:lnTo>
                      <a:pt x="0" y="0"/>
                    </a:lnTo>
                    <a:lnTo>
                      <a:pt x="0" y="0"/>
                    </a:lnTo>
                    <a:lnTo>
                      <a:pt x="0"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96" name="Freeform 2549"/>
              <p:cNvSpPr>
                <a:spLocks/>
              </p:cNvSpPr>
              <p:nvPr/>
            </p:nvSpPr>
            <p:spPr bwMode="auto">
              <a:xfrm>
                <a:off x="4408" y="2759"/>
                <a:ext cx="2" cy="2"/>
              </a:xfrm>
              <a:custGeom>
                <a:avLst/>
                <a:gdLst>
                  <a:gd name="T0" fmla="*/ 2 w 2"/>
                  <a:gd name="T1" fmla="*/ 0 h 2"/>
                  <a:gd name="T2" fmla="*/ 2 w 2"/>
                  <a:gd name="T3" fmla="*/ 0 h 2"/>
                  <a:gd name="T4" fmla="*/ 0 w 2"/>
                  <a:gd name="T5" fmla="*/ 0 h 2"/>
                  <a:gd name="T6" fmla="*/ 0 w 2"/>
                  <a:gd name="T7" fmla="*/ 0 h 2"/>
                  <a:gd name="T8" fmla="*/ 0 w 2"/>
                  <a:gd name="T9" fmla="*/ 2 h 2"/>
                  <a:gd name="T10" fmla="*/ 2 w 2"/>
                  <a:gd name="T11" fmla="*/ 2 h 2"/>
                  <a:gd name="T12" fmla="*/ 2 w 2"/>
                  <a:gd name="T13" fmla="*/ 2 h 2"/>
                  <a:gd name="T14" fmla="*/ 2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0"/>
                    </a:moveTo>
                    <a:lnTo>
                      <a:pt x="2" y="0"/>
                    </a:lnTo>
                    <a:lnTo>
                      <a:pt x="0" y="0"/>
                    </a:lnTo>
                    <a:lnTo>
                      <a:pt x="0" y="0"/>
                    </a:lnTo>
                    <a:lnTo>
                      <a:pt x="0" y="2"/>
                    </a:lnTo>
                    <a:lnTo>
                      <a:pt x="2" y="2"/>
                    </a:lnTo>
                    <a:lnTo>
                      <a:pt x="2"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97" name="Freeform 2550"/>
              <p:cNvSpPr>
                <a:spLocks/>
              </p:cNvSpPr>
              <p:nvPr/>
            </p:nvSpPr>
            <p:spPr bwMode="auto">
              <a:xfrm>
                <a:off x="4408" y="2759"/>
                <a:ext cx="2" cy="2"/>
              </a:xfrm>
              <a:custGeom>
                <a:avLst/>
                <a:gdLst>
                  <a:gd name="T0" fmla="*/ 2 w 2"/>
                  <a:gd name="T1" fmla="*/ 0 h 2"/>
                  <a:gd name="T2" fmla="*/ 2 w 2"/>
                  <a:gd name="T3" fmla="*/ 0 h 2"/>
                  <a:gd name="T4" fmla="*/ 0 w 2"/>
                  <a:gd name="T5" fmla="*/ 0 h 2"/>
                  <a:gd name="T6" fmla="*/ 0 w 2"/>
                  <a:gd name="T7" fmla="*/ 0 h 2"/>
                  <a:gd name="T8" fmla="*/ 0 w 2"/>
                  <a:gd name="T9" fmla="*/ 2 h 2"/>
                  <a:gd name="T10" fmla="*/ 2 w 2"/>
                  <a:gd name="T11" fmla="*/ 2 h 2"/>
                  <a:gd name="T12" fmla="*/ 2 w 2"/>
                  <a:gd name="T13" fmla="*/ 2 h 2"/>
                  <a:gd name="T14" fmla="*/ 2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0"/>
                    </a:moveTo>
                    <a:lnTo>
                      <a:pt x="2" y="0"/>
                    </a:lnTo>
                    <a:lnTo>
                      <a:pt x="0" y="0"/>
                    </a:lnTo>
                    <a:lnTo>
                      <a:pt x="0" y="0"/>
                    </a:lnTo>
                    <a:lnTo>
                      <a:pt x="0" y="2"/>
                    </a:lnTo>
                    <a:lnTo>
                      <a:pt x="2" y="2"/>
                    </a:lnTo>
                    <a:lnTo>
                      <a:pt x="2"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98" name="Freeform 2551"/>
              <p:cNvSpPr>
                <a:spLocks/>
              </p:cNvSpPr>
              <p:nvPr/>
            </p:nvSpPr>
            <p:spPr bwMode="auto">
              <a:xfrm>
                <a:off x="4421" y="2754"/>
                <a:ext cx="12" cy="11"/>
              </a:xfrm>
              <a:custGeom>
                <a:avLst/>
                <a:gdLst>
                  <a:gd name="T0" fmla="*/ 3 w 12"/>
                  <a:gd name="T1" fmla="*/ 0 h 11"/>
                  <a:gd name="T2" fmla="*/ 3 w 12"/>
                  <a:gd name="T3" fmla="*/ 0 h 11"/>
                  <a:gd name="T4" fmla="*/ 2 w 12"/>
                  <a:gd name="T5" fmla="*/ 3 h 11"/>
                  <a:gd name="T6" fmla="*/ 0 w 12"/>
                  <a:gd name="T7" fmla="*/ 7 h 11"/>
                  <a:gd name="T8" fmla="*/ 0 w 12"/>
                  <a:gd name="T9" fmla="*/ 7 h 11"/>
                  <a:gd name="T10" fmla="*/ 2 w 12"/>
                  <a:gd name="T11" fmla="*/ 9 h 11"/>
                  <a:gd name="T12" fmla="*/ 3 w 12"/>
                  <a:gd name="T13" fmla="*/ 9 h 11"/>
                  <a:gd name="T14" fmla="*/ 3 w 12"/>
                  <a:gd name="T15" fmla="*/ 9 h 11"/>
                  <a:gd name="T16" fmla="*/ 3 w 12"/>
                  <a:gd name="T17" fmla="*/ 9 h 11"/>
                  <a:gd name="T18" fmla="*/ 3 w 12"/>
                  <a:gd name="T19" fmla="*/ 9 h 11"/>
                  <a:gd name="T20" fmla="*/ 7 w 12"/>
                  <a:gd name="T21" fmla="*/ 9 h 11"/>
                  <a:gd name="T22" fmla="*/ 9 w 12"/>
                  <a:gd name="T23" fmla="*/ 11 h 11"/>
                  <a:gd name="T24" fmla="*/ 9 w 12"/>
                  <a:gd name="T25" fmla="*/ 11 h 11"/>
                  <a:gd name="T26" fmla="*/ 11 w 12"/>
                  <a:gd name="T27" fmla="*/ 7 h 11"/>
                  <a:gd name="T28" fmla="*/ 12 w 12"/>
                  <a:gd name="T29" fmla="*/ 3 h 11"/>
                  <a:gd name="T30" fmla="*/ 12 w 12"/>
                  <a:gd name="T31" fmla="*/ 3 h 11"/>
                  <a:gd name="T32" fmla="*/ 11 w 12"/>
                  <a:gd name="T33" fmla="*/ 2 h 11"/>
                  <a:gd name="T34" fmla="*/ 9 w 12"/>
                  <a:gd name="T35" fmla="*/ 0 h 11"/>
                  <a:gd name="T36" fmla="*/ 3 w 12"/>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1">
                    <a:moveTo>
                      <a:pt x="3" y="0"/>
                    </a:moveTo>
                    <a:lnTo>
                      <a:pt x="3" y="0"/>
                    </a:lnTo>
                    <a:lnTo>
                      <a:pt x="2" y="3"/>
                    </a:lnTo>
                    <a:lnTo>
                      <a:pt x="0" y="7"/>
                    </a:lnTo>
                    <a:lnTo>
                      <a:pt x="0" y="7"/>
                    </a:lnTo>
                    <a:lnTo>
                      <a:pt x="2" y="9"/>
                    </a:lnTo>
                    <a:lnTo>
                      <a:pt x="3" y="9"/>
                    </a:lnTo>
                    <a:lnTo>
                      <a:pt x="3" y="9"/>
                    </a:lnTo>
                    <a:lnTo>
                      <a:pt x="3" y="9"/>
                    </a:lnTo>
                    <a:lnTo>
                      <a:pt x="3" y="9"/>
                    </a:lnTo>
                    <a:lnTo>
                      <a:pt x="7" y="9"/>
                    </a:lnTo>
                    <a:lnTo>
                      <a:pt x="9" y="11"/>
                    </a:lnTo>
                    <a:lnTo>
                      <a:pt x="9" y="11"/>
                    </a:lnTo>
                    <a:lnTo>
                      <a:pt x="11" y="7"/>
                    </a:lnTo>
                    <a:lnTo>
                      <a:pt x="12" y="3"/>
                    </a:lnTo>
                    <a:lnTo>
                      <a:pt x="12" y="3"/>
                    </a:lnTo>
                    <a:lnTo>
                      <a:pt x="11" y="2"/>
                    </a:lnTo>
                    <a:lnTo>
                      <a:pt x="9" y="0"/>
                    </a:lnTo>
                    <a:lnTo>
                      <a:pt x="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99" name="Freeform 2552"/>
              <p:cNvSpPr>
                <a:spLocks/>
              </p:cNvSpPr>
              <p:nvPr/>
            </p:nvSpPr>
            <p:spPr bwMode="auto">
              <a:xfrm>
                <a:off x="4421" y="2754"/>
                <a:ext cx="12" cy="11"/>
              </a:xfrm>
              <a:custGeom>
                <a:avLst/>
                <a:gdLst>
                  <a:gd name="T0" fmla="*/ 3 w 12"/>
                  <a:gd name="T1" fmla="*/ 0 h 11"/>
                  <a:gd name="T2" fmla="*/ 3 w 12"/>
                  <a:gd name="T3" fmla="*/ 0 h 11"/>
                  <a:gd name="T4" fmla="*/ 2 w 12"/>
                  <a:gd name="T5" fmla="*/ 3 h 11"/>
                  <a:gd name="T6" fmla="*/ 0 w 12"/>
                  <a:gd name="T7" fmla="*/ 7 h 11"/>
                  <a:gd name="T8" fmla="*/ 0 w 12"/>
                  <a:gd name="T9" fmla="*/ 7 h 11"/>
                  <a:gd name="T10" fmla="*/ 2 w 12"/>
                  <a:gd name="T11" fmla="*/ 9 h 11"/>
                  <a:gd name="T12" fmla="*/ 3 w 12"/>
                  <a:gd name="T13" fmla="*/ 9 h 11"/>
                  <a:gd name="T14" fmla="*/ 3 w 12"/>
                  <a:gd name="T15" fmla="*/ 9 h 11"/>
                  <a:gd name="T16" fmla="*/ 3 w 12"/>
                  <a:gd name="T17" fmla="*/ 9 h 11"/>
                  <a:gd name="T18" fmla="*/ 3 w 12"/>
                  <a:gd name="T19" fmla="*/ 9 h 11"/>
                  <a:gd name="T20" fmla="*/ 7 w 12"/>
                  <a:gd name="T21" fmla="*/ 9 h 11"/>
                  <a:gd name="T22" fmla="*/ 9 w 12"/>
                  <a:gd name="T23" fmla="*/ 11 h 11"/>
                  <a:gd name="T24" fmla="*/ 9 w 12"/>
                  <a:gd name="T25" fmla="*/ 11 h 11"/>
                  <a:gd name="T26" fmla="*/ 11 w 12"/>
                  <a:gd name="T27" fmla="*/ 7 h 11"/>
                  <a:gd name="T28" fmla="*/ 12 w 12"/>
                  <a:gd name="T29" fmla="*/ 3 h 11"/>
                  <a:gd name="T30" fmla="*/ 12 w 12"/>
                  <a:gd name="T31" fmla="*/ 3 h 11"/>
                  <a:gd name="T32" fmla="*/ 11 w 12"/>
                  <a:gd name="T33" fmla="*/ 2 h 11"/>
                  <a:gd name="T34" fmla="*/ 9 w 12"/>
                  <a:gd name="T35" fmla="*/ 0 h 11"/>
                  <a:gd name="T36" fmla="*/ 3 w 12"/>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11">
                    <a:moveTo>
                      <a:pt x="3" y="0"/>
                    </a:moveTo>
                    <a:lnTo>
                      <a:pt x="3" y="0"/>
                    </a:lnTo>
                    <a:lnTo>
                      <a:pt x="2" y="3"/>
                    </a:lnTo>
                    <a:lnTo>
                      <a:pt x="0" y="7"/>
                    </a:lnTo>
                    <a:lnTo>
                      <a:pt x="0" y="7"/>
                    </a:lnTo>
                    <a:lnTo>
                      <a:pt x="2" y="9"/>
                    </a:lnTo>
                    <a:lnTo>
                      <a:pt x="3" y="9"/>
                    </a:lnTo>
                    <a:lnTo>
                      <a:pt x="3" y="9"/>
                    </a:lnTo>
                    <a:lnTo>
                      <a:pt x="3" y="9"/>
                    </a:lnTo>
                    <a:lnTo>
                      <a:pt x="3" y="9"/>
                    </a:lnTo>
                    <a:lnTo>
                      <a:pt x="7" y="9"/>
                    </a:lnTo>
                    <a:lnTo>
                      <a:pt x="9" y="11"/>
                    </a:lnTo>
                    <a:lnTo>
                      <a:pt x="9" y="11"/>
                    </a:lnTo>
                    <a:lnTo>
                      <a:pt x="11" y="7"/>
                    </a:lnTo>
                    <a:lnTo>
                      <a:pt x="12" y="3"/>
                    </a:lnTo>
                    <a:lnTo>
                      <a:pt x="12" y="3"/>
                    </a:lnTo>
                    <a:lnTo>
                      <a:pt x="11" y="2"/>
                    </a:lnTo>
                    <a:lnTo>
                      <a:pt x="9" y="0"/>
                    </a:lnTo>
                    <a:lnTo>
                      <a:pt x="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00" name="Freeform 2553"/>
              <p:cNvSpPr>
                <a:spLocks/>
              </p:cNvSpPr>
              <p:nvPr/>
            </p:nvSpPr>
            <p:spPr bwMode="auto">
              <a:xfrm>
                <a:off x="4428" y="2647"/>
                <a:ext cx="5" cy="7"/>
              </a:xfrm>
              <a:custGeom>
                <a:avLst/>
                <a:gdLst>
                  <a:gd name="T0" fmla="*/ 0 w 5"/>
                  <a:gd name="T1" fmla="*/ 3 h 7"/>
                  <a:gd name="T2" fmla="*/ 0 w 5"/>
                  <a:gd name="T3" fmla="*/ 3 h 7"/>
                  <a:gd name="T4" fmla="*/ 4 w 5"/>
                  <a:gd name="T5" fmla="*/ 5 h 7"/>
                  <a:gd name="T6" fmla="*/ 4 w 5"/>
                  <a:gd name="T7" fmla="*/ 5 h 7"/>
                  <a:gd name="T8" fmla="*/ 2 w 5"/>
                  <a:gd name="T9" fmla="*/ 5 h 7"/>
                  <a:gd name="T10" fmla="*/ 2 w 5"/>
                  <a:gd name="T11" fmla="*/ 7 h 7"/>
                  <a:gd name="T12" fmla="*/ 2 w 5"/>
                  <a:gd name="T13" fmla="*/ 7 h 7"/>
                  <a:gd name="T14" fmla="*/ 4 w 5"/>
                  <a:gd name="T15" fmla="*/ 7 h 7"/>
                  <a:gd name="T16" fmla="*/ 5 w 5"/>
                  <a:gd name="T17" fmla="*/ 5 h 7"/>
                  <a:gd name="T18" fmla="*/ 5 w 5"/>
                  <a:gd name="T19" fmla="*/ 2 h 7"/>
                  <a:gd name="T20" fmla="*/ 5 w 5"/>
                  <a:gd name="T21" fmla="*/ 2 h 7"/>
                  <a:gd name="T22" fmla="*/ 2 w 5"/>
                  <a:gd name="T23" fmla="*/ 0 h 7"/>
                  <a:gd name="T24" fmla="*/ 2 w 5"/>
                  <a:gd name="T25" fmla="*/ 0 h 7"/>
                  <a:gd name="T26" fmla="*/ 0 w 5"/>
                  <a:gd name="T27" fmla="*/ 2 h 7"/>
                  <a:gd name="T28" fmla="*/ 0 w 5"/>
                  <a:gd name="T2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7">
                    <a:moveTo>
                      <a:pt x="0" y="3"/>
                    </a:moveTo>
                    <a:lnTo>
                      <a:pt x="0" y="3"/>
                    </a:lnTo>
                    <a:lnTo>
                      <a:pt x="4" y="5"/>
                    </a:lnTo>
                    <a:lnTo>
                      <a:pt x="4" y="5"/>
                    </a:lnTo>
                    <a:lnTo>
                      <a:pt x="2" y="5"/>
                    </a:lnTo>
                    <a:lnTo>
                      <a:pt x="2" y="7"/>
                    </a:lnTo>
                    <a:lnTo>
                      <a:pt x="2" y="7"/>
                    </a:lnTo>
                    <a:lnTo>
                      <a:pt x="4" y="7"/>
                    </a:lnTo>
                    <a:lnTo>
                      <a:pt x="5" y="5"/>
                    </a:lnTo>
                    <a:lnTo>
                      <a:pt x="5" y="2"/>
                    </a:lnTo>
                    <a:lnTo>
                      <a:pt x="5" y="2"/>
                    </a:lnTo>
                    <a:lnTo>
                      <a:pt x="2" y="0"/>
                    </a:lnTo>
                    <a:lnTo>
                      <a:pt x="2" y="0"/>
                    </a:lnTo>
                    <a:lnTo>
                      <a:pt x="0" y="2"/>
                    </a:lnTo>
                    <a:lnTo>
                      <a:pt x="0"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01" name="Freeform 2554"/>
              <p:cNvSpPr>
                <a:spLocks/>
              </p:cNvSpPr>
              <p:nvPr/>
            </p:nvSpPr>
            <p:spPr bwMode="auto">
              <a:xfrm>
                <a:off x="4428" y="2647"/>
                <a:ext cx="5" cy="7"/>
              </a:xfrm>
              <a:custGeom>
                <a:avLst/>
                <a:gdLst>
                  <a:gd name="T0" fmla="*/ 0 w 5"/>
                  <a:gd name="T1" fmla="*/ 3 h 7"/>
                  <a:gd name="T2" fmla="*/ 0 w 5"/>
                  <a:gd name="T3" fmla="*/ 3 h 7"/>
                  <a:gd name="T4" fmla="*/ 4 w 5"/>
                  <a:gd name="T5" fmla="*/ 5 h 7"/>
                  <a:gd name="T6" fmla="*/ 4 w 5"/>
                  <a:gd name="T7" fmla="*/ 5 h 7"/>
                  <a:gd name="T8" fmla="*/ 2 w 5"/>
                  <a:gd name="T9" fmla="*/ 5 h 7"/>
                  <a:gd name="T10" fmla="*/ 2 w 5"/>
                  <a:gd name="T11" fmla="*/ 7 h 7"/>
                  <a:gd name="T12" fmla="*/ 2 w 5"/>
                  <a:gd name="T13" fmla="*/ 7 h 7"/>
                  <a:gd name="T14" fmla="*/ 4 w 5"/>
                  <a:gd name="T15" fmla="*/ 7 h 7"/>
                  <a:gd name="T16" fmla="*/ 5 w 5"/>
                  <a:gd name="T17" fmla="*/ 5 h 7"/>
                  <a:gd name="T18" fmla="*/ 5 w 5"/>
                  <a:gd name="T19" fmla="*/ 2 h 7"/>
                  <a:gd name="T20" fmla="*/ 5 w 5"/>
                  <a:gd name="T21" fmla="*/ 2 h 7"/>
                  <a:gd name="T22" fmla="*/ 2 w 5"/>
                  <a:gd name="T23" fmla="*/ 0 h 7"/>
                  <a:gd name="T24" fmla="*/ 2 w 5"/>
                  <a:gd name="T25" fmla="*/ 0 h 7"/>
                  <a:gd name="T26" fmla="*/ 0 w 5"/>
                  <a:gd name="T27" fmla="*/ 2 h 7"/>
                  <a:gd name="T28" fmla="*/ 0 w 5"/>
                  <a:gd name="T2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7">
                    <a:moveTo>
                      <a:pt x="0" y="3"/>
                    </a:moveTo>
                    <a:lnTo>
                      <a:pt x="0" y="3"/>
                    </a:lnTo>
                    <a:lnTo>
                      <a:pt x="4" y="5"/>
                    </a:lnTo>
                    <a:lnTo>
                      <a:pt x="4" y="5"/>
                    </a:lnTo>
                    <a:lnTo>
                      <a:pt x="2" y="5"/>
                    </a:lnTo>
                    <a:lnTo>
                      <a:pt x="2" y="7"/>
                    </a:lnTo>
                    <a:lnTo>
                      <a:pt x="2" y="7"/>
                    </a:lnTo>
                    <a:lnTo>
                      <a:pt x="4" y="7"/>
                    </a:lnTo>
                    <a:lnTo>
                      <a:pt x="5" y="5"/>
                    </a:lnTo>
                    <a:lnTo>
                      <a:pt x="5" y="2"/>
                    </a:lnTo>
                    <a:lnTo>
                      <a:pt x="5" y="2"/>
                    </a:lnTo>
                    <a:lnTo>
                      <a:pt x="2" y="0"/>
                    </a:lnTo>
                    <a:lnTo>
                      <a:pt x="2" y="0"/>
                    </a:lnTo>
                    <a:lnTo>
                      <a:pt x="0" y="2"/>
                    </a:lnTo>
                    <a:lnTo>
                      <a:pt x="0"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02" name="Freeform 2555"/>
              <p:cNvSpPr>
                <a:spLocks/>
              </p:cNvSpPr>
              <p:nvPr/>
            </p:nvSpPr>
            <p:spPr bwMode="auto">
              <a:xfrm>
                <a:off x="4501" y="2822"/>
                <a:ext cx="22" cy="7"/>
              </a:xfrm>
              <a:custGeom>
                <a:avLst/>
                <a:gdLst>
                  <a:gd name="T0" fmla="*/ 4 w 22"/>
                  <a:gd name="T1" fmla="*/ 2 h 7"/>
                  <a:gd name="T2" fmla="*/ 4 w 22"/>
                  <a:gd name="T3" fmla="*/ 2 h 7"/>
                  <a:gd name="T4" fmla="*/ 0 w 22"/>
                  <a:gd name="T5" fmla="*/ 2 h 7"/>
                  <a:gd name="T6" fmla="*/ 0 w 22"/>
                  <a:gd name="T7" fmla="*/ 3 h 7"/>
                  <a:gd name="T8" fmla="*/ 0 w 22"/>
                  <a:gd name="T9" fmla="*/ 5 h 7"/>
                  <a:gd name="T10" fmla="*/ 0 w 22"/>
                  <a:gd name="T11" fmla="*/ 5 h 7"/>
                  <a:gd name="T12" fmla="*/ 4 w 22"/>
                  <a:gd name="T13" fmla="*/ 7 h 7"/>
                  <a:gd name="T14" fmla="*/ 6 w 22"/>
                  <a:gd name="T15" fmla="*/ 7 h 7"/>
                  <a:gd name="T16" fmla="*/ 7 w 22"/>
                  <a:gd name="T17" fmla="*/ 5 h 7"/>
                  <a:gd name="T18" fmla="*/ 7 w 22"/>
                  <a:gd name="T19" fmla="*/ 5 h 7"/>
                  <a:gd name="T20" fmla="*/ 9 w 22"/>
                  <a:gd name="T21" fmla="*/ 7 h 7"/>
                  <a:gd name="T22" fmla="*/ 11 w 22"/>
                  <a:gd name="T23" fmla="*/ 7 h 7"/>
                  <a:gd name="T24" fmla="*/ 15 w 22"/>
                  <a:gd name="T25" fmla="*/ 5 h 7"/>
                  <a:gd name="T26" fmla="*/ 15 w 22"/>
                  <a:gd name="T27" fmla="*/ 5 h 7"/>
                  <a:gd name="T28" fmla="*/ 18 w 22"/>
                  <a:gd name="T29" fmla="*/ 5 h 7"/>
                  <a:gd name="T30" fmla="*/ 18 w 22"/>
                  <a:gd name="T31" fmla="*/ 5 h 7"/>
                  <a:gd name="T32" fmla="*/ 20 w 22"/>
                  <a:gd name="T33" fmla="*/ 3 h 7"/>
                  <a:gd name="T34" fmla="*/ 22 w 22"/>
                  <a:gd name="T35" fmla="*/ 3 h 7"/>
                  <a:gd name="T36" fmla="*/ 22 w 22"/>
                  <a:gd name="T37" fmla="*/ 3 h 7"/>
                  <a:gd name="T38" fmla="*/ 22 w 22"/>
                  <a:gd name="T39" fmla="*/ 2 h 7"/>
                  <a:gd name="T40" fmla="*/ 20 w 22"/>
                  <a:gd name="T41" fmla="*/ 0 h 7"/>
                  <a:gd name="T42" fmla="*/ 16 w 22"/>
                  <a:gd name="T43" fmla="*/ 2 h 7"/>
                  <a:gd name="T44" fmla="*/ 16 w 22"/>
                  <a:gd name="T45" fmla="*/ 2 h 7"/>
                  <a:gd name="T46" fmla="*/ 9 w 22"/>
                  <a:gd name="T47" fmla="*/ 2 h 7"/>
                  <a:gd name="T48" fmla="*/ 4 w 22"/>
                  <a:gd name="T4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7">
                    <a:moveTo>
                      <a:pt x="4" y="2"/>
                    </a:moveTo>
                    <a:lnTo>
                      <a:pt x="4" y="2"/>
                    </a:lnTo>
                    <a:lnTo>
                      <a:pt x="0" y="2"/>
                    </a:lnTo>
                    <a:lnTo>
                      <a:pt x="0" y="3"/>
                    </a:lnTo>
                    <a:lnTo>
                      <a:pt x="0" y="5"/>
                    </a:lnTo>
                    <a:lnTo>
                      <a:pt x="0" y="5"/>
                    </a:lnTo>
                    <a:lnTo>
                      <a:pt x="4" y="7"/>
                    </a:lnTo>
                    <a:lnTo>
                      <a:pt x="6" y="7"/>
                    </a:lnTo>
                    <a:lnTo>
                      <a:pt x="7" y="5"/>
                    </a:lnTo>
                    <a:lnTo>
                      <a:pt x="7" y="5"/>
                    </a:lnTo>
                    <a:lnTo>
                      <a:pt x="9" y="7"/>
                    </a:lnTo>
                    <a:lnTo>
                      <a:pt x="11" y="7"/>
                    </a:lnTo>
                    <a:lnTo>
                      <a:pt x="15" y="5"/>
                    </a:lnTo>
                    <a:lnTo>
                      <a:pt x="15" y="5"/>
                    </a:lnTo>
                    <a:lnTo>
                      <a:pt x="18" y="5"/>
                    </a:lnTo>
                    <a:lnTo>
                      <a:pt x="18" y="5"/>
                    </a:lnTo>
                    <a:lnTo>
                      <a:pt x="20" y="3"/>
                    </a:lnTo>
                    <a:lnTo>
                      <a:pt x="22" y="3"/>
                    </a:lnTo>
                    <a:lnTo>
                      <a:pt x="22" y="3"/>
                    </a:lnTo>
                    <a:lnTo>
                      <a:pt x="22" y="2"/>
                    </a:lnTo>
                    <a:lnTo>
                      <a:pt x="20" y="0"/>
                    </a:lnTo>
                    <a:lnTo>
                      <a:pt x="16" y="2"/>
                    </a:lnTo>
                    <a:lnTo>
                      <a:pt x="16" y="2"/>
                    </a:lnTo>
                    <a:lnTo>
                      <a:pt x="9" y="2"/>
                    </a:lnTo>
                    <a:lnTo>
                      <a:pt x="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03" name="Freeform 2556"/>
              <p:cNvSpPr>
                <a:spLocks/>
              </p:cNvSpPr>
              <p:nvPr/>
            </p:nvSpPr>
            <p:spPr bwMode="auto">
              <a:xfrm>
                <a:off x="4501" y="2822"/>
                <a:ext cx="22" cy="7"/>
              </a:xfrm>
              <a:custGeom>
                <a:avLst/>
                <a:gdLst>
                  <a:gd name="T0" fmla="*/ 4 w 22"/>
                  <a:gd name="T1" fmla="*/ 2 h 7"/>
                  <a:gd name="T2" fmla="*/ 4 w 22"/>
                  <a:gd name="T3" fmla="*/ 2 h 7"/>
                  <a:gd name="T4" fmla="*/ 0 w 22"/>
                  <a:gd name="T5" fmla="*/ 2 h 7"/>
                  <a:gd name="T6" fmla="*/ 0 w 22"/>
                  <a:gd name="T7" fmla="*/ 3 h 7"/>
                  <a:gd name="T8" fmla="*/ 0 w 22"/>
                  <a:gd name="T9" fmla="*/ 5 h 7"/>
                  <a:gd name="T10" fmla="*/ 0 w 22"/>
                  <a:gd name="T11" fmla="*/ 5 h 7"/>
                  <a:gd name="T12" fmla="*/ 4 w 22"/>
                  <a:gd name="T13" fmla="*/ 7 h 7"/>
                  <a:gd name="T14" fmla="*/ 6 w 22"/>
                  <a:gd name="T15" fmla="*/ 7 h 7"/>
                  <a:gd name="T16" fmla="*/ 7 w 22"/>
                  <a:gd name="T17" fmla="*/ 5 h 7"/>
                  <a:gd name="T18" fmla="*/ 7 w 22"/>
                  <a:gd name="T19" fmla="*/ 5 h 7"/>
                  <a:gd name="T20" fmla="*/ 9 w 22"/>
                  <a:gd name="T21" fmla="*/ 7 h 7"/>
                  <a:gd name="T22" fmla="*/ 11 w 22"/>
                  <a:gd name="T23" fmla="*/ 7 h 7"/>
                  <a:gd name="T24" fmla="*/ 15 w 22"/>
                  <a:gd name="T25" fmla="*/ 5 h 7"/>
                  <a:gd name="T26" fmla="*/ 15 w 22"/>
                  <a:gd name="T27" fmla="*/ 5 h 7"/>
                  <a:gd name="T28" fmla="*/ 18 w 22"/>
                  <a:gd name="T29" fmla="*/ 5 h 7"/>
                  <a:gd name="T30" fmla="*/ 18 w 22"/>
                  <a:gd name="T31" fmla="*/ 5 h 7"/>
                  <a:gd name="T32" fmla="*/ 20 w 22"/>
                  <a:gd name="T33" fmla="*/ 3 h 7"/>
                  <a:gd name="T34" fmla="*/ 22 w 22"/>
                  <a:gd name="T35" fmla="*/ 3 h 7"/>
                  <a:gd name="T36" fmla="*/ 22 w 22"/>
                  <a:gd name="T37" fmla="*/ 3 h 7"/>
                  <a:gd name="T38" fmla="*/ 22 w 22"/>
                  <a:gd name="T39" fmla="*/ 2 h 7"/>
                  <a:gd name="T40" fmla="*/ 20 w 22"/>
                  <a:gd name="T41" fmla="*/ 0 h 7"/>
                  <a:gd name="T42" fmla="*/ 16 w 22"/>
                  <a:gd name="T43" fmla="*/ 2 h 7"/>
                  <a:gd name="T44" fmla="*/ 16 w 22"/>
                  <a:gd name="T45" fmla="*/ 2 h 7"/>
                  <a:gd name="T46" fmla="*/ 9 w 22"/>
                  <a:gd name="T47" fmla="*/ 2 h 7"/>
                  <a:gd name="T48" fmla="*/ 4 w 22"/>
                  <a:gd name="T4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7">
                    <a:moveTo>
                      <a:pt x="4" y="2"/>
                    </a:moveTo>
                    <a:lnTo>
                      <a:pt x="4" y="2"/>
                    </a:lnTo>
                    <a:lnTo>
                      <a:pt x="0" y="2"/>
                    </a:lnTo>
                    <a:lnTo>
                      <a:pt x="0" y="3"/>
                    </a:lnTo>
                    <a:lnTo>
                      <a:pt x="0" y="5"/>
                    </a:lnTo>
                    <a:lnTo>
                      <a:pt x="0" y="5"/>
                    </a:lnTo>
                    <a:lnTo>
                      <a:pt x="4" y="7"/>
                    </a:lnTo>
                    <a:lnTo>
                      <a:pt x="6" y="7"/>
                    </a:lnTo>
                    <a:lnTo>
                      <a:pt x="7" y="5"/>
                    </a:lnTo>
                    <a:lnTo>
                      <a:pt x="7" y="5"/>
                    </a:lnTo>
                    <a:lnTo>
                      <a:pt x="9" y="7"/>
                    </a:lnTo>
                    <a:lnTo>
                      <a:pt x="11" y="7"/>
                    </a:lnTo>
                    <a:lnTo>
                      <a:pt x="15" y="5"/>
                    </a:lnTo>
                    <a:lnTo>
                      <a:pt x="15" y="5"/>
                    </a:lnTo>
                    <a:lnTo>
                      <a:pt x="18" y="5"/>
                    </a:lnTo>
                    <a:lnTo>
                      <a:pt x="18" y="5"/>
                    </a:lnTo>
                    <a:lnTo>
                      <a:pt x="20" y="3"/>
                    </a:lnTo>
                    <a:lnTo>
                      <a:pt x="22" y="3"/>
                    </a:lnTo>
                    <a:lnTo>
                      <a:pt x="22" y="3"/>
                    </a:lnTo>
                    <a:lnTo>
                      <a:pt x="22" y="2"/>
                    </a:lnTo>
                    <a:lnTo>
                      <a:pt x="20" y="0"/>
                    </a:lnTo>
                    <a:lnTo>
                      <a:pt x="16" y="2"/>
                    </a:lnTo>
                    <a:lnTo>
                      <a:pt x="16" y="2"/>
                    </a:lnTo>
                    <a:lnTo>
                      <a:pt x="9" y="2"/>
                    </a:lnTo>
                    <a:lnTo>
                      <a:pt x="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04" name="Freeform 2557"/>
              <p:cNvSpPr>
                <a:spLocks/>
              </p:cNvSpPr>
              <p:nvPr/>
            </p:nvSpPr>
            <p:spPr bwMode="auto">
              <a:xfrm>
                <a:off x="4528" y="2841"/>
                <a:ext cx="20" cy="13"/>
              </a:xfrm>
              <a:custGeom>
                <a:avLst/>
                <a:gdLst>
                  <a:gd name="T0" fmla="*/ 0 w 20"/>
                  <a:gd name="T1" fmla="*/ 0 h 13"/>
                  <a:gd name="T2" fmla="*/ 0 w 20"/>
                  <a:gd name="T3" fmla="*/ 0 h 13"/>
                  <a:gd name="T4" fmla="*/ 0 w 20"/>
                  <a:gd name="T5" fmla="*/ 4 h 13"/>
                  <a:gd name="T6" fmla="*/ 2 w 20"/>
                  <a:gd name="T7" fmla="*/ 6 h 13"/>
                  <a:gd name="T8" fmla="*/ 5 w 20"/>
                  <a:gd name="T9" fmla="*/ 8 h 13"/>
                  <a:gd name="T10" fmla="*/ 5 w 20"/>
                  <a:gd name="T11" fmla="*/ 8 h 13"/>
                  <a:gd name="T12" fmla="*/ 11 w 20"/>
                  <a:gd name="T13" fmla="*/ 9 h 13"/>
                  <a:gd name="T14" fmla="*/ 11 w 20"/>
                  <a:gd name="T15" fmla="*/ 9 h 13"/>
                  <a:gd name="T16" fmla="*/ 11 w 20"/>
                  <a:gd name="T17" fmla="*/ 11 h 13"/>
                  <a:gd name="T18" fmla="*/ 9 w 20"/>
                  <a:gd name="T19" fmla="*/ 13 h 13"/>
                  <a:gd name="T20" fmla="*/ 9 w 20"/>
                  <a:gd name="T21" fmla="*/ 13 h 13"/>
                  <a:gd name="T22" fmla="*/ 13 w 20"/>
                  <a:gd name="T23" fmla="*/ 11 h 13"/>
                  <a:gd name="T24" fmla="*/ 14 w 20"/>
                  <a:gd name="T25" fmla="*/ 9 h 13"/>
                  <a:gd name="T26" fmla="*/ 14 w 20"/>
                  <a:gd name="T27" fmla="*/ 9 h 13"/>
                  <a:gd name="T28" fmla="*/ 18 w 20"/>
                  <a:gd name="T29" fmla="*/ 8 h 13"/>
                  <a:gd name="T30" fmla="*/ 20 w 20"/>
                  <a:gd name="T31" fmla="*/ 6 h 13"/>
                  <a:gd name="T32" fmla="*/ 20 w 20"/>
                  <a:gd name="T33" fmla="*/ 4 h 13"/>
                  <a:gd name="T34" fmla="*/ 20 w 20"/>
                  <a:gd name="T35" fmla="*/ 4 h 13"/>
                  <a:gd name="T36" fmla="*/ 16 w 20"/>
                  <a:gd name="T37" fmla="*/ 2 h 13"/>
                  <a:gd name="T38" fmla="*/ 13 w 20"/>
                  <a:gd name="T39" fmla="*/ 0 h 13"/>
                  <a:gd name="T40" fmla="*/ 11 w 20"/>
                  <a:gd name="T41" fmla="*/ 2 h 13"/>
                  <a:gd name="T42" fmla="*/ 11 w 20"/>
                  <a:gd name="T43" fmla="*/ 2 h 13"/>
                  <a:gd name="T44" fmla="*/ 5 w 20"/>
                  <a:gd name="T45" fmla="*/ 2 h 13"/>
                  <a:gd name="T46" fmla="*/ 0 w 20"/>
                  <a:gd name="T4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3">
                    <a:moveTo>
                      <a:pt x="0" y="0"/>
                    </a:moveTo>
                    <a:lnTo>
                      <a:pt x="0" y="0"/>
                    </a:lnTo>
                    <a:lnTo>
                      <a:pt x="0" y="4"/>
                    </a:lnTo>
                    <a:lnTo>
                      <a:pt x="2" y="6"/>
                    </a:lnTo>
                    <a:lnTo>
                      <a:pt x="5" y="8"/>
                    </a:lnTo>
                    <a:lnTo>
                      <a:pt x="5" y="8"/>
                    </a:lnTo>
                    <a:lnTo>
                      <a:pt x="11" y="9"/>
                    </a:lnTo>
                    <a:lnTo>
                      <a:pt x="11" y="9"/>
                    </a:lnTo>
                    <a:lnTo>
                      <a:pt x="11" y="11"/>
                    </a:lnTo>
                    <a:lnTo>
                      <a:pt x="9" y="13"/>
                    </a:lnTo>
                    <a:lnTo>
                      <a:pt x="9" y="13"/>
                    </a:lnTo>
                    <a:lnTo>
                      <a:pt x="13" y="11"/>
                    </a:lnTo>
                    <a:lnTo>
                      <a:pt x="14" y="9"/>
                    </a:lnTo>
                    <a:lnTo>
                      <a:pt x="14" y="9"/>
                    </a:lnTo>
                    <a:lnTo>
                      <a:pt x="18" y="8"/>
                    </a:lnTo>
                    <a:lnTo>
                      <a:pt x="20" y="6"/>
                    </a:lnTo>
                    <a:lnTo>
                      <a:pt x="20" y="4"/>
                    </a:lnTo>
                    <a:lnTo>
                      <a:pt x="20" y="4"/>
                    </a:lnTo>
                    <a:lnTo>
                      <a:pt x="16" y="2"/>
                    </a:lnTo>
                    <a:lnTo>
                      <a:pt x="13" y="0"/>
                    </a:lnTo>
                    <a:lnTo>
                      <a:pt x="11" y="2"/>
                    </a:lnTo>
                    <a:lnTo>
                      <a:pt x="11" y="2"/>
                    </a:lnTo>
                    <a:lnTo>
                      <a:pt x="5"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05" name="Freeform 2558"/>
              <p:cNvSpPr>
                <a:spLocks/>
              </p:cNvSpPr>
              <p:nvPr/>
            </p:nvSpPr>
            <p:spPr bwMode="auto">
              <a:xfrm>
                <a:off x="4528" y="2841"/>
                <a:ext cx="20" cy="13"/>
              </a:xfrm>
              <a:custGeom>
                <a:avLst/>
                <a:gdLst>
                  <a:gd name="T0" fmla="*/ 0 w 20"/>
                  <a:gd name="T1" fmla="*/ 0 h 13"/>
                  <a:gd name="T2" fmla="*/ 0 w 20"/>
                  <a:gd name="T3" fmla="*/ 0 h 13"/>
                  <a:gd name="T4" fmla="*/ 0 w 20"/>
                  <a:gd name="T5" fmla="*/ 4 h 13"/>
                  <a:gd name="T6" fmla="*/ 2 w 20"/>
                  <a:gd name="T7" fmla="*/ 6 h 13"/>
                  <a:gd name="T8" fmla="*/ 5 w 20"/>
                  <a:gd name="T9" fmla="*/ 8 h 13"/>
                  <a:gd name="T10" fmla="*/ 5 w 20"/>
                  <a:gd name="T11" fmla="*/ 8 h 13"/>
                  <a:gd name="T12" fmla="*/ 11 w 20"/>
                  <a:gd name="T13" fmla="*/ 9 h 13"/>
                  <a:gd name="T14" fmla="*/ 11 w 20"/>
                  <a:gd name="T15" fmla="*/ 9 h 13"/>
                  <a:gd name="T16" fmla="*/ 11 w 20"/>
                  <a:gd name="T17" fmla="*/ 11 h 13"/>
                  <a:gd name="T18" fmla="*/ 9 w 20"/>
                  <a:gd name="T19" fmla="*/ 13 h 13"/>
                  <a:gd name="T20" fmla="*/ 9 w 20"/>
                  <a:gd name="T21" fmla="*/ 13 h 13"/>
                  <a:gd name="T22" fmla="*/ 13 w 20"/>
                  <a:gd name="T23" fmla="*/ 11 h 13"/>
                  <a:gd name="T24" fmla="*/ 14 w 20"/>
                  <a:gd name="T25" fmla="*/ 9 h 13"/>
                  <a:gd name="T26" fmla="*/ 14 w 20"/>
                  <a:gd name="T27" fmla="*/ 9 h 13"/>
                  <a:gd name="T28" fmla="*/ 18 w 20"/>
                  <a:gd name="T29" fmla="*/ 8 h 13"/>
                  <a:gd name="T30" fmla="*/ 20 w 20"/>
                  <a:gd name="T31" fmla="*/ 6 h 13"/>
                  <a:gd name="T32" fmla="*/ 20 w 20"/>
                  <a:gd name="T33" fmla="*/ 4 h 13"/>
                  <a:gd name="T34" fmla="*/ 20 w 20"/>
                  <a:gd name="T35" fmla="*/ 4 h 13"/>
                  <a:gd name="T36" fmla="*/ 16 w 20"/>
                  <a:gd name="T37" fmla="*/ 2 h 13"/>
                  <a:gd name="T38" fmla="*/ 13 w 20"/>
                  <a:gd name="T39" fmla="*/ 0 h 13"/>
                  <a:gd name="T40" fmla="*/ 11 w 20"/>
                  <a:gd name="T41" fmla="*/ 2 h 13"/>
                  <a:gd name="T42" fmla="*/ 11 w 20"/>
                  <a:gd name="T43" fmla="*/ 2 h 13"/>
                  <a:gd name="T44" fmla="*/ 5 w 20"/>
                  <a:gd name="T45" fmla="*/ 2 h 13"/>
                  <a:gd name="T46" fmla="*/ 0 w 20"/>
                  <a:gd name="T4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13">
                    <a:moveTo>
                      <a:pt x="0" y="0"/>
                    </a:moveTo>
                    <a:lnTo>
                      <a:pt x="0" y="0"/>
                    </a:lnTo>
                    <a:lnTo>
                      <a:pt x="0" y="4"/>
                    </a:lnTo>
                    <a:lnTo>
                      <a:pt x="2" y="6"/>
                    </a:lnTo>
                    <a:lnTo>
                      <a:pt x="5" y="8"/>
                    </a:lnTo>
                    <a:lnTo>
                      <a:pt x="5" y="8"/>
                    </a:lnTo>
                    <a:lnTo>
                      <a:pt x="11" y="9"/>
                    </a:lnTo>
                    <a:lnTo>
                      <a:pt x="11" y="9"/>
                    </a:lnTo>
                    <a:lnTo>
                      <a:pt x="11" y="11"/>
                    </a:lnTo>
                    <a:lnTo>
                      <a:pt x="9" y="13"/>
                    </a:lnTo>
                    <a:lnTo>
                      <a:pt x="9" y="13"/>
                    </a:lnTo>
                    <a:lnTo>
                      <a:pt x="13" y="11"/>
                    </a:lnTo>
                    <a:lnTo>
                      <a:pt x="14" y="9"/>
                    </a:lnTo>
                    <a:lnTo>
                      <a:pt x="14" y="9"/>
                    </a:lnTo>
                    <a:lnTo>
                      <a:pt x="18" y="8"/>
                    </a:lnTo>
                    <a:lnTo>
                      <a:pt x="20" y="6"/>
                    </a:lnTo>
                    <a:lnTo>
                      <a:pt x="20" y="4"/>
                    </a:lnTo>
                    <a:lnTo>
                      <a:pt x="20" y="4"/>
                    </a:lnTo>
                    <a:lnTo>
                      <a:pt x="16" y="2"/>
                    </a:lnTo>
                    <a:lnTo>
                      <a:pt x="13" y="0"/>
                    </a:lnTo>
                    <a:lnTo>
                      <a:pt x="11" y="2"/>
                    </a:lnTo>
                    <a:lnTo>
                      <a:pt x="11" y="2"/>
                    </a:lnTo>
                    <a:lnTo>
                      <a:pt x="5"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06" name="Freeform 2559"/>
              <p:cNvSpPr>
                <a:spLocks/>
              </p:cNvSpPr>
              <p:nvPr/>
            </p:nvSpPr>
            <p:spPr bwMode="auto">
              <a:xfrm>
                <a:off x="4542" y="2822"/>
                <a:ext cx="6" cy="3"/>
              </a:xfrm>
              <a:custGeom>
                <a:avLst/>
                <a:gdLst>
                  <a:gd name="T0" fmla="*/ 0 w 6"/>
                  <a:gd name="T1" fmla="*/ 0 h 3"/>
                  <a:gd name="T2" fmla="*/ 0 w 6"/>
                  <a:gd name="T3" fmla="*/ 0 h 3"/>
                  <a:gd name="T4" fmla="*/ 0 w 6"/>
                  <a:gd name="T5" fmla="*/ 2 h 3"/>
                  <a:gd name="T6" fmla="*/ 0 w 6"/>
                  <a:gd name="T7" fmla="*/ 3 h 3"/>
                  <a:gd name="T8" fmla="*/ 0 w 6"/>
                  <a:gd name="T9" fmla="*/ 3 h 3"/>
                  <a:gd name="T10" fmla="*/ 2 w 6"/>
                  <a:gd name="T11" fmla="*/ 2 h 3"/>
                  <a:gd name="T12" fmla="*/ 6 w 6"/>
                  <a:gd name="T13" fmla="*/ 2 h 3"/>
                  <a:gd name="T14" fmla="*/ 6 w 6"/>
                  <a:gd name="T15" fmla="*/ 2 h 3"/>
                  <a:gd name="T16" fmla="*/ 4 w 6"/>
                  <a:gd name="T17" fmla="*/ 0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0" y="0"/>
                    </a:lnTo>
                    <a:lnTo>
                      <a:pt x="0" y="2"/>
                    </a:lnTo>
                    <a:lnTo>
                      <a:pt x="0" y="3"/>
                    </a:lnTo>
                    <a:lnTo>
                      <a:pt x="0" y="3"/>
                    </a:lnTo>
                    <a:lnTo>
                      <a:pt x="2" y="2"/>
                    </a:lnTo>
                    <a:lnTo>
                      <a:pt x="6" y="2"/>
                    </a:lnTo>
                    <a:lnTo>
                      <a:pt x="6" y="2"/>
                    </a:lnTo>
                    <a:lnTo>
                      <a:pt x="4"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07" name="Freeform 2560"/>
              <p:cNvSpPr>
                <a:spLocks/>
              </p:cNvSpPr>
              <p:nvPr/>
            </p:nvSpPr>
            <p:spPr bwMode="auto">
              <a:xfrm>
                <a:off x="4542" y="2822"/>
                <a:ext cx="6" cy="3"/>
              </a:xfrm>
              <a:custGeom>
                <a:avLst/>
                <a:gdLst>
                  <a:gd name="T0" fmla="*/ 0 w 6"/>
                  <a:gd name="T1" fmla="*/ 0 h 3"/>
                  <a:gd name="T2" fmla="*/ 0 w 6"/>
                  <a:gd name="T3" fmla="*/ 0 h 3"/>
                  <a:gd name="T4" fmla="*/ 0 w 6"/>
                  <a:gd name="T5" fmla="*/ 2 h 3"/>
                  <a:gd name="T6" fmla="*/ 0 w 6"/>
                  <a:gd name="T7" fmla="*/ 3 h 3"/>
                  <a:gd name="T8" fmla="*/ 0 w 6"/>
                  <a:gd name="T9" fmla="*/ 3 h 3"/>
                  <a:gd name="T10" fmla="*/ 2 w 6"/>
                  <a:gd name="T11" fmla="*/ 2 h 3"/>
                  <a:gd name="T12" fmla="*/ 6 w 6"/>
                  <a:gd name="T13" fmla="*/ 2 h 3"/>
                  <a:gd name="T14" fmla="*/ 6 w 6"/>
                  <a:gd name="T15" fmla="*/ 2 h 3"/>
                  <a:gd name="T16" fmla="*/ 4 w 6"/>
                  <a:gd name="T17" fmla="*/ 0 h 3"/>
                  <a:gd name="T18" fmla="*/ 0 w 6"/>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0" y="0"/>
                    </a:moveTo>
                    <a:lnTo>
                      <a:pt x="0" y="0"/>
                    </a:lnTo>
                    <a:lnTo>
                      <a:pt x="0" y="2"/>
                    </a:lnTo>
                    <a:lnTo>
                      <a:pt x="0" y="3"/>
                    </a:lnTo>
                    <a:lnTo>
                      <a:pt x="0" y="3"/>
                    </a:lnTo>
                    <a:lnTo>
                      <a:pt x="2" y="2"/>
                    </a:lnTo>
                    <a:lnTo>
                      <a:pt x="6" y="2"/>
                    </a:lnTo>
                    <a:lnTo>
                      <a:pt x="6" y="2"/>
                    </a:lnTo>
                    <a:lnTo>
                      <a:pt x="4"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08" name="Freeform 2561"/>
              <p:cNvSpPr>
                <a:spLocks/>
              </p:cNvSpPr>
              <p:nvPr/>
            </p:nvSpPr>
            <p:spPr bwMode="auto">
              <a:xfrm>
                <a:off x="4544" y="2852"/>
                <a:ext cx="2" cy="2"/>
              </a:xfrm>
              <a:custGeom>
                <a:avLst/>
                <a:gdLst>
                  <a:gd name="T0" fmla="*/ 2 w 2"/>
                  <a:gd name="T1" fmla="*/ 2 h 2"/>
                  <a:gd name="T2" fmla="*/ 2 w 2"/>
                  <a:gd name="T3" fmla="*/ 2 h 2"/>
                  <a:gd name="T4" fmla="*/ 2 w 2"/>
                  <a:gd name="T5" fmla="*/ 0 h 2"/>
                  <a:gd name="T6" fmla="*/ 2 w 2"/>
                  <a:gd name="T7" fmla="*/ 0 h 2"/>
                  <a:gd name="T8" fmla="*/ 0 w 2"/>
                  <a:gd name="T9" fmla="*/ 0 h 2"/>
                  <a:gd name="T10" fmla="*/ 0 w 2"/>
                  <a:gd name="T11" fmla="*/ 0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lnTo>
                      <a:pt x="2" y="2"/>
                    </a:lnTo>
                    <a:lnTo>
                      <a:pt x="2" y="0"/>
                    </a:lnTo>
                    <a:lnTo>
                      <a:pt x="2" y="0"/>
                    </a:lnTo>
                    <a:lnTo>
                      <a:pt x="0" y="0"/>
                    </a:lnTo>
                    <a:lnTo>
                      <a:pt x="0" y="0"/>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09" name="Freeform 2562"/>
              <p:cNvSpPr>
                <a:spLocks/>
              </p:cNvSpPr>
              <p:nvPr/>
            </p:nvSpPr>
            <p:spPr bwMode="auto">
              <a:xfrm>
                <a:off x="4544" y="2852"/>
                <a:ext cx="2" cy="2"/>
              </a:xfrm>
              <a:custGeom>
                <a:avLst/>
                <a:gdLst>
                  <a:gd name="T0" fmla="*/ 2 w 2"/>
                  <a:gd name="T1" fmla="*/ 2 h 2"/>
                  <a:gd name="T2" fmla="*/ 2 w 2"/>
                  <a:gd name="T3" fmla="*/ 2 h 2"/>
                  <a:gd name="T4" fmla="*/ 2 w 2"/>
                  <a:gd name="T5" fmla="*/ 0 h 2"/>
                  <a:gd name="T6" fmla="*/ 2 w 2"/>
                  <a:gd name="T7" fmla="*/ 0 h 2"/>
                  <a:gd name="T8" fmla="*/ 0 w 2"/>
                  <a:gd name="T9" fmla="*/ 0 h 2"/>
                  <a:gd name="T10" fmla="*/ 0 w 2"/>
                  <a:gd name="T11" fmla="*/ 0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lnTo>
                      <a:pt x="2" y="2"/>
                    </a:lnTo>
                    <a:lnTo>
                      <a:pt x="2" y="0"/>
                    </a:lnTo>
                    <a:lnTo>
                      <a:pt x="2" y="0"/>
                    </a:lnTo>
                    <a:lnTo>
                      <a:pt x="0" y="0"/>
                    </a:lnTo>
                    <a:lnTo>
                      <a:pt x="0" y="0"/>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10" name="Freeform 2563"/>
              <p:cNvSpPr>
                <a:spLocks/>
              </p:cNvSpPr>
              <p:nvPr/>
            </p:nvSpPr>
            <p:spPr bwMode="auto">
              <a:xfrm>
                <a:off x="4549" y="2843"/>
                <a:ext cx="15" cy="13"/>
              </a:xfrm>
              <a:custGeom>
                <a:avLst/>
                <a:gdLst>
                  <a:gd name="T0" fmla="*/ 9 w 15"/>
                  <a:gd name="T1" fmla="*/ 0 h 13"/>
                  <a:gd name="T2" fmla="*/ 9 w 15"/>
                  <a:gd name="T3" fmla="*/ 0 h 13"/>
                  <a:gd name="T4" fmla="*/ 6 w 15"/>
                  <a:gd name="T5" fmla="*/ 4 h 13"/>
                  <a:gd name="T6" fmla="*/ 4 w 15"/>
                  <a:gd name="T7" fmla="*/ 6 h 13"/>
                  <a:gd name="T8" fmla="*/ 4 w 15"/>
                  <a:gd name="T9" fmla="*/ 6 h 13"/>
                  <a:gd name="T10" fmla="*/ 4 w 15"/>
                  <a:gd name="T11" fmla="*/ 9 h 13"/>
                  <a:gd name="T12" fmla="*/ 2 w 15"/>
                  <a:gd name="T13" fmla="*/ 11 h 13"/>
                  <a:gd name="T14" fmla="*/ 0 w 15"/>
                  <a:gd name="T15" fmla="*/ 9 h 13"/>
                  <a:gd name="T16" fmla="*/ 0 w 15"/>
                  <a:gd name="T17" fmla="*/ 9 h 13"/>
                  <a:gd name="T18" fmla="*/ 0 w 15"/>
                  <a:gd name="T19" fmla="*/ 11 h 13"/>
                  <a:gd name="T20" fmla="*/ 2 w 15"/>
                  <a:gd name="T21" fmla="*/ 11 h 13"/>
                  <a:gd name="T22" fmla="*/ 6 w 15"/>
                  <a:gd name="T23" fmla="*/ 11 h 13"/>
                  <a:gd name="T24" fmla="*/ 11 w 15"/>
                  <a:gd name="T25" fmla="*/ 13 h 13"/>
                  <a:gd name="T26" fmla="*/ 11 w 15"/>
                  <a:gd name="T27" fmla="*/ 13 h 13"/>
                  <a:gd name="T28" fmla="*/ 13 w 15"/>
                  <a:gd name="T29" fmla="*/ 9 h 13"/>
                  <a:gd name="T30" fmla="*/ 15 w 15"/>
                  <a:gd name="T31" fmla="*/ 6 h 13"/>
                  <a:gd name="T32" fmla="*/ 15 w 15"/>
                  <a:gd name="T33" fmla="*/ 6 h 13"/>
                  <a:gd name="T34" fmla="*/ 15 w 15"/>
                  <a:gd name="T35" fmla="*/ 4 h 13"/>
                  <a:gd name="T36" fmla="*/ 13 w 15"/>
                  <a:gd name="T37" fmla="*/ 2 h 13"/>
                  <a:gd name="T38" fmla="*/ 9 w 15"/>
                  <a:gd name="T3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13">
                    <a:moveTo>
                      <a:pt x="9" y="0"/>
                    </a:moveTo>
                    <a:lnTo>
                      <a:pt x="9" y="0"/>
                    </a:lnTo>
                    <a:lnTo>
                      <a:pt x="6" y="4"/>
                    </a:lnTo>
                    <a:lnTo>
                      <a:pt x="4" y="6"/>
                    </a:lnTo>
                    <a:lnTo>
                      <a:pt x="4" y="6"/>
                    </a:lnTo>
                    <a:lnTo>
                      <a:pt x="4" y="9"/>
                    </a:lnTo>
                    <a:lnTo>
                      <a:pt x="2" y="11"/>
                    </a:lnTo>
                    <a:lnTo>
                      <a:pt x="0" y="9"/>
                    </a:lnTo>
                    <a:lnTo>
                      <a:pt x="0" y="9"/>
                    </a:lnTo>
                    <a:lnTo>
                      <a:pt x="0" y="11"/>
                    </a:lnTo>
                    <a:lnTo>
                      <a:pt x="2" y="11"/>
                    </a:lnTo>
                    <a:lnTo>
                      <a:pt x="6" y="11"/>
                    </a:lnTo>
                    <a:lnTo>
                      <a:pt x="11" y="13"/>
                    </a:lnTo>
                    <a:lnTo>
                      <a:pt x="11" y="13"/>
                    </a:lnTo>
                    <a:lnTo>
                      <a:pt x="13" y="9"/>
                    </a:lnTo>
                    <a:lnTo>
                      <a:pt x="15" y="6"/>
                    </a:lnTo>
                    <a:lnTo>
                      <a:pt x="15" y="6"/>
                    </a:lnTo>
                    <a:lnTo>
                      <a:pt x="15" y="4"/>
                    </a:lnTo>
                    <a:lnTo>
                      <a:pt x="13" y="2"/>
                    </a:lnTo>
                    <a:lnTo>
                      <a:pt x="9"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11" name="Freeform 2564"/>
              <p:cNvSpPr>
                <a:spLocks/>
              </p:cNvSpPr>
              <p:nvPr/>
            </p:nvSpPr>
            <p:spPr bwMode="auto">
              <a:xfrm>
                <a:off x="4549" y="2843"/>
                <a:ext cx="15" cy="13"/>
              </a:xfrm>
              <a:custGeom>
                <a:avLst/>
                <a:gdLst>
                  <a:gd name="T0" fmla="*/ 9 w 15"/>
                  <a:gd name="T1" fmla="*/ 0 h 13"/>
                  <a:gd name="T2" fmla="*/ 9 w 15"/>
                  <a:gd name="T3" fmla="*/ 0 h 13"/>
                  <a:gd name="T4" fmla="*/ 6 w 15"/>
                  <a:gd name="T5" fmla="*/ 4 h 13"/>
                  <a:gd name="T6" fmla="*/ 4 w 15"/>
                  <a:gd name="T7" fmla="*/ 6 h 13"/>
                  <a:gd name="T8" fmla="*/ 4 w 15"/>
                  <a:gd name="T9" fmla="*/ 6 h 13"/>
                  <a:gd name="T10" fmla="*/ 4 w 15"/>
                  <a:gd name="T11" fmla="*/ 9 h 13"/>
                  <a:gd name="T12" fmla="*/ 2 w 15"/>
                  <a:gd name="T13" fmla="*/ 11 h 13"/>
                  <a:gd name="T14" fmla="*/ 0 w 15"/>
                  <a:gd name="T15" fmla="*/ 9 h 13"/>
                  <a:gd name="T16" fmla="*/ 0 w 15"/>
                  <a:gd name="T17" fmla="*/ 9 h 13"/>
                  <a:gd name="T18" fmla="*/ 0 w 15"/>
                  <a:gd name="T19" fmla="*/ 11 h 13"/>
                  <a:gd name="T20" fmla="*/ 2 w 15"/>
                  <a:gd name="T21" fmla="*/ 11 h 13"/>
                  <a:gd name="T22" fmla="*/ 6 w 15"/>
                  <a:gd name="T23" fmla="*/ 11 h 13"/>
                  <a:gd name="T24" fmla="*/ 11 w 15"/>
                  <a:gd name="T25" fmla="*/ 13 h 13"/>
                  <a:gd name="T26" fmla="*/ 11 w 15"/>
                  <a:gd name="T27" fmla="*/ 13 h 13"/>
                  <a:gd name="T28" fmla="*/ 13 w 15"/>
                  <a:gd name="T29" fmla="*/ 9 h 13"/>
                  <a:gd name="T30" fmla="*/ 15 w 15"/>
                  <a:gd name="T31" fmla="*/ 6 h 13"/>
                  <a:gd name="T32" fmla="*/ 15 w 15"/>
                  <a:gd name="T33" fmla="*/ 6 h 13"/>
                  <a:gd name="T34" fmla="*/ 15 w 15"/>
                  <a:gd name="T35" fmla="*/ 4 h 13"/>
                  <a:gd name="T36" fmla="*/ 13 w 15"/>
                  <a:gd name="T37" fmla="*/ 2 h 13"/>
                  <a:gd name="T38" fmla="*/ 9 w 15"/>
                  <a:gd name="T3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 h="13">
                    <a:moveTo>
                      <a:pt x="9" y="0"/>
                    </a:moveTo>
                    <a:lnTo>
                      <a:pt x="9" y="0"/>
                    </a:lnTo>
                    <a:lnTo>
                      <a:pt x="6" y="4"/>
                    </a:lnTo>
                    <a:lnTo>
                      <a:pt x="4" y="6"/>
                    </a:lnTo>
                    <a:lnTo>
                      <a:pt x="4" y="6"/>
                    </a:lnTo>
                    <a:lnTo>
                      <a:pt x="4" y="9"/>
                    </a:lnTo>
                    <a:lnTo>
                      <a:pt x="2" y="11"/>
                    </a:lnTo>
                    <a:lnTo>
                      <a:pt x="0" y="9"/>
                    </a:lnTo>
                    <a:lnTo>
                      <a:pt x="0" y="9"/>
                    </a:lnTo>
                    <a:lnTo>
                      <a:pt x="0" y="11"/>
                    </a:lnTo>
                    <a:lnTo>
                      <a:pt x="2" y="11"/>
                    </a:lnTo>
                    <a:lnTo>
                      <a:pt x="6" y="11"/>
                    </a:lnTo>
                    <a:lnTo>
                      <a:pt x="11" y="13"/>
                    </a:lnTo>
                    <a:lnTo>
                      <a:pt x="11" y="13"/>
                    </a:lnTo>
                    <a:lnTo>
                      <a:pt x="13" y="9"/>
                    </a:lnTo>
                    <a:lnTo>
                      <a:pt x="15" y="6"/>
                    </a:lnTo>
                    <a:lnTo>
                      <a:pt x="15" y="6"/>
                    </a:lnTo>
                    <a:lnTo>
                      <a:pt x="15" y="4"/>
                    </a:lnTo>
                    <a:lnTo>
                      <a:pt x="13" y="2"/>
                    </a:lnTo>
                    <a:lnTo>
                      <a:pt x="9"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12" name="Freeform 2565"/>
              <p:cNvSpPr>
                <a:spLocks/>
              </p:cNvSpPr>
              <p:nvPr/>
            </p:nvSpPr>
            <p:spPr bwMode="auto">
              <a:xfrm>
                <a:off x="4564" y="2841"/>
                <a:ext cx="39" cy="16"/>
              </a:xfrm>
              <a:custGeom>
                <a:avLst/>
                <a:gdLst>
                  <a:gd name="T0" fmla="*/ 19 w 39"/>
                  <a:gd name="T1" fmla="*/ 15 h 16"/>
                  <a:gd name="T2" fmla="*/ 27 w 39"/>
                  <a:gd name="T3" fmla="*/ 9 h 16"/>
                  <a:gd name="T4" fmla="*/ 27 w 39"/>
                  <a:gd name="T5" fmla="*/ 11 h 16"/>
                  <a:gd name="T6" fmla="*/ 27 w 39"/>
                  <a:gd name="T7" fmla="*/ 13 h 16"/>
                  <a:gd name="T8" fmla="*/ 30 w 39"/>
                  <a:gd name="T9" fmla="*/ 13 h 16"/>
                  <a:gd name="T10" fmla="*/ 35 w 39"/>
                  <a:gd name="T11" fmla="*/ 13 h 16"/>
                  <a:gd name="T12" fmla="*/ 32 w 39"/>
                  <a:gd name="T13" fmla="*/ 11 h 16"/>
                  <a:gd name="T14" fmla="*/ 39 w 39"/>
                  <a:gd name="T15" fmla="*/ 11 h 16"/>
                  <a:gd name="T16" fmla="*/ 39 w 39"/>
                  <a:gd name="T17" fmla="*/ 9 h 16"/>
                  <a:gd name="T18" fmla="*/ 37 w 39"/>
                  <a:gd name="T19" fmla="*/ 8 h 16"/>
                  <a:gd name="T20" fmla="*/ 37 w 39"/>
                  <a:gd name="T21" fmla="*/ 6 h 16"/>
                  <a:gd name="T22" fmla="*/ 34 w 39"/>
                  <a:gd name="T23" fmla="*/ 4 h 16"/>
                  <a:gd name="T24" fmla="*/ 32 w 39"/>
                  <a:gd name="T25" fmla="*/ 8 h 16"/>
                  <a:gd name="T26" fmla="*/ 28 w 39"/>
                  <a:gd name="T27" fmla="*/ 4 h 16"/>
                  <a:gd name="T28" fmla="*/ 27 w 39"/>
                  <a:gd name="T29" fmla="*/ 4 h 16"/>
                  <a:gd name="T30" fmla="*/ 25 w 39"/>
                  <a:gd name="T31" fmla="*/ 4 h 16"/>
                  <a:gd name="T32" fmla="*/ 23 w 39"/>
                  <a:gd name="T33" fmla="*/ 2 h 16"/>
                  <a:gd name="T34" fmla="*/ 18 w 39"/>
                  <a:gd name="T35" fmla="*/ 2 h 16"/>
                  <a:gd name="T36" fmla="*/ 18 w 39"/>
                  <a:gd name="T37" fmla="*/ 4 h 16"/>
                  <a:gd name="T38" fmla="*/ 25 w 39"/>
                  <a:gd name="T39" fmla="*/ 9 h 16"/>
                  <a:gd name="T40" fmla="*/ 23 w 39"/>
                  <a:gd name="T41" fmla="*/ 11 h 16"/>
                  <a:gd name="T42" fmla="*/ 19 w 39"/>
                  <a:gd name="T43" fmla="*/ 11 h 16"/>
                  <a:gd name="T44" fmla="*/ 16 w 39"/>
                  <a:gd name="T45" fmla="*/ 8 h 16"/>
                  <a:gd name="T46" fmla="*/ 12 w 39"/>
                  <a:gd name="T47" fmla="*/ 6 h 16"/>
                  <a:gd name="T48" fmla="*/ 5 w 39"/>
                  <a:gd name="T49" fmla="*/ 8 h 16"/>
                  <a:gd name="T50" fmla="*/ 2 w 39"/>
                  <a:gd name="T51" fmla="*/ 9 h 16"/>
                  <a:gd name="T52" fmla="*/ 2 w 39"/>
                  <a:gd name="T53" fmla="*/ 13 h 16"/>
                  <a:gd name="T54" fmla="*/ 0 w 39"/>
                  <a:gd name="T55" fmla="*/ 15 h 16"/>
                  <a:gd name="T56" fmla="*/ 3 w 39"/>
                  <a:gd name="T57" fmla="*/ 16 h 16"/>
                  <a:gd name="T58" fmla="*/ 7 w 39"/>
                  <a:gd name="T59" fmla="*/ 16 h 16"/>
                  <a:gd name="T60" fmla="*/ 9 w 39"/>
                  <a:gd name="T61" fmla="*/ 16 h 16"/>
                  <a:gd name="T62" fmla="*/ 10 w 39"/>
                  <a:gd name="T63" fmla="*/ 16 h 16"/>
                  <a:gd name="T64" fmla="*/ 19 w 39"/>
                  <a:gd name="T65"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 h="16">
                    <a:moveTo>
                      <a:pt x="19" y="15"/>
                    </a:moveTo>
                    <a:lnTo>
                      <a:pt x="19" y="15"/>
                    </a:lnTo>
                    <a:lnTo>
                      <a:pt x="23" y="13"/>
                    </a:lnTo>
                    <a:lnTo>
                      <a:pt x="27" y="9"/>
                    </a:lnTo>
                    <a:lnTo>
                      <a:pt x="27" y="9"/>
                    </a:lnTo>
                    <a:lnTo>
                      <a:pt x="27" y="11"/>
                    </a:lnTo>
                    <a:lnTo>
                      <a:pt x="27" y="13"/>
                    </a:lnTo>
                    <a:lnTo>
                      <a:pt x="27" y="13"/>
                    </a:lnTo>
                    <a:lnTo>
                      <a:pt x="30" y="13"/>
                    </a:lnTo>
                    <a:lnTo>
                      <a:pt x="30" y="13"/>
                    </a:lnTo>
                    <a:lnTo>
                      <a:pt x="35" y="13"/>
                    </a:lnTo>
                    <a:lnTo>
                      <a:pt x="35" y="13"/>
                    </a:lnTo>
                    <a:lnTo>
                      <a:pt x="32" y="11"/>
                    </a:lnTo>
                    <a:lnTo>
                      <a:pt x="32" y="11"/>
                    </a:lnTo>
                    <a:lnTo>
                      <a:pt x="37" y="11"/>
                    </a:lnTo>
                    <a:lnTo>
                      <a:pt x="39" y="11"/>
                    </a:lnTo>
                    <a:lnTo>
                      <a:pt x="39" y="9"/>
                    </a:lnTo>
                    <a:lnTo>
                      <a:pt x="39" y="9"/>
                    </a:lnTo>
                    <a:lnTo>
                      <a:pt x="39" y="9"/>
                    </a:lnTo>
                    <a:lnTo>
                      <a:pt x="37" y="8"/>
                    </a:lnTo>
                    <a:lnTo>
                      <a:pt x="37" y="6"/>
                    </a:lnTo>
                    <a:lnTo>
                      <a:pt x="37" y="6"/>
                    </a:lnTo>
                    <a:lnTo>
                      <a:pt x="35" y="4"/>
                    </a:lnTo>
                    <a:lnTo>
                      <a:pt x="34" y="4"/>
                    </a:lnTo>
                    <a:lnTo>
                      <a:pt x="32" y="8"/>
                    </a:lnTo>
                    <a:lnTo>
                      <a:pt x="32" y="8"/>
                    </a:lnTo>
                    <a:lnTo>
                      <a:pt x="30" y="4"/>
                    </a:lnTo>
                    <a:lnTo>
                      <a:pt x="28" y="4"/>
                    </a:lnTo>
                    <a:lnTo>
                      <a:pt x="27" y="4"/>
                    </a:lnTo>
                    <a:lnTo>
                      <a:pt x="27" y="4"/>
                    </a:lnTo>
                    <a:lnTo>
                      <a:pt x="27" y="6"/>
                    </a:lnTo>
                    <a:lnTo>
                      <a:pt x="25" y="4"/>
                    </a:lnTo>
                    <a:lnTo>
                      <a:pt x="23" y="2"/>
                    </a:lnTo>
                    <a:lnTo>
                      <a:pt x="23" y="2"/>
                    </a:lnTo>
                    <a:lnTo>
                      <a:pt x="19" y="0"/>
                    </a:lnTo>
                    <a:lnTo>
                      <a:pt x="18" y="2"/>
                    </a:lnTo>
                    <a:lnTo>
                      <a:pt x="18" y="4"/>
                    </a:lnTo>
                    <a:lnTo>
                      <a:pt x="18" y="4"/>
                    </a:lnTo>
                    <a:lnTo>
                      <a:pt x="21" y="8"/>
                    </a:lnTo>
                    <a:lnTo>
                      <a:pt x="25" y="9"/>
                    </a:lnTo>
                    <a:lnTo>
                      <a:pt x="25" y="9"/>
                    </a:lnTo>
                    <a:lnTo>
                      <a:pt x="23" y="11"/>
                    </a:lnTo>
                    <a:lnTo>
                      <a:pt x="19" y="11"/>
                    </a:lnTo>
                    <a:lnTo>
                      <a:pt x="19" y="11"/>
                    </a:lnTo>
                    <a:lnTo>
                      <a:pt x="18" y="11"/>
                    </a:lnTo>
                    <a:lnTo>
                      <a:pt x="16" y="8"/>
                    </a:lnTo>
                    <a:lnTo>
                      <a:pt x="16" y="8"/>
                    </a:lnTo>
                    <a:lnTo>
                      <a:pt x="12" y="6"/>
                    </a:lnTo>
                    <a:lnTo>
                      <a:pt x="9" y="6"/>
                    </a:lnTo>
                    <a:lnTo>
                      <a:pt x="5" y="8"/>
                    </a:lnTo>
                    <a:lnTo>
                      <a:pt x="2" y="9"/>
                    </a:lnTo>
                    <a:lnTo>
                      <a:pt x="2" y="9"/>
                    </a:lnTo>
                    <a:lnTo>
                      <a:pt x="2" y="11"/>
                    </a:lnTo>
                    <a:lnTo>
                      <a:pt x="2" y="13"/>
                    </a:lnTo>
                    <a:lnTo>
                      <a:pt x="2" y="13"/>
                    </a:lnTo>
                    <a:lnTo>
                      <a:pt x="0" y="15"/>
                    </a:lnTo>
                    <a:lnTo>
                      <a:pt x="2" y="16"/>
                    </a:lnTo>
                    <a:lnTo>
                      <a:pt x="3" y="16"/>
                    </a:lnTo>
                    <a:lnTo>
                      <a:pt x="3" y="16"/>
                    </a:lnTo>
                    <a:lnTo>
                      <a:pt x="7" y="16"/>
                    </a:lnTo>
                    <a:lnTo>
                      <a:pt x="7" y="16"/>
                    </a:lnTo>
                    <a:lnTo>
                      <a:pt x="9" y="16"/>
                    </a:lnTo>
                    <a:lnTo>
                      <a:pt x="10" y="16"/>
                    </a:lnTo>
                    <a:lnTo>
                      <a:pt x="10" y="16"/>
                    </a:lnTo>
                    <a:lnTo>
                      <a:pt x="14" y="15"/>
                    </a:lnTo>
                    <a:lnTo>
                      <a:pt x="19" y="1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13" name="Freeform 2566"/>
              <p:cNvSpPr>
                <a:spLocks/>
              </p:cNvSpPr>
              <p:nvPr/>
            </p:nvSpPr>
            <p:spPr bwMode="auto">
              <a:xfrm>
                <a:off x="4564" y="2841"/>
                <a:ext cx="39" cy="16"/>
              </a:xfrm>
              <a:custGeom>
                <a:avLst/>
                <a:gdLst>
                  <a:gd name="T0" fmla="*/ 19 w 39"/>
                  <a:gd name="T1" fmla="*/ 15 h 16"/>
                  <a:gd name="T2" fmla="*/ 27 w 39"/>
                  <a:gd name="T3" fmla="*/ 9 h 16"/>
                  <a:gd name="T4" fmla="*/ 27 w 39"/>
                  <a:gd name="T5" fmla="*/ 11 h 16"/>
                  <a:gd name="T6" fmla="*/ 27 w 39"/>
                  <a:gd name="T7" fmla="*/ 13 h 16"/>
                  <a:gd name="T8" fmla="*/ 30 w 39"/>
                  <a:gd name="T9" fmla="*/ 13 h 16"/>
                  <a:gd name="T10" fmla="*/ 35 w 39"/>
                  <a:gd name="T11" fmla="*/ 13 h 16"/>
                  <a:gd name="T12" fmla="*/ 32 w 39"/>
                  <a:gd name="T13" fmla="*/ 11 h 16"/>
                  <a:gd name="T14" fmla="*/ 39 w 39"/>
                  <a:gd name="T15" fmla="*/ 11 h 16"/>
                  <a:gd name="T16" fmla="*/ 39 w 39"/>
                  <a:gd name="T17" fmla="*/ 9 h 16"/>
                  <a:gd name="T18" fmla="*/ 37 w 39"/>
                  <a:gd name="T19" fmla="*/ 8 h 16"/>
                  <a:gd name="T20" fmla="*/ 37 w 39"/>
                  <a:gd name="T21" fmla="*/ 6 h 16"/>
                  <a:gd name="T22" fmla="*/ 34 w 39"/>
                  <a:gd name="T23" fmla="*/ 4 h 16"/>
                  <a:gd name="T24" fmla="*/ 32 w 39"/>
                  <a:gd name="T25" fmla="*/ 8 h 16"/>
                  <a:gd name="T26" fmla="*/ 28 w 39"/>
                  <a:gd name="T27" fmla="*/ 4 h 16"/>
                  <a:gd name="T28" fmla="*/ 27 w 39"/>
                  <a:gd name="T29" fmla="*/ 4 h 16"/>
                  <a:gd name="T30" fmla="*/ 25 w 39"/>
                  <a:gd name="T31" fmla="*/ 4 h 16"/>
                  <a:gd name="T32" fmla="*/ 23 w 39"/>
                  <a:gd name="T33" fmla="*/ 2 h 16"/>
                  <a:gd name="T34" fmla="*/ 18 w 39"/>
                  <a:gd name="T35" fmla="*/ 2 h 16"/>
                  <a:gd name="T36" fmla="*/ 18 w 39"/>
                  <a:gd name="T37" fmla="*/ 4 h 16"/>
                  <a:gd name="T38" fmla="*/ 25 w 39"/>
                  <a:gd name="T39" fmla="*/ 9 h 16"/>
                  <a:gd name="T40" fmla="*/ 23 w 39"/>
                  <a:gd name="T41" fmla="*/ 11 h 16"/>
                  <a:gd name="T42" fmla="*/ 19 w 39"/>
                  <a:gd name="T43" fmla="*/ 11 h 16"/>
                  <a:gd name="T44" fmla="*/ 16 w 39"/>
                  <a:gd name="T45" fmla="*/ 8 h 16"/>
                  <a:gd name="T46" fmla="*/ 12 w 39"/>
                  <a:gd name="T47" fmla="*/ 6 h 16"/>
                  <a:gd name="T48" fmla="*/ 5 w 39"/>
                  <a:gd name="T49" fmla="*/ 8 h 16"/>
                  <a:gd name="T50" fmla="*/ 2 w 39"/>
                  <a:gd name="T51" fmla="*/ 9 h 16"/>
                  <a:gd name="T52" fmla="*/ 2 w 39"/>
                  <a:gd name="T53" fmla="*/ 13 h 16"/>
                  <a:gd name="T54" fmla="*/ 0 w 39"/>
                  <a:gd name="T55" fmla="*/ 15 h 16"/>
                  <a:gd name="T56" fmla="*/ 3 w 39"/>
                  <a:gd name="T57" fmla="*/ 16 h 16"/>
                  <a:gd name="T58" fmla="*/ 7 w 39"/>
                  <a:gd name="T59" fmla="*/ 16 h 16"/>
                  <a:gd name="T60" fmla="*/ 9 w 39"/>
                  <a:gd name="T61" fmla="*/ 16 h 16"/>
                  <a:gd name="T62" fmla="*/ 10 w 39"/>
                  <a:gd name="T63" fmla="*/ 16 h 16"/>
                  <a:gd name="T64" fmla="*/ 19 w 39"/>
                  <a:gd name="T65"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 h="16">
                    <a:moveTo>
                      <a:pt x="19" y="15"/>
                    </a:moveTo>
                    <a:lnTo>
                      <a:pt x="19" y="15"/>
                    </a:lnTo>
                    <a:lnTo>
                      <a:pt x="23" y="13"/>
                    </a:lnTo>
                    <a:lnTo>
                      <a:pt x="27" y="9"/>
                    </a:lnTo>
                    <a:lnTo>
                      <a:pt x="27" y="9"/>
                    </a:lnTo>
                    <a:lnTo>
                      <a:pt x="27" y="11"/>
                    </a:lnTo>
                    <a:lnTo>
                      <a:pt x="27" y="13"/>
                    </a:lnTo>
                    <a:lnTo>
                      <a:pt x="27" y="13"/>
                    </a:lnTo>
                    <a:lnTo>
                      <a:pt x="30" y="13"/>
                    </a:lnTo>
                    <a:lnTo>
                      <a:pt x="30" y="13"/>
                    </a:lnTo>
                    <a:lnTo>
                      <a:pt x="35" y="13"/>
                    </a:lnTo>
                    <a:lnTo>
                      <a:pt x="35" y="13"/>
                    </a:lnTo>
                    <a:lnTo>
                      <a:pt x="32" y="11"/>
                    </a:lnTo>
                    <a:lnTo>
                      <a:pt x="32" y="11"/>
                    </a:lnTo>
                    <a:lnTo>
                      <a:pt x="37" y="11"/>
                    </a:lnTo>
                    <a:lnTo>
                      <a:pt x="39" y="11"/>
                    </a:lnTo>
                    <a:lnTo>
                      <a:pt x="39" y="9"/>
                    </a:lnTo>
                    <a:lnTo>
                      <a:pt x="39" y="9"/>
                    </a:lnTo>
                    <a:lnTo>
                      <a:pt x="39" y="9"/>
                    </a:lnTo>
                    <a:lnTo>
                      <a:pt x="37" y="8"/>
                    </a:lnTo>
                    <a:lnTo>
                      <a:pt x="37" y="6"/>
                    </a:lnTo>
                    <a:lnTo>
                      <a:pt x="37" y="6"/>
                    </a:lnTo>
                    <a:lnTo>
                      <a:pt x="35" y="4"/>
                    </a:lnTo>
                    <a:lnTo>
                      <a:pt x="34" y="4"/>
                    </a:lnTo>
                    <a:lnTo>
                      <a:pt x="32" y="8"/>
                    </a:lnTo>
                    <a:lnTo>
                      <a:pt x="32" y="8"/>
                    </a:lnTo>
                    <a:lnTo>
                      <a:pt x="30" y="4"/>
                    </a:lnTo>
                    <a:lnTo>
                      <a:pt x="28" y="4"/>
                    </a:lnTo>
                    <a:lnTo>
                      <a:pt x="27" y="4"/>
                    </a:lnTo>
                    <a:lnTo>
                      <a:pt x="27" y="4"/>
                    </a:lnTo>
                    <a:lnTo>
                      <a:pt x="27" y="6"/>
                    </a:lnTo>
                    <a:lnTo>
                      <a:pt x="25" y="4"/>
                    </a:lnTo>
                    <a:lnTo>
                      <a:pt x="23" y="2"/>
                    </a:lnTo>
                    <a:lnTo>
                      <a:pt x="23" y="2"/>
                    </a:lnTo>
                    <a:lnTo>
                      <a:pt x="19" y="0"/>
                    </a:lnTo>
                    <a:lnTo>
                      <a:pt x="18" y="2"/>
                    </a:lnTo>
                    <a:lnTo>
                      <a:pt x="18" y="4"/>
                    </a:lnTo>
                    <a:lnTo>
                      <a:pt x="18" y="4"/>
                    </a:lnTo>
                    <a:lnTo>
                      <a:pt x="21" y="8"/>
                    </a:lnTo>
                    <a:lnTo>
                      <a:pt x="25" y="9"/>
                    </a:lnTo>
                    <a:lnTo>
                      <a:pt x="25" y="9"/>
                    </a:lnTo>
                    <a:lnTo>
                      <a:pt x="23" y="11"/>
                    </a:lnTo>
                    <a:lnTo>
                      <a:pt x="19" y="11"/>
                    </a:lnTo>
                    <a:lnTo>
                      <a:pt x="19" y="11"/>
                    </a:lnTo>
                    <a:lnTo>
                      <a:pt x="18" y="11"/>
                    </a:lnTo>
                    <a:lnTo>
                      <a:pt x="16" y="8"/>
                    </a:lnTo>
                    <a:lnTo>
                      <a:pt x="16" y="8"/>
                    </a:lnTo>
                    <a:lnTo>
                      <a:pt x="12" y="6"/>
                    </a:lnTo>
                    <a:lnTo>
                      <a:pt x="9" y="6"/>
                    </a:lnTo>
                    <a:lnTo>
                      <a:pt x="5" y="8"/>
                    </a:lnTo>
                    <a:lnTo>
                      <a:pt x="2" y="9"/>
                    </a:lnTo>
                    <a:lnTo>
                      <a:pt x="2" y="9"/>
                    </a:lnTo>
                    <a:lnTo>
                      <a:pt x="2" y="11"/>
                    </a:lnTo>
                    <a:lnTo>
                      <a:pt x="2" y="13"/>
                    </a:lnTo>
                    <a:lnTo>
                      <a:pt x="2" y="13"/>
                    </a:lnTo>
                    <a:lnTo>
                      <a:pt x="0" y="15"/>
                    </a:lnTo>
                    <a:lnTo>
                      <a:pt x="2" y="16"/>
                    </a:lnTo>
                    <a:lnTo>
                      <a:pt x="3" y="16"/>
                    </a:lnTo>
                    <a:lnTo>
                      <a:pt x="3" y="16"/>
                    </a:lnTo>
                    <a:lnTo>
                      <a:pt x="7" y="16"/>
                    </a:lnTo>
                    <a:lnTo>
                      <a:pt x="7" y="16"/>
                    </a:lnTo>
                    <a:lnTo>
                      <a:pt x="9" y="16"/>
                    </a:lnTo>
                    <a:lnTo>
                      <a:pt x="10" y="16"/>
                    </a:lnTo>
                    <a:lnTo>
                      <a:pt x="10" y="16"/>
                    </a:lnTo>
                    <a:lnTo>
                      <a:pt x="14" y="15"/>
                    </a:lnTo>
                    <a:lnTo>
                      <a:pt x="19" y="1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14" name="Freeform 2567"/>
              <p:cNvSpPr>
                <a:spLocks/>
              </p:cNvSpPr>
              <p:nvPr/>
            </p:nvSpPr>
            <p:spPr bwMode="auto">
              <a:xfrm>
                <a:off x="4578" y="2843"/>
                <a:ext cx="2" cy="4"/>
              </a:xfrm>
              <a:custGeom>
                <a:avLst/>
                <a:gdLst>
                  <a:gd name="T0" fmla="*/ 0 w 2"/>
                  <a:gd name="T1" fmla="*/ 4 h 4"/>
                  <a:gd name="T2" fmla="*/ 0 w 2"/>
                  <a:gd name="T3" fmla="*/ 4 h 4"/>
                  <a:gd name="T4" fmla="*/ 2 w 2"/>
                  <a:gd name="T5" fmla="*/ 0 h 4"/>
                  <a:gd name="T6" fmla="*/ 2 w 2"/>
                  <a:gd name="T7" fmla="*/ 0 h 4"/>
                  <a:gd name="T8" fmla="*/ 0 w 2"/>
                  <a:gd name="T9" fmla="*/ 0 h 4"/>
                  <a:gd name="T10" fmla="*/ 0 w 2"/>
                  <a:gd name="T11" fmla="*/ 0 h 4"/>
                  <a:gd name="T12" fmla="*/ 0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4"/>
                    </a:moveTo>
                    <a:lnTo>
                      <a:pt x="0" y="4"/>
                    </a:lnTo>
                    <a:lnTo>
                      <a:pt x="2" y="0"/>
                    </a:lnTo>
                    <a:lnTo>
                      <a:pt x="2" y="0"/>
                    </a:lnTo>
                    <a:lnTo>
                      <a:pt x="0" y="0"/>
                    </a:lnTo>
                    <a:lnTo>
                      <a:pt x="0" y="0"/>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15" name="Freeform 2568"/>
              <p:cNvSpPr>
                <a:spLocks/>
              </p:cNvSpPr>
              <p:nvPr/>
            </p:nvSpPr>
            <p:spPr bwMode="auto">
              <a:xfrm>
                <a:off x="4578" y="2843"/>
                <a:ext cx="2" cy="4"/>
              </a:xfrm>
              <a:custGeom>
                <a:avLst/>
                <a:gdLst>
                  <a:gd name="T0" fmla="*/ 0 w 2"/>
                  <a:gd name="T1" fmla="*/ 4 h 4"/>
                  <a:gd name="T2" fmla="*/ 0 w 2"/>
                  <a:gd name="T3" fmla="*/ 4 h 4"/>
                  <a:gd name="T4" fmla="*/ 2 w 2"/>
                  <a:gd name="T5" fmla="*/ 0 h 4"/>
                  <a:gd name="T6" fmla="*/ 2 w 2"/>
                  <a:gd name="T7" fmla="*/ 0 h 4"/>
                  <a:gd name="T8" fmla="*/ 0 w 2"/>
                  <a:gd name="T9" fmla="*/ 0 h 4"/>
                  <a:gd name="T10" fmla="*/ 0 w 2"/>
                  <a:gd name="T11" fmla="*/ 0 h 4"/>
                  <a:gd name="T12" fmla="*/ 0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4"/>
                    </a:moveTo>
                    <a:lnTo>
                      <a:pt x="0" y="4"/>
                    </a:lnTo>
                    <a:lnTo>
                      <a:pt x="2" y="0"/>
                    </a:lnTo>
                    <a:lnTo>
                      <a:pt x="2" y="0"/>
                    </a:lnTo>
                    <a:lnTo>
                      <a:pt x="0" y="0"/>
                    </a:lnTo>
                    <a:lnTo>
                      <a:pt x="0" y="0"/>
                    </a:lnTo>
                    <a:lnTo>
                      <a:pt x="0"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16" name="Freeform 2569"/>
              <p:cNvSpPr>
                <a:spLocks/>
              </p:cNvSpPr>
              <p:nvPr/>
            </p:nvSpPr>
            <p:spPr bwMode="auto">
              <a:xfrm>
                <a:off x="4598" y="2863"/>
                <a:ext cx="30" cy="14"/>
              </a:xfrm>
              <a:custGeom>
                <a:avLst/>
                <a:gdLst>
                  <a:gd name="T0" fmla="*/ 0 w 30"/>
                  <a:gd name="T1" fmla="*/ 2 h 14"/>
                  <a:gd name="T2" fmla="*/ 0 w 30"/>
                  <a:gd name="T3" fmla="*/ 2 h 14"/>
                  <a:gd name="T4" fmla="*/ 1 w 30"/>
                  <a:gd name="T5" fmla="*/ 3 h 14"/>
                  <a:gd name="T6" fmla="*/ 3 w 30"/>
                  <a:gd name="T7" fmla="*/ 5 h 14"/>
                  <a:gd name="T8" fmla="*/ 9 w 30"/>
                  <a:gd name="T9" fmla="*/ 5 h 14"/>
                  <a:gd name="T10" fmla="*/ 9 w 30"/>
                  <a:gd name="T11" fmla="*/ 5 h 14"/>
                  <a:gd name="T12" fmla="*/ 14 w 30"/>
                  <a:gd name="T13" fmla="*/ 9 h 14"/>
                  <a:gd name="T14" fmla="*/ 19 w 30"/>
                  <a:gd name="T15" fmla="*/ 12 h 14"/>
                  <a:gd name="T16" fmla="*/ 19 w 30"/>
                  <a:gd name="T17" fmla="*/ 12 h 14"/>
                  <a:gd name="T18" fmla="*/ 23 w 30"/>
                  <a:gd name="T19" fmla="*/ 14 h 14"/>
                  <a:gd name="T20" fmla="*/ 26 w 30"/>
                  <a:gd name="T21" fmla="*/ 12 h 14"/>
                  <a:gd name="T22" fmla="*/ 30 w 30"/>
                  <a:gd name="T23" fmla="*/ 11 h 14"/>
                  <a:gd name="T24" fmla="*/ 30 w 30"/>
                  <a:gd name="T25" fmla="*/ 9 h 14"/>
                  <a:gd name="T26" fmla="*/ 28 w 30"/>
                  <a:gd name="T27" fmla="*/ 7 h 14"/>
                  <a:gd name="T28" fmla="*/ 28 w 30"/>
                  <a:gd name="T29" fmla="*/ 7 h 14"/>
                  <a:gd name="T30" fmla="*/ 26 w 30"/>
                  <a:gd name="T31" fmla="*/ 5 h 14"/>
                  <a:gd name="T32" fmla="*/ 23 w 30"/>
                  <a:gd name="T33" fmla="*/ 3 h 14"/>
                  <a:gd name="T34" fmla="*/ 23 w 30"/>
                  <a:gd name="T35" fmla="*/ 3 h 14"/>
                  <a:gd name="T36" fmla="*/ 17 w 30"/>
                  <a:gd name="T37" fmla="*/ 0 h 14"/>
                  <a:gd name="T38" fmla="*/ 17 w 30"/>
                  <a:gd name="T39" fmla="*/ 0 h 14"/>
                  <a:gd name="T40" fmla="*/ 10 w 30"/>
                  <a:gd name="T41" fmla="*/ 0 h 14"/>
                  <a:gd name="T42" fmla="*/ 10 w 30"/>
                  <a:gd name="T43" fmla="*/ 0 h 14"/>
                  <a:gd name="T44" fmla="*/ 5 w 30"/>
                  <a:gd name="T45" fmla="*/ 0 h 14"/>
                  <a:gd name="T46" fmla="*/ 3 w 30"/>
                  <a:gd name="T47" fmla="*/ 0 h 14"/>
                  <a:gd name="T48" fmla="*/ 0 w 30"/>
                  <a:gd name="T4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14">
                    <a:moveTo>
                      <a:pt x="0" y="2"/>
                    </a:moveTo>
                    <a:lnTo>
                      <a:pt x="0" y="2"/>
                    </a:lnTo>
                    <a:lnTo>
                      <a:pt x="1" y="3"/>
                    </a:lnTo>
                    <a:lnTo>
                      <a:pt x="3" y="5"/>
                    </a:lnTo>
                    <a:lnTo>
                      <a:pt x="9" y="5"/>
                    </a:lnTo>
                    <a:lnTo>
                      <a:pt x="9" y="5"/>
                    </a:lnTo>
                    <a:lnTo>
                      <a:pt x="14" y="9"/>
                    </a:lnTo>
                    <a:lnTo>
                      <a:pt x="19" y="12"/>
                    </a:lnTo>
                    <a:lnTo>
                      <a:pt x="19" y="12"/>
                    </a:lnTo>
                    <a:lnTo>
                      <a:pt x="23" y="14"/>
                    </a:lnTo>
                    <a:lnTo>
                      <a:pt x="26" y="12"/>
                    </a:lnTo>
                    <a:lnTo>
                      <a:pt x="30" y="11"/>
                    </a:lnTo>
                    <a:lnTo>
                      <a:pt x="30" y="9"/>
                    </a:lnTo>
                    <a:lnTo>
                      <a:pt x="28" y="7"/>
                    </a:lnTo>
                    <a:lnTo>
                      <a:pt x="28" y="7"/>
                    </a:lnTo>
                    <a:lnTo>
                      <a:pt x="26" y="5"/>
                    </a:lnTo>
                    <a:lnTo>
                      <a:pt x="23" y="3"/>
                    </a:lnTo>
                    <a:lnTo>
                      <a:pt x="23" y="3"/>
                    </a:lnTo>
                    <a:lnTo>
                      <a:pt x="17" y="0"/>
                    </a:lnTo>
                    <a:lnTo>
                      <a:pt x="17" y="0"/>
                    </a:lnTo>
                    <a:lnTo>
                      <a:pt x="10" y="0"/>
                    </a:lnTo>
                    <a:lnTo>
                      <a:pt x="10" y="0"/>
                    </a:lnTo>
                    <a:lnTo>
                      <a:pt x="5" y="0"/>
                    </a:lnTo>
                    <a:lnTo>
                      <a:pt x="3" y="0"/>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17" name="Freeform 2570"/>
              <p:cNvSpPr>
                <a:spLocks/>
              </p:cNvSpPr>
              <p:nvPr/>
            </p:nvSpPr>
            <p:spPr bwMode="auto">
              <a:xfrm>
                <a:off x="4598" y="2863"/>
                <a:ext cx="30" cy="14"/>
              </a:xfrm>
              <a:custGeom>
                <a:avLst/>
                <a:gdLst>
                  <a:gd name="T0" fmla="*/ 0 w 30"/>
                  <a:gd name="T1" fmla="*/ 2 h 14"/>
                  <a:gd name="T2" fmla="*/ 0 w 30"/>
                  <a:gd name="T3" fmla="*/ 2 h 14"/>
                  <a:gd name="T4" fmla="*/ 1 w 30"/>
                  <a:gd name="T5" fmla="*/ 3 h 14"/>
                  <a:gd name="T6" fmla="*/ 3 w 30"/>
                  <a:gd name="T7" fmla="*/ 5 h 14"/>
                  <a:gd name="T8" fmla="*/ 9 w 30"/>
                  <a:gd name="T9" fmla="*/ 5 h 14"/>
                  <a:gd name="T10" fmla="*/ 9 w 30"/>
                  <a:gd name="T11" fmla="*/ 5 h 14"/>
                  <a:gd name="T12" fmla="*/ 14 w 30"/>
                  <a:gd name="T13" fmla="*/ 9 h 14"/>
                  <a:gd name="T14" fmla="*/ 19 w 30"/>
                  <a:gd name="T15" fmla="*/ 12 h 14"/>
                  <a:gd name="T16" fmla="*/ 19 w 30"/>
                  <a:gd name="T17" fmla="*/ 12 h 14"/>
                  <a:gd name="T18" fmla="*/ 23 w 30"/>
                  <a:gd name="T19" fmla="*/ 14 h 14"/>
                  <a:gd name="T20" fmla="*/ 26 w 30"/>
                  <a:gd name="T21" fmla="*/ 12 h 14"/>
                  <a:gd name="T22" fmla="*/ 30 w 30"/>
                  <a:gd name="T23" fmla="*/ 11 h 14"/>
                  <a:gd name="T24" fmla="*/ 30 w 30"/>
                  <a:gd name="T25" fmla="*/ 9 h 14"/>
                  <a:gd name="T26" fmla="*/ 28 w 30"/>
                  <a:gd name="T27" fmla="*/ 7 h 14"/>
                  <a:gd name="T28" fmla="*/ 28 w 30"/>
                  <a:gd name="T29" fmla="*/ 7 h 14"/>
                  <a:gd name="T30" fmla="*/ 26 w 30"/>
                  <a:gd name="T31" fmla="*/ 5 h 14"/>
                  <a:gd name="T32" fmla="*/ 23 w 30"/>
                  <a:gd name="T33" fmla="*/ 3 h 14"/>
                  <a:gd name="T34" fmla="*/ 23 w 30"/>
                  <a:gd name="T35" fmla="*/ 3 h 14"/>
                  <a:gd name="T36" fmla="*/ 17 w 30"/>
                  <a:gd name="T37" fmla="*/ 0 h 14"/>
                  <a:gd name="T38" fmla="*/ 17 w 30"/>
                  <a:gd name="T39" fmla="*/ 0 h 14"/>
                  <a:gd name="T40" fmla="*/ 10 w 30"/>
                  <a:gd name="T41" fmla="*/ 0 h 14"/>
                  <a:gd name="T42" fmla="*/ 10 w 30"/>
                  <a:gd name="T43" fmla="*/ 0 h 14"/>
                  <a:gd name="T44" fmla="*/ 5 w 30"/>
                  <a:gd name="T45" fmla="*/ 0 h 14"/>
                  <a:gd name="T46" fmla="*/ 3 w 30"/>
                  <a:gd name="T47" fmla="*/ 0 h 14"/>
                  <a:gd name="T48" fmla="*/ 0 w 30"/>
                  <a:gd name="T4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14">
                    <a:moveTo>
                      <a:pt x="0" y="2"/>
                    </a:moveTo>
                    <a:lnTo>
                      <a:pt x="0" y="2"/>
                    </a:lnTo>
                    <a:lnTo>
                      <a:pt x="1" y="3"/>
                    </a:lnTo>
                    <a:lnTo>
                      <a:pt x="3" y="5"/>
                    </a:lnTo>
                    <a:lnTo>
                      <a:pt x="9" y="5"/>
                    </a:lnTo>
                    <a:lnTo>
                      <a:pt x="9" y="5"/>
                    </a:lnTo>
                    <a:lnTo>
                      <a:pt x="14" y="9"/>
                    </a:lnTo>
                    <a:lnTo>
                      <a:pt x="19" y="12"/>
                    </a:lnTo>
                    <a:lnTo>
                      <a:pt x="19" y="12"/>
                    </a:lnTo>
                    <a:lnTo>
                      <a:pt x="23" y="14"/>
                    </a:lnTo>
                    <a:lnTo>
                      <a:pt x="26" y="12"/>
                    </a:lnTo>
                    <a:lnTo>
                      <a:pt x="30" y="11"/>
                    </a:lnTo>
                    <a:lnTo>
                      <a:pt x="30" y="9"/>
                    </a:lnTo>
                    <a:lnTo>
                      <a:pt x="28" y="7"/>
                    </a:lnTo>
                    <a:lnTo>
                      <a:pt x="28" y="7"/>
                    </a:lnTo>
                    <a:lnTo>
                      <a:pt x="26" y="5"/>
                    </a:lnTo>
                    <a:lnTo>
                      <a:pt x="23" y="3"/>
                    </a:lnTo>
                    <a:lnTo>
                      <a:pt x="23" y="3"/>
                    </a:lnTo>
                    <a:lnTo>
                      <a:pt x="17" y="0"/>
                    </a:lnTo>
                    <a:lnTo>
                      <a:pt x="17" y="0"/>
                    </a:lnTo>
                    <a:lnTo>
                      <a:pt x="10" y="0"/>
                    </a:lnTo>
                    <a:lnTo>
                      <a:pt x="10" y="0"/>
                    </a:lnTo>
                    <a:lnTo>
                      <a:pt x="5" y="0"/>
                    </a:lnTo>
                    <a:lnTo>
                      <a:pt x="3" y="0"/>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18" name="Freeform 2571"/>
              <p:cNvSpPr>
                <a:spLocks/>
              </p:cNvSpPr>
              <p:nvPr/>
            </p:nvSpPr>
            <p:spPr bwMode="auto">
              <a:xfrm>
                <a:off x="4601" y="2843"/>
                <a:ext cx="2" cy="2"/>
              </a:xfrm>
              <a:custGeom>
                <a:avLst/>
                <a:gdLst>
                  <a:gd name="T0" fmla="*/ 2 w 2"/>
                  <a:gd name="T1" fmla="*/ 0 h 2"/>
                  <a:gd name="T2" fmla="*/ 2 w 2"/>
                  <a:gd name="T3" fmla="*/ 0 h 2"/>
                  <a:gd name="T4" fmla="*/ 0 w 2"/>
                  <a:gd name="T5" fmla="*/ 0 h 2"/>
                  <a:gd name="T6" fmla="*/ 0 w 2"/>
                  <a:gd name="T7" fmla="*/ 2 h 2"/>
                  <a:gd name="T8" fmla="*/ 0 w 2"/>
                  <a:gd name="T9" fmla="*/ 2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0"/>
                    </a:lnTo>
                    <a:lnTo>
                      <a:pt x="0" y="2"/>
                    </a:lnTo>
                    <a:lnTo>
                      <a:pt x="0" y="2"/>
                    </a:lnTo>
                    <a:lnTo>
                      <a:pt x="2"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19" name="Freeform 2572"/>
              <p:cNvSpPr>
                <a:spLocks/>
              </p:cNvSpPr>
              <p:nvPr/>
            </p:nvSpPr>
            <p:spPr bwMode="auto">
              <a:xfrm>
                <a:off x="4601" y="2843"/>
                <a:ext cx="2" cy="2"/>
              </a:xfrm>
              <a:custGeom>
                <a:avLst/>
                <a:gdLst>
                  <a:gd name="T0" fmla="*/ 2 w 2"/>
                  <a:gd name="T1" fmla="*/ 0 h 2"/>
                  <a:gd name="T2" fmla="*/ 2 w 2"/>
                  <a:gd name="T3" fmla="*/ 0 h 2"/>
                  <a:gd name="T4" fmla="*/ 0 w 2"/>
                  <a:gd name="T5" fmla="*/ 0 h 2"/>
                  <a:gd name="T6" fmla="*/ 0 w 2"/>
                  <a:gd name="T7" fmla="*/ 2 h 2"/>
                  <a:gd name="T8" fmla="*/ 0 w 2"/>
                  <a:gd name="T9" fmla="*/ 2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0"/>
                    </a:lnTo>
                    <a:lnTo>
                      <a:pt x="0" y="2"/>
                    </a:lnTo>
                    <a:lnTo>
                      <a:pt x="0" y="2"/>
                    </a:lnTo>
                    <a:lnTo>
                      <a:pt x="2"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20" name="Freeform 2573"/>
              <p:cNvSpPr>
                <a:spLocks/>
              </p:cNvSpPr>
              <p:nvPr/>
            </p:nvSpPr>
            <p:spPr bwMode="auto">
              <a:xfrm>
                <a:off x="4603" y="2684"/>
                <a:ext cx="104" cy="120"/>
              </a:xfrm>
              <a:custGeom>
                <a:avLst/>
                <a:gdLst>
                  <a:gd name="T0" fmla="*/ 7 w 104"/>
                  <a:gd name="T1" fmla="*/ 118 h 120"/>
                  <a:gd name="T2" fmla="*/ 14 w 104"/>
                  <a:gd name="T3" fmla="*/ 118 h 120"/>
                  <a:gd name="T4" fmla="*/ 23 w 104"/>
                  <a:gd name="T5" fmla="*/ 116 h 120"/>
                  <a:gd name="T6" fmla="*/ 21 w 104"/>
                  <a:gd name="T7" fmla="*/ 107 h 120"/>
                  <a:gd name="T8" fmla="*/ 25 w 104"/>
                  <a:gd name="T9" fmla="*/ 88 h 120"/>
                  <a:gd name="T10" fmla="*/ 23 w 104"/>
                  <a:gd name="T11" fmla="*/ 77 h 120"/>
                  <a:gd name="T12" fmla="*/ 34 w 104"/>
                  <a:gd name="T13" fmla="*/ 70 h 120"/>
                  <a:gd name="T14" fmla="*/ 34 w 104"/>
                  <a:gd name="T15" fmla="*/ 81 h 120"/>
                  <a:gd name="T16" fmla="*/ 43 w 104"/>
                  <a:gd name="T17" fmla="*/ 93 h 120"/>
                  <a:gd name="T18" fmla="*/ 43 w 104"/>
                  <a:gd name="T19" fmla="*/ 104 h 120"/>
                  <a:gd name="T20" fmla="*/ 50 w 104"/>
                  <a:gd name="T21" fmla="*/ 104 h 120"/>
                  <a:gd name="T22" fmla="*/ 57 w 104"/>
                  <a:gd name="T23" fmla="*/ 98 h 120"/>
                  <a:gd name="T24" fmla="*/ 61 w 104"/>
                  <a:gd name="T25" fmla="*/ 97 h 120"/>
                  <a:gd name="T26" fmla="*/ 62 w 104"/>
                  <a:gd name="T27" fmla="*/ 93 h 120"/>
                  <a:gd name="T28" fmla="*/ 61 w 104"/>
                  <a:gd name="T29" fmla="*/ 90 h 120"/>
                  <a:gd name="T30" fmla="*/ 55 w 104"/>
                  <a:gd name="T31" fmla="*/ 84 h 120"/>
                  <a:gd name="T32" fmla="*/ 55 w 104"/>
                  <a:gd name="T33" fmla="*/ 81 h 120"/>
                  <a:gd name="T34" fmla="*/ 55 w 104"/>
                  <a:gd name="T35" fmla="*/ 75 h 120"/>
                  <a:gd name="T36" fmla="*/ 50 w 104"/>
                  <a:gd name="T37" fmla="*/ 68 h 120"/>
                  <a:gd name="T38" fmla="*/ 43 w 104"/>
                  <a:gd name="T39" fmla="*/ 61 h 120"/>
                  <a:gd name="T40" fmla="*/ 41 w 104"/>
                  <a:gd name="T41" fmla="*/ 56 h 120"/>
                  <a:gd name="T42" fmla="*/ 52 w 104"/>
                  <a:gd name="T43" fmla="*/ 54 h 120"/>
                  <a:gd name="T44" fmla="*/ 64 w 104"/>
                  <a:gd name="T45" fmla="*/ 43 h 120"/>
                  <a:gd name="T46" fmla="*/ 73 w 104"/>
                  <a:gd name="T47" fmla="*/ 43 h 120"/>
                  <a:gd name="T48" fmla="*/ 73 w 104"/>
                  <a:gd name="T49" fmla="*/ 38 h 120"/>
                  <a:gd name="T50" fmla="*/ 66 w 104"/>
                  <a:gd name="T51" fmla="*/ 40 h 120"/>
                  <a:gd name="T52" fmla="*/ 52 w 104"/>
                  <a:gd name="T53" fmla="*/ 43 h 120"/>
                  <a:gd name="T54" fmla="*/ 43 w 104"/>
                  <a:gd name="T55" fmla="*/ 43 h 120"/>
                  <a:gd name="T56" fmla="*/ 34 w 104"/>
                  <a:gd name="T57" fmla="*/ 50 h 120"/>
                  <a:gd name="T58" fmla="*/ 27 w 104"/>
                  <a:gd name="T59" fmla="*/ 43 h 120"/>
                  <a:gd name="T60" fmla="*/ 20 w 104"/>
                  <a:gd name="T61" fmla="*/ 34 h 120"/>
                  <a:gd name="T62" fmla="*/ 27 w 104"/>
                  <a:gd name="T63" fmla="*/ 20 h 120"/>
                  <a:gd name="T64" fmla="*/ 39 w 104"/>
                  <a:gd name="T65" fmla="*/ 20 h 120"/>
                  <a:gd name="T66" fmla="*/ 50 w 104"/>
                  <a:gd name="T67" fmla="*/ 20 h 120"/>
                  <a:gd name="T68" fmla="*/ 71 w 104"/>
                  <a:gd name="T69" fmla="*/ 22 h 120"/>
                  <a:gd name="T70" fmla="*/ 91 w 104"/>
                  <a:gd name="T71" fmla="*/ 20 h 120"/>
                  <a:gd name="T72" fmla="*/ 100 w 104"/>
                  <a:gd name="T73" fmla="*/ 7 h 120"/>
                  <a:gd name="T74" fmla="*/ 102 w 104"/>
                  <a:gd name="T75" fmla="*/ 0 h 120"/>
                  <a:gd name="T76" fmla="*/ 95 w 104"/>
                  <a:gd name="T77" fmla="*/ 4 h 120"/>
                  <a:gd name="T78" fmla="*/ 89 w 104"/>
                  <a:gd name="T79" fmla="*/ 9 h 120"/>
                  <a:gd name="T80" fmla="*/ 79 w 104"/>
                  <a:gd name="T81" fmla="*/ 13 h 120"/>
                  <a:gd name="T82" fmla="*/ 64 w 104"/>
                  <a:gd name="T83" fmla="*/ 13 h 120"/>
                  <a:gd name="T84" fmla="*/ 45 w 104"/>
                  <a:gd name="T85" fmla="*/ 11 h 120"/>
                  <a:gd name="T86" fmla="*/ 34 w 104"/>
                  <a:gd name="T87" fmla="*/ 6 h 120"/>
                  <a:gd name="T88" fmla="*/ 27 w 104"/>
                  <a:gd name="T89" fmla="*/ 15 h 120"/>
                  <a:gd name="T90" fmla="*/ 20 w 104"/>
                  <a:gd name="T91" fmla="*/ 18 h 120"/>
                  <a:gd name="T92" fmla="*/ 16 w 104"/>
                  <a:gd name="T93" fmla="*/ 27 h 120"/>
                  <a:gd name="T94" fmla="*/ 12 w 104"/>
                  <a:gd name="T95" fmla="*/ 27 h 120"/>
                  <a:gd name="T96" fmla="*/ 16 w 104"/>
                  <a:gd name="T97" fmla="*/ 38 h 120"/>
                  <a:gd name="T98" fmla="*/ 11 w 104"/>
                  <a:gd name="T99" fmla="*/ 45 h 120"/>
                  <a:gd name="T100" fmla="*/ 9 w 104"/>
                  <a:gd name="T101" fmla="*/ 57 h 120"/>
                  <a:gd name="T102" fmla="*/ 2 w 104"/>
                  <a:gd name="T103" fmla="*/ 70 h 120"/>
                  <a:gd name="T104" fmla="*/ 0 w 104"/>
                  <a:gd name="T105" fmla="*/ 77 h 120"/>
                  <a:gd name="T106" fmla="*/ 4 w 104"/>
                  <a:gd name="T107" fmla="*/ 84 h 120"/>
                  <a:gd name="T108" fmla="*/ 11 w 104"/>
                  <a:gd name="T109" fmla="*/ 90 h 120"/>
                  <a:gd name="T110" fmla="*/ 11 w 104"/>
                  <a:gd name="T111" fmla="*/ 10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4" h="120">
                    <a:moveTo>
                      <a:pt x="7" y="111"/>
                    </a:moveTo>
                    <a:lnTo>
                      <a:pt x="7" y="111"/>
                    </a:lnTo>
                    <a:lnTo>
                      <a:pt x="7" y="115"/>
                    </a:lnTo>
                    <a:lnTo>
                      <a:pt x="7" y="118"/>
                    </a:lnTo>
                    <a:lnTo>
                      <a:pt x="7" y="118"/>
                    </a:lnTo>
                    <a:lnTo>
                      <a:pt x="9" y="118"/>
                    </a:lnTo>
                    <a:lnTo>
                      <a:pt x="11" y="118"/>
                    </a:lnTo>
                    <a:lnTo>
                      <a:pt x="12" y="120"/>
                    </a:lnTo>
                    <a:lnTo>
                      <a:pt x="14" y="118"/>
                    </a:lnTo>
                    <a:lnTo>
                      <a:pt x="14" y="118"/>
                    </a:lnTo>
                    <a:lnTo>
                      <a:pt x="16" y="118"/>
                    </a:lnTo>
                    <a:lnTo>
                      <a:pt x="18" y="118"/>
                    </a:lnTo>
                    <a:lnTo>
                      <a:pt x="18" y="118"/>
                    </a:lnTo>
                    <a:lnTo>
                      <a:pt x="21" y="116"/>
                    </a:lnTo>
                    <a:lnTo>
                      <a:pt x="23" y="116"/>
                    </a:lnTo>
                    <a:lnTo>
                      <a:pt x="23" y="116"/>
                    </a:lnTo>
                    <a:lnTo>
                      <a:pt x="23" y="113"/>
                    </a:lnTo>
                    <a:lnTo>
                      <a:pt x="21" y="111"/>
                    </a:lnTo>
                    <a:lnTo>
                      <a:pt x="21" y="107"/>
                    </a:lnTo>
                    <a:lnTo>
                      <a:pt x="21" y="107"/>
                    </a:lnTo>
                    <a:lnTo>
                      <a:pt x="23" y="102"/>
                    </a:lnTo>
                    <a:lnTo>
                      <a:pt x="23" y="97"/>
                    </a:lnTo>
                    <a:lnTo>
                      <a:pt x="23" y="97"/>
                    </a:lnTo>
                    <a:lnTo>
                      <a:pt x="23" y="91"/>
                    </a:lnTo>
                    <a:lnTo>
                      <a:pt x="25" y="88"/>
                    </a:lnTo>
                    <a:lnTo>
                      <a:pt x="25" y="88"/>
                    </a:lnTo>
                    <a:lnTo>
                      <a:pt x="25" y="82"/>
                    </a:lnTo>
                    <a:lnTo>
                      <a:pt x="25" y="82"/>
                    </a:lnTo>
                    <a:lnTo>
                      <a:pt x="25" y="79"/>
                    </a:lnTo>
                    <a:lnTo>
                      <a:pt x="23" y="77"/>
                    </a:lnTo>
                    <a:lnTo>
                      <a:pt x="23" y="77"/>
                    </a:lnTo>
                    <a:lnTo>
                      <a:pt x="23" y="73"/>
                    </a:lnTo>
                    <a:lnTo>
                      <a:pt x="27" y="72"/>
                    </a:lnTo>
                    <a:lnTo>
                      <a:pt x="30" y="70"/>
                    </a:lnTo>
                    <a:lnTo>
                      <a:pt x="34" y="70"/>
                    </a:lnTo>
                    <a:lnTo>
                      <a:pt x="34" y="70"/>
                    </a:lnTo>
                    <a:lnTo>
                      <a:pt x="36" y="72"/>
                    </a:lnTo>
                    <a:lnTo>
                      <a:pt x="36" y="75"/>
                    </a:lnTo>
                    <a:lnTo>
                      <a:pt x="34" y="81"/>
                    </a:lnTo>
                    <a:lnTo>
                      <a:pt x="34" y="81"/>
                    </a:lnTo>
                    <a:lnTo>
                      <a:pt x="34" y="82"/>
                    </a:lnTo>
                    <a:lnTo>
                      <a:pt x="34" y="84"/>
                    </a:lnTo>
                    <a:lnTo>
                      <a:pt x="36" y="88"/>
                    </a:lnTo>
                    <a:lnTo>
                      <a:pt x="43" y="93"/>
                    </a:lnTo>
                    <a:lnTo>
                      <a:pt x="43" y="93"/>
                    </a:lnTo>
                    <a:lnTo>
                      <a:pt x="43" y="95"/>
                    </a:lnTo>
                    <a:lnTo>
                      <a:pt x="43" y="97"/>
                    </a:lnTo>
                    <a:lnTo>
                      <a:pt x="41" y="100"/>
                    </a:lnTo>
                    <a:lnTo>
                      <a:pt x="43" y="104"/>
                    </a:lnTo>
                    <a:lnTo>
                      <a:pt x="43" y="104"/>
                    </a:lnTo>
                    <a:lnTo>
                      <a:pt x="45" y="106"/>
                    </a:lnTo>
                    <a:lnTo>
                      <a:pt x="48" y="106"/>
                    </a:lnTo>
                    <a:lnTo>
                      <a:pt x="48" y="106"/>
                    </a:lnTo>
                    <a:lnTo>
                      <a:pt x="50" y="106"/>
                    </a:lnTo>
                    <a:lnTo>
                      <a:pt x="50" y="104"/>
                    </a:lnTo>
                    <a:lnTo>
                      <a:pt x="52" y="102"/>
                    </a:lnTo>
                    <a:lnTo>
                      <a:pt x="52" y="102"/>
                    </a:lnTo>
                    <a:lnTo>
                      <a:pt x="52" y="100"/>
                    </a:lnTo>
                    <a:lnTo>
                      <a:pt x="54" y="98"/>
                    </a:lnTo>
                    <a:lnTo>
                      <a:pt x="57" y="98"/>
                    </a:lnTo>
                    <a:lnTo>
                      <a:pt x="57" y="98"/>
                    </a:lnTo>
                    <a:lnTo>
                      <a:pt x="61" y="98"/>
                    </a:lnTo>
                    <a:lnTo>
                      <a:pt x="62" y="98"/>
                    </a:lnTo>
                    <a:lnTo>
                      <a:pt x="61" y="97"/>
                    </a:lnTo>
                    <a:lnTo>
                      <a:pt x="61" y="97"/>
                    </a:lnTo>
                    <a:lnTo>
                      <a:pt x="62" y="98"/>
                    </a:lnTo>
                    <a:lnTo>
                      <a:pt x="64" y="97"/>
                    </a:lnTo>
                    <a:lnTo>
                      <a:pt x="64" y="95"/>
                    </a:lnTo>
                    <a:lnTo>
                      <a:pt x="62" y="93"/>
                    </a:lnTo>
                    <a:lnTo>
                      <a:pt x="62" y="93"/>
                    </a:lnTo>
                    <a:lnTo>
                      <a:pt x="62" y="93"/>
                    </a:lnTo>
                    <a:lnTo>
                      <a:pt x="61" y="93"/>
                    </a:lnTo>
                    <a:lnTo>
                      <a:pt x="59" y="91"/>
                    </a:lnTo>
                    <a:lnTo>
                      <a:pt x="59" y="91"/>
                    </a:lnTo>
                    <a:lnTo>
                      <a:pt x="61" y="90"/>
                    </a:lnTo>
                    <a:lnTo>
                      <a:pt x="61" y="90"/>
                    </a:lnTo>
                    <a:lnTo>
                      <a:pt x="57" y="90"/>
                    </a:lnTo>
                    <a:lnTo>
                      <a:pt x="55" y="86"/>
                    </a:lnTo>
                    <a:lnTo>
                      <a:pt x="55" y="86"/>
                    </a:lnTo>
                    <a:lnTo>
                      <a:pt x="55" y="84"/>
                    </a:lnTo>
                    <a:lnTo>
                      <a:pt x="55" y="82"/>
                    </a:lnTo>
                    <a:lnTo>
                      <a:pt x="55" y="82"/>
                    </a:lnTo>
                    <a:lnTo>
                      <a:pt x="57" y="82"/>
                    </a:lnTo>
                    <a:lnTo>
                      <a:pt x="57" y="82"/>
                    </a:lnTo>
                    <a:lnTo>
                      <a:pt x="55" y="81"/>
                    </a:lnTo>
                    <a:lnTo>
                      <a:pt x="57" y="79"/>
                    </a:lnTo>
                    <a:lnTo>
                      <a:pt x="57" y="79"/>
                    </a:lnTo>
                    <a:lnTo>
                      <a:pt x="55" y="77"/>
                    </a:lnTo>
                    <a:lnTo>
                      <a:pt x="55" y="77"/>
                    </a:lnTo>
                    <a:lnTo>
                      <a:pt x="55" y="75"/>
                    </a:lnTo>
                    <a:lnTo>
                      <a:pt x="55" y="73"/>
                    </a:lnTo>
                    <a:lnTo>
                      <a:pt x="55" y="73"/>
                    </a:lnTo>
                    <a:lnTo>
                      <a:pt x="52" y="72"/>
                    </a:lnTo>
                    <a:lnTo>
                      <a:pt x="52" y="72"/>
                    </a:lnTo>
                    <a:lnTo>
                      <a:pt x="50" y="68"/>
                    </a:lnTo>
                    <a:lnTo>
                      <a:pt x="50" y="68"/>
                    </a:lnTo>
                    <a:lnTo>
                      <a:pt x="48" y="65"/>
                    </a:lnTo>
                    <a:lnTo>
                      <a:pt x="46" y="63"/>
                    </a:lnTo>
                    <a:lnTo>
                      <a:pt x="46" y="63"/>
                    </a:lnTo>
                    <a:lnTo>
                      <a:pt x="43" y="61"/>
                    </a:lnTo>
                    <a:lnTo>
                      <a:pt x="43" y="59"/>
                    </a:lnTo>
                    <a:lnTo>
                      <a:pt x="41" y="59"/>
                    </a:lnTo>
                    <a:lnTo>
                      <a:pt x="41" y="59"/>
                    </a:lnTo>
                    <a:lnTo>
                      <a:pt x="41" y="56"/>
                    </a:lnTo>
                    <a:lnTo>
                      <a:pt x="41" y="56"/>
                    </a:lnTo>
                    <a:lnTo>
                      <a:pt x="45" y="57"/>
                    </a:lnTo>
                    <a:lnTo>
                      <a:pt x="46" y="57"/>
                    </a:lnTo>
                    <a:lnTo>
                      <a:pt x="48" y="57"/>
                    </a:lnTo>
                    <a:lnTo>
                      <a:pt x="48" y="57"/>
                    </a:lnTo>
                    <a:lnTo>
                      <a:pt x="52" y="54"/>
                    </a:lnTo>
                    <a:lnTo>
                      <a:pt x="55" y="52"/>
                    </a:lnTo>
                    <a:lnTo>
                      <a:pt x="55" y="52"/>
                    </a:lnTo>
                    <a:lnTo>
                      <a:pt x="59" y="50"/>
                    </a:lnTo>
                    <a:lnTo>
                      <a:pt x="62" y="45"/>
                    </a:lnTo>
                    <a:lnTo>
                      <a:pt x="64" y="43"/>
                    </a:lnTo>
                    <a:lnTo>
                      <a:pt x="70" y="41"/>
                    </a:lnTo>
                    <a:lnTo>
                      <a:pt x="70" y="41"/>
                    </a:lnTo>
                    <a:lnTo>
                      <a:pt x="71" y="43"/>
                    </a:lnTo>
                    <a:lnTo>
                      <a:pt x="71" y="43"/>
                    </a:lnTo>
                    <a:lnTo>
                      <a:pt x="73" y="43"/>
                    </a:lnTo>
                    <a:lnTo>
                      <a:pt x="73" y="43"/>
                    </a:lnTo>
                    <a:lnTo>
                      <a:pt x="75" y="41"/>
                    </a:lnTo>
                    <a:lnTo>
                      <a:pt x="75" y="38"/>
                    </a:lnTo>
                    <a:lnTo>
                      <a:pt x="75" y="38"/>
                    </a:lnTo>
                    <a:lnTo>
                      <a:pt x="73" y="38"/>
                    </a:lnTo>
                    <a:lnTo>
                      <a:pt x="70" y="36"/>
                    </a:lnTo>
                    <a:lnTo>
                      <a:pt x="62" y="38"/>
                    </a:lnTo>
                    <a:lnTo>
                      <a:pt x="62" y="38"/>
                    </a:lnTo>
                    <a:lnTo>
                      <a:pt x="66" y="40"/>
                    </a:lnTo>
                    <a:lnTo>
                      <a:pt x="66" y="40"/>
                    </a:lnTo>
                    <a:lnTo>
                      <a:pt x="59" y="40"/>
                    </a:lnTo>
                    <a:lnTo>
                      <a:pt x="55" y="40"/>
                    </a:lnTo>
                    <a:lnTo>
                      <a:pt x="54" y="41"/>
                    </a:lnTo>
                    <a:lnTo>
                      <a:pt x="54" y="41"/>
                    </a:lnTo>
                    <a:lnTo>
                      <a:pt x="52" y="43"/>
                    </a:lnTo>
                    <a:lnTo>
                      <a:pt x="50" y="43"/>
                    </a:lnTo>
                    <a:lnTo>
                      <a:pt x="46" y="43"/>
                    </a:lnTo>
                    <a:lnTo>
                      <a:pt x="46" y="40"/>
                    </a:lnTo>
                    <a:lnTo>
                      <a:pt x="46" y="40"/>
                    </a:lnTo>
                    <a:lnTo>
                      <a:pt x="43" y="43"/>
                    </a:lnTo>
                    <a:lnTo>
                      <a:pt x="39" y="47"/>
                    </a:lnTo>
                    <a:lnTo>
                      <a:pt x="39" y="47"/>
                    </a:lnTo>
                    <a:lnTo>
                      <a:pt x="37" y="50"/>
                    </a:lnTo>
                    <a:lnTo>
                      <a:pt x="34" y="50"/>
                    </a:lnTo>
                    <a:lnTo>
                      <a:pt x="34" y="50"/>
                    </a:lnTo>
                    <a:lnTo>
                      <a:pt x="30" y="48"/>
                    </a:lnTo>
                    <a:lnTo>
                      <a:pt x="29" y="47"/>
                    </a:lnTo>
                    <a:lnTo>
                      <a:pt x="29" y="47"/>
                    </a:lnTo>
                    <a:lnTo>
                      <a:pt x="27" y="43"/>
                    </a:lnTo>
                    <a:lnTo>
                      <a:pt x="27" y="43"/>
                    </a:lnTo>
                    <a:lnTo>
                      <a:pt x="25" y="43"/>
                    </a:lnTo>
                    <a:lnTo>
                      <a:pt x="23" y="43"/>
                    </a:lnTo>
                    <a:lnTo>
                      <a:pt x="23" y="43"/>
                    </a:lnTo>
                    <a:lnTo>
                      <a:pt x="21" y="40"/>
                    </a:lnTo>
                    <a:lnTo>
                      <a:pt x="20" y="34"/>
                    </a:lnTo>
                    <a:lnTo>
                      <a:pt x="20" y="31"/>
                    </a:lnTo>
                    <a:lnTo>
                      <a:pt x="21" y="25"/>
                    </a:lnTo>
                    <a:lnTo>
                      <a:pt x="21" y="25"/>
                    </a:lnTo>
                    <a:lnTo>
                      <a:pt x="23" y="22"/>
                    </a:lnTo>
                    <a:lnTo>
                      <a:pt x="27" y="20"/>
                    </a:lnTo>
                    <a:lnTo>
                      <a:pt x="27" y="20"/>
                    </a:lnTo>
                    <a:lnTo>
                      <a:pt x="32" y="20"/>
                    </a:lnTo>
                    <a:lnTo>
                      <a:pt x="36" y="22"/>
                    </a:lnTo>
                    <a:lnTo>
                      <a:pt x="36" y="22"/>
                    </a:lnTo>
                    <a:lnTo>
                      <a:pt x="39" y="20"/>
                    </a:lnTo>
                    <a:lnTo>
                      <a:pt x="43" y="20"/>
                    </a:lnTo>
                    <a:lnTo>
                      <a:pt x="43" y="20"/>
                    </a:lnTo>
                    <a:lnTo>
                      <a:pt x="46" y="20"/>
                    </a:lnTo>
                    <a:lnTo>
                      <a:pt x="50" y="20"/>
                    </a:lnTo>
                    <a:lnTo>
                      <a:pt x="50" y="20"/>
                    </a:lnTo>
                    <a:lnTo>
                      <a:pt x="55" y="20"/>
                    </a:lnTo>
                    <a:lnTo>
                      <a:pt x="61" y="20"/>
                    </a:lnTo>
                    <a:lnTo>
                      <a:pt x="61" y="20"/>
                    </a:lnTo>
                    <a:lnTo>
                      <a:pt x="66" y="20"/>
                    </a:lnTo>
                    <a:lnTo>
                      <a:pt x="71" y="22"/>
                    </a:lnTo>
                    <a:lnTo>
                      <a:pt x="71" y="22"/>
                    </a:lnTo>
                    <a:lnTo>
                      <a:pt x="75" y="23"/>
                    </a:lnTo>
                    <a:lnTo>
                      <a:pt x="82" y="23"/>
                    </a:lnTo>
                    <a:lnTo>
                      <a:pt x="87" y="22"/>
                    </a:lnTo>
                    <a:lnTo>
                      <a:pt x="91" y="20"/>
                    </a:lnTo>
                    <a:lnTo>
                      <a:pt x="91" y="20"/>
                    </a:lnTo>
                    <a:lnTo>
                      <a:pt x="95" y="15"/>
                    </a:lnTo>
                    <a:lnTo>
                      <a:pt x="98" y="11"/>
                    </a:lnTo>
                    <a:lnTo>
                      <a:pt x="98" y="11"/>
                    </a:lnTo>
                    <a:lnTo>
                      <a:pt x="100" y="7"/>
                    </a:lnTo>
                    <a:lnTo>
                      <a:pt x="104" y="4"/>
                    </a:lnTo>
                    <a:lnTo>
                      <a:pt x="104" y="4"/>
                    </a:lnTo>
                    <a:lnTo>
                      <a:pt x="102" y="2"/>
                    </a:lnTo>
                    <a:lnTo>
                      <a:pt x="102" y="0"/>
                    </a:lnTo>
                    <a:lnTo>
                      <a:pt x="102" y="0"/>
                    </a:lnTo>
                    <a:lnTo>
                      <a:pt x="98" y="0"/>
                    </a:lnTo>
                    <a:lnTo>
                      <a:pt x="98" y="0"/>
                    </a:lnTo>
                    <a:lnTo>
                      <a:pt x="96" y="2"/>
                    </a:lnTo>
                    <a:lnTo>
                      <a:pt x="95" y="4"/>
                    </a:lnTo>
                    <a:lnTo>
                      <a:pt x="95" y="4"/>
                    </a:lnTo>
                    <a:lnTo>
                      <a:pt x="93" y="6"/>
                    </a:lnTo>
                    <a:lnTo>
                      <a:pt x="93" y="7"/>
                    </a:lnTo>
                    <a:lnTo>
                      <a:pt x="93" y="7"/>
                    </a:lnTo>
                    <a:lnTo>
                      <a:pt x="91" y="9"/>
                    </a:lnTo>
                    <a:lnTo>
                      <a:pt x="89" y="9"/>
                    </a:lnTo>
                    <a:lnTo>
                      <a:pt x="89" y="9"/>
                    </a:lnTo>
                    <a:lnTo>
                      <a:pt x="87" y="13"/>
                    </a:lnTo>
                    <a:lnTo>
                      <a:pt x="84" y="13"/>
                    </a:lnTo>
                    <a:lnTo>
                      <a:pt x="79" y="13"/>
                    </a:lnTo>
                    <a:lnTo>
                      <a:pt x="79" y="13"/>
                    </a:lnTo>
                    <a:lnTo>
                      <a:pt x="68" y="13"/>
                    </a:lnTo>
                    <a:lnTo>
                      <a:pt x="68" y="13"/>
                    </a:lnTo>
                    <a:lnTo>
                      <a:pt x="66" y="13"/>
                    </a:lnTo>
                    <a:lnTo>
                      <a:pt x="64" y="13"/>
                    </a:lnTo>
                    <a:lnTo>
                      <a:pt x="64" y="13"/>
                    </a:lnTo>
                    <a:lnTo>
                      <a:pt x="52" y="11"/>
                    </a:lnTo>
                    <a:lnTo>
                      <a:pt x="52" y="11"/>
                    </a:lnTo>
                    <a:lnTo>
                      <a:pt x="46" y="11"/>
                    </a:lnTo>
                    <a:lnTo>
                      <a:pt x="46" y="11"/>
                    </a:lnTo>
                    <a:lnTo>
                      <a:pt x="45" y="11"/>
                    </a:lnTo>
                    <a:lnTo>
                      <a:pt x="43" y="9"/>
                    </a:lnTo>
                    <a:lnTo>
                      <a:pt x="41" y="7"/>
                    </a:lnTo>
                    <a:lnTo>
                      <a:pt x="41" y="7"/>
                    </a:lnTo>
                    <a:lnTo>
                      <a:pt x="36" y="6"/>
                    </a:lnTo>
                    <a:lnTo>
                      <a:pt x="34" y="6"/>
                    </a:lnTo>
                    <a:lnTo>
                      <a:pt x="32" y="7"/>
                    </a:lnTo>
                    <a:lnTo>
                      <a:pt x="32" y="7"/>
                    </a:lnTo>
                    <a:lnTo>
                      <a:pt x="30" y="11"/>
                    </a:lnTo>
                    <a:lnTo>
                      <a:pt x="29" y="13"/>
                    </a:lnTo>
                    <a:lnTo>
                      <a:pt x="27" y="15"/>
                    </a:lnTo>
                    <a:lnTo>
                      <a:pt x="23" y="13"/>
                    </a:lnTo>
                    <a:lnTo>
                      <a:pt x="23" y="13"/>
                    </a:lnTo>
                    <a:lnTo>
                      <a:pt x="21" y="16"/>
                    </a:lnTo>
                    <a:lnTo>
                      <a:pt x="21" y="16"/>
                    </a:lnTo>
                    <a:lnTo>
                      <a:pt x="20" y="18"/>
                    </a:lnTo>
                    <a:lnTo>
                      <a:pt x="18" y="20"/>
                    </a:lnTo>
                    <a:lnTo>
                      <a:pt x="18" y="20"/>
                    </a:lnTo>
                    <a:lnTo>
                      <a:pt x="16" y="22"/>
                    </a:lnTo>
                    <a:lnTo>
                      <a:pt x="16" y="25"/>
                    </a:lnTo>
                    <a:lnTo>
                      <a:pt x="16" y="27"/>
                    </a:lnTo>
                    <a:lnTo>
                      <a:pt x="16" y="29"/>
                    </a:lnTo>
                    <a:lnTo>
                      <a:pt x="16" y="29"/>
                    </a:lnTo>
                    <a:lnTo>
                      <a:pt x="14" y="27"/>
                    </a:lnTo>
                    <a:lnTo>
                      <a:pt x="12" y="27"/>
                    </a:lnTo>
                    <a:lnTo>
                      <a:pt x="12" y="27"/>
                    </a:lnTo>
                    <a:lnTo>
                      <a:pt x="14" y="31"/>
                    </a:lnTo>
                    <a:lnTo>
                      <a:pt x="16" y="31"/>
                    </a:lnTo>
                    <a:lnTo>
                      <a:pt x="16" y="32"/>
                    </a:lnTo>
                    <a:lnTo>
                      <a:pt x="16" y="32"/>
                    </a:lnTo>
                    <a:lnTo>
                      <a:pt x="16" y="38"/>
                    </a:lnTo>
                    <a:lnTo>
                      <a:pt x="16" y="41"/>
                    </a:lnTo>
                    <a:lnTo>
                      <a:pt x="16" y="41"/>
                    </a:lnTo>
                    <a:lnTo>
                      <a:pt x="14" y="38"/>
                    </a:lnTo>
                    <a:lnTo>
                      <a:pt x="14" y="38"/>
                    </a:lnTo>
                    <a:lnTo>
                      <a:pt x="11" y="45"/>
                    </a:lnTo>
                    <a:lnTo>
                      <a:pt x="9" y="47"/>
                    </a:lnTo>
                    <a:lnTo>
                      <a:pt x="9" y="50"/>
                    </a:lnTo>
                    <a:lnTo>
                      <a:pt x="9" y="50"/>
                    </a:lnTo>
                    <a:lnTo>
                      <a:pt x="9" y="57"/>
                    </a:lnTo>
                    <a:lnTo>
                      <a:pt x="9" y="57"/>
                    </a:lnTo>
                    <a:lnTo>
                      <a:pt x="7" y="61"/>
                    </a:lnTo>
                    <a:lnTo>
                      <a:pt x="5" y="65"/>
                    </a:lnTo>
                    <a:lnTo>
                      <a:pt x="5" y="65"/>
                    </a:lnTo>
                    <a:lnTo>
                      <a:pt x="4" y="66"/>
                    </a:lnTo>
                    <a:lnTo>
                      <a:pt x="2" y="70"/>
                    </a:lnTo>
                    <a:lnTo>
                      <a:pt x="0" y="72"/>
                    </a:lnTo>
                    <a:lnTo>
                      <a:pt x="0" y="73"/>
                    </a:lnTo>
                    <a:lnTo>
                      <a:pt x="0" y="73"/>
                    </a:lnTo>
                    <a:lnTo>
                      <a:pt x="0" y="75"/>
                    </a:lnTo>
                    <a:lnTo>
                      <a:pt x="0" y="77"/>
                    </a:lnTo>
                    <a:lnTo>
                      <a:pt x="0" y="77"/>
                    </a:lnTo>
                    <a:lnTo>
                      <a:pt x="0" y="81"/>
                    </a:lnTo>
                    <a:lnTo>
                      <a:pt x="2" y="86"/>
                    </a:lnTo>
                    <a:lnTo>
                      <a:pt x="2" y="86"/>
                    </a:lnTo>
                    <a:lnTo>
                      <a:pt x="4" y="84"/>
                    </a:lnTo>
                    <a:lnTo>
                      <a:pt x="7" y="84"/>
                    </a:lnTo>
                    <a:lnTo>
                      <a:pt x="7" y="84"/>
                    </a:lnTo>
                    <a:lnTo>
                      <a:pt x="11" y="84"/>
                    </a:lnTo>
                    <a:lnTo>
                      <a:pt x="11" y="86"/>
                    </a:lnTo>
                    <a:lnTo>
                      <a:pt x="11" y="90"/>
                    </a:lnTo>
                    <a:lnTo>
                      <a:pt x="11" y="90"/>
                    </a:lnTo>
                    <a:lnTo>
                      <a:pt x="12" y="95"/>
                    </a:lnTo>
                    <a:lnTo>
                      <a:pt x="11" y="100"/>
                    </a:lnTo>
                    <a:lnTo>
                      <a:pt x="11" y="100"/>
                    </a:lnTo>
                    <a:lnTo>
                      <a:pt x="11" y="106"/>
                    </a:lnTo>
                    <a:lnTo>
                      <a:pt x="7" y="1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21" name="Freeform 2574"/>
              <p:cNvSpPr>
                <a:spLocks/>
              </p:cNvSpPr>
              <p:nvPr/>
            </p:nvSpPr>
            <p:spPr bwMode="auto">
              <a:xfrm>
                <a:off x="4603" y="2684"/>
                <a:ext cx="104" cy="120"/>
              </a:xfrm>
              <a:custGeom>
                <a:avLst/>
                <a:gdLst>
                  <a:gd name="T0" fmla="*/ 7 w 104"/>
                  <a:gd name="T1" fmla="*/ 118 h 120"/>
                  <a:gd name="T2" fmla="*/ 14 w 104"/>
                  <a:gd name="T3" fmla="*/ 118 h 120"/>
                  <a:gd name="T4" fmla="*/ 23 w 104"/>
                  <a:gd name="T5" fmla="*/ 116 h 120"/>
                  <a:gd name="T6" fmla="*/ 21 w 104"/>
                  <a:gd name="T7" fmla="*/ 107 h 120"/>
                  <a:gd name="T8" fmla="*/ 25 w 104"/>
                  <a:gd name="T9" fmla="*/ 88 h 120"/>
                  <a:gd name="T10" fmla="*/ 23 w 104"/>
                  <a:gd name="T11" fmla="*/ 77 h 120"/>
                  <a:gd name="T12" fmla="*/ 34 w 104"/>
                  <a:gd name="T13" fmla="*/ 70 h 120"/>
                  <a:gd name="T14" fmla="*/ 34 w 104"/>
                  <a:gd name="T15" fmla="*/ 81 h 120"/>
                  <a:gd name="T16" fmla="*/ 43 w 104"/>
                  <a:gd name="T17" fmla="*/ 93 h 120"/>
                  <a:gd name="T18" fmla="*/ 43 w 104"/>
                  <a:gd name="T19" fmla="*/ 104 h 120"/>
                  <a:gd name="T20" fmla="*/ 50 w 104"/>
                  <a:gd name="T21" fmla="*/ 104 h 120"/>
                  <a:gd name="T22" fmla="*/ 57 w 104"/>
                  <a:gd name="T23" fmla="*/ 98 h 120"/>
                  <a:gd name="T24" fmla="*/ 61 w 104"/>
                  <a:gd name="T25" fmla="*/ 97 h 120"/>
                  <a:gd name="T26" fmla="*/ 62 w 104"/>
                  <a:gd name="T27" fmla="*/ 93 h 120"/>
                  <a:gd name="T28" fmla="*/ 61 w 104"/>
                  <a:gd name="T29" fmla="*/ 90 h 120"/>
                  <a:gd name="T30" fmla="*/ 55 w 104"/>
                  <a:gd name="T31" fmla="*/ 84 h 120"/>
                  <a:gd name="T32" fmla="*/ 55 w 104"/>
                  <a:gd name="T33" fmla="*/ 81 h 120"/>
                  <a:gd name="T34" fmla="*/ 55 w 104"/>
                  <a:gd name="T35" fmla="*/ 75 h 120"/>
                  <a:gd name="T36" fmla="*/ 50 w 104"/>
                  <a:gd name="T37" fmla="*/ 68 h 120"/>
                  <a:gd name="T38" fmla="*/ 43 w 104"/>
                  <a:gd name="T39" fmla="*/ 61 h 120"/>
                  <a:gd name="T40" fmla="*/ 41 w 104"/>
                  <a:gd name="T41" fmla="*/ 56 h 120"/>
                  <a:gd name="T42" fmla="*/ 52 w 104"/>
                  <a:gd name="T43" fmla="*/ 54 h 120"/>
                  <a:gd name="T44" fmla="*/ 64 w 104"/>
                  <a:gd name="T45" fmla="*/ 43 h 120"/>
                  <a:gd name="T46" fmla="*/ 73 w 104"/>
                  <a:gd name="T47" fmla="*/ 43 h 120"/>
                  <a:gd name="T48" fmla="*/ 73 w 104"/>
                  <a:gd name="T49" fmla="*/ 38 h 120"/>
                  <a:gd name="T50" fmla="*/ 66 w 104"/>
                  <a:gd name="T51" fmla="*/ 40 h 120"/>
                  <a:gd name="T52" fmla="*/ 52 w 104"/>
                  <a:gd name="T53" fmla="*/ 43 h 120"/>
                  <a:gd name="T54" fmla="*/ 43 w 104"/>
                  <a:gd name="T55" fmla="*/ 43 h 120"/>
                  <a:gd name="T56" fmla="*/ 34 w 104"/>
                  <a:gd name="T57" fmla="*/ 50 h 120"/>
                  <a:gd name="T58" fmla="*/ 27 w 104"/>
                  <a:gd name="T59" fmla="*/ 43 h 120"/>
                  <a:gd name="T60" fmla="*/ 20 w 104"/>
                  <a:gd name="T61" fmla="*/ 34 h 120"/>
                  <a:gd name="T62" fmla="*/ 27 w 104"/>
                  <a:gd name="T63" fmla="*/ 20 h 120"/>
                  <a:gd name="T64" fmla="*/ 39 w 104"/>
                  <a:gd name="T65" fmla="*/ 20 h 120"/>
                  <a:gd name="T66" fmla="*/ 50 w 104"/>
                  <a:gd name="T67" fmla="*/ 20 h 120"/>
                  <a:gd name="T68" fmla="*/ 71 w 104"/>
                  <a:gd name="T69" fmla="*/ 22 h 120"/>
                  <a:gd name="T70" fmla="*/ 91 w 104"/>
                  <a:gd name="T71" fmla="*/ 20 h 120"/>
                  <a:gd name="T72" fmla="*/ 100 w 104"/>
                  <a:gd name="T73" fmla="*/ 7 h 120"/>
                  <a:gd name="T74" fmla="*/ 102 w 104"/>
                  <a:gd name="T75" fmla="*/ 0 h 120"/>
                  <a:gd name="T76" fmla="*/ 95 w 104"/>
                  <a:gd name="T77" fmla="*/ 4 h 120"/>
                  <a:gd name="T78" fmla="*/ 89 w 104"/>
                  <a:gd name="T79" fmla="*/ 9 h 120"/>
                  <a:gd name="T80" fmla="*/ 79 w 104"/>
                  <a:gd name="T81" fmla="*/ 13 h 120"/>
                  <a:gd name="T82" fmla="*/ 64 w 104"/>
                  <a:gd name="T83" fmla="*/ 13 h 120"/>
                  <a:gd name="T84" fmla="*/ 45 w 104"/>
                  <a:gd name="T85" fmla="*/ 11 h 120"/>
                  <a:gd name="T86" fmla="*/ 34 w 104"/>
                  <a:gd name="T87" fmla="*/ 6 h 120"/>
                  <a:gd name="T88" fmla="*/ 27 w 104"/>
                  <a:gd name="T89" fmla="*/ 15 h 120"/>
                  <a:gd name="T90" fmla="*/ 20 w 104"/>
                  <a:gd name="T91" fmla="*/ 18 h 120"/>
                  <a:gd name="T92" fmla="*/ 16 w 104"/>
                  <a:gd name="T93" fmla="*/ 27 h 120"/>
                  <a:gd name="T94" fmla="*/ 12 w 104"/>
                  <a:gd name="T95" fmla="*/ 27 h 120"/>
                  <a:gd name="T96" fmla="*/ 16 w 104"/>
                  <a:gd name="T97" fmla="*/ 38 h 120"/>
                  <a:gd name="T98" fmla="*/ 11 w 104"/>
                  <a:gd name="T99" fmla="*/ 45 h 120"/>
                  <a:gd name="T100" fmla="*/ 9 w 104"/>
                  <a:gd name="T101" fmla="*/ 57 h 120"/>
                  <a:gd name="T102" fmla="*/ 2 w 104"/>
                  <a:gd name="T103" fmla="*/ 70 h 120"/>
                  <a:gd name="T104" fmla="*/ 0 w 104"/>
                  <a:gd name="T105" fmla="*/ 77 h 120"/>
                  <a:gd name="T106" fmla="*/ 4 w 104"/>
                  <a:gd name="T107" fmla="*/ 84 h 120"/>
                  <a:gd name="T108" fmla="*/ 11 w 104"/>
                  <a:gd name="T109" fmla="*/ 90 h 120"/>
                  <a:gd name="T110" fmla="*/ 11 w 104"/>
                  <a:gd name="T111" fmla="*/ 10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4" h="120">
                    <a:moveTo>
                      <a:pt x="7" y="111"/>
                    </a:moveTo>
                    <a:lnTo>
                      <a:pt x="7" y="111"/>
                    </a:lnTo>
                    <a:lnTo>
                      <a:pt x="7" y="115"/>
                    </a:lnTo>
                    <a:lnTo>
                      <a:pt x="7" y="118"/>
                    </a:lnTo>
                    <a:lnTo>
                      <a:pt x="7" y="118"/>
                    </a:lnTo>
                    <a:lnTo>
                      <a:pt x="9" y="118"/>
                    </a:lnTo>
                    <a:lnTo>
                      <a:pt x="11" y="118"/>
                    </a:lnTo>
                    <a:lnTo>
                      <a:pt x="12" y="120"/>
                    </a:lnTo>
                    <a:lnTo>
                      <a:pt x="14" y="118"/>
                    </a:lnTo>
                    <a:lnTo>
                      <a:pt x="14" y="118"/>
                    </a:lnTo>
                    <a:lnTo>
                      <a:pt x="16" y="118"/>
                    </a:lnTo>
                    <a:lnTo>
                      <a:pt x="18" y="118"/>
                    </a:lnTo>
                    <a:lnTo>
                      <a:pt x="18" y="118"/>
                    </a:lnTo>
                    <a:lnTo>
                      <a:pt x="21" y="116"/>
                    </a:lnTo>
                    <a:lnTo>
                      <a:pt x="23" y="116"/>
                    </a:lnTo>
                    <a:lnTo>
                      <a:pt x="23" y="116"/>
                    </a:lnTo>
                    <a:lnTo>
                      <a:pt x="23" y="113"/>
                    </a:lnTo>
                    <a:lnTo>
                      <a:pt x="21" y="111"/>
                    </a:lnTo>
                    <a:lnTo>
                      <a:pt x="21" y="107"/>
                    </a:lnTo>
                    <a:lnTo>
                      <a:pt x="21" y="107"/>
                    </a:lnTo>
                    <a:lnTo>
                      <a:pt x="23" y="102"/>
                    </a:lnTo>
                    <a:lnTo>
                      <a:pt x="23" y="97"/>
                    </a:lnTo>
                    <a:lnTo>
                      <a:pt x="23" y="97"/>
                    </a:lnTo>
                    <a:lnTo>
                      <a:pt x="23" y="91"/>
                    </a:lnTo>
                    <a:lnTo>
                      <a:pt x="25" y="88"/>
                    </a:lnTo>
                    <a:lnTo>
                      <a:pt x="25" y="88"/>
                    </a:lnTo>
                    <a:lnTo>
                      <a:pt x="25" y="82"/>
                    </a:lnTo>
                    <a:lnTo>
                      <a:pt x="25" y="82"/>
                    </a:lnTo>
                    <a:lnTo>
                      <a:pt x="25" y="79"/>
                    </a:lnTo>
                    <a:lnTo>
                      <a:pt x="23" y="77"/>
                    </a:lnTo>
                    <a:lnTo>
                      <a:pt x="23" y="77"/>
                    </a:lnTo>
                    <a:lnTo>
                      <a:pt x="23" y="73"/>
                    </a:lnTo>
                    <a:lnTo>
                      <a:pt x="27" y="72"/>
                    </a:lnTo>
                    <a:lnTo>
                      <a:pt x="30" y="70"/>
                    </a:lnTo>
                    <a:lnTo>
                      <a:pt x="34" y="70"/>
                    </a:lnTo>
                    <a:lnTo>
                      <a:pt x="34" y="70"/>
                    </a:lnTo>
                    <a:lnTo>
                      <a:pt x="36" y="72"/>
                    </a:lnTo>
                    <a:lnTo>
                      <a:pt x="36" y="75"/>
                    </a:lnTo>
                    <a:lnTo>
                      <a:pt x="34" y="81"/>
                    </a:lnTo>
                    <a:lnTo>
                      <a:pt x="34" y="81"/>
                    </a:lnTo>
                    <a:lnTo>
                      <a:pt x="34" y="82"/>
                    </a:lnTo>
                    <a:lnTo>
                      <a:pt x="34" y="84"/>
                    </a:lnTo>
                    <a:lnTo>
                      <a:pt x="36" y="88"/>
                    </a:lnTo>
                    <a:lnTo>
                      <a:pt x="43" y="93"/>
                    </a:lnTo>
                    <a:lnTo>
                      <a:pt x="43" y="93"/>
                    </a:lnTo>
                    <a:lnTo>
                      <a:pt x="43" y="95"/>
                    </a:lnTo>
                    <a:lnTo>
                      <a:pt x="43" y="97"/>
                    </a:lnTo>
                    <a:lnTo>
                      <a:pt x="41" y="100"/>
                    </a:lnTo>
                    <a:lnTo>
                      <a:pt x="43" y="104"/>
                    </a:lnTo>
                    <a:lnTo>
                      <a:pt x="43" y="104"/>
                    </a:lnTo>
                    <a:lnTo>
                      <a:pt x="45" y="106"/>
                    </a:lnTo>
                    <a:lnTo>
                      <a:pt x="48" y="106"/>
                    </a:lnTo>
                    <a:lnTo>
                      <a:pt x="48" y="106"/>
                    </a:lnTo>
                    <a:lnTo>
                      <a:pt x="50" y="106"/>
                    </a:lnTo>
                    <a:lnTo>
                      <a:pt x="50" y="104"/>
                    </a:lnTo>
                    <a:lnTo>
                      <a:pt x="52" y="102"/>
                    </a:lnTo>
                    <a:lnTo>
                      <a:pt x="52" y="102"/>
                    </a:lnTo>
                    <a:lnTo>
                      <a:pt x="52" y="100"/>
                    </a:lnTo>
                    <a:lnTo>
                      <a:pt x="54" y="98"/>
                    </a:lnTo>
                    <a:lnTo>
                      <a:pt x="57" y="98"/>
                    </a:lnTo>
                    <a:lnTo>
                      <a:pt x="57" y="98"/>
                    </a:lnTo>
                    <a:lnTo>
                      <a:pt x="61" y="98"/>
                    </a:lnTo>
                    <a:lnTo>
                      <a:pt x="62" y="98"/>
                    </a:lnTo>
                    <a:lnTo>
                      <a:pt x="61" y="97"/>
                    </a:lnTo>
                    <a:lnTo>
                      <a:pt x="61" y="97"/>
                    </a:lnTo>
                    <a:lnTo>
                      <a:pt x="62" y="98"/>
                    </a:lnTo>
                    <a:lnTo>
                      <a:pt x="64" y="97"/>
                    </a:lnTo>
                    <a:lnTo>
                      <a:pt x="64" y="95"/>
                    </a:lnTo>
                    <a:lnTo>
                      <a:pt x="62" y="93"/>
                    </a:lnTo>
                    <a:lnTo>
                      <a:pt x="62" y="93"/>
                    </a:lnTo>
                    <a:lnTo>
                      <a:pt x="62" y="93"/>
                    </a:lnTo>
                    <a:lnTo>
                      <a:pt x="61" y="93"/>
                    </a:lnTo>
                    <a:lnTo>
                      <a:pt x="59" y="91"/>
                    </a:lnTo>
                    <a:lnTo>
                      <a:pt x="59" y="91"/>
                    </a:lnTo>
                    <a:lnTo>
                      <a:pt x="61" y="90"/>
                    </a:lnTo>
                    <a:lnTo>
                      <a:pt x="61" y="90"/>
                    </a:lnTo>
                    <a:lnTo>
                      <a:pt x="57" y="90"/>
                    </a:lnTo>
                    <a:lnTo>
                      <a:pt x="55" y="86"/>
                    </a:lnTo>
                    <a:lnTo>
                      <a:pt x="55" y="86"/>
                    </a:lnTo>
                    <a:lnTo>
                      <a:pt x="55" y="84"/>
                    </a:lnTo>
                    <a:lnTo>
                      <a:pt x="55" y="82"/>
                    </a:lnTo>
                    <a:lnTo>
                      <a:pt x="55" y="82"/>
                    </a:lnTo>
                    <a:lnTo>
                      <a:pt x="57" y="82"/>
                    </a:lnTo>
                    <a:lnTo>
                      <a:pt x="57" y="82"/>
                    </a:lnTo>
                    <a:lnTo>
                      <a:pt x="55" y="81"/>
                    </a:lnTo>
                    <a:lnTo>
                      <a:pt x="57" y="79"/>
                    </a:lnTo>
                    <a:lnTo>
                      <a:pt x="57" y="79"/>
                    </a:lnTo>
                    <a:lnTo>
                      <a:pt x="55" y="77"/>
                    </a:lnTo>
                    <a:lnTo>
                      <a:pt x="55" y="77"/>
                    </a:lnTo>
                    <a:lnTo>
                      <a:pt x="55" y="75"/>
                    </a:lnTo>
                    <a:lnTo>
                      <a:pt x="55" y="73"/>
                    </a:lnTo>
                    <a:lnTo>
                      <a:pt x="55" y="73"/>
                    </a:lnTo>
                    <a:lnTo>
                      <a:pt x="52" y="72"/>
                    </a:lnTo>
                    <a:lnTo>
                      <a:pt x="52" y="72"/>
                    </a:lnTo>
                    <a:lnTo>
                      <a:pt x="50" y="68"/>
                    </a:lnTo>
                    <a:lnTo>
                      <a:pt x="50" y="68"/>
                    </a:lnTo>
                    <a:lnTo>
                      <a:pt x="48" y="65"/>
                    </a:lnTo>
                    <a:lnTo>
                      <a:pt x="46" y="63"/>
                    </a:lnTo>
                    <a:lnTo>
                      <a:pt x="46" y="63"/>
                    </a:lnTo>
                    <a:lnTo>
                      <a:pt x="43" y="61"/>
                    </a:lnTo>
                    <a:lnTo>
                      <a:pt x="43" y="59"/>
                    </a:lnTo>
                    <a:lnTo>
                      <a:pt x="41" y="59"/>
                    </a:lnTo>
                    <a:lnTo>
                      <a:pt x="41" y="59"/>
                    </a:lnTo>
                    <a:lnTo>
                      <a:pt x="41" y="56"/>
                    </a:lnTo>
                    <a:lnTo>
                      <a:pt x="41" y="56"/>
                    </a:lnTo>
                    <a:lnTo>
                      <a:pt x="45" y="57"/>
                    </a:lnTo>
                    <a:lnTo>
                      <a:pt x="46" y="57"/>
                    </a:lnTo>
                    <a:lnTo>
                      <a:pt x="48" y="57"/>
                    </a:lnTo>
                    <a:lnTo>
                      <a:pt x="48" y="57"/>
                    </a:lnTo>
                    <a:lnTo>
                      <a:pt x="52" y="54"/>
                    </a:lnTo>
                    <a:lnTo>
                      <a:pt x="55" y="52"/>
                    </a:lnTo>
                    <a:lnTo>
                      <a:pt x="55" y="52"/>
                    </a:lnTo>
                    <a:lnTo>
                      <a:pt x="59" y="50"/>
                    </a:lnTo>
                    <a:lnTo>
                      <a:pt x="62" y="45"/>
                    </a:lnTo>
                    <a:lnTo>
                      <a:pt x="64" y="43"/>
                    </a:lnTo>
                    <a:lnTo>
                      <a:pt x="70" y="41"/>
                    </a:lnTo>
                    <a:lnTo>
                      <a:pt x="70" y="41"/>
                    </a:lnTo>
                    <a:lnTo>
                      <a:pt x="71" y="43"/>
                    </a:lnTo>
                    <a:lnTo>
                      <a:pt x="71" y="43"/>
                    </a:lnTo>
                    <a:lnTo>
                      <a:pt x="73" y="43"/>
                    </a:lnTo>
                    <a:lnTo>
                      <a:pt x="73" y="43"/>
                    </a:lnTo>
                    <a:lnTo>
                      <a:pt x="75" y="41"/>
                    </a:lnTo>
                    <a:lnTo>
                      <a:pt x="75" y="38"/>
                    </a:lnTo>
                    <a:lnTo>
                      <a:pt x="75" y="38"/>
                    </a:lnTo>
                    <a:lnTo>
                      <a:pt x="73" y="38"/>
                    </a:lnTo>
                    <a:lnTo>
                      <a:pt x="70" y="36"/>
                    </a:lnTo>
                    <a:lnTo>
                      <a:pt x="62" y="38"/>
                    </a:lnTo>
                    <a:lnTo>
                      <a:pt x="62" y="38"/>
                    </a:lnTo>
                    <a:lnTo>
                      <a:pt x="66" y="40"/>
                    </a:lnTo>
                    <a:lnTo>
                      <a:pt x="66" y="40"/>
                    </a:lnTo>
                    <a:lnTo>
                      <a:pt x="59" y="40"/>
                    </a:lnTo>
                    <a:lnTo>
                      <a:pt x="55" y="40"/>
                    </a:lnTo>
                    <a:lnTo>
                      <a:pt x="54" y="41"/>
                    </a:lnTo>
                    <a:lnTo>
                      <a:pt x="54" y="41"/>
                    </a:lnTo>
                    <a:lnTo>
                      <a:pt x="52" y="43"/>
                    </a:lnTo>
                    <a:lnTo>
                      <a:pt x="50" y="43"/>
                    </a:lnTo>
                    <a:lnTo>
                      <a:pt x="46" y="43"/>
                    </a:lnTo>
                    <a:lnTo>
                      <a:pt x="46" y="40"/>
                    </a:lnTo>
                    <a:lnTo>
                      <a:pt x="46" y="40"/>
                    </a:lnTo>
                    <a:lnTo>
                      <a:pt x="43" y="43"/>
                    </a:lnTo>
                    <a:lnTo>
                      <a:pt x="39" y="47"/>
                    </a:lnTo>
                    <a:lnTo>
                      <a:pt x="39" y="47"/>
                    </a:lnTo>
                    <a:lnTo>
                      <a:pt x="37" y="50"/>
                    </a:lnTo>
                    <a:lnTo>
                      <a:pt x="34" y="50"/>
                    </a:lnTo>
                    <a:lnTo>
                      <a:pt x="34" y="50"/>
                    </a:lnTo>
                    <a:lnTo>
                      <a:pt x="30" y="48"/>
                    </a:lnTo>
                    <a:lnTo>
                      <a:pt x="29" y="47"/>
                    </a:lnTo>
                    <a:lnTo>
                      <a:pt x="29" y="47"/>
                    </a:lnTo>
                    <a:lnTo>
                      <a:pt x="27" y="43"/>
                    </a:lnTo>
                    <a:lnTo>
                      <a:pt x="27" y="43"/>
                    </a:lnTo>
                    <a:lnTo>
                      <a:pt x="25" y="43"/>
                    </a:lnTo>
                    <a:lnTo>
                      <a:pt x="23" y="43"/>
                    </a:lnTo>
                    <a:lnTo>
                      <a:pt x="23" y="43"/>
                    </a:lnTo>
                    <a:lnTo>
                      <a:pt x="21" y="40"/>
                    </a:lnTo>
                    <a:lnTo>
                      <a:pt x="20" y="34"/>
                    </a:lnTo>
                    <a:lnTo>
                      <a:pt x="20" y="31"/>
                    </a:lnTo>
                    <a:lnTo>
                      <a:pt x="21" y="25"/>
                    </a:lnTo>
                    <a:lnTo>
                      <a:pt x="21" y="25"/>
                    </a:lnTo>
                    <a:lnTo>
                      <a:pt x="23" y="22"/>
                    </a:lnTo>
                    <a:lnTo>
                      <a:pt x="27" y="20"/>
                    </a:lnTo>
                    <a:lnTo>
                      <a:pt x="27" y="20"/>
                    </a:lnTo>
                    <a:lnTo>
                      <a:pt x="32" y="20"/>
                    </a:lnTo>
                    <a:lnTo>
                      <a:pt x="36" y="22"/>
                    </a:lnTo>
                    <a:lnTo>
                      <a:pt x="36" y="22"/>
                    </a:lnTo>
                    <a:lnTo>
                      <a:pt x="39" y="20"/>
                    </a:lnTo>
                    <a:lnTo>
                      <a:pt x="43" y="20"/>
                    </a:lnTo>
                    <a:lnTo>
                      <a:pt x="43" y="20"/>
                    </a:lnTo>
                    <a:lnTo>
                      <a:pt x="46" y="20"/>
                    </a:lnTo>
                    <a:lnTo>
                      <a:pt x="50" y="20"/>
                    </a:lnTo>
                    <a:lnTo>
                      <a:pt x="50" y="20"/>
                    </a:lnTo>
                    <a:lnTo>
                      <a:pt x="55" y="20"/>
                    </a:lnTo>
                    <a:lnTo>
                      <a:pt x="61" y="20"/>
                    </a:lnTo>
                    <a:lnTo>
                      <a:pt x="61" y="20"/>
                    </a:lnTo>
                    <a:lnTo>
                      <a:pt x="66" y="20"/>
                    </a:lnTo>
                    <a:lnTo>
                      <a:pt x="71" y="22"/>
                    </a:lnTo>
                    <a:lnTo>
                      <a:pt x="71" y="22"/>
                    </a:lnTo>
                    <a:lnTo>
                      <a:pt x="75" y="23"/>
                    </a:lnTo>
                    <a:lnTo>
                      <a:pt x="82" y="23"/>
                    </a:lnTo>
                    <a:lnTo>
                      <a:pt x="87" y="22"/>
                    </a:lnTo>
                    <a:lnTo>
                      <a:pt x="91" y="20"/>
                    </a:lnTo>
                    <a:lnTo>
                      <a:pt x="91" y="20"/>
                    </a:lnTo>
                    <a:lnTo>
                      <a:pt x="95" y="15"/>
                    </a:lnTo>
                    <a:lnTo>
                      <a:pt x="98" y="11"/>
                    </a:lnTo>
                    <a:lnTo>
                      <a:pt x="98" y="11"/>
                    </a:lnTo>
                    <a:lnTo>
                      <a:pt x="100" y="7"/>
                    </a:lnTo>
                    <a:lnTo>
                      <a:pt x="104" y="4"/>
                    </a:lnTo>
                    <a:lnTo>
                      <a:pt x="104" y="4"/>
                    </a:lnTo>
                    <a:lnTo>
                      <a:pt x="102" y="2"/>
                    </a:lnTo>
                    <a:lnTo>
                      <a:pt x="102" y="0"/>
                    </a:lnTo>
                    <a:lnTo>
                      <a:pt x="102" y="0"/>
                    </a:lnTo>
                    <a:lnTo>
                      <a:pt x="98" y="0"/>
                    </a:lnTo>
                    <a:lnTo>
                      <a:pt x="98" y="0"/>
                    </a:lnTo>
                    <a:lnTo>
                      <a:pt x="96" y="2"/>
                    </a:lnTo>
                    <a:lnTo>
                      <a:pt x="95" y="4"/>
                    </a:lnTo>
                    <a:lnTo>
                      <a:pt x="95" y="4"/>
                    </a:lnTo>
                    <a:lnTo>
                      <a:pt x="93" y="6"/>
                    </a:lnTo>
                    <a:lnTo>
                      <a:pt x="93" y="7"/>
                    </a:lnTo>
                    <a:lnTo>
                      <a:pt x="93" y="7"/>
                    </a:lnTo>
                    <a:lnTo>
                      <a:pt x="91" y="9"/>
                    </a:lnTo>
                    <a:lnTo>
                      <a:pt x="89" y="9"/>
                    </a:lnTo>
                    <a:lnTo>
                      <a:pt x="89" y="9"/>
                    </a:lnTo>
                    <a:lnTo>
                      <a:pt x="87" y="13"/>
                    </a:lnTo>
                    <a:lnTo>
                      <a:pt x="84" y="13"/>
                    </a:lnTo>
                    <a:lnTo>
                      <a:pt x="79" y="13"/>
                    </a:lnTo>
                    <a:lnTo>
                      <a:pt x="79" y="13"/>
                    </a:lnTo>
                    <a:lnTo>
                      <a:pt x="68" y="13"/>
                    </a:lnTo>
                    <a:lnTo>
                      <a:pt x="68" y="13"/>
                    </a:lnTo>
                    <a:lnTo>
                      <a:pt x="66" y="13"/>
                    </a:lnTo>
                    <a:lnTo>
                      <a:pt x="64" y="13"/>
                    </a:lnTo>
                    <a:lnTo>
                      <a:pt x="64" y="13"/>
                    </a:lnTo>
                    <a:lnTo>
                      <a:pt x="52" y="11"/>
                    </a:lnTo>
                    <a:lnTo>
                      <a:pt x="52" y="11"/>
                    </a:lnTo>
                    <a:lnTo>
                      <a:pt x="46" y="11"/>
                    </a:lnTo>
                    <a:lnTo>
                      <a:pt x="46" y="11"/>
                    </a:lnTo>
                    <a:lnTo>
                      <a:pt x="45" y="11"/>
                    </a:lnTo>
                    <a:lnTo>
                      <a:pt x="43" y="9"/>
                    </a:lnTo>
                    <a:lnTo>
                      <a:pt x="41" y="7"/>
                    </a:lnTo>
                    <a:lnTo>
                      <a:pt x="41" y="7"/>
                    </a:lnTo>
                    <a:lnTo>
                      <a:pt x="36" y="6"/>
                    </a:lnTo>
                    <a:lnTo>
                      <a:pt x="34" y="6"/>
                    </a:lnTo>
                    <a:lnTo>
                      <a:pt x="32" y="7"/>
                    </a:lnTo>
                    <a:lnTo>
                      <a:pt x="32" y="7"/>
                    </a:lnTo>
                    <a:lnTo>
                      <a:pt x="30" y="11"/>
                    </a:lnTo>
                    <a:lnTo>
                      <a:pt x="29" y="13"/>
                    </a:lnTo>
                    <a:lnTo>
                      <a:pt x="27" y="15"/>
                    </a:lnTo>
                    <a:lnTo>
                      <a:pt x="23" y="13"/>
                    </a:lnTo>
                    <a:lnTo>
                      <a:pt x="23" y="13"/>
                    </a:lnTo>
                    <a:lnTo>
                      <a:pt x="21" y="16"/>
                    </a:lnTo>
                    <a:lnTo>
                      <a:pt x="21" y="16"/>
                    </a:lnTo>
                    <a:lnTo>
                      <a:pt x="20" y="18"/>
                    </a:lnTo>
                    <a:lnTo>
                      <a:pt x="18" y="20"/>
                    </a:lnTo>
                    <a:lnTo>
                      <a:pt x="18" y="20"/>
                    </a:lnTo>
                    <a:lnTo>
                      <a:pt x="16" y="22"/>
                    </a:lnTo>
                    <a:lnTo>
                      <a:pt x="16" y="25"/>
                    </a:lnTo>
                    <a:lnTo>
                      <a:pt x="16" y="27"/>
                    </a:lnTo>
                    <a:lnTo>
                      <a:pt x="16" y="29"/>
                    </a:lnTo>
                    <a:lnTo>
                      <a:pt x="16" y="29"/>
                    </a:lnTo>
                    <a:lnTo>
                      <a:pt x="14" y="27"/>
                    </a:lnTo>
                    <a:lnTo>
                      <a:pt x="12" y="27"/>
                    </a:lnTo>
                    <a:lnTo>
                      <a:pt x="12" y="27"/>
                    </a:lnTo>
                    <a:lnTo>
                      <a:pt x="14" y="31"/>
                    </a:lnTo>
                    <a:lnTo>
                      <a:pt x="16" y="31"/>
                    </a:lnTo>
                    <a:lnTo>
                      <a:pt x="16" y="32"/>
                    </a:lnTo>
                    <a:lnTo>
                      <a:pt x="16" y="32"/>
                    </a:lnTo>
                    <a:lnTo>
                      <a:pt x="16" y="38"/>
                    </a:lnTo>
                    <a:lnTo>
                      <a:pt x="16" y="41"/>
                    </a:lnTo>
                    <a:lnTo>
                      <a:pt x="16" y="41"/>
                    </a:lnTo>
                    <a:lnTo>
                      <a:pt x="14" y="38"/>
                    </a:lnTo>
                    <a:lnTo>
                      <a:pt x="14" y="38"/>
                    </a:lnTo>
                    <a:lnTo>
                      <a:pt x="11" y="45"/>
                    </a:lnTo>
                    <a:lnTo>
                      <a:pt x="9" y="47"/>
                    </a:lnTo>
                    <a:lnTo>
                      <a:pt x="9" y="50"/>
                    </a:lnTo>
                    <a:lnTo>
                      <a:pt x="9" y="50"/>
                    </a:lnTo>
                    <a:lnTo>
                      <a:pt x="9" y="57"/>
                    </a:lnTo>
                    <a:lnTo>
                      <a:pt x="9" y="57"/>
                    </a:lnTo>
                    <a:lnTo>
                      <a:pt x="7" y="61"/>
                    </a:lnTo>
                    <a:lnTo>
                      <a:pt x="5" y="65"/>
                    </a:lnTo>
                    <a:lnTo>
                      <a:pt x="5" y="65"/>
                    </a:lnTo>
                    <a:lnTo>
                      <a:pt x="4" y="66"/>
                    </a:lnTo>
                    <a:lnTo>
                      <a:pt x="2" y="70"/>
                    </a:lnTo>
                    <a:lnTo>
                      <a:pt x="0" y="72"/>
                    </a:lnTo>
                    <a:lnTo>
                      <a:pt x="0" y="73"/>
                    </a:lnTo>
                    <a:lnTo>
                      <a:pt x="0" y="73"/>
                    </a:lnTo>
                    <a:lnTo>
                      <a:pt x="0" y="75"/>
                    </a:lnTo>
                    <a:lnTo>
                      <a:pt x="0" y="77"/>
                    </a:lnTo>
                    <a:lnTo>
                      <a:pt x="0" y="77"/>
                    </a:lnTo>
                    <a:lnTo>
                      <a:pt x="0" y="81"/>
                    </a:lnTo>
                    <a:lnTo>
                      <a:pt x="2" y="86"/>
                    </a:lnTo>
                    <a:lnTo>
                      <a:pt x="2" y="86"/>
                    </a:lnTo>
                    <a:lnTo>
                      <a:pt x="4" y="84"/>
                    </a:lnTo>
                    <a:lnTo>
                      <a:pt x="7" y="84"/>
                    </a:lnTo>
                    <a:lnTo>
                      <a:pt x="7" y="84"/>
                    </a:lnTo>
                    <a:lnTo>
                      <a:pt x="11" y="84"/>
                    </a:lnTo>
                    <a:lnTo>
                      <a:pt x="11" y="86"/>
                    </a:lnTo>
                    <a:lnTo>
                      <a:pt x="11" y="90"/>
                    </a:lnTo>
                    <a:lnTo>
                      <a:pt x="11" y="90"/>
                    </a:lnTo>
                    <a:lnTo>
                      <a:pt x="12" y="95"/>
                    </a:lnTo>
                    <a:lnTo>
                      <a:pt x="11" y="100"/>
                    </a:lnTo>
                    <a:lnTo>
                      <a:pt x="11" y="100"/>
                    </a:lnTo>
                    <a:lnTo>
                      <a:pt x="11" y="106"/>
                    </a:lnTo>
                    <a:lnTo>
                      <a:pt x="7" y="1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22" name="Freeform 2575"/>
              <p:cNvSpPr>
                <a:spLocks/>
              </p:cNvSpPr>
              <p:nvPr/>
            </p:nvSpPr>
            <p:spPr bwMode="auto">
              <a:xfrm>
                <a:off x="4607" y="2847"/>
                <a:ext cx="3" cy="5"/>
              </a:xfrm>
              <a:custGeom>
                <a:avLst/>
                <a:gdLst>
                  <a:gd name="T0" fmla="*/ 1 w 3"/>
                  <a:gd name="T1" fmla="*/ 0 h 5"/>
                  <a:gd name="T2" fmla="*/ 1 w 3"/>
                  <a:gd name="T3" fmla="*/ 0 h 5"/>
                  <a:gd name="T4" fmla="*/ 0 w 3"/>
                  <a:gd name="T5" fmla="*/ 2 h 5"/>
                  <a:gd name="T6" fmla="*/ 1 w 3"/>
                  <a:gd name="T7" fmla="*/ 5 h 5"/>
                  <a:gd name="T8" fmla="*/ 1 w 3"/>
                  <a:gd name="T9" fmla="*/ 5 h 5"/>
                  <a:gd name="T10" fmla="*/ 3 w 3"/>
                  <a:gd name="T11" fmla="*/ 2 h 5"/>
                  <a:gd name="T12" fmla="*/ 3 w 3"/>
                  <a:gd name="T13" fmla="*/ 2 h 5"/>
                  <a:gd name="T14" fmla="*/ 1 w 3"/>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1" y="0"/>
                    </a:moveTo>
                    <a:lnTo>
                      <a:pt x="1" y="0"/>
                    </a:lnTo>
                    <a:lnTo>
                      <a:pt x="0" y="2"/>
                    </a:lnTo>
                    <a:lnTo>
                      <a:pt x="1" y="5"/>
                    </a:lnTo>
                    <a:lnTo>
                      <a:pt x="1" y="5"/>
                    </a:lnTo>
                    <a:lnTo>
                      <a:pt x="3" y="2"/>
                    </a:lnTo>
                    <a:lnTo>
                      <a:pt x="3" y="2"/>
                    </a:lnTo>
                    <a:lnTo>
                      <a:pt x="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23" name="Freeform 2576"/>
              <p:cNvSpPr>
                <a:spLocks/>
              </p:cNvSpPr>
              <p:nvPr/>
            </p:nvSpPr>
            <p:spPr bwMode="auto">
              <a:xfrm>
                <a:off x="4607" y="2847"/>
                <a:ext cx="3" cy="5"/>
              </a:xfrm>
              <a:custGeom>
                <a:avLst/>
                <a:gdLst>
                  <a:gd name="T0" fmla="*/ 1 w 3"/>
                  <a:gd name="T1" fmla="*/ 0 h 5"/>
                  <a:gd name="T2" fmla="*/ 1 w 3"/>
                  <a:gd name="T3" fmla="*/ 0 h 5"/>
                  <a:gd name="T4" fmla="*/ 0 w 3"/>
                  <a:gd name="T5" fmla="*/ 2 h 5"/>
                  <a:gd name="T6" fmla="*/ 1 w 3"/>
                  <a:gd name="T7" fmla="*/ 5 h 5"/>
                  <a:gd name="T8" fmla="*/ 1 w 3"/>
                  <a:gd name="T9" fmla="*/ 5 h 5"/>
                  <a:gd name="T10" fmla="*/ 3 w 3"/>
                  <a:gd name="T11" fmla="*/ 2 h 5"/>
                  <a:gd name="T12" fmla="*/ 3 w 3"/>
                  <a:gd name="T13" fmla="*/ 2 h 5"/>
                  <a:gd name="T14" fmla="*/ 1 w 3"/>
                  <a:gd name="T15" fmla="*/ 0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1" y="0"/>
                    </a:moveTo>
                    <a:lnTo>
                      <a:pt x="1" y="0"/>
                    </a:lnTo>
                    <a:lnTo>
                      <a:pt x="0" y="2"/>
                    </a:lnTo>
                    <a:lnTo>
                      <a:pt x="1" y="5"/>
                    </a:lnTo>
                    <a:lnTo>
                      <a:pt x="1" y="5"/>
                    </a:lnTo>
                    <a:lnTo>
                      <a:pt x="3" y="2"/>
                    </a:lnTo>
                    <a:lnTo>
                      <a:pt x="3" y="2"/>
                    </a:lnTo>
                    <a:lnTo>
                      <a:pt x="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24" name="Freeform 2577"/>
              <p:cNvSpPr>
                <a:spLocks/>
              </p:cNvSpPr>
              <p:nvPr/>
            </p:nvSpPr>
            <p:spPr bwMode="auto">
              <a:xfrm>
                <a:off x="4610" y="2850"/>
                <a:ext cx="2" cy="2"/>
              </a:xfrm>
              <a:custGeom>
                <a:avLst/>
                <a:gdLst>
                  <a:gd name="T0" fmla="*/ 0 w 2"/>
                  <a:gd name="T1" fmla="*/ 0 h 2"/>
                  <a:gd name="T2" fmla="*/ 0 w 2"/>
                  <a:gd name="T3" fmla="*/ 0 h 2"/>
                  <a:gd name="T4" fmla="*/ 0 w 2"/>
                  <a:gd name="T5" fmla="*/ 2 h 2"/>
                  <a:gd name="T6" fmla="*/ 0 w 2"/>
                  <a:gd name="T7" fmla="*/ 2 h 2"/>
                  <a:gd name="T8" fmla="*/ 2 w 2"/>
                  <a:gd name="T9" fmla="*/ 2 h 2"/>
                  <a:gd name="T10" fmla="*/ 2 w 2"/>
                  <a:gd name="T11" fmla="*/ 0 h 2"/>
                  <a:gd name="T12" fmla="*/ 2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0" y="0"/>
                    </a:lnTo>
                    <a:lnTo>
                      <a:pt x="0" y="2"/>
                    </a:lnTo>
                    <a:lnTo>
                      <a:pt x="0" y="2"/>
                    </a:lnTo>
                    <a:lnTo>
                      <a:pt x="2" y="2"/>
                    </a:lnTo>
                    <a:lnTo>
                      <a:pt x="2" y="0"/>
                    </a:lnTo>
                    <a:lnTo>
                      <a:pt x="2"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25" name="Freeform 2578"/>
              <p:cNvSpPr>
                <a:spLocks/>
              </p:cNvSpPr>
              <p:nvPr/>
            </p:nvSpPr>
            <p:spPr bwMode="auto">
              <a:xfrm>
                <a:off x="4610" y="2850"/>
                <a:ext cx="2" cy="2"/>
              </a:xfrm>
              <a:custGeom>
                <a:avLst/>
                <a:gdLst>
                  <a:gd name="T0" fmla="*/ 0 w 2"/>
                  <a:gd name="T1" fmla="*/ 0 h 2"/>
                  <a:gd name="T2" fmla="*/ 0 w 2"/>
                  <a:gd name="T3" fmla="*/ 0 h 2"/>
                  <a:gd name="T4" fmla="*/ 0 w 2"/>
                  <a:gd name="T5" fmla="*/ 2 h 2"/>
                  <a:gd name="T6" fmla="*/ 0 w 2"/>
                  <a:gd name="T7" fmla="*/ 2 h 2"/>
                  <a:gd name="T8" fmla="*/ 2 w 2"/>
                  <a:gd name="T9" fmla="*/ 2 h 2"/>
                  <a:gd name="T10" fmla="*/ 2 w 2"/>
                  <a:gd name="T11" fmla="*/ 0 h 2"/>
                  <a:gd name="T12" fmla="*/ 2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0" y="0"/>
                    </a:lnTo>
                    <a:lnTo>
                      <a:pt x="0" y="2"/>
                    </a:lnTo>
                    <a:lnTo>
                      <a:pt x="0" y="2"/>
                    </a:lnTo>
                    <a:lnTo>
                      <a:pt x="2" y="2"/>
                    </a:lnTo>
                    <a:lnTo>
                      <a:pt x="2" y="0"/>
                    </a:lnTo>
                    <a:lnTo>
                      <a:pt x="2"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26" name="Freeform 2579"/>
              <p:cNvSpPr>
                <a:spLocks/>
              </p:cNvSpPr>
              <p:nvPr/>
            </p:nvSpPr>
            <p:spPr bwMode="auto">
              <a:xfrm>
                <a:off x="4614" y="2841"/>
                <a:ext cx="51" cy="15"/>
              </a:xfrm>
              <a:custGeom>
                <a:avLst/>
                <a:gdLst>
                  <a:gd name="T0" fmla="*/ 3 w 51"/>
                  <a:gd name="T1" fmla="*/ 13 h 15"/>
                  <a:gd name="T2" fmla="*/ 3 w 51"/>
                  <a:gd name="T3" fmla="*/ 13 h 15"/>
                  <a:gd name="T4" fmla="*/ 5 w 51"/>
                  <a:gd name="T5" fmla="*/ 13 h 15"/>
                  <a:gd name="T6" fmla="*/ 9 w 51"/>
                  <a:gd name="T7" fmla="*/ 13 h 15"/>
                  <a:gd name="T8" fmla="*/ 9 w 51"/>
                  <a:gd name="T9" fmla="*/ 13 h 15"/>
                  <a:gd name="T10" fmla="*/ 16 w 51"/>
                  <a:gd name="T11" fmla="*/ 13 h 15"/>
                  <a:gd name="T12" fmla="*/ 16 w 51"/>
                  <a:gd name="T13" fmla="*/ 13 h 15"/>
                  <a:gd name="T14" fmla="*/ 18 w 51"/>
                  <a:gd name="T15" fmla="*/ 15 h 15"/>
                  <a:gd name="T16" fmla="*/ 19 w 51"/>
                  <a:gd name="T17" fmla="*/ 15 h 15"/>
                  <a:gd name="T18" fmla="*/ 19 w 51"/>
                  <a:gd name="T19" fmla="*/ 15 h 15"/>
                  <a:gd name="T20" fmla="*/ 23 w 51"/>
                  <a:gd name="T21" fmla="*/ 13 h 15"/>
                  <a:gd name="T22" fmla="*/ 25 w 51"/>
                  <a:gd name="T23" fmla="*/ 13 h 15"/>
                  <a:gd name="T24" fmla="*/ 25 w 51"/>
                  <a:gd name="T25" fmla="*/ 11 h 15"/>
                  <a:gd name="T26" fmla="*/ 25 w 51"/>
                  <a:gd name="T27" fmla="*/ 11 h 15"/>
                  <a:gd name="T28" fmla="*/ 30 w 51"/>
                  <a:gd name="T29" fmla="*/ 13 h 15"/>
                  <a:gd name="T30" fmla="*/ 35 w 51"/>
                  <a:gd name="T31" fmla="*/ 11 h 15"/>
                  <a:gd name="T32" fmla="*/ 35 w 51"/>
                  <a:gd name="T33" fmla="*/ 11 h 15"/>
                  <a:gd name="T34" fmla="*/ 44 w 51"/>
                  <a:gd name="T35" fmla="*/ 9 h 15"/>
                  <a:gd name="T36" fmla="*/ 48 w 51"/>
                  <a:gd name="T37" fmla="*/ 9 h 15"/>
                  <a:gd name="T38" fmla="*/ 48 w 51"/>
                  <a:gd name="T39" fmla="*/ 8 h 15"/>
                  <a:gd name="T40" fmla="*/ 48 w 51"/>
                  <a:gd name="T41" fmla="*/ 6 h 15"/>
                  <a:gd name="T42" fmla="*/ 48 w 51"/>
                  <a:gd name="T43" fmla="*/ 6 h 15"/>
                  <a:gd name="T44" fmla="*/ 50 w 51"/>
                  <a:gd name="T45" fmla="*/ 6 h 15"/>
                  <a:gd name="T46" fmla="*/ 51 w 51"/>
                  <a:gd name="T47" fmla="*/ 4 h 15"/>
                  <a:gd name="T48" fmla="*/ 51 w 51"/>
                  <a:gd name="T49" fmla="*/ 4 h 15"/>
                  <a:gd name="T50" fmla="*/ 50 w 51"/>
                  <a:gd name="T51" fmla="*/ 0 h 15"/>
                  <a:gd name="T52" fmla="*/ 48 w 51"/>
                  <a:gd name="T53" fmla="*/ 0 h 15"/>
                  <a:gd name="T54" fmla="*/ 48 w 51"/>
                  <a:gd name="T55" fmla="*/ 2 h 15"/>
                  <a:gd name="T56" fmla="*/ 48 w 51"/>
                  <a:gd name="T57" fmla="*/ 2 h 15"/>
                  <a:gd name="T58" fmla="*/ 50 w 51"/>
                  <a:gd name="T59" fmla="*/ 2 h 15"/>
                  <a:gd name="T60" fmla="*/ 50 w 51"/>
                  <a:gd name="T61" fmla="*/ 2 h 15"/>
                  <a:gd name="T62" fmla="*/ 46 w 51"/>
                  <a:gd name="T63" fmla="*/ 4 h 15"/>
                  <a:gd name="T64" fmla="*/ 43 w 51"/>
                  <a:gd name="T65" fmla="*/ 8 h 15"/>
                  <a:gd name="T66" fmla="*/ 43 w 51"/>
                  <a:gd name="T67" fmla="*/ 8 h 15"/>
                  <a:gd name="T68" fmla="*/ 41 w 51"/>
                  <a:gd name="T69" fmla="*/ 9 h 15"/>
                  <a:gd name="T70" fmla="*/ 39 w 51"/>
                  <a:gd name="T71" fmla="*/ 9 h 15"/>
                  <a:gd name="T72" fmla="*/ 35 w 51"/>
                  <a:gd name="T73" fmla="*/ 8 h 15"/>
                  <a:gd name="T74" fmla="*/ 35 w 51"/>
                  <a:gd name="T75" fmla="*/ 8 h 15"/>
                  <a:gd name="T76" fmla="*/ 34 w 51"/>
                  <a:gd name="T77" fmla="*/ 6 h 15"/>
                  <a:gd name="T78" fmla="*/ 32 w 51"/>
                  <a:gd name="T79" fmla="*/ 8 h 15"/>
                  <a:gd name="T80" fmla="*/ 30 w 51"/>
                  <a:gd name="T81" fmla="*/ 8 h 15"/>
                  <a:gd name="T82" fmla="*/ 30 w 51"/>
                  <a:gd name="T83" fmla="*/ 8 h 15"/>
                  <a:gd name="T84" fmla="*/ 28 w 51"/>
                  <a:gd name="T85" fmla="*/ 8 h 15"/>
                  <a:gd name="T86" fmla="*/ 28 w 51"/>
                  <a:gd name="T87" fmla="*/ 8 h 15"/>
                  <a:gd name="T88" fmla="*/ 28 w 51"/>
                  <a:gd name="T89" fmla="*/ 8 h 15"/>
                  <a:gd name="T90" fmla="*/ 26 w 51"/>
                  <a:gd name="T91" fmla="*/ 8 h 15"/>
                  <a:gd name="T92" fmla="*/ 25 w 51"/>
                  <a:gd name="T93" fmla="*/ 8 h 15"/>
                  <a:gd name="T94" fmla="*/ 25 w 51"/>
                  <a:gd name="T95" fmla="*/ 8 h 15"/>
                  <a:gd name="T96" fmla="*/ 19 w 51"/>
                  <a:gd name="T97" fmla="*/ 6 h 15"/>
                  <a:gd name="T98" fmla="*/ 14 w 51"/>
                  <a:gd name="T99" fmla="*/ 4 h 15"/>
                  <a:gd name="T100" fmla="*/ 14 w 51"/>
                  <a:gd name="T101" fmla="*/ 4 h 15"/>
                  <a:gd name="T102" fmla="*/ 9 w 51"/>
                  <a:gd name="T103" fmla="*/ 4 h 15"/>
                  <a:gd name="T104" fmla="*/ 3 w 51"/>
                  <a:gd name="T105" fmla="*/ 6 h 15"/>
                  <a:gd name="T106" fmla="*/ 3 w 51"/>
                  <a:gd name="T107" fmla="*/ 6 h 15"/>
                  <a:gd name="T108" fmla="*/ 1 w 51"/>
                  <a:gd name="T109" fmla="*/ 8 h 15"/>
                  <a:gd name="T110" fmla="*/ 0 w 51"/>
                  <a:gd name="T111" fmla="*/ 9 h 15"/>
                  <a:gd name="T112" fmla="*/ 0 w 51"/>
                  <a:gd name="T113" fmla="*/ 9 h 15"/>
                  <a:gd name="T114" fmla="*/ 0 w 51"/>
                  <a:gd name="T115" fmla="*/ 13 h 15"/>
                  <a:gd name="T116" fmla="*/ 1 w 51"/>
                  <a:gd name="T117" fmla="*/ 13 h 15"/>
                  <a:gd name="T118" fmla="*/ 3 w 51"/>
                  <a:gd name="T119"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 h="15">
                    <a:moveTo>
                      <a:pt x="3" y="13"/>
                    </a:moveTo>
                    <a:lnTo>
                      <a:pt x="3" y="13"/>
                    </a:lnTo>
                    <a:lnTo>
                      <a:pt x="5" y="13"/>
                    </a:lnTo>
                    <a:lnTo>
                      <a:pt x="9" y="13"/>
                    </a:lnTo>
                    <a:lnTo>
                      <a:pt x="9" y="13"/>
                    </a:lnTo>
                    <a:lnTo>
                      <a:pt x="16" y="13"/>
                    </a:lnTo>
                    <a:lnTo>
                      <a:pt x="16" y="13"/>
                    </a:lnTo>
                    <a:lnTo>
                      <a:pt x="18" y="15"/>
                    </a:lnTo>
                    <a:lnTo>
                      <a:pt x="19" y="15"/>
                    </a:lnTo>
                    <a:lnTo>
                      <a:pt x="19" y="15"/>
                    </a:lnTo>
                    <a:lnTo>
                      <a:pt x="23" y="13"/>
                    </a:lnTo>
                    <a:lnTo>
                      <a:pt x="25" y="13"/>
                    </a:lnTo>
                    <a:lnTo>
                      <a:pt x="25" y="11"/>
                    </a:lnTo>
                    <a:lnTo>
                      <a:pt x="25" y="11"/>
                    </a:lnTo>
                    <a:lnTo>
                      <a:pt x="30" y="13"/>
                    </a:lnTo>
                    <a:lnTo>
                      <a:pt x="35" y="11"/>
                    </a:lnTo>
                    <a:lnTo>
                      <a:pt x="35" y="11"/>
                    </a:lnTo>
                    <a:lnTo>
                      <a:pt x="44" y="9"/>
                    </a:lnTo>
                    <a:lnTo>
                      <a:pt x="48" y="9"/>
                    </a:lnTo>
                    <a:lnTo>
                      <a:pt x="48" y="8"/>
                    </a:lnTo>
                    <a:lnTo>
                      <a:pt x="48" y="6"/>
                    </a:lnTo>
                    <a:lnTo>
                      <a:pt x="48" y="6"/>
                    </a:lnTo>
                    <a:lnTo>
                      <a:pt x="50" y="6"/>
                    </a:lnTo>
                    <a:lnTo>
                      <a:pt x="51" y="4"/>
                    </a:lnTo>
                    <a:lnTo>
                      <a:pt x="51" y="4"/>
                    </a:lnTo>
                    <a:lnTo>
                      <a:pt x="50" y="0"/>
                    </a:lnTo>
                    <a:lnTo>
                      <a:pt x="48" y="0"/>
                    </a:lnTo>
                    <a:lnTo>
                      <a:pt x="48" y="2"/>
                    </a:lnTo>
                    <a:lnTo>
                      <a:pt x="48" y="2"/>
                    </a:lnTo>
                    <a:lnTo>
                      <a:pt x="50" y="2"/>
                    </a:lnTo>
                    <a:lnTo>
                      <a:pt x="50" y="2"/>
                    </a:lnTo>
                    <a:lnTo>
                      <a:pt x="46" y="4"/>
                    </a:lnTo>
                    <a:lnTo>
                      <a:pt x="43" y="8"/>
                    </a:lnTo>
                    <a:lnTo>
                      <a:pt x="43" y="8"/>
                    </a:lnTo>
                    <a:lnTo>
                      <a:pt x="41" y="9"/>
                    </a:lnTo>
                    <a:lnTo>
                      <a:pt x="39" y="9"/>
                    </a:lnTo>
                    <a:lnTo>
                      <a:pt x="35" y="8"/>
                    </a:lnTo>
                    <a:lnTo>
                      <a:pt x="35" y="8"/>
                    </a:lnTo>
                    <a:lnTo>
                      <a:pt x="34" y="6"/>
                    </a:lnTo>
                    <a:lnTo>
                      <a:pt x="32" y="8"/>
                    </a:lnTo>
                    <a:lnTo>
                      <a:pt x="30" y="8"/>
                    </a:lnTo>
                    <a:lnTo>
                      <a:pt x="30" y="8"/>
                    </a:lnTo>
                    <a:lnTo>
                      <a:pt x="28" y="8"/>
                    </a:lnTo>
                    <a:lnTo>
                      <a:pt x="28" y="8"/>
                    </a:lnTo>
                    <a:lnTo>
                      <a:pt x="28" y="8"/>
                    </a:lnTo>
                    <a:lnTo>
                      <a:pt x="26" y="8"/>
                    </a:lnTo>
                    <a:lnTo>
                      <a:pt x="25" y="8"/>
                    </a:lnTo>
                    <a:lnTo>
                      <a:pt x="25" y="8"/>
                    </a:lnTo>
                    <a:lnTo>
                      <a:pt x="19" y="6"/>
                    </a:lnTo>
                    <a:lnTo>
                      <a:pt x="14" y="4"/>
                    </a:lnTo>
                    <a:lnTo>
                      <a:pt x="14" y="4"/>
                    </a:lnTo>
                    <a:lnTo>
                      <a:pt x="9" y="4"/>
                    </a:lnTo>
                    <a:lnTo>
                      <a:pt x="3" y="6"/>
                    </a:lnTo>
                    <a:lnTo>
                      <a:pt x="3" y="6"/>
                    </a:lnTo>
                    <a:lnTo>
                      <a:pt x="1" y="8"/>
                    </a:lnTo>
                    <a:lnTo>
                      <a:pt x="0" y="9"/>
                    </a:lnTo>
                    <a:lnTo>
                      <a:pt x="0" y="9"/>
                    </a:lnTo>
                    <a:lnTo>
                      <a:pt x="0" y="13"/>
                    </a:lnTo>
                    <a:lnTo>
                      <a:pt x="1" y="13"/>
                    </a:lnTo>
                    <a:lnTo>
                      <a:pt x="3" y="1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27" name="Freeform 2580"/>
              <p:cNvSpPr>
                <a:spLocks/>
              </p:cNvSpPr>
              <p:nvPr/>
            </p:nvSpPr>
            <p:spPr bwMode="auto">
              <a:xfrm>
                <a:off x="4614" y="2841"/>
                <a:ext cx="51" cy="15"/>
              </a:xfrm>
              <a:custGeom>
                <a:avLst/>
                <a:gdLst>
                  <a:gd name="T0" fmla="*/ 3 w 51"/>
                  <a:gd name="T1" fmla="*/ 13 h 15"/>
                  <a:gd name="T2" fmla="*/ 3 w 51"/>
                  <a:gd name="T3" fmla="*/ 13 h 15"/>
                  <a:gd name="T4" fmla="*/ 5 w 51"/>
                  <a:gd name="T5" fmla="*/ 13 h 15"/>
                  <a:gd name="T6" fmla="*/ 9 w 51"/>
                  <a:gd name="T7" fmla="*/ 13 h 15"/>
                  <a:gd name="T8" fmla="*/ 9 w 51"/>
                  <a:gd name="T9" fmla="*/ 13 h 15"/>
                  <a:gd name="T10" fmla="*/ 16 w 51"/>
                  <a:gd name="T11" fmla="*/ 13 h 15"/>
                  <a:gd name="T12" fmla="*/ 16 w 51"/>
                  <a:gd name="T13" fmla="*/ 13 h 15"/>
                  <a:gd name="T14" fmla="*/ 18 w 51"/>
                  <a:gd name="T15" fmla="*/ 15 h 15"/>
                  <a:gd name="T16" fmla="*/ 19 w 51"/>
                  <a:gd name="T17" fmla="*/ 15 h 15"/>
                  <a:gd name="T18" fmla="*/ 19 w 51"/>
                  <a:gd name="T19" fmla="*/ 15 h 15"/>
                  <a:gd name="T20" fmla="*/ 23 w 51"/>
                  <a:gd name="T21" fmla="*/ 13 h 15"/>
                  <a:gd name="T22" fmla="*/ 25 w 51"/>
                  <a:gd name="T23" fmla="*/ 13 h 15"/>
                  <a:gd name="T24" fmla="*/ 25 w 51"/>
                  <a:gd name="T25" fmla="*/ 11 h 15"/>
                  <a:gd name="T26" fmla="*/ 25 w 51"/>
                  <a:gd name="T27" fmla="*/ 11 h 15"/>
                  <a:gd name="T28" fmla="*/ 30 w 51"/>
                  <a:gd name="T29" fmla="*/ 13 h 15"/>
                  <a:gd name="T30" fmla="*/ 35 w 51"/>
                  <a:gd name="T31" fmla="*/ 11 h 15"/>
                  <a:gd name="T32" fmla="*/ 35 w 51"/>
                  <a:gd name="T33" fmla="*/ 11 h 15"/>
                  <a:gd name="T34" fmla="*/ 44 w 51"/>
                  <a:gd name="T35" fmla="*/ 9 h 15"/>
                  <a:gd name="T36" fmla="*/ 48 w 51"/>
                  <a:gd name="T37" fmla="*/ 9 h 15"/>
                  <a:gd name="T38" fmla="*/ 48 w 51"/>
                  <a:gd name="T39" fmla="*/ 8 h 15"/>
                  <a:gd name="T40" fmla="*/ 48 w 51"/>
                  <a:gd name="T41" fmla="*/ 6 h 15"/>
                  <a:gd name="T42" fmla="*/ 48 w 51"/>
                  <a:gd name="T43" fmla="*/ 6 h 15"/>
                  <a:gd name="T44" fmla="*/ 50 w 51"/>
                  <a:gd name="T45" fmla="*/ 6 h 15"/>
                  <a:gd name="T46" fmla="*/ 51 w 51"/>
                  <a:gd name="T47" fmla="*/ 4 h 15"/>
                  <a:gd name="T48" fmla="*/ 51 w 51"/>
                  <a:gd name="T49" fmla="*/ 4 h 15"/>
                  <a:gd name="T50" fmla="*/ 50 w 51"/>
                  <a:gd name="T51" fmla="*/ 0 h 15"/>
                  <a:gd name="T52" fmla="*/ 48 w 51"/>
                  <a:gd name="T53" fmla="*/ 0 h 15"/>
                  <a:gd name="T54" fmla="*/ 48 w 51"/>
                  <a:gd name="T55" fmla="*/ 2 h 15"/>
                  <a:gd name="T56" fmla="*/ 48 w 51"/>
                  <a:gd name="T57" fmla="*/ 2 h 15"/>
                  <a:gd name="T58" fmla="*/ 50 w 51"/>
                  <a:gd name="T59" fmla="*/ 2 h 15"/>
                  <a:gd name="T60" fmla="*/ 50 w 51"/>
                  <a:gd name="T61" fmla="*/ 2 h 15"/>
                  <a:gd name="T62" fmla="*/ 46 w 51"/>
                  <a:gd name="T63" fmla="*/ 4 h 15"/>
                  <a:gd name="T64" fmla="*/ 43 w 51"/>
                  <a:gd name="T65" fmla="*/ 8 h 15"/>
                  <a:gd name="T66" fmla="*/ 43 w 51"/>
                  <a:gd name="T67" fmla="*/ 8 h 15"/>
                  <a:gd name="T68" fmla="*/ 41 w 51"/>
                  <a:gd name="T69" fmla="*/ 9 h 15"/>
                  <a:gd name="T70" fmla="*/ 39 w 51"/>
                  <a:gd name="T71" fmla="*/ 9 h 15"/>
                  <a:gd name="T72" fmla="*/ 35 w 51"/>
                  <a:gd name="T73" fmla="*/ 8 h 15"/>
                  <a:gd name="T74" fmla="*/ 35 w 51"/>
                  <a:gd name="T75" fmla="*/ 8 h 15"/>
                  <a:gd name="T76" fmla="*/ 34 w 51"/>
                  <a:gd name="T77" fmla="*/ 6 h 15"/>
                  <a:gd name="T78" fmla="*/ 32 w 51"/>
                  <a:gd name="T79" fmla="*/ 8 h 15"/>
                  <a:gd name="T80" fmla="*/ 30 w 51"/>
                  <a:gd name="T81" fmla="*/ 8 h 15"/>
                  <a:gd name="T82" fmla="*/ 30 w 51"/>
                  <a:gd name="T83" fmla="*/ 8 h 15"/>
                  <a:gd name="T84" fmla="*/ 28 w 51"/>
                  <a:gd name="T85" fmla="*/ 8 h 15"/>
                  <a:gd name="T86" fmla="*/ 28 w 51"/>
                  <a:gd name="T87" fmla="*/ 8 h 15"/>
                  <a:gd name="T88" fmla="*/ 28 w 51"/>
                  <a:gd name="T89" fmla="*/ 8 h 15"/>
                  <a:gd name="T90" fmla="*/ 26 w 51"/>
                  <a:gd name="T91" fmla="*/ 8 h 15"/>
                  <a:gd name="T92" fmla="*/ 25 w 51"/>
                  <a:gd name="T93" fmla="*/ 8 h 15"/>
                  <a:gd name="T94" fmla="*/ 25 w 51"/>
                  <a:gd name="T95" fmla="*/ 8 h 15"/>
                  <a:gd name="T96" fmla="*/ 19 w 51"/>
                  <a:gd name="T97" fmla="*/ 6 h 15"/>
                  <a:gd name="T98" fmla="*/ 14 w 51"/>
                  <a:gd name="T99" fmla="*/ 4 h 15"/>
                  <a:gd name="T100" fmla="*/ 14 w 51"/>
                  <a:gd name="T101" fmla="*/ 4 h 15"/>
                  <a:gd name="T102" fmla="*/ 9 w 51"/>
                  <a:gd name="T103" fmla="*/ 4 h 15"/>
                  <a:gd name="T104" fmla="*/ 3 w 51"/>
                  <a:gd name="T105" fmla="*/ 6 h 15"/>
                  <a:gd name="T106" fmla="*/ 3 w 51"/>
                  <a:gd name="T107" fmla="*/ 6 h 15"/>
                  <a:gd name="T108" fmla="*/ 1 w 51"/>
                  <a:gd name="T109" fmla="*/ 8 h 15"/>
                  <a:gd name="T110" fmla="*/ 0 w 51"/>
                  <a:gd name="T111" fmla="*/ 9 h 15"/>
                  <a:gd name="T112" fmla="*/ 0 w 51"/>
                  <a:gd name="T113" fmla="*/ 9 h 15"/>
                  <a:gd name="T114" fmla="*/ 0 w 51"/>
                  <a:gd name="T115" fmla="*/ 13 h 15"/>
                  <a:gd name="T116" fmla="*/ 1 w 51"/>
                  <a:gd name="T117" fmla="*/ 13 h 15"/>
                  <a:gd name="T118" fmla="*/ 3 w 51"/>
                  <a:gd name="T119" fmla="*/ 1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 h="15">
                    <a:moveTo>
                      <a:pt x="3" y="13"/>
                    </a:moveTo>
                    <a:lnTo>
                      <a:pt x="3" y="13"/>
                    </a:lnTo>
                    <a:lnTo>
                      <a:pt x="5" y="13"/>
                    </a:lnTo>
                    <a:lnTo>
                      <a:pt x="9" y="13"/>
                    </a:lnTo>
                    <a:lnTo>
                      <a:pt x="9" y="13"/>
                    </a:lnTo>
                    <a:lnTo>
                      <a:pt x="16" y="13"/>
                    </a:lnTo>
                    <a:lnTo>
                      <a:pt x="16" y="13"/>
                    </a:lnTo>
                    <a:lnTo>
                      <a:pt x="18" y="15"/>
                    </a:lnTo>
                    <a:lnTo>
                      <a:pt x="19" y="15"/>
                    </a:lnTo>
                    <a:lnTo>
                      <a:pt x="19" y="15"/>
                    </a:lnTo>
                    <a:lnTo>
                      <a:pt x="23" y="13"/>
                    </a:lnTo>
                    <a:lnTo>
                      <a:pt x="25" y="13"/>
                    </a:lnTo>
                    <a:lnTo>
                      <a:pt x="25" y="11"/>
                    </a:lnTo>
                    <a:lnTo>
                      <a:pt x="25" y="11"/>
                    </a:lnTo>
                    <a:lnTo>
                      <a:pt x="30" y="13"/>
                    </a:lnTo>
                    <a:lnTo>
                      <a:pt x="35" y="11"/>
                    </a:lnTo>
                    <a:lnTo>
                      <a:pt x="35" y="11"/>
                    </a:lnTo>
                    <a:lnTo>
                      <a:pt x="44" y="9"/>
                    </a:lnTo>
                    <a:lnTo>
                      <a:pt x="48" y="9"/>
                    </a:lnTo>
                    <a:lnTo>
                      <a:pt x="48" y="8"/>
                    </a:lnTo>
                    <a:lnTo>
                      <a:pt x="48" y="6"/>
                    </a:lnTo>
                    <a:lnTo>
                      <a:pt x="48" y="6"/>
                    </a:lnTo>
                    <a:lnTo>
                      <a:pt x="50" y="6"/>
                    </a:lnTo>
                    <a:lnTo>
                      <a:pt x="51" y="4"/>
                    </a:lnTo>
                    <a:lnTo>
                      <a:pt x="51" y="4"/>
                    </a:lnTo>
                    <a:lnTo>
                      <a:pt x="50" y="0"/>
                    </a:lnTo>
                    <a:lnTo>
                      <a:pt x="48" y="0"/>
                    </a:lnTo>
                    <a:lnTo>
                      <a:pt x="48" y="2"/>
                    </a:lnTo>
                    <a:lnTo>
                      <a:pt x="48" y="2"/>
                    </a:lnTo>
                    <a:lnTo>
                      <a:pt x="50" y="2"/>
                    </a:lnTo>
                    <a:lnTo>
                      <a:pt x="50" y="2"/>
                    </a:lnTo>
                    <a:lnTo>
                      <a:pt x="46" y="4"/>
                    </a:lnTo>
                    <a:lnTo>
                      <a:pt x="43" y="8"/>
                    </a:lnTo>
                    <a:lnTo>
                      <a:pt x="43" y="8"/>
                    </a:lnTo>
                    <a:lnTo>
                      <a:pt x="41" y="9"/>
                    </a:lnTo>
                    <a:lnTo>
                      <a:pt x="39" y="9"/>
                    </a:lnTo>
                    <a:lnTo>
                      <a:pt x="35" y="8"/>
                    </a:lnTo>
                    <a:lnTo>
                      <a:pt x="35" y="8"/>
                    </a:lnTo>
                    <a:lnTo>
                      <a:pt x="34" y="6"/>
                    </a:lnTo>
                    <a:lnTo>
                      <a:pt x="32" y="8"/>
                    </a:lnTo>
                    <a:lnTo>
                      <a:pt x="30" y="8"/>
                    </a:lnTo>
                    <a:lnTo>
                      <a:pt x="30" y="8"/>
                    </a:lnTo>
                    <a:lnTo>
                      <a:pt x="28" y="8"/>
                    </a:lnTo>
                    <a:lnTo>
                      <a:pt x="28" y="8"/>
                    </a:lnTo>
                    <a:lnTo>
                      <a:pt x="28" y="8"/>
                    </a:lnTo>
                    <a:lnTo>
                      <a:pt x="26" y="8"/>
                    </a:lnTo>
                    <a:lnTo>
                      <a:pt x="25" y="8"/>
                    </a:lnTo>
                    <a:lnTo>
                      <a:pt x="25" y="8"/>
                    </a:lnTo>
                    <a:lnTo>
                      <a:pt x="19" y="6"/>
                    </a:lnTo>
                    <a:lnTo>
                      <a:pt x="14" y="4"/>
                    </a:lnTo>
                    <a:lnTo>
                      <a:pt x="14" y="4"/>
                    </a:lnTo>
                    <a:lnTo>
                      <a:pt x="9" y="4"/>
                    </a:lnTo>
                    <a:lnTo>
                      <a:pt x="3" y="6"/>
                    </a:lnTo>
                    <a:lnTo>
                      <a:pt x="3" y="6"/>
                    </a:lnTo>
                    <a:lnTo>
                      <a:pt x="1" y="8"/>
                    </a:lnTo>
                    <a:lnTo>
                      <a:pt x="0" y="9"/>
                    </a:lnTo>
                    <a:lnTo>
                      <a:pt x="0" y="9"/>
                    </a:lnTo>
                    <a:lnTo>
                      <a:pt x="0" y="13"/>
                    </a:lnTo>
                    <a:lnTo>
                      <a:pt x="1" y="13"/>
                    </a:lnTo>
                    <a:lnTo>
                      <a:pt x="3" y="1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28" name="Freeform 2581"/>
              <p:cNvSpPr>
                <a:spLocks/>
              </p:cNvSpPr>
              <p:nvPr/>
            </p:nvSpPr>
            <p:spPr bwMode="auto">
              <a:xfrm>
                <a:off x="4626" y="2804"/>
                <a:ext cx="2" cy="12"/>
              </a:xfrm>
              <a:custGeom>
                <a:avLst/>
                <a:gdLst>
                  <a:gd name="T0" fmla="*/ 2 w 2"/>
                  <a:gd name="T1" fmla="*/ 0 h 12"/>
                  <a:gd name="T2" fmla="*/ 2 w 2"/>
                  <a:gd name="T3" fmla="*/ 0 h 12"/>
                  <a:gd name="T4" fmla="*/ 0 w 2"/>
                  <a:gd name="T5" fmla="*/ 2 h 12"/>
                  <a:gd name="T6" fmla="*/ 0 w 2"/>
                  <a:gd name="T7" fmla="*/ 5 h 12"/>
                  <a:gd name="T8" fmla="*/ 0 w 2"/>
                  <a:gd name="T9" fmla="*/ 12 h 12"/>
                  <a:gd name="T10" fmla="*/ 0 w 2"/>
                  <a:gd name="T11" fmla="*/ 12 h 12"/>
                  <a:gd name="T12" fmla="*/ 2 w 2"/>
                  <a:gd name="T13" fmla="*/ 5 h 12"/>
                  <a:gd name="T14" fmla="*/ 2 w 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2">
                    <a:moveTo>
                      <a:pt x="2" y="0"/>
                    </a:moveTo>
                    <a:lnTo>
                      <a:pt x="2" y="0"/>
                    </a:lnTo>
                    <a:lnTo>
                      <a:pt x="0" y="2"/>
                    </a:lnTo>
                    <a:lnTo>
                      <a:pt x="0" y="5"/>
                    </a:lnTo>
                    <a:lnTo>
                      <a:pt x="0" y="12"/>
                    </a:lnTo>
                    <a:lnTo>
                      <a:pt x="0" y="12"/>
                    </a:lnTo>
                    <a:lnTo>
                      <a:pt x="2" y="5"/>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29" name="Freeform 2582"/>
              <p:cNvSpPr>
                <a:spLocks/>
              </p:cNvSpPr>
              <p:nvPr/>
            </p:nvSpPr>
            <p:spPr bwMode="auto">
              <a:xfrm>
                <a:off x="4626" y="2804"/>
                <a:ext cx="2" cy="12"/>
              </a:xfrm>
              <a:custGeom>
                <a:avLst/>
                <a:gdLst>
                  <a:gd name="T0" fmla="*/ 2 w 2"/>
                  <a:gd name="T1" fmla="*/ 0 h 12"/>
                  <a:gd name="T2" fmla="*/ 2 w 2"/>
                  <a:gd name="T3" fmla="*/ 0 h 12"/>
                  <a:gd name="T4" fmla="*/ 0 w 2"/>
                  <a:gd name="T5" fmla="*/ 2 h 12"/>
                  <a:gd name="T6" fmla="*/ 0 w 2"/>
                  <a:gd name="T7" fmla="*/ 5 h 12"/>
                  <a:gd name="T8" fmla="*/ 0 w 2"/>
                  <a:gd name="T9" fmla="*/ 12 h 12"/>
                  <a:gd name="T10" fmla="*/ 0 w 2"/>
                  <a:gd name="T11" fmla="*/ 12 h 12"/>
                  <a:gd name="T12" fmla="*/ 2 w 2"/>
                  <a:gd name="T13" fmla="*/ 5 h 12"/>
                  <a:gd name="T14" fmla="*/ 2 w 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2">
                    <a:moveTo>
                      <a:pt x="2" y="0"/>
                    </a:moveTo>
                    <a:lnTo>
                      <a:pt x="2" y="0"/>
                    </a:lnTo>
                    <a:lnTo>
                      <a:pt x="0" y="2"/>
                    </a:lnTo>
                    <a:lnTo>
                      <a:pt x="0" y="5"/>
                    </a:lnTo>
                    <a:lnTo>
                      <a:pt x="0" y="12"/>
                    </a:lnTo>
                    <a:lnTo>
                      <a:pt x="0" y="12"/>
                    </a:lnTo>
                    <a:lnTo>
                      <a:pt x="2" y="5"/>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30" name="Freeform 2583"/>
              <p:cNvSpPr>
                <a:spLocks/>
              </p:cNvSpPr>
              <p:nvPr/>
            </p:nvSpPr>
            <p:spPr bwMode="auto">
              <a:xfrm>
                <a:off x="4630" y="2825"/>
                <a:ext cx="0" cy="2"/>
              </a:xfrm>
              <a:custGeom>
                <a:avLst/>
                <a:gdLst>
                  <a:gd name="T0" fmla="*/ 0 h 2"/>
                  <a:gd name="T1" fmla="*/ 0 h 2"/>
                  <a:gd name="T2" fmla="*/ 2 h 2"/>
                  <a:gd name="T3" fmla="*/ 2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0"/>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31" name="Freeform 2584"/>
              <p:cNvSpPr>
                <a:spLocks/>
              </p:cNvSpPr>
              <p:nvPr/>
            </p:nvSpPr>
            <p:spPr bwMode="auto">
              <a:xfrm>
                <a:off x="4630" y="2825"/>
                <a:ext cx="0" cy="2"/>
              </a:xfrm>
              <a:custGeom>
                <a:avLst/>
                <a:gdLst>
                  <a:gd name="T0" fmla="*/ 0 h 2"/>
                  <a:gd name="T1" fmla="*/ 0 h 2"/>
                  <a:gd name="T2" fmla="*/ 2 h 2"/>
                  <a:gd name="T3" fmla="*/ 2 h 2"/>
                  <a:gd name="T4" fmla="*/ 0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0"/>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32" name="Freeform 2585"/>
              <p:cNvSpPr>
                <a:spLocks/>
              </p:cNvSpPr>
              <p:nvPr/>
            </p:nvSpPr>
            <p:spPr bwMode="auto">
              <a:xfrm>
                <a:off x="4632" y="2827"/>
                <a:ext cx="3" cy="2"/>
              </a:xfrm>
              <a:custGeom>
                <a:avLst/>
                <a:gdLst>
                  <a:gd name="T0" fmla="*/ 0 w 3"/>
                  <a:gd name="T1" fmla="*/ 2 h 2"/>
                  <a:gd name="T2" fmla="*/ 0 w 3"/>
                  <a:gd name="T3" fmla="*/ 2 h 2"/>
                  <a:gd name="T4" fmla="*/ 1 w 3"/>
                  <a:gd name="T5" fmla="*/ 2 h 2"/>
                  <a:gd name="T6" fmla="*/ 3 w 3"/>
                  <a:gd name="T7" fmla="*/ 2 h 2"/>
                  <a:gd name="T8" fmla="*/ 3 w 3"/>
                  <a:gd name="T9" fmla="*/ 2 h 2"/>
                  <a:gd name="T10" fmla="*/ 0 w 3"/>
                  <a:gd name="T11" fmla="*/ 0 h 2"/>
                  <a:gd name="T12" fmla="*/ 0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2"/>
                    </a:moveTo>
                    <a:lnTo>
                      <a:pt x="0" y="2"/>
                    </a:lnTo>
                    <a:lnTo>
                      <a:pt x="1" y="2"/>
                    </a:lnTo>
                    <a:lnTo>
                      <a:pt x="3" y="2"/>
                    </a:lnTo>
                    <a:lnTo>
                      <a:pt x="3" y="2"/>
                    </a:lnTo>
                    <a:lnTo>
                      <a:pt x="0" y="0"/>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33" name="Freeform 2586"/>
              <p:cNvSpPr>
                <a:spLocks/>
              </p:cNvSpPr>
              <p:nvPr/>
            </p:nvSpPr>
            <p:spPr bwMode="auto">
              <a:xfrm>
                <a:off x="4632" y="2827"/>
                <a:ext cx="3" cy="2"/>
              </a:xfrm>
              <a:custGeom>
                <a:avLst/>
                <a:gdLst>
                  <a:gd name="T0" fmla="*/ 0 w 3"/>
                  <a:gd name="T1" fmla="*/ 2 h 2"/>
                  <a:gd name="T2" fmla="*/ 0 w 3"/>
                  <a:gd name="T3" fmla="*/ 2 h 2"/>
                  <a:gd name="T4" fmla="*/ 1 w 3"/>
                  <a:gd name="T5" fmla="*/ 2 h 2"/>
                  <a:gd name="T6" fmla="*/ 3 w 3"/>
                  <a:gd name="T7" fmla="*/ 2 h 2"/>
                  <a:gd name="T8" fmla="*/ 3 w 3"/>
                  <a:gd name="T9" fmla="*/ 2 h 2"/>
                  <a:gd name="T10" fmla="*/ 0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0" y="2"/>
                    </a:moveTo>
                    <a:lnTo>
                      <a:pt x="0" y="2"/>
                    </a:lnTo>
                    <a:lnTo>
                      <a:pt x="1" y="2"/>
                    </a:lnTo>
                    <a:lnTo>
                      <a:pt x="3" y="2"/>
                    </a:lnTo>
                    <a:lnTo>
                      <a:pt x="3"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34" name="Freeform 2587"/>
              <p:cNvSpPr>
                <a:spLocks/>
              </p:cNvSpPr>
              <p:nvPr/>
            </p:nvSpPr>
            <p:spPr bwMode="auto">
              <a:xfrm>
                <a:off x="4639" y="2881"/>
                <a:ext cx="1" cy="1"/>
              </a:xfrm>
              <a:custGeom>
                <a:avLst/>
                <a:gdLst>
                  <a:gd name="T0" fmla="*/ 0 w 1"/>
                  <a:gd name="T1" fmla="*/ 1 h 1"/>
                  <a:gd name="T2" fmla="*/ 0 w 1"/>
                  <a:gd name="T3" fmla="*/ 1 h 1"/>
                  <a:gd name="T4" fmla="*/ 1 w 1"/>
                  <a:gd name="T5" fmla="*/ 1 h 1"/>
                  <a:gd name="T6" fmla="*/ 1 w 1"/>
                  <a:gd name="T7" fmla="*/ 1 h 1"/>
                  <a:gd name="T8" fmla="*/ 1 w 1"/>
                  <a:gd name="T9" fmla="*/ 1 h 1"/>
                  <a:gd name="T10" fmla="*/ 1 w 1"/>
                  <a:gd name="T11" fmla="*/ 0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lnTo>
                      <a:pt x="0" y="1"/>
                    </a:lnTo>
                    <a:lnTo>
                      <a:pt x="1" y="1"/>
                    </a:lnTo>
                    <a:lnTo>
                      <a:pt x="1" y="1"/>
                    </a:lnTo>
                    <a:lnTo>
                      <a:pt x="1" y="1"/>
                    </a:lnTo>
                    <a:lnTo>
                      <a:pt x="1" y="0"/>
                    </a:lnTo>
                    <a:lnTo>
                      <a:pt x="0"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35" name="Freeform 2588"/>
              <p:cNvSpPr>
                <a:spLocks/>
              </p:cNvSpPr>
              <p:nvPr/>
            </p:nvSpPr>
            <p:spPr bwMode="auto">
              <a:xfrm>
                <a:off x="4639" y="2881"/>
                <a:ext cx="1" cy="1"/>
              </a:xfrm>
              <a:custGeom>
                <a:avLst/>
                <a:gdLst>
                  <a:gd name="T0" fmla="*/ 0 w 1"/>
                  <a:gd name="T1" fmla="*/ 1 h 1"/>
                  <a:gd name="T2" fmla="*/ 0 w 1"/>
                  <a:gd name="T3" fmla="*/ 1 h 1"/>
                  <a:gd name="T4" fmla="*/ 1 w 1"/>
                  <a:gd name="T5" fmla="*/ 1 h 1"/>
                  <a:gd name="T6" fmla="*/ 1 w 1"/>
                  <a:gd name="T7" fmla="*/ 1 h 1"/>
                  <a:gd name="T8" fmla="*/ 1 w 1"/>
                  <a:gd name="T9" fmla="*/ 1 h 1"/>
                  <a:gd name="T10" fmla="*/ 1 w 1"/>
                  <a:gd name="T11" fmla="*/ 0 h 1"/>
                  <a:gd name="T12" fmla="*/ 0 w 1"/>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0" y="1"/>
                    </a:moveTo>
                    <a:lnTo>
                      <a:pt x="0" y="1"/>
                    </a:lnTo>
                    <a:lnTo>
                      <a:pt x="1" y="1"/>
                    </a:lnTo>
                    <a:lnTo>
                      <a:pt x="1" y="1"/>
                    </a:lnTo>
                    <a:lnTo>
                      <a:pt x="1" y="1"/>
                    </a:lnTo>
                    <a:lnTo>
                      <a:pt x="1" y="0"/>
                    </a:lnTo>
                    <a:lnTo>
                      <a:pt x="0"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36" name="Freeform 2589"/>
              <p:cNvSpPr>
                <a:spLocks/>
              </p:cNvSpPr>
              <p:nvPr/>
            </p:nvSpPr>
            <p:spPr bwMode="auto">
              <a:xfrm>
                <a:off x="4642" y="2879"/>
                <a:ext cx="4" cy="3"/>
              </a:xfrm>
              <a:custGeom>
                <a:avLst/>
                <a:gdLst>
                  <a:gd name="T0" fmla="*/ 0 w 4"/>
                  <a:gd name="T1" fmla="*/ 2 h 3"/>
                  <a:gd name="T2" fmla="*/ 0 w 4"/>
                  <a:gd name="T3" fmla="*/ 2 h 3"/>
                  <a:gd name="T4" fmla="*/ 0 w 4"/>
                  <a:gd name="T5" fmla="*/ 3 h 3"/>
                  <a:gd name="T6" fmla="*/ 0 w 4"/>
                  <a:gd name="T7" fmla="*/ 3 h 3"/>
                  <a:gd name="T8" fmla="*/ 4 w 4"/>
                  <a:gd name="T9" fmla="*/ 2 h 3"/>
                  <a:gd name="T10" fmla="*/ 4 w 4"/>
                  <a:gd name="T11" fmla="*/ 2 h 3"/>
                  <a:gd name="T12" fmla="*/ 4 w 4"/>
                  <a:gd name="T13" fmla="*/ 2 h 3"/>
                  <a:gd name="T14" fmla="*/ 4 w 4"/>
                  <a:gd name="T15" fmla="*/ 2 h 3"/>
                  <a:gd name="T16" fmla="*/ 2 w 4"/>
                  <a:gd name="T17" fmla="*/ 0 h 3"/>
                  <a:gd name="T18" fmla="*/ 2 w 4"/>
                  <a:gd name="T19" fmla="*/ 0 h 3"/>
                  <a:gd name="T20" fmla="*/ 0 w 4"/>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0" y="2"/>
                    </a:moveTo>
                    <a:lnTo>
                      <a:pt x="0" y="2"/>
                    </a:lnTo>
                    <a:lnTo>
                      <a:pt x="0" y="3"/>
                    </a:lnTo>
                    <a:lnTo>
                      <a:pt x="0" y="3"/>
                    </a:lnTo>
                    <a:lnTo>
                      <a:pt x="4" y="2"/>
                    </a:lnTo>
                    <a:lnTo>
                      <a:pt x="4" y="2"/>
                    </a:lnTo>
                    <a:lnTo>
                      <a:pt x="4" y="2"/>
                    </a:lnTo>
                    <a:lnTo>
                      <a:pt x="4" y="2"/>
                    </a:lnTo>
                    <a:lnTo>
                      <a:pt x="2" y="0"/>
                    </a:lnTo>
                    <a:lnTo>
                      <a:pt x="2" y="0"/>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37" name="Freeform 2590"/>
              <p:cNvSpPr>
                <a:spLocks/>
              </p:cNvSpPr>
              <p:nvPr/>
            </p:nvSpPr>
            <p:spPr bwMode="auto">
              <a:xfrm>
                <a:off x="4642" y="2879"/>
                <a:ext cx="4" cy="3"/>
              </a:xfrm>
              <a:custGeom>
                <a:avLst/>
                <a:gdLst>
                  <a:gd name="T0" fmla="*/ 0 w 4"/>
                  <a:gd name="T1" fmla="*/ 2 h 3"/>
                  <a:gd name="T2" fmla="*/ 0 w 4"/>
                  <a:gd name="T3" fmla="*/ 2 h 3"/>
                  <a:gd name="T4" fmla="*/ 0 w 4"/>
                  <a:gd name="T5" fmla="*/ 3 h 3"/>
                  <a:gd name="T6" fmla="*/ 0 w 4"/>
                  <a:gd name="T7" fmla="*/ 3 h 3"/>
                  <a:gd name="T8" fmla="*/ 4 w 4"/>
                  <a:gd name="T9" fmla="*/ 2 h 3"/>
                  <a:gd name="T10" fmla="*/ 4 w 4"/>
                  <a:gd name="T11" fmla="*/ 2 h 3"/>
                  <a:gd name="T12" fmla="*/ 4 w 4"/>
                  <a:gd name="T13" fmla="*/ 2 h 3"/>
                  <a:gd name="T14" fmla="*/ 4 w 4"/>
                  <a:gd name="T15" fmla="*/ 2 h 3"/>
                  <a:gd name="T16" fmla="*/ 2 w 4"/>
                  <a:gd name="T17" fmla="*/ 0 h 3"/>
                  <a:gd name="T18" fmla="*/ 2 w 4"/>
                  <a:gd name="T19" fmla="*/ 0 h 3"/>
                  <a:gd name="T20" fmla="*/ 0 w 4"/>
                  <a:gd name="T21"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0" y="2"/>
                    </a:moveTo>
                    <a:lnTo>
                      <a:pt x="0" y="2"/>
                    </a:lnTo>
                    <a:lnTo>
                      <a:pt x="0" y="3"/>
                    </a:lnTo>
                    <a:lnTo>
                      <a:pt x="0" y="3"/>
                    </a:lnTo>
                    <a:lnTo>
                      <a:pt x="4" y="2"/>
                    </a:lnTo>
                    <a:lnTo>
                      <a:pt x="4" y="2"/>
                    </a:lnTo>
                    <a:lnTo>
                      <a:pt x="4" y="2"/>
                    </a:lnTo>
                    <a:lnTo>
                      <a:pt x="4" y="2"/>
                    </a:lnTo>
                    <a:lnTo>
                      <a:pt x="2" y="0"/>
                    </a:lnTo>
                    <a:lnTo>
                      <a:pt x="2" y="0"/>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38" name="Freeform 2591"/>
              <p:cNvSpPr>
                <a:spLocks/>
              </p:cNvSpPr>
              <p:nvPr/>
            </p:nvSpPr>
            <p:spPr bwMode="auto">
              <a:xfrm>
                <a:off x="4649" y="2793"/>
                <a:ext cx="4" cy="6"/>
              </a:xfrm>
              <a:custGeom>
                <a:avLst/>
                <a:gdLst>
                  <a:gd name="T0" fmla="*/ 2 w 4"/>
                  <a:gd name="T1" fmla="*/ 0 h 6"/>
                  <a:gd name="T2" fmla="*/ 2 w 4"/>
                  <a:gd name="T3" fmla="*/ 0 h 6"/>
                  <a:gd name="T4" fmla="*/ 0 w 4"/>
                  <a:gd name="T5" fmla="*/ 2 h 6"/>
                  <a:gd name="T6" fmla="*/ 0 w 4"/>
                  <a:gd name="T7" fmla="*/ 4 h 6"/>
                  <a:gd name="T8" fmla="*/ 2 w 4"/>
                  <a:gd name="T9" fmla="*/ 6 h 6"/>
                  <a:gd name="T10" fmla="*/ 2 w 4"/>
                  <a:gd name="T11" fmla="*/ 6 h 6"/>
                  <a:gd name="T12" fmla="*/ 4 w 4"/>
                  <a:gd name="T13" fmla="*/ 4 h 6"/>
                  <a:gd name="T14" fmla="*/ 2 w 4"/>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2" y="0"/>
                    </a:moveTo>
                    <a:lnTo>
                      <a:pt x="2" y="0"/>
                    </a:lnTo>
                    <a:lnTo>
                      <a:pt x="0" y="2"/>
                    </a:lnTo>
                    <a:lnTo>
                      <a:pt x="0" y="4"/>
                    </a:lnTo>
                    <a:lnTo>
                      <a:pt x="2" y="6"/>
                    </a:lnTo>
                    <a:lnTo>
                      <a:pt x="2" y="6"/>
                    </a:lnTo>
                    <a:lnTo>
                      <a:pt x="4" y="4"/>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39" name="Freeform 2592"/>
              <p:cNvSpPr>
                <a:spLocks/>
              </p:cNvSpPr>
              <p:nvPr/>
            </p:nvSpPr>
            <p:spPr bwMode="auto">
              <a:xfrm>
                <a:off x="4649" y="2793"/>
                <a:ext cx="4" cy="6"/>
              </a:xfrm>
              <a:custGeom>
                <a:avLst/>
                <a:gdLst>
                  <a:gd name="T0" fmla="*/ 2 w 4"/>
                  <a:gd name="T1" fmla="*/ 0 h 6"/>
                  <a:gd name="T2" fmla="*/ 2 w 4"/>
                  <a:gd name="T3" fmla="*/ 0 h 6"/>
                  <a:gd name="T4" fmla="*/ 0 w 4"/>
                  <a:gd name="T5" fmla="*/ 2 h 6"/>
                  <a:gd name="T6" fmla="*/ 0 w 4"/>
                  <a:gd name="T7" fmla="*/ 4 h 6"/>
                  <a:gd name="T8" fmla="*/ 2 w 4"/>
                  <a:gd name="T9" fmla="*/ 6 h 6"/>
                  <a:gd name="T10" fmla="*/ 2 w 4"/>
                  <a:gd name="T11" fmla="*/ 6 h 6"/>
                  <a:gd name="T12" fmla="*/ 4 w 4"/>
                  <a:gd name="T13" fmla="*/ 4 h 6"/>
                  <a:gd name="T14" fmla="*/ 2 w 4"/>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2" y="0"/>
                    </a:moveTo>
                    <a:lnTo>
                      <a:pt x="2" y="0"/>
                    </a:lnTo>
                    <a:lnTo>
                      <a:pt x="0" y="2"/>
                    </a:lnTo>
                    <a:lnTo>
                      <a:pt x="0" y="4"/>
                    </a:lnTo>
                    <a:lnTo>
                      <a:pt x="2" y="6"/>
                    </a:lnTo>
                    <a:lnTo>
                      <a:pt x="2" y="6"/>
                    </a:lnTo>
                    <a:lnTo>
                      <a:pt x="4" y="4"/>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40" name="Freeform 2593"/>
              <p:cNvSpPr>
                <a:spLocks/>
              </p:cNvSpPr>
              <p:nvPr/>
            </p:nvSpPr>
            <p:spPr bwMode="auto">
              <a:xfrm>
                <a:off x="4649" y="2718"/>
                <a:ext cx="4" cy="2"/>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41" name="Freeform 2594"/>
              <p:cNvSpPr>
                <a:spLocks/>
              </p:cNvSpPr>
              <p:nvPr/>
            </p:nvSpPr>
            <p:spPr bwMode="auto">
              <a:xfrm>
                <a:off x="4649" y="2718"/>
                <a:ext cx="4" cy="2"/>
              </a:xfrm>
              <a:custGeom>
                <a:avLst/>
                <a:gdLst>
                  <a:gd name="T0" fmla="*/ 4 w 4"/>
                  <a:gd name="T1" fmla="*/ 0 h 2"/>
                  <a:gd name="T2" fmla="*/ 4 w 4"/>
                  <a:gd name="T3" fmla="*/ 0 h 2"/>
                  <a:gd name="T4" fmla="*/ 2 w 4"/>
                  <a:gd name="T5" fmla="*/ 0 h 2"/>
                  <a:gd name="T6" fmla="*/ 0 w 4"/>
                  <a:gd name="T7" fmla="*/ 2 h 2"/>
                  <a:gd name="T8" fmla="*/ 0 w 4"/>
                  <a:gd name="T9" fmla="*/ 2 h 2"/>
                  <a:gd name="T10" fmla="*/ 4 w 4"/>
                  <a:gd name="T11" fmla="*/ 0 h 2"/>
                </a:gdLst>
                <a:ahLst/>
                <a:cxnLst>
                  <a:cxn ang="0">
                    <a:pos x="T0" y="T1"/>
                  </a:cxn>
                  <a:cxn ang="0">
                    <a:pos x="T2" y="T3"/>
                  </a:cxn>
                  <a:cxn ang="0">
                    <a:pos x="T4" y="T5"/>
                  </a:cxn>
                  <a:cxn ang="0">
                    <a:pos x="T6" y="T7"/>
                  </a:cxn>
                  <a:cxn ang="0">
                    <a:pos x="T8" y="T9"/>
                  </a:cxn>
                  <a:cxn ang="0">
                    <a:pos x="T10" y="T11"/>
                  </a:cxn>
                </a:cxnLst>
                <a:rect l="0" t="0" r="r" b="b"/>
                <a:pathLst>
                  <a:path w="4" h="2">
                    <a:moveTo>
                      <a:pt x="4" y="0"/>
                    </a:moveTo>
                    <a:lnTo>
                      <a:pt x="4" y="0"/>
                    </a:lnTo>
                    <a:lnTo>
                      <a:pt x="2" y="0"/>
                    </a:lnTo>
                    <a:lnTo>
                      <a:pt x="0" y="2"/>
                    </a:lnTo>
                    <a:lnTo>
                      <a:pt x="0" y="2"/>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42" name="Freeform 2595"/>
              <p:cNvSpPr>
                <a:spLocks/>
              </p:cNvSpPr>
              <p:nvPr/>
            </p:nvSpPr>
            <p:spPr bwMode="auto">
              <a:xfrm>
                <a:off x="4653" y="2716"/>
                <a:ext cx="2" cy="2"/>
              </a:xfrm>
              <a:custGeom>
                <a:avLst/>
                <a:gdLst>
                  <a:gd name="T0" fmla="*/ 2 w 2"/>
                  <a:gd name="T1" fmla="*/ 2 h 2"/>
                  <a:gd name="T2" fmla="*/ 2 w 2"/>
                  <a:gd name="T3" fmla="*/ 2 h 2"/>
                  <a:gd name="T4" fmla="*/ 0 w 2"/>
                  <a:gd name="T5" fmla="*/ 0 h 2"/>
                  <a:gd name="T6" fmla="*/ 0 w 2"/>
                  <a:gd name="T7" fmla="*/ 2 h 2"/>
                  <a:gd name="T8" fmla="*/ 0 w 2"/>
                  <a:gd name="T9" fmla="*/ 2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2" y="2"/>
                    </a:lnTo>
                    <a:lnTo>
                      <a:pt x="0" y="0"/>
                    </a:lnTo>
                    <a:lnTo>
                      <a:pt x="0" y="2"/>
                    </a:lnTo>
                    <a:lnTo>
                      <a:pt x="0" y="2"/>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43" name="Freeform 2596"/>
              <p:cNvSpPr>
                <a:spLocks/>
              </p:cNvSpPr>
              <p:nvPr/>
            </p:nvSpPr>
            <p:spPr bwMode="auto">
              <a:xfrm>
                <a:off x="4653" y="2716"/>
                <a:ext cx="2" cy="2"/>
              </a:xfrm>
              <a:custGeom>
                <a:avLst/>
                <a:gdLst>
                  <a:gd name="T0" fmla="*/ 2 w 2"/>
                  <a:gd name="T1" fmla="*/ 2 h 2"/>
                  <a:gd name="T2" fmla="*/ 2 w 2"/>
                  <a:gd name="T3" fmla="*/ 2 h 2"/>
                  <a:gd name="T4" fmla="*/ 0 w 2"/>
                  <a:gd name="T5" fmla="*/ 0 h 2"/>
                  <a:gd name="T6" fmla="*/ 0 w 2"/>
                  <a:gd name="T7" fmla="*/ 2 h 2"/>
                  <a:gd name="T8" fmla="*/ 0 w 2"/>
                  <a:gd name="T9" fmla="*/ 2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2" y="2"/>
                    </a:lnTo>
                    <a:lnTo>
                      <a:pt x="0" y="0"/>
                    </a:lnTo>
                    <a:lnTo>
                      <a:pt x="0" y="2"/>
                    </a:lnTo>
                    <a:lnTo>
                      <a:pt x="0" y="2"/>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44" name="Freeform 2597"/>
              <p:cNvSpPr>
                <a:spLocks/>
              </p:cNvSpPr>
              <p:nvPr/>
            </p:nvSpPr>
            <p:spPr bwMode="auto">
              <a:xfrm>
                <a:off x="4657" y="2786"/>
                <a:ext cx="8" cy="13"/>
              </a:xfrm>
              <a:custGeom>
                <a:avLst/>
                <a:gdLst>
                  <a:gd name="T0" fmla="*/ 3 w 8"/>
                  <a:gd name="T1" fmla="*/ 13 h 13"/>
                  <a:gd name="T2" fmla="*/ 3 w 8"/>
                  <a:gd name="T3" fmla="*/ 13 h 13"/>
                  <a:gd name="T4" fmla="*/ 5 w 8"/>
                  <a:gd name="T5" fmla="*/ 11 h 13"/>
                  <a:gd name="T6" fmla="*/ 5 w 8"/>
                  <a:gd name="T7" fmla="*/ 9 h 13"/>
                  <a:gd name="T8" fmla="*/ 5 w 8"/>
                  <a:gd name="T9" fmla="*/ 9 h 13"/>
                  <a:gd name="T10" fmla="*/ 5 w 8"/>
                  <a:gd name="T11" fmla="*/ 7 h 13"/>
                  <a:gd name="T12" fmla="*/ 7 w 8"/>
                  <a:gd name="T13" fmla="*/ 5 h 13"/>
                  <a:gd name="T14" fmla="*/ 7 w 8"/>
                  <a:gd name="T15" fmla="*/ 5 h 13"/>
                  <a:gd name="T16" fmla="*/ 8 w 8"/>
                  <a:gd name="T17" fmla="*/ 2 h 13"/>
                  <a:gd name="T18" fmla="*/ 7 w 8"/>
                  <a:gd name="T19" fmla="*/ 0 h 13"/>
                  <a:gd name="T20" fmla="*/ 7 w 8"/>
                  <a:gd name="T21" fmla="*/ 0 h 13"/>
                  <a:gd name="T22" fmla="*/ 7 w 8"/>
                  <a:gd name="T23" fmla="*/ 0 h 13"/>
                  <a:gd name="T24" fmla="*/ 1 w 8"/>
                  <a:gd name="T25" fmla="*/ 2 h 13"/>
                  <a:gd name="T26" fmla="*/ 1 w 8"/>
                  <a:gd name="T27" fmla="*/ 2 h 13"/>
                  <a:gd name="T28" fmla="*/ 1 w 8"/>
                  <a:gd name="T29" fmla="*/ 4 h 13"/>
                  <a:gd name="T30" fmla="*/ 1 w 8"/>
                  <a:gd name="T31" fmla="*/ 5 h 13"/>
                  <a:gd name="T32" fmla="*/ 1 w 8"/>
                  <a:gd name="T33" fmla="*/ 5 h 13"/>
                  <a:gd name="T34" fmla="*/ 1 w 8"/>
                  <a:gd name="T35" fmla="*/ 7 h 13"/>
                  <a:gd name="T36" fmla="*/ 1 w 8"/>
                  <a:gd name="T37" fmla="*/ 7 h 13"/>
                  <a:gd name="T38" fmla="*/ 0 w 8"/>
                  <a:gd name="T39" fmla="*/ 9 h 13"/>
                  <a:gd name="T40" fmla="*/ 0 w 8"/>
                  <a:gd name="T41" fmla="*/ 11 h 13"/>
                  <a:gd name="T42" fmla="*/ 0 w 8"/>
                  <a:gd name="T43" fmla="*/ 11 h 13"/>
                  <a:gd name="T44" fmla="*/ 1 w 8"/>
                  <a:gd name="T45" fmla="*/ 13 h 13"/>
                  <a:gd name="T46" fmla="*/ 3 w 8"/>
                  <a:gd name="T47" fmla="*/ 11 h 13"/>
                  <a:gd name="T48" fmla="*/ 3 w 8"/>
                  <a:gd name="T49" fmla="*/ 11 h 13"/>
                  <a:gd name="T50" fmla="*/ 3 w 8"/>
                  <a:gd name="T5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13">
                    <a:moveTo>
                      <a:pt x="3" y="13"/>
                    </a:moveTo>
                    <a:lnTo>
                      <a:pt x="3" y="13"/>
                    </a:lnTo>
                    <a:lnTo>
                      <a:pt x="5" y="11"/>
                    </a:lnTo>
                    <a:lnTo>
                      <a:pt x="5" y="9"/>
                    </a:lnTo>
                    <a:lnTo>
                      <a:pt x="5" y="9"/>
                    </a:lnTo>
                    <a:lnTo>
                      <a:pt x="5" y="7"/>
                    </a:lnTo>
                    <a:lnTo>
                      <a:pt x="7" y="5"/>
                    </a:lnTo>
                    <a:lnTo>
                      <a:pt x="7" y="5"/>
                    </a:lnTo>
                    <a:lnTo>
                      <a:pt x="8" y="2"/>
                    </a:lnTo>
                    <a:lnTo>
                      <a:pt x="7" y="0"/>
                    </a:lnTo>
                    <a:lnTo>
                      <a:pt x="7" y="0"/>
                    </a:lnTo>
                    <a:lnTo>
                      <a:pt x="7" y="0"/>
                    </a:lnTo>
                    <a:lnTo>
                      <a:pt x="1" y="2"/>
                    </a:lnTo>
                    <a:lnTo>
                      <a:pt x="1" y="2"/>
                    </a:lnTo>
                    <a:lnTo>
                      <a:pt x="1" y="4"/>
                    </a:lnTo>
                    <a:lnTo>
                      <a:pt x="1" y="5"/>
                    </a:lnTo>
                    <a:lnTo>
                      <a:pt x="1" y="5"/>
                    </a:lnTo>
                    <a:lnTo>
                      <a:pt x="1" y="7"/>
                    </a:lnTo>
                    <a:lnTo>
                      <a:pt x="1" y="7"/>
                    </a:lnTo>
                    <a:lnTo>
                      <a:pt x="0" y="9"/>
                    </a:lnTo>
                    <a:lnTo>
                      <a:pt x="0" y="11"/>
                    </a:lnTo>
                    <a:lnTo>
                      <a:pt x="0" y="11"/>
                    </a:lnTo>
                    <a:lnTo>
                      <a:pt x="1" y="13"/>
                    </a:lnTo>
                    <a:lnTo>
                      <a:pt x="3" y="11"/>
                    </a:lnTo>
                    <a:lnTo>
                      <a:pt x="3" y="11"/>
                    </a:lnTo>
                    <a:lnTo>
                      <a:pt x="3" y="1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45" name="Freeform 2598"/>
              <p:cNvSpPr>
                <a:spLocks/>
              </p:cNvSpPr>
              <p:nvPr/>
            </p:nvSpPr>
            <p:spPr bwMode="auto">
              <a:xfrm>
                <a:off x="4657" y="2786"/>
                <a:ext cx="8" cy="13"/>
              </a:xfrm>
              <a:custGeom>
                <a:avLst/>
                <a:gdLst>
                  <a:gd name="T0" fmla="*/ 3 w 8"/>
                  <a:gd name="T1" fmla="*/ 13 h 13"/>
                  <a:gd name="T2" fmla="*/ 3 w 8"/>
                  <a:gd name="T3" fmla="*/ 13 h 13"/>
                  <a:gd name="T4" fmla="*/ 5 w 8"/>
                  <a:gd name="T5" fmla="*/ 11 h 13"/>
                  <a:gd name="T6" fmla="*/ 5 w 8"/>
                  <a:gd name="T7" fmla="*/ 9 h 13"/>
                  <a:gd name="T8" fmla="*/ 5 w 8"/>
                  <a:gd name="T9" fmla="*/ 9 h 13"/>
                  <a:gd name="T10" fmla="*/ 5 w 8"/>
                  <a:gd name="T11" fmla="*/ 7 h 13"/>
                  <a:gd name="T12" fmla="*/ 7 w 8"/>
                  <a:gd name="T13" fmla="*/ 5 h 13"/>
                  <a:gd name="T14" fmla="*/ 7 w 8"/>
                  <a:gd name="T15" fmla="*/ 5 h 13"/>
                  <a:gd name="T16" fmla="*/ 8 w 8"/>
                  <a:gd name="T17" fmla="*/ 2 h 13"/>
                  <a:gd name="T18" fmla="*/ 7 w 8"/>
                  <a:gd name="T19" fmla="*/ 0 h 13"/>
                  <a:gd name="T20" fmla="*/ 7 w 8"/>
                  <a:gd name="T21" fmla="*/ 0 h 13"/>
                  <a:gd name="T22" fmla="*/ 7 w 8"/>
                  <a:gd name="T23" fmla="*/ 0 h 13"/>
                  <a:gd name="T24" fmla="*/ 1 w 8"/>
                  <a:gd name="T25" fmla="*/ 2 h 13"/>
                  <a:gd name="T26" fmla="*/ 1 w 8"/>
                  <a:gd name="T27" fmla="*/ 2 h 13"/>
                  <a:gd name="T28" fmla="*/ 1 w 8"/>
                  <a:gd name="T29" fmla="*/ 4 h 13"/>
                  <a:gd name="T30" fmla="*/ 1 w 8"/>
                  <a:gd name="T31" fmla="*/ 5 h 13"/>
                  <a:gd name="T32" fmla="*/ 1 w 8"/>
                  <a:gd name="T33" fmla="*/ 5 h 13"/>
                  <a:gd name="T34" fmla="*/ 1 w 8"/>
                  <a:gd name="T35" fmla="*/ 7 h 13"/>
                  <a:gd name="T36" fmla="*/ 1 w 8"/>
                  <a:gd name="T37" fmla="*/ 7 h 13"/>
                  <a:gd name="T38" fmla="*/ 0 w 8"/>
                  <a:gd name="T39" fmla="*/ 9 h 13"/>
                  <a:gd name="T40" fmla="*/ 0 w 8"/>
                  <a:gd name="T41" fmla="*/ 11 h 13"/>
                  <a:gd name="T42" fmla="*/ 0 w 8"/>
                  <a:gd name="T43" fmla="*/ 11 h 13"/>
                  <a:gd name="T44" fmla="*/ 1 w 8"/>
                  <a:gd name="T45" fmla="*/ 13 h 13"/>
                  <a:gd name="T46" fmla="*/ 3 w 8"/>
                  <a:gd name="T47" fmla="*/ 11 h 13"/>
                  <a:gd name="T48" fmla="*/ 3 w 8"/>
                  <a:gd name="T49" fmla="*/ 11 h 13"/>
                  <a:gd name="T50" fmla="*/ 3 w 8"/>
                  <a:gd name="T5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 h="13">
                    <a:moveTo>
                      <a:pt x="3" y="13"/>
                    </a:moveTo>
                    <a:lnTo>
                      <a:pt x="3" y="13"/>
                    </a:lnTo>
                    <a:lnTo>
                      <a:pt x="5" y="11"/>
                    </a:lnTo>
                    <a:lnTo>
                      <a:pt x="5" y="9"/>
                    </a:lnTo>
                    <a:lnTo>
                      <a:pt x="5" y="9"/>
                    </a:lnTo>
                    <a:lnTo>
                      <a:pt x="5" y="7"/>
                    </a:lnTo>
                    <a:lnTo>
                      <a:pt x="7" y="5"/>
                    </a:lnTo>
                    <a:lnTo>
                      <a:pt x="7" y="5"/>
                    </a:lnTo>
                    <a:lnTo>
                      <a:pt x="8" y="2"/>
                    </a:lnTo>
                    <a:lnTo>
                      <a:pt x="7" y="0"/>
                    </a:lnTo>
                    <a:lnTo>
                      <a:pt x="7" y="0"/>
                    </a:lnTo>
                    <a:lnTo>
                      <a:pt x="7" y="0"/>
                    </a:lnTo>
                    <a:lnTo>
                      <a:pt x="1" y="2"/>
                    </a:lnTo>
                    <a:lnTo>
                      <a:pt x="1" y="2"/>
                    </a:lnTo>
                    <a:lnTo>
                      <a:pt x="1" y="4"/>
                    </a:lnTo>
                    <a:lnTo>
                      <a:pt x="1" y="5"/>
                    </a:lnTo>
                    <a:lnTo>
                      <a:pt x="1" y="5"/>
                    </a:lnTo>
                    <a:lnTo>
                      <a:pt x="1" y="7"/>
                    </a:lnTo>
                    <a:lnTo>
                      <a:pt x="1" y="7"/>
                    </a:lnTo>
                    <a:lnTo>
                      <a:pt x="0" y="9"/>
                    </a:lnTo>
                    <a:lnTo>
                      <a:pt x="0" y="11"/>
                    </a:lnTo>
                    <a:lnTo>
                      <a:pt x="0" y="11"/>
                    </a:lnTo>
                    <a:lnTo>
                      <a:pt x="1" y="13"/>
                    </a:lnTo>
                    <a:lnTo>
                      <a:pt x="3" y="11"/>
                    </a:lnTo>
                    <a:lnTo>
                      <a:pt x="3" y="11"/>
                    </a:lnTo>
                    <a:lnTo>
                      <a:pt x="3" y="1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46" name="Freeform 2599"/>
              <p:cNvSpPr>
                <a:spLocks/>
              </p:cNvSpPr>
              <p:nvPr/>
            </p:nvSpPr>
            <p:spPr bwMode="auto">
              <a:xfrm>
                <a:off x="4660" y="2881"/>
                <a:ext cx="9" cy="7"/>
              </a:xfrm>
              <a:custGeom>
                <a:avLst/>
                <a:gdLst>
                  <a:gd name="T0" fmla="*/ 0 w 9"/>
                  <a:gd name="T1" fmla="*/ 3 h 7"/>
                  <a:gd name="T2" fmla="*/ 0 w 9"/>
                  <a:gd name="T3" fmla="*/ 3 h 7"/>
                  <a:gd name="T4" fmla="*/ 0 w 9"/>
                  <a:gd name="T5" fmla="*/ 7 h 7"/>
                  <a:gd name="T6" fmla="*/ 0 w 9"/>
                  <a:gd name="T7" fmla="*/ 7 h 7"/>
                  <a:gd name="T8" fmla="*/ 9 w 9"/>
                  <a:gd name="T9" fmla="*/ 1 h 7"/>
                  <a:gd name="T10" fmla="*/ 9 w 9"/>
                  <a:gd name="T11" fmla="*/ 1 h 7"/>
                  <a:gd name="T12" fmla="*/ 7 w 9"/>
                  <a:gd name="T13" fmla="*/ 0 h 7"/>
                  <a:gd name="T14" fmla="*/ 7 w 9"/>
                  <a:gd name="T15" fmla="*/ 0 h 7"/>
                  <a:gd name="T16" fmla="*/ 0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0" y="3"/>
                    </a:moveTo>
                    <a:lnTo>
                      <a:pt x="0" y="3"/>
                    </a:lnTo>
                    <a:lnTo>
                      <a:pt x="0" y="7"/>
                    </a:lnTo>
                    <a:lnTo>
                      <a:pt x="0" y="7"/>
                    </a:lnTo>
                    <a:lnTo>
                      <a:pt x="9" y="1"/>
                    </a:lnTo>
                    <a:lnTo>
                      <a:pt x="9" y="1"/>
                    </a:lnTo>
                    <a:lnTo>
                      <a:pt x="7" y="0"/>
                    </a:lnTo>
                    <a:lnTo>
                      <a:pt x="7" y="0"/>
                    </a:lnTo>
                    <a:lnTo>
                      <a:pt x="0"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47" name="Freeform 2600"/>
              <p:cNvSpPr>
                <a:spLocks/>
              </p:cNvSpPr>
              <p:nvPr/>
            </p:nvSpPr>
            <p:spPr bwMode="auto">
              <a:xfrm>
                <a:off x="4660" y="2881"/>
                <a:ext cx="9" cy="7"/>
              </a:xfrm>
              <a:custGeom>
                <a:avLst/>
                <a:gdLst>
                  <a:gd name="T0" fmla="*/ 0 w 9"/>
                  <a:gd name="T1" fmla="*/ 3 h 7"/>
                  <a:gd name="T2" fmla="*/ 0 w 9"/>
                  <a:gd name="T3" fmla="*/ 3 h 7"/>
                  <a:gd name="T4" fmla="*/ 0 w 9"/>
                  <a:gd name="T5" fmla="*/ 7 h 7"/>
                  <a:gd name="T6" fmla="*/ 0 w 9"/>
                  <a:gd name="T7" fmla="*/ 7 h 7"/>
                  <a:gd name="T8" fmla="*/ 9 w 9"/>
                  <a:gd name="T9" fmla="*/ 1 h 7"/>
                  <a:gd name="T10" fmla="*/ 9 w 9"/>
                  <a:gd name="T11" fmla="*/ 1 h 7"/>
                  <a:gd name="T12" fmla="*/ 7 w 9"/>
                  <a:gd name="T13" fmla="*/ 0 h 7"/>
                  <a:gd name="T14" fmla="*/ 7 w 9"/>
                  <a:gd name="T15" fmla="*/ 0 h 7"/>
                  <a:gd name="T16" fmla="*/ 0 w 9"/>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7">
                    <a:moveTo>
                      <a:pt x="0" y="3"/>
                    </a:moveTo>
                    <a:lnTo>
                      <a:pt x="0" y="3"/>
                    </a:lnTo>
                    <a:lnTo>
                      <a:pt x="0" y="7"/>
                    </a:lnTo>
                    <a:lnTo>
                      <a:pt x="0" y="7"/>
                    </a:lnTo>
                    <a:lnTo>
                      <a:pt x="9" y="1"/>
                    </a:lnTo>
                    <a:lnTo>
                      <a:pt x="9" y="1"/>
                    </a:lnTo>
                    <a:lnTo>
                      <a:pt x="7" y="0"/>
                    </a:lnTo>
                    <a:lnTo>
                      <a:pt x="7" y="0"/>
                    </a:lnTo>
                    <a:lnTo>
                      <a:pt x="0"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48" name="Freeform 2601"/>
              <p:cNvSpPr>
                <a:spLocks/>
              </p:cNvSpPr>
              <p:nvPr/>
            </p:nvSpPr>
            <p:spPr bwMode="auto">
              <a:xfrm>
                <a:off x="4662" y="2782"/>
                <a:ext cx="11" cy="20"/>
              </a:xfrm>
              <a:custGeom>
                <a:avLst/>
                <a:gdLst>
                  <a:gd name="T0" fmla="*/ 9 w 11"/>
                  <a:gd name="T1" fmla="*/ 0 h 20"/>
                  <a:gd name="T2" fmla="*/ 9 w 11"/>
                  <a:gd name="T3" fmla="*/ 0 h 20"/>
                  <a:gd name="T4" fmla="*/ 5 w 11"/>
                  <a:gd name="T5" fmla="*/ 2 h 20"/>
                  <a:gd name="T6" fmla="*/ 3 w 11"/>
                  <a:gd name="T7" fmla="*/ 4 h 20"/>
                  <a:gd name="T8" fmla="*/ 3 w 11"/>
                  <a:gd name="T9" fmla="*/ 11 h 20"/>
                  <a:gd name="T10" fmla="*/ 3 w 11"/>
                  <a:gd name="T11" fmla="*/ 11 h 20"/>
                  <a:gd name="T12" fmla="*/ 2 w 11"/>
                  <a:gd name="T13" fmla="*/ 13 h 20"/>
                  <a:gd name="T14" fmla="*/ 0 w 11"/>
                  <a:gd name="T15" fmla="*/ 17 h 20"/>
                  <a:gd name="T16" fmla="*/ 0 w 11"/>
                  <a:gd name="T17" fmla="*/ 17 h 20"/>
                  <a:gd name="T18" fmla="*/ 0 w 11"/>
                  <a:gd name="T19" fmla="*/ 18 h 20"/>
                  <a:gd name="T20" fmla="*/ 0 w 11"/>
                  <a:gd name="T21" fmla="*/ 20 h 20"/>
                  <a:gd name="T22" fmla="*/ 3 w 11"/>
                  <a:gd name="T23" fmla="*/ 20 h 20"/>
                  <a:gd name="T24" fmla="*/ 3 w 11"/>
                  <a:gd name="T25" fmla="*/ 20 h 20"/>
                  <a:gd name="T26" fmla="*/ 5 w 11"/>
                  <a:gd name="T27" fmla="*/ 17 h 20"/>
                  <a:gd name="T28" fmla="*/ 5 w 11"/>
                  <a:gd name="T29" fmla="*/ 17 h 20"/>
                  <a:gd name="T30" fmla="*/ 9 w 11"/>
                  <a:gd name="T31" fmla="*/ 15 h 20"/>
                  <a:gd name="T32" fmla="*/ 9 w 11"/>
                  <a:gd name="T33" fmla="*/ 15 h 20"/>
                  <a:gd name="T34" fmla="*/ 9 w 11"/>
                  <a:gd name="T35" fmla="*/ 15 h 20"/>
                  <a:gd name="T36" fmla="*/ 9 w 11"/>
                  <a:gd name="T37" fmla="*/ 13 h 20"/>
                  <a:gd name="T38" fmla="*/ 7 w 11"/>
                  <a:gd name="T39" fmla="*/ 13 h 20"/>
                  <a:gd name="T40" fmla="*/ 5 w 11"/>
                  <a:gd name="T41" fmla="*/ 13 h 20"/>
                  <a:gd name="T42" fmla="*/ 5 w 11"/>
                  <a:gd name="T43" fmla="*/ 13 h 20"/>
                  <a:gd name="T44" fmla="*/ 7 w 11"/>
                  <a:gd name="T45" fmla="*/ 8 h 20"/>
                  <a:gd name="T46" fmla="*/ 7 w 11"/>
                  <a:gd name="T47" fmla="*/ 8 h 20"/>
                  <a:gd name="T48" fmla="*/ 9 w 11"/>
                  <a:gd name="T49" fmla="*/ 6 h 20"/>
                  <a:gd name="T50" fmla="*/ 9 w 11"/>
                  <a:gd name="T51" fmla="*/ 6 h 20"/>
                  <a:gd name="T52" fmla="*/ 9 w 11"/>
                  <a:gd name="T53" fmla="*/ 6 h 20"/>
                  <a:gd name="T54" fmla="*/ 9 w 11"/>
                  <a:gd name="T55" fmla="*/ 6 h 20"/>
                  <a:gd name="T56" fmla="*/ 11 w 11"/>
                  <a:gd name="T57" fmla="*/ 4 h 20"/>
                  <a:gd name="T58" fmla="*/ 9 w 11"/>
                  <a:gd name="T59" fmla="*/ 4 h 20"/>
                  <a:gd name="T60" fmla="*/ 9 w 11"/>
                  <a:gd name="T6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 h="20">
                    <a:moveTo>
                      <a:pt x="9" y="0"/>
                    </a:moveTo>
                    <a:lnTo>
                      <a:pt x="9" y="0"/>
                    </a:lnTo>
                    <a:lnTo>
                      <a:pt x="5" y="2"/>
                    </a:lnTo>
                    <a:lnTo>
                      <a:pt x="3" y="4"/>
                    </a:lnTo>
                    <a:lnTo>
                      <a:pt x="3" y="11"/>
                    </a:lnTo>
                    <a:lnTo>
                      <a:pt x="3" y="11"/>
                    </a:lnTo>
                    <a:lnTo>
                      <a:pt x="2" y="13"/>
                    </a:lnTo>
                    <a:lnTo>
                      <a:pt x="0" y="17"/>
                    </a:lnTo>
                    <a:lnTo>
                      <a:pt x="0" y="17"/>
                    </a:lnTo>
                    <a:lnTo>
                      <a:pt x="0" y="18"/>
                    </a:lnTo>
                    <a:lnTo>
                      <a:pt x="0" y="20"/>
                    </a:lnTo>
                    <a:lnTo>
                      <a:pt x="3" y="20"/>
                    </a:lnTo>
                    <a:lnTo>
                      <a:pt x="3" y="20"/>
                    </a:lnTo>
                    <a:lnTo>
                      <a:pt x="5" y="17"/>
                    </a:lnTo>
                    <a:lnTo>
                      <a:pt x="5" y="17"/>
                    </a:lnTo>
                    <a:lnTo>
                      <a:pt x="9" y="15"/>
                    </a:lnTo>
                    <a:lnTo>
                      <a:pt x="9" y="15"/>
                    </a:lnTo>
                    <a:lnTo>
                      <a:pt x="9" y="15"/>
                    </a:lnTo>
                    <a:lnTo>
                      <a:pt x="9" y="13"/>
                    </a:lnTo>
                    <a:lnTo>
                      <a:pt x="7" y="13"/>
                    </a:lnTo>
                    <a:lnTo>
                      <a:pt x="5" y="13"/>
                    </a:lnTo>
                    <a:lnTo>
                      <a:pt x="5" y="13"/>
                    </a:lnTo>
                    <a:lnTo>
                      <a:pt x="7" y="8"/>
                    </a:lnTo>
                    <a:lnTo>
                      <a:pt x="7" y="8"/>
                    </a:lnTo>
                    <a:lnTo>
                      <a:pt x="9" y="6"/>
                    </a:lnTo>
                    <a:lnTo>
                      <a:pt x="9" y="6"/>
                    </a:lnTo>
                    <a:lnTo>
                      <a:pt x="9" y="6"/>
                    </a:lnTo>
                    <a:lnTo>
                      <a:pt x="9" y="6"/>
                    </a:lnTo>
                    <a:lnTo>
                      <a:pt x="11" y="4"/>
                    </a:lnTo>
                    <a:lnTo>
                      <a:pt x="9" y="4"/>
                    </a:lnTo>
                    <a:lnTo>
                      <a:pt x="9"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49" name="Freeform 2602"/>
              <p:cNvSpPr>
                <a:spLocks/>
              </p:cNvSpPr>
              <p:nvPr/>
            </p:nvSpPr>
            <p:spPr bwMode="auto">
              <a:xfrm>
                <a:off x="4662" y="2782"/>
                <a:ext cx="11" cy="20"/>
              </a:xfrm>
              <a:custGeom>
                <a:avLst/>
                <a:gdLst>
                  <a:gd name="T0" fmla="*/ 9 w 11"/>
                  <a:gd name="T1" fmla="*/ 0 h 20"/>
                  <a:gd name="T2" fmla="*/ 9 w 11"/>
                  <a:gd name="T3" fmla="*/ 0 h 20"/>
                  <a:gd name="T4" fmla="*/ 5 w 11"/>
                  <a:gd name="T5" fmla="*/ 2 h 20"/>
                  <a:gd name="T6" fmla="*/ 3 w 11"/>
                  <a:gd name="T7" fmla="*/ 4 h 20"/>
                  <a:gd name="T8" fmla="*/ 3 w 11"/>
                  <a:gd name="T9" fmla="*/ 11 h 20"/>
                  <a:gd name="T10" fmla="*/ 3 w 11"/>
                  <a:gd name="T11" fmla="*/ 11 h 20"/>
                  <a:gd name="T12" fmla="*/ 2 w 11"/>
                  <a:gd name="T13" fmla="*/ 13 h 20"/>
                  <a:gd name="T14" fmla="*/ 0 w 11"/>
                  <a:gd name="T15" fmla="*/ 17 h 20"/>
                  <a:gd name="T16" fmla="*/ 0 w 11"/>
                  <a:gd name="T17" fmla="*/ 17 h 20"/>
                  <a:gd name="T18" fmla="*/ 0 w 11"/>
                  <a:gd name="T19" fmla="*/ 18 h 20"/>
                  <a:gd name="T20" fmla="*/ 0 w 11"/>
                  <a:gd name="T21" fmla="*/ 20 h 20"/>
                  <a:gd name="T22" fmla="*/ 3 w 11"/>
                  <a:gd name="T23" fmla="*/ 20 h 20"/>
                  <a:gd name="T24" fmla="*/ 3 w 11"/>
                  <a:gd name="T25" fmla="*/ 20 h 20"/>
                  <a:gd name="T26" fmla="*/ 5 w 11"/>
                  <a:gd name="T27" fmla="*/ 17 h 20"/>
                  <a:gd name="T28" fmla="*/ 5 w 11"/>
                  <a:gd name="T29" fmla="*/ 17 h 20"/>
                  <a:gd name="T30" fmla="*/ 9 w 11"/>
                  <a:gd name="T31" fmla="*/ 15 h 20"/>
                  <a:gd name="T32" fmla="*/ 9 w 11"/>
                  <a:gd name="T33" fmla="*/ 15 h 20"/>
                  <a:gd name="T34" fmla="*/ 9 w 11"/>
                  <a:gd name="T35" fmla="*/ 15 h 20"/>
                  <a:gd name="T36" fmla="*/ 9 w 11"/>
                  <a:gd name="T37" fmla="*/ 13 h 20"/>
                  <a:gd name="T38" fmla="*/ 7 w 11"/>
                  <a:gd name="T39" fmla="*/ 13 h 20"/>
                  <a:gd name="T40" fmla="*/ 5 w 11"/>
                  <a:gd name="T41" fmla="*/ 13 h 20"/>
                  <a:gd name="T42" fmla="*/ 5 w 11"/>
                  <a:gd name="T43" fmla="*/ 13 h 20"/>
                  <a:gd name="T44" fmla="*/ 7 w 11"/>
                  <a:gd name="T45" fmla="*/ 8 h 20"/>
                  <a:gd name="T46" fmla="*/ 7 w 11"/>
                  <a:gd name="T47" fmla="*/ 8 h 20"/>
                  <a:gd name="T48" fmla="*/ 9 w 11"/>
                  <a:gd name="T49" fmla="*/ 6 h 20"/>
                  <a:gd name="T50" fmla="*/ 9 w 11"/>
                  <a:gd name="T51" fmla="*/ 6 h 20"/>
                  <a:gd name="T52" fmla="*/ 9 w 11"/>
                  <a:gd name="T53" fmla="*/ 6 h 20"/>
                  <a:gd name="T54" fmla="*/ 9 w 11"/>
                  <a:gd name="T55" fmla="*/ 6 h 20"/>
                  <a:gd name="T56" fmla="*/ 11 w 11"/>
                  <a:gd name="T57" fmla="*/ 4 h 20"/>
                  <a:gd name="T58" fmla="*/ 9 w 11"/>
                  <a:gd name="T59" fmla="*/ 4 h 20"/>
                  <a:gd name="T60" fmla="*/ 9 w 11"/>
                  <a:gd name="T6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 h="20">
                    <a:moveTo>
                      <a:pt x="9" y="0"/>
                    </a:moveTo>
                    <a:lnTo>
                      <a:pt x="9" y="0"/>
                    </a:lnTo>
                    <a:lnTo>
                      <a:pt x="5" y="2"/>
                    </a:lnTo>
                    <a:lnTo>
                      <a:pt x="3" y="4"/>
                    </a:lnTo>
                    <a:lnTo>
                      <a:pt x="3" y="11"/>
                    </a:lnTo>
                    <a:lnTo>
                      <a:pt x="3" y="11"/>
                    </a:lnTo>
                    <a:lnTo>
                      <a:pt x="2" y="13"/>
                    </a:lnTo>
                    <a:lnTo>
                      <a:pt x="0" y="17"/>
                    </a:lnTo>
                    <a:lnTo>
                      <a:pt x="0" y="17"/>
                    </a:lnTo>
                    <a:lnTo>
                      <a:pt x="0" y="18"/>
                    </a:lnTo>
                    <a:lnTo>
                      <a:pt x="0" y="20"/>
                    </a:lnTo>
                    <a:lnTo>
                      <a:pt x="3" y="20"/>
                    </a:lnTo>
                    <a:lnTo>
                      <a:pt x="3" y="20"/>
                    </a:lnTo>
                    <a:lnTo>
                      <a:pt x="5" y="17"/>
                    </a:lnTo>
                    <a:lnTo>
                      <a:pt x="5" y="17"/>
                    </a:lnTo>
                    <a:lnTo>
                      <a:pt x="9" y="15"/>
                    </a:lnTo>
                    <a:lnTo>
                      <a:pt x="9" y="15"/>
                    </a:lnTo>
                    <a:lnTo>
                      <a:pt x="9" y="15"/>
                    </a:lnTo>
                    <a:lnTo>
                      <a:pt x="9" y="13"/>
                    </a:lnTo>
                    <a:lnTo>
                      <a:pt x="7" y="13"/>
                    </a:lnTo>
                    <a:lnTo>
                      <a:pt x="5" y="13"/>
                    </a:lnTo>
                    <a:lnTo>
                      <a:pt x="5" y="13"/>
                    </a:lnTo>
                    <a:lnTo>
                      <a:pt x="7" y="8"/>
                    </a:lnTo>
                    <a:lnTo>
                      <a:pt x="7" y="8"/>
                    </a:lnTo>
                    <a:lnTo>
                      <a:pt x="9" y="6"/>
                    </a:lnTo>
                    <a:lnTo>
                      <a:pt x="9" y="6"/>
                    </a:lnTo>
                    <a:lnTo>
                      <a:pt x="9" y="6"/>
                    </a:lnTo>
                    <a:lnTo>
                      <a:pt x="9" y="6"/>
                    </a:lnTo>
                    <a:lnTo>
                      <a:pt x="11" y="4"/>
                    </a:lnTo>
                    <a:lnTo>
                      <a:pt x="9" y="4"/>
                    </a:lnTo>
                    <a:lnTo>
                      <a:pt x="9"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50" name="Freeform 2603"/>
              <p:cNvSpPr>
                <a:spLocks/>
              </p:cNvSpPr>
              <p:nvPr/>
            </p:nvSpPr>
            <p:spPr bwMode="auto">
              <a:xfrm>
                <a:off x="4664" y="2847"/>
                <a:ext cx="3" cy="3"/>
              </a:xfrm>
              <a:custGeom>
                <a:avLst/>
                <a:gdLst>
                  <a:gd name="T0" fmla="*/ 0 w 3"/>
                  <a:gd name="T1" fmla="*/ 2 h 3"/>
                  <a:gd name="T2" fmla="*/ 0 w 3"/>
                  <a:gd name="T3" fmla="*/ 2 h 3"/>
                  <a:gd name="T4" fmla="*/ 0 w 3"/>
                  <a:gd name="T5" fmla="*/ 3 h 3"/>
                  <a:gd name="T6" fmla="*/ 0 w 3"/>
                  <a:gd name="T7" fmla="*/ 3 h 3"/>
                  <a:gd name="T8" fmla="*/ 3 w 3"/>
                  <a:gd name="T9" fmla="*/ 0 h 3"/>
                  <a:gd name="T10" fmla="*/ 3 w 3"/>
                  <a:gd name="T11" fmla="*/ 0 h 3"/>
                  <a:gd name="T12" fmla="*/ 0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2"/>
                    </a:moveTo>
                    <a:lnTo>
                      <a:pt x="0" y="2"/>
                    </a:lnTo>
                    <a:lnTo>
                      <a:pt x="0" y="3"/>
                    </a:lnTo>
                    <a:lnTo>
                      <a:pt x="0" y="3"/>
                    </a:lnTo>
                    <a:lnTo>
                      <a:pt x="3" y="0"/>
                    </a:lnTo>
                    <a:lnTo>
                      <a:pt x="3" y="0"/>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51" name="Freeform 2604"/>
              <p:cNvSpPr>
                <a:spLocks/>
              </p:cNvSpPr>
              <p:nvPr/>
            </p:nvSpPr>
            <p:spPr bwMode="auto">
              <a:xfrm>
                <a:off x="4664" y="2847"/>
                <a:ext cx="3" cy="3"/>
              </a:xfrm>
              <a:custGeom>
                <a:avLst/>
                <a:gdLst>
                  <a:gd name="T0" fmla="*/ 0 w 3"/>
                  <a:gd name="T1" fmla="*/ 2 h 3"/>
                  <a:gd name="T2" fmla="*/ 0 w 3"/>
                  <a:gd name="T3" fmla="*/ 2 h 3"/>
                  <a:gd name="T4" fmla="*/ 0 w 3"/>
                  <a:gd name="T5" fmla="*/ 3 h 3"/>
                  <a:gd name="T6" fmla="*/ 0 w 3"/>
                  <a:gd name="T7" fmla="*/ 3 h 3"/>
                  <a:gd name="T8" fmla="*/ 3 w 3"/>
                  <a:gd name="T9" fmla="*/ 0 h 3"/>
                  <a:gd name="T10" fmla="*/ 3 w 3"/>
                  <a:gd name="T11" fmla="*/ 0 h 3"/>
                  <a:gd name="T12" fmla="*/ 0 w 3"/>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2"/>
                    </a:moveTo>
                    <a:lnTo>
                      <a:pt x="0" y="2"/>
                    </a:lnTo>
                    <a:lnTo>
                      <a:pt x="0" y="3"/>
                    </a:lnTo>
                    <a:lnTo>
                      <a:pt x="0" y="3"/>
                    </a:lnTo>
                    <a:lnTo>
                      <a:pt x="3" y="0"/>
                    </a:lnTo>
                    <a:lnTo>
                      <a:pt x="3" y="0"/>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52" name="Freeform 2605"/>
              <p:cNvSpPr>
                <a:spLocks/>
              </p:cNvSpPr>
              <p:nvPr/>
            </p:nvSpPr>
            <p:spPr bwMode="auto">
              <a:xfrm>
                <a:off x="4665" y="2843"/>
                <a:ext cx="6" cy="4"/>
              </a:xfrm>
              <a:custGeom>
                <a:avLst/>
                <a:gdLst>
                  <a:gd name="T0" fmla="*/ 2 w 6"/>
                  <a:gd name="T1" fmla="*/ 2 h 4"/>
                  <a:gd name="T2" fmla="*/ 2 w 6"/>
                  <a:gd name="T3" fmla="*/ 2 h 4"/>
                  <a:gd name="T4" fmla="*/ 0 w 6"/>
                  <a:gd name="T5" fmla="*/ 4 h 4"/>
                  <a:gd name="T6" fmla="*/ 0 w 6"/>
                  <a:gd name="T7" fmla="*/ 4 h 4"/>
                  <a:gd name="T8" fmla="*/ 4 w 6"/>
                  <a:gd name="T9" fmla="*/ 4 h 4"/>
                  <a:gd name="T10" fmla="*/ 6 w 6"/>
                  <a:gd name="T11" fmla="*/ 2 h 4"/>
                  <a:gd name="T12" fmla="*/ 6 w 6"/>
                  <a:gd name="T13" fmla="*/ 2 h 4"/>
                  <a:gd name="T14" fmla="*/ 6 w 6"/>
                  <a:gd name="T15" fmla="*/ 2 h 4"/>
                  <a:gd name="T16" fmla="*/ 4 w 6"/>
                  <a:gd name="T17" fmla="*/ 0 h 4"/>
                  <a:gd name="T18" fmla="*/ 2 w 6"/>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2" y="2"/>
                    </a:moveTo>
                    <a:lnTo>
                      <a:pt x="2" y="2"/>
                    </a:lnTo>
                    <a:lnTo>
                      <a:pt x="0" y="4"/>
                    </a:lnTo>
                    <a:lnTo>
                      <a:pt x="0" y="4"/>
                    </a:lnTo>
                    <a:lnTo>
                      <a:pt x="4" y="4"/>
                    </a:lnTo>
                    <a:lnTo>
                      <a:pt x="6" y="2"/>
                    </a:lnTo>
                    <a:lnTo>
                      <a:pt x="6" y="2"/>
                    </a:lnTo>
                    <a:lnTo>
                      <a:pt x="6" y="2"/>
                    </a:lnTo>
                    <a:lnTo>
                      <a:pt x="4" y="0"/>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53" name="Freeform 2606"/>
              <p:cNvSpPr>
                <a:spLocks/>
              </p:cNvSpPr>
              <p:nvPr/>
            </p:nvSpPr>
            <p:spPr bwMode="auto">
              <a:xfrm>
                <a:off x="4665" y="2843"/>
                <a:ext cx="6" cy="4"/>
              </a:xfrm>
              <a:custGeom>
                <a:avLst/>
                <a:gdLst>
                  <a:gd name="T0" fmla="*/ 2 w 6"/>
                  <a:gd name="T1" fmla="*/ 2 h 4"/>
                  <a:gd name="T2" fmla="*/ 2 w 6"/>
                  <a:gd name="T3" fmla="*/ 2 h 4"/>
                  <a:gd name="T4" fmla="*/ 0 w 6"/>
                  <a:gd name="T5" fmla="*/ 4 h 4"/>
                  <a:gd name="T6" fmla="*/ 0 w 6"/>
                  <a:gd name="T7" fmla="*/ 4 h 4"/>
                  <a:gd name="T8" fmla="*/ 4 w 6"/>
                  <a:gd name="T9" fmla="*/ 4 h 4"/>
                  <a:gd name="T10" fmla="*/ 6 w 6"/>
                  <a:gd name="T11" fmla="*/ 2 h 4"/>
                  <a:gd name="T12" fmla="*/ 6 w 6"/>
                  <a:gd name="T13" fmla="*/ 2 h 4"/>
                  <a:gd name="T14" fmla="*/ 6 w 6"/>
                  <a:gd name="T15" fmla="*/ 2 h 4"/>
                  <a:gd name="T16" fmla="*/ 4 w 6"/>
                  <a:gd name="T17" fmla="*/ 0 h 4"/>
                  <a:gd name="T18" fmla="*/ 2 w 6"/>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4">
                    <a:moveTo>
                      <a:pt x="2" y="2"/>
                    </a:moveTo>
                    <a:lnTo>
                      <a:pt x="2" y="2"/>
                    </a:lnTo>
                    <a:lnTo>
                      <a:pt x="0" y="4"/>
                    </a:lnTo>
                    <a:lnTo>
                      <a:pt x="0" y="4"/>
                    </a:lnTo>
                    <a:lnTo>
                      <a:pt x="4" y="4"/>
                    </a:lnTo>
                    <a:lnTo>
                      <a:pt x="6" y="2"/>
                    </a:lnTo>
                    <a:lnTo>
                      <a:pt x="6" y="2"/>
                    </a:lnTo>
                    <a:lnTo>
                      <a:pt x="6" y="2"/>
                    </a:lnTo>
                    <a:lnTo>
                      <a:pt x="4" y="0"/>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54" name="Freeform 2607"/>
              <p:cNvSpPr>
                <a:spLocks/>
              </p:cNvSpPr>
              <p:nvPr/>
            </p:nvSpPr>
            <p:spPr bwMode="auto">
              <a:xfrm>
                <a:off x="4667" y="2875"/>
                <a:ext cx="2" cy="2"/>
              </a:xfrm>
              <a:custGeom>
                <a:avLst/>
                <a:gdLst>
                  <a:gd name="T0" fmla="*/ 2 w 2"/>
                  <a:gd name="T1" fmla="*/ 0 h 2"/>
                  <a:gd name="T2" fmla="*/ 2 w 2"/>
                  <a:gd name="T3" fmla="*/ 0 h 2"/>
                  <a:gd name="T4" fmla="*/ 0 w 2"/>
                  <a:gd name="T5" fmla="*/ 2 h 2"/>
                  <a:gd name="T6" fmla="*/ 0 w 2"/>
                  <a:gd name="T7" fmla="*/ 2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0" y="2"/>
                    </a:lnTo>
                    <a:lnTo>
                      <a:pt x="0" y="2"/>
                    </a:lnTo>
                    <a:lnTo>
                      <a:pt x="2"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55" name="Freeform 2608"/>
              <p:cNvSpPr>
                <a:spLocks/>
              </p:cNvSpPr>
              <p:nvPr/>
            </p:nvSpPr>
            <p:spPr bwMode="auto">
              <a:xfrm>
                <a:off x="4667" y="2875"/>
                <a:ext cx="2" cy="2"/>
              </a:xfrm>
              <a:custGeom>
                <a:avLst/>
                <a:gdLst>
                  <a:gd name="T0" fmla="*/ 2 w 2"/>
                  <a:gd name="T1" fmla="*/ 0 h 2"/>
                  <a:gd name="T2" fmla="*/ 2 w 2"/>
                  <a:gd name="T3" fmla="*/ 0 h 2"/>
                  <a:gd name="T4" fmla="*/ 0 w 2"/>
                  <a:gd name="T5" fmla="*/ 2 h 2"/>
                  <a:gd name="T6" fmla="*/ 0 w 2"/>
                  <a:gd name="T7" fmla="*/ 2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0" y="2"/>
                    </a:lnTo>
                    <a:lnTo>
                      <a:pt x="0" y="2"/>
                    </a:lnTo>
                    <a:lnTo>
                      <a:pt x="2"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56" name="Freeform 2609"/>
              <p:cNvSpPr>
                <a:spLocks/>
              </p:cNvSpPr>
              <p:nvPr/>
            </p:nvSpPr>
            <p:spPr bwMode="auto">
              <a:xfrm>
                <a:off x="4667" y="2731"/>
                <a:ext cx="11" cy="7"/>
              </a:xfrm>
              <a:custGeom>
                <a:avLst/>
                <a:gdLst>
                  <a:gd name="T0" fmla="*/ 7 w 11"/>
                  <a:gd name="T1" fmla="*/ 7 h 7"/>
                  <a:gd name="T2" fmla="*/ 7 w 11"/>
                  <a:gd name="T3" fmla="*/ 7 h 7"/>
                  <a:gd name="T4" fmla="*/ 7 w 11"/>
                  <a:gd name="T5" fmla="*/ 3 h 7"/>
                  <a:gd name="T6" fmla="*/ 7 w 11"/>
                  <a:gd name="T7" fmla="*/ 3 h 7"/>
                  <a:gd name="T8" fmla="*/ 11 w 11"/>
                  <a:gd name="T9" fmla="*/ 3 h 7"/>
                  <a:gd name="T10" fmla="*/ 11 w 11"/>
                  <a:gd name="T11" fmla="*/ 1 h 7"/>
                  <a:gd name="T12" fmla="*/ 11 w 11"/>
                  <a:gd name="T13" fmla="*/ 1 h 7"/>
                  <a:gd name="T14" fmla="*/ 7 w 11"/>
                  <a:gd name="T15" fmla="*/ 3 h 7"/>
                  <a:gd name="T16" fmla="*/ 7 w 11"/>
                  <a:gd name="T17" fmla="*/ 3 h 7"/>
                  <a:gd name="T18" fmla="*/ 7 w 11"/>
                  <a:gd name="T19" fmla="*/ 1 h 7"/>
                  <a:gd name="T20" fmla="*/ 7 w 11"/>
                  <a:gd name="T21" fmla="*/ 0 h 7"/>
                  <a:gd name="T22" fmla="*/ 6 w 11"/>
                  <a:gd name="T23" fmla="*/ 0 h 7"/>
                  <a:gd name="T24" fmla="*/ 6 w 11"/>
                  <a:gd name="T25" fmla="*/ 0 h 7"/>
                  <a:gd name="T26" fmla="*/ 2 w 11"/>
                  <a:gd name="T27" fmla="*/ 0 h 7"/>
                  <a:gd name="T28" fmla="*/ 2 w 11"/>
                  <a:gd name="T29" fmla="*/ 0 h 7"/>
                  <a:gd name="T30" fmla="*/ 0 w 11"/>
                  <a:gd name="T31" fmla="*/ 3 h 7"/>
                  <a:gd name="T32" fmla="*/ 2 w 11"/>
                  <a:gd name="T33" fmla="*/ 7 h 7"/>
                  <a:gd name="T34" fmla="*/ 2 w 11"/>
                  <a:gd name="T35" fmla="*/ 7 h 7"/>
                  <a:gd name="T36" fmla="*/ 4 w 11"/>
                  <a:gd name="T37" fmla="*/ 5 h 7"/>
                  <a:gd name="T38" fmla="*/ 6 w 11"/>
                  <a:gd name="T39" fmla="*/ 1 h 7"/>
                  <a:gd name="T40" fmla="*/ 6 w 11"/>
                  <a:gd name="T41" fmla="*/ 1 h 7"/>
                  <a:gd name="T42" fmla="*/ 6 w 11"/>
                  <a:gd name="T43" fmla="*/ 5 h 7"/>
                  <a:gd name="T44" fmla="*/ 6 w 11"/>
                  <a:gd name="T45" fmla="*/ 7 h 7"/>
                  <a:gd name="T46" fmla="*/ 7 w 11"/>
                  <a:gd name="T4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7">
                    <a:moveTo>
                      <a:pt x="7" y="7"/>
                    </a:moveTo>
                    <a:lnTo>
                      <a:pt x="7" y="7"/>
                    </a:lnTo>
                    <a:lnTo>
                      <a:pt x="7" y="3"/>
                    </a:lnTo>
                    <a:lnTo>
                      <a:pt x="7" y="3"/>
                    </a:lnTo>
                    <a:lnTo>
                      <a:pt x="11" y="3"/>
                    </a:lnTo>
                    <a:lnTo>
                      <a:pt x="11" y="1"/>
                    </a:lnTo>
                    <a:lnTo>
                      <a:pt x="11" y="1"/>
                    </a:lnTo>
                    <a:lnTo>
                      <a:pt x="7" y="3"/>
                    </a:lnTo>
                    <a:lnTo>
                      <a:pt x="7" y="3"/>
                    </a:lnTo>
                    <a:lnTo>
                      <a:pt x="7" y="1"/>
                    </a:lnTo>
                    <a:lnTo>
                      <a:pt x="7" y="0"/>
                    </a:lnTo>
                    <a:lnTo>
                      <a:pt x="6" y="0"/>
                    </a:lnTo>
                    <a:lnTo>
                      <a:pt x="6" y="0"/>
                    </a:lnTo>
                    <a:lnTo>
                      <a:pt x="2" y="0"/>
                    </a:lnTo>
                    <a:lnTo>
                      <a:pt x="2" y="0"/>
                    </a:lnTo>
                    <a:lnTo>
                      <a:pt x="0" y="3"/>
                    </a:lnTo>
                    <a:lnTo>
                      <a:pt x="2" y="7"/>
                    </a:lnTo>
                    <a:lnTo>
                      <a:pt x="2" y="7"/>
                    </a:lnTo>
                    <a:lnTo>
                      <a:pt x="4" y="5"/>
                    </a:lnTo>
                    <a:lnTo>
                      <a:pt x="6" y="1"/>
                    </a:lnTo>
                    <a:lnTo>
                      <a:pt x="6" y="1"/>
                    </a:lnTo>
                    <a:lnTo>
                      <a:pt x="6" y="5"/>
                    </a:lnTo>
                    <a:lnTo>
                      <a:pt x="6" y="7"/>
                    </a:lnTo>
                    <a:lnTo>
                      <a:pt x="7"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57" name="Freeform 2610"/>
              <p:cNvSpPr>
                <a:spLocks/>
              </p:cNvSpPr>
              <p:nvPr/>
            </p:nvSpPr>
            <p:spPr bwMode="auto">
              <a:xfrm>
                <a:off x="4667" y="2731"/>
                <a:ext cx="11" cy="7"/>
              </a:xfrm>
              <a:custGeom>
                <a:avLst/>
                <a:gdLst>
                  <a:gd name="T0" fmla="*/ 7 w 11"/>
                  <a:gd name="T1" fmla="*/ 7 h 7"/>
                  <a:gd name="T2" fmla="*/ 7 w 11"/>
                  <a:gd name="T3" fmla="*/ 7 h 7"/>
                  <a:gd name="T4" fmla="*/ 7 w 11"/>
                  <a:gd name="T5" fmla="*/ 3 h 7"/>
                  <a:gd name="T6" fmla="*/ 7 w 11"/>
                  <a:gd name="T7" fmla="*/ 3 h 7"/>
                  <a:gd name="T8" fmla="*/ 11 w 11"/>
                  <a:gd name="T9" fmla="*/ 3 h 7"/>
                  <a:gd name="T10" fmla="*/ 11 w 11"/>
                  <a:gd name="T11" fmla="*/ 1 h 7"/>
                  <a:gd name="T12" fmla="*/ 11 w 11"/>
                  <a:gd name="T13" fmla="*/ 1 h 7"/>
                  <a:gd name="T14" fmla="*/ 7 w 11"/>
                  <a:gd name="T15" fmla="*/ 3 h 7"/>
                  <a:gd name="T16" fmla="*/ 7 w 11"/>
                  <a:gd name="T17" fmla="*/ 3 h 7"/>
                  <a:gd name="T18" fmla="*/ 7 w 11"/>
                  <a:gd name="T19" fmla="*/ 1 h 7"/>
                  <a:gd name="T20" fmla="*/ 7 w 11"/>
                  <a:gd name="T21" fmla="*/ 0 h 7"/>
                  <a:gd name="T22" fmla="*/ 6 w 11"/>
                  <a:gd name="T23" fmla="*/ 0 h 7"/>
                  <a:gd name="T24" fmla="*/ 6 w 11"/>
                  <a:gd name="T25" fmla="*/ 0 h 7"/>
                  <a:gd name="T26" fmla="*/ 2 w 11"/>
                  <a:gd name="T27" fmla="*/ 0 h 7"/>
                  <a:gd name="T28" fmla="*/ 2 w 11"/>
                  <a:gd name="T29" fmla="*/ 0 h 7"/>
                  <a:gd name="T30" fmla="*/ 0 w 11"/>
                  <a:gd name="T31" fmla="*/ 3 h 7"/>
                  <a:gd name="T32" fmla="*/ 2 w 11"/>
                  <a:gd name="T33" fmla="*/ 7 h 7"/>
                  <a:gd name="T34" fmla="*/ 2 w 11"/>
                  <a:gd name="T35" fmla="*/ 7 h 7"/>
                  <a:gd name="T36" fmla="*/ 4 w 11"/>
                  <a:gd name="T37" fmla="*/ 5 h 7"/>
                  <a:gd name="T38" fmla="*/ 6 w 11"/>
                  <a:gd name="T39" fmla="*/ 1 h 7"/>
                  <a:gd name="T40" fmla="*/ 6 w 11"/>
                  <a:gd name="T41" fmla="*/ 1 h 7"/>
                  <a:gd name="T42" fmla="*/ 6 w 11"/>
                  <a:gd name="T43" fmla="*/ 5 h 7"/>
                  <a:gd name="T44" fmla="*/ 6 w 11"/>
                  <a:gd name="T45" fmla="*/ 7 h 7"/>
                  <a:gd name="T46" fmla="*/ 7 w 11"/>
                  <a:gd name="T4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7">
                    <a:moveTo>
                      <a:pt x="7" y="7"/>
                    </a:moveTo>
                    <a:lnTo>
                      <a:pt x="7" y="7"/>
                    </a:lnTo>
                    <a:lnTo>
                      <a:pt x="7" y="3"/>
                    </a:lnTo>
                    <a:lnTo>
                      <a:pt x="7" y="3"/>
                    </a:lnTo>
                    <a:lnTo>
                      <a:pt x="11" y="3"/>
                    </a:lnTo>
                    <a:lnTo>
                      <a:pt x="11" y="1"/>
                    </a:lnTo>
                    <a:lnTo>
                      <a:pt x="11" y="1"/>
                    </a:lnTo>
                    <a:lnTo>
                      <a:pt x="7" y="3"/>
                    </a:lnTo>
                    <a:lnTo>
                      <a:pt x="7" y="3"/>
                    </a:lnTo>
                    <a:lnTo>
                      <a:pt x="7" y="1"/>
                    </a:lnTo>
                    <a:lnTo>
                      <a:pt x="7" y="0"/>
                    </a:lnTo>
                    <a:lnTo>
                      <a:pt x="6" y="0"/>
                    </a:lnTo>
                    <a:lnTo>
                      <a:pt x="6" y="0"/>
                    </a:lnTo>
                    <a:lnTo>
                      <a:pt x="2" y="0"/>
                    </a:lnTo>
                    <a:lnTo>
                      <a:pt x="2" y="0"/>
                    </a:lnTo>
                    <a:lnTo>
                      <a:pt x="0" y="3"/>
                    </a:lnTo>
                    <a:lnTo>
                      <a:pt x="2" y="7"/>
                    </a:lnTo>
                    <a:lnTo>
                      <a:pt x="2" y="7"/>
                    </a:lnTo>
                    <a:lnTo>
                      <a:pt x="4" y="5"/>
                    </a:lnTo>
                    <a:lnTo>
                      <a:pt x="6" y="1"/>
                    </a:lnTo>
                    <a:lnTo>
                      <a:pt x="6" y="1"/>
                    </a:lnTo>
                    <a:lnTo>
                      <a:pt x="6" y="5"/>
                    </a:lnTo>
                    <a:lnTo>
                      <a:pt x="6" y="7"/>
                    </a:lnTo>
                    <a:lnTo>
                      <a:pt x="7"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58" name="Freeform 2611"/>
              <p:cNvSpPr>
                <a:spLocks/>
              </p:cNvSpPr>
              <p:nvPr/>
            </p:nvSpPr>
            <p:spPr bwMode="auto">
              <a:xfrm>
                <a:off x="4669" y="2775"/>
                <a:ext cx="4" cy="4"/>
              </a:xfrm>
              <a:custGeom>
                <a:avLst/>
                <a:gdLst>
                  <a:gd name="T0" fmla="*/ 2 w 4"/>
                  <a:gd name="T1" fmla="*/ 0 h 4"/>
                  <a:gd name="T2" fmla="*/ 2 w 4"/>
                  <a:gd name="T3" fmla="*/ 0 h 4"/>
                  <a:gd name="T4" fmla="*/ 0 w 4"/>
                  <a:gd name="T5" fmla="*/ 2 h 4"/>
                  <a:gd name="T6" fmla="*/ 2 w 4"/>
                  <a:gd name="T7" fmla="*/ 4 h 4"/>
                  <a:gd name="T8" fmla="*/ 2 w 4"/>
                  <a:gd name="T9" fmla="*/ 4 h 4"/>
                  <a:gd name="T10" fmla="*/ 4 w 4"/>
                  <a:gd name="T11" fmla="*/ 4 h 4"/>
                  <a:gd name="T12" fmla="*/ 4 w 4"/>
                  <a:gd name="T13" fmla="*/ 2 h 4"/>
                  <a:gd name="T14" fmla="*/ 4 w 4"/>
                  <a:gd name="T15" fmla="*/ 2 h 4"/>
                  <a:gd name="T16" fmla="*/ 2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2" y="0"/>
                    </a:moveTo>
                    <a:lnTo>
                      <a:pt x="2" y="0"/>
                    </a:lnTo>
                    <a:lnTo>
                      <a:pt x="0" y="2"/>
                    </a:lnTo>
                    <a:lnTo>
                      <a:pt x="2" y="4"/>
                    </a:lnTo>
                    <a:lnTo>
                      <a:pt x="2" y="4"/>
                    </a:lnTo>
                    <a:lnTo>
                      <a:pt x="4" y="4"/>
                    </a:lnTo>
                    <a:lnTo>
                      <a:pt x="4" y="2"/>
                    </a:lnTo>
                    <a:lnTo>
                      <a:pt x="4"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59" name="Freeform 2612"/>
              <p:cNvSpPr>
                <a:spLocks/>
              </p:cNvSpPr>
              <p:nvPr/>
            </p:nvSpPr>
            <p:spPr bwMode="auto">
              <a:xfrm>
                <a:off x="4669" y="2775"/>
                <a:ext cx="4" cy="4"/>
              </a:xfrm>
              <a:custGeom>
                <a:avLst/>
                <a:gdLst>
                  <a:gd name="T0" fmla="*/ 2 w 4"/>
                  <a:gd name="T1" fmla="*/ 0 h 4"/>
                  <a:gd name="T2" fmla="*/ 2 w 4"/>
                  <a:gd name="T3" fmla="*/ 0 h 4"/>
                  <a:gd name="T4" fmla="*/ 0 w 4"/>
                  <a:gd name="T5" fmla="*/ 2 h 4"/>
                  <a:gd name="T6" fmla="*/ 2 w 4"/>
                  <a:gd name="T7" fmla="*/ 4 h 4"/>
                  <a:gd name="T8" fmla="*/ 2 w 4"/>
                  <a:gd name="T9" fmla="*/ 4 h 4"/>
                  <a:gd name="T10" fmla="*/ 4 w 4"/>
                  <a:gd name="T11" fmla="*/ 4 h 4"/>
                  <a:gd name="T12" fmla="*/ 4 w 4"/>
                  <a:gd name="T13" fmla="*/ 2 h 4"/>
                  <a:gd name="T14" fmla="*/ 4 w 4"/>
                  <a:gd name="T15" fmla="*/ 2 h 4"/>
                  <a:gd name="T16" fmla="*/ 2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2" y="0"/>
                    </a:moveTo>
                    <a:lnTo>
                      <a:pt x="2" y="0"/>
                    </a:lnTo>
                    <a:lnTo>
                      <a:pt x="0" y="2"/>
                    </a:lnTo>
                    <a:lnTo>
                      <a:pt x="2" y="4"/>
                    </a:lnTo>
                    <a:lnTo>
                      <a:pt x="2" y="4"/>
                    </a:lnTo>
                    <a:lnTo>
                      <a:pt x="4" y="4"/>
                    </a:lnTo>
                    <a:lnTo>
                      <a:pt x="4" y="2"/>
                    </a:lnTo>
                    <a:lnTo>
                      <a:pt x="4"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60" name="Freeform 2613"/>
              <p:cNvSpPr>
                <a:spLocks/>
              </p:cNvSpPr>
              <p:nvPr/>
            </p:nvSpPr>
            <p:spPr bwMode="auto">
              <a:xfrm>
                <a:off x="4669" y="2843"/>
                <a:ext cx="11" cy="6"/>
              </a:xfrm>
              <a:custGeom>
                <a:avLst/>
                <a:gdLst>
                  <a:gd name="T0" fmla="*/ 4 w 11"/>
                  <a:gd name="T1" fmla="*/ 2 h 6"/>
                  <a:gd name="T2" fmla="*/ 4 w 11"/>
                  <a:gd name="T3" fmla="*/ 2 h 6"/>
                  <a:gd name="T4" fmla="*/ 4 w 11"/>
                  <a:gd name="T5" fmla="*/ 2 h 6"/>
                  <a:gd name="T6" fmla="*/ 4 w 11"/>
                  <a:gd name="T7" fmla="*/ 2 h 6"/>
                  <a:gd name="T8" fmla="*/ 2 w 11"/>
                  <a:gd name="T9" fmla="*/ 4 h 6"/>
                  <a:gd name="T10" fmla="*/ 0 w 11"/>
                  <a:gd name="T11" fmla="*/ 6 h 6"/>
                  <a:gd name="T12" fmla="*/ 0 w 11"/>
                  <a:gd name="T13" fmla="*/ 6 h 6"/>
                  <a:gd name="T14" fmla="*/ 0 w 11"/>
                  <a:gd name="T15" fmla="*/ 6 h 6"/>
                  <a:gd name="T16" fmla="*/ 2 w 11"/>
                  <a:gd name="T17" fmla="*/ 6 h 6"/>
                  <a:gd name="T18" fmla="*/ 5 w 11"/>
                  <a:gd name="T19" fmla="*/ 6 h 6"/>
                  <a:gd name="T20" fmla="*/ 5 w 11"/>
                  <a:gd name="T21" fmla="*/ 6 h 6"/>
                  <a:gd name="T22" fmla="*/ 5 w 11"/>
                  <a:gd name="T23" fmla="*/ 4 h 6"/>
                  <a:gd name="T24" fmla="*/ 7 w 11"/>
                  <a:gd name="T25" fmla="*/ 4 h 6"/>
                  <a:gd name="T26" fmla="*/ 11 w 11"/>
                  <a:gd name="T27" fmla="*/ 2 h 6"/>
                  <a:gd name="T28" fmla="*/ 11 w 11"/>
                  <a:gd name="T29" fmla="*/ 2 h 6"/>
                  <a:gd name="T30" fmla="*/ 9 w 11"/>
                  <a:gd name="T31" fmla="*/ 0 h 6"/>
                  <a:gd name="T32" fmla="*/ 7 w 11"/>
                  <a:gd name="T33" fmla="*/ 0 h 6"/>
                  <a:gd name="T34" fmla="*/ 5 w 11"/>
                  <a:gd name="T35" fmla="*/ 4 h 6"/>
                  <a:gd name="T36" fmla="*/ 5 w 11"/>
                  <a:gd name="T37" fmla="*/ 4 h 6"/>
                  <a:gd name="T38" fmla="*/ 5 w 11"/>
                  <a:gd name="T39" fmla="*/ 2 h 6"/>
                  <a:gd name="T40" fmla="*/ 4 w 11"/>
                  <a:gd name="T4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 h="6">
                    <a:moveTo>
                      <a:pt x="4" y="2"/>
                    </a:moveTo>
                    <a:lnTo>
                      <a:pt x="4" y="2"/>
                    </a:lnTo>
                    <a:lnTo>
                      <a:pt x="4" y="2"/>
                    </a:lnTo>
                    <a:lnTo>
                      <a:pt x="4" y="2"/>
                    </a:lnTo>
                    <a:lnTo>
                      <a:pt x="2" y="4"/>
                    </a:lnTo>
                    <a:lnTo>
                      <a:pt x="0" y="6"/>
                    </a:lnTo>
                    <a:lnTo>
                      <a:pt x="0" y="6"/>
                    </a:lnTo>
                    <a:lnTo>
                      <a:pt x="0" y="6"/>
                    </a:lnTo>
                    <a:lnTo>
                      <a:pt x="2" y="6"/>
                    </a:lnTo>
                    <a:lnTo>
                      <a:pt x="5" y="6"/>
                    </a:lnTo>
                    <a:lnTo>
                      <a:pt x="5" y="6"/>
                    </a:lnTo>
                    <a:lnTo>
                      <a:pt x="5" y="4"/>
                    </a:lnTo>
                    <a:lnTo>
                      <a:pt x="7" y="4"/>
                    </a:lnTo>
                    <a:lnTo>
                      <a:pt x="11" y="2"/>
                    </a:lnTo>
                    <a:lnTo>
                      <a:pt x="11" y="2"/>
                    </a:lnTo>
                    <a:lnTo>
                      <a:pt x="9" y="0"/>
                    </a:lnTo>
                    <a:lnTo>
                      <a:pt x="7" y="0"/>
                    </a:lnTo>
                    <a:lnTo>
                      <a:pt x="5" y="4"/>
                    </a:lnTo>
                    <a:lnTo>
                      <a:pt x="5" y="4"/>
                    </a:lnTo>
                    <a:lnTo>
                      <a:pt x="5" y="2"/>
                    </a:lnTo>
                    <a:lnTo>
                      <a:pt x="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61" name="Freeform 2614"/>
              <p:cNvSpPr>
                <a:spLocks/>
              </p:cNvSpPr>
              <p:nvPr/>
            </p:nvSpPr>
            <p:spPr bwMode="auto">
              <a:xfrm>
                <a:off x="4669" y="2843"/>
                <a:ext cx="11" cy="6"/>
              </a:xfrm>
              <a:custGeom>
                <a:avLst/>
                <a:gdLst>
                  <a:gd name="T0" fmla="*/ 4 w 11"/>
                  <a:gd name="T1" fmla="*/ 2 h 6"/>
                  <a:gd name="T2" fmla="*/ 4 w 11"/>
                  <a:gd name="T3" fmla="*/ 2 h 6"/>
                  <a:gd name="T4" fmla="*/ 4 w 11"/>
                  <a:gd name="T5" fmla="*/ 2 h 6"/>
                  <a:gd name="T6" fmla="*/ 4 w 11"/>
                  <a:gd name="T7" fmla="*/ 2 h 6"/>
                  <a:gd name="T8" fmla="*/ 2 w 11"/>
                  <a:gd name="T9" fmla="*/ 4 h 6"/>
                  <a:gd name="T10" fmla="*/ 0 w 11"/>
                  <a:gd name="T11" fmla="*/ 6 h 6"/>
                  <a:gd name="T12" fmla="*/ 0 w 11"/>
                  <a:gd name="T13" fmla="*/ 6 h 6"/>
                  <a:gd name="T14" fmla="*/ 0 w 11"/>
                  <a:gd name="T15" fmla="*/ 6 h 6"/>
                  <a:gd name="T16" fmla="*/ 2 w 11"/>
                  <a:gd name="T17" fmla="*/ 6 h 6"/>
                  <a:gd name="T18" fmla="*/ 5 w 11"/>
                  <a:gd name="T19" fmla="*/ 6 h 6"/>
                  <a:gd name="T20" fmla="*/ 5 w 11"/>
                  <a:gd name="T21" fmla="*/ 6 h 6"/>
                  <a:gd name="T22" fmla="*/ 5 w 11"/>
                  <a:gd name="T23" fmla="*/ 4 h 6"/>
                  <a:gd name="T24" fmla="*/ 7 w 11"/>
                  <a:gd name="T25" fmla="*/ 4 h 6"/>
                  <a:gd name="T26" fmla="*/ 11 w 11"/>
                  <a:gd name="T27" fmla="*/ 2 h 6"/>
                  <a:gd name="T28" fmla="*/ 11 w 11"/>
                  <a:gd name="T29" fmla="*/ 2 h 6"/>
                  <a:gd name="T30" fmla="*/ 9 w 11"/>
                  <a:gd name="T31" fmla="*/ 0 h 6"/>
                  <a:gd name="T32" fmla="*/ 7 w 11"/>
                  <a:gd name="T33" fmla="*/ 0 h 6"/>
                  <a:gd name="T34" fmla="*/ 5 w 11"/>
                  <a:gd name="T35" fmla="*/ 4 h 6"/>
                  <a:gd name="T36" fmla="*/ 5 w 11"/>
                  <a:gd name="T37" fmla="*/ 4 h 6"/>
                  <a:gd name="T38" fmla="*/ 5 w 11"/>
                  <a:gd name="T39" fmla="*/ 2 h 6"/>
                  <a:gd name="T40" fmla="*/ 4 w 11"/>
                  <a:gd name="T4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 h="6">
                    <a:moveTo>
                      <a:pt x="4" y="2"/>
                    </a:moveTo>
                    <a:lnTo>
                      <a:pt x="4" y="2"/>
                    </a:lnTo>
                    <a:lnTo>
                      <a:pt x="4" y="2"/>
                    </a:lnTo>
                    <a:lnTo>
                      <a:pt x="4" y="2"/>
                    </a:lnTo>
                    <a:lnTo>
                      <a:pt x="2" y="4"/>
                    </a:lnTo>
                    <a:lnTo>
                      <a:pt x="0" y="6"/>
                    </a:lnTo>
                    <a:lnTo>
                      <a:pt x="0" y="6"/>
                    </a:lnTo>
                    <a:lnTo>
                      <a:pt x="0" y="6"/>
                    </a:lnTo>
                    <a:lnTo>
                      <a:pt x="2" y="6"/>
                    </a:lnTo>
                    <a:lnTo>
                      <a:pt x="5" y="6"/>
                    </a:lnTo>
                    <a:lnTo>
                      <a:pt x="5" y="6"/>
                    </a:lnTo>
                    <a:lnTo>
                      <a:pt x="5" y="4"/>
                    </a:lnTo>
                    <a:lnTo>
                      <a:pt x="7" y="4"/>
                    </a:lnTo>
                    <a:lnTo>
                      <a:pt x="11" y="2"/>
                    </a:lnTo>
                    <a:lnTo>
                      <a:pt x="11" y="2"/>
                    </a:lnTo>
                    <a:lnTo>
                      <a:pt x="9" y="0"/>
                    </a:lnTo>
                    <a:lnTo>
                      <a:pt x="7" y="0"/>
                    </a:lnTo>
                    <a:lnTo>
                      <a:pt x="5" y="4"/>
                    </a:lnTo>
                    <a:lnTo>
                      <a:pt x="5" y="4"/>
                    </a:lnTo>
                    <a:lnTo>
                      <a:pt x="5" y="2"/>
                    </a:lnTo>
                    <a:lnTo>
                      <a:pt x="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62" name="Freeform 2615"/>
              <p:cNvSpPr>
                <a:spLocks/>
              </p:cNvSpPr>
              <p:nvPr/>
            </p:nvSpPr>
            <p:spPr bwMode="auto">
              <a:xfrm>
                <a:off x="4671" y="2854"/>
                <a:ext cx="28" cy="23"/>
              </a:xfrm>
              <a:custGeom>
                <a:avLst/>
                <a:gdLst>
                  <a:gd name="T0" fmla="*/ 2 w 28"/>
                  <a:gd name="T1" fmla="*/ 18 h 23"/>
                  <a:gd name="T2" fmla="*/ 2 w 28"/>
                  <a:gd name="T3" fmla="*/ 18 h 23"/>
                  <a:gd name="T4" fmla="*/ 3 w 28"/>
                  <a:gd name="T5" fmla="*/ 18 h 23"/>
                  <a:gd name="T6" fmla="*/ 3 w 28"/>
                  <a:gd name="T7" fmla="*/ 18 h 23"/>
                  <a:gd name="T8" fmla="*/ 3 w 28"/>
                  <a:gd name="T9" fmla="*/ 18 h 23"/>
                  <a:gd name="T10" fmla="*/ 3 w 28"/>
                  <a:gd name="T11" fmla="*/ 20 h 23"/>
                  <a:gd name="T12" fmla="*/ 2 w 28"/>
                  <a:gd name="T13" fmla="*/ 21 h 23"/>
                  <a:gd name="T14" fmla="*/ 0 w 28"/>
                  <a:gd name="T15" fmla="*/ 23 h 23"/>
                  <a:gd name="T16" fmla="*/ 0 w 28"/>
                  <a:gd name="T17" fmla="*/ 23 h 23"/>
                  <a:gd name="T18" fmla="*/ 5 w 28"/>
                  <a:gd name="T19" fmla="*/ 23 h 23"/>
                  <a:gd name="T20" fmla="*/ 5 w 28"/>
                  <a:gd name="T21" fmla="*/ 23 h 23"/>
                  <a:gd name="T22" fmla="*/ 9 w 28"/>
                  <a:gd name="T23" fmla="*/ 21 h 23"/>
                  <a:gd name="T24" fmla="*/ 12 w 28"/>
                  <a:gd name="T25" fmla="*/ 20 h 23"/>
                  <a:gd name="T26" fmla="*/ 12 w 28"/>
                  <a:gd name="T27" fmla="*/ 20 h 23"/>
                  <a:gd name="T28" fmla="*/ 16 w 28"/>
                  <a:gd name="T29" fmla="*/ 20 h 23"/>
                  <a:gd name="T30" fmla="*/ 19 w 28"/>
                  <a:gd name="T31" fmla="*/ 16 h 23"/>
                  <a:gd name="T32" fmla="*/ 19 w 28"/>
                  <a:gd name="T33" fmla="*/ 16 h 23"/>
                  <a:gd name="T34" fmla="*/ 21 w 28"/>
                  <a:gd name="T35" fmla="*/ 14 h 23"/>
                  <a:gd name="T36" fmla="*/ 21 w 28"/>
                  <a:gd name="T37" fmla="*/ 12 h 23"/>
                  <a:gd name="T38" fmla="*/ 21 w 28"/>
                  <a:gd name="T39" fmla="*/ 12 h 23"/>
                  <a:gd name="T40" fmla="*/ 27 w 28"/>
                  <a:gd name="T41" fmla="*/ 9 h 23"/>
                  <a:gd name="T42" fmla="*/ 27 w 28"/>
                  <a:gd name="T43" fmla="*/ 7 h 23"/>
                  <a:gd name="T44" fmla="*/ 27 w 28"/>
                  <a:gd name="T45" fmla="*/ 5 h 23"/>
                  <a:gd name="T46" fmla="*/ 27 w 28"/>
                  <a:gd name="T47" fmla="*/ 5 h 23"/>
                  <a:gd name="T48" fmla="*/ 27 w 28"/>
                  <a:gd name="T49" fmla="*/ 5 h 23"/>
                  <a:gd name="T50" fmla="*/ 28 w 28"/>
                  <a:gd name="T51" fmla="*/ 0 h 23"/>
                  <a:gd name="T52" fmla="*/ 27 w 28"/>
                  <a:gd name="T53" fmla="*/ 0 h 23"/>
                  <a:gd name="T54" fmla="*/ 27 w 28"/>
                  <a:gd name="T55" fmla="*/ 0 h 23"/>
                  <a:gd name="T56" fmla="*/ 23 w 28"/>
                  <a:gd name="T57" fmla="*/ 0 h 23"/>
                  <a:gd name="T58" fmla="*/ 23 w 28"/>
                  <a:gd name="T59" fmla="*/ 2 h 23"/>
                  <a:gd name="T60" fmla="*/ 19 w 28"/>
                  <a:gd name="T61" fmla="*/ 3 h 23"/>
                  <a:gd name="T62" fmla="*/ 16 w 28"/>
                  <a:gd name="T63" fmla="*/ 5 h 23"/>
                  <a:gd name="T64" fmla="*/ 16 w 28"/>
                  <a:gd name="T65" fmla="*/ 5 h 23"/>
                  <a:gd name="T66" fmla="*/ 11 w 28"/>
                  <a:gd name="T67" fmla="*/ 7 h 23"/>
                  <a:gd name="T68" fmla="*/ 7 w 28"/>
                  <a:gd name="T69" fmla="*/ 9 h 23"/>
                  <a:gd name="T70" fmla="*/ 2 w 28"/>
                  <a:gd name="T7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 h="23">
                    <a:moveTo>
                      <a:pt x="2" y="18"/>
                    </a:moveTo>
                    <a:lnTo>
                      <a:pt x="2" y="18"/>
                    </a:lnTo>
                    <a:lnTo>
                      <a:pt x="3" y="18"/>
                    </a:lnTo>
                    <a:lnTo>
                      <a:pt x="3" y="18"/>
                    </a:lnTo>
                    <a:lnTo>
                      <a:pt x="3" y="18"/>
                    </a:lnTo>
                    <a:lnTo>
                      <a:pt x="3" y="20"/>
                    </a:lnTo>
                    <a:lnTo>
                      <a:pt x="2" y="21"/>
                    </a:lnTo>
                    <a:lnTo>
                      <a:pt x="0" y="23"/>
                    </a:lnTo>
                    <a:lnTo>
                      <a:pt x="0" y="23"/>
                    </a:lnTo>
                    <a:lnTo>
                      <a:pt x="5" y="23"/>
                    </a:lnTo>
                    <a:lnTo>
                      <a:pt x="5" y="23"/>
                    </a:lnTo>
                    <a:lnTo>
                      <a:pt x="9" y="21"/>
                    </a:lnTo>
                    <a:lnTo>
                      <a:pt x="12" y="20"/>
                    </a:lnTo>
                    <a:lnTo>
                      <a:pt x="12" y="20"/>
                    </a:lnTo>
                    <a:lnTo>
                      <a:pt x="16" y="20"/>
                    </a:lnTo>
                    <a:lnTo>
                      <a:pt x="19" y="16"/>
                    </a:lnTo>
                    <a:lnTo>
                      <a:pt x="19" y="16"/>
                    </a:lnTo>
                    <a:lnTo>
                      <a:pt x="21" y="14"/>
                    </a:lnTo>
                    <a:lnTo>
                      <a:pt x="21" y="12"/>
                    </a:lnTo>
                    <a:lnTo>
                      <a:pt x="21" y="12"/>
                    </a:lnTo>
                    <a:lnTo>
                      <a:pt x="27" y="9"/>
                    </a:lnTo>
                    <a:lnTo>
                      <a:pt x="27" y="7"/>
                    </a:lnTo>
                    <a:lnTo>
                      <a:pt x="27" y="5"/>
                    </a:lnTo>
                    <a:lnTo>
                      <a:pt x="27" y="5"/>
                    </a:lnTo>
                    <a:lnTo>
                      <a:pt x="27" y="5"/>
                    </a:lnTo>
                    <a:lnTo>
                      <a:pt x="28" y="0"/>
                    </a:lnTo>
                    <a:lnTo>
                      <a:pt x="27" y="0"/>
                    </a:lnTo>
                    <a:lnTo>
                      <a:pt x="27" y="0"/>
                    </a:lnTo>
                    <a:lnTo>
                      <a:pt x="23" y="0"/>
                    </a:lnTo>
                    <a:lnTo>
                      <a:pt x="23" y="2"/>
                    </a:lnTo>
                    <a:lnTo>
                      <a:pt x="19" y="3"/>
                    </a:lnTo>
                    <a:lnTo>
                      <a:pt x="16" y="5"/>
                    </a:lnTo>
                    <a:lnTo>
                      <a:pt x="16" y="5"/>
                    </a:lnTo>
                    <a:lnTo>
                      <a:pt x="11" y="7"/>
                    </a:lnTo>
                    <a:lnTo>
                      <a:pt x="7" y="9"/>
                    </a:lnTo>
                    <a:lnTo>
                      <a:pt x="2" y="1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63" name="Freeform 2616"/>
              <p:cNvSpPr>
                <a:spLocks/>
              </p:cNvSpPr>
              <p:nvPr/>
            </p:nvSpPr>
            <p:spPr bwMode="auto">
              <a:xfrm>
                <a:off x="4671" y="2854"/>
                <a:ext cx="28" cy="23"/>
              </a:xfrm>
              <a:custGeom>
                <a:avLst/>
                <a:gdLst>
                  <a:gd name="T0" fmla="*/ 2 w 28"/>
                  <a:gd name="T1" fmla="*/ 18 h 23"/>
                  <a:gd name="T2" fmla="*/ 2 w 28"/>
                  <a:gd name="T3" fmla="*/ 18 h 23"/>
                  <a:gd name="T4" fmla="*/ 3 w 28"/>
                  <a:gd name="T5" fmla="*/ 18 h 23"/>
                  <a:gd name="T6" fmla="*/ 3 w 28"/>
                  <a:gd name="T7" fmla="*/ 18 h 23"/>
                  <a:gd name="T8" fmla="*/ 3 w 28"/>
                  <a:gd name="T9" fmla="*/ 18 h 23"/>
                  <a:gd name="T10" fmla="*/ 3 w 28"/>
                  <a:gd name="T11" fmla="*/ 20 h 23"/>
                  <a:gd name="T12" fmla="*/ 2 w 28"/>
                  <a:gd name="T13" fmla="*/ 21 h 23"/>
                  <a:gd name="T14" fmla="*/ 0 w 28"/>
                  <a:gd name="T15" fmla="*/ 23 h 23"/>
                  <a:gd name="T16" fmla="*/ 0 w 28"/>
                  <a:gd name="T17" fmla="*/ 23 h 23"/>
                  <a:gd name="T18" fmla="*/ 5 w 28"/>
                  <a:gd name="T19" fmla="*/ 23 h 23"/>
                  <a:gd name="T20" fmla="*/ 5 w 28"/>
                  <a:gd name="T21" fmla="*/ 23 h 23"/>
                  <a:gd name="T22" fmla="*/ 9 w 28"/>
                  <a:gd name="T23" fmla="*/ 21 h 23"/>
                  <a:gd name="T24" fmla="*/ 12 w 28"/>
                  <a:gd name="T25" fmla="*/ 20 h 23"/>
                  <a:gd name="T26" fmla="*/ 12 w 28"/>
                  <a:gd name="T27" fmla="*/ 20 h 23"/>
                  <a:gd name="T28" fmla="*/ 16 w 28"/>
                  <a:gd name="T29" fmla="*/ 20 h 23"/>
                  <a:gd name="T30" fmla="*/ 19 w 28"/>
                  <a:gd name="T31" fmla="*/ 16 h 23"/>
                  <a:gd name="T32" fmla="*/ 19 w 28"/>
                  <a:gd name="T33" fmla="*/ 16 h 23"/>
                  <a:gd name="T34" fmla="*/ 21 w 28"/>
                  <a:gd name="T35" fmla="*/ 14 h 23"/>
                  <a:gd name="T36" fmla="*/ 21 w 28"/>
                  <a:gd name="T37" fmla="*/ 12 h 23"/>
                  <a:gd name="T38" fmla="*/ 21 w 28"/>
                  <a:gd name="T39" fmla="*/ 12 h 23"/>
                  <a:gd name="T40" fmla="*/ 27 w 28"/>
                  <a:gd name="T41" fmla="*/ 9 h 23"/>
                  <a:gd name="T42" fmla="*/ 27 w 28"/>
                  <a:gd name="T43" fmla="*/ 7 h 23"/>
                  <a:gd name="T44" fmla="*/ 27 w 28"/>
                  <a:gd name="T45" fmla="*/ 5 h 23"/>
                  <a:gd name="T46" fmla="*/ 27 w 28"/>
                  <a:gd name="T47" fmla="*/ 5 h 23"/>
                  <a:gd name="T48" fmla="*/ 27 w 28"/>
                  <a:gd name="T49" fmla="*/ 5 h 23"/>
                  <a:gd name="T50" fmla="*/ 28 w 28"/>
                  <a:gd name="T51" fmla="*/ 0 h 23"/>
                  <a:gd name="T52" fmla="*/ 27 w 28"/>
                  <a:gd name="T53" fmla="*/ 0 h 23"/>
                  <a:gd name="T54" fmla="*/ 27 w 28"/>
                  <a:gd name="T55" fmla="*/ 0 h 23"/>
                  <a:gd name="T56" fmla="*/ 23 w 28"/>
                  <a:gd name="T57" fmla="*/ 0 h 23"/>
                  <a:gd name="T58" fmla="*/ 23 w 28"/>
                  <a:gd name="T59" fmla="*/ 2 h 23"/>
                  <a:gd name="T60" fmla="*/ 19 w 28"/>
                  <a:gd name="T61" fmla="*/ 3 h 23"/>
                  <a:gd name="T62" fmla="*/ 16 w 28"/>
                  <a:gd name="T63" fmla="*/ 5 h 23"/>
                  <a:gd name="T64" fmla="*/ 16 w 28"/>
                  <a:gd name="T65" fmla="*/ 5 h 23"/>
                  <a:gd name="T66" fmla="*/ 11 w 28"/>
                  <a:gd name="T67" fmla="*/ 7 h 23"/>
                  <a:gd name="T68" fmla="*/ 7 w 28"/>
                  <a:gd name="T69" fmla="*/ 9 h 23"/>
                  <a:gd name="T70" fmla="*/ 2 w 28"/>
                  <a:gd name="T71" fmla="*/ 1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 h="23">
                    <a:moveTo>
                      <a:pt x="2" y="18"/>
                    </a:moveTo>
                    <a:lnTo>
                      <a:pt x="2" y="18"/>
                    </a:lnTo>
                    <a:lnTo>
                      <a:pt x="3" y="18"/>
                    </a:lnTo>
                    <a:lnTo>
                      <a:pt x="3" y="18"/>
                    </a:lnTo>
                    <a:lnTo>
                      <a:pt x="3" y="18"/>
                    </a:lnTo>
                    <a:lnTo>
                      <a:pt x="3" y="20"/>
                    </a:lnTo>
                    <a:lnTo>
                      <a:pt x="2" y="21"/>
                    </a:lnTo>
                    <a:lnTo>
                      <a:pt x="0" y="23"/>
                    </a:lnTo>
                    <a:lnTo>
                      <a:pt x="0" y="23"/>
                    </a:lnTo>
                    <a:lnTo>
                      <a:pt x="5" y="23"/>
                    </a:lnTo>
                    <a:lnTo>
                      <a:pt x="5" y="23"/>
                    </a:lnTo>
                    <a:lnTo>
                      <a:pt x="9" y="21"/>
                    </a:lnTo>
                    <a:lnTo>
                      <a:pt x="12" y="20"/>
                    </a:lnTo>
                    <a:lnTo>
                      <a:pt x="12" y="20"/>
                    </a:lnTo>
                    <a:lnTo>
                      <a:pt x="16" y="20"/>
                    </a:lnTo>
                    <a:lnTo>
                      <a:pt x="19" y="16"/>
                    </a:lnTo>
                    <a:lnTo>
                      <a:pt x="19" y="16"/>
                    </a:lnTo>
                    <a:lnTo>
                      <a:pt x="21" y="14"/>
                    </a:lnTo>
                    <a:lnTo>
                      <a:pt x="21" y="12"/>
                    </a:lnTo>
                    <a:lnTo>
                      <a:pt x="21" y="12"/>
                    </a:lnTo>
                    <a:lnTo>
                      <a:pt x="27" y="9"/>
                    </a:lnTo>
                    <a:lnTo>
                      <a:pt x="27" y="7"/>
                    </a:lnTo>
                    <a:lnTo>
                      <a:pt x="27" y="5"/>
                    </a:lnTo>
                    <a:lnTo>
                      <a:pt x="27" y="5"/>
                    </a:lnTo>
                    <a:lnTo>
                      <a:pt x="27" y="5"/>
                    </a:lnTo>
                    <a:lnTo>
                      <a:pt x="28" y="0"/>
                    </a:lnTo>
                    <a:lnTo>
                      <a:pt x="27" y="0"/>
                    </a:lnTo>
                    <a:lnTo>
                      <a:pt x="27" y="0"/>
                    </a:lnTo>
                    <a:lnTo>
                      <a:pt x="23" y="0"/>
                    </a:lnTo>
                    <a:lnTo>
                      <a:pt x="23" y="2"/>
                    </a:lnTo>
                    <a:lnTo>
                      <a:pt x="19" y="3"/>
                    </a:lnTo>
                    <a:lnTo>
                      <a:pt x="16" y="5"/>
                    </a:lnTo>
                    <a:lnTo>
                      <a:pt x="16" y="5"/>
                    </a:lnTo>
                    <a:lnTo>
                      <a:pt x="11" y="7"/>
                    </a:lnTo>
                    <a:lnTo>
                      <a:pt x="7" y="9"/>
                    </a:lnTo>
                    <a:lnTo>
                      <a:pt x="2" y="1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64" name="Freeform 2617"/>
              <p:cNvSpPr>
                <a:spLocks/>
              </p:cNvSpPr>
              <p:nvPr/>
            </p:nvSpPr>
            <p:spPr bwMode="auto">
              <a:xfrm>
                <a:off x="4680" y="2843"/>
                <a:ext cx="5" cy="6"/>
              </a:xfrm>
              <a:custGeom>
                <a:avLst/>
                <a:gdLst>
                  <a:gd name="T0" fmla="*/ 2 w 5"/>
                  <a:gd name="T1" fmla="*/ 2 h 6"/>
                  <a:gd name="T2" fmla="*/ 2 w 5"/>
                  <a:gd name="T3" fmla="*/ 2 h 6"/>
                  <a:gd name="T4" fmla="*/ 0 w 5"/>
                  <a:gd name="T5" fmla="*/ 4 h 6"/>
                  <a:gd name="T6" fmla="*/ 0 w 5"/>
                  <a:gd name="T7" fmla="*/ 4 h 6"/>
                  <a:gd name="T8" fmla="*/ 2 w 5"/>
                  <a:gd name="T9" fmla="*/ 4 h 6"/>
                  <a:gd name="T10" fmla="*/ 3 w 5"/>
                  <a:gd name="T11" fmla="*/ 6 h 6"/>
                  <a:gd name="T12" fmla="*/ 3 w 5"/>
                  <a:gd name="T13" fmla="*/ 6 h 6"/>
                  <a:gd name="T14" fmla="*/ 5 w 5"/>
                  <a:gd name="T15" fmla="*/ 4 h 6"/>
                  <a:gd name="T16" fmla="*/ 5 w 5"/>
                  <a:gd name="T17" fmla="*/ 2 h 6"/>
                  <a:gd name="T18" fmla="*/ 5 w 5"/>
                  <a:gd name="T19" fmla="*/ 0 h 6"/>
                  <a:gd name="T20" fmla="*/ 5 w 5"/>
                  <a:gd name="T21" fmla="*/ 0 h 6"/>
                  <a:gd name="T22" fmla="*/ 3 w 5"/>
                  <a:gd name="T23" fmla="*/ 2 h 6"/>
                  <a:gd name="T24" fmla="*/ 2 w 5"/>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2" y="2"/>
                    </a:moveTo>
                    <a:lnTo>
                      <a:pt x="2" y="2"/>
                    </a:lnTo>
                    <a:lnTo>
                      <a:pt x="0" y="4"/>
                    </a:lnTo>
                    <a:lnTo>
                      <a:pt x="0" y="4"/>
                    </a:lnTo>
                    <a:lnTo>
                      <a:pt x="2" y="4"/>
                    </a:lnTo>
                    <a:lnTo>
                      <a:pt x="3" y="6"/>
                    </a:lnTo>
                    <a:lnTo>
                      <a:pt x="3" y="6"/>
                    </a:lnTo>
                    <a:lnTo>
                      <a:pt x="5" y="4"/>
                    </a:lnTo>
                    <a:lnTo>
                      <a:pt x="5" y="2"/>
                    </a:lnTo>
                    <a:lnTo>
                      <a:pt x="5" y="0"/>
                    </a:lnTo>
                    <a:lnTo>
                      <a:pt x="5" y="0"/>
                    </a:lnTo>
                    <a:lnTo>
                      <a:pt x="3" y="2"/>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65" name="Freeform 2618"/>
              <p:cNvSpPr>
                <a:spLocks/>
              </p:cNvSpPr>
              <p:nvPr/>
            </p:nvSpPr>
            <p:spPr bwMode="auto">
              <a:xfrm>
                <a:off x="4680" y="2843"/>
                <a:ext cx="5" cy="6"/>
              </a:xfrm>
              <a:custGeom>
                <a:avLst/>
                <a:gdLst>
                  <a:gd name="T0" fmla="*/ 2 w 5"/>
                  <a:gd name="T1" fmla="*/ 2 h 6"/>
                  <a:gd name="T2" fmla="*/ 2 w 5"/>
                  <a:gd name="T3" fmla="*/ 2 h 6"/>
                  <a:gd name="T4" fmla="*/ 0 w 5"/>
                  <a:gd name="T5" fmla="*/ 4 h 6"/>
                  <a:gd name="T6" fmla="*/ 0 w 5"/>
                  <a:gd name="T7" fmla="*/ 4 h 6"/>
                  <a:gd name="T8" fmla="*/ 2 w 5"/>
                  <a:gd name="T9" fmla="*/ 4 h 6"/>
                  <a:gd name="T10" fmla="*/ 3 w 5"/>
                  <a:gd name="T11" fmla="*/ 6 h 6"/>
                  <a:gd name="T12" fmla="*/ 3 w 5"/>
                  <a:gd name="T13" fmla="*/ 6 h 6"/>
                  <a:gd name="T14" fmla="*/ 5 w 5"/>
                  <a:gd name="T15" fmla="*/ 4 h 6"/>
                  <a:gd name="T16" fmla="*/ 5 w 5"/>
                  <a:gd name="T17" fmla="*/ 2 h 6"/>
                  <a:gd name="T18" fmla="*/ 5 w 5"/>
                  <a:gd name="T19" fmla="*/ 0 h 6"/>
                  <a:gd name="T20" fmla="*/ 5 w 5"/>
                  <a:gd name="T21" fmla="*/ 0 h 6"/>
                  <a:gd name="T22" fmla="*/ 3 w 5"/>
                  <a:gd name="T23" fmla="*/ 2 h 6"/>
                  <a:gd name="T24" fmla="*/ 2 w 5"/>
                  <a:gd name="T25"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6">
                    <a:moveTo>
                      <a:pt x="2" y="2"/>
                    </a:moveTo>
                    <a:lnTo>
                      <a:pt x="2" y="2"/>
                    </a:lnTo>
                    <a:lnTo>
                      <a:pt x="0" y="4"/>
                    </a:lnTo>
                    <a:lnTo>
                      <a:pt x="0" y="4"/>
                    </a:lnTo>
                    <a:lnTo>
                      <a:pt x="2" y="4"/>
                    </a:lnTo>
                    <a:lnTo>
                      <a:pt x="3" y="6"/>
                    </a:lnTo>
                    <a:lnTo>
                      <a:pt x="3" y="6"/>
                    </a:lnTo>
                    <a:lnTo>
                      <a:pt x="5" y="4"/>
                    </a:lnTo>
                    <a:lnTo>
                      <a:pt x="5" y="2"/>
                    </a:lnTo>
                    <a:lnTo>
                      <a:pt x="5" y="0"/>
                    </a:lnTo>
                    <a:lnTo>
                      <a:pt x="5" y="0"/>
                    </a:lnTo>
                    <a:lnTo>
                      <a:pt x="3" y="2"/>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66" name="Freeform 2619"/>
              <p:cNvSpPr>
                <a:spLocks/>
              </p:cNvSpPr>
              <p:nvPr/>
            </p:nvSpPr>
            <p:spPr bwMode="auto">
              <a:xfrm>
                <a:off x="4687" y="2841"/>
                <a:ext cx="12" cy="6"/>
              </a:xfrm>
              <a:custGeom>
                <a:avLst/>
                <a:gdLst>
                  <a:gd name="T0" fmla="*/ 2 w 12"/>
                  <a:gd name="T1" fmla="*/ 0 h 6"/>
                  <a:gd name="T2" fmla="*/ 2 w 12"/>
                  <a:gd name="T3" fmla="*/ 0 h 6"/>
                  <a:gd name="T4" fmla="*/ 2 w 12"/>
                  <a:gd name="T5" fmla="*/ 2 h 6"/>
                  <a:gd name="T6" fmla="*/ 3 w 12"/>
                  <a:gd name="T7" fmla="*/ 2 h 6"/>
                  <a:gd name="T8" fmla="*/ 3 w 12"/>
                  <a:gd name="T9" fmla="*/ 2 h 6"/>
                  <a:gd name="T10" fmla="*/ 2 w 12"/>
                  <a:gd name="T11" fmla="*/ 4 h 6"/>
                  <a:gd name="T12" fmla="*/ 0 w 12"/>
                  <a:gd name="T13" fmla="*/ 6 h 6"/>
                  <a:gd name="T14" fmla="*/ 0 w 12"/>
                  <a:gd name="T15" fmla="*/ 6 h 6"/>
                  <a:gd name="T16" fmla="*/ 5 w 12"/>
                  <a:gd name="T17" fmla="*/ 6 h 6"/>
                  <a:gd name="T18" fmla="*/ 12 w 12"/>
                  <a:gd name="T19" fmla="*/ 4 h 6"/>
                  <a:gd name="T20" fmla="*/ 12 w 12"/>
                  <a:gd name="T21" fmla="*/ 4 h 6"/>
                  <a:gd name="T22" fmla="*/ 12 w 12"/>
                  <a:gd name="T23" fmla="*/ 2 h 6"/>
                  <a:gd name="T24" fmla="*/ 11 w 12"/>
                  <a:gd name="T25" fmla="*/ 2 h 6"/>
                  <a:gd name="T26" fmla="*/ 11 w 12"/>
                  <a:gd name="T27" fmla="*/ 2 h 6"/>
                  <a:gd name="T28" fmla="*/ 7 w 12"/>
                  <a:gd name="T29" fmla="*/ 2 h 6"/>
                  <a:gd name="T30" fmla="*/ 7 w 12"/>
                  <a:gd name="T31" fmla="*/ 2 h 6"/>
                  <a:gd name="T32" fmla="*/ 2 w 12"/>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6">
                    <a:moveTo>
                      <a:pt x="2" y="0"/>
                    </a:moveTo>
                    <a:lnTo>
                      <a:pt x="2" y="0"/>
                    </a:lnTo>
                    <a:lnTo>
                      <a:pt x="2" y="2"/>
                    </a:lnTo>
                    <a:lnTo>
                      <a:pt x="3" y="2"/>
                    </a:lnTo>
                    <a:lnTo>
                      <a:pt x="3" y="2"/>
                    </a:lnTo>
                    <a:lnTo>
                      <a:pt x="2" y="4"/>
                    </a:lnTo>
                    <a:lnTo>
                      <a:pt x="0" y="6"/>
                    </a:lnTo>
                    <a:lnTo>
                      <a:pt x="0" y="6"/>
                    </a:lnTo>
                    <a:lnTo>
                      <a:pt x="5" y="6"/>
                    </a:lnTo>
                    <a:lnTo>
                      <a:pt x="12" y="4"/>
                    </a:lnTo>
                    <a:lnTo>
                      <a:pt x="12" y="4"/>
                    </a:lnTo>
                    <a:lnTo>
                      <a:pt x="12" y="2"/>
                    </a:lnTo>
                    <a:lnTo>
                      <a:pt x="11" y="2"/>
                    </a:lnTo>
                    <a:lnTo>
                      <a:pt x="11" y="2"/>
                    </a:lnTo>
                    <a:lnTo>
                      <a:pt x="7" y="2"/>
                    </a:lnTo>
                    <a:lnTo>
                      <a:pt x="7"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67" name="Freeform 2620"/>
              <p:cNvSpPr>
                <a:spLocks/>
              </p:cNvSpPr>
              <p:nvPr/>
            </p:nvSpPr>
            <p:spPr bwMode="auto">
              <a:xfrm>
                <a:off x="4687" y="2841"/>
                <a:ext cx="12" cy="6"/>
              </a:xfrm>
              <a:custGeom>
                <a:avLst/>
                <a:gdLst>
                  <a:gd name="T0" fmla="*/ 2 w 12"/>
                  <a:gd name="T1" fmla="*/ 0 h 6"/>
                  <a:gd name="T2" fmla="*/ 2 w 12"/>
                  <a:gd name="T3" fmla="*/ 0 h 6"/>
                  <a:gd name="T4" fmla="*/ 2 w 12"/>
                  <a:gd name="T5" fmla="*/ 2 h 6"/>
                  <a:gd name="T6" fmla="*/ 3 w 12"/>
                  <a:gd name="T7" fmla="*/ 2 h 6"/>
                  <a:gd name="T8" fmla="*/ 3 w 12"/>
                  <a:gd name="T9" fmla="*/ 2 h 6"/>
                  <a:gd name="T10" fmla="*/ 2 w 12"/>
                  <a:gd name="T11" fmla="*/ 4 h 6"/>
                  <a:gd name="T12" fmla="*/ 0 w 12"/>
                  <a:gd name="T13" fmla="*/ 6 h 6"/>
                  <a:gd name="T14" fmla="*/ 0 w 12"/>
                  <a:gd name="T15" fmla="*/ 6 h 6"/>
                  <a:gd name="T16" fmla="*/ 5 w 12"/>
                  <a:gd name="T17" fmla="*/ 6 h 6"/>
                  <a:gd name="T18" fmla="*/ 12 w 12"/>
                  <a:gd name="T19" fmla="*/ 4 h 6"/>
                  <a:gd name="T20" fmla="*/ 12 w 12"/>
                  <a:gd name="T21" fmla="*/ 4 h 6"/>
                  <a:gd name="T22" fmla="*/ 12 w 12"/>
                  <a:gd name="T23" fmla="*/ 2 h 6"/>
                  <a:gd name="T24" fmla="*/ 11 w 12"/>
                  <a:gd name="T25" fmla="*/ 2 h 6"/>
                  <a:gd name="T26" fmla="*/ 11 w 12"/>
                  <a:gd name="T27" fmla="*/ 2 h 6"/>
                  <a:gd name="T28" fmla="*/ 7 w 12"/>
                  <a:gd name="T29" fmla="*/ 2 h 6"/>
                  <a:gd name="T30" fmla="*/ 7 w 12"/>
                  <a:gd name="T31" fmla="*/ 2 h 6"/>
                  <a:gd name="T32" fmla="*/ 2 w 12"/>
                  <a:gd name="T3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6">
                    <a:moveTo>
                      <a:pt x="2" y="0"/>
                    </a:moveTo>
                    <a:lnTo>
                      <a:pt x="2" y="0"/>
                    </a:lnTo>
                    <a:lnTo>
                      <a:pt x="2" y="2"/>
                    </a:lnTo>
                    <a:lnTo>
                      <a:pt x="3" y="2"/>
                    </a:lnTo>
                    <a:lnTo>
                      <a:pt x="3" y="2"/>
                    </a:lnTo>
                    <a:lnTo>
                      <a:pt x="2" y="4"/>
                    </a:lnTo>
                    <a:lnTo>
                      <a:pt x="0" y="6"/>
                    </a:lnTo>
                    <a:lnTo>
                      <a:pt x="0" y="6"/>
                    </a:lnTo>
                    <a:lnTo>
                      <a:pt x="5" y="6"/>
                    </a:lnTo>
                    <a:lnTo>
                      <a:pt x="12" y="4"/>
                    </a:lnTo>
                    <a:lnTo>
                      <a:pt x="12" y="4"/>
                    </a:lnTo>
                    <a:lnTo>
                      <a:pt x="12" y="2"/>
                    </a:lnTo>
                    <a:lnTo>
                      <a:pt x="11" y="2"/>
                    </a:lnTo>
                    <a:lnTo>
                      <a:pt x="11" y="2"/>
                    </a:lnTo>
                    <a:lnTo>
                      <a:pt x="7" y="2"/>
                    </a:lnTo>
                    <a:lnTo>
                      <a:pt x="7"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68" name="Freeform 2621"/>
              <p:cNvSpPr>
                <a:spLocks/>
              </p:cNvSpPr>
              <p:nvPr/>
            </p:nvSpPr>
            <p:spPr bwMode="auto">
              <a:xfrm>
                <a:off x="4692" y="2738"/>
                <a:ext cx="16" cy="5"/>
              </a:xfrm>
              <a:custGeom>
                <a:avLst/>
                <a:gdLst>
                  <a:gd name="T0" fmla="*/ 2 w 16"/>
                  <a:gd name="T1" fmla="*/ 0 h 5"/>
                  <a:gd name="T2" fmla="*/ 2 w 16"/>
                  <a:gd name="T3" fmla="*/ 0 h 5"/>
                  <a:gd name="T4" fmla="*/ 0 w 16"/>
                  <a:gd name="T5" fmla="*/ 2 h 5"/>
                  <a:gd name="T6" fmla="*/ 0 w 16"/>
                  <a:gd name="T7" fmla="*/ 5 h 5"/>
                  <a:gd name="T8" fmla="*/ 2 w 16"/>
                  <a:gd name="T9" fmla="*/ 5 h 5"/>
                  <a:gd name="T10" fmla="*/ 6 w 16"/>
                  <a:gd name="T11" fmla="*/ 5 h 5"/>
                  <a:gd name="T12" fmla="*/ 6 w 16"/>
                  <a:gd name="T13" fmla="*/ 5 h 5"/>
                  <a:gd name="T14" fmla="*/ 7 w 16"/>
                  <a:gd name="T15" fmla="*/ 3 h 5"/>
                  <a:gd name="T16" fmla="*/ 7 w 16"/>
                  <a:gd name="T17" fmla="*/ 3 h 5"/>
                  <a:gd name="T18" fmla="*/ 11 w 16"/>
                  <a:gd name="T19" fmla="*/ 3 h 5"/>
                  <a:gd name="T20" fmla="*/ 11 w 16"/>
                  <a:gd name="T21" fmla="*/ 3 h 5"/>
                  <a:gd name="T22" fmla="*/ 13 w 16"/>
                  <a:gd name="T23" fmla="*/ 3 h 5"/>
                  <a:gd name="T24" fmla="*/ 16 w 16"/>
                  <a:gd name="T25" fmla="*/ 2 h 5"/>
                  <a:gd name="T26" fmla="*/ 16 w 16"/>
                  <a:gd name="T27" fmla="*/ 2 h 5"/>
                  <a:gd name="T28" fmla="*/ 15 w 16"/>
                  <a:gd name="T29" fmla="*/ 2 h 5"/>
                  <a:gd name="T30" fmla="*/ 13 w 16"/>
                  <a:gd name="T31" fmla="*/ 0 h 5"/>
                  <a:gd name="T32" fmla="*/ 13 w 16"/>
                  <a:gd name="T33" fmla="*/ 0 h 5"/>
                  <a:gd name="T34" fmla="*/ 11 w 16"/>
                  <a:gd name="T35" fmla="*/ 2 h 5"/>
                  <a:gd name="T36" fmla="*/ 7 w 16"/>
                  <a:gd name="T37" fmla="*/ 2 h 5"/>
                  <a:gd name="T38" fmla="*/ 2 w 16"/>
                  <a:gd name="T3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5">
                    <a:moveTo>
                      <a:pt x="2" y="0"/>
                    </a:moveTo>
                    <a:lnTo>
                      <a:pt x="2" y="0"/>
                    </a:lnTo>
                    <a:lnTo>
                      <a:pt x="0" y="2"/>
                    </a:lnTo>
                    <a:lnTo>
                      <a:pt x="0" y="5"/>
                    </a:lnTo>
                    <a:lnTo>
                      <a:pt x="2" y="5"/>
                    </a:lnTo>
                    <a:lnTo>
                      <a:pt x="6" y="5"/>
                    </a:lnTo>
                    <a:lnTo>
                      <a:pt x="6" y="5"/>
                    </a:lnTo>
                    <a:lnTo>
                      <a:pt x="7" y="3"/>
                    </a:lnTo>
                    <a:lnTo>
                      <a:pt x="7" y="3"/>
                    </a:lnTo>
                    <a:lnTo>
                      <a:pt x="11" y="3"/>
                    </a:lnTo>
                    <a:lnTo>
                      <a:pt x="11" y="3"/>
                    </a:lnTo>
                    <a:lnTo>
                      <a:pt x="13" y="3"/>
                    </a:lnTo>
                    <a:lnTo>
                      <a:pt x="16" y="2"/>
                    </a:lnTo>
                    <a:lnTo>
                      <a:pt x="16" y="2"/>
                    </a:lnTo>
                    <a:lnTo>
                      <a:pt x="15" y="2"/>
                    </a:lnTo>
                    <a:lnTo>
                      <a:pt x="13" y="0"/>
                    </a:lnTo>
                    <a:lnTo>
                      <a:pt x="13" y="0"/>
                    </a:lnTo>
                    <a:lnTo>
                      <a:pt x="11" y="2"/>
                    </a:lnTo>
                    <a:lnTo>
                      <a:pt x="7"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69" name="Freeform 2622"/>
              <p:cNvSpPr>
                <a:spLocks/>
              </p:cNvSpPr>
              <p:nvPr/>
            </p:nvSpPr>
            <p:spPr bwMode="auto">
              <a:xfrm>
                <a:off x="4692" y="2738"/>
                <a:ext cx="16" cy="5"/>
              </a:xfrm>
              <a:custGeom>
                <a:avLst/>
                <a:gdLst>
                  <a:gd name="T0" fmla="*/ 2 w 16"/>
                  <a:gd name="T1" fmla="*/ 0 h 5"/>
                  <a:gd name="T2" fmla="*/ 2 w 16"/>
                  <a:gd name="T3" fmla="*/ 0 h 5"/>
                  <a:gd name="T4" fmla="*/ 0 w 16"/>
                  <a:gd name="T5" fmla="*/ 2 h 5"/>
                  <a:gd name="T6" fmla="*/ 0 w 16"/>
                  <a:gd name="T7" fmla="*/ 5 h 5"/>
                  <a:gd name="T8" fmla="*/ 2 w 16"/>
                  <a:gd name="T9" fmla="*/ 5 h 5"/>
                  <a:gd name="T10" fmla="*/ 6 w 16"/>
                  <a:gd name="T11" fmla="*/ 5 h 5"/>
                  <a:gd name="T12" fmla="*/ 6 w 16"/>
                  <a:gd name="T13" fmla="*/ 5 h 5"/>
                  <a:gd name="T14" fmla="*/ 7 w 16"/>
                  <a:gd name="T15" fmla="*/ 3 h 5"/>
                  <a:gd name="T16" fmla="*/ 7 w 16"/>
                  <a:gd name="T17" fmla="*/ 3 h 5"/>
                  <a:gd name="T18" fmla="*/ 11 w 16"/>
                  <a:gd name="T19" fmla="*/ 3 h 5"/>
                  <a:gd name="T20" fmla="*/ 11 w 16"/>
                  <a:gd name="T21" fmla="*/ 3 h 5"/>
                  <a:gd name="T22" fmla="*/ 13 w 16"/>
                  <a:gd name="T23" fmla="*/ 3 h 5"/>
                  <a:gd name="T24" fmla="*/ 16 w 16"/>
                  <a:gd name="T25" fmla="*/ 2 h 5"/>
                  <a:gd name="T26" fmla="*/ 16 w 16"/>
                  <a:gd name="T27" fmla="*/ 2 h 5"/>
                  <a:gd name="T28" fmla="*/ 15 w 16"/>
                  <a:gd name="T29" fmla="*/ 2 h 5"/>
                  <a:gd name="T30" fmla="*/ 13 w 16"/>
                  <a:gd name="T31" fmla="*/ 0 h 5"/>
                  <a:gd name="T32" fmla="*/ 13 w 16"/>
                  <a:gd name="T33" fmla="*/ 0 h 5"/>
                  <a:gd name="T34" fmla="*/ 11 w 16"/>
                  <a:gd name="T35" fmla="*/ 2 h 5"/>
                  <a:gd name="T36" fmla="*/ 7 w 16"/>
                  <a:gd name="T37" fmla="*/ 2 h 5"/>
                  <a:gd name="T38" fmla="*/ 2 w 16"/>
                  <a:gd name="T3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 h="5">
                    <a:moveTo>
                      <a:pt x="2" y="0"/>
                    </a:moveTo>
                    <a:lnTo>
                      <a:pt x="2" y="0"/>
                    </a:lnTo>
                    <a:lnTo>
                      <a:pt x="0" y="2"/>
                    </a:lnTo>
                    <a:lnTo>
                      <a:pt x="0" y="5"/>
                    </a:lnTo>
                    <a:lnTo>
                      <a:pt x="2" y="5"/>
                    </a:lnTo>
                    <a:lnTo>
                      <a:pt x="6" y="5"/>
                    </a:lnTo>
                    <a:lnTo>
                      <a:pt x="6" y="5"/>
                    </a:lnTo>
                    <a:lnTo>
                      <a:pt x="7" y="3"/>
                    </a:lnTo>
                    <a:lnTo>
                      <a:pt x="7" y="3"/>
                    </a:lnTo>
                    <a:lnTo>
                      <a:pt x="11" y="3"/>
                    </a:lnTo>
                    <a:lnTo>
                      <a:pt x="11" y="3"/>
                    </a:lnTo>
                    <a:lnTo>
                      <a:pt x="13" y="3"/>
                    </a:lnTo>
                    <a:lnTo>
                      <a:pt x="16" y="2"/>
                    </a:lnTo>
                    <a:lnTo>
                      <a:pt x="16" y="2"/>
                    </a:lnTo>
                    <a:lnTo>
                      <a:pt x="15" y="2"/>
                    </a:lnTo>
                    <a:lnTo>
                      <a:pt x="13" y="0"/>
                    </a:lnTo>
                    <a:lnTo>
                      <a:pt x="13" y="0"/>
                    </a:lnTo>
                    <a:lnTo>
                      <a:pt x="11" y="2"/>
                    </a:lnTo>
                    <a:lnTo>
                      <a:pt x="7"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70" name="Freeform 2623"/>
              <p:cNvSpPr>
                <a:spLocks/>
              </p:cNvSpPr>
              <p:nvPr/>
            </p:nvSpPr>
            <p:spPr bwMode="auto">
              <a:xfrm>
                <a:off x="4708" y="2652"/>
                <a:ext cx="4" cy="5"/>
              </a:xfrm>
              <a:custGeom>
                <a:avLst/>
                <a:gdLst>
                  <a:gd name="T0" fmla="*/ 4 w 4"/>
                  <a:gd name="T1" fmla="*/ 5 h 5"/>
                  <a:gd name="T2" fmla="*/ 4 w 4"/>
                  <a:gd name="T3" fmla="*/ 5 h 5"/>
                  <a:gd name="T4" fmla="*/ 4 w 4"/>
                  <a:gd name="T5" fmla="*/ 2 h 5"/>
                  <a:gd name="T6" fmla="*/ 2 w 4"/>
                  <a:gd name="T7" fmla="*/ 0 h 5"/>
                  <a:gd name="T8" fmla="*/ 0 w 4"/>
                  <a:gd name="T9" fmla="*/ 0 h 5"/>
                  <a:gd name="T10" fmla="*/ 0 w 4"/>
                  <a:gd name="T11" fmla="*/ 0 h 5"/>
                  <a:gd name="T12" fmla="*/ 2 w 4"/>
                  <a:gd name="T13" fmla="*/ 4 h 5"/>
                  <a:gd name="T14" fmla="*/ 4 w 4"/>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5"/>
                    </a:moveTo>
                    <a:lnTo>
                      <a:pt x="4" y="5"/>
                    </a:lnTo>
                    <a:lnTo>
                      <a:pt x="4" y="2"/>
                    </a:lnTo>
                    <a:lnTo>
                      <a:pt x="2" y="0"/>
                    </a:lnTo>
                    <a:lnTo>
                      <a:pt x="0" y="0"/>
                    </a:lnTo>
                    <a:lnTo>
                      <a:pt x="0" y="0"/>
                    </a:lnTo>
                    <a:lnTo>
                      <a:pt x="2" y="4"/>
                    </a:lnTo>
                    <a:lnTo>
                      <a:pt x="4"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71" name="Freeform 2624"/>
              <p:cNvSpPr>
                <a:spLocks/>
              </p:cNvSpPr>
              <p:nvPr/>
            </p:nvSpPr>
            <p:spPr bwMode="auto">
              <a:xfrm>
                <a:off x="4708" y="2652"/>
                <a:ext cx="4" cy="5"/>
              </a:xfrm>
              <a:custGeom>
                <a:avLst/>
                <a:gdLst>
                  <a:gd name="T0" fmla="*/ 4 w 4"/>
                  <a:gd name="T1" fmla="*/ 5 h 5"/>
                  <a:gd name="T2" fmla="*/ 4 w 4"/>
                  <a:gd name="T3" fmla="*/ 5 h 5"/>
                  <a:gd name="T4" fmla="*/ 4 w 4"/>
                  <a:gd name="T5" fmla="*/ 2 h 5"/>
                  <a:gd name="T6" fmla="*/ 2 w 4"/>
                  <a:gd name="T7" fmla="*/ 0 h 5"/>
                  <a:gd name="T8" fmla="*/ 0 w 4"/>
                  <a:gd name="T9" fmla="*/ 0 h 5"/>
                  <a:gd name="T10" fmla="*/ 0 w 4"/>
                  <a:gd name="T11" fmla="*/ 0 h 5"/>
                  <a:gd name="T12" fmla="*/ 2 w 4"/>
                  <a:gd name="T13" fmla="*/ 4 h 5"/>
                  <a:gd name="T14" fmla="*/ 4 w 4"/>
                  <a:gd name="T15" fmla="*/ 5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5">
                    <a:moveTo>
                      <a:pt x="4" y="5"/>
                    </a:moveTo>
                    <a:lnTo>
                      <a:pt x="4" y="5"/>
                    </a:lnTo>
                    <a:lnTo>
                      <a:pt x="4" y="2"/>
                    </a:lnTo>
                    <a:lnTo>
                      <a:pt x="2" y="0"/>
                    </a:lnTo>
                    <a:lnTo>
                      <a:pt x="0" y="0"/>
                    </a:lnTo>
                    <a:lnTo>
                      <a:pt x="0" y="0"/>
                    </a:lnTo>
                    <a:lnTo>
                      <a:pt x="2" y="4"/>
                    </a:lnTo>
                    <a:lnTo>
                      <a:pt x="4"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72" name="Freeform 2625"/>
              <p:cNvSpPr>
                <a:spLocks/>
              </p:cNvSpPr>
              <p:nvPr/>
            </p:nvSpPr>
            <p:spPr bwMode="auto">
              <a:xfrm>
                <a:off x="4708" y="2740"/>
                <a:ext cx="16" cy="1"/>
              </a:xfrm>
              <a:custGeom>
                <a:avLst/>
                <a:gdLst>
                  <a:gd name="T0" fmla="*/ 2 w 16"/>
                  <a:gd name="T1" fmla="*/ 0 h 1"/>
                  <a:gd name="T2" fmla="*/ 2 w 16"/>
                  <a:gd name="T3" fmla="*/ 0 h 1"/>
                  <a:gd name="T4" fmla="*/ 0 w 16"/>
                  <a:gd name="T5" fmla="*/ 1 h 1"/>
                  <a:gd name="T6" fmla="*/ 2 w 16"/>
                  <a:gd name="T7" fmla="*/ 1 h 1"/>
                  <a:gd name="T8" fmla="*/ 6 w 16"/>
                  <a:gd name="T9" fmla="*/ 1 h 1"/>
                  <a:gd name="T10" fmla="*/ 6 w 16"/>
                  <a:gd name="T11" fmla="*/ 1 h 1"/>
                  <a:gd name="T12" fmla="*/ 11 w 16"/>
                  <a:gd name="T13" fmla="*/ 1 h 1"/>
                  <a:gd name="T14" fmla="*/ 16 w 16"/>
                  <a:gd name="T15" fmla="*/ 0 h 1"/>
                  <a:gd name="T16" fmla="*/ 16 w 16"/>
                  <a:gd name="T17" fmla="*/ 0 h 1"/>
                  <a:gd name="T18" fmla="*/ 9 w 16"/>
                  <a:gd name="T19" fmla="*/ 0 h 1"/>
                  <a:gd name="T20" fmla="*/ 2 w 16"/>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
                    <a:moveTo>
                      <a:pt x="2" y="0"/>
                    </a:moveTo>
                    <a:lnTo>
                      <a:pt x="2" y="0"/>
                    </a:lnTo>
                    <a:lnTo>
                      <a:pt x="0" y="1"/>
                    </a:lnTo>
                    <a:lnTo>
                      <a:pt x="2" y="1"/>
                    </a:lnTo>
                    <a:lnTo>
                      <a:pt x="6" y="1"/>
                    </a:lnTo>
                    <a:lnTo>
                      <a:pt x="6" y="1"/>
                    </a:lnTo>
                    <a:lnTo>
                      <a:pt x="11" y="1"/>
                    </a:lnTo>
                    <a:lnTo>
                      <a:pt x="16" y="0"/>
                    </a:lnTo>
                    <a:lnTo>
                      <a:pt x="16" y="0"/>
                    </a:lnTo>
                    <a:lnTo>
                      <a:pt x="9"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73" name="Freeform 2626"/>
              <p:cNvSpPr>
                <a:spLocks/>
              </p:cNvSpPr>
              <p:nvPr/>
            </p:nvSpPr>
            <p:spPr bwMode="auto">
              <a:xfrm>
                <a:off x="4708" y="2740"/>
                <a:ext cx="16" cy="1"/>
              </a:xfrm>
              <a:custGeom>
                <a:avLst/>
                <a:gdLst>
                  <a:gd name="T0" fmla="*/ 2 w 16"/>
                  <a:gd name="T1" fmla="*/ 0 h 1"/>
                  <a:gd name="T2" fmla="*/ 2 w 16"/>
                  <a:gd name="T3" fmla="*/ 0 h 1"/>
                  <a:gd name="T4" fmla="*/ 0 w 16"/>
                  <a:gd name="T5" fmla="*/ 1 h 1"/>
                  <a:gd name="T6" fmla="*/ 2 w 16"/>
                  <a:gd name="T7" fmla="*/ 1 h 1"/>
                  <a:gd name="T8" fmla="*/ 6 w 16"/>
                  <a:gd name="T9" fmla="*/ 1 h 1"/>
                  <a:gd name="T10" fmla="*/ 6 w 16"/>
                  <a:gd name="T11" fmla="*/ 1 h 1"/>
                  <a:gd name="T12" fmla="*/ 11 w 16"/>
                  <a:gd name="T13" fmla="*/ 1 h 1"/>
                  <a:gd name="T14" fmla="*/ 16 w 16"/>
                  <a:gd name="T15" fmla="*/ 0 h 1"/>
                  <a:gd name="T16" fmla="*/ 16 w 16"/>
                  <a:gd name="T17" fmla="*/ 0 h 1"/>
                  <a:gd name="T18" fmla="*/ 9 w 16"/>
                  <a:gd name="T19" fmla="*/ 0 h 1"/>
                  <a:gd name="T20" fmla="*/ 2 w 16"/>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
                    <a:moveTo>
                      <a:pt x="2" y="0"/>
                    </a:moveTo>
                    <a:lnTo>
                      <a:pt x="2" y="0"/>
                    </a:lnTo>
                    <a:lnTo>
                      <a:pt x="0" y="1"/>
                    </a:lnTo>
                    <a:lnTo>
                      <a:pt x="2" y="1"/>
                    </a:lnTo>
                    <a:lnTo>
                      <a:pt x="6" y="1"/>
                    </a:lnTo>
                    <a:lnTo>
                      <a:pt x="6" y="1"/>
                    </a:lnTo>
                    <a:lnTo>
                      <a:pt x="11" y="1"/>
                    </a:lnTo>
                    <a:lnTo>
                      <a:pt x="16" y="0"/>
                    </a:lnTo>
                    <a:lnTo>
                      <a:pt x="16" y="0"/>
                    </a:lnTo>
                    <a:lnTo>
                      <a:pt x="9"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74" name="Freeform 2627"/>
              <p:cNvSpPr>
                <a:spLocks/>
              </p:cNvSpPr>
              <p:nvPr/>
            </p:nvSpPr>
            <p:spPr bwMode="auto">
              <a:xfrm>
                <a:off x="4710" y="2834"/>
                <a:ext cx="16" cy="6"/>
              </a:xfrm>
              <a:custGeom>
                <a:avLst/>
                <a:gdLst>
                  <a:gd name="T0" fmla="*/ 0 w 16"/>
                  <a:gd name="T1" fmla="*/ 6 h 6"/>
                  <a:gd name="T2" fmla="*/ 0 w 16"/>
                  <a:gd name="T3" fmla="*/ 6 h 6"/>
                  <a:gd name="T4" fmla="*/ 5 w 16"/>
                  <a:gd name="T5" fmla="*/ 4 h 6"/>
                  <a:gd name="T6" fmla="*/ 11 w 16"/>
                  <a:gd name="T7" fmla="*/ 6 h 6"/>
                  <a:gd name="T8" fmla="*/ 11 w 16"/>
                  <a:gd name="T9" fmla="*/ 6 h 6"/>
                  <a:gd name="T10" fmla="*/ 13 w 16"/>
                  <a:gd name="T11" fmla="*/ 4 h 6"/>
                  <a:gd name="T12" fmla="*/ 16 w 16"/>
                  <a:gd name="T13" fmla="*/ 2 h 6"/>
                  <a:gd name="T14" fmla="*/ 16 w 16"/>
                  <a:gd name="T15" fmla="*/ 2 h 6"/>
                  <a:gd name="T16" fmla="*/ 14 w 16"/>
                  <a:gd name="T17" fmla="*/ 0 h 6"/>
                  <a:gd name="T18" fmla="*/ 13 w 16"/>
                  <a:gd name="T19" fmla="*/ 0 h 6"/>
                  <a:gd name="T20" fmla="*/ 7 w 16"/>
                  <a:gd name="T21" fmla="*/ 0 h 6"/>
                  <a:gd name="T22" fmla="*/ 7 w 16"/>
                  <a:gd name="T23" fmla="*/ 0 h 6"/>
                  <a:gd name="T24" fmla="*/ 4 w 16"/>
                  <a:gd name="T25" fmla="*/ 0 h 6"/>
                  <a:gd name="T26" fmla="*/ 4 w 16"/>
                  <a:gd name="T27" fmla="*/ 0 h 6"/>
                  <a:gd name="T28" fmla="*/ 2 w 16"/>
                  <a:gd name="T29" fmla="*/ 4 h 6"/>
                  <a:gd name="T30" fmla="*/ 0 w 16"/>
                  <a:gd name="T3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6">
                    <a:moveTo>
                      <a:pt x="0" y="6"/>
                    </a:moveTo>
                    <a:lnTo>
                      <a:pt x="0" y="6"/>
                    </a:lnTo>
                    <a:lnTo>
                      <a:pt x="5" y="4"/>
                    </a:lnTo>
                    <a:lnTo>
                      <a:pt x="11" y="6"/>
                    </a:lnTo>
                    <a:lnTo>
                      <a:pt x="11" y="6"/>
                    </a:lnTo>
                    <a:lnTo>
                      <a:pt x="13" y="4"/>
                    </a:lnTo>
                    <a:lnTo>
                      <a:pt x="16" y="2"/>
                    </a:lnTo>
                    <a:lnTo>
                      <a:pt x="16" y="2"/>
                    </a:lnTo>
                    <a:lnTo>
                      <a:pt x="14" y="0"/>
                    </a:lnTo>
                    <a:lnTo>
                      <a:pt x="13" y="0"/>
                    </a:lnTo>
                    <a:lnTo>
                      <a:pt x="7" y="0"/>
                    </a:lnTo>
                    <a:lnTo>
                      <a:pt x="7" y="0"/>
                    </a:lnTo>
                    <a:lnTo>
                      <a:pt x="4" y="0"/>
                    </a:lnTo>
                    <a:lnTo>
                      <a:pt x="4" y="0"/>
                    </a:lnTo>
                    <a:lnTo>
                      <a:pt x="2" y="4"/>
                    </a:lnTo>
                    <a:lnTo>
                      <a:pt x="0"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75" name="Freeform 2628"/>
              <p:cNvSpPr>
                <a:spLocks/>
              </p:cNvSpPr>
              <p:nvPr/>
            </p:nvSpPr>
            <p:spPr bwMode="auto">
              <a:xfrm>
                <a:off x="4710" y="2834"/>
                <a:ext cx="16" cy="6"/>
              </a:xfrm>
              <a:custGeom>
                <a:avLst/>
                <a:gdLst>
                  <a:gd name="T0" fmla="*/ 0 w 16"/>
                  <a:gd name="T1" fmla="*/ 6 h 6"/>
                  <a:gd name="T2" fmla="*/ 0 w 16"/>
                  <a:gd name="T3" fmla="*/ 6 h 6"/>
                  <a:gd name="T4" fmla="*/ 5 w 16"/>
                  <a:gd name="T5" fmla="*/ 4 h 6"/>
                  <a:gd name="T6" fmla="*/ 11 w 16"/>
                  <a:gd name="T7" fmla="*/ 6 h 6"/>
                  <a:gd name="T8" fmla="*/ 11 w 16"/>
                  <a:gd name="T9" fmla="*/ 6 h 6"/>
                  <a:gd name="T10" fmla="*/ 13 w 16"/>
                  <a:gd name="T11" fmla="*/ 4 h 6"/>
                  <a:gd name="T12" fmla="*/ 16 w 16"/>
                  <a:gd name="T13" fmla="*/ 2 h 6"/>
                  <a:gd name="T14" fmla="*/ 16 w 16"/>
                  <a:gd name="T15" fmla="*/ 2 h 6"/>
                  <a:gd name="T16" fmla="*/ 14 w 16"/>
                  <a:gd name="T17" fmla="*/ 0 h 6"/>
                  <a:gd name="T18" fmla="*/ 13 w 16"/>
                  <a:gd name="T19" fmla="*/ 0 h 6"/>
                  <a:gd name="T20" fmla="*/ 7 w 16"/>
                  <a:gd name="T21" fmla="*/ 0 h 6"/>
                  <a:gd name="T22" fmla="*/ 7 w 16"/>
                  <a:gd name="T23" fmla="*/ 0 h 6"/>
                  <a:gd name="T24" fmla="*/ 4 w 16"/>
                  <a:gd name="T25" fmla="*/ 0 h 6"/>
                  <a:gd name="T26" fmla="*/ 4 w 16"/>
                  <a:gd name="T27" fmla="*/ 0 h 6"/>
                  <a:gd name="T28" fmla="*/ 2 w 16"/>
                  <a:gd name="T29" fmla="*/ 4 h 6"/>
                  <a:gd name="T30" fmla="*/ 0 w 16"/>
                  <a:gd name="T3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6">
                    <a:moveTo>
                      <a:pt x="0" y="6"/>
                    </a:moveTo>
                    <a:lnTo>
                      <a:pt x="0" y="6"/>
                    </a:lnTo>
                    <a:lnTo>
                      <a:pt x="5" y="4"/>
                    </a:lnTo>
                    <a:lnTo>
                      <a:pt x="11" y="6"/>
                    </a:lnTo>
                    <a:lnTo>
                      <a:pt x="11" y="6"/>
                    </a:lnTo>
                    <a:lnTo>
                      <a:pt x="13" y="4"/>
                    </a:lnTo>
                    <a:lnTo>
                      <a:pt x="16" y="2"/>
                    </a:lnTo>
                    <a:lnTo>
                      <a:pt x="16" y="2"/>
                    </a:lnTo>
                    <a:lnTo>
                      <a:pt x="14" y="0"/>
                    </a:lnTo>
                    <a:lnTo>
                      <a:pt x="13" y="0"/>
                    </a:lnTo>
                    <a:lnTo>
                      <a:pt x="7" y="0"/>
                    </a:lnTo>
                    <a:lnTo>
                      <a:pt x="7" y="0"/>
                    </a:lnTo>
                    <a:lnTo>
                      <a:pt x="4" y="0"/>
                    </a:lnTo>
                    <a:lnTo>
                      <a:pt x="4" y="0"/>
                    </a:lnTo>
                    <a:lnTo>
                      <a:pt x="2" y="4"/>
                    </a:lnTo>
                    <a:lnTo>
                      <a:pt x="0"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76" name="Freeform 2629"/>
              <p:cNvSpPr>
                <a:spLocks/>
              </p:cNvSpPr>
              <p:nvPr/>
            </p:nvSpPr>
            <p:spPr bwMode="auto">
              <a:xfrm>
                <a:off x="4717" y="2743"/>
                <a:ext cx="2" cy="7"/>
              </a:xfrm>
              <a:custGeom>
                <a:avLst/>
                <a:gdLst>
                  <a:gd name="T0" fmla="*/ 0 w 2"/>
                  <a:gd name="T1" fmla="*/ 0 h 7"/>
                  <a:gd name="T2" fmla="*/ 0 w 2"/>
                  <a:gd name="T3" fmla="*/ 0 h 7"/>
                  <a:gd name="T4" fmla="*/ 0 w 2"/>
                  <a:gd name="T5" fmla="*/ 2 h 7"/>
                  <a:gd name="T6" fmla="*/ 0 w 2"/>
                  <a:gd name="T7" fmla="*/ 4 h 7"/>
                  <a:gd name="T8" fmla="*/ 2 w 2"/>
                  <a:gd name="T9" fmla="*/ 7 h 7"/>
                  <a:gd name="T10" fmla="*/ 2 w 2"/>
                  <a:gd name="T11" fmla="*/ 7 h 7"/>
                  <a:gd name="T12" fmla="*/ 2 w 2"/>
                  <a:gd name="T13" fmla="*/ 4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0"/>
                    </a:moveTo>
                    <a:lnTo>
                      <a:pt x="0" y="0"/>
                    </a:lnTo>
                    <a:lnTo>
                      <a:pt x="0" y="2"/>
                    </a:lnTo>
                    <a:lnTo>
                      <a:pt x="0" y="4"/>
                    </a:lnTo>
                    <a:lnTo>
                      <a:pt x="2" y="7"/>
                    </a:lnTo>
                    <a:lnTo>
                      <a:pt x="2" y="7"/>
                    </a:lnTo>
                    <a:lnTo>
                      <a:pt x="2" y="4"/>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77" name="Freeform 2630"/>
              <p:cNvSpPr>
                <a:spLocks/>
              </p:cNvSpPr>
              <p:nvPr/>
            </p:nvSpPr>
            <p:spPr bwMode="auto">
              <a:xfrm>
                <a:off x="4717" y="2743"/>
                <a:ext cx="2" cy="7"/>
              </a:xfrm>
              <a:custGeom>
                <a:avLst/>
                <a:gdLst>
                  <a:gd name="T0" fmla="*/ 0 w 2"/>
                  <a:gd name="T1" fmla="*/ 0 h 7"/>
                  <a:gd name="T2" fmla="*/ 0 w 2"/>
                  <a:gd name="T3" fmla="*/ 0 h 7"/>
                  <a:gd name="T4" fmla="*/ 0 w 2"/>
                  <a:gd name="T5" fmla="*/ 2 h 7"/>
                  <a:gd name="T6" fmla="*/ 0 w 2"/>
                  <a:gd name="T7" fmla="*/ 4 h 7"/>
                  <a:gd name="T8" fmla="*/ 2 w 2"/>
                  <a:gd name="T9" fmla="*/ 7 h 7"/>
                  <a:gd name="T10" fmla="*/ 2 w 2"/>
                  <a:gd name="T11" fmla="*/ 7 h 7"/>
                  <a:gd name="T12" fmla="*/ 2 w 2"/>
                  <a:gd name="T13" fmla="*/ 4 h 7"/>
                  <a:gd name="T14" fmla="*/ 0 w 2"/>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7">
                    <a:moveTo>
                      <a:pt x="0" y="0"/>
                    </a:moveTo>
                    <a:lnTo>
                      <a:pt x="0" y="0"/>
                    </a:lnTo>
                    <a:lnTo>
                      <a:pt x="0" y="2"/>
                    </a:lnTo>
                    <a:lnTo>
                      <a:pt x="0" y="4"/>
                    </a:lnTo>
                    <a:lnTo>
                      <a:pt x="2" y="7"/>
                    </a:lnTo>
                    <a:lnTo>
                      <a:pt x="2" y="7"/>
                    </a:lnTo>
                    <a:lnTo>
                      <a:pt x="2" y="4"/>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78" name="Freeform 2631"/>
              <p:cNvSpPr>
                <a:spLocks/>
              </p:cNvSpPr>
              <p:nvPr/>
            </p:nvSpPr>
            <p:spPr bwMode="auto">
              <a:xfrm>
                <a:off x="4719" y="2761"/>
                <a:ext cx="20" cy="13"/>
              </a:xfrm>
              <a:custGeom>
                <a:avLst/>
                <a:gdLst>
                  <a:gd name="T0" fmla="*/ 9 w 20"/>
                  <a:gd name="T1" fmla="*/ 13 h 13"/>
                  <a:gd name="T2" fmla="*/ 9 w 20"/>
                  <a:gd name="T3" fmla="*/ 13 h 13"/>
                  <a:gd name="T4" fmla="*/ 14 w 20"/>
                  <a:gd name="T5" fmla="*/ 11 h 13"/>
                  <a:gd name="T6" fmla="*/ 18 w 20"/>
                  <a:gd name="T7" fmla="*/ 9 h 13"/>
                  <a:gd name="T8" fmla="*/ 18 w 20"/>
                  <a:gd name="T9" fmla="*/ 9 h 13"/>
                  <a:gd name="T10" fmla="*/ 20 w 20"/>
                  <a:gd name="T11" fmla="*/ 5 h 13"/>
                  <a:gd name="T12" fmla="*/ 16 w 20"/>
                  <a:gd name="T13" fmla="*/ 4 h 13"/>
                  <a:gd name="T14" fmla="*/ 16 w 20"/>
                  <a:gd name="T15" fmla="*/ 4 h 13"/>
                  <a:gd name="T16" fmla="*/ 16 w 20"/>
                  <a:gd name="T17" fmla="*/ 2 h 13"/>
                  <a:gd name="T18" fmla="*/ 16 w 20"/>
                  <a:gd name="T19" fmla="*/ 0 h 13"/>
                  <a:gd name="T20" fmla="*/ 13 w 20"/>
                  <a:gd name="T21" fmla="*/ 0 h 13"/>
                  <a:gd name="T22" fmla="*/ 13 w 20"/>
                  <a:gd name="T23" fmla="*/ 0 h 13"/>
                  <a:gd name="T24" fmla="*/ 7 w 20"/>
                  <a:gd name="T25" fmla="*/ 0 h 13"/>
                  <a:gd name="T26" fmla="*/ 4 w 20"/>
                  <a:gd name="T27" fmla="*/ 0 h 13"/>
                  <a:gd name="T28" fmla="*/ 4 w 20"/>
                  <a:gd name="T29" fmla="*/ 0 h 13"/>
                  <a:gd name="T30" fmla="*/ 0 w 20"/>
                  <a:gd name="T31" fmla="*/ 2 h 13"/>
                  <a:gd name="T32" fmla="*/ 0 w 20"/>
                  <a:gd name="T33" fmla="*/ 5 h 13"/>
                  <a:gd name="T34" fmla="*/ 0 w 20"/>
                  <a:gd name="T35" fmla="*/ 5 h 13"/>
                  <a:gd name="T36" fmla="*/ 4 w 20"/>
                  <a:gd name="T37" fmla="*/ 9 h 13"/>
                  <a:gd name="T38" fmla="*/ 9 w 20"/>
                  <a:gd name="T3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13">
                    <a:moveTo>
                      <a:pt x="9" y="13"/>
                    </a:moveTo>
                    <a:lnTo>
                      <a:pt x="9" y="13"/>
                    </a:lnTo>
                    <a:lnTo>
                      <a:pt x="14" y="11"/>
                    </a:lnTo>
                    <a:lnTo>
                      <a:pt x="18" y="9"/>
                    </a:lnTo>
                    <a:lnTo>
                      <a:pt x="18" y="9"/>
                    </a:lnTo>
                    <a:lnTo>
                      <a:pt x="20" y="5"/>
                    </a:lnTo>
                    <a:lnTo>
                      <a:pt x="16" y="4"/>
                    </a:lnTo>
                    <a:lnTo>
                      <a:pt x="16" y="4"/>
                    </a:lnTo>
                    <a:lnTo>
                      <a:pt x="16" y="2"/>
                    </a:lnTo>
                    <a:lnTo>
                      <a:pt x="16" y="0"/>
                    </a:lnTo>
                    <a:lnTo>
                      <a:pt x="13" y="0"/>
                    </a:lnTo>
                    <a:lnTo>
                      <a:pt x="13" y="0"/>
                    </a:lnTo>
                    <a:lnTo>
                      <a:pt x="7" y="0"/>
                    </a:lnTo>
                    <a:lnTo>
                      <a:pt x="4" y="0"/>
                    </a:lnTo>
                    <a:lnTo>
                      <a:pt x="4" y="0"/>
                    </a:lnTo>
                    <a:lnTo>
                      <a:pt x="0" y="2"/>
                    </a:lnTo>
                    <a:lnTo>
                      <a:pt x="0" y="5"/>
                    </a:lnTo>
                    <a:lnTo>
                      <a:pt x="0" y="5"/>
                    </a:lnTo>
                    <a:lnTo>
                      <a:pt x="4" y="9"/>
                    </a:lnTo>
                    <a:lnTo>
                      <a:pt x="9" y="1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79" name="Freeform 2632"/>
              <p:cNvSpPr>
                <a:spLocks/>
              </p:cNvSpPr>
              <p:nvPr/>
            </p:nvSpPr>
            <p:spPr bwMode="auto">
              <a:xfrm>
                <a:off x="4719" y="2761"/>
                <a:ext cx="20" cy="13"/>
              </a:xfrm>
              <a:custGeom>
                <a:avLst/>
                <a:gdLst>
                  <a:gd name="T0" fmla="*/ 9 w 20"/>
                  <a:gd name="T1" fmla="*/ 13 h 13"/>
                  <a:gd name="T2" fmla="*/ 9 w 20"/>
                  <a:gd name="T3" fmla="*/ 13 h 13"/>
                  <a:gd name="T4" fmla="*/ 14 w 20"/>
                  <a:gd name="T5" fmla="*/ 11 h 13"/>
                  <a:gd name="T6" fmla="*/ 18 w 20"/>
                  <a:gd name="T7" fmla="*/ 9 h 13"/>
                  <a:gd name="T8" fmla="*/ 18 w 20"/>
                  <a:gd name="T9" fmla="*/ 9 h 13"/>
                  <a:gd name="T10" fmla="*/ 20 w 20"/>
                  <a:gd name="T11" fmla="*/ 5 h 13"/>
                  <a:gd name="T12" fmla="*/ 16 w 20"/>
                  <a:gd name="T13" fmla="*/ 4 h 13"/>
                  <a:gd name="T14" fmla="*/ 16 w 20"/>
                  <a:gd name="T15" fmla="*/ 4 h 13"/>
                  <a:gd name="T16" fmla="*/ 16 w 20"/>
                  <a:gd name="T17" fmla="*/ 2 h 13"/>
                  <a:gd name="T18" fmla="*/ 16 w 20"/>
                  <a:gd name="T19" fmla="*/ 0 h 13"/>
                  <a:gd name="T20" fmla="*/ 13 w 20"/>
                  <a:gd name="T21" fmla="*/ 0 h 13"/>
                  <a:gd name="T22" fmla="*/ 13 w 20"/>
                  <a:gd name="T23" fmla="*/ 0 h 13"/>
                  <a:gd name="T24" fmla="*/ 7 w 20"/>
                  <a:gd name="T25" fmla="*/ 0 h 13"/>
                  <a:gd name="T26" fmla="*/ 4 w 20"/>
                  <a:gd name="T27" fmla="*/ 0 h 13"/>
                  <a:gd name="T28" fmla="*/ 4 w 20"/>
                  <a:gd name="T29" fmla="*/ 0 h 13"/>
                  <a:gd name="T30" fmla="*/ 0 w 20"/>
                  <a:gd name="T31" fmla="*/ 2 h 13"/>
                  <a:gd name="T32" fmla="*/ 0 w 20"/>
                  <a:gd name="T33" fmla="*/ 5 h 13"/>
                  <a:gd name="T34" fmla="*/ 0 w 20"/>
                  <a:gd name="T35" fmla="*/ 5 h 13"/>
                  <a:gd name="T36" fmla="*/ 4 w 20"/>
                  <a:gd name="T37" fmla="*/ 9 h 13"/>
                  <a:gd name="T38" fmla="*/ 9 w 20"/>
                  <a:gd name="T3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13">
                    <a:moveTo>
                      <a:pt x="9" y="13"/>
                    </a:moveTo>
                    <a:lnTo>
                      <a:pt x="9" y="13"/>
                    </a:lnTo>
                    <a:lnTo>
                      <a:pt x="14" y="11"/>
                    </a:lnTo>
                    <a:lnTo>
                      <a:pt x="18" y="9"/>
                    </a:lnTo>
                    <a:lnTo>
                      <a:pt x="18" y="9"/>
                    </a:lnTo>
                    <a:lnTo>
                      <a:pt x="20" y="5"/>
                    </a:lnTo>
                    <a:lnTo>
                      <a:pt x="16" y="4"/>
                    </a:lnTo>
                    <a:lnTo>
                      <a:pt x="16" y="4"/>
                    </a:lnTo>
                    <a:lnTo>
                      <a:pt x="16" y="2"/>
                    </a:lnTo>
                    <a:lnTo>
                      <a:pt x="16" y="0"/>
                    </a:lnTo>
                    <a:lnTo>
                      <a:pt x="13" y="0"/>
                    </a:lnTo>
                    <a:lnTo>
                      <a:pt x="13" y="0"/>
                    </a:lnTo>
                    <a:lnTo>
                      <a:pt x="7" y="0"/>
                    </a:lnTo>
                    <a:lnTo>
                      <a:pt x="4" y="0"/>
                    </a:lnTo>
                    <a:lnTo>
                      <a:pt x="4" y="0"/>
                    </a:lnTo>
                    <a:lnTo>
                      <a:pt x="0" y="2"/>
                    </a:lnTo>
                    <a:lnTo>
                      <a:pt x="0" y="5"/>
                    </a:lnTo>
                    <a:lnTo>
                      <a:pt x="0" y="5"/>
                    </a:lnTo>
                    <a:lnTo>
                      <a:pt x="4" y="9"/>
                    </a:lnTo>
                    <a:lnTo>
                      <a:pt x="9" y="1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80" name="Freeform 2633"/>
              <p:cNvSpPr>
                <a:spLocks/>
              </p:cNvSpPr>
              <p:nvPr/>
            </p:nvSpPr>
            <p:spPr bwMode="auto">
              <a:xfrm>
                <a:off x="4728" y="2638"/>
                <a:ext cx="4" cy="9"/>
              </a:xfrm>
              <a:custGeom>
                <a:avLst/>
                <a:gdLst>
                  <a:gd name="T0" fmla="*/ 2 w 4"/>
                  <a:gd name="T1" fmla="*/ 9 h 9"/>
                  <a:gd name="T2" fmla="*/ 2 w 4"/>
                  <a:gd name="T3" fmla="*/ 9 h 9"/>
                  <a:gd name="T4" fmla="*/ 4 w 4"/>
                  <a:gd name="T5" fmla="*/ 7 h 9"/>
                  <a:gd name="T6" fmla="*/ 4 w 4"/>
                  <a:gd name="T7" fmla="*/ 3 h 9"/>
                  <a:gd name="T8" fmla="*/ 4 w 4"/>
                  <a:gd name="T9" fmla="*/ 3 h 9"/>
                  <a:gd name="T10" fmla="*/ 2 w 4"/>
                  <a:gd name="T11" fmla="*/ 2 h 9"/>
                  <a:gd name="T12" fmla="*/ 2 w 4"/>
                  <a:gd name="T13" fmla="*/ 0 h 9"/>
                  <a:gd name="T14" fmla="*/ 0 w 4"/>
                  <a:gd name="T15" fmla="*/ 2 h 9"/>
                  <a:gd name="T16" fmla="*/ 0 w 4"/>
                  <a:gd name="T17" fmla="*/ 2 h 9"/>
                  <a:gd name="T18" fmla="*/ 2 w 4"/>
                  <a:gd name="T19" fmla="*/ 3 h 9"/>
                  <a:gd name="T20" fmla="*/ 2 w 4"/>
                  <a:gd name="T21" fmla="*/ 5 h 9"/>
                  <a:gd name="T22" fmla="*/ 2 w 4"/>
                  <a:gd name="T23" fmla="*/ 5 h 9"/>
                  <a:gd name="T24" fmla="*/ 0 w 4"/>
                  <a:gd name="T25" fmla="*/ 7 h 9"/>
                  <a:gd name="T26" fmla="*/ 2 w 4"/>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9">
                    <a:moveTo>
                      <a:pt x="2" y="9"/>
                    </a:moveTo>
                    <a:lnTo>
                      <a:pt x="2" y="9"/>
                    </a:lnTo>
                    <a:lnTo>
                      <a:pt x="4" y="7"/>
                    </a:lnTo>
                    <a:lnTo>
                      <a:pt x="4" y="3"/>
                    </a:lnTo>
                    <a:lnTo>
                      <a:pt x="4" y="3"/>
                    </a:lnTo>
                    <a:lnTo>
                      <a:pt x="2" y="2"/>
                    </a:lnTo>
                    <a:lnTo>
                      <a:pt x="2" y="0"/>
                    </a:lnTo>
                    <a:lnTo>
                      <a:pt x="0" y="2"/>
                    </a:lnTo>
                    <a:lnTo>
                      <a:pt x="0" y="2"/>
                    </a:lnTo>
                    <a:lnTo>
                      <a:pt x="2" y="3"/>
                    </a:lnTo>
                    <a:lnTo>
                      <a:pt x="2" y="5"/>
                    </a:lnTo>
                    <a:lnTo>
                      <a:pt x="2" y="5"/>
                    </a:lnTo>
                    <a:lnTo>
                      <a:pt x="0" y="7"/>
                    </a:lnTo>
                    <a:lnTo>
                      <a:pt x="2"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81" name="Freeform 2634"/>
              <p:cNvSpPr>
                <a:spLocks/>
              </p:cNvSpPr>
              <p:nvPr/>
            </p:nvSpPr>
            <p:spPr bwMode="auto">
              <a:xfrm>
                <a:off x="4728" y="2638"/>
                <a:ext cx="4" cy="9"/>
              </a:xfrm>
              <a:custGeom>
                <a:avLst/>
                <a:gdLst>
                  <a:gd name="T0" fmla="*/ 2 w 4"/>
                  <a:gd name="T1" fmla="*/ 9 h 9"/>
                  <a:gd name="T2" fmla="*/ 2 w 4"/>
                  <a:gd name="T3" fmla="*/ 9 h 9"/>
                  <a:gd name="T4" fmla="*/ 4 w 4"/>
                  <a:gd name="T5" fmla="*/ 7 h 9"/>
                  <a:gd name="T6" fmla="*/ 4 w 4"/>
                  <a:gd name="T7" fmla="*/ 3 h 9"/>
                  <a:gd name="T8" fmla="*/ 4 w 4"/>
                  <a:gd name="T9" fmla="*/ 3 h 9"/>
                  <a:gd name="T10" fmla="*/ 2 w 4"/>
                  <a:gd name="T11" fmla="*/ 2 h 9"/>
                  <a:gd name="T12" fmla="*/ 2 w 4"/>
                  <a:gd name="T13" fmla="*/ 0 h 9"/>
                  <a:gd name="T14" fmla="*/ 0 w 4"/>
                  <a:gd name="T15" fmla="*/ 2 h 9"/>
                  <a:gd name="T16" fmla="*/ 0 w 4"/>
                  <a:gd name="T17" fmla="*/ 2 h 9"/>
                  <a:gd name="T18" fmla="*/ 2 w 4"/>
                  <a:gd name="T19" fmla="*/ 3 h 9"/>
                  <a:gd name="T20" fmla="*/ 2 w 4"/>
                  <a:gd name="T21" fmla="*/ 5 h 9"/>
                  <a:gd name="T22" fmla="*/ 2 w 4"/>
                  <a:gd name="T23" fmla="*/ 5 h 9"/>
                  <a:gd name="T24" fmla="*/ 0 w 4"/>
                  <a:gd name="T25" fmla="*/ 7 h 9"/>
                  <a:gd name="T26" fmla="*/ 2 w 4"/>
                  <a:gd name="T2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 h="9">
                    <a:moveTo>
                      <a:pt x="2" y="9"/>
                    </a:moveTo>
                    <a:lnTo>
                      <a:pt x="2" y="9"/>
                    </a:lnTo>
                    <a:lnTo>
                      <a:pt x="4" y="7"/>
                    </a:lnTo>
                    <a:lnTo>
                      <a:pt x="4" y="3"/>
                    </a:lnTo>
                    <a:lnTo>
                      <a:pt x="4" y="3"/>
                    </a:lnTo>
                    <a:lnTo>
                      <a:pt x="2" y="2"/>
                    </a:lnTo>
                    <a:lnTo>
                      <a:pt x="2" y="0"/>
                    </a:lnTo>
                    <a:lnTo>
                      <a:pt x="0" y="2"/>
                    </a:lnTo>
                    <a:lnTo>
                      <a:pt x="0" y="2"/>
                    </a:lnTo>
                    <a:lnTo>
                      <a:pt x="2" y="3"/>
                    </a:lnTo>
                    <a:lnTo>
                      <a:pt x="2" y="5"/>
                    </a:lnTo>
                    <a:lnTo>
                      <a:pt x="2" y="5"/>
                    </a:lnTo>
                    <a:lnTo>
                      <a:pt x="0" y="7"/>
                    </a:lnTo>
                    <a:lnTo>
                      <a:pt x="2"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82" name="Freeform 2635"/>
              <p:cNvSpPr>
                <a:spLocks/>
              </p:cNvSpPr>
              <p:nvPr/>
            </p:nvSpPr>
            <p:spPr bwMode="auto">
              <a:xfrm>
                <a:off x="4737" y="2832"/>
                <a:ext cx="0" cy="2"/>
              </a:xfrm>
              <a:custGeom>
                <a:avLst/>
                <a:gdLst>
                  <a:gd name="T0" fmla="*/ 0 h 2"/>
                  <a:gd name="T1" fmla="*/ 0 h 2"/>
                  <a:gd name="T2" fmla="*/ 2 h 2"/>
                  <a:gd name="T3" fmla="*/ 2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lnTo>
                      <a:pt x="0" y="0"/>
                    </a:lnTo>
                    <a:lnTo>
                      <a:pt x="0" y="2"/>
                    </a:lnTo>
                    <a:lnTo>
                      <a:pt x="0" y="2"/>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83" name="Freeform 2636"/>
              <p:cNvSpPr>
                <a:spLocks/>
              </p:cNvSpPr>
              <p:nvPr/>
            </p:nvSpPr>
            <p:spPr bwMode="auto">
              <a:xfrm>
                <a:off x="4737" y="2832"/>
                <a:ext cx="0" cy="2"/>
              </a:xfrm>
              <a:custGeom>
                <a:avLst/>
                <a:gdLst>
                  <a:gd name="T0" fmla="*/ 0 h 2"/>
                  <a:gd name="T1" fmla="*/ 0 h 2"/>
                  <a:gd name="T2" fmla="*/ 2 h 2"/>
                  <a:gd name="T3" fmla="*/ 2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lnTo>
                      <a:pt x="0" y="0"/>
                    </a:lnTo>
                    <a:lnTo>
                      <a:pt x="0" y="2"/>
                    </a:lnTo>
                    <a:lnTo>
                      <a:pt x="0" y="2"/>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84" name="Freeform 2637"/>
              <p:cNvSpPr>
                <a:spLocks/>
              </p:cNvSpPr>
              <p:nvPr/>
            </p:nvSpPr>
            <p:spPr bwMode="auto">
              <a:xfrm>
                <a:off x="4737" y="2715"/>
                <a:ext cx="2" cy="5"/>
              </a:xfrm>
              <a:custGeom>
                <a:avLst/>
                <a:gdLst>
                  <a:gd name="T0" fmla="*/ 2 w 2"/>
                  <a:gd name="T1" fmla="*/ 0 h 5"/>
                  <a:gd name="T2" fmla="*/ 2 w 2"/>
                  <a:gd name="T3" fmla="*/ 0 h 5"/>
                  <a:gd name="T4" fmla="*/ 0 w 2"/>
                  <a:gd name="T5" fmla="*/ 1 h 5"/>
                  <a:gd name="T6" fmla="*/ 0 w 2"/>
                  <a:gd name="T7" fmla="*/ 1 h 5"/>
                  <a:gd name="T8" fmla="*/ 0 w 2"/>
                  <a:gd name="T9" fmla="*/ 5 h 5"/>
                  <a:gd name="T10" fmla="*/ 0 w 2"/>
                  <a:gd name="T11" fmla="*/ 5 h 5"/>
                  <a:gd name="T12" fmla="*/ 2 w 2"/>
                  <a:gd name="T13" fmla="*/ 5 h 5"/>
                  <a:gd name="T14" fmla="*/ 2 w 2"/>
                  <a:gd name="T15" fmla="*/ 3 h 5"/>
                  <a:gd name="T16" fmla="*/ 2 w 2"/>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2" y="0"/>
                    </a:moveTo>
                    <a:lnTo>
                      <a:pt x="2" y="0"/>
                    </a:lnTo>
                    <a:lnTo>
                      <a:pt x="0" y="1"/>
                    </a:lnTo>
                    <a:lnTo>
                      <a:pt x="0" y="1"/>
                    </a:lnTo>
                    <a:lnTo>
                      <a:pt x="0" y="5"/>
                    </a:lnTo>
                    <a:lnTo>
                      <a:pt x="0" y="5"/>
                    </a:lnTo>
                    <a:lnTo>
                      <a:pt x="2" y="5"/>
                    </a:lnTo>
                    <a:lnTo>
                      <a:pt x="2" y="3"/>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85" name="Freeform 2638"/>
              <p:cNvSpPr>
                <a:spLocks/>
              </p:cNvSpPr>
              <p:nvPr/>
            </p:nvSpPr>
            <p:spPr bwMode="auto">
              <a:xfrm>
                <a:off x="4737" y="2715"/>
                <a:ext cx="2" cy="5"/>
              </a:xfrm>
              <a:custGeom>
                <a:avLst/>
                <a:gdLst>
                  <a:gd name="T0" fmla="*/ 2 w 2"/>
                  <a:gd name="T1" fmla="*/ 0 h 5"/>
                  <a:gd name="T2" fmla="*/ 2 w 2"/>
                  <a:gd name="T3" fmla="*/ 0 h 5"/>
                  <a:gd name="T4" fmla="*/ 0 w 2"/>
                  <a:gd name="T5" fmla="*/ 1 h 5"/>
                  <a:gd name="T6" fmla="*/ 0 w 2"/>
                  <a:gd name="T7" fmla="*/ 1 h 5"/>
                  <a:gd name="T8" fmla="*/ 0 w 2"/>
                  <a:gd name="T9" fmla="*/ 5 h 5"/>
                  <a:gd name="T10" fmla="*/ 0 w 2"/>
                  <a:gd name="T11" fmla="*/ 5 h 5"/>
                  <a:gd name="T12" fmla="*/ 2 w 2"/>
                  <a:gd name="T13" fmla="*/ 5 h 5"/>
                  <a:gd name="T14" fmla="*/ 2 w 2"/>
                  <a:gd name="T15" fmla="*/ 3 h 5"/>
                  <a:gd name="T16" fmla="*/ 2 w 2"/>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2" y="0"/>
                    </a:moveTo>
                    <a:lnTo>
                      <a:pt x="2" y="0"/>
                    </a:lnTo>
                    <a:lnTo>
                      <a:pt x="0" y="1"/>
                    </a:lnTo>
                    <a:lnTo>
                      <a:pt x="0" y="1"/>
                    </a:lnTo>
                    <a:lnTo>
                      <a:pt x="0" y="5"/>
                    </a:lnTo>
                    <a:lnTo>
                      <a:pt x="0" y="5"/>
                    </a:lnTo>
                    <a:lnTo>
                      <a:pt x="2" y="5"/>
                    </a:lnTo>
                    <a:lnTo>
                      <a:pt x="2" y="3"/>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86" name="Freeform 2639"/>
              <p:cNvSpPr>
                <a:spLocks/>
              </p:cNvSpPr>
              <p:nvPr/>
            </p:nvSpPr>
            <p:spPr bwMode="auto">
              <a:xfrm>
                <a:off x="4739" y="2722"/>
                <a:ext cx="1" cy="2"/>
              </a:xfrm>
              <a:custGeom>
                <a:avLst/>
                <a:gdLst>
                  <a:gd name="T0" fmla="*/ 0 w 1"/>
                  <a:gd name="T1" fmla="*/ 0 h 2"/>
                  <a:gd name="T2" fmla="*/ 0 w 1"/>
                  <a:gd name="T3" fmla="*/ 0 h 2"/>
                  <a:gd name="T4" fmla="*/ 0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0" y="0"/>
                    </a:lnTo>
                    <a:lnTo>
                      <a:pt x="0" y="2"/>
                    </a:lnTo>
                    <a:lnTo>
                      <a:pt x="1" y="2"/>
                    </a:lnTo>
                    <a:lnTo>
                      <a:pt x="1"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87" name="Freeform 2640"/>
              <p:cNvSpPr>
                <a:spLocks/>
              </p:cNvSpPr>
              <p:nvPr/>
            </p:nvSpPr>
            <p:spPr bwMode="auto">
              <a:xfrm>
                <a:off x="4739" y="2722"/>
                <a:ext cx="1" cy="2"/>
              </a:xfrm>
              <a:custGeom>
                <a:avLst/>
                <a:gdLst>
                  <a:gd name="T0" fmla="*/ 0 w 1"/>
                  <a:gd name="T1" fmla="*/ 0 h 2"/>
                  <a:gd name="T2" fmla="*/ 0 w 1"/>
                  <a:gd name="T3" fmla="*/ 0 h 2"/>
                  <a:gd name="T4" fmla="*/ 0 w 1"/>
                  <a:gd name="T5" fmla="*/ 2 h 2"/>
                  <a:gd name="T6" fmla="*/ 1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0" y="0"/>
                    </a:lnTo>
                    <a:lnTo>
                      <a:pt x="0" y="2"/>
                    </a:lnTo>
                    <a:lnTo>
                      <a:pt x="1" y="2"/>
                    </a:lnTo>
                    <a:lnTo>
                      <a:pt x="1"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88" name="Freeform 2641"/>
              <p:cNvSpPr>
                <a:spLocks/>
              </p:cNvSpPr>
              <p:nvPr/>
            </p:nvSpPr>
            <p:spPr bwMode="auto">
              <a:xfrm>
                <a:off x="4740" y="2843"/>
                <a:ext cx="2"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89" name="Freeform 2642"/>
              <p:cNvSpPr>
                <a:spLocks/>
              </p:cNvSpPr>
              <p:nvPr/>
            </p:nvSpPr>
            <p:spPr bwMode="auto">
              <a:xfrm>
                <a:off x="4740" y="2843"/>
                <a:ext cx="2" cy="0"/>
              </a:xfrm>
              <a:custGeom>
                <a:avLst/>
                <a:gdLst>
                  <a:gd name="T0" fmla="*/ 0 w 2"/>
                  <a:gd name="T1" fmla="*/ 0 w 2"/>
                  <a:gd name="T2" fmla="*/ 0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0" y="0"/>
                    </a:lnTo>
                    <a:lnTo>
                      <a:pt x="2" y="0"/>
                    </a:lnTo>
                    <a:lnTo>
                      <a:pt x="2"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90" name="Freeform 2643"/>
              <p:cNvSpPr>
                <a:spLocks/>
              </p:cNvSpPr>
              <p:nvPr/>
            </p:nvSpPr>
            <p:spPr bwMode="auto">
              <a:xfrm>
                <a:off x="4740" y="2716"/>
                <a:ext cx="9" cy="9"/>
              </a:xfrm>
              <a:custGeom>
                <a:avLst/>
                <a:gdLst>
                  <a:gd name="T0" fmla="*/ 4 w 9"/>
                  <a:gd name="T1" fmla="*/ 0 h 9"/>
                  <a:gd name="T2" fmla="*/ 4 w 9"/>
                  <a:gd name="T3" fmla="*/ 0 h 9"/>
                  <a:gd name="T4" fmla="*/ 2 w 9"/>
                  <a:gd name="T5" fmla="*/ 2 h 9"/>
                  <a:gd name="T6" fmla="*/ 2 w 9"/>
                  <a:gd name="T7" fmla="*/ 2 h 9"/>
                  <a:gd name="T8" fmla="*/ 0 w 9"/>
                  <a:gd name="T9" fmla="*/ 0 h 9"/>
                  <a:gd name="T10" fmla="*/ 0 w 9"/>
                  <a:gd name="T11" fmla="*/ 0 h 9"/>
                  <a:gd name="T12" fmla="*/ 0 w 9"/>
                  <a:gd name="T13" fmla="*/ 4 h 9"/>
                  <a:gd name="T14" fmla="*/ 2 w 9"/>
                  <a:gd name="T15" fmla="*/ 6 h 9"/>
                  <a:gd name="T16" fmla="*/ 2 w 9"/>
                  <a:gd name="T17" fmla="*/ 6 h 9"/>
                  <a:gd name="T18" fmla="*/ 2 w 9"/>
                  <a:gd name="T19" fmla="*/ 8 h 9"/>
                  <a:gd name="T20" fmla="*/ 2 w 9"/>
                  <a:gd name="T21" fmla="*/ 8 h 9"/>
                  <a:gd name="T22" fmla="*/ 2 w 9"/>
                  <a:gd name="T23" fmla="*/ 8 h 9"/>
                  <a:gd name="T24" fmla="*/ 2 w 9"/>
                  <a:gd name="T25" fmla="*/ 8 h 9"/>
                  <a:gd name="T26" fmla="*/ 4 w 9"/>
                  <a:gd name="T27" fmla="*/ 8 h 9"/>
                  <a:gd name="T28" fmla="*/ 6 w 9"/>
                  <a:gd name="T29" fmla="*/ 9 h 9"/>
                  <a:gd name="T30" fmla="*/ 6 w 9"/>
                  <a:gd name="T31" fmla="*/ 9 h 9"/>
                  <a:gd name="T32" fmla="*/ 8 w 9"/>
                  <a:gd name="T33" fmla="*/ 9 h 9"/>
                  <a:gd name="T34" fmla="*/ 9 w 9"/>
                  <a:gd name="T35" fmla="*/ 8 h 9"/>
                  <a:gd name="T36" fmla="*/ 9 w 9"/>
                  <a:gd name="T37" fmla="*/ 8 h 9"/>
                  <a:gd name="T38" fmla="*/ 8 w 9"/>
                  <a:gd name="T39" fmla="*/ 6 h 9"/>
                  <a:gd name="T40" fmla="*/ 8 w 9"/>
                  <a:gd name="T41" fmla="*/ 6 h 9"/>
                  <a:gd name="T42" fmla="*/ 6 w 9"/>
                  <a:gd name="T43" fmla="*/ 6 h 9"/>
                  <a:gd name="T44" fmla="*/ 6 w 9"/>
                  <a:gd name="T45" fmla="*/ 4 h 9"/>
                  <a:gd name="T46" fmla="*/ 6 w 9"/>
                  <a:gd name="T47" fmla="*/ 4 h 9"/>
                  <a:gd name="T48" fmla="*/ 6 w 9"/>
                  <a:gd name="T49" fmla="*/ 2 h 9"/>
                  <a:gd name="T50" fmla="*/ 4 w 9"/>
                  <a:gd name="T5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9">
                    <a:moveTo>
                      <a:pt x="4" y="0"/>
                    </a:moveTo>
                    <a:lnTo>
                      <a:pt x="4" y="0"/>
                    </a:lnTo>
                    <a:lnTo>
                      <a:pt x="2" y="2"/>
                    </a:lnTo>
                    <a:lnTo>
                      <a:pt x="2" y="2"/>
                    </a:lnTo>
                    <a:lnTo>
                      <a:pt x="0" y="0"/>
                    </a:lnTo>
                    <a:lnTo>
                      <a:pt x="0" y="0"/>
                    </a:lnTo>
                    <a:lnTo>
                      <a:pt x="0" y="4"/>
                    </a:lnTo>
                    <a:lnTo>
                      <a:pt x="2" y="6"/>
                    </a:lnTo>
                    <a:lnTo>
                      <a:pt x="2" y="6"/>
                    </a:lnTo>
                    <a:lnTo>
                      <a:pt x="2" y="8"/>
                    </a:lnTo>
                    <a:lnTo>
                      <a:pt x="2" y="8"/>
                    </a:lnTo>
                    <a:lnTo>
                      <a:pt x="2" y="8"/>
                    </a:lnTo>
                    <a:lnTo>
                      <a:pt x="2" y="8"/>
                    </a:lnTo>
                    <a:lnTo>
                      <a:pt x="4" y="8"/>
                    </a:lnTo>
                    <a:lnTo>
                      <a:pt x="6" y="9"/>
                    </a:lnTo>
                    <a:lnTo>
                      <a:pt x="6" y="9"/>
                    </a:lnTo>
                    <a:lnTo>
                      <a:pt x="8" y="9"/>
                    </a:lnTo>
                    <a:lnTo>
                      <a:pt x="9" y="8"/>
                    </a:lnTo>
                    <a:lnTo>
                      <a:pt x="9" y="8"/>
                    </a:lnTo>
                    <a:lnTo>
                      <a:pt x="8" y="6"/>
                    </a:lnTo>
                    <a:lnTo>
                      <a:pt x="8" y="6"/>
                    </a:lnTo>
                    <a:lnTo>
                      <a:pt x="6" y="6"/>
                    </a:lnTo>
                    <a:lnTo>
                      <a:pt x="6" y="4"/>
                    </a:lnTo>
                    <a:lnTo>
                      <a:pt x="6" y="4"/>
                    </a:lnTo>
                    <a:lnTo>
                      <a:pt x="6" y="2"/>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91" name="Freeform 2644"/>
              <p:cNvSpPr>
                <a:spLocks/>
              </p:cNvSpPr>
              <p:nvPr/>
            </p:nvSpPr>
            <p:spPr bwMode="auto">
              <a:xfrm>
                <a:off x="4740" y="2716"/>
                <a:ext cx="9" cy="9"/>
              </a:xfrm>
              <a:custGeom>
                <a:avLst/>
                <a:gdLst>
                  <a:gd name="T0" fmla="*/ 4 w 9"/>
                  <a:gd name="T1" fmla="*/ 0 h 9"/>
                  <a:gd name="T2" fmla="*/ 4 w 9"/>
                  <a:gd name="T3" fmla="*/ 0 h 9"/>
                  <a:gd name="T4" fmla="*/ 2 w 9"/>
                  <a:gd name="T5" fmla="*/ 2 h 9"/>
                  <a:gd name="T6" fmla="*/ 2 w 9"/>
                  <a:gd name="T7" fmla="*/ 2 h 9"/>
                  <a:gd name="T8" fmla="*/ 0 w 9"/>
                  <a:gd name="T9" fmla="*/ 0 h 9"/>
                  <a:gd name="T10" fmla="*/ 0 w 9"/>
                  <a:gd name="T11" fmla="*/ 0 h 9"/>
                  <a:gd name="T12" fmla="*/ 0 w 9"/>
                  <a:gd name="T13" fmla="*/ 4 h 9"/>
                  <a:gd name="T14" fmla="*/ 2 w 9"/>
                  <a:gd name="T15" fmla="*/ 6 h 9"/>
                  <a:gd name="T16" fmla="*/ 2 w 9"/>
                  <a:gd name="T17" fmla="*/ 6 h 9"/>
                  <a:gd name="T18" fmla="*/ 2 w 9"/>
                  <a:gd name="T19" fmla="*/ 8 h 9"/>
                  <a:gd name="T20" fmla="*/ 2 w 9"/>
                  <a:gd name="T21" fmla="*/ 8 h 9"/>
                  <a:gd name="T22" fmla="*/ 2 w 9"/>
                  <a:gd name="T23" fmla="*/ 8 h 9"/>
                  <a:gd name="T24" fmla="*/ 2 w 9"/>
                  <a:gd name="T25" fmla="*/ 8 h 9"/>
                  <a:gd name="T26" fmla="*/ 4 w 9"/>
                  <a:gd name="T27" fmla="*/ 8 h 9"/>
                  <a:gd name="T28" fmla="*/ 6 w 9"/>
                  <a:gd name="T29" fmla="*/ 9 h 9"/>
                  <a:gd name="T30" fmla="*/ 6 w 9"/>
                  <a:gd name="T31" fmla="*/ 9 h 9"/>
                  <a:gd name="T32" fmla="*/ 8 w 9"/>
                  <a:gd name="T33" fmla="*/ 9 h 9"/>
                  <a:gd name="T34" fmla="*/ 9 w 9"/>
                  <a:gd name="T35" fmla="*/ 8 h 9"/>
                  <a:gd name="T36" fmla="*/ 9 w 9"/>
                  <a:gd name="T37" fmla="*/ 8 h 9"/>
                  <a:gd name="T38" fmla="*/ 8 w 9"/>
                  <a:gd name="T39" fmla="*/ 6 h 9"/>
                  <a:gd name="T40" fmla="*/ 8 w 9"/>
                  <a:gd name="T41" fmla="*/ 6 h 9"/>
                  <a:gd name="T42" fmla="*/ 6 w 9"/>
                  <a:gd name="T43" fmla="*/ 6 h 9"/>
                  <a:gd name="T44" fmla="*/ 6 w 9"/>
                  <a:gd name="T45" fmla="*/ 4 h 9"/>
                  <a:gd name="T46" fmla="*/ 6 w 9"/>
                  <a:gd name="T47" fmla="*/ 4 h 9"/>
                  <a:gd name="T48" fmla="*/ 6 w 9"/>
                  <a:gd name="T49" fmla="*/ 2 h 9"/>
                  <a:gd name="T50" fmla="*/ 4 w 9"/>
                  <a:gd name="T51"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9">
                    <a:moveTo>
                      <a:pt x="4" y="0"/>
                    </a:moveTo>
                    <a:lnTo>
                      <a:pt x="4" y="0"/>
                    </a:lnTo>
                    <a:lnTo>
                      <a:pt x="2" y="2"/>
                    </a:lnTo>
                    <a:lnTo>
                      <a:pt x="2" y="2"/>
                    </a:lnTo>
                    <a:lnTo>
                      <a:pt x="0" y="0"/>
                    </a:lnTo>
                    <a:lnTo>
                      <a:pt x="0" y="0"/>
                    </a:lnTo>
                    <a:lnTo>
                      <a:pt x="0" y="4"/>
                    </a:lnTo>
                    <a:lnTo>
                      <a:pt x="2" y="6"/>
                    </a:lnTo>
                    <a:lnTo>
                      <a:pt x="2" y="6"/>
                    </a:lnTo>
                    <a:lnTo>
                      <a:pt x="2" y="8"/>
                    </a:lnTo>
                    <a:lnTo>
                      <a:pt x="2" y="8"/>
                    </a:lnTo>
                    <a:lnTo>
                      <a:pt x="2" y="8"/>
                    </a:lnTo>
                    <a:lnTo>
                      <a:pt x="2" y="8"/>
                    </a:lnTo>
                    <a:lnTo>
                      <a:pt x="4" y="8"/>
                    </a:lnTo>
                    <a:lnTo>
                      <a:pt x="6" y="9"/>
                    </a:lnTo>
                    <a:lnTo>
                      <a:pt x="6" y="9"/>
                    </a:lnTo>
                    <a:lnTo>
                      <a:pt x="8" y="9"/>
                    </a:lnTo>
                    <a:lnTo>
                      <a:pt x="9" y="8"/>
                    </a:lnTo>
                    <a:lnTo>
                      <a:pt x="9" y="8"/>
                    </a:lnTo>
                    <a:lnTo>
                      <a:pt x="8" y="6"/>
                    </a:lnTo>
                    <a:lnTo>
                      <a:pt x="8" y="6"/>
                    </a:lnTo>
                    <a:lnTo>
                      <a:pt x="6" y="6"/>
                    </a:lnTo>
                    <a:lnTo>
                      <a:pt x="6" y="4"/>
                    </a:lnTo>
                    <a:lnTo>
                      <a:pt x="6" y="4"/>
                    </a:lnTo>
                    <a:lnTo>
                      <a:pt x="6" y="2"/>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92" name="Freeform 2645"/>
              <p:cNvSpPr>
                <a:spLocks/>
              </p:cNvSpPr>
              <p:nvPr/>
            </p:nvSpPr>
            <p:spPr bwMode="auto">
              <a:xfrm>
                <a:off x="4740" y="2732"/>
                <a:ext cx="13" cy="8"/>
              </a:xfrm>
              <a:custGeom>
                <a:avLst/>
                <a:gdLst>
                  <a:gd name="T0" fmla="*/ 2 w 13"/>
                  <a:gd name="T1" fmla="*/ 2 h 8"/>
                  <a:gd name="T2" fmla="*/ 2 w 13"/>
                  <a:gd name="T3" fmla="*/ 2 h 8"/>
                  <a:gd name="T4" fmla="*/ 0 w 13"/>
                  <a:gd name="T5" fmla="*/ 4 h 8"/>
                  <a:gd name="T6" fmla="*/ 2 w 13"/>
                  <a:gd name="T7" fmla="*/ 6 h 8"/>
                  <a:gd name="T8" fmla="*/ 4 w 13"/>
                  <a:gd name="T9" fmla="*/ 8 h 8"/>
                  <a:gd name="T10" fmla="*/ 4 w 13"/>
                  <a:gd name="T11" fmla="*/ 8 h 8"/>
                  <a:gd name="T12" fmla="*/ 8 w 13"/>
                  <a:gd name="T13" fmla="*/ 6 h 8"/>
                  <a:gd name="T14" fmla="*/ 8 w 13"/>
                  <a:gd name="T15" fmla="*/ 6 h 8"/>
                  <a:gd name="T16" fmla="*/ 11 w 13"/>
                  <a:gd name="T17" fmla="*/ 6 h 8"/>
                  <a:gd name="T18" fmla="*/ 11 w 13"/>
                  <a:gd name="T19" fmla="*/ 6 h 8"/>
                  <a:gd name="T20" fmla="*/ 13 w 13"/>
                  <a:gd name="T21" fmla="*/ 6 h 8"/>
                  <a:gd name="T22" fmla="*/ 13 w 13"/>
                  <a:gd name="T23" fmla="*/ 6 h 8"/>
                  <a:gd name="T24" fmla="*/ 9 w 13"/>
                  <a:gd name="T25" fmla="*/ 2 h 8"/>
                  <a:gd name="T26" fmla="*/ 9 w 13"/>
                  <a:gd name="T27" fmla="*/ 2 h 8"/>
                  <a:gd name="T28" fmla="*/ 6 w 13"/>
                  <a:gd name="T29" fmla="*/ 0 h 8"/>
                  <a:gd name="T30" fmla="*/ 2 w 13"/>
                  <a:gd name="T3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8">
                    <a:moveTo>
                      <a:pt x="2" y="2"/>
                    </a:moveTo>
                    <a:lnTo>
                      <a:pt x="2" y="2"/>
                    </a:lnTo>
                    <a:lnTo>
                      <a:pt x="0" y="4"/>
                    </a:lnTo>
                    <a:lnTo>
                      <a:pt x="2" y="6"/>
                    </a:lnTo>
                    <a:lnTo>
                      <a:pt x="4" y="8"/>
                    </a:lnTo>
                    <a:lnTo>
                      <a:pt x="4" y="8"/>
                    </a:lnTo>
                    <a:lnTo>
                      <a:pt x="8" y="6"/>
                    </a:lnTo>
                    <a:lnTo>
                      <a:pt x="8" y="6"/>
                    </a:lnTo>
                    <a:lnTo>
                      <a:pt x="11" y="6"/>
                    </a:lnTo>
                    <a:lnTo>
                      <a:pt x="11" y="6"/>
                    </a:lnTo>
                    <a:lnTo>
                      <a:pt x="13" y="6"/>
                    </a:lnTo>
                    <a:lnTo>
                      <a:pt x="13" y="6"/>
                    </a:lnTo>
                    <a:lnTo>
                      <a:pt x="9" y="2"/>
                    </a:lnTo>
                    <a:lnTo>
                      <a:pt x="9" y="2"/>
                    </a:lnTo>
                    <a:lnTo>
                      <a:pt x="6" y="0"/>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93" name="Freeform 2646"/>
              <p:cNvSpPr>
                <a:spLocks/>
              </p:cNvSpPr>
              <p:nvPr/>
            </p:nvSpPr>
            <p:spPr bwMode="auto">
              <a:xfrm>
                <a:off x="4740" y="2732"/>
                <a:ext cx="13" cy="8"/>
              </a:xfrm>
              <a:custGeom>
                <a:avLst/>
                <a:gdLst>
                  <a:gd name="T0" fmla="*/ 2 w 13"/>
                  <a:gd name="T1" fmla="*/ 2 h 8"/>
                  <a:gd name="T2" fmla="*/ 2 w 13"/>
                  <a:gd name="T3" fmla="*/ 2 h 8"/>
                  <a:gd name="T4" fmla="*/ 0 w 13"/>
                  <a:gd name="T5" fmla="*/ 4 h 8"/>
                  <a:gd name="T6" fmla="*/ 2 w 13"/>
                  <a:gd name="T7" fmla="*/ 6 h 8"/>
                  <a:gd name="T8" fmla="*/ 4 w 13"/>
                  <a:gd name="T9" fmla="*/ 8 h 8"/>
                  <a:gd name="T10" fmla="*/ 4 w 13"/>
                  <a:gd name="T11" fmla="*/ 8 h 8"/>
                  <a:gd name="T12" fmla="*/ 8 w 13"/>
                  <a:gd name="T13" fmla="*/ 6 h 8"/>
                  <a:gd name="T14" fmla="*/ 8 w 13"/>
                  <a:gd name="T15" fmla="*/ 6 h 8"/>
                  <a:gd name="T16" fmla="*/ 11 w 13"/>
                  <a:gd name="T17" fmla="*/ 6 h 8"/>
                  <a:gd name="T18" fmla="*/ 11 w 13"/>
                  <a:gd name="T19" fmla="*/ 6 h 8"/>
                  <a:gd name="T20" fmla="*/ 13 w 13"/>
                  <a:gd name="T21" fmla="*/ 6 h 8"/>
                  <a:gd name="T22" fmla="*/ 13 w 13"/>
                  <a:gd name="T23" fmla="*/ 6 h 8"/>
                  <a:gd name="T24" fmla="*/ 9 w 13"/>
                  <a:gd name="T25" fmla="*/ 2 h 8"/>
                  <a:gd name="T26" fmla="*/ 9 w 13"/>
                  <a:gd name="T27" fmla="*/ 2 h 8"/>
                  <a:gd name="T28" fmla="*/ 6 w 13"/>
                  <a:gd name="T29" fmla="*/ 0 h 8"/>
                  <a:gd name="T30" fmla="*/ 2 w 13"/>
                  <a:gd name="T3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 h="8">
                    <a:moveTo>
                      <a:pt x="2" y="2"/>
                    </a:moveTo>
                    <a:lnTo>
                      <a:pt x="2" y="2"/>
                    </a:lnTo>
                    <a:lnTo>
                      <a:pt x="0" y="4"/>
                    </a:lnTo>
                    <a:lnTo>
                      <a:pt x="2" y="6"/>
                    </a:lnTo>
                    <a:lnTo>
                      <a:pt x="4" y="8"/>
                    </a:lnTo>
                    <a:lnTo>
                      <a:pt x="4" y="8"/>
                    </a:lnTo>
                    <a:lnTo>
                      <a:pt x="8" y="6"/>
                    </a:lnTo>
                    <a:lnTo>
                      <a:pt x="8" y="6"/>
                    </a:lnTo>
                    <a:lnTo>
                      <a:pt x="11" y="6"/>
                    </a:lnTo>
                    <a:lnTo>
                      <a:pt x="11" y="6"/>
                    </a:lnTo>
                    <a:lnTo>
                      <a:pt x="13" y="6"/>
                    </a:lnTo>
                    <a:lnTo>
                      <a:pt x="13" y="6"/>
                    </a:lnTo>
                    <a:lnTo>
                      <a:pt x="9" y="2"/>
                    </a:lnTo>
                    <a:lnTo>
                      <a:pt x="9" y="2"/>
                    </a:lnTo>
                    <a:lnTo>
                      <a:pt x="6" y="0"/>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94" name="Freeform 2647"/>
              <p:cNvSpPr>
                <a:spLocks/>
              </p:cNvSpPr>
              <p:nvPr/>
            </p:nvSpPr>
            <p:spPr bwMode="auto">
              <a:xfrm>
                <a:off x="4742" y="2841"/>
                <a:ext cx="6" cy="2"/>
              </a:xfrm>
              <a:custGeom>
                <a:avLst/>
                <a:gdLst>
                  <a:gd name="T0" fmla="*/ 0 w 6"/>
                  <a:gd name="T1" fmla="*/ 0 h 2"/>
                  <a:gd name="T2" fmla="*/ 0 w 6"/>
                  <a:gd name="T3" fmla="*/ 0 h 2"/>
                  <a:gd name="T4" fmla="*/ 0 w 6"/>
                  <a:gd name="T5" fmla="*/ 2 h 2"/>
                  <a:gd name="T6" fmla="*/ 2 w 6"/>
                  <a:gd name="T7" fmla="*/ 2 h 2"/>
                  <a:gd name="T8" fmla="*/ 4 w 6"/>
                  <a:gd name="T9" fmla="*/ 2 h 2"/>
                  <a:gd name="T10" fmla="*/ 6 w 6"/>
                  <a:gd name="T11" fmla="*/ 0 h 2"/>
                  <a:gd name="T12" fmla="*/ 6 w 6"/>
                  <a:gd name="T13" fmla="*/ 0 h 2"/>
                  <a:gd name="T14" fmla="*/ 0 w 6"/>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2">
                    <a:moveTo>
                      <a:pt x="0" y="0"/>
                    </a:moveTo>
                    <a:lnTo>
                      <a:pt x="0" y="0"/>
                    </a:lnTo>
                    <a:lnTo>
                      <a:pt x="0" y="2"/>
                    </a:lnTo>
                    <a:lnTo>
                      <a:pt x="2" y="2"/>
                    </a:lnTo>
                    <a:lnTo>
                      <a:pt x="4" y="2"/>
                    </a:lnTo>
                    <a:lnTo>
                      <a:pt x="6" y="0"/>
                    </a:lnTo>
                    <a:lnTo>
                      <a:pt x="6"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95" name="Freeform 2648"/>
              <p:cNvSpPr>
                <a:spLocks/>
              </p:cNvSpPr>
              <p:nvPr/>
            </p:nvSpPr>
            <p:spPr bwMode="auto">
              <a:xfrm>
                <a:off x="4742" y="2841"/>
                <a:ext cx="6" cy="2"/>
              </a:xfrm>
              <a:custGeom>
                <a:avLst/>
                <a:gdLst>
                  <a:gd name="T0" fmla="*/ 0 w 6"/>
                  <a:gd name="T1" fmla="*/ 0 h 2"/>
                  <a:gd name="T2" fmla="*/ 0 w 6"/>
                  <a:gd name="T3" fmla="*/ 0 h 2"/>
                  <a:gd name="T4" fmla="*/ 0 w 6"/>
                  <a:gd name="T5" fmla="*/ 2 h 2"/>
                  <a:gd name="T6" fmla="*/ 2 w 6"/>
                  <a:gd name="T7" fmla="*/ 2 h 2"/>
                  <a:gd name="T8" fmla="*/ 4 w 6"/>
                  <a:gd name="T9" fmla="*/ 2 h 2"/>
                  <a:gd name="T10" fmla="*/ 6 w 6"/>
                  <a:gd name="T11" fmla="*/ 0 h 2"/>
                  <a:gd name="T12" fmla="*/ 6 w 6"/>
                  <a:gd name="T13" fmla="*/ 0 h 2"/>
                  <a:gd name="T14" fmla="*/ 0 w 6"/>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2">
                    <a:moveTo>
                      <a:pt x="0" y="0"/>
                    </a:moveTo>
                    <a:lnTo>
                      <a:pt x="0" y="0"/>
                    </a:lnTo>
                    <a:lnTo>
                      <a:pt x="0" y="2"/>
                    </a:lnTo>
                    <a:lnTo>
                      <a:pt x="2" y="2"/>
                    </a:lnTo>
                    <a:lnTo>
                      <a:pt x="4" y="2"/>
                    </a:lnTo>
                    <a:lnTo>
                      <a:pt x="6" y="0"/>
                    </a:lnTo>
                    <a:lnTo>
                      <a:pt x="6"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96" name="Freeform 2649"/>
              <p:cNvSpPr>
                <a:spLocks/>
              </p:cNvSpPr>
              <p:nvPr/>
            </p:nvSpPr>
            <p:spPr bwMode="auto">
              <a:xfrm>
                <a:off x="4742" y="2675"/>
                <a:ext cx="23" cy="50"/>
              </a:xfrm>
              <a:custGeom>
                <a:avLst/>
                <a:gdLst>
                  <a:gd name="T0" fmla="*/ 4 w 23"/>
                  <a:gd name="T1" fmla="*/ 36 h 50"/>
                  <a:gd name="T2" fmla="*/ 6 w 23"/>
                  <a:gd name="T3" fmla="*/ 41 h 50"/>
                  <a:gd name="T4" fmla="*/ 9 w 23"/>
                  <a:gd name="T5" fmla="*/ 45 h 50"/>
                  <a:gd name="T6" fmla="*/ 11 w 23"/>
                  <a:gd name="T7" fmla="*/ 49 h 50"/>
                  <a:gd name="T8" fmla="*/ 15 w 23"/>
                  <a:gd name="T9" fmla="*/ 50 h 50"/>
                  <a:gd name="T10" fmla="*/ 11 w 23"/>
                  <a:gd name="T11" fmla="*/ 45 h 50"/>
                  <a:gd name="T12" fmla="*/ 7 w 23"/>
                  <a:gd name="T13" fmla="*/ 32 h 50"/>
                  <a:gd name="T14" fmla="*/ 7 w 23"/>
                  <a:gd name="T15" fmla="*/ 29 h 50"/>
                  <a:gd name="T16" fmla="*/ 11 w 23"/>
                  <a:gd name="T17" fmla="*/ 29 h 50"/>
                  <a:gd name="T18" fmla="*/ 16 w 23"/>
                  <a:gd name="T19" fmla="*/ 31 h 50"/>
                  <a:gd name="T20" fmla="*/ 23 w 23"/>
                  <a:gd name="T21" fmla="*/ 32 h 50"/>
                  <a:gd name="T22" fmla="*/ 18 w 23"/>
                  <a:gd name="T23" fmla="*/ 27 h 50"/>
                  <a:gd name="T24" fmla="*/ 15 w 23"/>
                  <a:gd name="T25" fmla="*/ 25 h 50"/>
                  <a:gd name="T26" fmla="*/ 15 w 23"/>
                  <a:gd name="T27" fmla="*/ 22 h 50"/>
                  <a:gd name="T28" fmla="*/ 18 w 23"/>
                  <a:gd name="T29" fmla="*/ 20 h 50"/>
                  <a:gd name="T30" fmla="*/ 20 w 23"/>
                  <a:gd name="T31" fmla="*/ 16 h 50"/>
                  <a:gd name="T32" fmla="*/ 20 w 23"/>
                  <a:gd name="T33" fmla="*/ 15 h 50"/>
                  <a:gd name="T34" fmla="*/ 20 w 23"/>
                  <a:gd name="T35" fmla="*/ 11 h 50"/>
                  <a:gd name="T36" fmla="*/ 15 w 23"/>
                  <a:gd name="T37" fmla="*/ 13 h 50"/>
                  <a:gd name="T38" fmla="*/ 11 w 23"/>
                  <a:gd name="T39" fmla="*/ 16 h 50"/>
                  <a:gd name="T40" fmla="*/ 13 w 23"/>
                  <a:gd name="T41" fmla="*/ 16 h 50"/>
                  <a:gd name="T42" fmla="*/ 9 w 23"/>
                  <a:gd name="T43" fmla="*/ 18 h 50"/>
                  <a:gd name="T44" fmla="*/ 7 w 23"/>
                  <a:gd name="T45" fmla="*/ 22 h 50"/>
                  <a:gd name="T46" fmla="*/ 6 w 23"/>
                  <a:gd name="T47" fmla="*/ 24 h 50"/>
                  <a:gd name="T48" fmla="*/ 4 w 23"/>
                  <a:gd name="T49" fmla="*/ 22 h 50"/>
                  <a:gd name="T50" fmla="*/ 4 w 23"/>
                  <a:gd name="T51" fmla="*/ 20 h 50"/>
                  <a:gd name="T52" fmla="*/ 6 w 23"/>
                  <a:gd name="T53" fmla="*/ 18 h 50"/>
                  <a:gd name="T54" fmla="*/ 9 w 23"/>
                  <a:gd name="T55" fmla="*/ 11 h 50"/>
                  <a:gd name="T56" fmla="*/ 9 w 23"/>
                  <a:gd name="T57" fmla="*/ 9 h 50"/>
                  <a:gd name="T58" fmla="*/ 7 w 23"/>
                  <a:gd name="T59" fmla="*/ 6 h 50"/>
                  <a:gd name="T60" fmla="*/ 7 w 23"/>
                  <a:gd name="T61" fmla="*/ 4 h 50"/>
                  <a:gd name="T62" fmla="*/ 9 w 23"/>
                  <a:gd name="T63" fmla="*/ 0 h 50"/>
                  <a:gd name="T64" fmla="*/ 4 w 23"/>
                  <a:gd name="T65" fmla="*/ 4 h 50"/>
                  <a:gd name="T66" fmla="*/ 2 w 23"/>
                  <a:gd name="T67" fmla="*/ 7 h 50"/>
                  <a:gd name="T68" fmla="*/ 0 w 23"/>
                  <a:gd name="T69" fmla="*/ 18 h 50"/>
                  <a:gd name="T70" fmla="*/ 2 w 23"/>
                  <a:gd name="T71" fmla="*/ 22 h 50"/>
                  <a:gd name="T72" fmla="*/ 4 w 23"/>
                  <a:gd name="T73" fmla="*/ 24 h 50"/>
                  <a:gd name="T74" fmla="*/ 2 w 23"/>
                  <a:gd name="T75" fmla="*/ 27 h 50"/>
                  <a:gd name="T76" fmla="*/ 4 w 23"/>
                  <a:gd name="T77" fmla="*/ 31 h 50"/>
                  <a:gd name="T78" fmla="*/ 4 w 23"/>
                  <a:gd name="T7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 h="50">
                    <a:moveTo>
                      <a:pt x="4" y="36"/>
                    </a:moveTo>
                    <a:lnTo>
                      <a:pt x="4" y="36"/>
                    </a:lnTo>
                    <a:lnTo>
                      <a:pt x="4" y="38"/>
                    </a:lnTo>
                    <a:lnTo>
                      <a:pt x="6" y="41"/>
                    </a:lnTo>
                    <a:lnTo>
                      <a:pt x="6" y="41"/>
                    </a:lnTo>
                    <a:lnTo>
                      <a:pt x="9" y="45"/>
                    </a:lnTo>
                    <a:lnTo>
                      <a:pt x="9" y="45"/>
                    </a:lnTo>
                    <a:lnTo>
                      <a:pt x="11" y="49"/>
                    </a:lnTo>
                    <a:lnTo>
                      <a:pt x="13" y="50"/>
                    </a:lnTo>
                    <a:lnTo>
                      <a:pt x="15" y="50"/>
                    </a:lnTo>
                    <a:lnTo>
                      <a:pt x="15" y="50"/>
                    </a:lnTo>
                    <a:lnTo>
                      <a:pt x="11" y="45"/>
                    </a:lnTo>
                    <a:lnTo>
                      <a:pt x="9" y="41"/>
                    </a:lnTo>
                    <a:lnTo>
                      <a:pt x="7" y="32"/>
                    </a:lnTo>
                    <a:lnTo>
                      <a:pt x="7" y="32"/>
                    </a:lnTo>
                    <a:lnTo>
                      <a:pt x="7" y="29"/>
                    </a:lnTo>
                    <a:lnTo>
                      <a:pt x="9" y="29"/>
                    </a:lnTo>
                    <a:lnTo>
                      <a:pt x="11" y="29"/>
                    </a:lnTo>
                    <a:lnTo>
                      <a:pt x="11" y="29"/>
                    </a:lnTo>
                    <a:lnTo>
                      <a:pt x="16" y="31"/>
                    </a:lnTo>
                    <a:lnTo>
                      <a:pt x="23" y="32"/>
                    </a:lnTo>
                    <a:lnTo>
                      <a:pt x="23" y="32"/>
                    </a:lnTo>
                    <a:lnTo>
                      <a:pt x="22" y="29"/>
                    </a:lnTo>
                    <a:lnTo>
                      <a:pt x="18" y="27"/>
                    </a:lnTo>
                    <a:lnTo>
                      <a:pt x="18" y="27"/>
                    </a:lnTo>
                    <a:lnTo>
                      <a:pt x="15" y="25"/>
                    </a:lnTo>
                    <a:lnTo>
                      <a:pt x="13" y="24"/>
                    </a:lnTo>
                    <a:lnTo>
                      <a:pt x="15" y="22"/>
                    </a:lnTo>
                    <a:lnTo>
                      <a:pt x="15" y="22"/>
                    </a:lnTo>
                    <a:lnTo>
                      <a:pt x="18" y="20"/>
                    </a:lnTo>
                    <a:lnTo>
                      <a:pt x="20" y="18"/>
                    </a:lnTo>
                    <a:lnTo>
                      <a:pt x="20" y="16"/>
                    </a:lnTo>
                    <a:lnTo>
                      <a:pt x="20" y="16"/>
                    </a:lnTo>
                    <a:lnTo>
                      <a:pt x="20" y="15"/>
                    </a:lnTo>
                    <a:lnTo>
                      <a:pt x="20" y="11"/>
                    </a:lnTo>
                    <a:lnTo>
                      <a:pt x="20" y="11"/>
                    </a:lnTo>
                    <a:lnTo>
                      <a:pt x="18" y="11"/>
                    </a:lnTo>
                    <a:lnTo>
                      <a:pt x="15" y="13"/>
                    </a:lnTo>
                    <a:lnTo>
                      <a:pt x="11" y="16"/>
                    </a:lnTo>
                    <a:lnTo>
                      <a:pt x="11" y="16"/>
                    </a:lnTo>
                    <a:lnTo>
                      <a:pt x="13" y="16"/>
                    </a:lnTo>
                    <a:lnTo>
                      <a:pt x="13" y="16"/>
                    </a:lnTo>
                    <a:lnTo>
                      <a:pt x="9" y="18"/>
                    </a:lnTo>
                    <a:lnTo>
                      <a:pt x="9" y="18"/>
                    </a:lnTo>
                    <a:lnTo>
                      <a:pt x="7" y="20"/>
                    </a:lnTo>
                    <a:lnTo>
                      <a:pt x="7" y="22"/>
                    </a:lnTo>
                    <a:lnTo>
                      <a:pt x="7" y="22"/>
                    </a:lnTo>
                    <a:lnTo>
                      <a:pt x="6" y="24"/>
                    </a:lnTo>
                    <a:lnTo>
                      <a:pt x="4" y="22"/>
                    </a:lnTo>
                    <a:lnTo>
                      <a:pt x="4" y="22"/>
                    </a:lnTo>
                    <a:lnTo>
                      <a:pt x="4" y="20"/>
                    </a:lnTo>
                    <a:lnTo>
                      <a:pt x="4" y="20"/>
                    </a:lnTo>
                    <a:lnTo>
                      <a:pt x="6" y="18"/>
                    </a:lnTo>
                    <a:lnTo>
                      <a:pt x="6" y="18"/>
                    </a:lnTo>
                    <a:lnTo>
                      <a:pt x="9" y="13"/>
                    </a:lnTo>
                    <a:lnTo>
                      <a:pt x="9" y="11"/>
                    </a:lnTo>
                    <a:lnTo>
                      <a:pt x="9" y="9"/>
                    </a:lnTo>
                    <a:lnTo>
                      <a:pt x="9" y="9"/>
                    </a:lnTo>
                    <a:lnTo>
                      <a:pt x="7" y="7"/>
                    </a:lnTo>
                    <a:lnTo>
                      <a:pt x="7" y="6"/>
                    </a:lnTo>
                    <a:lnTo>
                      <a:pt x="7" y="6"/>
                    </a:lnTo>
                    <a:lnTo>
                      <a:pt x="7" y="4"/>
                    </a:lnTo>
                    <a:lnTo>
                      <a:pt x="9" y="0"/>
                    </a:lnTo>
                    <a:lnTo>
                      <a:pt x="9" y="0"/>
                    </a:lnTo>
                    <a:lnTo>
                      <a:pt x="6" y="2"/>
                    </a:lnTo>
                    <a:lnTo>
                      <a:pt x="4" y="4"/>
                    </a:lnTo>
                    <a:lnTo>
                      <a:pt x="2" y="7"/>
                    </a:lnTo>
                    <a:lnTo>
                      <a:pt x="2" y="7"/>
                    </a:lnTo>
                    <a:lnTo>
                      <a:pt x="0" y="13"/>
                    </a:lnTo>
                    <a:lnTo>
                      <a:pt x="0" y="18"/>
                    </a:lnTo>
                    <a:lnTo>
                      <a:pt x="0" y="18"/>
                    </a:lnTo>
                    <a:lnTo>
                      <a:pt x="2" y="22"/>
                    </a:lnTo>
                    <a:lnTo>
                      <a:pt x="2" y="22"/>
                    </a:lnTo>
                    <a:lnTo>
                      <a:pt x="4" y="24"/>
                    </a:lnTo>
                    <a:lnTo>
                      <a:pt x="4" y="24"/>
                    </a:lnTo>
                    <a:lnTo>
                      <a:pt x="2" y="27"/>
                    </a:lnTo>
                    <a:lnTo>
                      <a:pt x="2" y="27"/>
                    </a:lnTo>
                    <a:lnTo>
                      <a:pt x="4" y="31"/>
                    </a:lnTo>
                    <a:lnTo>
                      <a:pt x="4" y="31"/>
                    </a:lnTo>
                    <a:lnTo>
                      <a:pt x="4" y="32"/>
                    </a:lnTo>
                    <a:lnTo>
                      <a:pt x="4" y="3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97" name="Freeform 2650"/>
              <p:cNvSpPr>
                <a:spLocks/>
              </p:cNvSpPr>
              <p:nvPr/>
            </p:nvSpPr>
            <p:spPr bwMode="auto">
              <a:xfrm>
                <a:off x="4742" y="2675"/>
                <a:ext cx="23" cy="50"/>
              </a:xfrm>
              <a:custGeom>
                <a:avLst/>
                <a:gdLst>
                  <a:gd name="T0" fmla="*/ 4 w 23"/>
                  <a:gd name="T1" fmla="*/ 36 h 50"/>
                  <a:gd name="T2" fmla="*/ 6 w 23"/>
                  <a:gd name="T3" fmla="*/ 41 h 50"/>
                  <a:gd name="T4" fmla="*/ 9 w 23"/>
                  <a:gd name="T5" fmla="*/ 45 h 50"/>
                  <a:gd name="T6" fmla="*/ 11 w 23"/>
                  <a:gd name="T7" fmla="*/ 49 h 50"/>
                  <a:gd name="T8" fmla="*/ 15 w 23"/>
                  <a:gd name="T9" fmla="*/ 50 h 50"/>
                  <a:gd name="T10" fmla="*/ 11 w 23"/>
                  <a:gd name="T11" fmla="*/ 45 h 50"/>
                  <a:gd name="T12" fmla="*/ 7 w 23"/>
                  <a:gd name="T13" fmla="*/ 32 h 50"/>
                  <a:gd name="T14" fmla="*/ 7 w 23"/>
                  <a:gd name="T15" fmla="*/ 29 h 50"/>
                  <a:gd name="T16" fmla="*/ 11 w 23"/>
                  <a:gd name="T17" fmla="*/ 29 h 50"/>
                  <a:gd name="T18" fmla="*/ 16 w 23"/>
                  <a:gd name="T19" fmla="*/ 31 h 50"/>
                  <a:gd name="T20" fmla="*/ 23 w 23"/>
                  <a:gd name="T21" fmla="*/ 32 h 50"/>
                  <a:gd name="T22" fmla="*/ 18 w 23"/>
                  <a:gd name="T23" fmla="*/ 27 h 50"/>
                  <a:gd name="T24" fmla="*/ 15 w 23"/>
                  <a:gd name="T25" fmla="*/ 25 h 50"/>
                  <a:gd name="T26" fmla="*/ 15 w 23"/>
                  <a:gd name="T27" fmla="*/ 22 h 50"/>
                  <a:gd name="T28" fmla="*/ 18 w 23"/>
                  <a:gd name="T29" fmla="*/ 20 h 50"/>
                  <a:gd name="T30" fmla="*/ 20 w 23"/>
                  <a:gd name="T31" fmla="*/ 16 h 50"/>
                  <a:gd name="T32" fmla="*/ 20 w 23"/>
                  <a:gd name="T33" fmla="*/ 15 h 50"/>
                  <a:gd name="T34" fmla="*/ 20 w 23"/>
                  <a:gd name="T35" fmla="*/ 11 h 50"/>
                  <a:gd name="T36" fmla="*/ 15 w 23"/>
                  <a:gd name="T37" fmla="*/ 13 h 50"/>
                  <a:gd name="T38" fmla="*/ 11 w 23"/>
                  <a:gd name="T39" fmla="*/ 16 h 50"/>
                  <a:gd name="T40" fmla="*/ 13 w 23"/>
                  <a:gd name="T41" fmla="*/ 16 h 50"/>
                  <a:gd name="T42" fmla="*/ 9 w 23"/>
                  <a:gd name="T43" fmla="*/ 18 h 50"/>
                  <a:gd name="T44" fmla="*/ 7 w 23"/>
                  <a:gd name="T45" fmla="*/ 22 h 50"/>
                  <a:gd name="T46" fmla="*/ 6 w 23"/>
                  <a:gd name="T47" fmla="*/ 24 h 50"/>
                  <a:gd name="T48" fmla="*/ 4 w 23"/>
                  <a:gd name="T49" fmla="*/ 22 h 50"/>
                  <a:gd name="T50" fmla="*/ 4 w 23"/>
                  <a:gd name="T51" fmla="*/ 20 h 50"/>
                  <a:gd name="T52" fmla="*/ 6 w 23"/>
                  <a:gd name="T53" fmla="*/ 18 h 50"/>
                  <a:gd name="T54" fmla="*/ 9 w 23"/>
                  <a:gd name="T55" fmla="*/ 11 h 50"/>
                  <a:gd name="T56" fmla="*/ 9 w 23"/>
                  <a:gd name="T57" fmla="*/ 9 h 50"/>
                  <a:gd name="T58" fmla="*/ 7 w 23"/>
                  <a:gd name="T59" fmla="*/ 6 h 50"/>
                  <a:gd name="T60" fmla="*/ 7 w 23"/>
                  <a:gd name="T61" fmla="*/ 4 h 50"/>
                  <a:gd name="T62" fmla="*/ 9 w 23"/>
                  <a:gd name="T63" fmla="*/ 0 h 50"/>
                  <a:gd name="T64" fmla="*/ 4 w 23"/>
                  <a:gd name="T65" fmla="*/ 4 h 50"/>
                  <a:gd name="T66" fmla="*/ 2 w 23"/>
                  <a:gd name="T67" fmla="*/ 7 h 50"/>
                  <a:gd name="T68" fmla="*/ 0 w 23"/>
                  <a:gd name="T69" fmla="*/ 18 h 50"/>
                  <a:gd name="T70" fmla="*/ 2 w 23"/>
                  <a:gd name="T71" fmla="*/ 22 h 50"/>
                  <a:gd name="T72" fmla="*/ 4 w 23"/>
                  <a:gd name="T73" fmla="*/ 24 h 50"/>
                  <a:gd name="T74" fmla="*/ 2 w 23"/>
                  <a:gd name="T75" fmla="*/ 27 h 50"/>
                  <a:gd name="T76" fmla="*/ 4 w 23"/>
                  <a:gd name="T77" fmla="*/ 31 h 50"/>
                  <a:gd name="T78" fmla="*/ 4 w 23"/>
                  <a:gd name="T79"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 h="50">
                    <a:moveTo>
                      <a:pt x="4" y="36"/>
                    </a:moveTo>
                    <a:lnTo>
                      <a:pt x="4" y="36"/>
                    </a:lnTo>
                    <a:lnTo>
                      <a:pt x="4" y="38"/>
                    </a:lnTo>
                    <a:lnTo>
                      <a:pt x="6" y="41"/>
                    </a:lnTo>
                    <a:lnTo>
                      <a:pt x="6" y="41"/>
                    </a:lnTo>
                    <a:lnTo>
                      <a:pt x="9" y="45"/>
                    </a:lnTo>
                    <a:lnTo>
                      <a:pt x="9" y="45"/>
                    </a:lnTo>
                    <a:lnTo>
                      <a:pt x="11" y="49"/>
                    </a:lnTo>
                    <a:lnTo>
                      <a:pt x="13" y="50"/>
                    </a:lnTo>
                    <a:lnTo>
                      <a:pt x="15" y="50"/>
                    </a:lnTo>
                    <a:lnTo>
                      <a:pt x="15" y="50"/>
                    </a:lnTo>
                    <a:lnTo>
                      <a:pt x="11" y="45"/>
                    </a:lnTo>
                    <a:lnTo>
                      <a:pt x="9" y="41"/>
                    </a:lnTo>
                    <a:lnTo>
                      <a:pt x="7" y="32"/>
                    </a:lnTo>
                    <a:lnTo>
                      <a:pt x="7" y="32"/>
                    </a:lnTo>
                    <a:lnTo>
                      <a:pt x="7" y="29"/>
                    </a:lnTo>
                    <a:lnTo>
                      <a:pt x="9" y="29"/>
                    </a:lnTo>
                    <a:lnTo>
                      <a:pt x="11" y="29"/>
                    </a:lnTo>
                    <a:lnTo>
                      <a:pt x="11" y="29"/>
                    </a:lnTo>
                    <a:lnTo>
                      <a:pt x="16" y="31"/>
                    </a:lnTo>
                    <a:lnTo>
                      <a:pt x="23" y="32"/>
                    </a:lnTo>
                    <a:lnTo>
                      <a:pt x="23" y="32"/>
                    </a:lnTo>
                    <a:lnTo>
                      <a:pt x="22" y="29"/>
                    </a:lnTo>
                    <a:lnTo>
                      <a:pt x="18" y="27"/>
                    </a:lnTo>
                    <a:lnTo>
                      <a:pt x="18" y="27"/>
                    </a:lnTo>
                    <a:lnTo>
                      <a:pt x="15" y="25"/>
                    </a:lnTo>
                    <a:lnTo>
                      <a:pt x="13" y="24"/>
                    </a:lnTo>
                    <a:lnTo>
                      <a:pt x="15" y="22"/>
                    </a:lnTo>
                    <a:lnTo>
                      <a:pt x="15" y="22"/>
                    </a:lnTo>
                    <a:lnTo>
                      <a:pt x="18" y="20"/>
                    </a:lnTo>
                    <a:lnTo>
                      <a:pt x="20" y="18"/>
                    </a:lnTo>
                    <a:lnTo>
                      <a:pt x="20" y="16"/>
                    </a:lnTo>
                    <a:lnTo>
                      <a:pt x="20" y="16"/>
                    </a:lnTo>
                    <a:lnTo>
                      <a:pt x="20" y="15"/>
                    </a:lnTo>
                    <a:lnTo>
                      <a:pt x="20" y="11"/>
                    </a:lnTo>
                    <a:lnTo>
                      <a:pt x="20" y="11"/>
                    </a:lnTo>
                    <a:lnTo>
                      <a:pt x="18" y="11"/>
                    </a:lnTo>
                    <a:lnTo>
                      <a:pt x="15" y="13"/>
                    </a:lnTo>
                    <a:lnTo>
                      <a:pt x="11" y="16"/>
                    </a:lnTo>
                    <a:lnTo>
                      <a:pt x="11" y="16"/>
                    </a:lnTo>
                    <a:lnTo>
                      <a:pt x="13" y="16"/>
                    </a:lnTo>
                    <a:lnTo>
                      <a:pt x="13" y="16"/>
                    </a:lnTo>
                    <a:lnTo>
                      <a:pt x="9" y="18"/>
                    </a:lnTo>
                    <a:lnTo>
                      <a:pt x="9" y="18"/>
                    </a:lnTo>
                    <a:lnTo>
                      <a:pt x="7" y="20"/>
                    </a:lnTo>
                    <a:lnTo>
                      <a:pt x="7" y="22"/>
                    </a:lnTo>
                    <a:lnTo>
                      <a:pt x="7" y="22"/>
                    </a:lnTo>
                    <a:lnTo>
                      <a:pt x="6" y="24"/>
                    </a:lnTo>
                    <a:lnTo>
                      <a:pt x="4" y="22"/>
                    </a:lnTo>
                    <a:lnTo>
                      <a:pt x="4" y="22"/>
                    </a:lnTo>
                    <a:lnTo>
                      <a:pt x="4" y="20"/>
                    </a:lnTo>
                    <a:lnTo>
                      <a:pt x="4" y="20"/>
                    </a:lnTo>
                    <a:lnTo>
                      <a:pt x="6" y="18"/>
                    </a:lnTo>
                    <a:lnTo>
                      <a:pt x="6" y="18"/>
                    </a:lnTo>
                    <a:lnTo>
                      <a:pt x="9" y="13"/>
                    </a:lnTo>
                    <a:lnTo>
                      <a:pt x="9" y="11"/>
                    </a:lnTo>
                    <a:lnTo>
                      <a:pt x="9" y="9"/>
                    </a:lnTo>
                    <a:lnTo>
                      <a:pt x="9" y="9"/>
                    </a:lnTo>
                    <a:lnTo>
                      <a:pt x="7" y="7"/>
                    </a:lnTo>
                    <a:lnTo>
                      <a:pt x="7" y="6"/>
                    </a:lnTo>
                    <a:lnTo>
                      <a:pt x="7" y="6"/>
                    </a:lnTo>
                    <a:lnTo>
                      <a:pt x="7" y="4"/>
                    </a:lnTo>
                    <a:lnTo>
                      <a:pt x="9" y="0"/>
                    </a:lnTo>
                    <a:lnTo>
                      <a:pt x="9" y="0"/>
                    </a:lnTo>
                    <a:lnTo>
                      <a:pt x="6" y="2"/>
                    </a:lnTo>
                    <a:lnTo>
                      <a:pt x="4" y="4"/>
                    </a:lnTo>
                    <a:lnTo>
                      <a:pt x="2" y="7"/>
                    </a:lnTo>
                    <a:lnTo>
                      <a:pt x="2" y="7"/>
                    </a:lnTo>
                    <a:lnTo>
                      <a:pt x="0" y="13"/>
                    </a:lnTo>
                    <a:lnTo>
                      <a:pt x="0" y="18"/>
                    </a:lnTo>
                    <a:lnTo>
                      <a:pt x="0" y="18"/>
                    </a:lnTo>
                    <a:lnTo>
                      <a:pt x="2" y="22"/>
                    </a:lnTo>
                    <a:lnTo>
                      <a:pt x="2" y="22"/>
                    </a:lnTo>
                    <a:lnTo>
                      <a:pt x="4" y="24"/>
                    </a:lnTo>
                    <a:lnTo>
                      <a:pt x="4" y="24"/>
                    </a:lnTo>
                    <a:lnTo>
                      <a:pt x="2" y="27"/>
                    </a:lnTo>
                    <a:lnTo>
                      <a:pt x="2" y="27"/>
                    </a:lnTo>
                    <a:lnTo>
                      <a:pt x="4" y="31"/>
                    </a:lnTo>
                    <a:lnTo>
                      <a:pt x="4" y="31"/>
                    </a:lnTo>
                    <a:lnTo>
                      <a:pt x="4" y="32"/>
                    </a:lnTo>
                    <a:lnTo>
                      <a:pt x="4" y="3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98" name="Freeform 2651"/>
              <p:cNvSpPr>
                <a:spLocks/>
              </p:cNvSpPr>
              <p:nvPr/>
            </p:nvSpPr>
            <p:spPr bwMode="auto">
              <a:xfrm>
                <a:off x="4742" y="2763"/>
                <a:ext cx="2" cy="2"/>
              </a:xfrm>
              <a:custGeom>
                <a:avLst/>
                <a:gdLst>
                  <a:gd name="T0" fmla="*/ 2 w 2"/>
                  <a:gd name="T1" fmla="*/ 0 h 2"/>
                  <a:gd name="T2" fmla="*/ 2 w 2"/>
                  <a:gd name="T3" fmla="*/ 0 h 2"/>
                  <a:gd name="T4" fmla="*/ 0 w 2"/>
                  <a:gd name="T5" fmla="*/ 2 h 2"/>
                  <a:gd name="T6" fmla="*/ 2 w 2"/>
                  <a:gd name="T7" fmla="*/ 2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0" y="2"/>
                    </a:lnTo>
                    <a:lnTo>
                      <a:pt x="2" y="2"/>
                    </a:lnTo>
                    <a:lnTo>
                      <a:pt x="2"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999" name="Freeform 2652"/>
              <p:cNvSpPr>
                <a:spLocks/>
              </p:cNvSpPr>
              <p:nvPr/>
            </p:nvSpPr>
            <p:spPr bwMode="auto">
              <a:xfrm>
                <a:off x="4742" y="2763"/>
                <a:ext cx="2" cy="2"/>
              </a:xfrm>
              <a:custGeom>
                <a:avLst/>
                <a:gdLst>
                  <a:gd name="T0" fmla="*/ 2 w 2"/>
                  <a:gd name="T1" fmla="*/ 0 h 2"/>
                  <a:gd name="T2" fmla="*/ 2 w 2"/>
                  <a:gd name="T3" fmla="*/ 0 h 2"/>
                  <a:gd name="T4" fmla="*/ 0 w 2"/>
                  <a:gd name="T5" fmla="*/ 2 h 2"/>
                  <a:gd name="T6" fmla="*/ 2 w 2"/>
                  <a:gd name="T7" fmla="*/ 2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0" y="2"/>
                    </a:lnTo>
                    <a:lnTo>
                      <a:pt x="2" y="2"/>
                    </a:lnTo>
                    <a:lnTo>
                      <a:pt x="2"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00" name="Freeform 2653"/>
              <p:cNvSpPr>
                <a:spLocks/>
              </p:cNvSpPr>
              <p:nvPr/>
            </p:nvSpPr>
            <p:spPr bwMode="auto">
              <a:xfrm>
                <a:off x="4746" y="2761"/>
                <a:ext cx="2" cy="2"/>
              </a:xfrm>
              <a:custGeom>
                <a:avLst/>
                <a:gdLst>
                  <a:gd name="T0" fmla="*/ 0 w 2"/>
                  <a:gd name="T1" fmla="*/ 0 h 2"/>
                  <a:gd name="T2" fmla="*/ 0 w 2"/>
                  <a:gd name="T3" fmla="*/ 0 h 2"/>
                  <a:gd name="T4" fmla="*/ 0 w 2"/>
                  <a:gd name="T5" fmla="*/ 2 h 2"/>
                  <a:gd name="T6" fmla="*/ 0 w 2"/>
                  <a:gd name="T7" fmla="*/ 2 h 2"/>
                  <a:gd name="T8" fmla="*/ 2 w 2"/>
                  <a:gd name="T9" fmla="*/ 2 h 2"/>
                  <a:gd name="T10" fmla="*/ 2 w 2"/>
                  <a:gd name="T11" fmla="*/ 2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0" y="2"/>
                    </a:lnTo>
                    <a:lnTo>
                      <a:pt x="0" y="2"/>
                    </a:lnTo>
                    <a:lnTo>
                      <a:pt x="2" y="2"/>
                    </a:lnTo>
                    <a:lnTo>
                      <a:pt x="2"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01" name="Freeform 2654"/>
              <p:cNvSpPr>
                <a:spLocks/>
              </p:cNvSpPr>
              <p:nvPr/>
            </p:nvSpPr>
            <p:spPr bwMode="auto">
              <a:xfrm>
                <a:off x="4746" y="2761"/>
                <a:ext cx="2" cy="2"/>
              </a:xfrm>
              <a:custGeom>
                <a:avLst/>
                <a:gdLst>
                  <a:gd name="T0" fmla="*/ 0 w 2"/>
                  <a:gd name="T1" fmla="*/ 0 h 2"/>
                  <a:gd name="T2" fmla="*/ 0 w 2"/>
                  <a:gd name="T3" fmla="*/ 0 h 2"/>
                  <a:gd name="T4" fmla="*/ 0 w 2"/>
                  <a:gd name="T5" fmla="*/ 2 h 2"/>
                  <a:gd name="T6" fmla="*/ 0 w 2"/>
                  <a:gd name="T7" fmla="*/ 2 h 2"/>
                  <a:gd name="T8" fmla="*/ 2 w 2"/>
                  <a:gd name="T9" fmla="*/ 2 h 2"/>
                  <a:gd name="T10" fmla="*/ 2 w 2"/>
                  <a:gd name="T11" fmla="*/ 2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0" y="2"/>
                    </a:lnTo>
                    <a:lnTo>
                      <a:pt x="0" y="2"/>
                    </a:lnTo>
                    <a:lnTo>
                      <a:pt x="2" y="2"/>
                    </a:lnTo>
                    <a:lnTo>
                      <a:pt x="2"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02" name="Freeform 2655"/>
              <p:cNvSpPr>
                <a:spLocks/>
              </p:cNvSpPr>
              <p:nvPr/>
            </p:nvSpPr>
            <p:spPr bwMode="auto">
              <a:xfrm>
                <a:off x="4748" y="2843"/>
                <a:ext cx="1" cy="2"/>
              </a:xfrm>
              <a:custGeom>
                <a:avLst/>
                <a:gdLst>
                  <a:gd name="T0" fmla="*/ 0 w 1"/>
                  <a:gd name="T1" fmla="*/ 0 h 2"/>
                  <a:gd name="T2" fmla="*/ 0 w 1"/>
                  <a:gd name="T3" fmla="*/ 0 h 2"/>
                  <a:gd name="T4" fmla="*/ 0 w 1"/>
                  <a:gd name="T5" fmla="*/ 2 h 2"/>
                  <a:gd name="T6" fmla="*/ 0 w 1"/>
                  <a:gd name="T7" fmla="*/ 2 h 2"/>
                  <a:gd name="T8" fmla="*/ 1 w 1"/>
                  <a:gd name="T9" fmla="*/ 0 h 2"/>
                  <a:gd name="T10" fmla="*/ 1 w 1"/>
                  <a:gd name="T11" fmla="*/ 0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0" y="0"/>
                    </a:lnTo>
                    <a:lnTo>
                      <a:pt x="0" y="2"/>
                    </a:lnTo>
                    <a:lnTo>
                      <a:pt x="0" y="2"/>
                    </a:lnTo>
                    <a:lnTo>
                      <a:pt x="1" y="0"/>
                    </a:lnTo>
                    <a:lnTo>
                      <a:pt x="1"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03" name="Freeform 2656"/>
              <p:cNvSpPr>
                <a:spLocks/>
              </p:cNvSpPr>
              <p:nvPr/>
            </p:nvSpPr>
            <p:spPr bwMode="auto">
              <a:xfrm>
                <a:off x="4748" y="2843"/>
                <a:ext cx="1" cy="2"/>
              </a:xfrm>
              <a:custGeom>
                <a:avLst/>
                <a:gdLst>
                  <a:gd name="T0" fmla="*/ 0 w 1"/>
                  <a:gd name="T1" fmla="*/ 0 h 2"/>
                  <a:gd name="T2" fmla="*/ 0 w 1"/>
                  <a:gd name="T3" fmla="*/ 0 h 2"/>
                  <a:gd name="T4" fmla="*/ 0 w 1"/>
                  <a:gd name="T5" fmla="*/ 2 h 2"/>
                  <a:gd name="T6" fmla="*/ 0 w 1"/>
                  <a:gd name="T7" fmla="*/ 2 h 2"/>
                  <a:gd name="T8" fmla="*/ 1 w 1"/>
                  <a:gd name="T9" fmla="*/ 0 h 2"/>
                  <a:gd name="T10" fmla="*/ 1 w 1"/>
                  <a:gd name="T11" fmla="*/ 0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0" y="0"/>
                    </a:lnTo>
                    <a:lnTo>
                      <a:pt x="0" y="2"/>
                    </a:lnTo>
                    <a:lnTo>
                      <a:pt x="0" y="2"/>
                    </a:lnTo>
                    <a:lnTo>
                      <a:pt x="1" y="0"/>
                    </a:lnTo>
                    <a:lnTo>
                      <a:pt x="1"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04" name="Freeform 2657"/>
              <p:cNvSpPr>
                <a:spLocks/>
              </p:cNvSpPr>
              <p:nvPr/>
            </p:nvSpPr>
            <p:spPr bwMode="auto">
              <a:xfrm>
                <a:off x="4749" y="2756"/>
                <a:ext cx="47" cy="16"/>
              </a:xfrm>
              <a:custGeom>
                <a:avLst/>
                <a:gdLst>
                  <a:gd name="T0" fmla="*/ 33 w 47"/>
                  <a:gd name="T1" fmla="*/ 10 h 16"/>
                  <a:gd name="T2" fmla="*/ 33 w 47"/>
                  <a:gd name="T3" fmla="*/ 10 h 16"/>
                  <a:gd name="T4" fmla="*/ 43 w 47"/>
                  <a:gd name="T5" fmla="*/ 16 h 16"/>
                  <a:gd name="T6" fmla="*/ 43 w 47"/>
                  <a:gd name="T7" fmla="*/ 16 h 16"/>
                  <a:gd name="T8" fmla="*/ 45 w 47"/>
                  <a:gd name="T9" fmla="*/ 16 h 16"/>
                  <a:gd name="T10" fmla="*/ 47 w 47"/>
                  <a:gd name="T11" fmla="*/ 16 h 16"/>
                  <a:gd name="T12" fmla="*/ 47 w 47"/>
                  <a:gd name="T13" fmla="*/ 12 h 16"/>
                  <a:gd name="T14" fmla="*/ 47 w 47"/>
                  <a:gd name="T15" fmla="*/ 12 h 16"/>
                  <a:gd name="T16" fmla="*/ 45 w 47"/>
                  <a:gd name="T17" fmla="*/ 10 h 16"/>
                  <a:gd name="T18" fmla="*/ 43 w 47"/>
                  <a:gd name="T19" fmla="*/ 9 h 16"/>
                  <a:gd name="T20" fmla="*/ 43 w 47"/>
                  <a:gd name="T21" fmla="*/ 9 h 16"/>
                  <a:gd name="T22" fmla="*/ 43 w 47"/>
                  <a:gd name="T23" fmla="*/ 7 h 16"/>
                  <a:gd name="T24" fmla="*/ 41 w 47"/>
                  <a:gd name="T25" fmla="*/ 5 h 16"/>
                  <a:gd name="T26" fmla="*/ 41 w 47"/>
                  <a:gd name="T27" fmla="*/ 5 h 16"/>
                  <a:gd name="T28" fmla="*/ 40 w 47"/>
                  <a:gd name="T29" fmla="*/ 3 h 16"/>
                  <a:gd name="T30" fmla="*/ 38 w 47"/>
                  <a:gd name="T31" fmla="*/ 3 h 16"/>
                  <a:gd name="T32" fmla="*/ 38 w 47"/>
                  <a:gd name="T33" fmla="*/ 3 h 16"/>
                  <a:gd name="T34" fmla="*/ 34 w 47"/>
                  <a:gd name="T35" fmla="*/ 3 h 16"/>
                  <a:gd name="T36" fmla="*/ 33 w 47"/>
                  <a:gd name="T37" fmla="*/ 1 h 16"/>
                  <a:gd name="T38" fmla="*/ 33 w 47"/>
                  <a:gd name="T39" fmla="*/ 1 h 16"/>
                  <a:gd name="T40" fmla="*/ 29 w 47"/>
                  <a:gd name="T41" fmla="*/ 0 h 16"/>
                  <a:gd name="T42" fmla="*/ 25 w 47"/>
                  <a:gd name="T43" fmla="*/ 0 h 16"/>
                  <a:gd name="T44" fmla="*/ 25 w 47"/>
                  <a:gd name="T45" fmla="*/ 0 h 16"/>
                  <a:gd name="T46" fmla="*/ 22 w 47"/>
                  <a:gd name="T47" fmla="*/ 1 h 16"/>
                  <a:gd name="T48" fmla="*/ 22 w 47"/>
                  <a:gd name="T49" fmla="*/ 1 h 16"/>
                  <a:gd name="T50" fmla="*/ 20 w 47"/>
                  <a:gd name="T51" fmla="*/ 1 h 16"/>
                  <a:gd name="T52" fmla="*/ 18 w 47"/>
                  <a:gd name="T53" fmla="*/ 1 h 16"/>
                  <a:gd name="T54" fmla="*/ 18 w 47"/>
                  <a:gd name="T55" fmla="*/ 1 h 16"/>
                  <a:gd name="T56" fmla="*/ 11 w 47"/>
                  <a:gd name="T57" fmla="*/ 1 h 16"/>
                  <a:gd name="T58" fmla="*/ 11 w 47"/>
                  <a:gd name="T59" fmla="*/ 1 h 16"/>
                  <a:gd name="T60" fmla="*/ 6 w 47"/>
                  <a:gd name="T61" fmla="*/ 1 h 16"/>
                  <a:gd name="T62" fmla="*/ 2 w 47"/>
                  <a:gd name="T63" fmla="*/ 3 h 16"/>
                  <a:gd name="T64" fmla="*/ 0 w 47"/>
                  <a:gd name="T65" fmla="*/ 7 h 16"/>
                  <a:gd name="T66" fmla="*/ 0 w 47"/>
                  <a:gd name="T67" fmla="*/ 12 h 16"/>
                  <a:gd name="T68" fmla="*/ 0 w 47"/>
                  <a:gd name="T69" fmla="*/ 12 h 16"/>
                  <a:gd name="T70" fmla="*/ 2 w 47"/>
                  <a:gd name="T71" fmla="*/ 9 h 16"/>
                  <a:gd name="T72" fmla="*/ 2 w 47"/>
                  <a:gd name="T73" fmla="*/ 5 h 16"/>
                  <a:gd name="T74" fmla="*/ 4 w 47"/>
                  <a:gd name="T75" fmla="*/ 5 h 16"/>
                  <a:gd name="T76" fmla="*/ 4 w 47"/>
                  <a:gd name="T77" fmla="*/ 5 h 16"/>
                  <a:gd name="T78" fmla="*/ 6 w 47"/>
                  <a:gd name="T79" fmla="*/ 7 h 16"/>
                  <a:gd name="T80" fmla="*/ 6 w 47"/>
                  <a:gd name="T81" fmla="*/ 9 h 16"/>
                  <a:gd name="T82" fmla="*/ 9 w 47"/>
                  <a:gd name="T83" fmla="*/ 10 h 16"/>
                  <a:gd name="T84" fmla="*/ 9 w 47"/>
                  <a:gd name="T85" fmla="*/ 10 h 16"/>
                  <a:gd name="T86" fmla="*/ 15 w 47"/>
                  <a:gd name="T87" fmla="*/ 9 h 16"/>
                  <a:gd name="T88" fmla="*/ 16 w 47"/>
                  <a:gd name="T89" fmla="*/ 7 h 16"/>
                  <a:gd name="T90" fmla="*/ 16 w 47"/>
                  <a:gd name="T91" fmla="*/ 9 h 16"/>
                  <a:gd name="T92" fmla="*/ 16 w 47"/>
                  <a:gd name="T93" fmla="*/ 9 h 16"/>
                  <a:gd name="T94" fmla="*/ 22 w 47"/>
                  <a:gd name="T95" fmla="*/ 10 h 16"/>
                  <a:gd name="T96" fmla="*/ 25 w 47"/>
                  <a:gd name="T97" fmla="*/ 10 h 16"/>
                  <a:gd name="T98" fmla="*/ 27 w 47"/>
                  <a:gd name="T99" fmla="*/ 9 h 16"/>
                  <a:gd name="T100" fmla="*/ 27 w 47"/>
                  <a:gd name="T101" fmla="*/ 9 h 16"/>
                  <a:gd name="T102" fmla="*/ 27 w 47"/>
                  <a:gd name="T103" fmla="*/ 9 h 16"/>
                  <a:gd name="T104" fmla="*/ 31 w 47"/>
                  <a:gd name="T105" fmla="*/ 9 h 16"/>
                  <a:gd name="T106" fmla="*/ 33 w 47"/>
                  <a:gd name="T107" fmla="*/ 9 h 16"/>
                  <a:gd name="T108" fmla="*/ 33 w 47"/>
                  <a:gd name="T109"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 h="16">
                    <a:moveTo>
                      <a:pt x="33" y="10"/>
                    </a:moveTo>
                    <a:lnTo>
                      <a:pt x="33" y="10"/>
                    </a:lnTo>
                    <a:lnTo>
                      <a:pt x="43" y="16"/>
                    </a:lnTo>
                    <a:lnTo>
                      <a:pt x="43" y="16"/>
                    </a:lnTo>
                    <a:lnTo>
                      <a:pt x="45" y="16"/>
                    </a:lnTo>
                    <a:lnTo>
                      <a:pt x="47" y="16"/>
                    </a:lnTo>
                    <a:lnTo>
                      <a:pt x="47" y="12"/>
                    </a:lnTo>
                    <a:lnTo>
                      <a:pt x="47" y="12"/>
                    </a:lnTo>
                    <a:lnTo>
                      <a:pt x="45" y="10"/>
                    </a:lnTo>
                    <a:lnTo>
                      <a:pt x="43" y="9"/>
                    </a:lnTo>
                    <a:lnTo>
                      <a:pt x="43" y="9"/>
                    </a:lnTo>
                    <a:lnTo>
                      <a:pt x="43" y="7"/>
                    </a:lnTo>
                    <a:lnTo>
                      <a:pt x="41" y="5"/>
                    </a:lnTo>
                    <a:lnTo>
                      <a:pt x="41" y="5"/>
                    </a:lnTo>
                    <a:lnTo>
                      <a:pt x="40" y="3"/>
                    </a:lnTo>
                    <a:lnTo>
                      <a:pt x="38" y="3"/>
                    </a:lnTo>
                    <a:lnTo>
                      <a:pt x="38" y="3"/>
                    </a:lnTo>
                    <a:lnTo>
                      <a:pt x="34" y="3"/>
                    </a:lnTo>
                    <a:lnTo>
                      <a:pt x="33" y="1"/>
                    </a:lnTo>
                    <a:lnTo>
                      <a:pt x="33" y="1"/>
                    </a:lnTo>
                    <a:lnTo>
                      <a:pt x="29" y="0"/>
                    </a:lnTo>
                    <a:lnTo>
                      <a:pt x="25" y="0"/>
                    </a:lnTo>
                    <a:lnTo>
                      <a:pt x="25" y="0"/>
                    </a:lnTo>
                    <a:lnTo>
                      <a:pt x="22" y="1"/>
                    </a:lnTo>
                    <a:lnTo>
                      <a:pt x="22" y="1"/>
                    </a:lnTo>
                    <a:lnTo>
                      <a:pt x="20" y="1"/>
                    </a:lnTo>
                    <a:lnTo>
                      <a:pt x="18" y="1"/>
                    </a:lnTo>
                    <a:lnTo>
                      <a:pt x="18" y="1"/>
                    </a:lnTo>
                    <a:lnTo>
                      <a:pt x="11" y="1"/>
                    </a:lnTo>
                    <a:lnTo>
                      <a:pt x="11" y="1"/>
                    </a:lnTo>
                    <a:lnTo>
                      <a:pt x="6" y="1"/>
                    </a:lnTo>
                    <a:lnTo>
                      <a:pt x="2" y="3"/>
                    </a:lnTo>
                    <a:lnTo>
                      <a:pt x="0" y="7"/>
                    </a:lnTo>
                    <a:lnTo>
                      <a:pt x="0" y="12"/>
                    </a:lnTo>
                    <a:lnTo>
                      <a:pt x="0" y="12"/>
                    </a:lnTo>
                    <a:lnTo>
                      <a:pt x="2" y="9"/>
                    </a:lnTo>
                    <a:lnTo>
                      <a:pt x="2" y="5"/>
                    </a:lnTo>
                    <a:lnTo>
                      <a:pt x="4" y="5"/>
                    </a:lnTo>
                    <a:lnTo>
                      <a:pt x="4" y="5"/>
                    </a:lnTo>
                    <a:lnTo>
                      <a:pt x="6" y="7"/>
                    </a:lnTo>
                    <a:lnTo>
                      <a:pt x="6" y="9"/>
                    </a:lnTo>
                    <a:lnTo>
                      <a:pt x="9" y="10"/>
                    </a:lnTo>
                    <a:lnTo>
                      <a:pt x="9" y="10"/>
                    </a:lnTo>
                    <a:lnTo>
                      <a:pt x="15" y="9"/>
                    </a:lnTo>
                    <a:lnTo>
                      <a:pt x="16" y="7"/>
                    </a:lnTo>
                    <a:lnTo>
                      <a:pt x="16" y="9"/>
                    </a:lnTo>
                    <a:lnTo>
                      <a:pt x="16" y="9"/>
                    </a:lnTo>
                    <a:lnTo>
                      <a:pt x="22" y="10"/>
                    </a:lnTo>
                    <a:lnTo>
                      <a:pt x="25" y="10"/>
                    </a:lnTo>
                    <a:lnTo>
                      <a:pt x="27" y="9"/>
                    </a:lnTo>
                    <a:lnTo>
                      <a:pt x="27" y="9"/>
                    </a:lnTo>
                    <a:lnTo>
                      <a:pt x="27" y="9"/>
                    </a:lnTo>
                    <a:lnTo>
                      <a:pt x="31" y="9"/>
                    </a:lnTo>
                    <a:lnTo>
                      <a:pt x="33" y="9"/>
                    </a:lnTo>
                    <a:lnTo>
                      <a:pt x="33" y="1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05" name="Freeform 2658"/>
              <p:cNvSpPr>
                <a:spLocks/>
              </p:cNvSpPr>
              <p:nvPr/>
            </p:nvSpPr>
            <p:spPr bwMode="auto">
              <a:xfrm>
                <a:off x="4749" y="2756"/>
                <a:ext cx="47" cy="16"/>
              </a:xfrm>
              <a:custGeom>
                <a:avLst/>
                <a:gdLst>
                  <a:gd name="T0" fmla="*/ 33 w 47"/>
                  <a:gd name="T1" fmla="*/ 10 h 16"/>
                  <a:gd name="T2" fmla="*/ 33 w 47"/>
                  <a:gd name="T3" fmla="*/ 10 h 16"/>
                  <a:gd name="T4" fmla="*/ 43 w 47"/>
                  <a:gd name="T5" fmla="*/ 16 h 16"/>
                  <a:gd name="T6" fmla="*/ 43 w 47"/>
                  <a:gd name="T7" fmla="*/ 16 h 16"/>
                  <a:gd name="T8" fmla="*/ 45 w 47"/>
                  <a:gd name="T9" fmla="*/ 16 h 16"/>
                  <a:gd name="T10" fmla="*/ 47 w 47"/>
                  <a:gd name="T11" fmla="*/ 16 h 16"/>
                  <a:gd name="T12" fmla="*/ 47 w 47"/>
                  <a:gd name="T13" fmla="*/ 12 h 16"/>
                  <a:gd name="T14" fmla="*/ 47 w 47"/>
                  <a:gd name="T15" fmla="*/ 12 h 16"/>
                  <a:gd name="T16" fmla="*/ 45 w 47"/>
                  <a:gd name="T17" fmla="*/ 10 h 16"/>
                  <a:gd name="T18" fmla="*/ 43 w 47"/>
                  <a:gd name="T19" fmla="*/ 9 h 16"/>
                  <a:gd name="T20" fmla="*/ 43 w 47"/>
                  <a:gd name="T21" fmla="*/ 9 h 16"/>
                  <a:gd name="T22" fmla="*/ 43 w 47"/>
                  <a:gd name="T23" fmla="*/ 7 h 16"/>
                  <a:gd name="T24" fmla="*/ 41 w 47"/>
                  <a:gd name="T25" fmla="*/ 5 h 16"/>
                  <a:gd name="T26" fmla="*/ 41 w 47"/>
                  <a:gd name="T27" fmla="*/ 5 h 16"/>
                  <a:gd name="T28" fmla="*/ 40 w 47"/>
                  <a:gd name="T29" fmla="*/ 3 h 16"/>
                  <a:gd name="T30" fmla="*/ 38 w 47"/>
                  <a:gd name="T31" fmla="*/ 3 h 16"/>
                  <a:gd name="T32" fmla="*/ 38 w 47"/>
                  <a:gd name="T33" fmla="*/ 3 h 16"/>
                  <a:gd name="T34" fmla="*/ 34 w 47"/>
                  <a:gd name="T35" fmla="*/ 3 h 16"/>
                  <a:gd name="T36" fmla="*/ 33 w 47"/>
                  <a:gd name="T37" fmla="*/ 1 h 16"/>
                  <a:gd name="T38" fmla="*/ 33 w 47"/>
                  <a:gd name="T39" fmla="*/ 1 h 16"/>
                  <a:gd name="T40" fmla="*/ 29 w 47"/>
                  <a:gd name="T41" fmla="*/ 0 h 16"/>
                  <a:gd name="T42" fmla="*/ 25 w 47"/>
                  <a:gd name="T43" fmla="*/ 0 h 16"/>
                  <a:gd name="T44" fmla="*/ 25 w 47"/>
                  <a:gd name="T45" fmla="*/ 0 h 16"/>
                  <a:gd name="T46" fmla="*/ 22 w 47"/>
                  <a:gd name="T47" fmla="*/ 1 h 16"/>
                  <a:gd name="T48" fmla="*/ 22 w 47"/>
                  <a:gd name="T49" fmla="*/ 1 h 16"/>
                  <a:gd name="T50" fmla="*/ 20 w 47"/>
                  <a:gd name="T51" fmla="*/ 1 h 16"/>
                  <a:gd name="T52" fmla="*/ 18 w 47"/>
                  <a:gd name="T53" fmla="*/ 1 h 16"/>
                  <a:gd name="T54" fmla="*/ 18 w 47"/>
                  <a:gd name="T55" fmla="*/ 1 h 16"/>
                  <a:gd name="T56" fmla="*/ 11 w 47"/>
                  <a:gd name="T57" fmla="*/ 1 h 16"/>
                  <a:gd name="T58" fmla="*/ 11 w 47"/>
                  <a:gd name="T59" fmla="*/ 1 h 16"/>
                  <a:gd name="T60" fmla="*/ 6 w 47"/>
                  <a:gd name="T61" fmla="*/ 1 h 16"/>
                  <a:gd name="T62" fmla="*/ 2 w 47"/>
                  <a:gd name="T63" fmla="*/ 3 h 16"/>
                  <a:gd name="T64" fmla="*/ 0 w 47"/>
                  <a:gd name="T65" fmla="*/ 7 h 16"/>
                  <a:gd name="T66" fmla="*/ 0 w 47"/>
                  <a:gd name="T67" fmla="*/ 12 h 16"/>
                  <a:gd name="T68" fmla="*/ 0 w 47"/>
                  <a:gd name="T69" fmla="*/ 12 h 16"/>
                  <a:gd name="T70" fmla="*/ 2 w 47"/>
                  <a:gd name="T71" fmla="*/ 9 h 16"/>
                  <a:gd name="T72" fmla="*/ 2 w 47"/>
                  <a:gd name="T73" fmla="*/ 5 h 16"/>
                  <a:gd name="T74" fmla="*/ 4 w 47"/>
                  <a:gd name="T75" fmla="*/ 5 h 16"/>
                  <a:gd name="T76" fmla="*/ 4 w 47"/>
                  <a:gd name="T77" fmla="*/ 5 h 16"/>
                  <a:gd name="T78" fmla="*/ 6 w 47"/>
                  <a:gd name="T79" fmla="*/ 7 h 16"/>
                  <a:gd name="T80" fmla="*/ 6 w 47"/>
                  <a:gd name="T81" fmla="*/ 9 h 16"/>
                  <a:gd name="T82" fmla="*/ 9 w 47"/>
                  <a:gd name="T83" fmla="*/ 10 h 16"/>
                  <a:gd name="T84" fmla="*/ 9 w 47"/>
                  <a:gd name="T85" fmla="*/ 10 h 16"/>
                  <a:gd name="T86" fmla="*/ 15 w 47"/>
                  <a:gd name="T87" fmla="*/ 9 h 16"/>
                  <a:gd name="T88" fmla="*/ 16 w 47"/>
                  <a:gd name="T89" fmla="*/ 7 h 16"/>
                  <a:gd name="T90" fmla="*/ 16 w 47"/>
                  <a:gd name="T91" fmla="*/ 9 h 16"/>
                  <a:gd name="T92" fmla="*/ 16 w 47"/>
                  <a:gd name="T93" fmla="*/ 9 h 16"/>
                  <a:gd name="T94" fmla="*/ 22 w 47"/>
                  <a:gd name="T95" fmla="*/ 10 h 16"/>
                  <a:gd name="T96" fmla="*/ 25 w 47"/>
                  <a:gd name="T97" fmla="*/ 10 h 16"/>
                  <a:gd name="T98" fmla="*/ 27 w 47"/>
                  <a:gd name="T99" fmla="*/ 9 h 16"/>
                  <a:gd name="T100" fmla="*/ 27 w 47"/>
                  <a:gd name="T101" fmla="*/ 9 h 16"/>
                  <a:gd name="T102" fmla="*/ 27 w 47"/>
                  <a:gd name="T103" fmla="*/ 9 h 16"/>
                  <a:gd name="T104" fmla="*/ 31 w 47"/>
                  <a:gd name="T105" fmla="*/ 9 h 16"/>
                  <a:gd name="T106" fmla="*/ 33 w 47"/>
                  <a:gd name="T107" fmla="*/ 9 h 16"/>
                  <a:gd name="T108" fmla="*/ 33 w 47"/>
                  <a:gd name="T109" fmla="*/ 1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 h="16">
                    <a:moveTo>
                      <a:pt x="33" y="10"/>
                    </a:moveTo>
                    <a:lnTo>
                      <a:pt x="33" y="10"/>
                    </a:lnTo>
                    <a:lnTo>
                      <a:pt x="43" y="16"/>
                    </a:lnTo>
                    <a:lnTo>
                      <a:pt x="43" y="16"/>
                    </a:lnTo>
                    <a:lnTo>
                      <a:pt x="45" y="16"/>
                    </a:lnTo>
                    <a:lnTo>
                      <a:pt x="47" y="16"/>
                    </a:lnTo>
                    <a:lnTo>
                      <a:pt x="47" y="12"/>
                    </a:lnTo>
                    <a:lnTo>
                      <a:pt x="47" y="12"/>
                    </a:lnTo>
                    <a:lnTo>
                      <a:pt x="45" y="10"/>
                    </a:lnTo>
                    <a:lnTo>
                      <a:pt x="43" y="9"/>
                    </a:lnTo>
                    <a:lnTo>
                      <a:pt x="43" y="9"/>
                    </a:lnTo>
                    <a:lnTo>
                      <a:pt x="43" y="7"/>
                    </a:lnTo>
                    <a:lnTo>
                      <a:pt x="41" y="5"/>
                    </a:lnTo>
                    <a:lnTo>
                      <a:pt x="41" y="5"/>
                    </a:lnTo>
                    <a:lnTo>
                      <a:pt x="40" y="3"/>
                    </a:lnTo>
                    <a:lnTo>
                      <a:pt x="38" y="3"/>
                    </a:lnTo>
                    <a:lnTo>
                      <a:pt x="38" y="3"/>
                    </a:lnTo>
                    <a:lnTo>
                      <a:pt x="34" y="3"/>
                    </a:lnTo>
                    <a:lnTo>
                      <a:pt x="33" y="1"/>
                    </a:lnTo>
                    <a:lnTo>
                      <a:pt x="33" y="1"/>
                    </a:lnTo>
                    <a:lnTo>
                      <a:pt x="29" y="0"/>
                    </a:lnTo>
                    <a:lnTo>
                      <a:pt x="25" y="0"/>
                    </a:lnTo>
                    <a:lnTo>
                      <a:pt x="25" y="0"/>
                    </a:lnTo>
                    <a:lnTo>
                      <a:pt x="22" y="1"/>
                    </a:lnTo>
                    <a:lnTo>
                      <a:pt x="22" y="1"/>
                    </a:lnTo>
                    <a:lnTo>
                      <a:pt x="20" y="1"/>
                    </a:lnTo>
                    <a:lnTo>
                      <a:pt x="18" y="1"/>
                    </a:lnTo>
                    <a:lnTo>
                      <a:pt x="18" y="1"/>
                    </a:lnTo>
                    <a:lnTo>
                      <a:pt x="11" y="1"/>
                    </a:lnTo>
                    <a:lnTo>
                      <a:pt x="11" y="1"/>
                    </a:lnTo>
                    <a:lnTo>
                      <a:pt x="6" y="1"/>
                    </a:lnTo>
                    <a:lnTo>
                      <a:pt x="2" y="3"/>
                    </a:lnTo>
                    <a:lnTo>
                      <a:pt x="0" y="7"/>
                    </a:lnTo>
                    <a:lnTo>
                      <a:pt x="0" y="12"/>
                    </a:lnTo>
                    <a:lnTo>
                      <a:pt x="0" y="12"/>
                    </a:lnTo>
                    <a:lnTo>
                      <a:pt x="2" y="9"/>
                    </a:lnTo>
                    <a:lnTo>
                      <a:pt x="2" y="5"/>
                    </a:lnTo>
                    <a:lnTo>
                      <a:pt x="4" y="5"/>
                    </a:lnTo>
                    <a:lnTo>
                      <a:pt x="4" y="5"/>
                    </a:lnTo>
                    <a:lnTo>
                      <a:pt x="6" y="7"/>
                    </a:lnTo>
                    <a:lnTo>
                      <a:pt x="6" y="9"/>
                    </a:lnTo>
                    <a:lnTo>
                      <a:pt x="9" y="10"/>
                    </a:lnTo>
                    <a:lnTo>
                      <a:pt x="9" y="10"/>
                    </a:lnTo>
                    <a:lnTo>
                      <a:pt x="15" y="9"/>
                    </a:lnTo>
                    <a:lnTo>
                      <a:pt x="16" y="7"/>
                    </a:lnTo>
                    <a:lnTo>
                      <a:pt x="16" y="9"/>
                    </a:lnTo>
                    <a:lnTo>
                      <a:pt x="16" y="9"/>
                    </a:lnTo>
                    <a:lnTo>
                      <a:pt x="22" y="10"/>
                    </a:lnTo>
                    <a:lnTo>
                      <a:pt x="25" y="10"/>
                    </a:lnTo>
                    <a:lnTo>
                      <a:pt x="27" y="9"/>
                    </a:lnTo>
                    <a:lnTo>
                      <a:pt x="27" y="9"/>
                    </a:lnTo>
                    <a:lnTo>
                      <a:pt x="27" y="9"/>
                    </a:lnTo>
                    <a:lnTo>
                      <a:pt x="31" y="9"/>
                    </a:lnTo>
                    <a:lnTo>
                      <a:pt x="33" y="9"/>
                    </a:lnTo>
                    <a:lnTo>
                      <a:pt x="33" y="1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06" name="Freeform 2659"/>
              <p:cNvSpPr>
                <a:spLocks/>
              </p:cNvSpPr>
              <p:nvPr/>
            </p:nvSpPr>
            <p:spPr bwMode="auto">
              <a:xfrm>
                <a:off x="4749" y="2768"/>
                <a:ext cx="6" cy="4"/>
              </a:xfrm>
              <a:custGeom>
                <a:avLst/>
                <a:gdLst>
                  <a:gd name="T0" fmla="*/ 2 w 6"/>
                  <a:gd name="T1" fmla="*/ 0 h 4"/>
                  <a:gd name="T2" fmla="*/ 2 w 6"/>
                  <a:gd name="T3" fmla="*/ 0 h 4"/>
                  <a:gd name="T4" fmla="*/ 0 w 6"/>
                  <a:gd name="T5" fmla="*/ 2 h 4"/>
                  <a:gd name="T6" fmla="*/ 0 w 6"/>
                  <a:gd name="T7" fmla="*/ 4 h 4"/>
                  <a:gd name="T8" fmla="*/ 0 w 6"/>
                  <a:gd name="T9" fmla="*/ 4 h 4"/>
                  <a:gd name="T10" fmla="*/ 4 w 6"/>
                  <a:gd name="T11" fmla="*/ 2 h 4"/>
                  <a:gd name="T12" fmla="*/ 4 w 6"/>
                  <a:gd name="T13" fmla="*/ 2 h 4"/>
                  <a:gd name="T14" fmla="*/ 4 w 6"/>
                  <a:gd name="T15" fmla="*/ 2 h 4"/>
                  <a:gd name="T16" fmla="*/ 6 w 6"/>
                  <a:gd name="T17" fmla="*/ 2 h 4"/>
                  <a:gd name="T18" fmla="*/ 6 w 6"/>
                  <a:gd name="T19" fmla="*/ 0 h 4"/>
                  <a:gd name="T20" fmla="*/ 6 w 6"/>
                  <a:gd name="T21" fmla="*/ 0 h 4"/>
                  <a:gd name="T22" fmla="*/ 4 w 6"/>
                  <a:gd name="T23" fmla="*/ 0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2"/>
                    </a:lnTo>
                    <a:lnTo>
                      <a:pt x="0" y="4"/>
                    </a:lnTo>
                    <a:lnTo>
                      <a:pt x="0" y="4"/>
                    </a:lnTo>
                    <a:lnTo>
                      <a:pt x="4" y="2"/>
                    </a:lnTo>
                    <a:lnTo>
                      <a:pt x="4" y="2"/>
                    </a:lnTo>
                    <a:lnTo>
                      <a:pt x="4" y="2"/>
                    </a:lnTo>
                    <a:lnTo>
                      <a:pt x="6" y="2"/>
                    </a:lnTo>
                    <a:lnTo>
                      <a:pt x="6" y="0"/>
                    </a:lnTo>
                    <a:lnTo>
                      <a:pt x="6" y="0"/>
                    </a:lnTo>
                    <a:lnTo>
                      <a:pt x="4"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07" name="Freeform 2660"/>
              <p:cNvSpPr>
                <a:spLocks/>
              </p:cNvSpPr>
              <p:nvPr/>
            </p:nvSpPr>
            <p:spPr bwMode="auto">
              <a:xfrm>
                <a:off x="4749" y="2768"/>
                <a:ext cx="6" cy="4"/>
              </a:xfrm>
              <a:custGeom>
                <a:avLst/>
                <a:gdLst>
                  <a:gd name="T0" fmla="*/ 2 w 6"/>
                  <a:gd name="T1" fmla="*/ 0 h 4"/>
                  <a:gd name="T2" fmla="*/ 2 w 6"/>
                  <a:gd name="T3" fmla="*/ 0 h 4"/>
                  <a:gd name="T4" fmla="*/ 0 w 6"/>
                  <a:gd name="T5" fmla="*/ 2 h 4"/>
                  <a:gd name="T6" fmla="*/ 0 w 6"/>
                  <a:gd name="T7" fmla="*/ 4 h 4"/>
                  <a:gd name="T8" fmla="*/ 0 w 6"/>
                  <a:gd name="T9" fmla="*/ 4 h 4"/>
                  <a:gd name="T10" fmla="*/ 4 w 6"/>
                  <a:gd name="T11" fmla="*/ 2 h 4"/>
                  <a:gd name="T12" fmla="*/ 4 w 6"/>
                  <a:gd name="T13" fmla="*/ 2 h 4"/>
                  <a:gd name="T14" fmla="*/ 4 w 6"/>
                  <a:gd name="T15" fmla="*/ 2 h 4"/>
                  <a:gd name="T16" fmla="*/ 6 w 6"/>
                  <a:gd name="T17" fmla="*/ 2 h 4"/>
                  <a:gd name="T18" fmla="*/ 6 w 6"/>
                  <a:gd name="T19" fmla="*/ 0 h 4"/>
                  <a:gd name="T20" fmla="*/ 6 w 6"/>
                  <a:gd name="T21" fmla="*/ 0 h 4"/>
                  <a:gd name="T22" fmla="*/ 4 w 6"/>
                  <a:gd name="T23" fmla="*/ 0 h 4"/>
                  <a:gd name="T24" fmla="*/ 2 w 6"/>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 h="4">
                    <a:moveTo>
                      <a:pt x="2" y="0"/>
                    </a:moveTo>
                    <a:lnTo>
                      <a:pt x="2" y="0"/>
                    </a:lnTo>
                    <a:lnTo>
                      <a:pt x="0" y="2"/>
                    </a:lnTo>
                    <a:lnTo>
                      <a:pt x="0" y="4"/>
                    </a:lnTo>
                    <a:lnTo>
                      <a:pt x="0" y="4"/>
                    </a:lnTo>
                    <a:lnTo>
                      <a:pt x="4" y="2"/>
                    </a:lnTo>
                    <a:lnTo>
                      <a:pt x="4" y="2"/>
                    </a:lnTo>
                    <a:lnTo>
                      <a:pt x="4" y="2"/>
                    </a:lnTo>
                    <a:lnTo>
                      <a:pt x="6" y="2"/>
                    </a:lnTo>
                    <a:lnTo>
                      <a:pt x="6" y="0"/>
                    </a:lnTo>
                    <a:lnTo>
                      <a:pt x="6" y="0"/>
                    </a:lnTo>
                    <a:lnTo>
                      <a:pt x="4"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08" name="Freeform 2661"/>
              <p:cNvSpPr>
                <a:spLocks/>
              </p:cNvSpPr>
              <p:nvPr/>
            </p:nvSpPr>
            <p:spPr bwMode="auto">
              <a:xfrm>
                <a:off x="4755" y="2668"/>
                <a:ext cx="7" cy="11"/>
              </a:xfrm>
              <a:custGeom>
                <a:avLst/>
                <a:gdLst>
                  <a:gd name="T0" fmla="*/ 0 w 7"/>
                  <a:gd name="T1" fmla="*/ 11 h 11"/>
                  <a:gd name="T2" fmla="*/ 0 w 7"/>
                  <a:gd name="T3" fmla="*/ 11 h 11"/>
                  <a:gd name="T4" fmla="*/ 3 w 7"/>
                  <a:gd name="T5" fmla="*/ 9 h 11"/>
                  <a:gd name="T6" fmla="*/ 5 w 7"/>
                  <a:gd name="T7" fmla="*/ 7 h 11"/>
                  <a:gd name="T8" fmla="*/ 7 w 7"/>
                  <a:gd name="T9" fmla="*/ 4 h 11"/>
                  <a:gd name="T10" fmla="*/ 5 w 7"/>
                  <a:gd name="T11" fmla="*/ 0 h 11"/>
                  <a:gd name="T12" fmla="*/ 5 w 7"/>
                  <a:gd name="T13" fmla="*/ 0 h 11"/>
                  <a:gd name="T14" fmla="*/ 2 w 7"/>
                  <a:gd name="T15" fmla="*/ 4 h 11"/>
                  <a:gd name="T16" fmla="*/ 2 w 7"/>
                  <a:gd name="T17" fmla="*/ 4 h 11"/>
                  <a:gd name="T18" fmla="*/ 0 w 7"/>
                  <a:gd name="T19" fmla="*/ 7 h 11"/>
                  <a:gd name="T20" fmla="*/ 0 w 7"/>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1">
                    <a:moveTo>
                      <a:pt x="0" y="11"/>
                    </a:moveTo>
                    <a:lnTo>
                      <a:pt x="0" y="11"/>
                    </a:lnTo>
                    <a:lnTo>
                      <a:pt x="3" y="9"/>
                    </a:lnTo>
                    <a:lnTo>
                      <a:pt x="5" y="7"/>
                    </a:lnTo>
                    <a:lnTo>
                      <a:pt x="7" y="4"/>
                    </a:lnTo>
                    <a:lnTo>
                      <a:pt x="5" y="0"/>
                    </a:lnTo>
                    <a:lnTo>
                      <a:pt x="5" y="0"/>
                    </a:lnTo>
                    <a:lnTo>
                      <a:pt x="2" y="4"/>
                    </a:lnTo>
                    <a:lnTo>
                      <a:pt x="2" y="4"/>
                    </a:lnTo>
                    <a:lnTo>
                      <a:pt x="0" y="7"/>
                    </a:lnTo>
                    <a:lnTo>
                      <a:pt x="0"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09" name="Freeform 2662"/>
              <p:cNvSpPr>
                <a:spLocks/>
              </p:cNvSpPr>
              <p:nvPr/>
            </p:nvSpPr>
            <p:spPr bwMode="auto">
              <a:xfrm>
                <a:off x="4755" y="2668"/>
                <a:ext cx="7" cy="11"/>
              </a:xfrm>
              <a:custGeom>
                <a:avLst/>
                <a:gdLst>
                  <a:gd name="T0" fmla="*/ 0 w 7"/>
                  <a:gd name="T1" fmla="*/ 11 h 11"/>
                  <a:gd name="T2" fmla="*/ 0 w 7"/>
                  <a:gd name="T3" fmla="*/ 11 h 11"/>
                  <a:gd name="T4" fmla="*/ 3 w 7"/>
                  <a:gd name="T5" fmla="*/ 9 h 11"/>
                  <a:gd name="T6" fmla="*/ 5 w 7"/>
                  <a:gd name="T7" fmla="*/ 7 h 11"/>
                  <a:gd name="T8" fmla="*/ 7 w 7"/>
                  <a:gd name="T9" fmla="*/ 4 h 11"/>
                  <a:gd name="T10" fmla="*/ 5 w 7"/>
                  <a:gd name="T11" fmla="*/ 0 h 11"/>
                  <a:gd name="T12" fmla="*/ 5 w 7"/>
                  <a:gd name="T13" fmla="*/ 0 h 11"/>
                  <a:gd name="T14" fmla="*/ 2 w 7"/>
                  <a:gd name="T15" fmla="*/ 4 h 11"/>
                  <a:gd name="T16" fmla="*/ 2 w 7"/>
                  <a:gd name="T17" fmla="*/ 4 h 11"/>
                  <a:gd name="T18" fmla="*/ 0 w 7"/>
                  <a:gd name="T19" fmla="*/ 7 h 11"/>
                  <a:gd name="T20" fmla="*/ 0 w 7"/>
                  <a:gd name="T2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1">
                    <a:moveTo>
                      <a:pt x="0" y="11"/>
                    </a:moveTo>
                    <a:lnTo>
                      <a:pt x="0" y="11"/>
                    </a:lnTo>
                    <a:lnTo>
                      <a:pt x="3" y="9"/>
                    </a:lnTo>
                    <a:lnTo>
                      <a:pt x="5" y="7"/>
                    </a:lnTo>
                    <a:lnTo>
                      <a:pt x="7" y="4"/>
                    </a:lnTo>
                    <a:lnTo>
                      <a:pt x="5" y="0"/>
                    </a:lnTo>
                    <a:lnTo>
                      <a:pt x="5" y="0"/>
                    </a:lnTo>
                    <a:lnTo>
                      <a:pt x="2" y="4"/>
                    </a:lnTo>
                    <a:lnTo>
                      <a:pt x="2" y="4"/>
                    </a:lnTo>
                    <a:lnTo>
                      <a:pt x="0" y="7"/>
                    </a:lnTo>
                    <a:lnTo>
                      <a:pt x="0"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10" name="Freeform 2663"/>
              <p:cNvSpPr>
                <a:spLocks/>
              </p:cNvSpPr>
              <p:nvPr/>
            </p:nvSpPr>
            <p:spPr bwMode="auto">
              <a:xfrm>
                <a:off x="4757" y="2825"/>
                <a:ext cx="1" cy="0"/>
              </a:xfrm>
              <a:custGeom>
                <a:avLst/>
                <a:gdLst>
                  <a:gd name="T0" fmla="*/ 0 w 1"/>
                  <a:gd name="T1" fmla="*/ 0 w 1"/>
                  <a:gd name="T2" fmla="*/ 0 w 1"/>
                  <a:gd name="T3" fmla="*/ 0 w 1"/>
                  <a:gd name="T4" fmla="*/ 1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0" y="0"/>
                    </a:lnTo>
                    <a:lnTo>
                      <a:pt x="0" y="0"/>
                    </a:lnTo>
                    <a:lnTo>
                      <a:pt x="1"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11" name="Freeform 2664"/>
              <p:cNvSpPr>
                <a:spLocks/>
              </p:cNvSpPr>
              <p:nvPr/>
            </p:nvSpPr>
            <p:spPr bwMode="auto">
              <a:xfrm>
                <a:off x="4757" y="2825"/>
                <a:ext cx="1" cy="0"/>
              </a:xfrm>
              <a:custGeom>
                <a:avLst/>
                <a:gdLst>
                  <a:gd name="T0" fmla="*/ 0 w 1"/>
                  <a:gd name="T1" fmla="*/ 0 w 1"/>
                  <a:gd name="T2" fmla="*/ 0 w 1"/>
                  <a:gd name="T3" fmla="*/ 0 w 1"/>
                  <a:gd name="T4" fmla="*/ 1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lnTo>
                      <a:pt x="0" y="0"/>
                    </a:lnTo>
                    <a:lnTo>
                      <a:pt x="0" y="0"/>
                    </a:lnTo>
                    <a:lnTo>
                      <a:pt x="0" y="0"/>
                    </a:lnTo>
                    <a:lnTo>
                      <a:pt x="1"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12" name="Freeform 2665"/>
              <p:cNvSpPr>
                <a:spLocks/>
              </p:cNvSpPr>
              <p:nvPr/>
            </p:nvSpPr>
            <p:spPr bwMode="auto">
              <a:xfrm>
                <a:off x="4757" y="2768"/>
                <a:ext cx="1" cy="2"/>
              </a:xfrm>
              <a:custGeom>
                <a:avLst/>
                <a:gdLst>
                  <a:gd name="T0" fmla="*/ 0 w 1"/>
                  <a:gd name="T1" fmla="*/ 0 h 2"/>
                  <a:gd name="T2" fmla="*/ 0 w 1"/>
                  <a:gd name="T3" fmla="*/ 0 h 2"/>
                  <a:gd name="T4" fmla="*/ 0 w 1"/>
                  <a:gd name="T5" fmla="*/ 2 h 2"/>
                  <a:gd name="T6" fmla="*/ 0 w 1"/>
                  <a:gd name="T7" fmla="*/ 2 h 2"/>
                  <a:gd name="T8" fmla="*/ 1 w 1"/>
                  <a:gd name="T9" fmla="*/ 0 h 2"/>
                  <a:gd name="T10" fmla="*/ 1 w 1"/>
                  <a:gd name="T11" fmla="*/ 0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0" y="0"/>
                    </a:lnTo>
                    <a:lnTo>
                      <a:pt x="0" y="2"/>
                    </a:lnTo>
                    <a:lnTo>
                      <a:pt x="0" y="2"/>
                    </a:lnTo>
                    <a:lnTo>
                      <a:pt x="1" y="0"/>
                    </a:lnTo>
                    <a:lnTo>
                      <a:pt x="1"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13" name="Freeform 2666"/>
              <p:cNvSpPr>
                <a:spLocks/>
              </p:cNvSpPr>
              <p:nvPr/>
            </p:nvSpPr>
            <p:spPr bwMode="auto">
              <a:xfrm>
                <a:off x="4757" y="2768"/>
                <a:ext cx="1" cy="2"/>
              </a:xfrm>
              <a:custGeom>
                <a:avLst/>
                <a:gdLst>
                  <a:gd name="T0" fmla="*/ 0 w 1"/>
                  <a:gd name="T1" fmla="*/ 0 h 2"/>
                  <a:gd name="T2" fmla="*/ 0 w 1"/>
                  <a:gd name="T3" fmla="*/ 0 h 2"/>
                  <a:gd name="T4" fmla="*/ 0 w 1"/>
                  <a:gd name="T5" fmla="*/ 2 h 2"/>
                  <a:gd name="T6" fmla="*/ 0 w 1"/>
                  <a:gd name="T7" fmla="*/ 2 h 2"/>
                  <a:gd name="T8" fmla="*/ 1 w 1"/>
                  <a:gd name="T9" fmla="*/ 0 h 2"/>
                  <a:gd name="T10" fmla="*/ 1 w 1"/>
                  <a:gd name="T11" fmla="*/ 0 h 2"/>
                  <a:gd name="T12" fmla="*/ 0 w 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0"/>
                    </a:moveTo>
                    <a:lnTo>
                      <a:pt x="0" y="0"/>
                    </a:lnTo>
                    <a:lnTo>
                      <a:pt x="0" y="2"/>
                    </a:lnTo>
                    <a:lnTo>
                      <a:pt x="0" y="2"/>
                    </a:lnTo>
                    <a:lnTo>
                      <a:pt x="1" y="0"/>
                    </a:lnTo>
                    <a:lnTo>
                      <a:pt x="1"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14" name="Freeform 2667"/>
              <p:cNvSpPr>
                <a:spLocks/>
              </p:cNvSpPr>
              <p:nvPr/>
            </p:nvSpPr>
            <p:spPr bwMode="auto">
              <a:xfrm>
                <a:off x="4760" y="2843"/>
                <a:ext cx="2" cy="0"/>
              </a:xfrm>
              <a:custGeom>
                <a:avLst/>
                <a:gdLst>
                  <a:gd name="T0" fmla="*/ 0 w 2"/>
                  <a:gd name="T1" fmla="*/ 0 w 2"/>
                  <a:gd name="T2" fmla="*/ 2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2" y="0"/>
                    </a:lnTo>
                    <a:lnTo>
                      <a:pt x="2" y="0"/>
                    </a:lnTo>
                    <a:lnTo>
                      <a:pt x="2"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15" name="Freeform 2668"/>
              <p:cNvSpPr>
                <a:spLocks/>
              </p:cNvSpPr>
              <p:nvPr/>
            </p:nvSpPr>
            <p:spPr bwMode="auto">
              <a:xfrm>
                <a:off x="4760" y="2843"/>
                <a:ext cx="2" cy="0"/>
              </a:xfrm>
              <a:custGeom>
                <a:avLst/>
                <a:gdLst>
                  <a:gd name="T0" fmla="*/ 0 w 2"/>
                  <a:gd name="T1" fmla="*/ 0 w 2"/>
                  <a:gd name="T2" fmla="*/ 2 w 2"/>
                  <a:gd name="T3" fmla="*/ 2 w 2"/>
                  <a:gd name="T4" fmla="*/ 2 w 2"/>
                  <a:gd name="T5" fmla="*/ 0 w 2"/>
                </a:gdLst>
                <a:ahLst/>
                <a:cxnLst>
                  <a:cxn ang="0">
                    <a:pos x="T0" y="0"/>
                  </a:cxn>
                  <a:cxn ang="0">
                    <a:pos x="T1" y="0"/>
                  </a:cxn>
                  <a:cxn ang="0">
                    <a:pos x="T2" y="0"/>
                  </a:cxn>
                  <a:cxn ang="0">
                    <a:pos x="T3" y="0"/>
                  </a:cxn>
                  <a:cxn ang="0">
                    <a:pos x="T4" y="0"/>
                  </a:cxn>
                  <a:cxn ang="0">
                    <a:pos x="T5" y="0"/>
                  </a:cxn>
                </a:cxnLst>
                <a:rect l="0" t="0" r="r" b="b"/>
                <a:pathLst>
                  <a:path w="2">
                    <a:moveTo>
                      <a:pt x="0" y="0"/>
                    </a:moveTo>
                    <a:lnTo>
                      <a:pt x="0" y="0"/>
                    </a:lnTo>
                    <a:lnTo>
                      <a:pt x="2" y="0"/>
                    </a:lnTo>
                    <a:lnTo>
                      <a:pt x="2" y="0"/>
                    </a:lnTo>
                    <a:lnTo>
                      <a:pt x="2"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16" name="Freeform 2669"/>
              <p:cNvSpPr>
                <a:spLocks/>
              </p:cNvSpPr>
              <p:nvPr/>
            </p:nvSpPr>
            <p:spPr bwMode="auto">
              <a:xfrm>
                <a:off x="4760" y="2766"/>
                <a:ext cx="2" cy="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2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0" y="2"/>
                    </a:lnTo>
                    <a:lnTo>
                      <a:pt x="2" y="2"/>
                    </a:lnTo>
                    <a:lnTo>
                      <a:pt x="2" y="2"/>
                    </a:lnTo>
                    <a:lnTo>
                      <a:pt x="2"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17" name="Freeform 2670"/>
              <p:cNvSpPr>
                <a:spLocks/>
              </p:cNvSpPr>
              <p:nvPr/>
            </p:nvSpPr>
            <p:spPr bwMode="auto">
              <a:xfrm>
                <a:off x="4760" y="2766"/>
                <a:ext cx="2" cy="2"/>
              </a:xfrm>
              <a:custGeom>
                <a:avLst/>
                <a:gdLst>
                  <a:gd name="T0" fmla="*/ 0 w 2"/>
                  <a:gd name="T1" fmla="*/ 0 h 2"/>
                  <a:gd name="T2" fmla="*/ 0 w 2"/>
                  <a:gd name="T3" fmla="*/ 0 h 2"/>
                  <a:gd name="T4" fmla="*/ 0 w 2"/>
                  <a:gd name="T5" fmla="*/ 2 h 2"/>
                  <a:gd name="T6" fmla="*/ 2 w 2"/>
                  <a:gd name="T7" fmla="*/ 2 h 2"/>
                  <a:gd name="T8" fmla="*/ 2 w 2"/>
                  <a:gd name="T9" fmla="*/ 2 h 2"/>
                  <a:gd name="T10" fmla="*/ 2 w 2"/>
                  <a:gd name="T11" fmla="*/ 2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0" y="2"/>
                    </a:lnTo>
                    <a:lnTo>
                      <a:pt x="2" y="2"/>
                    </a:lnTo>
                    <a:lnTo>
                      <a:pt x="2" y="2"/>
                    </a:lnTo>
                    <a:lnTo>
                      <a:pt x="2"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18" name="Freeform 2671"/>
              <p:cNvSpPr>
                <a:spLocks/>
              </p:cNvSpPr>
              <p:nvPr/>
            </p:nvSpPr>
            <p:spPr bwMode="auto">
              <a:xfrm>
                <a:off x="4773" y="2836"/>
                <a:ext cx="3" cy="4"/>
              </a:xfrm>
              <a:custGeom>
                <a:avLst/>
                <a:gdLst>
                  <a:gd name="T0" fmla="*/ 0 w 3"/>
                  <a:gd name="T1" fmla="*/ 0 h 4"/>
                  <a:gd name="T2" fmla="*/ 0 w 3"/>
                  <a:gd name="T3" fmla="*/ 0 h 4"/>
                  <a:gd name="T4" fmla="*/ 0 w 3"/>
                  <a:gd name="T5" fmla="*/ 2 h 4"/>
                  <a:gd name="T6" fmla="*/ 1 w 3"/>
                  <a:gd name="T7" fmla="*/ 4 h 4"/>
                  <a:gd name="T8" fmla="*/ 1 w 3"/>
                  <a:gd name="T9" fmla="*/ 4 h 4"/>
                  <a:gd name="T10" fmla="*/ 3 w 3"/>
                  <a:gd name="T11" fmla="*/ 4 h 4"/>
                  <a:gd name="T12" fmla="*/ 3 w 3"/>
                  <a:gd name="T13" fmla="*/ 2 h 4"/>
                  <a:gd name="T14" fmla="*/ 1 w 3"/>
                  <a:gd name="T15" fmla="*/ 0 h 4"/>
                  <a:gd name="T16" fmla="*/ 0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0"/>
                    </a:moveTo>
                    <a:lnTo>
                      <a:pt x="0" y="0"/>
                    </a:lnTo>
                    <a:lnTo>
                      <a:pt x="0" y="2"/>
                    </a:lnTo>
                    <a:lnTo>
                      <a:pt x="1" y="4"/>
                    </a:lnTo>
                    <a:lnTo>
                      <a:pt x="1" y="4"/>
                    </a:lnTo>
                    <a:lnTo>
                      <a:pt x="3" y="4"/>
                    </a:lnTo>
                    <a:lnTo>
                      <a:pt x="3" y="2"/>
                    </a:lnTo>
                    <a:lnTo>
                      <a:pt x="1"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19" name="Freeform 2672"/>
              <p:cNvSpPr>
                <a:spLocks/>
              </p:cNvSpPr>
              <p:nvPr/>
            </p:nvSpPr>
            <p:spPr bwMode="auto">
              <a:xfrm>
                <a:off x="4773" y="2836"/>
                <a:ext cx="3" cy="4"/>
              </a:xfrm>
              <a:custGeom>
                <a:avLst/>
                <a:gdLst>
                  <a:gd name="T0" fmla="*/ 0 w 3"/>
                  <a:gd name="T1" fmla="*/ 0 h 4"/>
                  <a:gd name="T2" fmla="*/ 0 w 3"/>
                  <a:gd name="T3" fmla="*/ 0 h 4"/>
                  <a:gd name="T4" fmla="*/ 0 w 3"/>
                  <a:gd name="T5" fmla="*/ 2 h 4"/>
                  <a:gd name="T6" fmla="*/ 1 w 3"/>
                  <a:gd name="T7" fmla="*/ 4 h 4"/>
                  <a:gd name="T8" fmla="*/ 1 w 3"/>
                  <a:gd name="T9" fmla="*/ 4 h 4"/>
                  <a:gd name="T10" fmla="*/ 3 w 3"/>
                  <a:gd name="T11" fmla="*/ 4 h 4"/>
                  <a:gd name="T12" fmla="*/ 3 w 3"/>
                  <a:gd name="T13" fmla="*/ 2 h 4"/>
                  <a:gd name="T14" fmla="*/ 1 w 3"/>
                  <a:gd name="T15" fmla="*/ 0 h 4"/>
                  <a:gd name="T16" fmla="*/ 0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0"/>
                    </a:moveTo>
                    <a:lnTo>
                      <a:pt x="0" y="0"/>
                    </a:lnTo>
                    <a:lnTo>
                      <a:pt x="0" y="2"/>
                    </a:lnTo>
                    <a:lnTo>
                      <a:pt x="1" y="4"/>
                    </a:lnTo>
                    <a:lnTo>
                      <a:pt x="1" y="4"/>
                    </a:lnTo>
                    <a:lnTo>
                      <a:pt x="3" y="4"/>
                    </a:lnTo>
                    <a:lnTo>
                      <a:pt x="3" y="2"/>
                    </a:lnTo>
                    <a:lnTo>
                      <a:pt x="1"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20" name="Freeform 2673"/>
              <p:cNvSpPr>
                <a:spLocks/>
              </p:cNvSpPr>
              <p:nvPr/>
            </p:nvSpPr>
            <p:spPr bwMode="auto">
              <a:xfrm>
                <a:off x="4780" y="2738"/>
                <a:ext cx="9" cy="5"/>
              </a:xfrm>
              <a:custGeom>
                <a:avLst/>
                <a:gdLst>
                  <a:gd name="T0" fmla="*/ 3 w 9"/>
                  <a:gd name="T1" fmla="*/ 5 h 5"/>
                  <a:gd name="T2" fmla="*/ 3 w 9"/>
                  <a:gd name="T3" fmla="*/ 5 h 5"/>
                  <a:gd name="T4" fmla="*/ 7 w 9"/>
                  <a:gd name="T5" fmla="*/ 5 h 5"/>
                  <a:gd name="T6" fmla="*/ 7 w 9"/>
                  <a:gd name="T7" fmla="*/ 5 h 5"/>
                  <a:gd name="T8" fmla="*/ 9 w 9"/>
                  <a:gd name="T9" fmla="*/ 5 h 5"/>
                  <a:gd name="T10" fmla="*/ 9 w 9"/>
                  <a:gd name="T11" fmla="*/ 5 h 5"/>
                  <a:gd name="T12" fmla="*/ 9 w 9"/>
                  <a:gd name="T13" fmla="*/ 3 h 5"/>
                  <a:gd name="T14" fmla="*/ 9 w 9"/>
                  <a:gd name="T15" fmla="*/ 0 h 5"/>
                  <a:gd name="T16" fmla="*/ 9 w 9"/>
                  <a:gd name="T17" fmla="*/ 0 h 5"/>
                  <a:gd name="T18" fmla="*/ 7 w 9"/>
                  <a:gd name="T19" fmla="*/ 0 h 5"/>
                  <a:gd name="T20" fmla="*/ 5 w 9"/>
                  <a:gd name="T21" fmla="*/ 0 h 5"/>
                  <a:gd name="T22" fmla="*/ 0 w 9"/>
                  <a:gd name="T23" fmla="*/ 3 h 5"/>
                  <a:gd name="T24" fmla="*/ 0 w 9"/>
                  <a:gd name="T25" fmla="*/ 3 h 5"/>
                  <a:gd name="T26" fmla="*/ 2 w 9"/>
                  <a:gd name="T27" fmla="*/ 5 h 5"/>
                  <a:gd name="T28" fmla="*/ 3 w 9"/>
                  <a:gd name="T2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5">
                    <a:moveTo>
                      <a:pt x="3" y="5"/>
                    </a:moveTo>
                    <a:lnTo>
                      <a:pt x="3" y="5"/>
                    </a:lnTo>
                    <a:lnTo>
                      <a:pt x="7" y="5"/>
                    </a:lnTo>
                    <a:lnTo>
                      <a:pt x="7" y="5"/>
                    </a:lnTo>
                    <a:lnTo>
                      <a:pt x="9" y="5"/>
                    </a:lnTo>
                    <a:lnTo>
                      <a:pt x="9" y="5"/>
                    </a:lnTo>
                    <a:lnTo>
                      <a:pt x="9" y="3"/>
                    </a:lnTo>
                    <a:lnTo>
                      <a:pt x="9" y="0"/>
                    </a:lnTo>
                    <a:lnTo>
                      <a:pt x="9" y="0"/>
                    </a:lnTo>
                    <a:lnTo>
                      <a:pt x="7" y="0"/>
                    </a:lnTo>
                    <a:lnTo>
                      <a:pt x="5" y="0"/>
                    </a:lnTo>
                    <a:lnTo>
                      <a:pt x="0" y="3"/>
                    </a:lnTo>
                    <a:lnTo>
                      <a:pt x="0" y="3"/>
                    </a:lnTo>
                    <a:lnTo>
                      <a:pt x="2" y="5"/>
                    </a:lnTo>
                    <a:lnTo>
                      <a:pt x="3"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21" name="Freeform 2674"/>
              <p:cNvSpPr>
                <a:spLocks/>
              </p:cNvSpPr>
              <p:nvPr/>
            </p:nvSpPr>
            <p:spPr bwMode="auto">
              <a:xfrm>
                <a:off x="4780" y="2738"/>
                <a:ext cx="9" cy="5"/>
              </a:xfrm>
              <a:custGeom>
                <a:avLst/>
                <a:gdLst>
                  <a:gd name="T0" fmla="*/ 3 w 9"/>
                  <a:gd name="T1" fmla="*/ 5 h 5"/>
                  <a:gd name="T2" fmla="*/ 3 w 9"/>
                  <a:gd name="T3" fmla="*/ 5 h 5"/>
                  <a:gd name="T4" fmla="*/ 7 w 9"/>
                  <a:gd name="T5" fmla="*/ 5 h 5"/>
                  <a:gd name="T6" fmla="*/ 7 w 9"/>
                  <a:gd name="T7" fmla="*/ 5 h 5"/>
                  <a:gd name="T8" fmla="*/ 9 w 9"/>
                  <a:gd name="T9" fmla="*/ 5 h 5"/>
                  <a:gd name="T10" fmla="*/ 9 w 9"/>
                  <a:gd name="T11" fmla="*/ 5 h 5"/>
                  <a:gd name="T12" fmla="*/ 9 w 9"/>
                  <a:gd name="T13" fmla="*/ 3 h 5"/>
                  <a:gd name="T14" fmla="*/ 9 w 9"/>
                  <a:gd name="T15" fmla="*/ 0 h 5"/>
                  <a:gd name="T16" fmla="*/ 9 w 9"/>
                  <a:gd name="T17" fmla="*/ 0 h 5"/>
                  <a:gd name="T18" fmla="*/ 7 w 9"/>
                  <a:gd name="T19" fmla="*/ 0 h 5"/>
                  <a:gd name="T20" fmla="*/ 5 w 9"/>
                  <a:gd name="T21" fmla="*/ 0 h 5"/>
                  <a:gd name="T22" fmla="*/ 0 w 9"/>
                  <a:gd name="T23" fmla="*/ 3 h 5"/>
                  <a:gd name="T24" fmla="*/ 0 w 9"/>
                  <a:gd name="T25" fmla="*/ 3 h 5"/>
                  <a:gd name="T26" fmla="*/ 2 w 9"/>
                  <a:gd name="T27" fmla="*/ 5 h 5"/>
                  <a:gd name="T28" fmla="*/ 3 w 9"/>
                  <a:gd name="T2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5">
                    <a:moveTo>
                      <a:pt x="3" y="5"/>
                    </a:moveTo>
                    <a:lnTo>
                      <a:pt x="3" y="5"/>
                    </a:lnTo>
                    <a:lnTo>
                      <a:pt x="7" y="5"/>
                    </a:lnTo>
                    <a:lnTo>
                      <a:pt x="7" y="5"/>
                    </a:lnTo>
                    <a:lnTo>
                      <a:pt x="9" y="5"/>
                    </a:lnTo>
                    <a:lnTo>
                      <a:pt x="9" y="5"/>
                    </a:lnTo>
                    <a:lnTo>
                      <a:pt x="9" y="3"/>
                    </a:lnTo>
                    <a:lnTo>
                      <a:pt x="9" y="0"/>
                    </a:lnTo>
                    <a:lnTo>
                      <a:pt x="9" y="0"/>
                    </a:lnTo>
                    <a:lnTo>
                      <a:pt x="7" y="0"/>
                    </a:lnTo>
                    <a:lnTo>
                      <a:pt x="5" y="0"/>
                    </a:lnTo>
                    <a:lnTo>
                      <a:pt x="0" y="3"/>
                    </a:lnTo>
                    <a:lnTo>
                      <a:pt x="0" y="3"/>
                    </a:lnTo>
                    <a:lnTo>
                      <a:pt x="2" y="5"/>
                    </a:lnTo>
                    <a:lnTo>
                      <a:pt x="3"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22" name="Freeform 2675"/>
              <p:cNvSpPr>
                <a:spLocks/>
              </p:cNvSpPr>
              <p:nvPr/>
            </p:nvSpPr>
            <p:spPr bwMode="auto">
              <a:xfrm>
                <a:off x="4780" y="2729"/>
                <a:ext cx="2" cy="2"/>
              </a:xfrm>
              <a:custGeom>
                <a:avLst/>
                <a:gdLst>
                  <a:gd name="T0" fmla="*/ 2 w 2"/>
                  <a:gd name="T1" fmla="*/ 0 h 2"/>
                  <a:gd name="T2" fmla="*/ 2 w 2"/>
                  <a:gd name="T3" fmla="*/ 0 h 2"/>
                  <a:gd name="T4" fmla="*/ 0 w 2"/>
                  <a:gd name="T5" fmla="*/ 2 h 2"/>
                  <a:gd name="T6" fmla="*/ 0 w 2"/>
                  <a:gd name="T7" fmla="*/ 2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0" y="2"/>
                    </a:lnTo>
                    <a:lnTo>
                      <a:pt x="0" y="2"/>
                    </a:lnTo>
                    <a:lnTo>
                      <a:pt x="2"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23" name="Freeform 2676"/>
              <p:cNvSpPr>
                <a:spLocks/>
              </p:cNvSpPr>
              <p:nvPr/>
            </p:nvSpPr>
            <p:spPr bwMode="auto">
              <a:xfrm>
                <a:off x="4780" y="2729"/>
                <a:ext cx="2" cy="2"/>
              </a:xfrm>
              <a:custGeom>
                <a:avLst/>
                <a:gdLst>
                  <a:gd name="T0" fmla="*/ 2 w 2"/>
                  <a:gd name="T1" fmla="*/ 0 h 2"/>
                  <a:gd name="T2" fmla="*/ 2 w 2"/>
                  <a:gd name="T3" fmla="*/ 0 h 2"/>
                  <a:gd name="T4" fmla="*/ 0 w 2"/>
                  <a:gd name="T5" fmla="*/ 2 h 2"/>
                  <a:gd name="T6" fmla="*/ 0 w 2"/>
                  <a:gd name="T7" fmla="*/ 2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0" y="2"/>
                    </a:lnTo>
                    <a:lnTo>
                      <a:pt x="0" y="2"/>
                    </a:lnTo>
                    <a:lnTo>
                      <a:pt x="2"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24" name="Freeform 2677"/>
              <p:cNvSpPr>
                <a:spLocks/>
              </p:cNvSpPr>
              <p:nvPr/>
            </p:nvSpPr>
            <p:spPr bwMode="auto">
              <a:xfrm>
                <a:off x="4789" y="2711"/>
                <a:ext cx="16" cy="7"/>
              </a:xfrm>
              <a:custGeom>
                <a:avLst/>
                <a:gdLst>
                  <a:gd name="T0" fmla="*/ 7 w 16"/>
                  <a:gd name="T1" fmla="*/ 7 h 7"/>
                  <a:gd name="T2" fmla="*/ 7 w 16"/>
                  <a:gd name="T3" fmla="*/ 7 h 7"/>
                  <a:gd name="T4" fmla="*/ 9 w 16"/>
                  <a:gd name="T5" fmla="*/ 7 h 7"/>
                  <a:gd name="T6" fmla="*/ 9 w 16"/>
                  <a:gd name="T7" fmla="*/ 5 h 7"/>
                  <a:gd name="T8" fmla="*/ 5 w 16"/>
                  <a:gd name="T9" fmla="*/ 2 h 7"/>
                  <a:gd name="T10" fmla="*/ 5 w 16"/>
                  <a:gd name="T11" fmla="*/ 2 h 7"/>
                  <a:gd name="T12" fmla="*/ 7 w 16"/>
                  <a:gd name="T13" fmla="*/ 2 h 7"/>
                  <a:gd name="T14" fmla="*/ 9 w 16"/>
                  <a:gd name="T15" fmla="*/ 4 h 7"/>
                  <a:gd name="T16" fmla="*/ 9 w 16"/>
                  <a:gd name="T17" fmla="*/ 4 h 7"/>
                  <a:gd name="T18" fmla="*/ 10 w 16"/>
                  <a:gd name="T19" fmla="*/ 5 h 7"/>
                  <a:gd name="T20" fmla="*/ 12 w 16"/>
                  <a:gd name="T21" fmla="*/ 5 h 7"/>
                  <a:gd name="T22" fmla="*/ 12 w 16"/>
                  <a:gd name="T23" fmla="*/ 5 h 7"/>
                  <a:gd name="T24" fmla="*/ 14 w 16"/>
                  <a:gd name="T25" fmla="*/ 5 h 7"/>
                  <a:gd name="T26" fmla="*/ 16 w 16"/>
                  <a:gd name="T27" fmla="*/ 4 h 7"/>
                  <a:gd name="T28" fmla="*/ 16 w 16"/>
                  <a:gd name="T29" fmla="*/ 2 h 7"/>
                  <a:gd name="T30" fmla="*/ 14 w 16"/>
                  <a:gd name="T31" fmla="*/ 2 h 7"/>
                  <a:gd name="T32" fmla="*/ 14 w 16"/>
                  <a:gd name="T33" fmla="*/ 2 h 7"/>
                  <a:gd name="T34" fmla="*/ 7 w 16"/>
                  <a:gd name="T35" fmla="*/ 0 h 7"/>
                  <a:gd name="T36" fmla="*/ 1 w 16"/>
                  <a:gd name="T37" fmla="*/ 0 h 7"/>
                  <a:gd name="T38" fmla="*/ 0 w 16"/>
                  <a:gd name="T39" fmla="*/ 2 h 7"/>
                  <a:gd name="T40" fmla="*/ 0 w 16"/>
                  <a:gd name="T41" fmla="*/ 2 h 7"/>
                  <a:gd name="T42" fmla="*/ 1 w 16"/>
                  <a:gd name="T43" fmla="*/ 2 h 7"/>
                  <a:gd name="T44" fmla="*/ 1 w 16"/>
                  <a:gd name="T45" fmla="*/ 2 h 7"/>
                  <a:gd name="T46" fmla="*/ 0 w 16"/>
                  <a:gd name="T47" fmla="*/ 4 h 7"/>
                  <a:gd name="T48" fmla="*/ 0 w 16"/>
                  <a:gd name="T49" fmla="*/ 4 h 7"/>
                  <a:gd name="T50" fmla="*/ 1 w 16"/>
                  <a:gd name="T51" fmla="*/ 4 h 7"/>
                  <a:gd name="T52" fmla="*/ 3 w 16"/>
                  <a:gd name="T53" fmla="*/ 5 h 7"/>
                  <a:gd name="T54" fmla="*/ 3 w 16"/>
                  <a:gd name="T55" fmla="*/ 7 h 7"/>
                  <a:gd name="T56" fmla="*/ 3 w 16"/>
                  <a:gd name="T57" fmla="*/ 7 h 7"/>
                  <a:gd name="T58" fmla="*/ 5 w 16"/>
                  <a:gd name="T59" fmla="*/ 5 h 7"/>
                  <a:gd name="T60" fmla="*/ 5 w 16"/>
                  <a:gd name="T61" fmla="*/ 5 h 7"/>
                  <a:gd name="T62" fmla="*/ 7 w 16"/>
                  <a:gd name="T6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7">
                    <a:moveTo>
                      <a:pt x="7" y="7"/>
                    </a:moveTo>
                    <a:lnTo>
                      <a:pt x="7" y="7"/>
                    </a:lnTo>
                    <a:lnTo>
                      <a:pt x="9" y="7"/>
                    </a:lnTo>
                    <a:lnTo>
                      <a:pt x="9" y="5"/>
                    </a:lnTo>
                    <a:lnTo>
                      <a:pt x="5" y="2"/>
                    </a:lnTo>
                    <a:lnTo>
                      <a:pt x="5" y="2"/>
                    </a:lnTo>
                    <a:lnTo>
                      <a:pt x="7" y="2"/>
                    </a:lnTo>
                    <a:lnTo>
                      <a:pt x="9" y="4"/>
                    </a:lnTo>
                    <a:lnTo>
                      <a:pt x="9" y="4"/>
                    </a:lnTo>
                    <a:lnTo>
                      <a:pt x="10" y="5"/>
                    </a:lnTo>
                    <a:lnTo>
                      <a:pt x="12" y="5"/>
                    </a:lnTo>
                    <a:lnTo>
                      <a:pt x="12" y="5"/>
                    </a:lnTo>
                    <a:lnTo>
                      <a:pt x="14" y="5"/>
                    </a:lnTo>
                    <a:lnTo>
                      <a:pt x="16" y="4"/>
                    </a:lnTo>
                    <a:lnTo>
                      <a:pt x="16" y="2"/>
                    </a:lnTo>
                    <a:lnTo>
                      <a:pt x="14" y="2"/>
                    </a:lnTo>
                    <a:lnTo>
                      <a:pt x="14" y="2"/>
                    </a:lnTo>
                    <a:lnTo>
                      <a:pt x="7" y="0"/>
                    </a:lnTo>
                    <a:lnTo>
                      <a:pt x="1" y="0"/>
                    </a:lnTo>
                    <a:lnTo>
                      <a:pt x="0" y="2"/>
                    </a:lnTo>
                    <a:lnTo>
                      <a:pt x="0" y="2"/>
                    </a:lnTo>
                    <a:lnTo>
                      <a:pt x="1" y="2"/>
                    </a:lnTo>
                    <a:lnTo>
                      <a:pt x="1" y="2"/>
                    </a:lnTo>
                    <a:lnTo>
                      <a:pt x="0" y="4"/>
                    </a:lnTo>
                    <a:lnTo>
                      <a:pt x="0" y="4"/>
                    </a:lnTo>
                    <a:lnTo>
                      <a:pt x="1" y="4"/>
                    </a:lnTo>
                    <a:lnTo>
                      <a:pt x="3" y="5"/>
                    </a:lnTo>
                    <a:lnTo>
                      <a:pt x="3" y="7"/>
                    </a:lnTo>
                    <a:lnTo>
                      <a:pt x="3" y="7"/>
                    </a:lnTo>
                    <a:lnTo>
                      <a:pt x="5" y="5"/>
                    </a:lnTo>
                    <a:lnTo>
                      <a:pt x="5" y="5"/>
                    </a:lnTo>
                    <a:lnTo>
                      <a:pt x="7"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25" name="Freeform 2678"/>
              <p:cNvSpPr>
                <a:spLocks/>
              </p:cNvSpPr>
              <p:nvPr/>
            </p:nvSpPr>
            <p:spPr bwMode="auto">
              <a:xfrm>
                <a:off x="4789" y="2711"/>
                <a:ext cx="16" cy="7"/>
              </a:xfrm>
              <a:custGeom>
                <a:avLst/>
                <a:gdLst>
                  <a:gd name="T0" fmla="*/ 7 w 16"/>
                  <a:gd name="T1" fmla="*/ 7 h 7"/>
                  <a:gd name="T2" fmla="*/ 7 w 16"/>
                  <a:gd name="T3" fmla="*/ 7 h 7"/>
                  <a:gd name="T4" fmla="*/ 9 w 16"/>
                  <a:gd name="T5" fmla="*/ 7 h 7"/>
                  <a:gd name="T6" fmla="*/ 9 w 16"/>
                  <a:gd name="T7" fmla="*/ 5 h 7"/>
                  <a:gd name="T8" fmla="*/ 5 w 16"/>
                  <a:gd name="T9" fmla="*/ 2 h 7"/>
                  <a:gd name="T10" fmla="*/ 5 w 16"/>
                  <a:gd name="T11" fmla="*/ 2 h 7"/>
                  <a:gd name="T12" fmla="*/ 7 w 16"/>
                  <a:gd name="T13" fmla="*/ 2 h 7"/>
                  <a:gd name="T14" fmla="*/ 9 w 16"/>
                  <a:gd name="T15" fmla="*/ 4 h 7"/>
                  <a:gd name="T16" fmla="*/ 9 w 16"/>
                  <a:gd name="T17" fmla="*/ 4 h 7"/>
                  <a:gd name="T18" fmla="*/ 10 w 16"/>
                  <a:gd name="T19" fmla="*/ 5 h 7"/>
                  <a:gd name="T20" fmla="*/ 12 w 16"/>
                  <a:gd name="T21" fmla="*/ 5 h 7"/>
                  <a:gd name="T22" fmla="*/ 12 w 16"/>
                  <a:gd name="T23" fmla="*/ 5 h 7"/>
                  <a:gd name="T24" fmla="*/ 14 w 16"/>
                  <a:gd name="T25" fmla="*/ 5 h 7"/>
                  <a:gd name="T26" fmla="*/ 16 w 16"/>
                  <a:gd name="T27" fmla="*/ 4 h 7"/>
                  <a:gd name="T28" fmla="*/ 16 w 16"/>
                  <a:gd name="T29" fmla="*/ 2 h 7"/>
                  <a:gd name="T30" fmla="*/ 14 w 16"/>
                  <a:gd name="T31" fmla="*/ 2 h 7"/>
                  <a:gd name="T32" fmla="*/ 14 w 16"/>
                  <a:gd name="T33" fmla="*/ 2 h 7"/>
                  <a:gd name="T34" fmla="*/ 7 w 16"/>
                  <a:gd name="T35" fmla="*/ 0 h 7"/>
                  <a:gd name="T36" fmla="*/ 1 w 16"/>
                  <a:gd name="T37" fmla="*/ 0 h 7"/>
                  <a:gd name="T38" fmla="*/ 0 w 16"/>
                  <a:gd name="T39" fmla="*/ 2 h 7"/>
                  <a:gd name="T40" fmla="*/ 0 w 16"/>
                  <a:gd name="T41" fmla="*/ 2 h 7"/>
                  <a:gd name="T42" fmla="*/ 1 w 16"/>
                  <a:gd name="T43" fmla="*/ 2 h 7"/>
                  <a:gd name="T44" fmla="*/ 1 w 16"/>
                  <a:gd name="T45" fmla="*/ 2 h 7"/>
                  <a:gd name="T46" fmla="*/ 0 w 16"/>
                  <a:gd name="T47" fmla="*/ 4 h 7"/>
                  <a:gd name="T48" fmla="*/ 0 w 16"/>
                  <a:gd name="T49" fmla="*/ 4 h 7"/>
                  <a:gd name="T50" fmla="*/ 1 w 16"/>
                  <a:gd name="T51" fmla="*/ 4 h 7"/>
                  <a:gd name="T52" fmla="*/ 3 w 16"/>
                  <a:gd name="T53" fmla="*/ 5 h 7"/>
                  <a:gd name="T54" fmla="*/ 3 w 16"/>
                  <a:gd name="T55" fmla="*/ 7 h 7"/>
                  <a:gd name="T56" fmla="*/ 3 w 16"/>
                  <a:gd name="T57" fmla="*/ 7 h 7"/>
                  <a:gd name="T58" fmla="*/ 5 w 16"/>
                  <a:gd name="T59" fmla="*/ 5 h 7"/>
                  <a:gd name="T60" fmla="*/ 5 w 16"/>
                  <a:gd name="T61" fmla="*/ 5 h 7"/>
                  <a:gd name="T62" fmla="*/ 7 w 16"/>
                  <a:gd name="T63"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 h="7">
                    <a:moveTo>
                      <a:pt x="7" y="7"/>
                    </a:moveTo>
                    <a:lnTo>
                      <a:pt x="7" y="7"/>
                    </a:lnTo>
                    <a:lnTo>
                      <a:pt x="9" y="7"/>
                    </a:lnTo>
                    <a:lnTo>
                      <a:pt x="9" y="5"/>
                    </a:lnTo>
                    <a:lnTo>
                      <a:pt x="5" y="2"/>
                    </a:lnTo>
                    <a:lnTo>
                      <a:pt x="5" y="2"/>
                    </a:lnTo>
                    <a:lnTo>
                      <a:pt x="7" y="2"/>
                    </a:lnTo>
                    <a:lnTo>
                      <a:pt x="9" y="4"/>
                    </a:lnTo>
                    <a:lnTo>
                      <a:pt x="9" y="4"/>
                    </a:lnTo>
                    <a:lnTo>
                      <a:pt x="10" y="5"/>
                    </a:lnTo>
                    <a:lnTo>
                      <a:pt x="12" y="5"/>
                    </a:lnTo>
                    <a:lnTo>
                      <a:pt x="12" y="5"/>
                    </a:lnTo>
                    <a:lnTo>
                      <a:pt x="14" y="5"/>
                    </a:lnTo>
                    <a:lnTo>
                      <a:pt x="16" y="4"/>
                    </a:lnTo>
                    <a:lnTo>
                      <a:pt x="16" y="2"/>
                    </a:lnTo>
                    <a:lnTo>
                      <a:pt x="14" y="2"/>
                    </a:lnTo>
                    <a:lnTo>
                      <a:pt x="14" y="2"/>
                    </a:lnTo>
                    <a:lnTo>
                      <a:pt x="7" y="0"/>
                    </a:lnTo>
                    <a:lnTo>
                      <a:pt x="1" y="0"/>
                    </a:lnTo>
                    <a:lnTo>
                      <a:pt x="0" y="2"/>
                    </a:lnTo>
                    <a:lnTo>
                      <a:pt x="0" y="2"/>
                    </a:lnTo>
                    <a:lnTo>
                      <a:pt x="1" y="2"/>
                    </a:lnTo>
                    <a:lnTo>
                      <a:pt x="1" y="2"/>
                    </a:lnTo>
                    <a:lnTo>
                      <a:pt x="0" y="4"/>
                    </a:lnTo>
                    <a:lnTo>
                      <a:pt x="0" y="4"/>
                    </a:lnTo>
                    <a:lnTo>
                      <a:pt x="1" y="4"/>
                    </a:lnTo>
                    <a:lnTo>
                      <a:pt x="3" y="5"/>
                    </a:lnTo>
                    <a:lnTo>
                      <a:pt x="3" y="7"/>
                    </a:lnTo>
                    <a:lnTo>
                      <a:pt x="3" y="7"/>
                    </a:lnTo>
                    <a:lnTo>
                      <a:pt x="5" y="5"/>
                    </a:lnTo>
                    <a:lnTo>
                      <a:pt x="5" y="5"/>
                    </a:lnTo>
                    <a:lnTo>
                      <a:pt x="7"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27" name="Freeform 2679"/>
              <p:cNvSpPr>
                <a:spLocks/>
              </p:cNvSpPr>
              <p:nvPr/>
            </p:nvSpPr>
            <p:spPr bwMode="auto">
              <a:xfrm>
                <a:off x="4790" y="2841"/>
                <a:ext cx="8" cy="4"/>
              </a:xfrm>
              <a:custGeom>
                <a:avLst/>
                <a:gdLst>
                  <a:gd name="T0" fmla="*/ 0 w 8"/>
                  <a:gd name="T1" fmla="*/ 4 h 4"/>
                  <a:gd name="T2" fmla="*/ 0 w 8"/>
                  <a:gd name="T3" fmla="*/ 4 h 4"/>
                  <a:gd name="T4" fmla="*/ 8 w 8"/>
                  <a:gd name="T5" fmla="*/ 0 h 4"/>
                  <a:gd name="T6" fmla="*/ 8 w 8"/>
                  <a:gd name="T7" fmla="*/ 0 h 4"/>
                  <a:gd name="T8" fmla="*/ 2 w 8"/>
                  <a:gd name="T9" fmla="*/ 2 h 4"/>
                  <a:gd name="T10" fmla="*/ 0 w 8"/>
                  <a:gd name="T11" fmla="*/ 4 h 4"/>
                </a:gdLst>
                <a:ahLst/>
                <a:cxnLst>
                  <a:cxn ang="0">
                    <a:pos x="T0" y="T1"/>
                  </a:cxn>
                  <a:cxn ang="0">
                    <a:pos x="T2" y="T3"/>
                  </a:cxn>
                  <a:cxn ang="0">
                    <a:pos x="T4" y="T5"/>
                  </a:cxn>
                  <a:cxn ang="0">
                    <a:pos x="T6" y="T7"/>
                  </a:cxn>
                  <a:cxn ang="0">
                    <a:pos x="T8" y="T9"/>
                  </a:cxn>
                  <a:cxn ang="0">
                    <a:pos x="T10" y="T11"/>
                  </a:cxn>
                </a:cxnLst>
                <a:rect l="0" t="0" r="r" b="b"/>
                <a:pathLst>
                  <a:path w="8" h="4">
                    <a:moveTo>
                      <a:pt x="0" y="4"/>
                    </a:moveTo>
                    <a:lnTo>
                      <a:pt x="0" y="4"/>
                    </a:lnTo>
                    <a:lnTo>
                      <a:pt x="8" y="0"/>
                    </a:lnTo>
                    <a:lnTo>
                      <a:pt x="8" y="0"/>
                    </a:lnTo>
                    <a:lnTo>
                      <a:pt x="2" y="2"/>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28" name="Freeform 2680"/>
              <p:cNvSpPr>
                <a:spLocks/>
              </p:cNvSpPr>
              <p:nvPr/>
            </p:nvSpPr>
            <p:spPr bwMode="auto">
              <a:xfrm>
                <a:off x="4790" y="2841"/>
                <a:ext cx="8" cy="4"/>
              </a:xfrm>
              <a:custGeom>
                <a:avLst/>
                <a:gdLst>
                  <a:gd name="T0" fmla="*/ 0 w 8"/>
                  <a:gd name="T1" fmla="*/ 4 h 4"/>
                  <a:gd name="T2" fmla="*/ 0 w 8"/>
                  <a:gd name="T3" fmla="*/ 4 h 4"/>
                  <a:gd name="T4" fmla="*/ 8 w 8"/>
                  <a:gd name="T5" fmla="*/ 0 h 4"/>
                  <a:gd name="T6" fmla="*/ 8 w 8"/>
                  <a:gd name="T7" fmla="*/ 0 h 4"/>
                  <a:gd name="T8" fmla="*/ 2 w 8"/>
                  <a:gd name="T9" fmla="*/ 2 h 4"/>
                  <a:gd name="T10" fmla="*/ 0 w 8"/>
                  <a:gd name="T11" fmla="*/ 4 h 4"/>
                </a:gdLst>
                <a:ahLst/>
                <a:cxnLst>
                  <a:cxn ang="0">
                    <a:pos x="T0" y="T1"/>
                  </a:cxn>
                  <a:cxn ang="0">
                    <a:pos x="T2" y="T3"/>
                  </a:cxn>
                  <a:cxn ang="0">
                    <a:pos x="T4" y="T5"/>
                  </a:cxn>
                  <a:cxn ang="0">
                    <a:pos x="T6" y="T7"/>
                  </a:cxn>
                  <a:cxn ang="0">
                    <a:pos x="T8" y="T9"/>
                  </a:cxn>
                  <a:cxn ang="0">
                    <a:pos x="T10" y="T11"/>
                  </a:cxn>
                </a:cxnLst>
                <a:rect l="0" t="0" r="r" b="b"/>
                <a:pathLst>
                  <a:path w="8" h="4">
                    <a:moveTo>
                      <a:pt x="0" y="4"/>
                    </a:moveTo>
                    <a:lnTo>
                      <a:pt x="0" y="4"/>
                    </a:lnTo>
                    <a:lnTo>
                      <a:pt x="8" y="0"/>
                    </a:lnTo>
                    <a:lnTo>
                      <a:pt x="8" y="0"/>
                    </a:lnTo>
                    <a:lnTo>
                      <a:pt x="2" y="2"/>
                    </a:lnTo>
                    <a:lnTo>
                      <a:pt x="0"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29" name="Freeform 2681"/>
              <p:cNvSpPr>
                <a:spLocks/>
              </p:cNvSpPr>
              <p:nvPr/>
            </p:nvSpPr>
            <p:spPr bwMode="auto">
              <a:xfrm>
                <a:off x="4790" y="2724"/>
                <a:ext cx="8" cy="1"/>
              </a:xfrm>
              <a:custGeom>
                <a:avLst/>
                <a:gdLst>
                  <a:gd name="T0" fmla="*/ 0 w 8"/>
                  <a:gd name="T1" fmla="*/ 0 h 1"/>
                  <a:gd name="T2" fmla="*/ 0 w 8"/>
                  <a:gd name="T3" fmla="*/ 0 h 1"/>
                  <a:gd name="T4" fmla="*/ 2 w 8"/>
                  <a:gd name="T5" fmla="*/ 1 h 1"/>
                  <a:gd name="T6" fmla="*/ 4 w 8"/>
                  <a:gd name="T7" fmla="*/ 1 h 1"/>
                  <a:gd name="T8" fmla="*/ 6 w 8"/>
                  <a:gd name="T9" fmla="*/ 1 h 1"/>
                  <a:gd name="T10" fmla="*/ 8 w 8"/>
                  <a:gd name="T11" fmla="*/ 0 h 1"/>
                  <a:gd name="T12" fmla="*/ 8 w 8"/>
                  <a:gd name="T13" fmla="*/ 0 h 1"/>
                  <a:gd name="T14" fmla="*/ 4 w 8"/>
                  <a:gd name="T15" fmla="*/ 0 h 1"/>
                  <a:gd name="T16" fmla="*/ 0 w 8"/>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
                    <a:moveTo>
                      <a:pt x="0" y="0"/>
                    </a:moveTo>
                    <a:lnTo>
                      <a:pt x="0" y="0"/>
                    </a:lnTo>
                    <a:lnTo>
                      <a:pt x="2" y="1"/>
                    </a:lnTo>
                    <a:lnTo>
                      <a:pt x="4" y="1"/>
                    </a:lnTo>
                    <a:lnTo>
                      <a:pt x="6" y="1"/>
                    </a:lnTo>
                    <a:lnTo>
                      <a:pt x="8" y="0"/>
                    </a:lnTo>
                    <a:lnTo>
                      <a:pt x="8" y="0"/>
                    </a:lnTo>
                    <a:lnTo>
                      <a:pt x="4"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30" name="Freeform 2682"/>
              <p:cNvSpPr>
                <a:spLocks/>
              </p:cNvSpPr>
              <p:nvPr/>
            </p:nvSpPr>
            <p:spPr bwMode="auto">
              <a:xfrm>
                <a:off x="4790" y="2724"/>
                <a:ext cx="8" cy="1"/>
              </a:xfrm>
              <a:custGeom>
                <a:avLst/>
                <a:gdLst>
                  <a:gd name="T0" fmla="*/ 0 w 8"/>
                  <a:gd name="T1" fmla="*/ 0 h 1"/>
                  <a:gd name="T2" fmla="*/ 0 w 8"/>
                  <a:gd name="T3" fmla="*/ 0 h 1"/>
                  <a:gd name="T4" fmla="*/ 2 w 8"/>
                  <a:gd name="T5" fmla="*/ 1 h 1"/>
                  <a:gd name="T6" fmla="*/ 4 w 8"/>
                  <a:gd name="T7" fmla="*/ 1 h 1"/>
                  <a:gd name="T8" fmla="*/ 6 w 8"/>
                  <a:gd name="T9" fmla="*/ 1 h 1"/>
                  <a:gd name="T10" fmla="*/ 8 w 8"/>
                  <a:gd name="T11" fmla="*/ 0 h 1"/>
                  <a:gd name="T12" fmla="*/ 8 w 8"/>
                  <a:gd name="T13" fmla="*/ 0 h 1"/>
                  <a:gd name="T14" fmla="*/ 4 w 8"/>
                  <a:gd name="T15" fmla="*/ 0 h 1"/>
                  <a:gd name="T16" fmla="*/ 0 w 8"/>
                  <a:gd name="T1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
                    <a:moveTo>
                      <a:pt x="0" y="0"/>
                    </a:moveTo>
                    <a:lnTo>
                      <a:pt x="0" y="0"/>
                    </a:lnTo>
                    <a:lnTo>
                      <a:pt x="2" y="1"/>
                    </a:lnTo>
                    <a:lnTo>
                      <a:pt x="4" y="1"/>
                    </a:lnTo>
                    <a:lnTo>
                      <a:pt x="6" y="1"/>
                    </a:lnTo>
                    <a:lnTo>
                      <a:pt x="8" y="0"/>
                    </a:lnTo>
                    <a:lnTo>
                      <a:pt x="8" y="0"/>
                    </a:lnTo>
                    <a:lnTo>
                      <a:pt x="4"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31" name="Freeform 2683"/>
              <p:cNvSpPr>
                <a:spLocks/>
              </p:cNvSpPr>
              <p:nvPr/>
            </p:nvSpPr>
            <p:spPr bwMode="auto">
              <a:xfrm>
                <a:off x="4792" y="2718"/>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32" name="Freeform 2684"/>
              <p:cNvSpPr>
                <a:spLocks/>
              </p:cNvSpPr>
              <p:nvPr/>
            </p:nvSpPr>
            <p:spPr bwMode="auto">
              <a:xfrm>
                <a:off x="4792" y="2718"/>
                <a:ext cx="2" cy="2"/>
              </a:xfrm>
              <a:custGeom>
                <a:avLst/>
                <a:gdLst>
                  <a:gd name="T0" fmla="*/ 2 w 2"/>
                  <a:gd name="T1" fmla="*/ 0 h 2"/>
                  <a:gd name="T2" fmla="*/ 2 w 2"/>
                  <a:gd name="T3" fmla="*/ 0 h 2"/>
                  <a:gd name="T4" fmla="*/ 0 w 2"/>
                  <a:gd name="T5" fmla="*/ 2 h 2"/>
                  <a:gd name="T6" fmla="*/ 0 w 2"/>
                  <a:gd name="T7" fmla="*/ 2 h 2"/>
                  <a:gd name="T8" fmla="*/ 2 w 2"/>
                  <a:gd name="T9" fmla="*/ 0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2" y="0"/>
                    </a:lnTo>
                    <a:lnTo>
                      <a:pt x="0" y="2"/>
                    </a:lnTo>
                    <a:lnTo>
                      <a:pt x="0" y="2"/>
                    </a:lnTo>
                    <a:lnTo>
                      <a:pt x="2" y="0"/>
                    </a:lnTo>
                    <a:lnTo>
                      <a:pt x="2"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33" name="Freeform 2685"/>
              <p:cNvSpPr>
                <a:spLocks/>
              </p:cNvSpPr>
              <p:nvPr/>
            </p:nvSpPr>
            <p:spPr bwMode="auto">
              <a:xfrm>
                <a:off x="4794" y="2725"/>
                <a:ext cx="7" cy="7"/>
              </a:xfrm>
              <a:custGeom>
                <a:avLst/>
                <a:gdLst>
                  <a:gd name="T0" fmla="*/ 4 w 7"/>
                  <a:gd name="T1" fmla="*/ 0 h 7"/>
                  <a:gd name="T2" fmla="*/ 4 w 7"/>
                  <a:gd name="T3" fmla="*/ 0 h 7"/>
                  <a:gd name="T4" fmla="*/ 2 w 7"/>
                  <a:gd name="T5" fmla="*/ 2 h 7"/>
                  <a:gd name="T6" fmla="*/ 0 w 7"/>
                  <a:gd name="T7" fmla="*/ 4 h 7"/>
                  <a:gd name="T8" fmla="*/ 4 w 7"/>
                  <a:gd name="T9" fmla="*/ 7 h 7"/>
                  <a:gd name="T10" fmla="*/ 4 w 7"/>
                  <a:gd name="T11" fmla="*/ 7 h 7"/>
                  <a:gd name="T12" fmla="*/ 5 w 7"/>
                  <a:gd name="T13" fmla="*/ 7 h 7"/>
                  <a:gd name="T14" fmla="*/ 7 w 7"/>
                  <a:gd name="T15" fmla="*/ 4 h 7"/>
                  <a:gd name="T16" fmla="*/ 7 w 7"/>
                  <a:gd name="T17" fmla="*/ 2 h 7"/>
                  <a:gd name="T18" fmla="*/ 4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4" y="0"/>
                    </a:moveTo>
                    <a:lnTo>
                      <a:pt x="4" y="0"/>
                    </a:lnTo>
                    <a:lnTo>
                      <a:pt x="2" y="2"/>
                    </a:lnTo>
                    <a:lnTo>
                      <a:pt x="0" y="4"/>
                    </a:lnTo>
                    <a:lnTo>
                      <a:pt x="4" y="7"/>
                    </a:lnTo>
                    <a:lnTo>
                      <a:pt x="4" y="7"/>
                    </a:lnTo>
                    <a:lnTo>
                      <a:pt x="5" y="7"/>
                    </a:lnTo>
                    <a:lnTo>
                      <a:pt x="7" y="4"/>
                    </a:lnTo>
                    <a:lnTo>
                      <a:pt x="7" y="2"/>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34" name="Freeform 2686"/>
              <p:cNvSpPr>
                <a:spLocks/>
              </p:cNvSpPr>
              <p:nvPr/>
            </p:nvSpPr>
            <p:spPr bwMode="auto">
              <a:xfrm>
                <a:off x="4794" y="2725"/>
                <a:ext cx="7" cy="7"/>
              </a:xfrm>
              <a:custGeom>
                <a:avLst/>
                <a:gdLst>
                  <a:gd name="T0" fmla="*/ 4 w 7"/>
                  <a:gd name="T1" fmla="*/ 0 h 7"/>
                  <a:gd name="T2" fmla="*/ 4 w 7"/>
                  <a:gd name="T3" fmla="*/ 0 h 7"/>
                  <a:gd name="T4" fmla="*/ 2 w 7"/>
                  <a:gd name="T5" fmla="*/ 2 h 7"/>
                  <a:gd name="T6" fmla="*/ 0 w 7"/>
                  <a:gd name="T7" fmla="*/ 4 h 7"/>
                  <a:gd name="T8" fmla="*/ 4 w 7"/>
                  <a:gd name="T9" fmla="*/ 7 h 7"/>
                  <a:gd name="T10" fmla="*/ 4 w 7"/>
                  <a:gd name="T11" fmla="*/ 7 h 7"/>
                  <a:gd name="T12" fmla="*/ 5 w 7"/>
                  <a:gd name="T13" fmla="*/ 7 h 7"/>
                  <a:gd name="T14" fmla="*/ 7 w 7"/>
                  <a:gd name="T15" fmla="*/ 4 h 7"/>
                  <a:gd name="T16" fmla="*/ 7 w 7"/>
                  <a:gd name="T17" fmla="*/ 2 h 7"/>
                  <a:gd name="T18" fmla="*/ 4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4" y="0"/>
                    </a:moveTo>
                    <a:lnTo>
                      <a:pt x="4" y="0"/>
                    </a:lnTo>
                    <a:lnTo>
                      <a:pt x="2" y="2"/>
                    </a:lnTo>
                    <a:lnTo>
                      <a:pt x="0" y="4"/>
                    </a:lnTo>
                    <a:lnTo>
                      <a:pt x="4" y="7"/>
                    </a:lnTo>
                    <a:lnTo>
                      <a:pt x="4" y="7"/>
                    </a:lnTo>
                    <a:lnTo>
                      <a:pt x="5" y="7"/>
                    </a:lnTo>
                    <a:lnTo>
                      <a:pt x="7" y="4"/>
                    </a:lnTo>
                    <a:lnTo>
                      <a:pt x="7" y="2"/>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35" name="Freeform 2687"/>
              <p:cNvSpPr>
                <a:spLocks/>
              </p:cNvSpPr>
              <p:nvPr/>
            </p:nvSpPr>
            <p:spPr bwMode="auto">
              <a:xfrm>
                <a:off x="4794" y="2831"/>
                <a:ext cx="4" cy="0"/>
              </a:xfrm>
              <a:custGeom>
                <a:avLst/>
                <a:gdLst>
                  <a:gd name="T0" fmla="*/ 2 w 4"/>
                  <a:gd name="T1" fmla="*/ 2 w 4"/>
                  <a:gd name="T2" fmla="*/ 0 w 4"/>
                  <a:gd name="T3" fmla="*/ 0 w 4"/>
                  <a:gd name="T4" fmla="*/ 2 w 4"/>
                  <a:gd name="T5" fmla="*/ 4 w 4"/>
                  <a:gd name="T6" fmla="*/ 4 w 4"/>
                  <a:gd name="T7" fmla="*/ 2 w 4"/>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4">
                    <a:moveTo>
                      <a:pt x="2" y="0"/>
                    </a:moveTo>
                    <a:lnTo>
                      <a:pt x="2" y="0"/>
                    </a:lnTo>
                    <a:lnTo>
                      <a:pt x="0" y="0"/>
                    </a:lnTo>
                    <a:lnTo>
                      <a:pt x="0" y="0"/>
                    </a:lnTo>
                    <a:lnTo>
                      <a:pt x="2" y="0"/>
                    </a:lnTo>
                    <a:lnTo>
                      <a:pt x="4" y="0"/>
                    </a:lnTo>
                    <a:lnTo>
                      <a:pt x="4"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36" name="Freeform 2688"/>
              <p:cNvSpPr>
                <a:spLocks/>
              </p:cNvSpPr>
              <p:nvPr/>
            </p:nvSpPr>
            <p:spPr bwMode="auto">
              <a:xfrm>
                <a:off x="4794" y="2831"/>
                <a:ext cx="4" cy="0"/>
              </a:xfrm>
              <a:custGeom>
                <a:avLst/>
                <a:gdLst>
                  <a:gd name="T0" fmla="*/ 2 w 4"/>
                  <a:gd name="T1" fmla="*/ 2 w 4"/>
                  <a:gd name="T2" fmla="*/ 0 w 4"/>
                  <a:gd name="T3" fmla="*/ 0 w 4"/>
                  <a:gd name="T4" fmla="*/ 2 w 4"/>
                  <a:gd name="T5" fmla="*/ 4 w 4"/>
                  <a:gd name="T6" fmla="*/ 4 w 4"/>
                  <a:gd name="T7" fmla="*/ 2 w 4"/>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4">
                    <a:moveTo>
                      <a:pt x="2" y="0"/>
                    </a:moveTo>
                    <a:lnTo>
                      <a:pt x="2" y="0"/>
                    </a:lnTo>
                    <a:lnTo>
                      <a:pt x="0" y="0"/>
                    </a:lnTo>
                    <a:lnTo>
                      <a:pt x="0" y="0"/>
                    </a:lnTo>
                    <a:lnTo>
                      <a:pt x="2" y="0"/>
                    </a:lnTo>
                    <a:lnTo>
                      <a:pt x="4" y="0"/>
                    </a:lnTo>
                    <a:lnTo>
                      <a:pt x="4"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37" name="Freeform 2689"/>
              <p:cNvSpPr>
                <a:spLocks/>
              </p:cNvSpPr>
              <p:nvPr/>
            </p:nvSpPr>
            <p:spPr bwMode="auto">
              <a:xfrm>
                <a:off x="4796" y="2825"/>
                <a:ext cx="11" cy="15"/>
              </a:xfrm>
              <a:custGeom>
                <a:avLst/>
                <a:gdLst>
                  <a:gd name="T0" fmla="*/ 11 w 11"/>
                  <a:gd name="T1" fmla="*/ 0 h 15"/>
                  <a:gd name="T2" fmla="*/ 11 w 11"/>
                  <a:gd name="T3" fmla="*/ 0 h 15"/>
                  <a:gd name="T4" fmla="*/ 3 w 11"/>
                  <a:gd name="T5" fmla="*/ 4 h 15"/>
                  <a:gd name="T6" fmla="*/ 2 w 11"/>
                  <a:gd name="T7" fmla="*/ 7 h 15"/>
                  <a:gd name="T8" fmla="*/ 3 w 11"/>
                  <a:gd name="T9" fmla="*/ 9 h 15"/>
                  <a:gd name="T10" fmla="*/ 3 w 11"/>
                  <a:gd name="T11" fmla="*/ 9 h 15"/>
                  <a:gd name="T12" fmla="*/ 2 w 11"/>
                  <a:gd name="T13" fmla="*/ 9 h 15"/>
                  <a:gd name="T14" fmla="*/ 0 w 11"/>
                  <a:gd name="T15" fmla="*/ 11 h 15"/>
                  <a:gd name="T16" fmla="*/ 0 w 11"/>
                  <a:gd name="T17" fmla="*/ 13 h 15"/>
                  <a:gd name="T18" fmla="*/ 2 w 11"/>
                  <a:gd name="T19" fmla="*/ 15 h 15"/>
                  <a:gd name="T20" fmla="*/ 3 w 11"/>
                  <a:gd name="T21" fmla="*/ 13 h 15"/>
                  <a:gd name="T22" fmla="*/ 3 w 11"/>
                  <a:gd name="T23" fmla="*/ 13 h 15"/>
                  <a:gd name="T24" fmla="*/ 5 w 11"/>
                  <a:gd name="T25" fmla="*/ 11 h 15"/>
                  <a:gd name="T26" fmla="*/ 9 w 11"/>
                  <a:gd name="T27" fmla="*/ 7 h 15"/>
                  <a:gd name="T28" fmla="*/ 9 w 11"/>
                  <a:gd name="T29" fmla="*/ 7 h 15"/>
                  <a:gd name="T30" fmla="*/ 9 w 11"/>
                  <a:gd name="T31" fmla="*/ 4 h 15"/>
                  <a:gd name="T32" fmla="*/ 11 w 11"/>
                  <a:gd name="T33" fmla="*/ 2 h 15"/>
                  <a:gd name="T34" fmla="*/ 11 w 11"/>
                  <a:gd name="T35" fmla="*/ 2 h 15"/>
                  <a:gd name="T36" fmla="*/ 11 w 11"/>
                  <a:gd name="T37" fmla="*/ 2 h 15"/>
                  <a:gd name="T38" fmla="*/ 11 w 11"/>
                  <a:gd name="T3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5">
                    <a:moveTo>
                      <a:pt x="11" y="0"/>
                    </a:moveTo>
                    <a:lnTo>
                      <a:pt x="11" y="0"/>
                    </a:lnTo>
                    <a:lnTo>
                      <a:pt x="3" y="4"/>
                    </a:lnTo>
                    <a:lnTo>
                      <a:pt x="2" y="7"/>
                    </a:lnTo>
                    <a:lnTo>
                      <a:pt x="3" y="9"/>
                    </a:lnTo>
                    <a:lnTo>
                      <a:pt x="3" y="9"/>
                    </a:lnTo>
                    <a:lnTo>
                      <a:pt x="2" y="9"/>
                    </a:lnTo>
                    <a:lnTo>
                      <a:pt x="0" y="11"/>
                    </a:lnTo>
                    <a:lnTo>
                      <a:pt x="0" y="13"/>
                    </a:lnTo>
                    <a:lnTo>
                      <a:pt x="2" y="15"/>
                    </a:lnTo>
                    <a:lnTo>
                      <a:pt x="3" y="13"/>
                    </a:lnTo>
                    <a:lnTo>
                      <a:pt x="3" y="13"/>
                    </a:lnTo>
                    <a:lnTo>
                      <a:pt x="5" y="11"/>
                    </a:lnTo>
                    <a:lnTo>
                      <a:pt x="9" y="7"/>
                    </a:lnTo>
                    <a:lnTo>
                      <a:pt x="9" y="7"/>
                    </a:lnTo>
                    <a:lnTo>
                      <a:pt x="9" y="4"/>
                    </a:lnTo>
                    <a:lnTo>
                      <a:pt x="11" y="2"/>
                    </a:lnTo>
                    <a:lnTo>
                      <a:pt x="11" y="2"/>
                    </a:lnTo>
                    <a:lnTo>
                      <a:pt x="11" y="2"/>
                    </a:lnTo>
                    <a:lnTo>
                      <a:pt x="1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38" name="Freeform 2690"/>
              <p:cNvSpPr>
                <a:spLocks/>
              </p:cNvSpPr>
              <p:nvPr/>
            </p:nvSpPr>
            <p:spPr bwMode="auto">
              <a:xfrm>
                <a:off x="4796" y="2825"/>
                <a:ext cx="11" cy="15"/>
              </a:xfrm>
              <a:custGeom>
                <a:avLst/>
                <a:gdLst>
                  <a:gd name="T0" fmla="*/ 11 w 11"/>
                  <a:gd name="T1" fmla="*/ 0 h 15"/>
                  <a:gd name="T2" fmla="*/ 11 w 11"/>
                  <a:gd name="T3" fmla="*/ 0 h 15"/>
                  <a:gd name="T4" fmla="*/ 3 w 11"/>
                  <a:gd name="T5" fmla="*/ 4 h 15"/>
                  <a:gd name="T6" fmla="*/ 2 w 11"/>
                  <a:gd name="T7" fmla="*/ 7 h 15"/>
                  <a:gd name="T8" fmla="*/ 3 w 11"/>
                  <a:gd name="T9" fmla="*/ 9 h 15"/>
                  <a:gd name="T10" fmla="*/ 3 w 11"/>
                  <a:gd name="T11" fmla="*/ 9 h 15"/>
                  <a:gd name="T12" fmla="*/ 2 w 11"/>
                  <a:gd name="T13" fmla="*/ 9 h 15"/>
                  <a:gd name="T14" fmla="*/ 0 w 11"/>
                  <a:gd name="T15" fmla="*/ 11 h 15"/>
                  <a:gd name="T16" fmla="*/ 0 w 11"/>
                  <a:gd name="T17" fmla="*/ 13 h 15"/>
                  <a:gd name="T18" fmla="*/ 2 w 11"/>
                  <a:gd name="T19" fmla="*/ 15 h 15"/>
                  <a:gd name="T20" fmla="*/ 3 w 11"/>
                  <a:gd name="T21" fmla="*/ 13 h 15"/>
                  <a:gd name="T22" fmla="*/ 3 w 11"/>
                  <a:gd name="T23" fmla="*/ 13 h 15"/>
                  <a:gd name="T24" fmla="*/ 5 w 11"/>
                  <a:gd name="T25" fmla="*/ 11 h 15"/>
                  <a:gd name="T26" fmla="*/ 9 w 11"/>
                  <a:gd name="T27" fmla="*/ 7 h 15"/>
                  <a:gd name="T28" fmla="*/ 9 w 11"/>
                  <a:gd name="T29" fmla="*/ 7 h 15"/>
                  <a:gd name="T30" fmla="*/ 9 w 11"/>
                  <a:gd name="T31" fmla="*/ 4 h 15"/>
                  <a:gd name="T32" fmla="*/ 11 w 11"/>
                  <a:gd name="T33" fmla="*/ 2 h 15"/>
                  <a:gd name="T34" fmla="*/ 11 w 11"/>
                  <a:gd name="T35" fmla="*/ 2 h 15"/>
                  <a:gd name="T36" fmla="*/ 11 w 11"/>
                  <a:gd name="T37" fmla="*/ 2 h 15"/>
                  <a:gd name="T38" fmla="*/ 11 w 11"/>
                  <a:gd name="T3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 h="15">
                    <a:moveTo>
                      <a:pt x="11" y="0"/>
                    </a:moveTo>
                    <a:lnTo>
                      <a:pt x="11" y="0"/>
                    </a:lnTo>
                    <a:lnTo>
                      <a:pt x="3" y="4"/>
                    </a:lnTo>
                    <a:lnTo>
                      <a:pt x="2" y="7"/>
                    </a:lnTo>
                    <a:lnTo>
                      <a:pt x="3" y="9"/>
                    </a:lnTo>
                    <a:lnTo>
                      <a:pt x="3" y="9"/>
                    </a:lnTo>
                    <a:lnTo>
                      <a:pt x="2" y="9"/>
                    </a:lnTo>
                    <a:lnTo>
                      <a:pt x="0" y="11"/>
                    </a:lnTo>
                    <a:lnTo>
                      <a:pt x="0" y="13"/>
                    </a:lnTo>
                    <a:lnTo>
                      <a:pt x="2" y="15"/>
                    </a:lnTo>
                    <a:lnTo>
                      <a:pt x="3" y="13"/>
                    </a:lnTo>
                    <a:lnTo>
                      <a:pt x="3" y="13"/>
                    </a:lnTo>
                    <a:lnTo>
                      <a:pt x="5" y="11"/>
                    </a:lnTo>
                    <a:lnTo>
                      <a:pt x="9" y="7"/>
                    </a:lnTo>
                    <a:lnTo>
                      <a:pt x="9" y="7"/>
                    </a:lnTo>
                    <a:lnTo>
                      <a:pt x="9" y="4"/>
                    </a:lnTo>
                    <a:lnTo>
                      <a:pt x="11" y="2"/>
                    </a:lnTo>
                    <a:lnTo>
                      <a:pt x="11" y="2"/>
                    </a:lnTo>
                    <a:lnTo>
                      <a:pt x="11" y="2"/>
                    </a:lnTo>
                    <a:lnTo>
                      <a:pt x="1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39" name="Freeform 2691"/>
              <p:cNvSpPr>
                <a:spLocks/>
              </p:cNvSpPr>
              <p:nvPr/>
            </p:nvSpPr>
            <p:spPr bwMode="auto">
              <a:xfrm>
                <a:off x="4807" y="2825"/>
                <a:ext cx="3" cy="2"/>
              </a:xfrm>
              <a:custGeom>
                <a:avLst/>
                <a:gdLst>
                  <a:gd name="T0" fmla="*/ 0 w 3"/>
                  <a:gd name="T1" fmla="*/ 0 h 2"/>
                  <a:gd name="T2" fmla="*/ 0 w 3"/>
                  <a:gd name="T3" fmla="*/ 0 h 2"/>
                  <a:gd name="T4" fmla="*/ 3 w 3"/>
                  <a:gd name="T5" fmla="*/ 2 h 2"/>
                  <a:gd name="T6" fmla="*/ 3 w 3"/>
                  <a:gd name="T7" fmla="*/ 2 h 2"/>
                  <a:gd name="T8" fmla="*/ 3 w 3"/>
                  <a:gd name="T9" fmla="*/ 0 h 2"/>
                  <a:gd name="T10" fmla="*/ 0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0" y="0"/>
                    </a:moveTo>
                    <a:lnTo>
                      <a:pt x="0" y="0"/>
                    </a:lnTo>
                    <a:lnTo>
                      <a:pt x="3" y="2"/>
                    </a:lnTo>
                    <a:lnTo>
                      <a:pt x="3" y="2"/>
                    </a:lnTo>
                    <a:lnTo>
                      <a:pt x="3"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40" name="Freeform 2692"/>
              <p:cNvSpPr>
                <a:spLocks/>
              </p:cNvSpPr>
              <p:nvPr/>
            </p:nvSpPr>
            <p:spPr bwMode="auto">
              <a:xfrm>
                <a:off x="4807" y="2825"/>
                <a:ext cx="3" cy="2"/>
              </a:xfrm>
              <a:custGeom>
                <a:avLst/>
                <a:gdLst>
                  <a:gd name="T0" fmla="*/ 0 w 3"/>
                  <a:gd name="T1" fmla="*/ 0 h 2"/>
                  <a:gd name="T2" fmla="*/ 0 w 3"/>
                  <a:gd name="T3" fmla="*/ 0 h 2"/>
                  <a:gd name="T4" fmla="*/ 3 w 3"/>
                  <a:gd name="T5" fmla="*/ 2 h 2"/>
                  <a:gd name="T6" fmla="*/ 3 w 3"/>
                  <a:gd name="T7" fmla="*/ 2 h 2"/>
                  <a:gd name="T8" fmla="*/ 3 w 3"/>
                  <a:gd name="T9" fmla="*/ 0 h 2"/>
                  <a:gd name="T10" fmla="*/ 0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0" y="0"/>
                    </a:moveTo>
                    <a:lnTo>
                      <a:pt x="0" y="0"/>
                    </a:lnTo>
                    <a:lnTo>
                      <a:pt x="3" y="2"/>
                    </a:lnTo>
                    <a:lnTo>
                      <a:pt x="3" y="2"/>
                    </a:lnTo>
                    <a:lnTo>
                      <a:pt x="3"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41" name="Freeform 2693"/>
              <p:cNvSpPr>
                <a:spLocks/>
              </p:cNvSpPr>
              <p:nvPr/>
            </p:nvSpPr>
            <p:spPr bwMode="auto">
              <a:xfrm>
                <a:off x="4823" y="2802"/>
                <a:ext cx="3" cy="4"/>
              </a:xfrm>
              <a:custGeom>
                <a:avLst/>
                <a:gdLst>
                  <a:gd name="T0" fmla="*/ 1 w 3"/>
                  <a:gd name="T1" fmla="*/ 0 h 4"/>
                  <a:gd name="T2" fmla="*/ 1 w 3"/>
                  <a:gd name="T3" fmla="*/ 0 h 4"/>
                  <a:gd name="T4" fmla="*/ 0 w 3"/>
                  <a:gd name="T5" fmla="*/ 0 h 4"/>
                  <a:gd name="T6" fmla="*/ 0 w 3"/>
                  <a:gd name="T7" fmla="*/ 0 h 4"/>
                  <a:gd name="T8" fmla="*/ 0 w 3"/>
                  <a:gd name="T9" fmla="*/ 2 h 4"/>
                  <a:gd name="T10" fmla="*/ 1 w 3"/>
                  <a:gd name="T11" fmla="*/ 4 h 4"/>
                  <a:gd name="T12" fmla="*/ 1 w 3"/>
                  <a:gd name="T13" fmla="*/ 4 h 4"/>
                  <a:gd name="T14" fmla="*/ 3 w 3"/>
                  <a:gd name="T15" fmla="*/ 4 h 4"/>
                  <a:gd name="T16" fmla="*/ 3 w 3"/>
                  <a:gd name="T17" fmla="*/ 2 h 4"/>
                  <a:gd name="T18" fmla="*/ 1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1" y="0"/>
                    </a:moveTo>
                    <a:lnTo>
                      <a:pt x="1" y="0"/>
                    </a:lnTo>
                    <a:lnTo>
                      <a:pt x="0" y="0"/>
                    </a:lnTo>
                    <a:lnTo>
                      <a:pt x="0" y="0"/>
                    </a:lnTo>
                    <a:lnTo>
                      <a:pt x="0" y="2"/>
                    </a:lnTo>
                    <a:lnTo>
                      <a:pt x="1" y="4"/>
                    </a:lnTo>
                    <a:lnTo>
                      <a:pt x="1" y="4"/>
                    </a:lnTo>
                    <a:lnTo>
                      <a:pt x="3" y="4"/>
                    </a:lnTo>
                    <a:lnTo>
                      <a:pt x="3" y="2"/>
                    </a:lnTo>
                    <a:lnTo>
                      <a:pt x="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42" name="Freeform 2694"/>
              <p:cNvSpPr>
                <a:spLocks/>
              </p:cNvSpPr>
              <p:nvPr/>
            </p:nvSpPr>
            <p:spPr bwMode="auto">
              <a:xfrm>
                <a:off x="4823" y="2802"/>
                <a:ext cx="3" cy="4"/>
              </a:xfrm>
              <a:custGeom>
                <a:avLst/>
                <a:gdLst>
                  <a:gd name="T0" fmla="*/ 1 w 3"/>
                  <a:gd name="T1" fmla="*/ 0 h 4"/>
                  <a:gd name="T2" fmla="*/ 1 w 3"/>
                  <a:gd name="T3" fmla="*/ 0 h 4"/>
                  <a:gd name="T4" fmla="*/ 0 w 3"/>
                  <a:gd name="T5" fmla="*/ 0 h 4"/>
                  <a:gd name="T6" fmla="*/ 0 w 3"/>
                  <a:gd name="T7" fmla="*/ 0 h 4"/>
                  <a:gd name="T8" fmla="*/ 0 w 3"/>
                  <a:gd name="T9" fmla="*/ 2 h 4"/>
                  <a:gd name="T10" fmla="*/ 1 w 3"/>
                  <a:gd name="T11" fmla="*/ 4 h 4"/>
                  <a:gd name="T12" fmla="*/ 1 w 3"/>
                  <a:gd name="T13" fmla="*/ 4 h 4"/>
                  <a:gd name="T14" fmla="*/ 3 w 3"/>
                  <a:gd name="T15" fmla="*/ 4 h 4"/>
                  <a:gd name="T16" fmla="*/ 3 w 3"/>
                  <a:gd name="T17" fmla="*/ 2 h 4"/>
                  <a:gd name="T18" fmla="*/ 1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1" y="0"/>
                    </a:moveTo>
                    <a:lnTo>
                      <a:pt x="1" y="0"/>
                    </a:lnTo>
                    <a:lnTo>
                      <a:pt x="0" y="0"/>
                    </a:lnTo>
                    <a:lnTo>
                      <a:pt x="0" y="0"/>
                    </a:lnTo>
                    <a:lnTo>
                      <a:pt x="0" y="2"/>
                    </a:lnTo>
                    <a:lnTo>
                      <a:pt x="1" y="4"/>
                    </a:lnTo>
                    <a:lnTo>
                      <a:pt x="1" y="4"/>
                    </a:lnTo>
                    <a:lnTo>
                      <a:pt x="3" y="4"/>
                    </a:lnTo>
                    <a:lnTo>
                      <a:pt x="3" y="2"/>
                    </a:lnTo>
                    <a:lnTo>
                      <a:pt x="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43" name="Freeform 2695"/>
              <p:cNvSpPr>
                <a:spLocks/>
              </p:cNvSpPr>
              <p:nvPr/>
            </p:nvSpPr>
            <p:spPr bwMode="auto">
              <a:xfrm>
                <a:off x="4824" y="2800"/>
                <a:ext cx="2" cy="2"/>
              </a:xfrm>
              <a:custGeom>
                <a:avLst/>
                <a:gdLst>
                  <a:gd name="T0" fmla="*/ 2 w 2"/>
                  <a:gd name="T1" fmla="*/ 0 h 2"/>
                  <a:gd name="T2" fmla="*/ 2 w 2"/>
                  <a:gd name="T3" fmla="*/ 0 h 2"/>
                  <a:gd name="T4" fmla="*/ 0 w 2"/>
                  <a:gd name="T5" fmla="*/ 0 h 2"/>
                  <a:gd name="T6" fmla="*/ 2 w 2"/>
                  <a:gd name="T7" fmla="*/ 2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0" y="0"/>
                    </a:lnTo>
                    <a:lnTo>
                      <a:pt x="2" y="2"/>
                    </a:lnTo>
                    <a:lnTo>
                      <a:pt x="2"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44" name="Freeform 2696"/>
              <p:cNvSpPr>
                <a:spLocks/>
              </p:cNvSpPr>
              <p:nvPr/>
            </p:nvSpPr>
            <p:spPr bwMode="auto">
              <a:xfrm>
                <a:off x="4824" y="2800"/>
                <a:ext cx="2" cy="2"/>
              </a:xfrm>
              <a:custGeom>
                <a:avLst/>
                <a:gdLst>
                  <a:gd name="T0" fmla="*/ 2 w 2"/>
                  <a:gd name="T1" fmla="*/ 0 h 2"/>
                  <a:gd name="T2" fmla="*/ 2 w 2"/>
                  <a:gd name="T3" fmla="*/ 0 h 2"/>
                  <a:gd name="T4" fmla="*/ 0 w 2"/>
                  <a:gd name="T5" fmla="*/ 0 h 2"/>
                  <a:gd name="T6" fmla="*/ 2 w 2"/>
                  <a:gd name="T7" fmla="*/ 2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0" y="0"/>
                    </a:lnTo>
                    <a:lnTo>
                      <a:pt x="2" y="2"/>
                    </a:lnTo>
                    <a:lnTo>
                      <a:pt x="2"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45" name="Freeform 2697"/>
              <p:cNvSpPr>
                <a:spLocks/>
              </p:cNvSpPr>
              <p:nvPr/>
            </p:nvSpPr>
            <p:spPr bwMode="auto">
              <a:xfrm>
                <a:off x="4826" y="2797"/>
                <a:ext cx="6" cy="10"/>
              </a:xfrm>
              <a:custGeom>
                <a:avLst/>
                <a:gdLst>
                  <a:gd name="T0" fmla="*/ 0 w 6"/>
                  <a:gd name="T1" fmla="*/ 10 h 10"/>
                  <a:gd name="T2" fmla="*/ 0 w 6"/>
                  <a:gd name="T3" fmla="*/ 10 h 10"/>
                  <a:gd name="T4" fmla="*/ 4 w 6"/>
                  <a:gd name="T5" fmla="*/ 5 h 10"/>
                  <a:gd name="T6" fmla="*/ 6 w 6"/>
                  <a:gd name="T7" fmla="*/ 0 h 10"/>
                  <a:gd name="T8" fmla="*/ 6 w 6"/>
                  <a:gd name="T9" fmla="*/ 0 h 10"/>
                  <a:gd name="T10" fmla="*/ 4 w 6"/>
                  <a:gd name="T11" fmla="*/ 2 h 10"/>
                  <a:gd name="T12" fmla="*/ 4 w 6"/>
                  <a:gd name="T13" fmla="*/ 3 h 10"/>
                  <a:gd name="T14" fmla="*/ 4 w 6"/>
                  <a:gd name="T15" fmla="*/ 3 h 10"/>
                  <a:gd name="T16" fmla="*/ 0 w 6"/>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0">
                    <a:moveTo>
                      <a:pt x="0" y="10"/>
                    </a:moveTo>
                    <a:lnTo>
                      <a:pt x="0" y="10"/>
                    </a:lnTo>
                    <a:lnTo>
                      <a:pt x="4" y="5"/>
                    </a:lnTo>
                    <a:lnTo>
                      <a:pt x="6" y="0"/>
                    </a:lnTo>
                    <a:lnTo>
                      <a:pt x="6" y="0"/>
                    </a:lnTo>
                    <a:lnTo>
                      <a:pt x="4" y="2"/>
                    </a:lnTo>
                    <a:lnTo>
                      <a:pt x="4" y="3"/>
                    </a:lnTo>
                    <a:lnTo>
                      <a:pt x="4" y="3"/>
                    </a:lnTo>
                    <a:lnTo>
                      <a:pt x="0" y="1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46" name="Freeform 2698"/>
              <p:cNvSpPr>
                <a:spLocks/>
              </p:cNvSpPr>
              <p:nvPr/>
            </p:nvSpPr>
            <p:spPr bwMode="auto">
              <a:xfrm>
                <a:off x="4826" y="2797"/>
                <a:ext cx="6" cy="10"/>
              </a:xfrm>
              <a:custGeom>
                <a:avLst/>
                <a:gdLst>
                  <a:gd name="T0" fmla="*/ 0 w 6"/>
                  <a:gd name="T1" fmla="*/ 10 h 10"/>
                  <a:gd name="T2" fmla="*/ 0 w 6"/>
                  <a:gd name="T3" fmla="*/ 10 h 10"/>
                  <a:gd name="T4" fmla="*/ 4 w 6"/>
                  <a:gd name="T5" fmla="*/ 5 h 10"/>
                  <a:gd name="T6" fmla="*/ 6 w 6"/>
                  <a:gd name="T7" fmla="*/ 0 h 10"/>
                  <a:gd name="T8" fmla="*/ 6 w 6"/>
                  <a:gd name="T9" fmla="*/ 0 h 10"/>
                  <a:gd name="T10" fmla="*/ 4 w 6"/>
                  <a:gd name="T11" fmla="*/ 2 h 10"/>
                  <a:gd name="T12" fmla="*/ 4 w 6"/>
                  <a:gd name="T13" fmla="*/ 3 h 10"/>
                  <a:gd name="T14" fmla="*/ 4 w 6"/>
                  <a:gd name="T15" fmla="*/ 3 h 10"/>
                  <a:gd name="T16" fmla="*/ 0 w 6"/>
                  <a:gd name="T1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0">
                    <a:moveTo>
                      <a:pt x="0" y="10"/>
                    </a:moveTo>
                    <a:lnTo>
                      <a:pt x="0" y="10"/>
                    </a:lnTo>
                    <a:lnTo>
                      <a:pt x="4" y="5"/>
                    </a:lnTo>
                    <a:lnTo>
                      <a:pt x="6" y="0"/>
                    </a:lnTo>
                    <a:lnTo>
                      <a:pt x="6" y="0"/>
                    </a:lnTo>
                    <a:lnTo>
                      <a:pt x="4" y="2"/>
                    </a:lnTo>
                    <a:lnTo>
                      <a:pt x="4" y="3"/>
                    </a:lnTo>
                    <a:lnTo>
                      <a:pt x="4" y="3"/>
                    </a:lnTo>
                    <a:lnTo>
                      <a:pt x="0" y="1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47" name="Freeform 2699"/>
              <p:cNvSpPr>
                <a:spLocks/>
              </p:cNvSpPr>
              <p:nvPr/>
            </p:nvSpPr>
            <p:spPr bwMode="auto">
              <a:xfrm>
                <a:off x="4844" y="2809"/>
                <a:ext cx="7" cy="11"/>
              </a:xfrm>
              <a:custGeom>
                <a:avLst/>
                <a:gdLst>
                  <a:gd name="T0" fmla="*/ 2 w 7"/>
                  <a:gd name="T1" fmla="*/ 0 h 11"/>
                  <a:gd name="T2" fmla="*/ 2 w 7"/>
                  <a:gd name="T3" fmla="*/ 0 h 11"/>
                  <a:gd name="T4" fmla="*/ 2 w 7"/>
                  <a:gd name="T5" fmla="*/ 4 h 11"/>
                  <a:gd name="T6" fmla="*/ 4 w 7"/>
                  <a:gd name="T7" fmla="*/ 6 h 11"/>
                  <a:gd name="T8" fmla="*/ 4 w 7"/>
                  <a:gd name="T9" fmla="*/ 6 h 11"/>
                  <a:gd name="T10" fmla="*/ 2 w 7"/>
                  <a:gd name="T11" fmla="*/ 7 h 11"/>
                  <a:gd name="T12" fmla="*/ 0 w 7"/>
                  <a:gd name="T13" fmla="*/ 9 h 11"/>
                  <a:gd name="T14" fmla="*/ 2 w 7"/>
                  <a:gd name="T15" fmla="*/ 11 h 11"/>
                  <a:gd name="T16" fmla="*/ 4 w 7"/>
                  <a:gd name="T17" fmla="*/ 11 h 11"/>
                  <a:gd name="T18" fmla="*/ 4 w 7"/>
                  <a:gd name="T19" fmla="*/ 11 h 11"/>
                  <a:gd name="T20" fmla="*/ 7 w 7"/>
                  <a:gd name="T21" fmla="*/ 9 h 11"/>
                  <a:gd name="T22" fmla="*/ 7 w 7"/>
                  <a:gd name="T23" fmla="*/ 6 h 11"/>
                  <a:gd name="T24" fmla="*/ 5 w 7"/>
                  <a:gd name="T25" fmla="*/ 4 h 11"/>
                  <a:gd name="T26" fmla="*/ 2 w 7"/>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1">
                    <a:moveTo>
                      <a:pt x="2" y="0"/>
                    </a:moveTo>
                    <a:lnTo>
                      <a:pt x="2" y="0"/>
                    </a:lnTo>
                    <a:lnTo>
                      <a:pt x="2" y="4"/>
                    </a:lnTo>
                    <a:lnTo>
                      <a:pt x="4" y="6"/>
                    </a:lnTo>
                    <a:lnTo>
                      <a:pt x="4" y="6"/>
                    </a:lnTo>
                    <a:lnTo>
                      <a:pt x="2" y="7"/>
                    </a:lnTo>
                    <a:lnTo>
                      <a:pt x="0" y="9"/>
                    </a:lnTo>
                    <a:lnTo>
                      <a:pt x="2" y="11"/>
                    </a:lnTo>
                    <a:lnTo>
                      <a:pt x="4" y="11"/>
                    </a:lnTo>
                    <a:lnTo>
                      <a:pt x="4" y="11"/>
                    </a:lnTo>
                    <a:lnTo>
                      <a:pt x="7" y="9"/>
                    </a:lnTo>
                    <a:lnTo>
                      <a:pt x="7" y="6"/>
                    </a:lnTo>
                    <a:lnTo>
                      <a:pt x="5" y="4"/>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48" name="Freeform 2700"/>
              <p:cNvSpPr>
                <a:spLocks/>
              </p:cNvSpPr>
              <p:nvPr/>
            </p:nvSpPr>
            <p:spPr bwMode="auto">
              <a:xfrm>
                <a:off x="4844" y="2809"/>
                <a:ext cx="7" cy="11"/>
              </a:xfrm>
              <a:custGeom>
                <a:avLst/>
                <a:gdLst>
                  <a:gd name="T0" fmla="*/ 2 w 7"/>
                  <a:gd name="T1" fmla="*/ 0 h 11"/>
                  <a:gd name="T2" fmla="*/ 2 w 7"/>
                  <a:gd name="T3" fmla="*/ 0 h 11"/>
                  <a:gd name="T4" fmla="*/ 2 w 7"/>
                  <a:gd name="T5" fmla="*/ 4 h 11"/>
                  <a:gd name="T6" fmla="*/ 4 w 7"/>
                  <a:gd name="T7" fmla="*/ 6 h 11"/>
                  <a:gd name="T8" fmla="*/ 4 w 7"/>
                  <a:gd name="T9" fmla="*/ 6 h 11"/>
                  <a:gd name="T10" fmla="*/ 2 w 7"/>
                  <a:gd name="T11" fmla="*/ 7 h 11"/>
                  <a:gd name="T12" fmla="*/ 0 w 7"/>
                  <a:gd name="T13" fmla="*/ 9 h 11"/>
                  <a:gd name="T14" fmla="*/ 2 w 7"/>
                  <a:gd name="T15" fmla="*/ 11 h 11"/>
                  <a:gd name="T16" fmla="*/ 4 w 7"/>
                  <a:gd name="T17" fmla="*/ 11 h 11"/>
                  <a:gd name="T18" fmla="*/ 4 w 7"/>
                  <a:gd name="T19" fmla="*/ 11 h 11"/>
                  <a:gd name="T20" fmla="*/ 7 w 7"/>
                  <a:gd name="T21" fmla="*/ 9 h 11"/>
                  <a:gd name="T22" fmla="*/ 7 w 7"/>
                  <a:gd name="T23" fmla="*/ 6 h 11"/>
                  <a:gd name="T24" fmla="*/ 5 w 7"/>
                  <a:gd name="T25" fmla="*/ 4 h 11"/>
                  <a:gd name="T26" fmla="*/ 2 w 7"/>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1">
                    <a:moveTo>
                      <a:pt x="2" y="0"/>
                    </a:moveTo>
                    <a:lnTo>
                      <a:pt x="2" y="0"/>
                    </a:lnTo>
                    <a:lnTo>
                      <a:pt x="2" y="4"/>
                    </a:lnTo>
                    <a:lnTo>
                      <a:pt x="4" y="6"/>
                    </a:lnTo>
                    <a:lnTo>
                      <a:pt x="4" y="6"/>
                    </a:lnTo>
                    <a:lnTo>
                      <a:pt x="2" y="7"/>
                    </a:lnTo>
                    <a:lnTo>
                      <a:pt x="0" y="9"/>
                    </a:lnTo>
                    <a:lnTo>
                      <a:pt x="2" y="11"/>
                    </a:lnTo>
                    <a:lnTo>
                      <a:pt x="4" y="11"/>
                    </a:lnTo>
                    <a:lnTo>
                      <a:pt x="4" y="11"/>
                    </a:lnTo>
                    <a:lnTo>
                      <a:pt x="7" y="9"/>
                    </a:lnTo>
                    <a:lnTo>
                      <a:pt x="7" y="6"/>
                    </a:lnTo>
                    <a:lnTo>
                      <a:pt x="5" y="4"/>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49" name="Freeform 2701"/>
              <p:cNvSpPr>
                <a:spLocks/>
              </p:cNvSpPr>
              <p:nvPr/>
            </p:nvSpPr>
            <p:spPr bwMode="auto">
              <a:xfrm>
                <a:off x="4855" y="2816"/>
                <a:ext cx="0" cy="4"/>
              </a:xfrm>
              <a:custGeom>
                <a:avLst/>
                <a:gdLst>
                  <a:gd name="T0" fmla="*/ 0 h 4"/>
                  <a:gd name="T1" fmla="*/ 0 h 4"/>
                  <a:gd name="T2" fmla="*/ 2 h 4"/>
                  <a:gd name="T3" fmla="*/ 4 h 4"/>
                  <a:gd name="T4" fmla="*/ 4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0"/>
                    </a:lnTo>
                    <a:lnTo>
                      <a:pt x="0" y="2"/>
                    </a:lnTo>
                    <a:lnTo>
                      <a:pt x="0" y="4"/>
                    </a:lnTo>
                    <a:lnTo>
                      <a:pt x="0" y="4"/>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50" name="Freeform 2702"/>
              <p:cNvSpPr>
                <a:spLocks/>
              </p:cNvSpPr>
              <p:nvPr/>
            </p:nvSpPr>
            <p:spPr bwMode="auto">
              <a:xfrm>
                <a:off x="4855" y="2816"/>
                <a:ext cx="0" cy="4"/>
              </a:xfrm>
              <a:custGeom>
                <a:avLst/>
                <a:gdLst>
                  <a:gd name="T0" fmla="*/ 0 h 4"/>
                  <a:gd name="T1" fmla="*/ 0 h 4"/>
                  <a:gd name="T2" fmla="*/ 2 h 4"/>
                  <a:gd name="T3" fmla="*/ 4 h 4"/>
                  <a:gd name="T4" fmla="*/ 4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0"/>
                    </a:lnTo>
                    <a:lnTo>
                      <a:pt x="0" y="2"/>
                    </a:lnTo>
                    <a:lnTo>
                      <a:pt x="0" y="4"/>
                    </a:lnTo>
                    <a:lnTo>
                      <a:pt x="0" y="4"/>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51" name="Freeform 2703"/>
              <p:cNvSpPr>
                <a:spLocks/>
              </p:cNvSpPr>
              <p:nvPr/>
            </p:nvSpPr>
            <p:spPr bwMode="auto">
              <a:xfrm>
                <a:off x="4855" y="2815"/>
                <a:ext cx="2" cy="1"/>
              </a:xfrm>
              <a:custGeom>
                <a:avLst/>
                <a:gdLst>
                  <a:gd name="T0" fmla="*/ 0 w 2"/>
                  <a:gd name="T1" fmla="*/ 0 h 1"/>
                  <a:gd name="T2" fmla="*/ 0 w 2"/>
                  <a:gd name="T3" fmla="*/ 0 h 1"/>
                  <a:gd name="T4" fmla="*/ 0 w 2"/>
                  <a:gd name="T5" fmla="*/ 0 h 1"/>
                  <a:gd name="T6" fmla="*/ 2 w 2"/>
                  <a:gd name="T7" fmla="*/ 1 h 1"/>
                  <a:gd name="T8" fmla="*/ 2 w 2"/>
                  <a:gd name="T9" fmla="*/ 1 h 1"/>
                  <a:gd name="T10" fmla="*/ 0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0" y="0"/>
                    </a:moveTo>
                    <a:lnTo>
                      <a:pt x="0" y="0"/>
                    </a:lnTo>
                    <a:lnTo>
                      <a:pt x="0" y="0"/>
                    </a:lnTo>
                    <a:lnTo>
                      <a:pt x="2" y="1"/>
                    </a:lnTo>
                    <a:lnTo>
                      <a:pt x="2" y="1"/>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52" name="Freeform 2704"/>
              <p:cNvSpPr>
                <a:spLocks/>
              </p:cNvSpPr>
              <p:nvPr/>
            </p:nvSpPr>
            <p:spPr bwMode="auto">
              <a:xfrm>
                <a:off x="4855" y="2815"/>
                <a:ext cx="2" cy="1"/>
              </a:xfrm>
              <a:custGeom>
                <a:avLst/>
                <a:gdLst>
                  <a:gd name="T0" fmla="*/ 0 w 2"/>
                  <a:gd name="T1" fmla="*/ 0 h 1"/>
                  <a:gd name="T2" fmla="*/ 0 w 2"/>
                  <a:gd name="T3" fmla="*/ 0 h 1"/>
                  <a:gd name="T4" fmla="*/ 0 w 2"/>
                  <a:gd name="T5" fmla="*/ 0 h 1"/>
                  <a:gd name="T6" fmla="*/ 2 w 2"/>
                  <a:gd name="T7" fmla="*/ 1 h 1"/>
                  <a:gd name="T8" fmla="*/ 2 w 2"/>
                  <a:gd name="T9" fmla="*/ 1 h 1"/>
                  <a:gd name="T10" fmla="*/ 0 w 2"/>
                  <a:gd name="T11" fmla="*/ 0 h 1"/>
                </a:gdLst>
                <a:ahLst/>
                <a:cxnLst>
                  <a:cxn ang="0">
                    <a:pos x="T0" y="T1"/>
                  </a:cxn>
                  <a:cxn ang="0">
                    <a:pos x="T2" y="T3"/>
                  </a:cxn>
                  <a:cxn ang="0">
                    <a:pos x="T4" y="T5"/>
                  </a:cxn>
                  <a:cxn ang="0">
                    <a:pos x="T6" y="T7"/>
                  </a:cxn>
                  <a:cxn ang="0">
                    <a:pos x="T8" y="T9"/>
                  </a:cxn>
                  <a:cxn ang="0">
                    <a:pos x="T10" y="T11"/>
                  </a:cxn>
                </a:cxnLst>
                <a:rect l="0" t="0" r="r" b="b"/>
                <a:pathLst>
                  <a:path w="2" h="1">
                    <a:moveTo>
                      <a:pt x="0" y="0"/>
                    </a:moveTo>
                    <a:lnTo>
                      <a:pt x="0" y="0"/>
                    </a:lnTo>
                    <a:lnTo>
                      <a:pt x="0" y="0"/>
                    </a:lnTo>
                    <a:lnTo>
                      <a:pt x="2" y="1"/>
                    </a:lnTo>
                    <a:lnTo>
                      <a:pt x="2" y="1"/>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53" name="Freeform 2705"/>
              <p:cNvSpPr>
                <a:spLocks/>
              </p:cNvSpPr>
              <p:nvPr/>
            </p:nvSpPr>
            <p:spPr bwMode="auto">
              <a:xfrm>
                <a:off x="4857" y="2813"/>
                <a:ext cx="1" cy="2"/>
              </a:xfrm>
              <a:custGeom>
                <a:avLst/>
                <a:gdLst>
                  <a:gd name="T0" fmla="*/ 1 w 1"/>
                  <a:gd name="T1" fmla="*/ 2 h 2"/>
                  <a:gd name="T2" fmla="*/ 1 w 1"/>
                  <a:gd name="T3" fmla="*/ 2 h 2"/>
                  <a:gd name="T4" fmla="*/ 1 w 1"/>
                  <a:gd name="T5" fmla="*/ 0 h 2"/>
                  <a:gd name="T6" fmla="*/ 1 w 1"/>
                  <a:gd name="T7" fmla="*/ 0 h 2"/>
                  <a:gd name="T8" fmla="*/ 0 w 1"/>
                  <a:gd name="T9" fmla="*/ 0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1" y="2"/>
                    </a:lnTo>
                    <a:lnTo>
                      <a:pt x="1" y="0"/>
                    </a:lnTo>
                    <a:lnTo>
                      <a:pt x="1" y="0"/>
                    </a:lnTo>
                    <a:lnTo>
                      <a:pt x="0" y="0"/>
                    </a:lnTo>
                    <a:lnTo>
                      <a:pt x="1"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54" name="Freeform 2706"/>
              <p:cNvSpPr>
                <a:spLocks/>
              </p:cNvSpPr>
              <p:nvPr/>
            </p:nvSpPr>
            <p:spPr bwMode="auto">
              <a:xfrm>
                <a:off x="4857" y="2813"/>
                <a:ext cx="1" cy="2"/>
              </a:xfrm>
              <a:custGeom>
                <a:avLst/>
                <a:gdLst>
                  <a:gd name="T0" fmla="*/ 1 w 1"/>
                  <a:gd name="T1" fmla="*/ 2 h 2"/>
                  <a:gd name="T2" fmla="*/ 1 w 1"/>
                  <a:gd name="T3" fmla="*/ 2 h 2"/>
                  <a:gd name="T4" fmla="*/ 1 w 1"/>
                  <a:gd name="T5" fmla="*/ 0 h 2"/>
                  <a:gd name="T6" fmla="*/ 1 w 1"/>
                  <a:gd name="T7" fmla="*/ 0 h 2"/>
                  <a:gd name="T8" fmla="*/ 0 w 1"/>
                  <a:gd name="T9" fmla="*/ 0 h 2"/>
                  <a:gd name="T10" fmla="*/ 1 w 1"/>
                  <a:gd name="T11" fmla="*/ 2 h 2"/>
                </a:gdLst>
                <a:ahLst/>
                <a:cxnLst>
                  <a:cxn ang="0">
                    <a:pos x="T0" y="T1"/>
                  </a:cxn>
                  <a:cxn ang="0">
                    <a:pos x="T2" y="T3"/>
                  </a:cxn>
                  <a:cxn ang="0">
                    <a:pos x="T4" y="T5"/>
                  </a:cxn>
                  <a:cxn ang="0">
                    <a:pos x="T6" y="T7"/>
                  </a:cxn>
                  <a:cxn ang="0">
                    <a:pos x="T8" y="T9"/>
                  </a:cxn>
                  <a:cxn ang="0">
                    <a:pos x="T10" y="T11"/>
                  </a:cxn>
                </a:cxnLst>
                <a:rect l="0" t="0" r="r" b="b"/>
                <a:pathLst>
                  <a:path w="1" h="2">
                    <a:moveTo>
                      <a:pt x="1" y="2"/>
                    </a:moveTo>
                    <a:lnTo>
                      <a:pt x="1" y="2"/>
                    </a:lnTo>
                    <a:lnTo>
                      <a:pt x="1" y="0"/>
                    </a:lnTo>
                    <a:lnTo>
                      <a:pt x="1" y="0"/>
                    </a:lnTo>
                    <a:lnTo>
                      <a:pt x="0" y="0"/>
                    </a:lnTo>
                    <a:lnTo>
                      <a:pt x="1"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55" name="Freeform 2707"/>
              <p:cNvSpPr>
                <a:spLocks/>
              </p:cNvSpPr>
              <p:nvPr/>
            </p:nvSpPr>
            <p:spPr bwMode="auto">
              <a:xfrm>
                <a:off x="4862" y="2725"/>
                <a:ext cx="2" cy="4"/>
              </a:xfrm>
              <a:custGeom>
                <a:avLst/>
                <a:gdLst>
                  <a:gd name="T0" fmla="*/ 0 w 2"/>
                  <a:gd name="T1" fmla="*/ 0 h 4"/>
                  <a:gd name="T2" fmla="*/ 0 w 2"/>
                  <a:gd name="T3" fmla="*/ 0 h 4"/>
                  <a:gd name="T4" fmla="*/ 0 w 2"/>
                  <a:gd name="T5" fmla="*/ 2 h 4"/>
                  <a:gd name="T6" fmla="*/ 0 w 2"/>
                  <a:gd name="T7" fmla="*/ 4 h 4"/>
                  <a:gd name="T8" fmla="*/ 2 w 2"/>
                  <a:gd name="T9" fmla="*/ 4 h 4"/>
                  <a:gd name="T10" fmla="*/ 2 w 2"/>
                  <a:gd name="T11" fmla="*/ 4 h 4"/>
                  <a:gd name="T12" fmla="*/ 2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0" y="0"/>
                    </a:lnTo>
                    <a:lnTo>
                      <a:pt x="0" y="2"/>
                    </a:lnTo>
                    <a:lnTo>
                      <a:pt x="0" y="4"/>
                    </a:lnTo>
                    <a:lnTo>
                      <a:pt x="2" y="4"/>
                    </a:lnTo>
                    <a:lnTo>
                      <a:pt x="2" y="4"/>
                    </a:lnTo>
                    <a:lnTo>
                      <a:pt x="2"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56" name="Freeform 2708"/>
              <p:cNvSpPr>
                <a:spLocks/>
              </p:cNvSpPr>
              <p:nvPr/>
            </p:nvSpPr>
            <p:spPr bwMode="auto">
              <a:xfrm>
                <a:off x="4862" y="2725"/>
                <a:ext cx="2" cy="4"/>
              </a:xfrm>
              <a:custGeom>
                <a:avLst/>
                <a:gdLst>
                  <a:gd name="T0" fmla="*/ 0 w 2"/>
                  <a:gd name="T1" fmla="*/ 0 h 4"/>
                  <a:gd name="T2" fmla="*/ 0 w 2"/>
                  <a:gd name="T3" fmla="*/ 0 h 4"/>
                  <a:gd name="T4" fmla="*/ 0 w 2"/>
                  <a:gd name="T5" fmla="*/ 2 h 4"/>
                  <a:gd name="T6" fmla="*/ 0 w 2"/>
                  <a:gd name="T7" fmla="*/ 4 h 4"/>
                  <a:gd name="T8" fmla="*/ 2 w 2"/>
                  <a:gd name="T9" fmla="*/ 4 h 4"/>
                  <a:gd name="T10" fmla="*/ 2 w 2"/>
                  <a:gd name="T11" fmla="*/ 4 h 4"/>
                  <a:gd name="T12" fmla="*/ 2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0" y="0"/>
                    </a:lnTo>
                    <a:lnTo>
                      <a:pt x="0" y="2"/>
                    </a:lnTo>
                    <a:lnTo>
                      <a:pt x="0" y="4"/>
                    </a:lnTo>
                    <a:lnTo>
                      <a:pt x="2" y="4"/>
                    </a:lnTo>
                    <a:lnTo>
                      <a:pt x="2" y="4"/>
                    </a:lnTo>
                    <a:lnTo>
                      <a:pt x="2"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57" name="Freeform 2709"/>
              <p:cNvSpPr>
                <a:spLocks/>
              </p:cNvSpPr>
              <p:nvPr/>
            </p:nvSpPr>
            <p:spPr bwMode="auto">
              <a:xfrm>
                <a:off x="4871" y="2720"/>
                <a:ext cx="5" cy="4"/>
              </a:xfrm>
              <a:custGeom>
                <a:avLst/>
                <a:gdLst>
                  <a:gd name="T0" fmla="*/ 0 w 5"/>
                  <a:gd name="T1" fmla="*/ 0 h 4"/>
                  <a:gd name="T2" fmla="*/ 0 w 5"/>
                  <a:gd name="T3" fmla="*/ 0 h 4"/>
                  <a:gd name="T4" fmla="*/ 2 w 5"/>
                  <a:gd name="T5" fmla="*/ 4 h 4"/>
                  <a:gd name="T6" fmla="*/ 3 w 5"/>
                  <a:gd name="T7" fmla="*/ 4 h 4"/>
                  <a:gd name="T8" fmla="*/ 5 w 5"/>
                  <a:gd name="T9" fmla="*/ 4 h 4"/>
                  <a:gd name="T10" fmla="*/ 5 w 5"/>
                  <a:gd name="T11" fmla="*/ 4 h 4"/>
                  <a:gd name="T12" fmla="*/ 5 w 5"/>
                  <a:gd name="T13" fmla="*/ 2 h 4"/>
                  <a:gd name="T14" fmla="*/ 3 w 5"/>
                  <a:gd name="T15" fmla="*/ 2 h 4"/>
                  <a:gd name="T16" fmla="*/ 0 w 5"/>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0" y="0"/>
                    </a:moveTo>
                    <a:lnTo>
                      <a:pt x="0" y="0"/>
                    </a:lnTo>
                    <a:lnTo>
                      <a:pt x="2" y="4"/>
                    </a:lnTo>
                    <a:lnTo>
                      <a:pt x="3" y="4"/>
                    </a:lnTo>
                    <a:lnTo>
                      <a:pt x="5" y="4"/>
                    </a:lnTo>
                    <a:lnTo>
                      <a:pt x="5" y="4"/>
                    </a:lnTo>
                    <a:lnTo>
                      <a:pt x="5" y="2"/>
                    </a:lnTo>
                    <a:lnTo>
                      <a:pt x="3"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58" name="Freeform 2710"/>
              <p:cNvSpPr>
                <a:spLocks/>
              </p:cNvSpPr>
              <p:nvPr/>
            </p:nvSpPr>
            <p:spPr bwMode="auto">
              <a:xfrm>
                <a:off x="4871" y="2720"/>
                <a:ext cx="5" cy="4"/>
              </a:xfrm>
              <a:custGeom>
                <a:avLst/>
                <a:gdLst>
                  <a:gd name="T0" fmla="*/ 0 w 5"/>
                  <a:gd name="T1" fmla="*/ 0 h 4"/>
                  <a:gd name="T2" fmla="*/ 0 w 5"/>
                  <a:gd name="T3" fmla="*/ 0 h 4"/>
                  <a:gd name="T4" fmla="*/ 2 w 5"/>
                  <a:gd name="T5" fmla="*/ 4 h 4"/>
                  <a:gd name="T6" fmla="*/ 3 w 5"/>
                  <a:gd name="T7" fmla="*/ 4 h 4"/>
                  <a:gd name="T8" fmla="*/ 5 w 5"/>
                  <a:gd name="T9" fmla="*/ 4 h 4"/>
                  <a:gd name="T10" fmla="*/ 5 w 5"/>
                  <a:gd name="T11" fmla="*/ 4 h 4"/>
                  <a:gd name="T12" fmla="*/ 5 w 5"/>
                  <a:gd name="T13" fmla="*/ 2 h 4"/>
                  <a:gd name="T14" fmla="*/ 3 w 5"/>
                  <a:gd name="T15" fmla="*/ 2 h 4"/>
                  <a:gd name="T16" fmla="*/ 0 w 5"/>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4">
                    <a:moveTo>
                      <a:pt x="0" y="0"/>
                    </a:moveTo>
                    <a:lnTo>
                      <a:pt x="0" y="0"/>
                    </a:lnTo>
                    <a:lnTo>
                      <a:pt x="2" y="4"/>
                    </a:lnTo>
                    <a:lnTo>
                      <a:pt x="3" y="4"/>
                    </a:lnTo>
                    <a:lnTo>
                      <a:pt x="5" y="4"/>
                    </a:lnTo>
                    <a:lnTo>
                      <a:pt x="5" y="4"/>
                    </a:lnTo>
                    <a:lnTo>
                      <a:pt x="5" y="2"/>
                    </a:lnTo>
                    <a:lnTo>
                      <a:pt x="3"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59" name="Freeform 2711"/>
              <p:cNvSpPr>
                <a:spLocks/>
              </p:cNvSpPr>
              <p:nvPr/>
            </p:nvSpPr>
            <p:spPr bwMode="auto">
              <a:xfrm>
                <a:off x="4873" y="2736"/>
                <a:ext cx="21" cy="5"/>
              </a:xfrm>
              <a:custGeom>
                <a:avLst/>
                <a:gdLst>
                  <a:gd name="T0" fmla="*/ 0 w 21"/>
                  <a:gd name="T1" fmla="*/ 0 h 5"/>
                  <a:gd name="T2" fmla="*/ 0 w 21"/>
                  <a:gd name="T3" fmla="*/ 0 h 5"/>
                  <a:gd name="T4" fmla="*/ 0 w 21"/>
                  <a:gd name="T5" fmla="*/ 2 h 5"/>
                  <a:gd name="T6" fmla="*/ 0 w 21"/>
                  <a:gd name="T7" fmla="*/ 2 h 5"/>
                  <a:gd name="T8" fmla="*/ 5 w 21"/>
                  <a:gd name="T9" fmla="*/ 2 h 5"/>
                  <a:gd name="T10" fmla="*/ 10 w 21"/>
                  <a:gd name="T11" fmla="*/ 4 h 5"/>
                  <a:gd name="T12" fmla="*/ 10 w 21"/>
                  <a:gd name="T13" fmla="*/ 4 h 5"/>
                  <a:gd name="T14" fmla="*/ 16 w 21"/>
                  <a:gd name="T15" fmla="*/ 5 h 5"/>
                  <a:gd name="T16" fmla="*/ 16 w 21"/>
                  <a:gd name="T17" fmla="*/ 5 h 5"/>
                  <a:gd name="T18" fmla="*/ 21 w 21"/>
                  <a:gd name="T19" fmla="*/ 4 h 5"/>
                  <a:gd name="T20" fmla="*/ 21 w 21"/>
                  <a:gd name="T21" fmla="*/ 4 h 5"/>
                  <a:gd name="T22" fmla="*/ 17 w 21"/>
                  <a:gd name="T23" fmla="*/ 2 h 5"/>
                  <a:gd name="T24" fmla="*/ 12 w 21"/>
                  <a:gd name="T25" fmla="*/ 2 h 5"/>
                  <a:gd name="T26" fmla="*/ 12 w 21"/>
                  <a:gd name="T27" fmla="*/ 2 h 5"/>
                  <a:gd name="T28" fmla="*/ 0 w 21"/>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
                    <a:moveTo>
                      <a:pt x="0" y="0"/>
                    </a:moveTo>
                    <a:lnTo>
                      <a:pt x="0" y="0"/>
                    </a:lnTo>
                    <a:lnTo>
                      <a:pt x="0" y="2"/>
                    </a:lnTo>
                    <a:lnTo>
                      <a:pt x="0" y="2"/>
                    </a:lnTo>
                    <a:lnTo>
                      <a:pt x="5" y="2"/>
                    </a:lnTo>
                    <a:lnTo>
                      <a:pt x="10" y="4"/>
                    </a:lnTo>
                    <a:lnTo>
                      <a:pt x="10" y="4"/>
                    </a:lnTo>
                    <a:lnTo>
                      <a:pt x="16" y="5"/>
                    </a:lnTo>
                    <a:lnTo>
                      <a:pt x="16" y="5"/>
                    </a:lnTo>
                    <a:lnTo>
                      <a:pt x="21" y="4"/>
                    </a:lnTo>
                    <a:lnTo>
                      <a:pt x="21" y="4"/>
                    </a:lnTo>
                    <a:lnTo>
                      <a:pt x="17" y="2"/>
                    </a:lnTo>
                    <a:lnTo>
                      <a:pt x="12" y="2"/>
                    </a:lnTo>
                    <a:lnTo>
                      <a:pt x="12"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60" name="Freeform 2712"/>
              <p:cNvSpPr>
                <a:spLocks/>
              </p:cNvSpPr>
              <p:nvPr/>
            </p:nvSpPr>
            <p:spPr bwMode="auto">
              <a:xfrm>
                <a:off x="4873" y="2736"/>
                <a:ext cx="21" cy="5"/>
              </a:xfrm>
              <a:custGeom>
                <a:avLst/>
                <a:gdLst>
                  <a:gd name="T0" fmla="*/ 0 w 21"/>
                  <a:gd name="T1" fmla="*/ 0 h 5"/>
                  <a:gd name="T2" fmla="*/ 0 w 21"/>
                  <a:gd name="T3" fmla="*/ 0 h 5"/>
                  <a:gd name="T4" fmla="*/ 0 w 21"/>
                  <a:gd name="T5" fmla="*/ 2 h 5"/>
                  <a:gd name="T6" fmla="*/ 0 w 21"/>
                  <a:gd name="T7" fmla="*/ 2 h 5"/>
                  <a:gd name="T8" fmla="*/ 5 w 21"/>
                  <a:gd name="T9" fmla="*/ 2 h 5"/>
                  <a:gd name="T10" fmla="*/ 10 w 21"/>
                  <a:gd name="T11" fmla="*/ 4 h 5"/>
                  <a:gd name="T12" fmla="*/ 10 w 21"/>
                  <a:gd name="T13" fmla="*/ 4 h 5"/>
                  <a:gd name="T14" fmla="*/ 16 w 21"/>
                  <a:gd name="T15" fmla="*/ 5 h 5"/>
                  <a:gd name="T16" fmla="*/ 16 w 21"/>
                  <a:gd name="T17" fmla="*/ 5 h 5"/>
                  <a:gd name="T18" fmla="*/ 21 w 21"/>
                  <a:gd name="T19" fmla="*/ 4 h 5"/>
                  <a:gd name="T20" fmla="*/ 21 w 21"/>
                  <a:gd name="T21" fmla="*/ 4 h 5"/>
                  <a:gd name="T22" fmla="*/ 17 w 21"/>
                  <a:gd name="T23" fmla="*/ 2 h 5"/>
                  <a:gd name="T24" fmla="*/ 12 w 21"/>
                  <a:gd name="T25" fmla="*/ 2 h 5"/>
                  <a:gd name="T26" fmla="*/ 12 w 21"/>
                  <a:gd name="T27" fmla="*/ 2 h 5"/>
                  <a:gd name="T28" fmla="*/ 0 w 21"/>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5">
                    <a:moveTo>
                      <a:pt x="0" y="0"/>
                    </a:moveTo>
                    <a:lnTo>
                      <a:pt x="0" y="0"/>
                    </a:lnTo>
                    <a:lnTo>
                      <a:pt x="0" y="2"/>
                    </a:lnTo>
                    <a:lnTo>
                      <a:pt x="0" y="2"/>
                    </a:lnTo>
                    <a:lnTo>
                      <a:pt x="5" y="2"/>
                    </a:lnTo>
                    <a:lnTo>
                      <a:pt x="10" y="4"/>
                    </a:lnTo>
                    <a:lnTo>
                      <a:pt x="10" y="4"/>
                    </a:lnTo>
                    <a:lnTo>
                      <a:pt x="16" y="5"/>
                    </a:lnTo>
                    <a:lnTo>
                      <a:pt x="16" y="5"/>
                    </a:lnTo>
                    <a:lnTo>
                      <a:pt x="21" y="4"/>
                    </a:lnTo>
                    <a:lnTo>
                      <a:pt x="21" y="4"/>
                    </a:lnTo>
                    <a:lnTo>
                      <a:pt x="17" y="2"/>
                    </a:lnTo>
                    <a:lnTo>
                      <a:pt x="12" y="2"/>
                    </a:lnTo>
                    <a:lnTo>
                      <a:pt x="12"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61" name="Freeform 2713"/>
              <p:cNvSpPr>
                <a:spLocks/>
              </p:cNvSpPr>
              <p:nvPr/>
            </p:nvSpPr>
            <p:spPr bwMode="auto">
              <a:xfrm>
                <a:off x="4899" y="2829"/>
                <a:ext cx="25" cy="16"/>
              </a:xfrm>
              <a:custGeom>
                <a:avLst/>
                <a:gdLst>
                  <a:gd name="T0" fmla="*/ 2 w 25"/>
                  <a:gd name="T1" fmla="*/ 16 h 16"/>
                  <a:gd name="T2" fmla="*/ 2 w 25"/>
                  <a:gd name="T3" fmla="*/ 16 h 16"/>
                  <a:gd name="T4" fmla="*/ 0 w 25"/>
                  <a:gd name="T5" fmla="*/ 16 h 16"/>
                  <a:gd name="T6" fmla="*/ 0 w 25"/>
                  <a:gd name="T7" fmla="*/ 16 h 16"/>
                  <a:gd name="T8" fmla="*/ 6 w 25"/>
                  <a:gd name="T9" fmla="*/ 16 h 16"/>
                  <a:gd name="T10" fmla="*/ 11 w 25"/>
                  <a:gd name="T11" fmla="*/ 16 h 16"/>
                  <a:gd name="T12" fmla="*/ 11 w 25"/>
                  <a:gd name="T13" fmla="*/ 16 h 16"/>
                  <a:gd name="T14" fmla="*/ 15 w 25"/>
                  <a:gd name="T15" fmla="*/ 16 h 16"/>
                  <a:gd name="T16" fmla="*/ 18 w 25"/>
                  <a:gd name="T17" fmla="*/ 12 h 16"/>
                  <a:gd name="T18" fmla="*/ 18 w 25"/>
                  <a:gd name="T19" fmla="*/ 12 h 16"/>
                  <a:gd name="T20" fmla="*/ 22 w 25"/>
                  <a:gd name="T21" fmla="*/ 9 h 16"/>
                  <a:gd name="T22" fmla="*/ 25 w 25"/>
                  <a:gd name="T23" fmla="*/ 5 h 16"/>
                  <a:gd name="T24" fmla="*/ 25 w 25"/>
                  <a:gd name="T25" fmla="*/ 3 h 16"/>
                  <a:gd name="T26" fmla="*/ 25 w 25"/>
                  <a:gd name="T27" fmla="*/ 3 h 16"/>
                  <a:gd name="T28" fmla="*/ 22 w 25"/>
                  <a:gd name="T29" fmla="*/ 2 h 16"/>
                  <a:gd name="T30" fmla="*/ 20 w 25"/>
                  <a:gd name="T31" fmla="*/ 0 h 16"/>
                  <a:gd name="T32" fmla="*/ 13 w 25"/>
                  <a:gd name="T33" fmla="*/ 2 h 16"/>
                  <a:gd name="T34" fmla="*/ 13 w 25"/>
                  <a:gd name="T35" fmla="*/ 2 h 16"/>
                  <a:gd name="T36" fmla="*/ 9 w 25"/>
                  <a:gd name="T37" fmla="*/ 3 h 16"/>
                  <a:gd name="T38" fmla="*/ 6 w 25"/>
                  <a:gd name="T39" fmla="*/ 7 h 16"/>
                  <a:gd name="T40" fmla="*/ 2 w 25"/>
                  <a:gd name="T4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16">
                    <a:moveTo>
                      <a:pt x="2" y="16"/>
                    </a:moveTo>
                    <a:lnTo>
                      <a:pt x="2" y="16"/>
                    </a:lnTo>
                    <a:lnTo>
                      <a:pt x="0" y="16"/>
                    </a:lnTo>
                    <a:lnTo>
                      <a:pt x="0" y="16"/>
                    </a:lnTo>
                    <a:lnTo>
                      <a:pt x="6" y="16"/>
                    </a:lnTo>
                    <a:lnTo>
                      <a:pt x="11" y="16"/>
                    </a:lnTo>
                    <a:lnTo>
                      <a:pt x="11" y="16"/>
                    </a:lnTo>
                    <a:lnTo>
                      <a:pt x="15" y="16"/>
                    </a:lnTo>
                    <a:lnTo>
                      <a:pt x="18" y="12"/>
                    </a:lnTo>
                    <a:lnTo>
                      <a:pt x="18" y="12"/>
                    </a:lnTo>
                    <a:lnTo>
                      <a:pt x="22" y="9"/>
                    </a:lnTo>
                    <a:lnTo>
                      <a:pt x="25" y="5"/>
                    </a:lnTo>
                    <a:lnTo>
                      <a:pt x="25" y="3"/>
                    </a:lnTo>
                    <a:lnTo>
                      <a:pt x="25" y="3"/>
                    </a:lnTo>
                    <a:lnTo>
                      <a:pt x="22" y="2"/>
                    </a:lnTo>
                    <a:lnTo>
                      <a:pt x="20" y="0"/>
                    </a:lnTo>
                    <a:lnTo>
                      <a:pt x="13" y="2"/>
                    </a:lnTo>
                    <a:lnTo>
                      <a:pt x="13" y="2"/>
                    </a:lnTo>
                    <a:lnTo>
                      <a:pt x="9" y="3"/>
                    </a:lnTo>
                    <a:lnTo>
                      <a:pt x="6" y="7"/>
                    </a:lnTo>
                    <a:lnTo>
                      <a:pt x="2" y="1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62" name="Freeform 2714"/>
              <p:cNvSpPr>
                <a:spLocks/>
              </p:cNvSpPr>
              <p:nvPr/>
            </p:nvSpPr>
            <p:spPr bwMode="auto">
              <a:xfrm>
                <a:off x="4899" y="2829"/>
                <a:ext cx="25" cy="16"/>
              </a:xfrm>
              <a:custGeom>
                <a:avLst/>
                <a:gdLst>
                  <a:gd name="T0" fmla="*/ 2 w 25"/>
                  <a:gd name="T1" fmla="*/ 16 h 16"/>
                  <a:gd name="T2" fmla="*/ 2 w 25"/>
                  <a:gd name="T3" fmla="*/ 16 h 16"/>
                  <a:gd name="T4" fmla="*/ 0 w 25"/>
                  <a:gd name="T5" fmla="*/ 16 h 16"/>
                  <a:gd name="T6" fmla="*/ 0 w 25"/>
                  <a:gd name="T7" fmla="*/ 16 h 16"/>
                  <a:gd name="T8" fmla="*/ 6 w 25"/>
                  <a:gd name="T9" fmla="*/ 16 h 16"/>
                  <a:gd name="T10" fmla="*/ 11 w 25"/>
                  <a:gd name="T11" fmla="*/ 16 h 16"/>
                  <a:gd name="T12" fmla="*/ 11 w 25"/>
                  <a:gd name="T13" fmla="*/ 16 h 16"/>
                  <a:gd name="T14" fmla="*/ 15 w 25"/>
                  <a:gd name="T15" fmla="*/ 16 h 16"/>
                  <a:gd name="T16" fmla="*/ 18 w 25"/>
                  <a:gd name="T17" fmla="*/ 12 h 16"/>
                  <a:gd name="T18" fmla="*/ 18 w 25"/>
                  <a:gd name="T19" fmla="*/ 12 h 16"/>
                  <a:gd name="T20" fmla="*/ 22 w 25"/>
                  <a:gd name="T21" fmla="*/ 9 h 16"/>
                  <a:gd name="T22" fmla="*/ 25 w 25"/>
                  <a:gd name="T23" fmla="*/ 5 h 16"/>
                  <a:gd name="T24" fmla="*/ 25 w 25"/>
                  <a:gd name="T25" fmla="*/ 3 h 16"/>
                  <a:gd name="T26" fmla="*/ 25 w 25"/>
                  <a:gd name="T27" fmla="*/ 3 h 16"/>
                  <a:gd name="T28" fmla="*/ 22 w 25"/>
                  <a:gd name="T29" fmla="*/ 2 h 16"/>
                  <a:gd name="T30" fmla="*/ 20 w 25"/>
                  <a:gd name="T31" fmla="*/ 0 h 16"/>
                  <a:gd name="T32" fmla="*/ 13 w 25"/>
                  <a:gd name="T33" fmla="*/ 2 h 16"/>
                  <a:gd name="T34" fmla="*/ 13 w 25"/>
                  <a:gd name="T35" fmla="*/ 2 h 16"/>
                  <a:gd name="T36" fmla="*/ 9 w 25"/>
                  <a:gd name="T37" fmla="*/ 3 h 16"/>
                  <a:gd name="T38" fmla="*/ 6 w 25"/>
                  <a:gd name="T39" fmla="*/ 7 h 16"/>
                  <a:gd name="T40" fmla="*/ 2 w 25"/>
                  <a:gd name="T4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16">
                    <a:moveTo>
                      <a:pt x="2" y="16"/>
                    </a:moveTo>
                    <a:lnTo>
                      <a:pt x="2" y="16"/>
                    </a:lnTo>
                    <a:lnTo>
                      <a:pt x="0" y="16"/>
                    </a:lnTo>
                    <a:lnTo>
                      <a:pt x="0" y="16"/>
                    </a:lnTo>
                    <a:lnTo>
                      <a:pt x="6" y="16"/>
                    </a:lnTo>
                    <a:lnTo>
                      <a:pt x="11" y="16"/>
                    </a:lnTo>
                    <a:lnTo>
                      <a:pt x="11" y="16"/>
                    </a:lnTo>
                    <a:lnTo>
                      <a:pt x="15" y="16"/>
                    </a:lnTo>
                    <a:lnTo>
                      <a:pt x="18" y="12"/>
                    </a:lnTo>
                    <a:lnTo>
                      <a:pt x="18" y="12"/>
                    </a:lnTo>
                    <a:lnTo>
                      <a:pt x="22" y="9"/>
                    </a:lnTo>
                    <a:lnTo>
                      <a:pt x="25" y="5"/>
                    </a:lnTo>
                    <a:lnTo>
                      <a:pt x="25" y="3"/>
                    </a:lnTo>
                    <a:lnTo>
                      <a:pt x="25" y="3"/>
                    </a:lnTo>
                    <a:lnTo>
                      <a:pt x="22" y="2"/>
                    </a:lnTo>
                    <a:lnTo>
                      <a:pt x="20" y="0"/>
                    </a:lnTo>
                    <a:lnTo>
                      <a:pt x="13" y="2"/>
                    </a:lnTo>
                    <a:lnTo>
                      <a:pt x="13" y="2"/>
                    </a:lnTo>
                    <a:lnTo>
                      <a:pt x="9" y="3"/>
                    </a:lnTo>
                    <a:lnTo>
                      <a:pt x="6" y="7"/>
                    </a:lnTo>
                    <a:lnTo>
                      <a:pt x="2" y="1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63" name="Freeform 2715"/>
              <p:cNvSpPr>
                <a:spLocks/>
              </p:cNvSpPr>
              <p:nvPr/>
            </p:nvSpPr>
            <p:spPr bwMode="auto">
              <a:xfrm>
                <a:off x="4915" y="2841"/>
                <a:ext cx="6" cy="4"/>
              </a:xfrm>
              <a:custGeom>
                <a:avLst/>
                <a:gdLst>
                  <a:gd name="T0" fmla="*/ 4 w 6"/>
                  <a:gd name="T1" fmla="*/ 4 h 4"/>
                  <a:gd name="T2" fmla="*/ 4 w 6"/>
                  <a:gd name="T3" fmla="*/ 4 h 4"/>
                  <a:gd name="T4" fmla="*/ 6 w 6"/>
                  <a:gd name="T5" fmla="*/ 4 h 4"/>
                  <a:gd name="T6" fmla="*/ 6 w 6"/>
                  <a:gd name="T7" fmla="*/ 4 h 4"/>
                  <a:gd name="T8" fmla="*/ 4 w 6"/>
                  <a:gd name="T9" fmla="*/ 2 h 4"/>
                  <a:gd name="T10" fmla="*/ 4 w 6"/>
                  <a:gd name="T11" fmla="*/ 0 h 4"/>
                  <a:gd name="T12" fmla="*/ 2 w 6"/>
                  <a:gd name="T13" fmla="*/ 0 h 4"/>
                  <a:gd name="T14" fmla="*/ 2 w 6"/>
                  <a:gd name="T15" fmla="*/ 0 h 4"/>
                  <a:gd name="T16" fmla="*/ 0 w 6"/>
                  <a:gd name="T17" fmla="*/ 2 h 4"/>
                  <a:gd name="T18" fmla="*/ 0 w 6"/>
                  <a:gd name="T19" fmla="*/ 2 h 4"/>
                  <a:gd name="T20" fmla="*/ 4 w 6"/>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4" y="4"/>
                    </a:moveTo>
                    <a:lnTo>
                      <a:pt x="4" y="4"/>
                    </a:lnTo>
                    <a:lnTo>
                      <a:pt x="6" y="4"/>
                    </a:lnTo>
                    <a:lnTo>
                      <a:pt x="6" y="4"/>
                    </a:lnTo>
                    <a:lnTo>
                      <a:pt x="4" y="2"/>
                    </a:lnTo>
                    <a:lnTo>
                      <a:pt x="4" y="0"/>
                    </a:lnTo>
                    <a:lnTo>
                      <a:pt x="2" y="0"/>
                    </a:lnTo>
                    <a:lnTo>
                      <a:pt x="2" y="0"/>
                    </a:lnTo>
                    <a:lnTo>
                      <a:pt x="0" y="2"/>
                    </a:lnTo>
                    <a:lnTo>
                      <a:pt x="0" y="2"/>
                    </a:lnTo>
                    <a:lnTo>
                      <a:pt x="4"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64" name="Freeform 2716"/>
              <p:cNvSpPr>
                <a:spLocks/>
              </p:cNvSpPr>
              <p:nvPr/>
            </p:nvSpPr>
            <p:spPr bwMode="auto">
              <a:xfrm>
                <a:off x="4915" y="2841"/>
                <a:ext cx="6" cy="4"/>
              </a:xfrm>
              <a:custGeom>
                <a:avLst/>
                <a:gdLst>
                  <a:gd name="T0" fmla="*/ 4 w 6"/>
                  <a:gd name="T1" fmla="*/ 4 h 4"/>
                  <a:gd name="T2" fmla="*/ 4 w 6"/>
                  <a:gd name="T3" fmla="*/ 4 h 4"/>
                  <a:gd name="T4" fmla="*/ 6 w 6"/>
                  <a:gd name="T5" fmla="*/ 4 h 4"/>
                  <a:gd name="T6" fmla="*/ 6 w 6"/>
                  <a:gd name="T7" fmla="*/ 4 h 4"/>
                  <a:gd name="T8" fmla="*/ 4 w 6"/>
                  <a:gd name="T9" fmla="*/ 2 h 4"/>
                  <a:gd name="T10" fmla="*/ 4 w 6"/>
                  <a:gd name="T11" fmla="*/ 0 h 4"/>
                  <a:gd name="T12" fmla="*/ 2 w 6"/>
                  <a:gd name="T13" fmla="*/ 0 h 4"/>
                  <a:gd name="T14" fmla="*/ 2 w 6"/>
                  <a:gd name="T15" fmla="*/ 0 h 4"/>
                  <a:gd name="T16" fmla="*/ 0 w 6"/>
                  <a:gd name="T17" fmla="*/ 2 h 4"/>
                  <a:gd name="T18" fmla="*/ 0 w 6"/>
                  <a:gd name="T19" fmla="*/ 2 h 4"/>
                  <a:gd name="T20" fmla="*/ 4 w 6"/>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4">
                    <a:moveTo>
                      <a:pt x="4" y="4"/>
                    </a:moveTo>
                    <a:lnTo>
                      <a:pt x="4" y="4"/>
                    </a:lnTo>
                    <a:lnTo>
                      <a:pt x="6" y="4"/>
                    </a:lnTo>
                    <a:lnTo>
                      <a:pt x="6" y="4"/>
                    </a:lnTo>
                    <a:lnTo>
                      <a:pt x="4" y="2"/>
                    </a:lnTo>
                    <a:lnTo>
                      <a:pt x="4" y="0"/>
                    </a:lnTo>
                    <a:lnTo>
                      <a:pt x="2" y="0"/>
                    </a:lnTo>
                    <a:lnTo>
                      <a:pt x="2" y="0"/>
                    </a:lnTo>
                    <a:lnTo>
                      <a:pt x="0" y="2"/>
                    </a:lnTo>
                    <a:lnTo>
                      <a:pt x="0" y="2"/>
                    </a:lnTo>
                    <a:lnTo>
                      <a:pt x="4"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65" name="Freeform 2717"/>
              <p:cNvSpPr>
                <a:spLocks/>
              </p:cNvSpPr>
              <p:nvPr/>
            </p:nvSpPr>
            <p:spPr bwMode="auto">
              <a:xfrm>
                <a:off x="4442" y="2641"/>
                <a:ext cx="165" cy="138"/>
              </a:xfrm>
              <a:custGeom>
                <a:avLst/>
                <a:gdLst>
                  <a:gd name="T0" fmla="*/ 4 w 165"/>
                  <a:gd name="T1" fmla="*/ 52 h 138"/>
                  <a:gd name="T2" fmla="*/ 4 w 165"/>
                  <a:gd name="T3" fmla="*/ 49 h 138"/>
                  <a:gd name="T4" fmla="*/ 13 w 165"/>
                  <a:gd name="T5" fmla="*/ 38 h 138"/>
                  <a:gd name="T6" fmla="*/ 15 w 165"/>
                  <a:gd name="T7" fmla="*/ 47 h 138"/>
                  <a:gd name="T8" fmla="*/ 27 w 165"/>
                  <a:gd name="T9" fmla="*/ 58 h 138"/>
                  <a:gd name="T10" fmla="*/ 47 w 165"/>
                  <a:gd name="T11" fmla="*/ 56 h 138"/>
                  <a:gd name="T12" fmla="*/ 61 w 165"/>
                  <a:gd name="T13" fmla="*/ 45 h 138"/>
                  <a:gd name="T14" fmla="*/ 77 w 165"/>
                  <a:gd name="T15" fmla="*/ 50 h 138"/>
                  <a:gd name="T16" fmla="*/ 88 w 165"/>
                  <a:gd name="T17" fmla="*/ 49 h 138"/>
                  <a:gd name="T18" fmla="*/ 95 w 165"/>
                  <a:gd name="T19" fmla="*/ 43 h 138"/>
                  <a:gd name="T20" fmla="*/ 102 w 165"/>
                  <a:gd name="T21" fmla="*/ 31 h 138"/>
                  <a:gd name="T22" fmla="*/ 106 w 165"/>
                  <a:gd name="T23" fmla="*/ 22 h 138"/>
                  <a:gd name="T24" fmla="*/ 107 w 165"/>
                  <a:gd name="T25" fmla="*/ 9 h 138"/>
                  <a:gd name="T26" fmla="*/ 115 w 165"/>
                  <a:gd name="T27" fmla="*/ 2 h 138"/>
                  <a:gd name="T28" fmla="*/ 122 w 165"/>
                  <a:gd name="T29" fmla="*/ 0 h 138"/>
                  <a:gd name="T30" fmla="*/ 140 w 165"/>
                  <a:gd name="T31" fmla="*/ 4 h 138"/>
                  <a:gd name="T32" fmla="*/ 140 w 165"/>
                  <a:gd name="T33" fmla="*/ 8 h 138"/>
                  <a:gd name="T34" fmla="*/ 140 w 165"/>
                  <a:gd name="T35" fmla="*/ 13 h 138"/>
                  <a:gd name="T36" fmla="*/ 132 w 165"/>
                  <a:gd name="T37" fmla="*/ 13 h 138"/>
                  <a:gd name="T38" fmla="*/ 134 w 165"/>
                  <a:gd name="T39" fmla="*/ 18 h 138"/>
                  <a:gd name="T40" fmla="*/ 141 w 165"/>
                  <a:gd name="T41" fmla="*/ 24 h 138"/>
                  <a:gd name="T42" fmla="*/ 141 w 165"/>
                  <a:gd name="T43" fmla="*/ 25 h 138"/>
                  <a:gd name="T44" fmla="*/ 147 w 165"/>
                  <a:gd name="T45" fmla="*/ 36 h 138"/>
                  <a:gd name="T46" fmla="*/ 152 w 165"/>
                  <a:gd name="T47" fmla="*/ 45 h 138"/>
                  <a:gd name="T48" fmla="*/ 163 w 165"/>
                  <a:gd name="T49" fmla="*/ 54 h 138"/>
                  <a:gd name="T50" fmla="*/ 157 w 165"/>
                  <a:gd name="T51" fmla="*/ 58 h 138"/>
                  <a:gd name="T52" fmla="*/ 147 w 165"/>
                  <a:gd name="T53" fmla="*/ 58 h 138"/>
                  <a:gd name="T54" fmla="*/ 141 w 165"/>
                  <a:gd name="T55" fmla="*/ 63 h 138"/>
                  <a:gd name="T56" fmla="*/ 141 w 165"/>
                  <a:gd name="T57" fmla="*/ 79 h 138"/>
                  <a:gd name="T58" fmla="*/ 138 w 165"/>
                  <a:gd name="T59" fmla="*/ 84 h 138"/>
                  <a:gd name="T60" fmla="*/ 129 w 165"/>
                  <a:gd name="T61" fmla="*/ 90 h 138"/>
                  <a:gd name="T62" fmla="*/ 125 w 165"/>
                  <a:gd name="T63" fmla="*/ 93 h 138"/>
                  <a:gd name="T64" fmla="*/ 122 w 165"/>
                  <a:gd name="T65" fmla="*/ 100 h 138"/>
                  <a:gd name="T66" fmla="*/ 125 w 165"/>
                  <a:gd name="T67" fmla="*/ 106 h 138"/>
                  <a:gd name="T68" fmla="*/ 122 w 165"/>
                  <a:gd name="T69" fmla="*/ 115 h 138"/>
                  <a:gd name="T70" fmla="*/ 120 w 165"/>
                  <a:gd name="T71" fmla="*/ 122 h 138"/>
                  <a:gd name="T72" fmla="*/ 113 w 165"/>
                  <a:gd name="T73" fmla="*/ 129 h 138"/>
                  <a:gd name="T74" fmla="*/ 93 w 165"/>
                  <a:gd name="T75" fmla="*/ 136 h 138"/>
                  <a:gd name="T76" fmla="*/ 88 w 165"/>
                  <a:gd name="T77" fmla="*/ 127 h 138"/>
                  <a:gd name="T78" fmla="*/ 84 w 165"/>
                  <a:gd name="T79" fmla="*/ 122 h 138"/>
                  <a:gd name="T80" fmla="*/ 77 w 165"/>
                  <a:gd name="T81" fmla="*/ 125 h 138"/>
                  <a:gd name="T82" fmla="*/ 72 w 165"/>
                  <a:gd name="T83" fmla="*/ 122 h 138"/>
                  <a:gd name="T84" fmla="*/ 65 w 165"/>
                  <a:gd name="T85" fmla="*/ 122 h 138"/>
                  <a:gd name="T86" fmla="*/ 54 w 165"/>
                  <a:gd name="T87" fmla="*/ 125 h 138"/>
                  <a:gd name="T88" fmla="*/ 47 w 165"/>
                  <a:gd name="T89" fmla="*/ 122 h 138"/>
                  <a:gd name="T90" fmla="*/ 36 w 165"/>
                  <a:gd name="T91" fmla="*/ 120 h 138"/>
                  <a:gd name="T92" fmla="*/ 32 w 165"/>
                  <a:gd name="T93" fmla="*/ 118 h 138"/>
                  <a:gd name="T94" fmla="*/ 24 w 165"/>
                  <a:gd name="T95" fmla="*/ 120 h 138"/>
                  <a:gd name="T96" fmla="*/ 20 w 165"/>
                  <a:gd name="T97" fmla="*/ 104 h 138"/>
                  <a:gd name="T98" fmla="*/ 20 w 165"/>
                  <a:gd name="T99" fmla="*/ 97 h 138"/>
                  <a:gd name="T100" fmla="*/ 16 w 165"/>
                  <a:gd name="T101" fmla="*/ 88 h 138"/>
                  <a:gd name="T102" fmla="*/ 11 w 165"/>
                  <a:gd name="T103" fmla="*/ 86 h 138"/>
                  <a:gd name="T104" fmla="*/ 9 w 165"/>
                  <a:gd name="T105" fmla="*/ 83 h 138"/>
                  <a:gd name="T106" fmla="*/ 6 w 165"/>
                  <a:gd name="T107" fmla="*/ 81 h 138"/>
                  <a:gd name="T108" fmla="*/ 6 w 165"/>
                  <a:gd name="T109" fmla="*/ 72 h 138"/>
                  <a:gd name="T110" fmla="*/ 0 w 165"/>
                  <a:gd name="T111" fmla="*/ 6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5" h="138">
                    <a:moveTo>
                      <a:pt x="0" y="58"/>
                    </a:moveTo>
                    <a:lnTo>
                      <a:pt x="0" y="58"/>
                    </a:lnTo>
                    <a:lnTo>
                      <a:pt x="2" y="56"/>
                    </a:lnTo>
                    <a:lnTo>
                      <a:pt x="2" y="54"/>
                    </a:lnTo>
                    <a:lnTo>
                      <a:pt x="2" y="54"/>
                    </a:lnTo>
                    <a:lnTo>
                      <a:pt x="4" y="52"/>
                    </a:lnTo>
                    <a:lnTo>
                      <a:pt x="6" y="49"/>
                    </a:lnTo>
                    <a:lnTo>
                      <a:pt x="6" y="49"/>
                    </a:lnTo>
                    <a:lnTo>
                      <a:pt x="4" y="52"/>
                    </a:lnTo>
                    <a:lnTo>
                      <a:pt x="4" y="52"/>
                    </a:lnTo>
                    <a:lnTo>
                      <a:pt x="4" y="50"/>
                    </a:lnTo>
                    <a:lnTo>
                      <a:pt x="4" y="49"/>
                    </a:lnTo>
                    <a:lnTo>
                      <a:pt x="6" y="45"/>
                    </a:lnTo>
                    <a:lnTo>
                      <a:pt x="6" y="45"/>
                    </a:lnTo>
                    <a:lnTo>
                      <a:pt x="7" y="41"/>
                    </a:lnTo>
                    <a:lnTo>
                      <a:pt x="7" y="41"/>
                    </a:lnTo>
                    <a:lnTo>
                      <a:pt x="11" y="40"/>
                    </a:lnTo>
                    <a:lnTo>
                      <a:pt x="13" y="38"/>
                    </a:lnTo>
                    <a:lnTo>
                      <a:pt x="13" y="38"/>
                    </a:lnTo>
                    <a:lnTo>
                      <a:pt x="11" y="41"/>
                    </a:lnTo>
                    <a:lnTo>
                      <a:pt x="11" y="41"/>
                    </a:lnTo>
                    <a:lnTo>
                      <a:pt x="13" y="43"/>
                    </a:lnTo>
                    <a:lnTo>
                      <a:pt x="13" y="43"/>
                    </a:lnTo>
                    <a:lnTo>
                      <a:pt x="15" y="47"/>
                    </a:lnTo>
                    <a:lnTo>
                      <a:pt x="15" y="47"/>
                    </a:lnTo>
                    <a:lnTo>
                      <a:pt x="20" y="50"/>
                    </a:lnTo>
                    <a:lnTo>
                      <a:pt x="24" y="54"/>
                    </a:lnTo>
                    <a:lnTo>
                      <a:pt x="24" y="54"/>
                    </a:lnTo>
                    <a:lnTo>
                      <a:pt x="27" y="58"/>
                    </a:lnTo>
                    <a:lnTo>
                      <a:pt x="27" y="58"/>
                    </a:lnTo>
                    <a:lnTo>
                      <a:pt x="31" y="58"/>
                    </a:lnTo>
                    <a:lnTo>
                      <a:pt x="36" y="56"/>
                    </a:lnTo>
                    <a:lnTo>
                      <a:pt x="36" y="56"/>
                    </a:lnTo>
                    <a:lnTo>
                      <a:pt x="41" y="54"/>
                    </a:lnTo>
                    <a:lnTo>
                      <a:pt x="47" y="56"/>
                    </a:lnTo>
                    <a:lnTo>
                      <a:pt x="47" y="56"/>
                    </a:lnTo>
                    <a:lnTo>
                      <a:pt x="52" y="54"/>
                    </a:lnTo>
                    <a:lnTo>
                      <a:pt x="52" y="54"/>
                    </a:lnTo>
                    <a:lnTo>
                      <a:pt x="54" y="50"/>
                    </a:lnTo>
                    <a:lnTo>
                      <a:pt x="56" y="49"/>
                    </a:lnTo>
                    <a:lnTo>
                      <a:pt x="56" y="49"/>
                    </a:lnTo>
                    <a:lnTo>
                      <a:pt x="61" y="45"/>
                    </a:lnTo>
                    <a:lnTo>
                      <a:pt x="65" y="45"/>
                    </a:lnTo>
                    <a:lnTo>
                      <a:pt x="68" y="47"/>
                    </a:lnTo>
                    <a:lnTo>
                      <a:pt x="68" y="47"/>
                    </a:lnTo>
                    <a:lnTo>
                      <a:pt x="70" y="49"/>
                    </a:lnTo>
                    <a:lnTo>
                      <a:pt x="74" y="50"/>
                    </a:lnTo>
                    <a:lnTo>
                      <a:pt x="77" y="50"/>
                    </a:lnTo>
                    <a:lnTo>
                      <a:pt x="79" y="50"/>
                    </a:lnTo>
                    <a:lnTo>
                      <a:pt x="79" y="50"/>
                    </a:lnTo>
                    <a:lnTo>
                      <a:pt x="82" y="49"/>
                    </a:lnTo>
                    <a:lnTo>
                      <a:pt x="86" y="49"/>
                    </a:lnTo>
                    <a:lnTo>
                      <a:pt x="86" y="49"/>
                    </a:lnTo>
                    <a:lnTo>
                      <a:pt x="88" y="49"/>
                    </a:lnTo>
                    <a:lnTo>
                      <a:pt x="90" y="47"/>
                    </a:lnTo>
                    <a:lnTo>
                      <a:pt x="90" y="47"/>
                    </a:lnTo>
                    <a:lnTo>
                      <a:pt x="93" y="49"/>
                    </a:lnTo>
                    <a:lnTo>
                      <a:pt x="93" y="49"/>
                    </a:lnTo>
                    <a:lnTo>
                      <a:pt x="93" y="45"/>
                    </a:lnTo>
                    <a:lnTo>
                      <a:pt x="95" y="43"/>
                    </a:lnTo>
                    <a:lnTo>
                      <a:pt x="97" y="40"/>
                    </a:lnTo>
                    <a:lnTo>
                      <a:pt x="97" y="38"/>
                    </a:lnTo>
                    <a:lnTo>
                      <a:pt x="97" y="38"/>
                    </a:lnTo>
                    <a:lnTo>
                      <a:pt x="97" y="36"/>
                    </a:lnTo>
                    <a:lnTo>
                      <a:pt x="99" y="34"/>
                    </a:lnTo>
                    <a:lnTo>
                      <a:pt x="102" y="31"/>
                    </a:lnTo>
                    <a:lnTo>
                      <a:pt x="102" y="31"/>
                    </a:lnTo>
                    <a:lnTo>
                      <a:pt x="100" y="25"/>
                    </a:lnTo>
                    <a:lnTo>
                      <a:pt x="100" y="24"/>
                    </a:lnTo>
                    <a:lnTo>
                      <a:pt x="104" y="24"/>
                    </a:lnTo>
                    <a:lnTo>
                      <a:pt x="104" y="24"/>
                    </a:lnTo>
                    <a:lnTo>
                      <a:pt x="106" y="22"/>
                    </a:lnTo>
                    <a:lnTo>
                      <a:pt x="106" y="20"/>
                    </a:lnTo>
                    <a:lnTo>
                      <a:pt x="106" y="18"/>
                    </a:lnTo>
                    <a:lnTo>
                      <a:pt x="107" y="16"/>
                    </a:lnTo>
                    <a:lnTo>
                      <a:pt x="107" y="16"/>
                    </a:lnTo>
                    <a:lnTo>
                      <a:pt x="107" y="13"/>
                    </a:lnTo>
                    <a:lnTo>
                      <a:pt x="107" y="9"/>
                    </a:lnTo>
                    <a:lnTo>
                      <a:pt x="107" y="9"/>
                    </a:lnTo>
                    <a:lnTo>
                      <a:pt x="109" y="4"/>
                    </a:lnTo>
                    <a:lnTo>
                      <a:pt x="109" y="4"/>
                    </a:lnTo>
                    <a:lnTo>
                      <a:pt x="111" y="0"/>
                    </a:lnTo>
                    <a:lnTo>
                      <a:pt x="111" y="0"/>
                    </a:lnTo>
                    <a:lnTo>
                      <a:pt x="115" y="2"/>
                    </a:lnTo>
                    <a:lnTo>
                      <a:pt x="118" y="0"/>
                    </a:lnTo>
                    <a:lnTo>
                      <a:pt x="118" y="0"/>
                    </a:lnTo>
                    <a:lnTo>
                      <a:pt x="120" y="2"/>
                    </a:lnTo>
                    <a:lnTo>
                      <a:pt x="122" y="2"/>
                    </a:lnTo>
                    <a:lnTo>
                      <a:pt x="122" y="0"/>
                    </a:lnTo>
                    <a:lnTo>
                      <a:pt x="122" y="0"/>
                    </a:lnTo>
                    <a:lnTo>
                      <a:pt x="127" y="2"/>
                    </a:lnTo>
                    <a:lnTo>
                      <a:pt x="131" y="0"/>
                    </a:lnTo>
                    <a:lnTo>
                      <a:pt x="131" y="0"/>
                    </a:lnTo>
                    <a:lnTo>
                      <a:pt x="136" y="2"/>
                    </a:lnTo>
                    <a:lnTo>
                      <a:pt x="140" y="4"/>
                    </a:lnTo>
                    <a:lnTo>
                      <a:pt x="140" y="4"/>
                    </a:lnTo>
                    <a:lnTo>
                      <a:pt x="136" y="4"/>
                    </a:lnTo>
                    <a:lnTo>
                      <a:pt x="136" y="4"/>
                    </a:lnTo>
                    <a:lnTo>
                      <a:pt x="140" y="8"/>
                    </a:lnTo>
                    <a:lnTo>
                      <a:pt x="140" y="8"/>
                    </a:lnTo>
                    <a:lnTo>
                      <a:pt x="140" y="8"/>
                    </a:lnTo>
                    <a:lnTo>
                      <a:pt x="140" y="8"/>
                    </a:lnTo>
                    <a:lnTo>
                      <a:pt x="141" y="9"/>
                    </a:lnTo>
                    <a:lnTo>
                      <a:pt x="141" y="9"/>
                    </a:lnTo>
                    <a:lnTo>
                      <a:pt x="143" y="11"/>
                    </a:lnTo>
                    <a:lnTo>
                      <a:pt x="143" y="11"/>
                    </a:lnTo>
                    <a:lnTo>
                      <a:pt x="141" y="13"/>
                    </a:lnTo>
                    <a:lnTo>
                      <a:pt x="140" y="13"/>
                    </a:lnTo>
                    <a:lnTo>
                      <a:pt x="138" y="9"/>
                    </a:lnTo>
                    <a:lnTo>
                      <a:pt x="138" y="9"/>
                    </a:lnTo>
                    <a:lnTo>
                      <a:pt x="138" y="13"/>
                    </a:lnTo>
                    <a:lnTo>
                      <a:pt x="138" y="13"/>
                    </a:lnTo>
                    <a:lnTo>
                      <a:pt x="136" y="13"/>
                    </a:lnTo>
                    <a:lnTo>
                      <a:pt x="132" y="13"/>
                    </a:lnTo>
                    <a:lnTo>
                      <a:pt x="132" y="13"/>
                    </a:lnTo>
                    <a:lnTo>
                      <a:pt x="134" y="15"/>
                    </a:lnTo>
                    <a:lnTo>
                      <a:pt x="138" y="16"/>
                    </a:lnTo>
                    <a:lnTo>
                      <a:pt x="138" y="16"/>
                    </a:lnTo>
                    <a:lnTo>
                      <a:pt x="136" y="18"/>
                    </a:lnTo>
                    <a:lnTo>
                      <a:pt x="134" y="18"/>
                    </a:lnTo>
                    <a:lnTo>
                      <a:pt x="134" y="18"/>
                    </a:lnTo>
                    <a:lnTo>
                      <a:pt x="138" y="20"/>
                    </a:lnTo>
                    <a:lnTo>
                      <a:pt x="141" y="22"/>
                    </a:lnTo>
                    <a:lnTo>
                      <a:pt x="141" y="22"/>
                    </a:lnTo>
                    <a:lnTo>
                      <a:pt x="140" y="22"/>
                    </a:lnTo>
                    <a:lnTo>
                      <a:pt x="141" y="24"/>
                    </a:lnTo>
                    <a:lnTo>
                      <a:pt x="140" y="24"/>
                    </a:lnTo>
                    <a:lnTo>
                      <a:pt x="140" y="24"/>
                    </a:lnTo>
                    <a:lnTo>
                      <a:pt x="143" y="25"/>
                    </a:lnTo>
                    <a:lnTo>
                      <a:pt x="143" y="25"/>
                    </a:lnTo>
                    <a:lnTo>
                      <a:pt x="141" y="25"/>
                    </a:lnTo>
                    <a:lnTo>
                      <a:pt x="141" y="25"/>
                    </a:lnTo>
                    <a:lnTo>
                      <a:pt x="145" y="29"/>
                    </a:lnTo>
                    <a:lnTo>
                      <a:pt x="145" y="29"/>
                    </a:lnTo>
                    <a:lnTo>
                      <a:pt x="149" y="33"/>
                    </a:lnTo>
                    <a:lnTo>
                      <a:pt x="149" y="33"/>
                    </a:lnTo>
                    <a:lnTo>
                      <a:pt x="149" y="34"/>
                    </a:lnTo>
                    <a:lnTo>
                      <a:pt x="147" y="36"/>
                    </a:lnTo>
                    <a:lnTo>
                      <a:pt x="143" y="38"/>
                    </a:lnTo>
                    <a:lnTo>
                      <a:pt x="143" y="38"/>
                    </a:lnTo>
                    <a:lnTo>
                      <a:pt x="145" y="40"/>
                    </a:lnTo>
                    <a:lnTo>
                      <a:pt x="147" y="41"/>
                    </a:lnTo>
                    <a:lnTo>
                      <a:pt x="147" y="41"/>
                    </a:lnTo>
                    <a:lnTo>
                      <a:pt x="152" y="45"/>
                    </a:lnTo>
                    <a:lnTo>
                      <a:pt x="152" y="45"/>
                    </a:lnTo>
                    <a:lnTo>
                      <a:pt x="156" y="49"/>
                    </a:lnTo>
                    <a:lnTo>
                      <a:pt x="156" y="49"/>
                    </a:lnTo>
                    <a:lnTo>
                      <a:pt x="159" y="50"/>
                    </a:lnTo>
                    <a:lnTo>
                      <a:pt x="163" y="54"/>
                    </a:lnTo>
                    <a:lnTo>
                      <a:pt x="163" y="54"/>
                    </a:lnTo>
                    <a:lnTo>
                      <a:pt x="165" y="54"/>
                    </a:lnTo>
                    <a:lnTo>
                      <a:pt x="163" y="56"/>
                    </a:lnTo>
                    <a:lnTo>
                      <a:pt x="163" y="56"/>
                    </a:lnTo>
                    <a:lnTo>
                      <a:pt x="161" y="58"/>
                    </a:lnTo>
                    <a:lnTo>
                      <a:pt x="157" y="58"/>
                    </a:lnTo>
                    <a:lnTo>
                      <a:pt x="157" y="58"/>
                    </a:lnTo>
                    <a:lnTo>
                      <a:pt x="154" y="58"/>
                    </a:lnTo>
                    <a:lnTo>
                      <a:pt x="152" y="58"/>
                    </a:lnTo>
                    <a:lnTo>
                      <a:pt x="147" y="54"/>
                    </a:lnTo>
                    <a:lnTo>
                      <a:pt x="147" y="54"/>
                    </a:lnTo>
                    <a:lnTo>
                      <a:pt x="149" y="56"/>
                    </a:lnTo>
                    <a:lnTo>
                      <a:pt x="147" y="58"/>
                    </a:lnTo>
                    <a:lnTo>
                      <a:pt x="147" y="58"/>
                    </a:lnTo>
                    <a:lnTo>
                      <a:pt x="147" y="58"/>
                    </a:lnTo>
                    <a:lnTo>
                      <a:pt x="145" y="59"/>
                    </a:lnTo>
                    <a:lnTo>
                      <a:pt x="143" y="59"/>
                    </a:lnTo>
                    <a:lnTo>
                      <a:pt x="141" y="63"/>
                    </a:lnTo>
                    <a:lnTo>
                      <a:pt x="141" y="63"/>
                    </a:lnTo>
                    <a:lnTo>
                      <a:pt x="140" y="72"/>
                    </a:lnTo>
                    <a:lnTo>
                      <a:pt x="140" y="79"/>
                    </a:lnTo>
                    <a:lnTo>
                      <a:pt x="140" y="79"/>
                    </a:lnTo>
                    <a:lnTo>
                      <a:pt x="141" y="77"/>
                    </a:lnTo>
                    <a:lnTo>
                      <a:pt x="141" y="77"/>
                    </a:lnTo>
                    <a:lnTo>
                      <a:pt x="141" y="79"/>
                    </a:lnTo>
                    <a:lnTo>
                      <a:pt x="141" y="81"/>
                    </a:lnTo>
                    <a:lnTo>
                      <a:pt x="141" y="81"/>
                    </a:lnTo>
                    <a:lnTo>
                      <a:pt x="140" y="83"/>
                    </a:lnTo>
                    <a:lnTo>
                      <a:pt x="141" y="84"/>
                    </a:lnTo>
                    <a:lnTo>
                      <a:pt x="141" y="84"/>
                    </a:lnTo>
                    <a:lnTo>
                      <a:pt x="138" y="84"/>
                    </a:lnTo>
                    <a:lnTo>
                      <a:pt x="138" y="84"/>
                    </a:lnTo>
                    <a:lnTo>
                      <a:pt x="136" y="84"/>
                    </a:lnTo>
                    <a:lnTo>
                      <a:pt x="136" y="84"/>
                    </a:lnTo>
                    <a:lnTo>
                      <a:pt x="134" y="86"/>
                    </a:lnTo>
                    <a:lnTo>
                      <a:pt x="132" y="90"/>
                    </a:lnTo>
                    <a:lnTo>
                      <a:pt x="129" y="90"/>
                    </a:lnTo>
                    <a:lnTo>
                      <a:pt x="127" y="88"/>
                    </a:lnTo>
                    <a:lnTo>
                      <a:pt x="127" y="88"/>
                    </a:lnTo>
                    <a:lnTo>
                      <a:pt x="127" y="91"/>
                    </a:lnTo>
                    <a:lnTo>
                      <a:pt x="127" y="93"/>
                    </a:lnTo>
                    <a:lnTo>
                      <a:pt x="125" y="93"/>
                    </a:lnTo>
                    <a:lnTo>
                      <a:pt x="125" y="93"/>
                    </a:lnTo>
                    <a:lnTo>
                      <a:pt x="125" y="95"/>
                    </a:lnTo>
                    <a:lnTo>
                      <a:pt x="124" y="97"/>
                    </a:lnTo>
                    <a:lnTo>
                      <a:pt x="124" y="97"/>
                    </a:lnTo>
                    <a:lnTo>
                      <a:pt x="120" y="100"/>
                    </a:lnTo>
                    <a:lnTo>
                      <a:pt x="120" y="100"/>
                    </a:lnTo>
                    <a:lnTo>
                      <a:pt x="122" y="100"/>
                    </a:lnTo>
                    <a:lnTo>
                      <a:pt x="122" y="102"/>
                    </a:lnTo>
                    <a:lnTo>
                      <a:pt x="120" y="106"/>
                    </a:lnTo>
                    <a:lnTo>
                      <a:pt x="120" y="106"/>
                    </a:lnTo>
                    <a:lnTo>
                      <a:pt x="124" y="106"/>
                    </a:lnTo>
                    <a:lnTo>
                      <a:pt x="125" y="106"/>
                    </a:lnTo>
                    <a:lnTo>
                      <a:pt x="125" y="106"/>
                    </a:lnTo>
                    <a:lnTo>
                      <a:pt x="125" y="109"/>
                    </a:lnTo>
                    <a:lnTo>
                      <a:pt x="124" y="113"/>
                    </a:lnTo>
                    <a:lnTo>
                      <a:pt x="124" y="113"/>
                    </a:lnTo>
                    <a:lnTo>
                      <a:pt x="120" y="111"/>
                    </a:lnTo>
                    <a:lnTo>
                      <a:pt x="120" y="111"/>
                    </a:lnTo>
                    <a:lnTo>
                      <a:pt x="122" y="115"/>
                    </a:lnTo>
                    <a:lnTo>
                      <a:pt x="120" y="116"/>
                    </a:lnTo>
                    <a:lnTo>
                      <a:pt x="120" y="118"/>
                    </a:lnTo>
                    <a:lnTo>
                      <a:pt x="118" y="118"/>
                    </a:lnTo>
                    <a:lnTo>
                      <a:pt x="118" y="118"/>
                    </a:lnTo>
                    <a:lnTo>
                      <a:pt x="118" y="120"/>
                    </a:lnTo>
                    <a:lnTo>
                      <a:pt x="120" y="122"/>
                    </a:lnTo>
                    <a:lnTo>
                      <a:pt x="120" y="122"/>
                    </a:lnTo>
                    <a:lnTo>
                      <a:pt x="116" y="124"/>
                    </a:lnTo>
                    <a:lnTo>
                      <a:pt x="116" y="125"/>
                    </a:lnTo>
                    <a:lnTo>
                      <a:pt x="115" y="127"/>
                    </a:lnTo>
                    <a:lnTo>
                      <a:pt x="113" y="129"/>
                    </a:lnTo>
                    <a:lnTo>
                      <a:pt x="113" y="129"/>
                    </a:lnTo>
                    <a:lnTo>
                      <a:pt x="102" y="134"/>
                    </a:lnTo>
                    <a:lnTo>
                      <a:pt x="102" y="134"/>
                    </a:lnTo>
                    <a:lnTo>
                      <a:pt x="97" y="136"/>
                    </a:lnTo>
                    <a:lnTo>
                      <a:pt x="93" y="138"/>
                    </a:lnTo>
                    <a:lnTo>
                      <a:pt x="93" y="136"/>
                    </a:lnTo>
                    <a:lnTo>
                      <a:pt x="93" y="136"/>
                    </a:lnTo>
                    <a:lnTo>
                      <a:pt x="93" y="133"/>
                    </a:lnTo>
                    <a:lnTo>
                      <a:pt x="93" y="133"/>
                    </a:lnTo>
                    <a:lnTo>
                      <a:pt x="91" y="129"/>
                    </a:lnTo>
                    <a:lnTo>
                      <a:pt x="91" y="125"/>
                    </a:lnTo>
                    <a:lnTo>
                      <a:pt x="91" y="125"/>
                    </a:lnTo>
                    <a:lnTo>
                      <a:pt x="88" y="127"/>
                    </a:lnTo>
                    <a:lnTo>
                      <a:pt x="88" y="125"/>
                    </a:lnTo>
                    <a:lnTo>
                      <a:pt x="88" y="124"/>
                    </a:lnTo>
                    <a:lnTo>
                      <a:pt x="88" y="124"/>
                    </a:lnTo>
                    <a:lnTo>
                      <a:pt x="86" y="125"/>
                    </a:lnTo>
                    <a:lnTo>
                      <a:pt x="84" y="125"/>
                    </a:lnTo>
                    <a:lnTo>
                      <a:pt x="84" y="122"/>
                    </a:lnTo>
                    <a:lnTo>
                      <a:pt x="84" y="122"/>
                    </a:lnTo>
                    <a:lnTo>
                      <a:pt x="81" y="127"/>
                    </a:lnTo>
                    <a:lnTo>
                      <a:pt x="79" y="127"/>
                    </a:lnTo>
                    <a:lnTo>
                      <a:pt x="77" y="125"/>
                    </a:lnTo>
                    <a:lnTo>
                      <a:pt x="77" y="125"/>
                    </a:lnTo>
                    <a:lnTo>
                      <a:pt x="77" y="125"/>
                    </a:lnTo>
                    <a:lnTo>
                      <a:pt x="77" y="124"/>
                    </a:lnTo>
                    <a:lnTo>
                      <a:pt x="77" y="124"/>
                    </a:lnTo>
                    <a:lnTo>
                      <a:pt x="75" y="122"/>
                    </a:lnTo>
                    <a:lnTo>
                      <a:pt x="74" y="124"/>
                    </a:lnTo>
                    <a:lnTo>
                      <a:pt x="72" y="124"/>
                    </a:lnTo>
                    <a:lnTo>
                      <a:pt x="72" y="122"/>
                    </a:lnTo>
                    <a:lnTo>
                      <a:pt x="72" y="122"/>
                    </a:lnTo>
                    <a:lnTo>
                      <a:pt x="72" y="124"/>
                    </a:lnTo>
                    <a:lnTo>
                      <a:pt x="70" y="122"/>
                    </a:lnTo>
                    <a:lnTo>
                      <a:pt x="68" y="118"/>
                    </a:lnTo>
                    <a:lnTo>
                      <a:pt x="68" y="118"/>
                    </a:lnTo>
                    <a:lnTo>
                      <a:pt x="65" y="122"/>
                    </a:lnTo>
                    <a:lnTo>
                      <a:pt x="61" y="125"/>
                    </a:lnTo>
                    <a:lnTo>
                      <a:pt x="61" y="125"/>
                    </a:lnTo>
                    <a:lnTo>
                      <a:pt x="59" y="125"/>
                    </a:lnTo>
                    <a:lnTo>
                      <a:pt x="57" y="125"/>
                    </a:lnTo>
                    <a:lnTo>
                      <a:pt x="56" y="125"/>
                    </a:lnTo>
                    <a:lnTo>
                      <a:pt x="54" y="125"/>
                    </a:lnTo>
                    <a:lnTo>
                      <a:pt x="54" y="125"/>
                    </a:lnTo>
                    <a:lnTo>
                      <a:pt x="50" y="127"/>
                    </a:lnTo>
                    <a:lnTo>
                      <a:pt x="49" y="129"/>
                    </a:lnTo>
                    <a:lnTo>
                      <a:pt x="49" y="127"/>
                    </a:lnTo>
                    <a:lnTo>
                      <a:pt x="49" y="127"/>
                    </a:lnTo>
                    <a:lnTo>
                      <a:pt x="47" y="122"/>
                    </a:lnTo>
                    <a:lnTo>
                      <a:pt x="47" y="116"/>
                    </a:lnTo>
                    <a:lnTo>
                      <a:pt x="47" y="116"/>
                    </a:lnTo>
                    <a:lnTo>
                      <a:pt x="43" y="118"/>
                    </a:lnTo>
                    <a:lnTo>
                      <a:pt x="40" y="118"/>
                    </a:lnTo>
                    <a:lnTo>
                      <a:pt x="40" y="118"/>
                    </a:lnTo>
                    <a:lnTo>
                      <a:pt x="36" y="120"/>
                    </a:lnTo>
                    <a:lnTo>
                      <a:pt x="36" y="120"/>
                    </a:lnTo>
                    <a:lnTo>
                      <a:pt x="34" y="120"/>
                    </a:lnTo>
                    <a:lnTo>
                      <a:pt x="31" y="120"/>
                    </a:lnTo>
                    <a:lnTo>
                      <a:pt x="31" y="120"/>
                    </a:lnTo>
                    <a:lnTo>
                      <a:pt x="32" y="118"/>
                    </a:lnTo>
                    <a:lnTo>
                      <a:pt x="32" y="118"/>
                    </a:lnTo>
                    <a:lnTo>
                      <a:pt x="31" y="120"/>
                    </a:lnTo>
                    <a:lnTo>
                      <a:pt x="29" y="120"/>
                    </a:lnTo>
                    <a:lnTo>
                      <a:pt x="29" y="120"/>
                    </a:lnTo>
                    <a:lnTo>
                      <a:pt x="29" y="118"/>
                    </a:lnTo>
                    <a:lnTo>
                      <a:pt x="27" y="118"/>
                    </a:lnTo>
                    <a:lnTo>
                      <a:pt x="24" y="120"/>
                    </a:lnTo>
                    <a:lnTo>
                      <a:pt x="24" y="120"/>
                    </a:lnTo>
                    <a:lnTo>
                      <a:pt x="22" y="118"/>
                    </a:lnTo>
                    <a:lnTo>
                      <a:pt x="22" y="115"/>
                    </a:lnTo>
                    <a:lnTo>
                      <a:pt x="22" y="111"/>
                    </a:lnTo>
                    <a:lnTo>
                      <a:pt x="22" y="111"/>
                    </a:lnTo>
                    <a:lnTo>
                      <a:pt x="20" y="104"/>
                    </a:lnTo>
                    <a:lnTo>
                      <a:pt x="20" y="104"/>
                    </a:lnTo>
                    <a:lnTo>
                      <a:pt x="18" y="102"/>
                    </a:lnTo>
                    <a:lnTo>
                      <a:pt x="18" y="100"/>
                    </a:lnTo>
                    <a:lnTo>
                      <a:pt x="18" y="100"/>
                    </a:lnTo>
                    <a:lnTo>
                      <a:pt x="20" y="97"/>
                    </a:lnTo>
                    <a:lnTo>
                      <a:pt x="20" y="97"/>
                    </a:lnTo>
                    <a:lnTo>
                      <a:pt x="20" y="95"/>
                    </a:lnTo>
                    <a:lnTo>
                      <a:pt x="20" y="93"/>
                    </a:lnTo>
                    <a:lnTo>
                      <a:pt x="20" y="93"/>
                    </a:lnTo>
                    <a:lnTo>
                      <a:pt x="18" y="90"/>
                    </a:lnTo>
                    <a:lnTo>
                      <a:pt x="18" y="90"/>
                    </a:lnTo>
                    <a:lnTo>
                      <a:pt x="16" y="88"/>
                    </a:lnTo>
                    <a:lnTo>
                      <a:pt x="15" y="86"/>
                    </a:lnTo>
                    <a:lnTo>
                      <a:pt x="15" y="86"/>
                    </a:lnTo>
                    <a:lnTo>
                      <a:pt x="13" y="88"/>
                    </a:lnTo>
                    <a:lnTo>
                      <a:pt x="13" y="88"/>
                    </a:lnTo>
                    <a:lnTo>
                      <a:pt x="13" y="86"/>
                    </a:lnTo>
                    <a:lnTo>
                      <a:pt x="11" y="86"/>
                    </a:lnTo>
                    <a:lnTo>
                      <a:pt x="7" y="86"/>
                    </a:lnTo>
                    <a:lnTo>
                      <a:pt x="7" y="86"/>
                    </a:lnTo>
                    <a:lnTo>
                      <a:pt x="7" y="84"/>
                    </a:lnTo>
                    <a:lnTo>
                      <a:pt x="7" y="83"/>
                    </a:lnTo>
                    <a:lnTo>
                      <a:pt x="7" y="83"/>
                    </a:lnTo>
                    <a:lnTo>
                      <a:pt x="9" y="83"/>
                    </a:lnTo>
                    <a:lnTo>
                      <a:pt x="11" y="83"/>
                    </a:lnTo>
                    <a:lnTo>
                      <a:pt x="11" y="83"/>
                    </a:lnTo>
                    <a:lnTo>
                      <a:pt x="7" y="81"/>
                    </a:lnTo>
                    <a:lnTo>
                      <a:pt x="7" y="81"/>
                    </a:lnTo>
                    <a:lnTo>
                      <a:pt x="6" y="81"/>
                    </a:lnTo>
                    <a:lnTo>
                      <a:pt x="6" y="81"/>
                    </a:lnTo>
                    <a:lnTo>
                      <a:pt x="4" y="77"/>
                    </a:lnTo>
                    <a:lnTo>
                      <a:pt x="6" y="75"/>
                    </a:lnTo>
                    <a:lnTo>
                      <a:pt x="6" y="75"/>
                    </a:lnTo>
                    <a:lnTo>
                      <a:pt x="6" y="75"/>
                    </a:lnTo>
                    <a:lnTo>
                      <a:pt x="6" y="74"/>
                    </a:lnTo>
                    <a:lnTo>
                      <a:pt x="6" y="72"/>
                    </a:lnTo>
                    <a:lnTo>
                      <a:pt x="7" y="72"/>
                    </a:lnTo>
                    <a:lnTo>
                      <a:pt x="7" y="72"/>
                    </a:lnTo>
                    <a:lnTo>
                      <a:pt x="4" y="68"/>
                    </a:lnTo>
                    <a:lnTo>
                      <a:pt x="2" y="65"/>
                    </a:lnTo>
                    <a:lnTo>
                      <a:pt x="2" y="65"/>
                    </a:lnTo>
                    <a:lnTo>
                      <a:pt x="0" y="61"/>
                    </a:lnTo>
                    <a:lnTo>
                      <a:pt x="0" y="5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66" name="Freeform 2718"/>
              <p:cNvSpPr>
                <a:spLocks/>
              </p:cNvSpPr>
              <p:nvPr/>
            </p:nvSpPr>
            <p:spPr bwMode="auto">
              <a:xfrm>
                <a:off x="4442" y="2641"/>
                <a:ext cx="165" cy="138"/>
              </a:xfrm>
              <a:custGeom>
                <a:avLst/>
                <a:gdLst>
                  <a:gd name="T0" fmla="*/ 4 w 165"/>
                  <a:gd name="T1" fmla="*/ 52 h 138"/>
                  <a:gd name="T2" fmla="*/ 4 w 165"/>
                  <a:gd name="T3" fmla="*/ 49 h 138"/>
                  <a:gd name="T4" fmla="*/ 13 w 165"/>
                  <a:gd name="T5" fmla="*/ 38 h 138"/>
                  <a:gd name="T6" fmla="*/ 15 w 165"/>
                  <a:gd name="T7" fmla="*/ 47 h 138"/>
                  <a:gd name="T8" fmla="*/ 27 w 165"/>
                  <a:gd name="T9" fmla="*/ 58 h 138"/>
                  <a:gd name="T10" fmla="*/ 47 w 165"/>
                  <a:gd name="T11" fmla="*/ 56 h 138"/>
                  <a:gd name="T12" fmla="*/ 61 w 165"/>
                  <a:gd name="T13" fmla="*/ 45 h 138"/>
                  <a:gd name="T14" fmla="*/ 77 w 165"/>
                  <a:gd name="T15" fmla="*/ 50 h 138"/>
                  <a:gd name="T16" fmla="*/ 88 w 165"/>
                  <a:gd name="T17" fmla="*/ 49 h 138"/>
                  <a:gd name="T18" fmla="*/ 95 w 165"/>
                  <a:gd name="T19" fmla="*/ 43 h 138"/>
                  <a:gd name="T20" fmla="*/ 102 w 165"/>
                  <a:gd name="T21" fmla="*/ 31 h 138"/>
                  <a:gd name="T22" fmla="*/ 106 w 165"/>
                  <a:gd name="T23" fmla="*/ 22 h 138"/>
                  <a:gd name="T24" fmla="*/ 107 w 165"/>
                  <a:gd name="T25" fmla="*/ 9 h 138"/>
                  <a:gd name="T26" fmla="*/ 115 w 165"/>
                  <a:gd name="T27" fmla="*/ 2 h 138"/>
                  <a:gd name="T28" fmla="*/ 122 w 165"/>
                  <a:gd name="T29" fmla="*/ 0 h 138"/>
                  <a:gd name="T30" fmla="*/ 140 w 165"/>
                  <a:gd name="T31" fmla="*/ 4 h 138"/>
                  <a:gd name="T32" fmla="*/ 140 w 165"/>
                  <a:gd name="T33" fmla="*/ 8 h 138"/>
                  <a:gd name="T34" fmla="*/ 140 w 165"/>
                  <a:gd name="T35" fmla="*/ 13 h 138"/>
                  <a:gd name="T36" fmla="*/ 132 w 165"/>
                  <a:gd name="T37" fmla="*/ 13 h 138"/>
                  <a:gd name="T38" fmla="*/ 134 w 165"/>
                  <a:gd name="T39" fmla="*/ 18 h 138"/>
                  <a:gd name="T40" fmla="*/ 141 w 165"/>
                  <a:gd name="T41" fmla="*/ 24 h 138"/>
                  <a:gd name="T42" fmla="*/ 141 w 165"/>
                  <a:gd name="T43" fmla="*/ 25 h 138"/>
                  <a:gd name="T44" fmla="*/ 147 w 165"/>
                  <a:gd name="T45" fmla="*/ 36 h 138"/>
                  <a:gd name="T46" fmla="*/ 152 w 165"/>
                  <a:gd name="T47" fmla="*/ 45 h 138"/>
                  <a:gd name="T48" fmla="*/ 163 w 165"/>
                  <a:gd name="T49" fmla="*/ 54 h 138"/>
                  <a:gd name="T50" fmla="*/ 157 w 165"/>
                  <a:gd name="T51" fmla="*/ 58 h 138"/>
                  <a:gd name="T52" fmla="*/ 147 w 165"/>
                  <a:gd name="T53" fmla="*/ 58 h 138"/>
                  <a:gd name="T54" fmla="*/ 141 w 165"/>
                  <a:gd name="T55" fmla="*/ 63 h 138"/>
                  <a:gd name="T56" fmla="*/ 141 w 165"/>
                  <a:gd name="T57" fmla="*/ 79 h 138"/>
                  <a:gd name="T58" fmla="*/ 138 w 165"/>
                  <a:gd name="T59" fmla="*/ 84 h 138"/>
                  <a:gd name="T60" fmla="*/ 129 w 165"/>
                  <a:gd name="T61" fmla="*/ 90 h 138"/>
                  <a:gd name="T62" fmla="*/ 125 w 165"/>
                  <a:gd name="T63" fmla="*/ 93 h 138"/>
                  <a:gd name="T64" fmla="*/ 122 w 165"/>
                  <a:gd name="T65" fmla="*/ 100 h 138"/>
                  <a:gd name="T66" fmla="*/ 125 w 165"/>
                  <a:gd name="T67" fmla="*/ 106 h 138"/>
                  <a:gd name="T68" fmla="*/ 122 w 165"/>
                  <a:gd name="T69" fmla="*/ 115 h 138"/>
                  <a:gd name="T70" fmla="*/ 120 w 165"/>
                  <a:gd name="T71" fmla="*/ 122 h 138"/>
                  <a:gd name="T72" fmla="*/ 113 w 165"/>
                  <a:gd name="T73" fmla="*/ 129 h 138"/>
                  <a:gd name="T74" fmla="*/ 93 w 165"/>
                  <a:gd name="T75" fmla="*/ 136 h 138"/>
                  <a:gd name="T76" fmla="*/ 88 w 165"/>
                  <a:gd name="T77" fmla="*/ 127 h 138"/>
                  <a:gd name="T78" fmla="*/ 84 w 165"/>
                  <a:gd name="T79" fmla="*/ 122 h 138"/>
                  <a:gd name="T80" fmla="*/ 77 w 165"/>
                  <a:gd name="T81" fmla="*/ 125 h 138"/>
                  <a:gd name="T82" fmla="*/ 72 w 165"/>
                  <a:gd name="T83" fmla="*/ 122 h 138"/>
                  <a:gd name="T84" fmla="*/ 65 w 165"/>
                  <a:gd name="T85" fmla="*/ 122 h 138"/>
                  <a:gd name="T86" fmla="*/ 54 w 165"/>
                  <a:gd name="T87" fmla="*/ 125 h 138"/>
                  <a:gd name="T88" fmla="*/ 47 w 165"/>
                  <a:gd name="T89" fmla="*/ 122 h 138"/>
                  <a:gd name="T90" fmla="*/ 36 w 165"/>
                  <a:gd name="T91" fmla="*/ 120 h 138"/>
                  <a:gd name="T92" fmla="*/ 32 w 165"/>
                  <a:gd name="T93" fmla="*/ 118 h 138"/>
                  <a:gd name="T94" fmla="*/ 24 w 165"/>
                  <a:gd name="T95" fmla="*/ 120 h 138"/>
                  <a:gd name="T96" fmla="*/ 20 w 165"/>
                  <a:gd name="T97" fmla="*/ 104 h 138"/>
                  <a:gd name="T98" fmla="*/ 20 w 165"/>
                  <a:gd name="T99" fmla="*/ 97 h 138"/>
                  <a:gd name="T100" fmla="*/ 16 w 165"/>
                  <a:gd name="T101" fmla="*/ 88 h 138"/>
                  <a:gd name="T102" fmla="*/ 11 w 165"/>
                  <a:gd name="T103" fmla="*/ 86 h 138"/>
                  <a:gd name="T104" fmla="*/ 9 w 165"/>
                  <a:gd name="T105" fmla="*/ 83 h 138"/>
                  <a:gd name="T106" fmla="*/ 6 w 165"/>
                  <a:gd name="T107" fmla="*/ 81 h 138"/>
                  <a:gd name="T108" fmla="*/ 6 w 165"/>
                  <a:gd name="T109" fmla="*/ 72 h 138"/>
                  <a:gd name="T110" fmla="*/ 0 w 165"/>
                  <a:gd name="T111" fmla="*/ 6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5" h="138">
                    <a:moveTo>
                      <a:pt x="0" y="58"/>
                    </a:moveTo>
                    <a:lnTo>
                      <a:pt x="0" y="58"/>
                    </a:lnTo>
                    <a:lnTo>
                      <a:pt x="2" y="56"/>
                    </a:lnTo>
                    <a:lnTo>
                      <a:pt x="2" y="54"/>
                    </a:lnTo>
                    <a:lnTo>
                      <a:pt x="2" y="54"/>
                    </a:lnTo>
                    <a:lnTo>
                      <a:pt x="4" y="52"/>
                    </a:lnTo>
                    <a:lnTo>
                      <a:pt x="6" y="49"/>
                    </a:lnTo>
                    <a:lnTo>
                      <a:pt x="6" y="49"/>
                    </a:lnTo>
                    <a:lnTo>
                      <a:pt x="4" y="52"/>
                    </a:lnTo>
                    <a:lnTo>
                      <a:pt x="4" y="52"/>
                    </a:lnTo>
                    <a:lnTo>
                      <a:pt x="4" y="50"/>
                    </a:lnTo>
                    <a:lnTo>
                      <a:pt x="4" y="49"/>
                    </a:lnTo>
                    <a:lnTo>
                      <a:pt x="6" y="45"/>
                    </a:lnTo>
                    <a:lnTo>
                      <a:pt x="6" y="45"/>
                    </a:lnTo>
                    <a:lnTo>
                      <a:pt x="7" y="41"/>
                    </a:lnTo>
                    <a:lnTo>
                      <a:pt x="7" y="41"/>
                    </a:lnTo>
                    <a:lnTo>
                      <a:pt x="11" y="40"/>
                    </a:lnTo>
                    <a:lnTo>
                      <a:pt x="13" y="38"/>
                    </a:lnTo>
                    <a:lnTo>
                      <a:pt x="13" y="38"/>
                    </a:lnTo>
                    <a:lnTo>
                      <a:pt x="11" y="41"/>
                    </a:lnTo>
                    <a:lnTo>
                      <a:pt x="11" y="41"/>
                    </a:lnTo>
                    <a:lnTo>
                      <a:pt x="13" y="43"/>
                    </a:lnTo>
                    <a:lnTo>
                      <a:pt x="13" y="43"/>
                    </a:lnTo>
                    <a:lnTo>
                      <a:pt x="15" y="47"/>
                    </a:lnTo>
                    <a:lnTo>
                      <a:pt x="15" y="47"/>
                    </a:lnTo>
                    <a:lnTo>
                      <a:pt x="20" y="50"/>
                    </a:lnTo>
                    <a:lnTo>
                      <a:pt x="24" y="54"/>
                    </a:lnTo>
                    <a:lnTo>
                      <a:pt x="24" y="54"/>
                    </a:lnTo>
                    <a:lnTo>
                      <a:pt x="27" y="58"/>
                    </a:lnTo>
                    <a:lnTo>
                      <a:pt x="27" y="58"/>
                    </a:lnTo>
                    <a:lnTo>
                      <a:pt x="31" y="58"/>
                    </a:lnTo>
                    <a:lnTo>
                      <a:pt x="36" y="56"/>
                    </a:lnTo>
                    <a:lnTo>
                      <a:pt x="36" y="56"/>
                    </a:lnTo>
                    <a:lnTo>
                      <a:pt x="41" y="54"/>
                    </a:lnTo>
                    <a:lnTo>
                      <a:pt x="47" y="56"/>
                    </a:lnTo>
                    <a:lnTo>
                      <a:pt x="47" y="56"/>
                    </a:lnTo>
                    <a:lnTo>
                      <a:pt x="52" y="54"/>
                    </a:lnTo>
                    <a:lnTo>
                      <a:pt x="52" y="54"/>
                    </a:lnTo>
                    <a:lnTo>
                      <a:pt x="54" y="50"/>
                    </a:lnTo>
                    <a:lnTo>
                      <a:pt x="56" y="49"/>
                    </a:lnTo>
                    <a:lnTo>
                      <a:pt x="56" y="49"/>
                    </a:lnTo>
                    <a:lnTo>
                      <a:pt x="61" y="45"/>
                    </a:lnTo>
                    <a:lnTo>
                      <a:pt x="65" y="45"/>
                    </a:lnTo>
                    <a:lnTo>
                      <a:pt x="68" y="47"/>
                    </a:lnTo>
                    <a:lnTo>
                      <a:pt x="68" y="47"/>
                    </a:lnTo>
                    <a:lnTo>
                      <a:pt x="70" y="49"/>
                    </a:lnTo>
                    <a:lnTo>
                      <a:pt x="74" y="50"/>
                    </a:lnTo>
                    <a:lnTo>
                      <a:pt x="77" y="50"/>
                    </a:lnTo>
                    <a:lnTo>
                      <a:pt x="79" y="50"/>
                    </a:lnTo>
                    <a:lnTo>
                      <a:pt x="79" y="50"/>
                    </a:lnTo>
                    <a:lnTo>
                      <a:pt x="82" y="49"/>
                    </a:lnTo>
                    <a:lnTo>
                      <a:pt x="86" y="49"/>
                    </a:lnTo>
                    <a:lnTo>
                      <a:pt x="86" y="49"/>
                    </a:lnTo>
                    <a:lnTo>
                      <a:pt x="88" y="49"/>
                    </a:lnTo>
                    <a:lnTo>
                      <a:pt x="90" y="47"/>
                    </a:lnTo>
                    <a:lnTo>
                      <a:pt x="90" y="47"/>
                    </a:lnTo>
                    <a:lnTo>
                      <a:pt x="93" y="49"/>
                    </a:lnTo>
                    <a:lnTo>
                      <a:pt x="93" y="49"/>
                    </a:lnTo>
                    <a:lnTo>
                      <a:pt x="93" y="45"/>
                    </a:lnTo>
                    <a:lnTo>
                      <a:pt x="95" y="43"/>
                    </a:lnTo>
                    <a:lnTo>
                      <a:pt x="97" y="40"/>
                    </a:lnTo>
                    <a:lnTo>
                      <a:pt x="97" y="38"/>
                    </a:lnTo>
                    <a:lnTo>
                      <a:pt x="97" y="38"/>
                    </a:lnTo>
                    <a:lnTo>
                      <a:pt x="97" y="36"/>
                    </a:lnTo>
                    <a:lnTo>
                      <a:pt x="99" y="34"/>
                    </a:lnTo>
                    <a:lnTo>
                      <a:pt x="102" y="31"/>
                    </a:lnTo>
                    <a:lnTo>
                      <a:pt x="102" y="31"/>
                    </a:lnTo>
                    <a:lnTo>
                      <a:pt x="100" y="25"/>
                    </a:lnTo>
                    <a:lnTo>
                      <a:pt x="100" y="24"/>
                    </a:lnTo>
                    <a:lnTo>
                      <a:pt x="104" y="24"/>
                    </a:lnTo>
                    <a:lnTo>
                      <a:pt x="104" y="24"/>
                    </a:lnTo>
                    <a:lnTo>
                      <a:pt x="106" y="22"/>
                    </a:lnTo>
                    <a:lnTo>
                      <a:pt x="106" y="20"/>
                    </a:lnTo>
                    <a:lnTo>
                      <a:pt x="106" y="18"/>
                    </a:lnTo>
                    <a:lnTo>
                      <a:pt x="107" y="16"/>
                    </a:lnTo>
                    <a:lnTo>
                      <a:pt x="107" y="16"/>
                    </a:lnTo>
                    <a:lnTo>
                      <a:pt x="107" y="13"/>
                    </a:lnTo>
                    <a:lnTo>
                      <a:pt x="107" y="9"/>
                    </a:lnTo>
                    <a:lnTo>
                      <a:pt x="107" y="9"/>
                    </a:lnTo>
                    <a:lnTo>
                      <a:pt x="109" y="4"/>
                    </a:lnTo>
                    <a:lnTo>
                      <a:pt x="109" y="4"/>
                    </a:lnTo>
                    <a:lnTo>
                      <a:pt x="111" y="0"/>
                    </a:lnTo>
                    <a:lnTo>
                      <a:pt x="111" y="0"/>
                    </a:lnTo>
                    <a:lnTo>
                      <a:pt x="115" y="2"/>
                    </a:lnTo>
                    <a:lnTo>
                      <a:pt x="118" y="0"/>
                    </a:lnTo>
                    <a:lnTo>
                      <a:pt x="118" y="0"/>
                    </a:lnTo>
                    <a:lnTo>
                      <a:pt x="120" y="2"/>
                    </a:lnTo>
                    <a:lnTo>
                      <a:pt x="122" y="2"/>
                    </a:lnTo>
                    <a:lnTo>
                      <a:pt x="122" y="0"/>
                    </a:lnTo>
                    <a:lnTo>
                      <a:pt x="122" y="0"/>
                    </a:lnTo>
                    <a:lnTo>
                      <a:pt x="127" y="2"/>
                    </a:lnTo>
                    <a:lnTo>
                      <a:pt x="131" y="0"/>
                    </a:lnTo>
                    <a:lnTo>
                      <a:pt x="131" y="0"/>
                    </a:lnTo>
                    <a:lnTo>
                      <a:pt x="136" y="2"/>
                    </a:lnTo>
                    <a:lnTo>
                      <a:pt x="140" y="4"/>
                    </a:lnTo>
                    <a:lnTo>
                      <a:pt x="140" y="4"/>
                    </a:lnTo>
                    <a:lnTo>
                      <a:pt x="136" y="4"/>
                    </a:lnTo>
                    <a:lnTo>
                      <a:pt x="136" y="4"/>
                    </a:lnTo>
                    <a:lnTo>
                      <a:pt x="140" y="8"/>
                    </a:lnTo>
                    <a:lnTo>
                      <a:pt x="140" y="8"/>
                    </a:lnTo>
                    <a:lnTo>
                      <a:pt x="140" y="8"/>
                    </a:lnTo>
                    <a:lnTo>
                      <a:pt x="140" y="8"/>
                    </a:lnTo>
                    <a:lnTo>
                      <a:pt x="141" y="9"/>
                    </a:lnTo>
                    <a:lnTo>
                      <a:pt x="141" y="9"/>
                    </a:lnTo>
                    <a:lnTo>
                      <a:pt x="143" y="11"/>
                    </a:lnTo>
                    <a:lnTo>
                      <a:pt x="143" y="11"/>
                    </a:lnTo>
                    <a:lnTo>
                      <a:pt x="141" y="13"/>
                    </a:lnTo>
                    <a:lnTo>
                      <a:pt x="140" y="13"/>
                    </a:lnTo>
                    <a:lnTo>
                      <a:pt x="138" y="9"/>
                    </a:lnTo>
                    <a:lnTo>
                      <a:pt x="138" y="9"/>
                    </a:lnTo>
                    <a:lnTo>
                      <a:pt x="138" y="13"/>
                    </a:lnTo>
                    <a:lnTo>
                      <a:pt x="138" y="13"/>
                    </a:lnTo>
                    <a:lnTo>
                      <a:pt x="136" y="13"/>
                    </a:lnTo>
                    <a:lnTo>
                      <a:pt x="132" y="13"/>
                    </a:lnTo>
                    <a:lnTo>
                      <a:pt x="132" y="13"/>
                    </a:lnTo>
                    <a:lnTo>
                      <a:pt x="134" y="15"/>
                    </a:lnTo>
                    <a:lnTo>
                      <a:pt x="138" y="16"/>
                    </a:lnTo>
                    <a:lnTo>
                      <a:pt x="138" y="16"/>
                    </a:lnTo>
                    <a:lnTo>
                      <a:pt x="136" y="18"/>
                    </a:lnTo>
                    <a:lnTo>
                      <a:pt x="134" y="18"/>
                    </a:lnTo>
                    <a:lnTo>
                      <a:pt x="134" y="18"/>
                    </a:lnTo>
                    <a:lnTo>
                      <a:pt x="138" y="20"/>
                    </a:lnTo>
                    <a:lnTo>
                      <a:pt x="141" y="22"/>
                    </a:lnTo>
                    <a:lnTo>
                      <a:pt x="141" y="22"/>
                    </a:lnTo>
                    <a:lnTo>
                      <a:pt x="140" y="22"/>
                    </a:lnTo>
                    <a:lnTo>
                      <a:pt x="141" y="24"/>
                    </a:lnTo>
                    <a:lnTo>
                      <a:pt x="140" y="24"/>
                    </a:lnTo>
                    <a:lnTo>
                      <a:pt x="140" y="24"/>
                    </a:lnTo>
                    <a:lnTo>
                      <a:pt x="143" y="25"/>
                    </a:lnTo>
                    <a:lnTo>
                      <a:pt x="143" y="25"/>
                    </a:lnTo>
                    <a:lnTo>
                      <a:pt x="141" y="25"/>
                    </a:lnTo>
                    <a:lnTo>
                      <a:pt x="141" y="25"/>
                    </a:lnTo>
                    <a:lnTo>
                      <a:pt x="145" y="29"/>
                    </a:lnTo>
                    <a:lnTo>
                      <a:pt x="145" y="29"/>
                    </a:lnTo>
                    <a:lnTo>
                      <a:pt x="149" y="33"/>
                    </a:lnTo>
                    <a:lnTo>
                      <a:pt x="149" y="33"/>
                    </a:lnTo>
                    <a:lnTo>
                      <a:pt x="149" y="34"/>
                    </a:lnTo>
                    <a:lnTo>
                      <a:pt x="147" y="36"/>
                    </a:lnTo>
                    <a:lnTo>
                      <a:pt x="143" y="38"/>
                    </a:lnTo>
                    <a:lnTo>
                      <a:pt x="143" y="38"/>
                    </a:lnTo>
                    <a:lnTo>
                      <a:pt x="145" y="40"/>
                    </a:lnTo>
                    <a:lnTo>
                      <a:pt x="147" y="41"/>
                    </a:lnTo>
                    <a:lnTo>
                      <a:pt x="147" y="41"/>
                    </a:lnTo>
                    <a:lnTo>
                      <a:pt x="152" y="45"/>
                    </a:lnTo>
                    <a:lnTo>
                      <a:pt x="152" y="45"/>
                    </a:lnTo>
                    <a:lnTo>
                      <a:pt x="156" y="49"/>
                    </a:lnTo>
                    <a:lnTo>
                      <a:pt x="156" y="49"/>
                    </a:lnTo>
                    <a:lnTo>
                      <a:pt x="159" y="50"/>
                    </a:lnTo>
                    <a:lnTo>
                      <a:pt x="163" y="54"/>
                    </a:lnTo>
                    <a:lnTo>
                      <a:pt x="163" y="54"/>
                    </a:lnTo>
                    <a:lnTo>
                      <a:pt x="165" y="54"/>
                    </a:lnTo>
                    <a:lnTo>
                      <a:pt x="163" y="56"/>
                    </a:lnTo>
                    <a:lnTo>
                      <a:pt x="163" y="56"/>
                    </a:lnTo>
                    <a:lnTo>
                      <a:pt x="161" y="58"/>
                    </a:lnTo>
                    <a:lnTo>
                      <a:pt x="157" y="58"/>
                    </a:lnTo>
                    <a:lnTo>
                      <a:pt x="157" y="58"/>
                    </a:lnTo>
                    <a:lnTo>
                      <a:pt x="154" y="58"/>
                    </a:lnTo>
                    <a:lnTo>
                      <a:pt x="152" y="58"/>
                    </a:lnTo>
                    <a:lnTo>
                      <a:pt x="147" y="54"/>
                    </a:lnTo>
                    <a:lnTo>
                      <a:pt x="147" y="54"/>
                    </a:lnTo>
                    <a:lnTo>
                      <a:pt x="149" y="56"/>
                    </a:lnTo>
                    <a:lnTo>
                      <a:pt x="147" y="58"/>
                    </a:lnTo>
                    <a:lnTo>
                      <a:pt x="147" y="58"/>
                    </a:lnTo>
                    <a:lnTo>
                      <a:pt x="147" y="58"/>
                    </a:lnTo>
                    <a:lnTo>
                      <a:pt x="145" y="59"/>
                    </a:lnTo>
                    <a:lnTo>
                      <a:pt x="143" y="59"/>
                    </a:lnTo>
                    <a:lnTo>
                      <a:pt x="141" y="63"/>
                    </a:lnTo>
                    <a:lnTo>
                      <a:pt x="141" y="63"/>
                    </a:lnTo>
                    <a:lnTo>
                      <a:pt x="140" y="72"/>
                    </a:lnTo>
                    <a:lnTo>
                      <a:pt x="140" y="79"/>
                    </a:lnTo>
                    <a:lnTo>
                      <a:pt x="140" y="79"/>
                    </a:lnTo>
                    <a:lnTo>
                      <a:pt x="141" y="77"/>
                    </a:lnTo>
                    <a:lnTo>
                      <a:pt x="141" y="77"/>
                    </a:lnTo>
                    <a:lnTo>
                      <a:pt x="141" y="79"/>
                    </a:lnTo>
                    <a:lnTo>
                      <a:pt x="141" y="81"/>
                    </a:lnTo>
                    <a:lnTo>
                      <a:pt x="141" y="81"/>
                    </a:lnTo>
                    <a:lnTo>
                      <a:pt x="140" y="83"/>
                    </a:lnTo>
                    <a:lnTo>
                      <a:pt x="141" y="84"/>
                    </a:lnTo>
                    <a:lnTo>
                      <a:pt x="141" y="84"/>
                    </a:lnTo>
                    <a:lnTo>
                      <a:pt x="138" y="84"/>
                    </a:lnTo>
                    <a:lnTo>
                      <a:pt x="138" y="84"/>
                    </a:lnTo>
                    <a:lnTo>
                      <a:pt x="136" y="84"/>
                    </a:lnTo>
                    <a:lnTo>
                      <a:pt x="136" y="84"/>
                    </a:lnTo>
                    <a:lnTo>
                      <a:pt x="134" y="86"/>
                    </a:lnTo>
                    <a:lnTo>
                      <a:pt x="132" y="90"/>
                    </a:lnTo>
                    <a:lnTo>
                      <a:pt x="129" y="90"/>
                    </a:lnTo>
                    <a:lnTo>
                      <a:pt x="127" y="88"/>
                    </a:lnTo>
                    <a:lnTo>
                      <a:pt x="127" y="88"/>
                    </a:lnTo>
                    <a:lnTo>
                      <a:pt x="127" y="91"/>
                    </a:lnTo>
                    <a:lnTo>
                      <a:pt x="127" y="93"/>
                    </a:lnTo>
                    <a:lnTo>
                      <a:pt x="125" y="93"/>
                    </a:lnTo>
                    <a:lnTo>
                      <a:pt x="125" y="93"/>
                    </a:lnTo>
                    <a:lnTo>
                      <a:pt x="125" y="95"/>
                    </a:lnTo>
                    <a:lnTo>
                      <a:pt x="124" y="97"/>
                    </a:lnTo>
                    <a:lnTo>
                      <a:pt x="124" y="97"/>
                    </a:lnTo>
                    <a:lnTo>
                      <a:pt x="120" y="100"/>
                    </a:lnTo>
                    <a:lnTo>
                      <a:pt x="120" y="100"/>
                    </a:lnTo>
                    <a:lnTo>
                      <a:pt x="122" y="100"/>
                    </a:lnTo>
                    <a:lnTo>
                      <a:pt x="122" y="102"/>
                    </a:lnTo>
                    <a:lnTo>
                      <a:pt x="120" y="106"/>
                    </a:lnTo>
                    <a:lnTo>
                      <a:pt x="120" y="106"/>
                    </a:lnTo>
                    <a:lnTo>
                      <a:pt x="124" y="106"/>
                    </a:lnTo>
                    <a:lnTo>
                      <a:pt x="125" y="106"/>
                    </a:lnTo>
                    <a:lnTo>
                      <a:pt x="125" y="106"/>
                    </a:lnTo>
                    <a:lnTo>
                      <a:pt x="125" y="109"/>
                    </a:lnTo>
                    <a:lnTo>
                      <a:pt x="124" y="113"/>
                    </a:lnTo>
                    <a:lnTo>
                      <a:pt x="124" y="113"/>
                    </a:lnTo>
                    <a:lnTo>
                      <a:pt x="120" y="111"/>
                    </a:lnTo>
                    <a:lnTo>
                      <a:pt x="120" y="111"/>
                    </a:lnTo>
                    <a:lnTo>
                      <a:pt x="122" y="115"/>
                    </a:lnTo>
                    <a:lnTo>
                      <a:pt x="120" y="116"/>
                    </a:lnTo>
                    <a:lnTo>
                      <a:pt x="120" y="118"/>
                    </a:lnTo>
                    <a:lnTo>
                      <a:pt x="118" y="118"/>
                    </a:lnTo>
                    <a:lnTo>
                      <a:pt x="118" y="118"/>
                    </a:lnTo>
                    <a:lnTo>
                      <a:pt x="118" y="120"/>
                    </a:lnTo>
                    <a:lnTo>
                      <a:pt x="120" y="122"/>
                    </a:lnTo>
                    <a:lnTo>
                      <a:pt x="120" y="122"/>
                    </a:lnTo>
                    <a:lnTo>
                      <a:pt x="116" y="124"/>
                    </a:lnTo>
                    <a:lnTo>
                      <a:pt x="116" y="125"/>
                    </a:lnTo>
                    <a:lnTo>
                      <a:pt x="115" y="127"/>
                    </a:lnTo>
                    <a:lnTo>
                      <a:pt x="113" y="129"/>
                    </a:lnTo>
                    <a:lnTo>
                      <a:pt x="113" y="129"/>
                    </a:lnTo>
                    <a:lnTo>
                      <a:pt x="102" y="134"/>
                    </a:lnTo>
                    <a:lnTo>
                      <a:pt x="102" y="134"/>
                    </a:lnTo>
                    <a:lnTo>
                      <a:pt x="97" y="136"/>
                    </a:lnTo>
                    <a:lnTo>
                      <a:pt x="93" y="138"/>
                    </a:lnTo>
                    <a:lnTo>
                      <a:pt x="93" y="136"/>
                    </a:lnTo>
                    <a:lnTo>
                      <a:pt x="93" y="136"/>
                    </a:lnTo>
                    <a:lnTo>
                      <a:pt x="93" y="133"/>
                    </a:lnTo>
                    <a:lnTo>
                      <a:pt x="93" y="133"/>
                    </a:lnTo>
                    <a:lnTo>
                      <a:pt x="91" y="129"/>
                    </a:lnTo>
                    <a:lnTo>
                      <a:pt x="91" y="125"/>
                    </a:lnTo>
                    <a:lnTo>
                      <a:pt x="91" y="125"/>
                    </a:lnTo>
                    <a:lnTo>
                      <a:pt x="88" y="127"/>
                    </a:lnTo>
                    <a:lnTo>
                      <a:pt x="88" y="125"/>
                    </a:lnTo>
                    <a:lnTo>
                      <a:pt x="88" y="124"/>
                    </a:lnTo>
                    <a:lnTo>
                      <a:pt x="88" y="124"/>
                    </a:lnTo>
                    <a:lnTo>
                      <a:pt x="86" y="125"/>
                    </a:lnTo>
                    <a:lnTo>
                      <a:pt x="84" y="125"/>
                    </a:lnTo>
                    <a:lnTo>
                      <a:pt x="84" y="122"/>
                    </a:lnTo>
                    <a:lnTo>
                      <a:pt x="84" y="122"/>
                    </a:lnTo>
                    <a:lnTo>
                      <a:pt x="81" y="127"/>
                    </a:lnTo>
                    <a:lnTo>
                      <a:pt x="79" y="127"/>
                    </a:lnTo>
                    <a:lnTo>
                      <a:pt x="77" y="125"/>
                    </a:lnTo>
                    <a:lnTo>
                      <a:pt x="77" y="125"/>
                    </a:lnTo>
                    <a:lnTo>
                      <a:pt x="77" y="125"/>
                    </a:lnTo>
                    <a:lnTo>
                      <a:pt x="77" y="124"/>
                    </a:lnTo>
                    <a:lnTo>
                      <a:pt x="77" y="124"/>
                    </a:lnTo>
                    <a:lnTo>
                      <a:pt x="75" y="122"/>
                    </a:lnTo>
                    <a:lnTo>
                      <a:pt x="74" y="124"/>
                    </a:lnTo>
                    <a:lnTo>
                      <a:pt x="72" y="124"/>
                    </a:lnTo>
                    <a:lnTo>
                      <a:pt x="72" y="122"/>
                    </a:lnTo>
                    <a:lnTo>
                      <a:pt x="72" y="122"/>
                    </a:lnTo>
                    <a:lnTo>
                      <a:pt x="72" y="124"/>
                    </a:lnTo>
                    <a:lnTo>
                      <a:pt x="70" y="122"/>
                    </a:lnTo>
                    <a:lnTo>
                      <a:pt x="68" y="118"/>
                    </a:lnTo>
                    <a:lnTo>
                      <a:pt x="68" y="118"/>
                    </a:lnTo>
                    <a:lnTo>
                      <a:pt x="65" y="122"/>
                    </a:lnTo>
                    <a:lnTo>
                      <a:pt x="61" y="125"/>
                    </a:lnTo>
                    <a:lnTo>
                      <a:pt x="61" y="125"/>
                    </a:lnTo>
                    <a:lnTo>
                      <a:pt x="59" y="125"/>
                    </a:lnTo>
                    <a:lnTo>
                      <a:pt x="57" y="125"/>
                    </a:lnTo>
                    <a:lnTo>
                      <a:pt x="56" y="125"/>
                    </a:lnTo>
                    <a:lnTo>
                      <a:pt x="54" y="125"/>
                    </a:lnTo>
                    <a:lnTo>
                      <a:pt x="54" y="125"/>
                    </a:lnTo>
                    <a:lnTo>
                      <a:pt x="50" y="127"/>
                    </a:lnTo>
                    <a:lnTo>
                      <a:pt x="49" y="129"/>
                    </a:lnTo>
                    <a:lnTo>
                      <a:pt x="49" y="127"/>
                    </a:lnTo>
                    <a:lnTo>
                      <a:pt x="49" y="127"/>
                    </a:lnTo>
                    <a:lnTo>
                      <a:pt x="47" y="122"/>
                    </a:lnTo>
                    <a:lnTo>
                      <a:pt x="47" y="116"/>
                    </a:lnTo>
                    <a:lnTo>
                      <a:pt x="47" y="116"/>
                    </a:lnTo>
                    <a:lnTo>
                      <a:pt x="43" y="118"/>
                    </a:lnTo>
                    <a:lnTo>
                      <a:pt x="40" y="118"/>
                    </a:lnTo>
                    <a:lnTo>
                      <a:pt x="40" y="118"/>
                    </a:lnTo>
                    <a:lnTo>
                      <a:pt x="36" y="120"/>
                    </a:lnTo>
                    <a:lnTo>
                      <a:pt x="36" y="120"/>
                    </a:lnTo>
                    <a:lnTo>
                      <a:pt x="34" y="120"/>
                    </a:lnTo>
                    <a:lnTo>
                      <a:pt x="31" y="120"/>
                    </a:lnTo>
                    <a:lnTo>
                      <a:pt x="31" y="120"/>
                    </a:lnTo>
                    <a:lnTo>
                      <a:pt x="32" y="118"/>
                    </a:lnTo>
                    <a:lnTo>
                      <a:pt x="32" y="118"/>
                    </a:lnTo>
                    <a:lnTo>
                      <a:pt x="31" y="120"/>
                    </a:lnTo>
                    <a:lnTo>
                      <a:pt x="29" y="120"/>
                    </a:lnTo>
                    <a:lnTo>
                      <a:pt x="29" y="120"/>
                    </a:lnTo>
                    <a:lnTo>
                      <a:pt x="29" y="118"/>
                    </a:lnTo>
                    <a:lnTo>
                      <a:pt x="27" y="118"/>
                    </a:lnTo>
                    <a:lnTo>
                      <a:pt x="24" y="120"/>
                    </a:lnTo>
                    <a:lnTo>
                      <a:pt x="24" y="120"/>
                    </a:lnTo>
                    <a:lnTo>
                      <a:pt x="22" y="118"/>
                    </a:lnTo>
                    <a:lnTo>
                      <a:pt x="22" y="115"/>
                    </a:lnTo>
                    <a:lnTo>
                      <a:pt x="22" y="111"/>
                    </a:lnTo>
                    <a:lnTo>
                      <a:pt x="22" y="111"/>
                    </a:lnTo>
                    <a:lnTo>
                      <a:pt x="20" y="104"/>
                    </a:lnTo>
                    <a:lnTo>
                      <a:pt x="20" y="104"/>
                    </a:lnTo>
                    <a:lnTo>
                      <a:pt x="18" y="102"/>
                    </a:lnTo>
                    <a:lnTo>
                      <a:pt x="18" y="100"/>
                    </a:lnTo>
                    <a:lnTo>
                      <a:pt x="18" y="100"/>
                    </a:lnTo>
                    <a:lnTo>
                      <a:pt x="20" y="97"/>
                    </a:lnTo>
                    <a:lnTo>
                      <a:pt x="20" y="97"/>
                    </a:lnTo>
                    <a:lnTo>
                      <a:pt x="20" y="95"/>
                    </a:lnTo>
                    <a:lnTo>
                      <a:pt x="20" y="93"/>
                    </a:lnTo>
                    <a:lnTo>
                      <a:pt x="20" y="93"/>
                    </a:lnTo>
                    <a:lnTo>
                      <a:pt x="18" y="90"/>
                    </a:lnTo>
                    <a:lnTo>
                      <a:pt x="18" y="90"/>
                    </a:lnTo>
                    <a:lnTo>
                      <a:pt x="16" y="88"/>
                    </a:lnTo>
                    <a:lnTo>
                      <a:pt x="15" y="86"/>
                    </a:lnTo>
                    <a:lnTo>
                      <a:pt x="15" y="86"/>
                    </a:lnTo>
                    <a:lnTo>
                      <a:pt x="13" y="88"/>
                    </a:lnTo>
                    <a:lnTo>
                      <a:pt x="13" y="88"/>
                    </a:lnTo>
                    <a:lnTo>
                      <a:pt x="13" y="86"/>
                    </a:lnTo>
                    <a:lnTo>
                      <a:pt x="11" y="86"/>
                    </a:lnTo>
                    <a:lnTo>
                      <a:pt x="7" y="86"/>
                    </a:lnTo>
                    <a:lnTo>
                      <a:pt x="7" y="86"/>
                    </a:lnTo>
                    <a:lnTo>
                      <a:pt x="7" y="84"/>
                    </a:lnTo>
                    <a:lnTo>
                      <a:pt x="7" y="83"/>
                    </a:lnTo>
                    <a:lnTo>
                      <a:pt x="7" y="83"/>
                    </a:lnTo>
                    <a:lnTo>
                      <a:pt x="9" y="83"/>
                    </a:lnTo>
                    <a:lnTo>
                      <a:pt x="11" y="83"/>
                    </a:lnTo>
                    <a:lnTo>
                      <a:pt x="11" y="83"/>
                    </a:lnTo>
                    <a:lnTo>
                      <a:pt x="7" y="81"/>
                    </a:lnTo>
                    <a:lnTo>
                      <a:pt x="7" y="81"/>
                    </a:lnTo>
                    <a:lnTo>
                      <a:pt x="6" y="81"/>
                    </a:lnTo>
                    <a:lnTo>
                      <a:pt x="6" y="81"/>
                    </a:lnTo>
                    <a:lnTo>
                      <a:pt x="4" y="77"/>
                    </a:lnTo>
                    <a:lnTo>
                      <a:pt x="6" y="75"/>
                    </a:lnTo>
                    <a:lnTo>
                      <a:pt x="6" y="75"/>
                    </a:lnTo>
                    <a:lnTo>
                      <a:pt x="6" y="75"/>
                    </a:lnTo>
                    <a:lnTo>
                      <a:pt x="6" y="74"/>
                    </a:lnTo>
                    <a:lnTo>
                      <a:pt x="6" y="72"/>
                    </a:lnTo>
                    <a:lnTo>
                      <a:pt x="7" y="72"/>
                    </a:lnTo>
                    <a:lnTo>
                      <a:pt x="7" y="72"/>
                    </a:lnTo>
                    <a:lnTo>
                      <a:pt x="4" y="68"/>
                    </a:lnTo>
                    <a:lnTo>
                      <a:pt x="2" y="65"/>
                    </a:lnTo>
                    <a:lnTo>
                      <a:pt x="2" y="65"/>
                    </a:lnTo>
                    <a:lnTo>
                      <a:pt x="0" y="61"/>
                    </a:lnTo>
                    <a:lnTo>
                      <a:pt x="0" y="5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67" name="Freeform 2719"/>
              <p:cNvSpPr>
                <a:spLocks/>
              </p:cNvSpPr>
              <p:nvPr/>
            </p:nvSpPr>
            <p:spPr bwMode="auto">
              <a:xfrm>
                <a:off x="4799" y="2716"/>
                <a:ext cx="161" cy="141"/>
              </a:xfrm>
              <a:custGeom>
                <a:avLst/>
                <a:gdLst>
                  <a:gd name="T0" fmla="*/ 11 w 161"/>
                  <a:gd name="T1" fmla="*/ 6 h 141"/>
                  <a:gd name="T2" fmla="*/ 29 w 161"/>
                  <a:gd name="T3" fmla="*/ 0 h 141"/>
                  <a:gd name="T4" fmla="*/ 49 w 161"/>
                  <a:gd name="T5" fmla="*/ 8 h 141"/>
                  <a:gd name="T6" fmla="*/ 52 w 161"/>
                  <a:gd name="T7" fmla="*/ 15 h 141"/>
                  <a:gd name="T8" fmla="*/ 50 w 161"/>
                  <a:gd name="T9" fmla="*/ 27 h 141"/>
                  <a:gd name="T10" fmla="*/ 58 w 161"/>
                  <a:gd name="T11" fmla="*/ 34 h 141"/>
                  <a:gd name="T12" fmla="*/ 59 w 161"/>
                  <a:gd name="T13" fmla="*/ 40 h 141"/>
                  <a:gd name="T14" fmla="*/ 63 w 161"/>
                  <a:gd name="T15" fmla="*/ 47 h 141"/>
                  <a:gd name="T16" fmla="*/ 79 w 161"/>
                  <a:gd name="T17" fmla="*/ 43 h 141"/>
                  <a:gd name="T18" fmla="*/ 84 w 161"/>
                  <a:gd name="T19" fmla="*/ 34 h 141"/>
                  <a:gd name="T20" fmla="*/ 93 w 161"/>
                  <a:gd name="T21" fmla="*/ 31 h 141"/>
                  <a:gd name="T22" fmla="*/ 99 w 161"/>
                  <a:gd name="T23" fmla="*/ 25 h 141"/>
                  <a:gd name="T24" fmla="*/ 109 w 161"/>
                  <a:gd name="T25" fmla="*/ 18 h 141"/>
                  <a:gd name="T26" fmla="*/ 125 w 161"/>
                  <a:gd name="T27" fmla="*/ 24 h 141"/>
                  <a:gd name="T28" fmla="*/ 145 w 161"/>
                  <a:gd name="T29" fmla="*/ 33 h 141"/>
                  <a:gd name="T30" fmla="*/ 161 w 161"/>
                  <a:gd name="T31" fmla="*/ 36 h 141"/>
                  <a:gd name="T32" fmla="*/ 158 w 161"/>
                  <a:gd name="T33" fmla="*/ 93 h 141"/>
                  <a:gd name="T34" fmla="*/ 158 w 161"/>
                  <a:gd name="T35" fmla="*/ 106 h 141"/>
                  <a:gd name="T36" fmla="*/ 154 w 161"/>
                  <a:gd name="T37" fmla="*/ 141 h 141"/>
                  <a:gd name="T38" fmla="*/ 141 w 161"/>
                  <a:gd name="T39" fmla="*/ 127 h 141"/>
                  <a:gd name="T40" fmla="*/ 133 w 161"/>
                  <a:gd name="T41" fmla="*/ 125 h 141"/>
                  <a:gd name="T42" fmla="*/ 127 w 161"/>
                  <a:gd name="T43" fmla="*/ 124 h 141"/>
                  <a:gd name="T44" fmla="*/ 122 w 161"/>
                  <a:gd name="T45" fmla="*/ 124 h 141"/>
                  <a:gd name="T46" fmla="*/ 125 w 161"/>
                  <a:gd name="T47" fmla="*/ 115 h 141"/>
                  <a:gd name="T48" fmla="*/ 122 w 161"/>
                  <a:gd name="T49" fmla="*/ 109 h 141"/>
                  <a:gd name="T50" fmla="*/ 125 w 161"/>
                  <a:gd name="T51" fmla="*/ 109 h 141"/>
                  <a:gd name="T52" fmla="*/ 124 w 161"/>
                  <a:gd name="T53" fmla="*/ 104 h 141"/>
                  <a:gd name="T54" fmla="*/ 122 w 161"/>
                  <a:gd name="T55" fmla="*/ 102 h 141"/>
                  <a:gd name="T56" fmla="*/ 116 w 161"/>
                  <a:gd name="T57" fmla="*/ 95 h 141"/>
                  <a:gd name="T58" fmla="*/ 115 w 161"/>
                  <a:gd name="T59" fmla="*/ 88 h 141"/>
                  <a:gd name="T60" fmla="*/ 113 w 161"/>
                  <a:gd name="T61" fmla="*/ 86 h 141"/>
                  <a:gd name="T62" fmla="*/ 111 w 161"/>
                  <a:gd name="T63" fmla="*/ 81 h 141"/>
                  <a:gd name="T64" fmla="*/ 102 w 161"/>
                  <a:gd name="T65" fmla="*/ 77 h 141"/>
                  <a:gd name="T66" fmla="*/ 88 w 161"/>
                  <a:gd name="T67" fmla="*/ 72 h 141"/>
                  <a:gd name="T68" fmla="*/ 66 w 161"/>
                  <a:gd name="T69" fmla="*/ 66 h 141"/>
                  <a:gd name="T70" fmla="*/ 59 w 161"/>
                  <a:gd name="T71" fmla="*/ 59 h 141"/>
                  <a:gd name="T72" fmla="*/ 58 w 161"/>
                  <a:gd name="T73" fmla="*/ 58 h 141"/>
                  <a:gd name="T74" fmla="*/ 54 w 161"/>
                  <a:gd name="T75" fmla="*/ 58 h 141"/>
                  <a:gd name="T76" fmla="*/ 50 w 161"/>
                  <a:gd name="T77" fmla="*/ 56 h 141"/>
                  <a:gd name="T78" fmla="*/ 43 w 161"/>
                  <a:gd name="T79" fmla="*/ 54 h 141"/>
                  <a:gd name="T80" fmla="*/ 45 w 161"/>
                  <a:gd name="T81" fmla="*/ 45 h 141"/>
                  <a:gd name="T82" fmla="*/ 43 w 161"/>
                  <a:gd name="T83" fmla="*/ 45 h 141"/>
                  <a:gd name="T84" fmla="*/ 41 w 161"/>
                  <a:gd name="T85" fmla="*/ 50 h 141"/>
                  <a:gd name="T86" fmla="*/ 38 w 161"/>
                  <a:gd name="T87" fmla="*/ 54 h 141"/>
                  <a:gd name="T88" fmla="*/ 31 w 161"/>
                  <a:gd name="T89" fmla="*/ 61 h 141"/>
                  <a:gd name="T90" fmla="*/ 29 w 161"/>
                  <a:gd name="T91" fmla="*/ 52 h 141"/>
                  <a:gd name="T92" fmla="*/ 29 w 161"/>
                  <a:gd name="T93" fmla="*/ 49 h 141"/>
                  <a:gd name="T94" fmla="*/ 20 w 161"/>
                  <a:gd name="T95" fmla="*/ 41 h 141"/>
                  <a:gd name="T96" fmla="*/ 27 w 161"/>
                  <a:gd name="T97" fmla="*/ 38 h 141"/>
                  <a:gd name="T98" fmla="*/ 36 w 161"/>
                  <a:gd name="T99" fmla="*/ 34 h 141"/>
                  <a:gd name="T100" fmla="*/ 40 w 161"/>
                  <a:gd name="T101" fmla="*/ 34 h 141"/>
                  <a:gd name="T102" fmla="*/ 43 w 161"/>
                  <a:gd name="T103" fmla="*/ 38 h 141"/>
                  <a:gd name="T104" fmla="*/ 45 w 161"/>
                  <a:gd name="T105" fmla="*/ 34 h 141"/>
                  <a:gd name="T106" fmla="*/ 49 w 161"/>
                  <a:gd name="T107" fmla="*/ 31 h 141"/>
                  <a:gd name="T108" fmla="*/ 49 w 161"/>
                  <a:gd name="T109" fmla="*/ 29 h 141"/>
                  <a:gd name="T110" fmla="*/ 31 w 161"/>
                  <a:gd name="T111" fmla="*/ 31 h 141"/>
                  <a:gd name="T112" fmla="*/ 22 w 161"/>
                  <a:gd name="T113" fmla="*/ 31 h 141"/>
                  <a:gd name="T114" fmla="*/ 18 w 161"/>
                  <a:gd name="T115" fmla="*/ 27 h 141"/>
                  <a:gd name="T116" fmla="*/ 16 w 161"/>
                  <a:gd name="T117" fmla="*/ 22 h 141"/>
                  <a:gd name="T118" fmla="*/ 13 w 161"/>
                  <a:gd name="T119" fmla="*/ 20 h 141"/>
                  <a:gd name="T120" fmla="*/ 6 w 161"/>
                  <a:gd name="T121" fmla="*/ 16 h 141"/>
                  <a:gd name="T122" fmla="*/ 2 w 161"/>
                  <a:gd name="T123" fmla="*/ 1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1" h="141">
                    <a:moveTo>
                      <a:pt x="6" y="11"/>
                    </a:moveTo>
                    <a:lnTo>
                      <a:pt x="6" y="11"/>
                    </a:lnTo>
                    <a:lnTo>
                      <a:pt x="4" y="8"/>
                    </a:lnTo>
                    <a:lnTo>
                      <a:pt x="4" y="8"/>
                    </a:lnTo>
                    <a:lnTo>
                      <a:pt x="11" y="6"/>
                    </a:lnTo>
                    <a:lnTo>
                      <a:pt x="16" y="4"/>
                    </a:lnTo>
                    <a:lnTo>
                      <a:pt x="16" y="4"/>
                    </a:lnTo>
                    <a:lnTo>
                      <a:pt x="22" y="0"/>
                    </a:lnTo>
                    <a:lnTo>
                      <a:pt x="29" y="0"/>
                    </a:lnTo>
                    <a:lnTo>
                      <a:pt x="29" y="0"/>
                    </a:lnTo>
                    <a:lnTo>
                      <a:pt x="34" y="4"/>
                    </a:lnTo>
                    <a:lnTo>
                      <a:pt x="40" y="6"/>
                    </a:lnTo>
                    <a:lnTo>
                      <a:pt x="40" y="6"/>
                    </a:lnTo>
                    <a:lnTo>
                      <a:pt x="45" y="8"/>
                    </a:lnTo>
                    <a:lnTo>
                      <a:pt x="49" y="8"/>
                    </a:lnTo>
                    <a:lnTo>
                      <a:pt x="50" y="8"/>
                    </a:lnTo>
                    <a:lnTo>
                      <a:pt x="50" y="8"/>
                    </a:lnTo>
                    <a:lnTo>
                      <a:pt x="50" y="9"/>
                    </a:lnTo>
                    <a:lnTo>
                      <a:pt x="50" y="11"/>
                    </a:lnTo>
                    <a:lnTo>
                      <a:pt x="52" y="15"/>
                    </a:lnTo>
                    <a:lnTo>
                      <a:pt x="52" y="15"/>
                    </a:lnTo>
                    <a:lnTo>
                      <a:pt x="52" y="18"/>
                    </a:lnTo>
                    <a:lnTo>
                      <a:pt x="50" y="22"/>
                    </a:lnTo>
                    <a:lnTo>
                      <a:pt x="50" y="22"/>
                    </a:lnTo>
                    <a:lnTo>
                      <a:pt x="50" y="27"/>
                    </a:lnTo>
                    <a:lnTo>
                      <a:pt x="50" y="31"/>
                    </a:lnTo>
                    <a:lnTo>
                      <a:pt x="56" y="40"/>
                    </a:lnTo>
                    <a:lnTo>
                      <a:pt x="56" y="40"/>
                    </a:lnTo>
                    <a:lnTo>
                      <a:pt x="56" y="38"/>
                    </a:lnTo>
                    <a:lnTo>
                      <a:pt x="58" y="34"/>
                    </a:lnTo>
                    <a:lnTo>
                      <a:pt x="58" y="34"/>
                    </a:lnTo>
                    <a:lnTo>
                      <a:pt x="58" y="34"/>
                    </a:lnTo>
                    <a:lnTo>
                      <a:pt x="59" y="36"/>
                    </a:lnTo>
                    <a:lnTo>
                      <a:pt x="59" y="40"/>
                    </a:lnTo>
                    <a:lnTo>
                      <a:pt x="59" y="40"/>
                    </a:lnTo>
                    <a:lnTo>
                      <a:pt x="61" y="43"/>
                    </a:lnTo>
                    <a:lnTo>
                      <a:pt x="61" y="43"/>
                    </a:lnTo>
                    <a:lnTo>
                      <a:pt x="61" y="45"/>
                    </a:lnTo>
                    <a:lnTo>
                      <a:pt x="63" y="47"/>
                    </a:lnTo>
                    <a:lnTo>
                      <a:pt x="63" y="47"/>
                    </a:lnTo>
                    <a:lnTo>
                      <a:pt x="68" y="49"/>
                    </a:lnTo>
                    <a:lnTo>
                      <a:pt x="70" y="49"/>
                    </a:lnTo>
                    <a:lnTo>
                      <a:pt x="72" y="47"/>
                    </a:lnTo>
                    <a:lnTo>
                      <a:pt x="72" y="47"/>
                    </a:lnTo>
                    <a:lnTo>
                      <a:pt x="79" y="43"/>
                    </a:lnTo>
                    <a:lnTo>
                      <a:pt x="79" y="43"/>
                    </a:lnTo>
                    <a:lnTo>
                      <a:pt x="81" y="40"/>
                    </a:lnTo>
                    <a:lnTo>
                      <a:pt x="84" y="36"/>
                    </a:lnTo>
                    <a:lnTo>
                      <a:pt x="84" y="36"/>
                    </a:lnTo>
                    <a:lnTo>
                      <a:pt x="84" y="34"/>
                    </a:lnTo>
                    <a:lnTo>
                      <a:pt x="86" y="33"/>
                    </a:lnTo>
                    <a:lnTo>
                      <a:pt x="86" y="31"/>
                    </a:lnTo>
                    <a:lnTo>
                      <a:pt x="88" y="31"/>
                    </a:lnTo>
                    <a:lnTo>
                      <a:pt x="88" y="31"/>
                    </a:lnTo>
                    <a:lnTo>
                      <a:pt x="93" y="31"/>
                    </a:lnTo>
                    <a:lnTo>
                      <a:pt x="97" y="29"/>
                    </a:lnTo>
                    <a:lnTo>
                      <a:pt x="97" y="29"/>
                    </a:lnTo>
                    <a:lnTo>
                      <a:pt x="100" y="27"/>
                    </a:lnTo>
                    <a:lnTo>
                      <a:pt x="99" y="25"/>
                    </a:lnTo>
                    <a:lnTo>
                      <a:pt x="99" y="25"/>
                    </a:lnTo>
                    <a:lnTo>
                      <a:pt x="100" y="24"/>
                    </a:lnTo>
                    <a:lnTo>
                      <a:pt x="102" y="22"/>
                    </a:lnTo>
                    <a:lnTo>
                      <a:pt x="106" y="20"/>
                    </a:lnTo>
                    <a:lnTo>
                      <a:pt x="106" y="20"/>
                    </a:lnTo>
                    <a:lnTo>
                      <a:pt x="109" y="18"/>
                    </a:lnTo>
                    <a:lnTo>
                      <a:pt x="113" y="20"/>
                    </a:lnTo>
                    <a:lnTo>
                      <a:pt x="113" y="20"/>
                    </a:lnTo>
                    <a:lnTo>
                      <a:pt x="120" y="22"/>
                    </a:lnTo>
                    <a:lnTo>
                      <a:pt x="125" y="24"/>
                    </a:lnTo>
                    <a:lnTo>
                      <a:pt x="125" y="24"/>
                    </a:lnTo>
                    <a:lnTo>
                      <a:pt x="134" y="29"/>
                    </a:lnTo>
                    <a:lnTo>
                      <a:pt x="134" y="29"/>
                    </a:lnTo>
                    <a:lnTo>
                      <a:pt x="140" y="31"/>
                    </a:lnTo>
                    <a:lnTo>
                      <a:pt x="145" y="33"/>
                    </a:lnTo>
                    <a:lnTo>
                      <a:pt x="145" y="33"/>
                    </a:lnTo>
                    <a:lnTo>
                      <a:pt x="149" y="33"/>
                    </a:lnTo>
                    <a:lnTo>
                      <a:pt x="152" y="33"/>
                    </a:lnTo>
                    <a:lnTo>
                      <a:pt x="152" y="33"/>
                    </a:lnTo>
                    <a:lnTo>
                      <a:pt x="158" y="34"/>
                    </a:lnTo>
                    <a:lnTo>
                      <a:pt x="161" y="36"/>
                    </a:lnTo>
                    <a:lnTo>
                      <a:pt x="161" y="36"/>
                    </a:lnTo>
                    <a:lnTo>
                      <a:pt x="159" y="65"/>
                    </a:lnTo>
                    <a:lnTo>
                      <a:pt x="159" y="65"/>
                    </a:lnTo>
                    <a:lnTo>
                      <a:pt x="158" y="93"/>
                    </a:lnTo>
                    <a:lnTo>
                      <a:pt x="158" y="93"/>
                    </a:lnTo>
                    <a:lnTo>
                      <a:pt x="158" y="99"/>
                    </a:lnTo>
                    <a:lnTo>
                      <a:pt x="156" y="102"/>
                    </a:lnTo>
                    <a:lnTo>
                      <a:pt x="156" y="102"/>
                    </a:lnTo>
                    <a:lnTo>
                      <a:pt x="156" y="104"/>
                    </a:lnTo>
                    <a:lnTo>
                      <a:pt x="158" y="106"/>
                    </a:lnTo>
                    <a:lnTo>
                      <a:pt x="158" y="106"/>
                    </a:lnTo>
                    <a:lnTo>
                      <a:pt x="158" y="111"/>
                    </a:lnTo>
                    <a:lnTo>
                      <a:pt x="158" y="111"/>
                    </a:lnTo>
                    <a:lnTo>
                      <a:pt x="154" y="141"/>
                    </a:lnTo>
                    <a:lnTo>
                      <a:pt x="154" y="141"/>
                    </a:lnTo>
                    <a:lnTo>
                      <a:pt x="152" y="138"/>
                    </a:lnTo>
                    <a:lnTo>
                      <a:pt x="150" y="136"/>
                    </a:lnTo>
                    <a:lnTo>
                      <a:pt x="145" y="131"/>
                    </a:lnTo>
                    <a:lnTo>
                      <a:pt x="145" y="131"/>
                    </a:lnTo>
                    <a:lnTo>
                      <a:pt x="141" y="127"/>
                    </a:lnTo>
                    <a:lnTo>
                      <a:pt x="140" y="125"/>
                    </a:lnTo>
                    <a:lnTo>
                      <a:pt x="140" y="124"/>
                    </a:lnTo>
                    <a:lnTo>
                      <a:pt x="140" y="124"/>
                    </a:lnTo>
                    <a:lnTo>
                      <a:pt x="136" y="125"/>
                    </a:lnTo>
                    <a:lnTo>
                      <a:pt x="133" y="125"/>
                    </a:lnTo>
                    <a:lnTo>
                      <a:pt x="133" y="125"/>
                    </a:lnTo>
                    <a:lnTo>
                      <a:pt x="129" y="125"/>
                    </a:lnTo>
                    <a:lnTo>
                      <a:pt x="127" y="125"/>
                    </a:lnTo>
                    <a:lnTo>
                      <a:pt x="127" y="124"/>
                    </a:lnTo>
                    <a:lnTo>
                      <a:pt x="127" y="124"/>
                    </a:lnTo>
                    <a:lnTo>
                      <a:pt x="125" y="125"/>
                    </a:lnTo>
                    <a:lnTo>
                      <a:pt x="122" y="127"/>
                    </a:lnTo>
                    <a:lnTo>
                      <a:pt x="122" y="127"/>
                    </a:lnTo>
                    <a:lnTo>
                      <a:pt x="122" y="125"/>
                    </a:lnTo>
                    <a:lnTo>
                      <a:pt x="122" y="124"/>
                    </a:lnTo>
                    <a:lnTo>
                      <a:pt x="124" y="122"/>
                    </a:lnTo>
                    <a:lnTo>
                      <a:pt x="124" y="122"/>
                    </a:lnTo>
                    <a:lnTo>
                      <a:pt x="125" y="118"/>
                    </a:lnTo>
                    <a:lnTo>
                      <a:pt x="125" y="116"/>
                    </a:lnTo>
                    <a:lnTo>
                      <a:pt x="125" y="115"/>
                    </a:lnTo>
                    <a:lnTo>
                      <a:pt x="125" y="115"/>
                    </a:lnTo>
                    <a:lnTo>
                      <a:pt x="122" y="113"/>
                    </a:lnTo>
                    <a:lnTo>
                      <a:pt x="120" y="111"/>
                    </a:lnTo>
                    <a:lnTo>
                      <a:pt x="120" y="111"/>
                    </a:lnTo>
                    <a:lnTo>
                      <a:pt x="122" y="109"/>
                    </a:lnTo>
                    <a:lnTo>
                      <a:pt x="125" y="111"/>
                    </a:lnTo>
                    <a:lnTo>
                      <a:pt x="127" y="111"/>
                    </a:lnTo>
                    <a:lnTo>
                      <a:pt x="129" y="109"/>
                    </a:lnTo>
                    <a:lnTo>
                      <a:pt x="129" y="109"/>
                    </a:lnTo>
                    <a:lnTo>
                      <a:pt x="125" y="109"/>
                    </a:lnTo>
                    <a:lnTo>
                      <a:pt x="124" y="109"/>
                    </a:lnTo>
                    <a:lnTo>
                      <a:pt x="118" y="106"/>
                    </a:lnTo>
                    <a:lnTo>
                      <a:pt x="118" y="106"/>
                    </a:lnTo>
                    <a:lnTo>
                      <a:pt x="120" y="104"/>
                    </a:lnTo>
                    <a:lnTo>
                      <a:pt x="124" y="104"/>
                    </a:lnTo>
                    <a:lnTo>
                      <a:pt x="129" y="106"/>
                    </a:lnTo>
                    <a:lnTo>
                      <a:pt x="129" y="106"/>
                    </a:lnTo>
                    <a:lnTo>
                      <a:pt x="120" y="102"/>
                    </a:lnTo>
                    <a:lnTo>
                      <a:pt x="120" y="102"/>
                    </a:lnTo>
                    <a:lnTo>
                      <a:pt x="122" y="102"/>
                    </a:lnTo>
                    <a:lnTo>
                      <a:pt x="122" y="102"/>
                    </a:lnTo>
                    <a:lnTo>
                      <a:pt x="120" y="100"/>
                    </a:lnTo>
                    <a:lnTo>
                      <a:pt x="120" y="100"/>
                    </a:lnTo>
                    <a:lnTo>
                      <a:pt x="116" y="95"/>
                    </a:lnTo>
                    <a:lnTo>
                      <a:pt x="116" y="95"/>
                    </a:lnTo>
                    <a:lnTo>
                      <a:pt x="115" y="91"/>
                    </a:lnTo>
                    <a:lnTo>
                      <a:pt x="115" y="90"/>
                    </a:lnTo>
                    <a:lnTo>
                      <a:pt x="116" y="88"/>
                    </a:lnTo>
                    <a:lnTo>
                      <a:pt x="116" y="88"/>
                    </a:lnTo>
                    <a:lnTo>
                      <a:pt x="115" y="88"/>
                    </a:lnTo>
                    <a:lnTo>
                      <a:pt x="115" y="88"/>
                    </a:lnTo>
                    <a:lnTo>
                      <a:pt x="115" y="86"/>
                    </a:lnTo>
                    <a:lnTo>
                      <a:pt x="116" y="86"/>
                    </a:lnTo>
                    <a:lnTo>
                      <a:pt x="116" y="86"/>
                    </a:lnTo>
                    <a:lnTo>
                      <a:pt x="113" y="86"/>
                    </a:lnTo>
                    <a:lnTo>
                      <a:pt x="111" y="86"/>
                    </a:lnTo>
                    <a:lnTo>
                      <a:pt x="111" y="86"/>
                    </a:lnTo>
                    <a:lnTo>
                      <a:pt x="111" y="84"/>
                    </a:lnTo>
                    <a:lnTo>
                      <a:pt x="111" y="81"/>
                    </a:lnTo>
                    <a:lnTo>
                      <a:pt x="111" y="81"/>
                    </a:lnTo>
                    <a:lnTo>
                      <a:pt x="111" y="83"/>
                    </a:lnTo>
                    <a:lnTo>
                      <a:pt x="109" y="81"/>
                    </a:lnTo>
                    <a:lnTo>
                      <a:pt x="106" y="79"/>
                    </a:lnTo>
                    <a:lnTo>
                      <a:pt x="106" y="79"/>
                    </a:lnTo>
                    <a:lnTo>
                      <a:pt x="102" y="77"/>
                    </a:lnTo>
                    <a:lnTo>
                      <a:pt x="102" y="77"/>
                    </a:lnTo>
                    <a:lnTo>
                      <a:pt x="97" y="74"/>
                    </a:lnTo>
                    <a:lnTo>
                      <a:pt x="97" y="74"/>
                    </a:lnTo>
                    <a:lnTo>
                      <a:pt x="93" y="74"/>
                    </a:lnTo>
                    <a:lnTo>
                      <a:pt x="88" y="72"/>
                    </a:lnTo>
                    <a:lnTo>
                      <a:pt x="88" y="72"/>
                    </a:lnTo>
                    <a:lnTo>
                      <a:pt x="77" y="66"/>
                    </a:lnTo>
                    <a:lnTo>
                      <a:pt x="77" y="66"/>
                    </a:lnTo>
                    <a:lnTo>
                      <a:pt x="72" y="66"/>
                    </a:lnTo>
                    <a:lnTo>
                      <a:pt x="66" y="66"/>
                    </a:lnTo>
                    <a:lnTo>
                      <a:pt x="66" y="66"/>
                    </a:lnTo>
                    <a:lnTo>
                      <a:pt x="61" y="63"/>
                    </a:lnTo>
                    <a:lnTo>
                      <a:pt x="58" y="61"/>
                    </a:lnTo>
                    <a:lnTo>
                      <a:pt x="58" y="61"/>
                    </a:lnTo>
                    <a:lnTo>
                      <a:pt x="59" y="59"/>
                    </a:lnTo>
                    <a:lnTo>
                      <a:pt x="59" y="58"/>
                    </a:lnTo>
                    <a:lnTo>
                      <a:pt x="63" y="58"/>
                    </a:lnTo>
                    <a:lnTo>
                      <a:pt x="63" y="58"/>
                    </a:lnTo>
                    <a:lnTo>
                      <a:pt x="61" y="58"/>
                    </a:lnTo>
                    <a:lnTo>
                      <a:pt x="58" y="58"/>
                    </a:lnTo>
                    <a:lnTo>
                      <a:pt x="58" y="58"/>
                    </a:lnTo>
                    <a:lnTo>
                      <a:pt x="56" y="59"/>
                    </a:lnTo>
                    <a:lnTo>
                      <a:pt x="56" y="59"/>
                    </a:lnTo>
                    <a:lnTo>
                      <a:pt x="54" y="58"/>
                    </a:lnTo>
                    <a:lnTo>
                      <a:pt x="54" y="58"/>
                    </a:lnTo>
                    <a:lnTo>
                      <a:pt x="52" y="58"/>
                    </a:lnTo>
                    <a:lnTo>
                      <a:pt x="50" y="58"/>
                    </a:lnTo>
                    <a:lnTo>
                      <a:pt x="50" y="58"/>
                    </a:lnTo>
                    <a:lnTo>
                      <a:pt x="50" y="56"/>
                    </a:lnTo>
                    <a:lnTo>
                      <a:pt x="50" y="56"/>
                    </a:lnTo>
                    <a:lnTo>
                      <a:pt x="47" y="56"/>
                    </a:lnTo>
                    <a:lnTo>
                      <a:pt x="45" y="52"/>
                    </a:lnTo>
                    <a:lnTo>
                      <a:pt x="45" y="52"/>
                    </a:lnTo>
                    <a:lnTo>
                      <a:pt x="45" y="54"/>
                    </a:lnTo>
                    <a:lnTo>
                      <a:pt x="43" y="54"/>
                    </a:lnTo>
                    <a:lnTo>
                      <a:pt x="43" y="54"/>
                    </a:lnTo>
                    <a:lnTo>
                      <a:pt x="43" y="50"/>
                    </a:lnTo>
                    <a:lnTo>
                      <a:pt x="43" y="49"/>
                    </a:lnTo>
                    <a:lnTo>
                      <a:pt x="43" y="49"/>
                    </a:lnTo>
                    <a:lnTo>
                      <a:pt x="45" y="45"/>
                    </a:lnTo>
                    <a:lnTo>
                      <a:pt x="47" y="41"/>
                    </a:lnTo>
                    <a:lnTo>
                      <a:pt x="47" y="41"/>
                    </a:lnTo>
                    <a:lnTo>
                      <a:pt x="43" y="43"/>
                    </a:lnTo>
                    <a:lnTo>
                      <a:pt x="43" y="45"/>
                    </a:lnTo>
                    <a:lnTo>
                      <a:pt x="43" y="45"/>
                    </a:lnTo>
                    <a:lnTo>
                      <a:pt x="41" y="49"/>
                    </a:lnTo>
                    <a:lnTo>
                      <a:pt x="41" y="50"/>
                    </a:lnTo>
                    <a:lnTo>
                      <a:pt x="40" y="50"/>
                    </a:lnTo>
                    <a:lnTo>
                      <a:pt x="40" y="50"/>
                    </a:lnTo>
                    <a:lnTo>
                      <a:pt x="41" y="50"/>
                    </a:lnTo>
                    <a:lnTo>
                      <a:pt x="41" y="52"/>
                    </a:lnTo>
                    <a:lnTo>
                      <a:pt x="40" y="52"/>
                    </a:lnTo>
                    <a:lnTo>
                      <a:pt x="40" y="52"/>
                    </a:lnTo>
                    <a:lnTo>
                      <a:pt x="38" y="54"/>
                    </a:lnTo>
                    <a:lnTo>
                      <a:pt x="38" y="54"/>
                    </a:lnTo>
                    <a:lnTo>
                      <a:pt x="38" y="58"/>
                    </a:lnTo>
                    <a:lnTo>
                      <a:pt x="38" y="58"/>
                    </a:lnTo>
                    <a:lnTo>
                      <a:pt x="34" y="59"/>
                    </a:lnTo>
                    <a:lnTo>
                      <a:pt x="31" y="61"/>
                    </a:lnTo>
                    <a:lnTo>
                      <a:pt x="31" y="61"/>
                    </a:lnTo>
                    <a:lnTo>
                      <a:pt x="29" y="58"/>
                    </a:lnTo>
                    <a:lnTo>
                      <a:pt x="27" y="54"/>
                    </a:lnTo>
                    <a:lnTo>
                      <a:pt x="27" y="54"/>
                    </a:lnTo>
                    <a:lnTo>
                      <a:pt x="29" y="54"/>
                    </a:lnTo>
                    <a:lnTo>
                      <a:pt x="29" y="52"/>
                    </a:lnTo>
                    <a:lnTo>
                      <a:pt x="29" y="52"/>
                    </a:lnTo>
                    <a:lnTo>
                      <a:pt x="31" y="52"/>
                    </a:lnTo>
                    <a:lnTo>
                      <a:pt x="31" y="50"/>
                    </a:lnTo>
                    <a:lnTo>
                      <a:pt x="29" y="49"/>
                    </a:lnTo>
                    <a:lnTo>
                      <a:pt x="29" y="49"/>
                    </a:lnTo>
                    <a:lnTo>
                      <a:pt x="27" y="47"/>
                    </a:lnTo>
                    <a:lnTo>
                      <a:pt x="25" y="45"/>
                    </a:lnTo>
                    <a:lnTo>
                      <a:pt x="22" y="43"/>
                    </a:lnTo>
                    <a:lnTo>
                      <a:pt x="20" y="41"/>
                    </a:lnTo>
                    <a:lnTo>
                      <a:pt x="20" y="41"/>
                    </a:lnTo>
                    <a:lnTo>
                      <a:pt x="16" y="41"/>
                    </a:lnTo>
                    <a:lnTo>
                      <a:pt x="16" y="40"/>
                    </a:lnTo>
                    <a:lnTo>
                      <a:pt x="20" y="38"/>
                    </a:lnTo>
                    <a:lnTo>
                      <a:pt x="20" y="38"/>
                    </a:lnTo>
                    <a:lnTo>
                      <a:pt x="27" y="38"/>
                    </a:lnTo>
                    <a:lnTo>
                      <a:pt x="29" y="38"/>
                    </a:lnTo>
                    <a:lnTo>
                      <a:pt x="31" y="36"/>
                    </a:lnTo>
                    <a:lnTo>
                      <a:pt x="31" y="36"/>
                    </a:lnTo>
                    <a:lnTo>
                      <a:pt x="33" y="34"/>
                    </a:lnTo>
                    <a:lnTo>
                      <a:pt x="36" y="34"/>
                    </a:lnTo>
                    <a:lnTo>
                      <a:pt x="38" y="34"/>
                    </a:lnTo>
                    <a:lnTo>
                      <a:pt x="38" y="38"/>
                    </a:lnTo>
                    <a:lnTo>
                      <a:pt x="38" y="38"/>
                    </a:lnTo>
                    <a:lnTo>
                      <a:pt x="40" y="34"/>
                    </a:lnTo>
                    <a:lnTo>
                      <a:pt x="40" y="34"/>
                    </a:lnTo>
                    <a:lnTo>
                      <a:pt x="40" y="36"/>
                    </a:lnTo>
                    <a:lnTo>
                      <a:pt x="41" y="36"/>
                    </a:lnTo>
                    <a:lnTo>
                      <a:pt x="43" y="36"/>
                    </a:lnTo>
                    <a:lnTo>
                      <a:pt x="43" y="38"/>
                    </a:lnTo>
                    <a:lnTo>
                      <a:pt x="43" y="38"/>
                    </a:lnTo>
                    <a:lnTo>
                      <a:pt x="43" y="36"/>
                    </a:lnTo>
                    <a:lnTo>
                      <a:pt x="45" y="38"/>
                    </a:lnTo>
                    <a:lnTo>
                      <a:pt x="45" y="38"/>
                    </a:lnTo>
                    <a:lnTo>
                      <a:pt x="45" y="36"/>
                    </a:lnTo>
                    <a:lnTo>
                      <a:pt x="45" y="34"/>
                    </a:lnTo>
                    <a:lnTo>
                      <a:pt x="45" y="34"/>
                    </a:lnTo>
                    <a:lnTo>
                      <a:pt x="49" y="33"/>
                    </a:lnTo>
                    <a:lnTo>
                      <a:pt x="49" y="33"/>
                    </a:lnTo>
                    <a:lnTo>
                      <a:pt x="47" y="33"/>
                    </a:lnTo>
                    <a:lnTo>
                      <a:pt x="49" y="31"/>
                    </a:lnTo>
                    <a:lnTo>
                      <a:pt x="49" y="31"/>
                    </a:lnTo>
                    <a:lnTo>
                      <a:pt x="47" y="31"/>
                    </a:lnTo>
                    <a:lnTo>
                      <a:pt x="47" y="31"/>
                    </a:lnTo>
                    <a:lnTo>
                      <a:pt x="49" y="29"/>
                    </a:lnTo>
                    <a:lnTo>
                      <a:pt x="49" y="29"/>
                    </a:lnTo>
                    <a:lnTo>
                      <a:pt x="43" y="29"/>
                    </a:lnTo>
                    <a:lnTo>
                      <a:pt x="38" y="31"/>
                    </a:lnTo>
                    <a:lnTo>
                      <a:pt x="38" y="31"/>
                    </a:lnTo>
                    <a:lnTo>
                      <a:pt x="34" y="31"/>
                    </a:lnTo>
                    <a:lnTo>
                      <a:pt x="31" y="31"/>
                    </a:lnTo>
                    <a:lnTo>
                      <a:pt x="31" y="31"/>
                    </a:lnTo>
                    <a:lnTo>
                      <a:pt x="29" y="31"/>
                    </a:lnTo>
                    <a:lnTo>
                      <a:pt x="25" y="31"/>
                    </a:lnTo>
                    <a:lnTo>
                      <a:pt x="25" y="31"/>
                    </a:lnTo>
                    <a:lnTo>
                      <a:pt x="22" y="31"/>
                    </a:lnTo>
                    <a:lnTo>
                      <a:pt x="22" y="31"/>
                    </a:lnTo>
                    <a:lnTo>
                      <a:pt x="20" y="31"/>
                    </a:lnTo>
                    <a:lnTo>
                      <a:pt x="16" y="29"/>
                    </a:lnTo>
                    <a:lnTo>
                      <a:pt x="16" y="29"/>
                    </a:lnTo>
                    <a:lnTo>
                      <a:pt x="18" y="27"/>
                    </a:lnTo>
                    <a:lnTo>
                      <a:pt x="18" y="27"/>
                    </a:lnTo>
                    <a:lnTo>
                      <a:pt x="16" y="25"/>
                    </a:lnTo>
                    <a:lnTo>
                      <a:pt x="16" y="24"/>
                    </a:lnTo>
                    <a:lnTo>
                      <a:pt x="16" y="24"/>
                    </a:lnTo>
                    <a:lnTo>
                      <a:pt x="16" y="22"/>
                    </a:lnTo>
                    <a:lnTo>
                      <a:pt x="16" y="22"/>
                    </a:lnTo>
                    <a:lnTo>
                      <a:pt x="15" y="22"/>
                    </a:lnTo>
                    <a:lnTo>
                      <a:pt x="15" y="20"/>
                    </a:lnTo>
                    <a:lnTo>
                      <a:pt x="15" y="20"/>
                    </a:lnTo>
                    <a:lnTo>
                      <a:pt x="13" y="20"/>
                    </a:lnTo>
                    <a:lnTo>
                      <a:pt x="13" y="18"/>
                    </a:lnTo>
                    <a:lnTo>
                      <a:pt x="13" y="18"/>
                    </a:lnTo>
                    <a:lnTo>
                      <a:pt x="11" y="20"/>
                    </a:lnTo>
                    <a:lnTo>
                      <a:pt x="9" y="18"/>
                    </a:lnTo>
                    <a:lnTo>
                      <a:pt x="6" y="16"/>
                    </a:lnTo>
                    <a:lnTo>
                      <a:pt x="6" y="16"/>
                    </a:lnTo>
                    <a:lnTo>
                      <a:pt x="6" y="18"/>
                    </a:lnTo>
                    <a:lnTo>
                      <a:pt x="4" y="18"/>
                    </a:lnTo>
                    <a:lnTo>
                      <a:pt x="2" y="18"/>
                    </a:lnTo>
                    <a:lnTo>
                      <a:pt x="2" y="18"/>
                    </a:lnTo>
                    <a:lnTo>
                      <a:pt x="0" y="16"/>
                    </a:lnTo>
                    <a:lnTo>
                      <a:pt x="2" y="15"/>
                    </a:lnTo>
                    <a:lnTo>
                      <a:pt x="6"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68" name="Freeform 2720"/>
              <p:cNvSpPr>
                <a:spLocks/>
              </p:cNvSpPr>
              <p:nvPr/>
            </p:nvSpPr>
            <p:spPr bwMode="auto">
              <a:xfrm>
                <a:off x="4799" y="2716"/>
                <a:ext cx="161" cy="141"/>
              </a:xfrm>
              <a:custGeom>
                <a:avLst/>
                <a:gdLst>
                  <a:gd name="T0" fmla="*/ 11 w 161"/>
                  <a:gd name="T1" fmla="*/ 6 h 141"/>
                  <a:gd name="T2" fmla="*/ 29 w 161"/>
                  <a:gd name="T3" fmla="*/ 0 h 141"/>
                  <a:gd name="T4" fmla="*/ 49 w 161"/>
                  <a:gd name="T5" fmla="*/ 8 h 141"/>
                  <a:gd name="T6" fmla="*/ 52 w 161"/>
                  <a:gd name="T7" fmla="*/ 15 h 141"/>
                  <a:gd name="T8" fmla="*/ 50 w 161"/>
                  <a:gd name="T9" fmla="*/ 27 h 141"/>
                  <a:gd name="T10" fmla="*/ 58 w 161"/>
                  <a:gd name="T11" fmla="*/ 34 h 141"/>
                  <a:gd name="T12" fmla="*/ 59 w 161"/>
                  <a:gd name="T13" fmla="*/ 40 h 141"/>
                  <a:gd name="T14" fmla="*/ 63 w 161"/>
                  <a:gd name="T15" fmla="*/ 47 h 141"/>
                  <a:gd name="T16" fmla="*/ 79 w 161"/>
                  <a:gd name="T17" fmla="*/ 43 h 141"/>
                  <a:gd name="T18" fmla="*/ 84 w 161"/>
                  <a:gd name="T19" fmla="*/ 34 h 141"/>
                  <a:gd name="T20" fmla="*/ 93 w 161"/>
                  <a:gd name="T21" fmla="*/ 31 h 141"/>
                  <a:gd name="T22" fmla="*/ 99 w 161"/>
                  <a:gd name="T23" fmla="*/ 25 h 141"/>
                  <a:gd name="T24" fmla="*/ 109 w 161"/>
                  <a:gd name="T25" fmla="*/ 18 h 141"/>
                  <a:gd name="T26" fmla="*/ 125 w 161"/>
                  <a:gd name="T27" fmla="*/ 24 h 141"/>
                  <a:gd name="T28" fmla="*/ 145 w 161"/>
                  <a:gd name="T29" fmla="*/ 33 h 141"/>
                  <a:gd name="T30" fmla="*/ 161 w 161"/>
                  <a:gd name="T31" fmla="*/ 36 h 141"/>
                  <a:gd name="T32" fmla="*/ 158 w 161"/>
                  <a:gd name="T33" fmla="*/ 93 h 141"/>
                  <a:gd name="T34" fmla="*/ 158 w 161"/>
                  <a:gd name="T35" fmla="*/ 106 h 141"/>
                  <a:gd name="T36" fmla="*/ 154 w 161"/>
                  <a:gd name="T37" fmla="*/ 141 h 141"/>
                  <a:gd name="T38" fmla="*/ 141 w 161"/>
                  <a:gd name="T39" fmla="*/ 127 h 141"/>
                  <a:gd name="T40" fmla="*/ 133 w 161"/>
                  <a:gd name="T41" fmla="*/ 125 h 141"/>
                  <a:gd name="T42" fmla="*/ 127 w 161"/>
                  <a:gd name="T43" fmla="*/ 124 h 141"/>
                  <a:gd name="T44" fmla="*/ 122 w 161"/>
                  <a:gd name="T45" fmla="*/ 124 h 141"/>
                  <a:gd name="T46" fmla="*/ 125 w 161"/>
                  <a:gd name="T47" fmla="*/ 115 h 141"/>
                  <a:gd name="T48" fmla="*/ 122 w 161"/>
                  <a:gd name="T49" fmla="*/ 109 h 141"/>
                  <a:gd name="T50" fmla="*/ 125 w 161"/>
                  <a:gd name="T51" fmla="*/ 109 h 141"/>
                  <a:gd name="T52" fmla="*/ 124 w 161"/>
                  <a:gd name="T53" fmla="*/ 104 h 141"/>
                  <a:gd name="T54" fmla="*/ 122 w 161"/>
                  <a:gd name="T55" fmla="*/ 102 h 141"/>
                  <a:gd name="T56" fmla="*/ 116 w 161"/>
                  <a:gd name="T57" fmla="*/ 95 h 141"/>
                  <a:gd name="T58" fmla="*/ 115 w 161"/>
                  <a:gd name="T59" fmla="*/ 88 h 141"/>
                  <a:gd name="T60" fmla="*/ 113 w 161"/>
                  <a:gd name="T61" fmla="*/ 86 h 141"/>
                  <a:gd name="T62" fmla="*/ 111 w 161"/>
                  <a:gd name="T63" fmla="*/ 81 h 141"/>
                  <a:gd name="T64" fmla="*/ 102 w 161"/>
                  <a:gd name="T65" fmla="*/ 77 h 141"/>
                  <a:gd name="T66" fmla="*/ 88 w 161"/>
                  <a:gd name="T67" fmla="*/ 72 h 141"/>
                  <a:gd name="T68" fmla="*/ 66 w 161"/>
                  <a:gd name="T69" fmla="*/ 66 h 141"/>
                  <a:gd name="T70" fmla="*/ 59 w 161"/>
                  <a:gd name="T71" fmla="*/ 59 h 141"/>
                  <a:gd name="T72" fmla="*/ 58 w 161"/>
                  <a:gd name="T73" fmla="*/ 58 h 141"/>
                  <a:gd name="T74" fmla="*/ 54 w 161"/>
                  <a:gd name="T75" fmla="*/ 58 h 141"/>
                  <a:gd name="T76" fmla="*/ 50 w 161"/>
                  <a:gd name="T77" fmla="*/ 56 h 141"/>
                  <a:gd name="T78" fmla="*/ 43 w 161"/>
                  <a:gd name="T79" fmla="*/ 54 h 141"/>
                  <a:gd name="T80" fmla="*/ 45 w 161"/>
                  <a:gd name="T81" fmla="*/ 45 h 141"/>
                  <a:gd name="T82" fmla="*/ 43 w 161"/>
                  <a:gd name="T83" fmla="*/ 45 h 141"/>
                  <a:gd name="T84" fmla="*/ 41 w 161"/>
                  <a:gd name="T85" fmla="*/ 50 h 141"/>
                  <a:gd name="T86" fmla="*/ 38 w 161"/>
                  <a:gd name="T87" fmla="*/ 54 h 141"/>
                  <a:gd name="T88" fmla="*/ 31 w 161"/>
                  <a:gd name="T89" fmla="*/ 61 h 141"/>
                  <a:gd name="T90" fmla="*/ 29 w 161"/>
                  <a:gd name="T91" fmla="*/ 52 h 141"/>
                  <a:gd name="T92" fmla="*/ 29 w 161"/>
                  <a:gd name="T93" fmla="*/ 49 h 141"/>
                  <a:gd name="T94" fmla="*/ 20 w 161"/>
                  <a:gd name="T95" fmla="*/ 41 h 141"/>
                  <a:gd name="T96" fmla="*/ 27 w 161"/>
                  <a:gd name="T97" fmla="*/ 38 h 141"/>
                  <a:gd name="T98" fmla="*/ 36 w 161"/>
                  <a:gd name="T99" fmla="*/ 34 h 141"/>
                  <a:gd name="T100" fmla="*/ 40 w 161"/>
                  <a:gd name="T101" fmla="*/ 34 h 141"/>
                  <a:gd name="T102" fmla="*/ 43 w 161"/>
                  <a:gd name="T103" fmla="*/ 38 h 141"/>
                  <a:gd name="T104" fmla="*/ 45 w 161"/>
                  <a:gd name="T105" fmla="*/ 34 h 141"/>
                  <a:gd name="T106" fmla="*/ 49 w 161"/>
                  <a:gd name="T107" fmla="*/ 31 h 141"/>
                  <a:gd name="T108" fmla="*/ 49 w 161"/>
                  <a:gd name="T109" fmla="*/ 29 h 141"/>
                  <a:gd name="T110" fmla="*/ 31 w 161"/>
                  <a:gd name="T111" fmla="*/ 31 h 141"/>
                  <a:gd name="T112" fmla="*/ 22 w 161"/>
                  <a:gd name="T113" fmla="*/ 31 h 141"/>
                  <a:gd name="T114" fmla="*/ 18 w 161"/>
                  <a:gd name="T115" fmla="*/ 27 h 141"/>
                  <a:gd name="T116" fmla="*/ 16 w 161"/>
                  <a:gd name="T117" fmla="*/ 22 h 141"/>
                  <a:gd name="T118" fmla="*/ 13 w 161"/>
                  <a:gd name="T119" fmla="*/ 20 h 141"/>
                  <a:gd name="T120" fmla="*/ 6 w 161"/>
                  <a:gd name="T121" fmla="*/ 16 h 141"/>
                  <a:gd name="T122" fmla="*/ 2 w 161"/>
                  <a:gd name="T123" fmla="*/ 1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1" h="141">
                    <a:moveTo>
                      <a:pt x="6" y="11"/>
                    </a:moveTo>
                    <a:lnTo>
                      <a:pt x="6" y="11"/>
                    </a:lnTo>
                    <a:lnTo>
                      <a:pt x="4" y="8"/>
                    </a:lnTo>
                    <a:lnTo>
                      <a:pt x="4" y="8"/>
                    </a:lnTo>
                    <a:lnTo>
                      <a:pt x="11" y="6"/>
                    </a:lnTo>
                    <a:lnTo>
                      <a:pt x="16" y="4"/>
                    </a:lnTo>
                    <a:lnTo>
                      <a:pt x="16" y="4"/>
                    </a:lnTo>
                    <a:lnTo>
                      <a:pt x="22" y="0"/>
                    </a:lnTo>
                    <a:lnTo>
                      <a:pt x="29" y="0"/>
                    </a:lnTo>
                    <a:lnTo>
                      <a:pt x="29" y="0"/>
                    </a:lnTo>
                    <a:lnTo>
                      <a:pt x="34" y="4"/>
                    </a:lnTo>
                    <a:lnTo>
                      <a:pt x="40" y="6"/>
                    </a:lnTo>
                    <a:lnTo>
                      <a:pt x="40" y="6"/>
                    </a:lnTo>
                    <a:lnTo>
                      <a:pt x="45" y="8"/>
                    </a:lnTo>
                    <a:lnTo>
                      <a:pt x="49" y="8"/>
                    </a:lnTo>
                    <a:lnTo>
                      <a:pt x="50" y="8"/>
                    </a:lnTo>
                    <a:lnTo>
                      <a:pt x="50" y="8"/>
                    </a:lnTo>
                    <a:lnTo>
                      <a:pt x="50" y="9"/>
                    </a:lnTo>
                    <a:lnTo>
                      <a:pt x="50" y="11"/>
                    </a:lnTo>
                    <a:lnTo>
                      <a:pt x="52" y="15"/>
                    </a:lnTo>
                    <a:lnTo>
                      <a:pt x="52" y="15"/>
                    </a:lnTo>
                    <a:lnTo>
                      <a:pt x="52" y="18"/>
                    </a:lnTo>
                    <a:lnTo>
                      <a:pt x="50" y="22"/>
                    </a:lnTo>
                    <a:lnTo>
                      <a:pt x="50" y="22"/>
                    </a:lnTo>
                    <a:lnTo>
                      <a:pt x="50" y="27"/>
                    </a:lnTo>
                    <a:lnTo>
                      <a:pt x="50" y="31"/>
                    </a:lnTo>
                    <a:lnTo>
                      <a:pt x="56" y="40"/>
                    </a:lnTo>
                    <a:lnTo>
                      <a:pt x="56" y="40"/>
                    </a:lnTo>
                    <a:lnTo>
                      <a:pt x="56" y="38"/>
                    </a:lnTo>
                    <a:lnTo>
                      <a:pt x="58" y="34"/>
                    </a:lnTo>
                    <a:lnTo>
                      <a:pt x="58" y="34"/>
                    </a:lnTo>
                    <a:lnTo>
                      <a:pt x="58" y="34"/>
                    </a:lnTo>
                    <a:lnTo>
                      <a:pt x="59" y="36"/>
                    </a:lnTo>
                    <a:lnTo>
                      <a:pt x="59" y="40"/>
                    </a:lnTo>
                    <a:lnTo>
                      <a:pt x="59" y="40"/>
                    </a:lnTo>
                    <a:lnTo>
                      <a:pt x="61" y="43"/>
                    </a:lnTo>
                    <a:lnTo>
                      <a:pt x="61" y="43"/>
                    </a:lnTo>
                    <a:lnTo>
                      <a:pt x="61" y="45"/>
                    </a:lnTo>
                    <a:lnTo>
                      <a:pt x="63" y="47"/>
                    </a:lnTo>
                    <a:lnTo>
                      <a:pt x="63" y="47"/>
                    </a:lnTo>
                    <a:lnTo>
                      <a:pt x="68" y="49"/>
                    </a:lnTo>
                    <a:lnTo>
                      <a:pt x="70" y="49"/>
                    </a:lnTo>
                    <a:lnTo>
                      <a:pt x="72" y="47"/>
                    </a:lnTo>
                    <a:lnTo>
                      <a:pt x="72" y="47"/>
                    </a:lnTo>
                    <a:lnTo>
                      <a:pt x="79" y="43"/>
                    </a:lnTo>
                    <a:lnTo>
                      <a:pt x="79" y="43"/>
                    </a:lnTo>
                    <a:lnTo>
                      <a:pt x="81" y="40"/>
                    </a:lnTo>
                    <a:lnTo>
                      <a:pt x="84" y="36"/>
                    </a:lnTo>
                    <a:lnTo>
                      <a:pt x="84" y="36"/>
                    </a:lnTo>
                    <a:lnTo>
                      <a:pt x="84" y="34"/>
                    </a:lnTo>
                    <a:lnTo>
                      <a:pt x="86" y="33"/>
                    </a:lnTo>
                    <a:lnTo>
                      <a:pt x="86" y="31"/>
                    </a:lnTo>
                    <a:lnTo>
                      <a:pt x="88" y="31"/>
                    </a:lnTo>
                    <a:lnTo>
                      <a:pt x="88" y="31"/>
                    </a:lnTo>
                    <a:lnTo>
                      <a:pt x="93" y="31"/>
                    </a:lnTo>
                    <a:lnTo>
                      <a:pt x="97" y="29"/>
                    </a:lnTo>
                    <a:lnTo>
                      <a:pt x="97" y="29"/>
                    </a:lnTo>
                    <a:lnTo>
                      <a:pt x="100" y="27"/>
                    </a:lnTo>
                    <a:lnTo>
                      <a:pt x="99" y="25"/>
                    </a:lnTo>
                    <a:lnTo>
                      <a:pt x="99" y="25"/>
                    </a:lnTo>
                    <a:lnTo>
                      <a:pt x="100" y="24"/>
                    </a:lnTo>
                    <a:lnTo>
                      <a:pt x="102" y="22"/>
                    </a:lnTo>
                    <a:lnTo>
                      <a:pt x="106" y="20"/>
                    </a:lnTo>
                    <a:lnTo>
                      <a:pt x="106" y="20"/>
                    </a:lnTo>
                    <a:lnTo>
                      <a:pt x="109" y="18"/>
                    </a:lnTo>
                    <a:lnTo>
                      <a:pt x="113" y="20"/>
                    </a:lnTo>
                    <a:lnTo>
                      <a:pt x="113" y="20"/>
                    </a:lnTo>
                    <a:lnTo>
                      <a:pt x="120" y="22"/>
                    </a:lnTo>
                    <a:lnTo>
                      <a:pt x="125" y="24"/>
                    </a:lnTo>
                    <a:lnTo>
                      <a:pt x="125" y="24"/>
                    </a:lnTo>
                    <a:lnTo>
                      <a:pt x="134" y="29"/>
                    </a:lnTo>
                    <a:lnTo>
                      <a:pt x="134" y="29"/>
                    </a:lnTo>
                    <a:lnTo>
                      <a:pt x="140" y="31"/>
                    </a:lnTo>
                    <a:lnTo>
                      <a:pt x="145" y="33"/>
                    </a:lnTo>
                    <a:lnTo>
                      <a:pt x="145" y="33"/>
                    </a:lnTo>
                    <a:lnTo>
                      <a:pt x="149" y="33"/>
                    </a:lnTo>
                    <a:lnTo>
                      <a:pt x="152" y="33"/>
                    </a:lnTo>
                    <a:lnTo>
                      <a:pt x="152" y="33"/>
                    </a:lnTo>
                    <a:lnTo>
                      <a:pt x="158" y="34"/>
                    </a:lnTo>
                    <a:lnTo>
                      <a:pt x="161" y="36"/>
                    </a:lnTo>
                    <a:lnTo>
                      <a:pt x="161" y="36"/>
                    </a:lnTo>
                    <a:lnTo>
                      <a:pt x="159" y="65"/>
                    </a:lnTo>
                    <a:lnTo>
                      <a:pt x="159" y="65"/>
                    </a:lnTo>
                    <a:lnTo>
                      <a:pt x="158" y="93"/>
                    </a:lnTo>
                    <a:lnTo>
                      <a:pt x="158" y="93"/>
                    </a:lnTo>
                    <a:lnTo>
                      <a:pt x="158" y="99"/>
                    </a:lnTo>
                    <a:lnTo>
                      <a:pt x="156" y="102"/>
                    </a:lnTo>
                    <a:lnTo>
                      <a:pt x="156" y="102"/>
                    </a:lnTo>
                    <a:lnTo>
                      <a:pt x="156" y="104"/>
                    </a:lnTo>
                    <a:lnTo>
                      <a:pt x="158" y="106"/>
                    </a:lnTo>
                    <a:lnTo>
                      <a:pt x="158" y="106"/>
                    </a:lnTo>
                    <a:lnTo>
                      <a:pt x="158" y="111"/>
                    </a:lnTo>
                    <a:lnTo>
                      <a:pt x="158" y="111"/>
                    </a:lnTo>
                    <a:lnTo>
                      <a:pt x="154" y="141"/>
                    </a:lnTo>
                    <a:lnTo>
                      <a:pt x="154" y="141"/>
                    </a:lnTo>
                    <a:lnTo>
                      <a:pt x="152" y="138"/>
                    </a:lnTo>
                    <a:lnTo>
                      <a:pt x="150" y="136"/>
                    </a:lnTo>
                    <a:lnTo>
                      <a:pt x="145" y="131"/>
                    </a:lnTo>
                    <a:lnTo>
                      <a:pt x="145" y="131"/>
                    </a:lnTo>
                    <a:lnTo>
                      <a:pt x="141" y="127"/>
                    </a:lnTo>
                    <a:lnTo>
                      <a:pt x="140" y="125"/>
                    </a:lnTo>
                    <a:lnTo>
                      <a:pt x="140" y="124"/>
                    </a:lnTo>
                    <a:lnTo>
                      <a:pt x="140" y="124"/>
                    </a:lnTo>
                    <a:lnTo>
                      <a:pt x="136" y="125"/>
                    </a:lnTo>
                    <a:lnTo>
                      <a:pt x="133" y="125"/>
                    </a:lnTo>
                    <a:lnTo>
                      <a:pt x="133" y="125"/>
                    </a:lnTo>
                    <a:lnTo>
                      <a:pt x="129" y="125"/>
                    </a:lnTo>
                    <a:lnTo>
                      <a:pt x="127" y="125"/>
                    </a:lnTo>
                    <a:lnTo>
                      <a:pt x="127" y="124"/>
                    </a:lnTo>
                    <a:lnTo>
                      <a:pt x="127" y="124"/>
                    </a:lnTo>
                    <a:lnTo>
                      <a:pt x="125" y="125"/>
                    </a:lnTo>
                    <a:lnTo>
                      <a:pt x="122" y="127"/>
                    </a:lnTo>
                    <a:lnTo>
                      <a:pt x="122" y="127"/>
                    </a:lnTo>
                    <a:lnTo>
                      <a:pt x="122" y="125"/>
                    </a:lnTo>
                    <a:lnTo>
                      <a:pt x="122" y="124"/>
                    </a:lnTo>
                    <a:lnTo>
                      <a:pt x="124" y="122"/>
                    </a:lnTo>
                    <a:lnTo>
                      <a:pt x="124" y="122"/>
                    </a:lnTo>
                    <a:lnTo>
                      <a:pt x="125" y="118"/>
                    </a:lnTo>
                    <a:lnTo>
                      <a:pt x="125" y="116"/>
                    </a:lnTo>
                    <a:lnTo>
                      <a:pt x="125" y="115"/>
                    </a:lnTo>
                    <a:lnTo>
                      <a:pt x="125" y="115"/>
                    </a:lnTo>
                    <a:lnTo>
                      <a:pt x="122" y="113"/>
                    </a:lnTo>
                    <a:lnTo>
                      <a:pt x="120" y="111"/>
                    </a:lnTo>
                    <a:lnTo>
                      <a:pt x="120" y="111"/>
                    </a:lnTo>
                    <a:lnTo>
                      <a:pt x="122" y="109"/>
                    </a:lnTo>
                    <a:lnTo>
                      <a:pt x="125" y="111"/>
                    </a:lnTo>
                    <a:lnTo>
                      <a:pt x="127" y="111"/>
                    </a:lnTo>
                    <a:lnTo>
                      <a:pt x="129" y="109"/>
                    </a:lnTo>
                    <a:lnTo>
                      <a:pt x="129" y="109"/>
                    </a:lnTo>
                    <a:lnTo>
                      <a:pt x="125" y="109"/>
                    </a:lnTo>
                    <a:lnTo>
                      <a:pt x="124" y="109"/>
                    </a:lnTo>
                    <a:lnTo>
                      <a:pt x="118" y="106"/>
                    </a:lnTo>
                    <a:lnTo>
                      <a:pt x="118" y="106"/>
                    </a:lnTo>
                    <a:lnTo>
                      <a:pt x="120" y="104"/>
                    </a:lnTo>
                    <a:lnTo>
                      <a:pt x="124" y="104"/>
                    </a:lnTo>
                    <a:lnTo>
                      <a:pt x="129" y="106"/>
                    </a:lnTo>
                    <a:lnTo>
                      <a:pt x="129" y="106"/>
                    </a:lnTo>
                    <a:lnTo>
                      <a:pt x="120" y="102"/>
                    </a:lnTo>
                    <a:lnTo>
                      <a:pt x="120" y="102"/>
                    </a:lnTo>
                    <a:lnTo>
                      <a:pt x="122" y="102"/>
                    </a:lnTo>
                    <a:lnTo>
                      <a:pt x="122" y="102"/>
                    </a:lnTo>
                    <a:lnTo>
                      <a:pt x="120" y="100"/>
                    </a:lnTo>
                    <a:lnTo>
                      <a:pt x="120" y="100"/>
                    </a:lnTo>
                    <a:lnTo>
                      <a:pt x="116" y="95"/>
                    </a:lnTo>
                    <a:lnTo>
                      <a:pt x="116" y="95"/>
                    </a:lnTo>
                    <a:lnTo>
                      <a:pt x="115" y="91"/>
                    </a:lnTo>
                    <a:lnTo>
                      <a:pt x="115" y="90"/>
                    </a:lnTo>
                    <a:lnTo>
                      <a:pt x="116" y="88"/>
                    </a:lnTo>
                    <a:lnTo>
                      <a:pt x="116" y="88"/>
                    </a:lnTo>
                    <a:lnTo>
                      <a:pt x="115" y="88"/>
                    </a:lnTo>
                    <a:lnTo>
                      <a:pt x="115" y="88"/>
                    </a:lnTo>
                    <a:lnTo>
                      <a:pt x="115" y="86"/>
                    </a:lnTo>
                    <a:lnTo>
                      <a:pt x="116" y="86"/>
                    </a:lnTo>
                    <a:lnTo>
                      <a:pt x="116" y="86"/>
                    </a:lnTo>
                    <a:lnTo>
                      <a:pt x="113" y="86"/>
                    </a:lnTo>
                    <a:lnTo>
                      <a:pt x="111" y="86"/>
                    </a:lnTo>
                    <a:lnTo>
                      <a:pt x="111" y="86"/>
                    </a:lnTo>
                    <a:lnTo>
                      <a:pt x="111" y="84"/>
                    </a:lnTo>
                    <a:lnTo>
                      <a:pt x="111" y="81"/>
                    </a:lnTo>
                    <a:lnTo>
                      <a:pt x="111" y="81"/>
                    </a:lnTo>
                    <a:lnTo>
                      <a:pt x="111" y="83"/>
                    </a:lnTo>
                    <a:lnTo>
                      <a:pt x="109" y="81"/>
                    </a:lnTo>
                    <a:lnTo>
                      <a:pt x="106" y="79"/>
                    </a:lnTo>
                    <a:lnTo>
                      <a:pt x="106" y="79"/>
                    </a:lnTo>
                    <a:lnTo>
                      <a:pt x="102" y="77"/>
                    </a:lnTo>
                    <a:lnTo>
                      <a:pt x="102" y="77"/>
                    </a:lnTo>
                    <a:lnTo>
                      <a:pt x="97" y="74"/>
                    </a:lnTo>
                    <a:lnTo>
                      <a:pt x="97" y="74"/>
                    </a:lnTo>
                    <a:lnTo>
                      <a:pt x="93" y="74"/>
                    </a:lnTo>
                    <a:lnTo>
                      <a:pt x="88" y="72"/>
                    </a:lnTo>
                    <a:lnTo>
                      <a:pt x="88" y="72"/>
                    </a:lnTo>
                    <a:lnTo>
                      <a:pt x="77" y="66"/>
                    </a:lnTo>
                    <a:lnTo>
                      <a:pt x="77" y="66"/>
                    </a:lnTo>
                    <a:lnTo>
                      <a:pt x="72" y="66"/>
                    </a:lnTo>
                    <a:lnTo>
                      <a:pt x="66" y="66"/>
                    </a:lnTo>
                    <a:lnTo>
                      <a:pt x="66" y="66"/>
                    </a:lnTo>
                    <a:lnTo>
                      <a:pt x="61" y="63"/>
                    </a:lnTo>
                    <a:lnTo>
                      <a:pt x="58" y="61"/>
                    </a:lnTo>
                    <a:lnTo>
                      <a:pt x="58" y="61"/>
                    </a:lnTo>
                    <a:lnTo>
                      <a:pt x="59" y="59"/>
                    </a:lnTo>
                    <a:lnTo>
                      <a:pt x="59" y="58"/>
                    </a:lnTo>
                    <a:lnTo>
                      <a:pt x="63" y="58"/>
                    </a:lnTo>
                    <a:lnTo>
                      <a:pt x="63" y="58"/>
                    </a:lnTo>
                    <a:lnTo>
                      <a:pt x="61" y="58"/>
                    </a:lnTo>
                    <a:lnTo>
                      <a:pt x="58" y="58"/>
                    </a:lnTo>
                    <a:lnTo>
                      <a:pt x="58" y="58"/>
                    </a:lnTo>
                    <a:lnTo>
                      <a:pt x="56" y="59"/>
                    </a:lnTo>
                    <a:lnTo>
                      <a:pt x="56" y="59"/>
                    </a:lnTo>
                    <a:lnTo>
                      <a:pt x="54" y="58"/>
                    </a:lnTo>
                    <a:lnTo>
                      <a:pt x="54" y="58"/>
                    </a:lnTo>
                    <a:lnTo>
                      <a:pt x="52" y="58"/>
                    </a:lnTo>
                    <a:lnTo>
                      <a:pt x="50" y="58"/>
                    </a:lnTo>
                    <a:lnTo>
                      <a:pt x="50" y="58"/>
                    </a:lnTo>
                    <a:lnTo>
                      <a:pt x="50" y="56"/>
                    </a:lnTo>
                    <a:lnTo>
                      <a:pt x="50" y="56"/>
                    </a:lnTo>
                    <a:lnTo>
                      <a:pt x="47" y="56"/>
                    </a:lnTo>
                    <a:lnTo>
                      <a:pt x="45" y="52"/>
                    </a:lnTo>
                    <a:lnTo>
                      <a:pt x="45" y="52"/>
                    </a:lnTo>
                    <a:lnTo>
                      <a:pt x="45" y="54"/>
                    </a:lnTo>
                    <a:lnTo>
                      <a:pt x="43" y="54"/>
                    </a:lnTo>
                    <a:lnTo>
                      <a:pt x="43" y="54"/>
                    </a:lnTo>
                    <a:lnTo>
                      <a:pt x="43" y="50"/>
                    </a:lnTo>
                    <a:lnTo>
                      <a:pt x="43" y="49"/>
                    </a:lnTo>
                    <a:lnTo>
                      <a:pt x="43" y="49"/>
                    </a:lnTo>
                    <a:lnTo>
                      <a:pt x="45" y="45"/>
                    </a:lnTo>
                    <a:lnTo>
                      <a:pt x="47" y="41"/>
                    </a:lnTo>
                    <a:lnTo>
                      <a:pt x="47" y="41"/>
                    </a:lnTo>
                    <a:lnTo>
                      <a:pt x="43" y="43"/>
                    </a:lnTo>
                    <a:lnTo>
                      <a:pt x="43" y="45"/>
                    </a:lnTo>
                    <a:lnTo>
                      <a:pt x="43" y="45"/>
                    </a:lnTo>
                    <a:lnTo>
                      <a:pt x="41" y="49"/>
                    </a:lnTo>
                    <a:lnTo>
                      <a:pt x="41" y="50"/>
                    </a:lnTo>
                    <a:lnTo>
                      <a:pt x="40" y="50"/>
                    </a:lnTo>
                    <a:lnTo>
                      <a:pt x="40" y="50"/>
                    </a:lnTo>
                    <a:lnTo>
                      <a:pt x="41" y="50"/>
                    </a:lnTo>
                    <a:lnTo>
                      <a:pt x="41" y="52"/>
                    </a:lnTo>
                    <a:lnTo>
                      <a:pt x="40" y="52"/>
                    </a:lnTo>
                    <a:lnTo>
                      <a:pt x="40" y="52"/>
                    </a:lnTo>
                    <a:lnTo>
                      <a:pt x="38" y="54"/>
                    </a:lnTo>
                    <a:lnTo>
                      <a:pt x="38" y="54"/>
                    </a:lnTo>
                    <a:lnTo>
                      <a:pt x="38" y="58"/>
                    </a:lnTo>
                    <a:lnTo>
                      <a:pt x="38" y="58"/>
                    </a:lnTo>
                    <a:lnTo>
                      <a:pt x="34" y="59"/>
                    </a:lnTo>
                    <a:lnTo>
                      <a:pt x="31" y="61"/>
                    </a:lnTo>
                    <a:lnTo>
                      <a:pt x="31" y="61"/>
                    </a:lnTo>
                    <a:lnTo>
                      <a:pt x="29" y="58"/>
                    </a:lnTo>
                    <a:lnTo>
                      <a:pt x="27" y="54"/>
                    </a:lnTo>
                    <a:lnTo>
                      <a:pt x="27" y="54"/>
                    </a:lnTo>
                    <a:lnTo>
                      <a:pt x="29" y="54"/>
                    </a:lnTo>
                    <a:lnTo>
                      <a:pt x="29" y="52"/>
                    </a:lnTo>
                    <a:lnTo>
                      <a:pt x="29" y="52"/>
                    </a:lnTo>
                    <a:lnTo>
                      <a:pt x="31" y="52"/>
                    </a:lnTo>
                    <a:lnTo>
                      <a:pt x="31" y="50"/>
                    </a:lnTo>
                    <a:lnTo>
                      <a:pt x="29" y="49"/>
                    </a:lnTo>
                    <a:lnTo>
                      <a:pt x="29" y="49"/>
                    </a:lnTo>
                    <a:lnTo>
                      <a:pt x="27" y="47"/>
                    </a:lnTo>
                    <a:lnTo>
                      <a:pt x="25" y="45"/>
                    </a:lnTo>
                    <a:lnTo>
                      <a:pt x="22" y="43"/>
                    </a:lnTo>
                    <a:lnTo>
                      <a:pt x="20" y="41"/>
                    </a:lnTo>
                    <a:lnTo>
                      <a:pt x="20" y="41"/>
                    </a:lnTo>
                    <a:lnTo>
                      <a:pt x="16" y="41"/>
                    </a:lnTo>
                    <a:lnTo>
                      <a:pt x="16" y="40"/>
                    </a:lnTo>
                    <a:lnTo>
                      <a:pt x="20" y="38"/>
                    </a:lnTo>
                    <a:lnTo>
                      <a:pt x="20" y="38"/>
                    </a:lnTo>
                    <a:lnTo>
                      <a:pt x="27" y="38"/>
                    </a:lnTo>
                    <a:lnTo>
                      <a:pt x="29" y="38"/>
                    </a:lnTo>
                    <a:lnTo>
                      <a:pt x="31" y="36"/>
                    </a:lnTo>
                    <a:lnTo>
                      <a:pt x="31" y="36"/>
                    </a:lnTo>
                    <a:lnTo>
                      <a:pt x="33" y="34"/>
                    </a:lnTo>
                    <a:lnTo>
                      <a:pt x="36" y="34"/>
                    </a:lnTo>
                    <a:lnTo>
                      <a:pt x="38" y="34"/>
                    </a:lnTo>
                    <a:lnTo>
                      <a:pt x="38" y="38"/>
                    </a:lnTo>
                    <a:lnTo>
                      <a:pt x="38" y="38"/>
                    </a:lnTo>
                    <a:lnTo>
                      <a:pt x="40" y="34"/>
                    </a:lnTo>
                    <a:lnTo>
                      <a:pt x="40" y="34"/>
                    </a:lnTo>
                    <a:lnTo>
                      <a:pt x="40" y="36"/>
                    </a:lnTo>
                    <a:lnTo>
                      <a:pt x="41" y="36"/>
                    </a:lnTo>
                    <a:lnTo>
                      <a:pt x="43" y="36"/>
                    </a:lnTo>
                    <a:lnTo>
                      <a:pt x="43" y="38"/>
                    </a:lnTo>
                    <a:lnTo>
                      <a:pt x="43" y="38"/>
                    </a:lnTo>
                    <a:lnTo>
                      <a:pt x="43" y="36"/>
                    </a:lnTo>
                    <a:lnTo>
                      <a:pt x="45" y="38"/>
                    </a:lnTo>
                    <a:lnTo>
                      <a:pt x="45" y="38"/>
                    </a:lnTo>
                    <a:lnTo>
                      <a:pt x="45" y="36"/>
                    </a:lnTo>
                    <a:lnTo>
                      <a:pt x="45" y="34"/>
                    </a:lnTo>
                    <a:lnTo>
                      <a:pt x="45" y="34"/>
                    </a:lnTo>
                    <a:lnTo>
                      <a:pt x="49" y="33"/>
                    </a:lnTo>
                    <a:lnTo>
                      <a:pt x="49" y="33"/>
                    </a:lnTo>
                    <a:lnTo>
                      <a:pt x="47" y="33"/>
                    </a:lnTo>
                    <a:lnTo>
                      <a:pt x="49" y="31"/>
                    </a:lnTo>
                    <a:lnTo>
                      <a:pt x="49" y="31"/>
                    </a:lnTo>
                    <a:lnTo>
                      <a:pt x="47" y="31"/>
                    </a:lnTo>
                    <a:lnTo>
                      <a:pt x="47" y="31"/>
                    </a:lnTo>
                    <a:lnTo>
                      <a:pt x="49" y="29"/>
                    </a:lnTo>
                    <a:lnTo>
                      <a:pt x="49" y="29"/>
                    </a:lnTo>
                    <a:lnTo>
                      <a:pt x="43" y="29"/>
                    </a:lnTo>
                    <a:lnTo>
                      <a:pt x="38" y="31"/>
                    </a:lnTo>
                    <a:lnTo>
                      <a:pt x="38" y="31"/>
                    </a:lnTo>
                    <a:lnTo>
                      <a:pt x="34" y="31"/>
                    </a:lnTo>
                    <a:lnTo>
                      <a:pt x="31" y="31"/>
                    </a:lnTo>
                    <a:lnTo>
                      <a:pt x="31" y="31"/>
                    </a:lnTo>
                    <a:lnTo>
                      <a:pt x="29" y="31"/>
                    </a:lnTo>
                    <a:lnTo>
                      <a:pt x="25" y="31"/>
                    </a:lnTo>
                    <a:lnTo>
                      <a:pt x="25" y="31"/>
                    </a:lnTo>
                    <a:lnTo>
                      <a:pt x="22" y="31"/>
                    </a:lnTo>
                    <a:lnTo>
                      <a:pt x="22" y="31"/>
                    </a:lnTo>
                    <a:lnTo>
                      <a:pt x="20" y="31"/>
                    </a:lnTo>
                    <a:lnTo>
                      <a:pt x="16" y="29"/>
                    </a:lnTo>
                    <a:lnTo>
                      <a:pt x="16" y="29"/>
                    </a:lnTo>
                    <a:lnTo>
                      <a:pt x="18" y="27"/>
                    </a:lnTo>
                    <a:lnTo>
                      <a:pt x="18" y="27"/>
                    </a:lnTo>
                    <a:lnTo>
                      <a:pt x="16" y="25"/>
                    </a:lnTo>
                    <a:lnTo>
                      <a:pt x="16" y="24"/>
                    </a:lnTo>
                    <a:lnTo>
                      <a:pt x="16" y="24"/>
                    </a:lnTo>
                    <a:lnTo>
                      <a:pt x="16" y="22"/>
                    </a:lnTo>
                    <a:lnTo>
                      <a:pt x="16" y="22"/>
                    </a:lnTo>
                    <a:lnTo>
                      <a:pt x="15" y="22"/>
                    </a:lnTo>
                    <a:lnTo>
                      <a:pt x="15" y="20"/>
                    </a:lnTo>
                    <a:lnTo>
                      <a:pt x="15" y="20"/>
                    </a:lnTo>
                    <a:lnTo>
                      <a:pt x="13" y="20"/>
                    </a:lnTo>
                    <a:lnTo>
                      <a:pt x="13" y="18"/>
                    </a:lnTo>
                    <a:lnTo>
                      <a:pt x="13" y="18"/>
                    </a:lnTo>
                    <a:lnTo>
                      <a:pt x="11" y="20"/>
                    </a:lnTo>
                    <a:lnTo>
                      <a:pt x="9" y="18"/>
                    </a:lnTo>
                    <a:lnTo>
                      <a:pt x="6" y="16"/>
                    </a:lnTo>
                    <a:lnTo>
                      <a:pt x="6" y="16"/>
                    </a:lnTo>
                    <a:lnTo>
                      <a:pt x="6" y="18"/>
                    </a:lnTo>
                    <a:lnTo>
                      <a:pt x="4" y="18"/>
                    </a:lnTo>
                    <a:lnTo>
                      <a:pt x="2" y="18"/>
                    </a:lnTo>
                    <a:lnTo>
                      <a:pt x="2" y="18"/>
                    </a:lnTo>
                    <a:lnTo>
                      <a:pt x="0" y="16"/>
                    </a:lnTo>
                    <a:lnTo>
                      <a:pt x="2" y="15"/>
                    </a:lnTo>
                    <a:lnTo>
                      <a:pt x="6"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69" name="Freeform 2721"/>
              <p:cNvSpPr>
                <a:spLocks/>
              </p:cNvSpPr>
              <p:nvPr/>
            </p:nvSpPr>
            <p:spPr bwMode="auto">
              <a:xfrm>
                <a:off x="4846" y="2799"/>
                <a:ext cx="11" cy="14"/>
              </a:xfrm>
              <a:custGeom>
                <a:avLst/>
                <a:gdLst>
                  <a:gd name="T0" fmla="*/ 2 w 11"/>
                  <a:gd name="T1" fmla="*/ 8 h 14"/>
                  <a:gd name="T2" fmla="*/ 2 w 11"/>
                  <a:gd name="T3" fmla="*/ 8 h 14"/>
                  <a:gd name="T4" fmla="*/ 3 w 11"/>
                  <a:gd name="T5" fmla="*/ 12 h 14"/>
                  <a:gd name="T6" fmla="*/ 3 w 11"/>
                  <a:gd name="T7" fmla="*/ 12 h 14"/>
                  <a:gd name="T8" fmla="*/ 3 w 11"/>
                  <a:gd name="T9" fmla="*/ 7 h 14"/>
                  <a:gd name="T10" fmla="*/ 3 w 11"/>
                  <a:gd name="T11" fmla="*/ 7 h 14"/>
                  <a:gd name="T12" fmla="*/ 5 w 11"/>
                  <a:gd name="T13" fmla="*/ 5 h 14"/>
                  <a:gd name="T14" fmla="*/ 3 w 11"/>
                  <a:gd name="T15" fmla="*/ 5 h 14"/>
                  <a:gd name="T16" fmla="*/ 3 w 11"/>
                  <a:gd name="T17" fmla="*/ 3 h 14"/>
                  <a:gd name="T18" fmla="*/ 3 w 11"/>
                  <a:gd name="T19" fmla="*/ 3 h 14"/>
                  <a:gd name="T20" fmla="*/ 3 w 11"/>
                  <a:gd name="T21" fmla="*/ 3 h 14"/>
                  <a:gd name="T22" fmla="*/ 5 w 11"/>
                  <a:gd name="T23" fmla="*/ 3 h 14"/>
                  <a:gd name="T24" fmla="*/ 5 w 11"/>
                  <a:gd name="T25" fmla="*/ 1 h 14"/>
                  <a:gd name="T26" fmla="*/ 7 w 11"/>
                  <a:gd name="T27" fmla="*/ 0 h 14"/>
                  <a:gd name="T28" fmla="*/ 7 w 11"/>
                  <a:gd name="T29" fmla="*/ 0 h 14"/>
                  <a:gd name="T30" fmla="*/ 9 w 11"/>
                  <a:gd name="T31" fmla="*/ 0 h 14"/>
                  <a:gd name="T32" fmla="*/ 11 w 11"/>
                  <a:gd name="T33" fmla="*/ 0 h 14"/>
                  <a:gd name="T34" fmla="*/ 11 w 11"/>
                  <a:gd name="T35" fmla="*/ 3 h 14"/>
                  <a:gd name="T36" fmla="*/ 11 w 11"/>
                  <a:gd name="T37" fmla="*/ 3 h 14"/>
                  <a:gd name="T38" fmla="*/ 11 w 11"/>
                  <a:gd name="T39" fmla="*/ 10 h 14"/>
                  <a:gd name="T40" fmla="*/ 11 w 11"/>
                  <a:gd name="T41" fmla="*/ 10 h 14"/>
                  <a:gd name="T42" fmla="*/ 11 w 11"/>
                  <a:gd name="T43" fmla="*/ 14 h 14"/>
                  <a:gd name="T44" fmla="*/ 9 w 11"/>
                  <a:gd name="T45" fmla="*/ 14 h 14"/>
                  <a:gd name="T46" fmla="*/ 3 w 11"/>
                  <a:gd name="T47" fmla="*/ 12 h 14"/>
                  <a:gd name="T48" fmla="*/ 3 w 11"/>
                  <a:gd name="T49" fmla="*/ 12 h 14"/>
                  <a:gd name="T50" fmla="*/ 5 w 11"/>
                  <a:gd name="T51" fmla="*/ 12 h 14"/>
                  <a:gd name="T52" fmla="*/ 2 w 11"/>
                  <a:gd name="T53" fmla="*/ 12 h 14"/>
                  <a:gd name="T54" fmla="*/ 0 w 11"/>
                  <a:gd name="T55" fmla="*/ 8 h 14"/>
                  <a:gd name="T56" fmla="*/ 2 w 11"/>
                  <a:gd name="T5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 h="14">
                    <a:moveTo>
                      <a:pt x="2" y="8"/>
                    </a:moveTo>
                    <a:lnTo>
                      <a:pt x="2" y="8"/>
                    </a:lnTo>
                    <a:lnTo>
                      <a:pt x="3" y="12"/>
                    </a:lnTo>
                    <a:lnTo>
                      <a:pt x="3" y="12"/>
                    </a:lnTo>
                    <a:lnTo>
                      <a:pt x="3" y="7"/>
                    </a:lnTo>
                    <a:lnTo>
                      <a:pt x="3" y="7"/>
                    </a:lnTo>
                    <a:lnTo>
                      <a:pt x="5" y="5"/>
                    </a:lnTo>
                    <a:lnTo>
                      <a:pt x="3" y="5"/>
                    </a:lnTo>
                    <a:lnTo>
                      <a:pt x="3" y="3"/>
                    </a:lnTo>
                    <a:lnTo>
                      <a:pt x="3" y="3"/>
                    </a:lnTo>
                    <a:lnTo>
                      <a:pt x="3" y="3"/>
                    </a:lnTo>
                    <a:lnTo>
                      <a:pt x="5" y="3"/>
                    </a:lnTo>
                    <a:lnTo>
                      <a:pt x="5" y="1"/>
                    </a:lnTo>
                    <a:lnTo>
                      <a:pt x="7" y="0"/>
                    </a:lnTo>
                    <a:lnTo>
                      <a:pt x="7" y="0"/>
                    </a:lnTo>
                    <a:lnTo>
                      <a:pt x="9" y="0"/>
                    </a:lnTo>
                    <a:lnTo>
                      <a:pt x="11" y="0"/>
                    </a:lnTo>
                    <a:lnTo>
                      <a:pt x="11" y="3"/>
                    </a:lnTo>
                    <a:lnTo>
                      <a:pt x="11" y="3"/>
                    </a:lnTo>
                    <a:lnTo>
                      <a:pt x="11" y="10"/>
                    </a:lnTo>
                    <a:lnTo>
                      <a:pt x="11" y="10"/>
                    </a:lnTo>
                    <a:lnTo>
                      <a:pt x="11" y="14"/>
                    </a:lnTo>
                    <a:lnTo>
                      <a:pt x="9" y="14"/>
                    </a:lnTo>
                    <a:lnTo>
                      <a:pt x="3" y="12"/>
                    </a:lnTo>
                    <a:lnTo>
                      <a:pt x="3" y="12"/>
                    </a:lnTo>
                    <a:lnTo>
                      <a:pt x="5" y="12"/>
                    </a:lnTo>
                    <a:lnTo>
                      <a:pt x="2" y="12"/>
                    </a:lnTo>
                    <a:lnTo>
                      <a:pt x="0" y="8"/>
                    </a:lnTo>
                    <a:lnTo>
                      <a:pt x="2" y="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70" name="Freeform 2722"/>
              <p:cNvSpPr>
                <a:spLocks/>
              </p:cNvSpPr>
              <p:nvPr/>
            </p:nvSpPr>
            <p:spPr bwMode="auto">
              <a:xfrm>
                <a:off x="4846" y="2799"/>
                <a:ext cx="11" cy="14"/>
              </a:xfrm>
              <a:custGeom>
                <a:avLst/>
                <a:gdLst>
                  <a:gd name="T0" fmla="*/ 2 w 11"/>
                  <a:gd name="T1" fmla="*/ 8 h 14"/>
                  <a:gd name="T2" fmla="*/ 2 w 11"/>
                  <a:gd name="T3" fmla="*/ 8 h 14"/>
                  <a:gd name="T4" fmla="*/ 3 w 11"/>
                  <a:gd name="T5" fmla="*/ 12 h 14"/>
                  <a:gd name="T6" fmla="*/ 3 w 11"/>
                  <a:gd name="T7" fmla="*/ 12 h 14"/>
                  <a:gd name="T8" fmla="*/ 3 w 11"/>
                  <a:gd name="T9" fmla="*/ 7 h 14"/>
                  <a:gd name="T10" fmla="*/ 3 w 11"/>
                  <a:gd name="T11" fmla="*/ 7 h 14"/>
                  <a:gd name="T12" fmla="*/ 5 w 11"/>
                  <a:gd name="T13" fmla="*/ 5 h 14"/>
                  <a:gd name="T14" fmla="*/ 3 w 11"/>
                  <a:gd name="T15" fmla="*/ 5 h 14"/>
                  <a:gd name="T16" fmla="*/ 3 w 11"/>
                  <a:gd name="T17" fmla="*/ 3 h 14"/>
                  <a:gd name="T18" fmla="*/ 3 w 11"/>
                  <a:gd name="T19" fmla="*/ 3 h 14"/>
                  <a:gd name="T20" fmla="*/ 3 w 11"/>
                  <a:gd name="T21" fmla="*/ 3 h 14"/>
                  <a:gd name="T22" fmla="*/ 5 w 11"/>
                  <a:gd name="T23" fmla="*/ 3 h 14"/>
                  <a:gd name="T24" fmla="*/ 5 w 11"/>
                  <a:gd name="T25" fmla="*/ 1 h 14"/>
                  <a:gd name="T26" fmla="*/ 7 w 11"/>
                  <a:gd name="T27" fmla="*/ 0 h 14"/>
                  <a:gd name="T28" fmla="*/ 7 w 11"/>
                  <a:gd name="T29" fmla="*/ 0 h 14"/>
                  <a:gd name="T30" fmla="*/ 9 w 11"/>
                  <a:gd name="T31" fmla="*/ 0 h 14"/>
                  <a:gd name="T32" fmla="*/ 11 w 11"/>
                  <a:gd name="T33" fmla="*/ 0 h 14"/>
                  <a:gd name="T34" fmla="*/ 11 w 11"/>
                  <a:gd name="T35" fmla="*/ 3 h 14"/>
                  <a:gd name="T36" fmla="*/ 11 w 11"/>
                  <a:gd name="T37" fmla="*/ 3 h 14"/>
                  <a:gd name="T38" fmla="*/ 11 w 11"/>
                  <a:gd name="T39" fmla="*/ 10 h 14"/>
                  <a:gd name="T40" fmla="*/ 11 w 11"/>
                  <a:gd name="T41" fmla="*/ 10 h 14"/>
                  <a:gd name="T42" fmla="*/ 11 w 11"/>
                  <a:gd name="T43" fmla="*/ 14 h 14"/>
                  <a:gd name="T44" fmla="*/ 9 w 11"/>
                  <a:gd name="T45" fmla="*/ 14 h 14"/>
                  <a:gd name="T46" fmla="*/ 3 w 11"/>
                  <a:gd name="T47" fmla="*/ 12 h 14"/>
                  <a:gd name="T48" fmla="*/ 3 w 11"/>
                  <a:gd name="T49" fmla="*/ 12 h 14"/>
                  <a:gd name="T50" fmla="*/ 5 w 11"/>
                  <a:gd name="T51" fmla="*/ 12 h 14"/>
                  <a:gd name="T52" fmla="*/ 2 w 11"/>
                  <a:gd name="T53" fmla="*/ 12 h 14"/>
                  <a:gd name="T54" fmla="*/ 0 w 11"/>
                  <a:gd name="T55" fmla="*/ 8 h 14"/>
                  <a:gd name="T56" fmla="*/ 2 w 11"/>
                  <a:gd name="T5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 h="14">
                    <a:moveTo>
                      <a:pt x="2" y="8"/>
                    </a:moveTo>
                    <a:lnTo>
                      <a:pt x="2" y="8"/>
                    </a:lnTo>
                    <a:lnTo>
                      <a:pt x="3" y="12"/>
                    </a:lnTo>
                    <a:lnTo>
                      <a:pt x="3" y="12"/>
                    </a:lnTo>
                    <a:lnTo>
                      <a:pt x="3" y="7"/>
                    </a:lnTo>
                    <a:lnTo>
                      <a:pt x="3" y="7"/>
                    </a:lnTo>
                    <a:lnTo>
                      <a:pt x="5" y="5"/>
                    </a:lnTo>
                    <a:lnTo>
                      <a:pt x="3" y="5"/>
                    </a:lnTo>
                    <a:lnTo>
                      <a:pt x="3" y="3"/>
                    </a:lnTo>
                    <a:lnTo>
                      <a:pt x="3" y="3"/>
                    </a:lnTo>
                    <a:lnTo>
                      <a:pt x="3" y="3"/>
                    </a:lnTo>
                    <a:lnTo>
                      <a:pt x="5" y="3"/>
                    </a:lnTo>
                    <a:lnTo>
                      <a:pt x="5" y="1"/>
                    </a:lnTo>
                    <a:lnTo>
                      <a:pt x="7" y="0"/>
                    </a:lnTo>
                    <a:lnTo>
                      <a:pt x="7" y="0"/>
                    </a:lnTo>
                    <a:lnTo>
                      <a:pt x="9" y="0"/>
                    </a:lnTo>
                    <a:lnTo>
                      <a:pt x="11" y="0"/>
                    </a:lnTo>
                    <a:lnTo>
                      <a:pt x="11" y="3"/>
                    </a:lnTo>
                    <a:lnTo>
                      <a:pt x="11" y="3"/>
                    </a:lnTo>
                    <a:lnTo>
                      <a:pt x="11" y="10"/>
                    </a:lnTo>
                    <a:lnTo>
                      <a:pt x="11" y="10"/>
                    </a:lnTo>
                    <a:lnTo>
                      <a:pt x="11" y="14"/>
                    </a:lnTo>
                    <a:lnTo>
                      <a:pt x="9" y="14"/>
                    </a:lnTo>
                    <a:lnTo>
                      <a:pt x="3" y="12"/>
                    </a:lnTo>
                    <a:lnTo>
                      <a:pt x="3" y="12"/>
                    </a:lnTo>
                    <a:lnTo>
                      <a:pt x="5" y="12"/>
                    </a:lnTo>
                    <a:lnTo>
                      <a:pt x="2" y="12"/>
                    </a:lnTo>
                    <a:lnTo>
                      <a:pt x="0" y="8"/>
                    </a:lnTo>
                    <a:lnTo>
                      <a:pt x="2" y="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71" name="Freeform 2723"/>
              <p:cNvSpPr>
                <a:spLocks/>
              </p:cNvSpPr>
              <p:nvPr/>
            </p:nvSpPr>
            <p:spPr bwMode="auto">
              <a:xfrm>
                <a:off x="4851" y="2811"/>
                <a:ext cx="2" cy="4"/>
              </a:xfrm>
              <a:custGeom>
                <a:avLst/>
                <a:gdLst>
                  <a:gd name="T0" fmla="*/ 0 w 2"/>
                  <a:gd name="T1" fmla="*/ 0 h 4"/>
                  <a:gd name="T2" fmla="*/ 0 w 2"/>
                  <a:gd name="T3" fmla="*/ 0 h 4"/>
                  <a:gd name="T4" fmla="*/ 2 w 2"/>
                  <a:gd name="T5" fmla="*/ 2 h 4"/>
                  <a:gd name="T6" fmla="*/ 2 w 2"/>
                  <a:gd name="T7" fmla="*/ 4 h 4"/>
                  <a:gd name="T8" fmla="*/ 2 w 2"/>
                  <a:gd name="T9" fmla="*/ 4 h 4"/>
                  <a:gd name="T10" fmla="*/ 0 w 2"/>
                  <a:gd name="T11" fmla="*/ 4 h 4"/>
                  <a:gd name="T12" fmla="*/ 0 w 2"/>
                  <a:gd name="T13" fmla="*/ 2 h 4"/>
                  <a:gd name="T14" fmla="*/ 0 w 2"/>
                  <a:gd name="T15" fmla="*/ 2 h 4"/>
                  <a:gd name="T16" fmla="*/ 0 w 2"/>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0" y="0"/>
                    </a:moveTo>
                    <a:lnTo>
                      <a:pt x="0" y="0"/>
                    </a:lnTo>
                    <a:lnTo>
                      <a:pt x="2" y="2"/>
                    </a:lnTo>
                    <a:lnTo>
                      <a:pt x="2" y="4"/>
                    </a:lnTo>
                    <a:lnTo>
                      <a:pt x="2" y="4"/>
                    </a:lnTo>
                    <a:lnTo>
                      <a:pt x="0" y="4"/>
                    </a:lnTo>
                    <a:lnTo>
                      <a:pt x="0" y="2"/>
                    </a:lnTo>
                    <a:lnTo>
                      <a:pt x="0"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72" name="Freeform 2724"/>
              <p:cNvSpPr>
                <a:spLocks/>
              </p:cNvSpPr>
              <p:nvPr/>
            </p:nvSpPr>
            <p:spPr bwMode="auto">
              <a:xfrm>
                <a:off x="4851" y="2811"/>
                <a:ext cx="2" cy="4"/>
              </a:xfrm>
              <a:custGeom>
                <a:avLst/>
                <a:gdLst>
                  <a:gd name="T0" fmla="*/ 0 w 2"/>
                  <a:gd name="T1" fmla="*/ 0 h 4"/>
                  <a:gd name="T2" fmla="*/ 0 w 2"/>
                  <a:gd name="T3" fmla="*/ 0 h 4"/>
                  <a:gd name="T4" fmla="*/ 2 w 2"/>
                  <a:gd name="T5" fmla="*/ 2 h 4"/>
                  <a:gd name="T6" fmla="*/ 2 w 2"/>
                  <a:gd name="T7" fmla="*/ 4 h 4"/>
                  <a:gd name="T8" fmla="*/ 2 w 2"/>
                  <a:gd name="T9" fmla="*/ 4 h 4"/>
                  <a:gd name="T10" fmla="*/ 0 w 2"/>
                  <a:gd name="T11" fmla="*/ 4 h 4"/>
                  <a:gd name="T12" fmla="*/ 0 w 2"/>
                  <a:gd name="T13" fmla="*/ 2 h 4"/>
                  <a:gd name="T14" fmla="*/ 0 w 2"/>
                  <a:gd name="T15" fmla="*/ 2 h 4"/>
                  <a:gd name="T16" fmla="*/ 0 w 2"/>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0" y="0"/>
                    </a:moveTo>
                    <a:lnTo>
                      <a:pt x="0" y="0"/>
                    </a:lnTo>
                    <a:lnTo>
                      <a:pt x="2" y="2"/>
                    </a:lnTo>
                    <a:lnTo>
                      <a:pt x="2" y="4"/>
                    </a:lnTo>
                    <a:lnTo>
                      <a:pt x="2" y="4"/>
                    </a:lnTo>
                    <a:lnTo>
                      <a:pt x="0" y="4"/>
                    </a:lnTo>
                    <a:lnTo>
                      <a:pt x="0" y="2"/>
                    </a:lnTo>
                    <a:lnTo>
                      <a:pt x="0"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73" name="Freeform 2725"/>
              <p:cNvSpPr>
                <a:spLocks/>
              </p:cNvSpPr>
              <p:nvPr/>
            </p:nvSpPr>
            <p:spPr bwMode="auto">
              <a:xfrm>
                <a:off x="4360" y="2690"/>
                <a:ext cx="4" cy="1"/>
              </a:xfrm>
              <a:custGeom>
                <a:avLst/>
                <a:gdLst>
                  <a:gd name="T0" fmla="*/ 0 w 4"/>
                  <a:gd name="T1" fmla="*/ 0 h 1"/>
                  <a:gd name="T2" fmla="*/ 0 w 4"/>
                  <a:gd name="T3" fmla="*/ 0 h 1"/>
                  <a:gd name="T4" fmla="*/ 0 w 4"/>
                  <a:gd name="T5" fmla="*/ 1 h 1"/>
                  <a:gd name="T6" fmla="*/ 0 w 4"/>
                  <a:gd name="T7" fmla="*/ 1 h 1"/>
                  <a:gd name="T8" fmla="*/ 2 w 4"/>
                  <a:gd name="T9" fmla="*/ 1 h 1"/>
                  <a:gd name="T10" fmla="*/ 4 w 4"/>
                  <a:gd name="T11" fmla="*/ 1 h 1"/>
                  <a:gd name="T12" fmla="*/ 4 w 4"/>
                  <a:gd name="T13" fmla="*/ 1 h 1"/>
                  <a:gd name="T14" fmla="*/ 0 w 4"/>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
                    <a:moveTo>
                      <a:pt x="0" y="0"/>
                    </a:moveTo>
                    <a:lnTo>
                      <a:pt x="0" y="0"/>
                    </a:lnTo>
                    <a:lnTo>
                      <a:pt x="0" y="1"/>
                    </a:lnTo>
                    <a:lnTo>
                      <a:pt x="0" y="1"/>
                    </a:lnTo>
                    <a:lnTo>
                      <a:pt x="2" y="1"/>
                    </a:lnTo>
                    <a:lnTo>
                      <a:pt x="4" y="1"/>
                    </a:lnTo>
                    <a:lnTo>
                      <a:pt x="4" y="1"/>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74" name="Freeform 2726"/>
              <p:cNvSpPr>
                <a:spLocks/>
              </p:cNvSpPr>
              <p:nvPr/>
            </p:nvSpPr>
            <p:spPr bwMode="auto">
              <a:xfrm>
                <a:off x="4360" y="2690"/>
                <a:ext cx="4" cy="1"/>
              </a:xfrm>
              <a:custGeom>
                <a:avLst/>
                <a:gdLst>
                  <a:gd name="T0" fmla="*/ 0 w 4"/>
                  <a:gd name="T1" fmla="*/ 0 h 1"/>
                  <a:gd name="T2" fmla="*/ 0 w 4"/>
                  <a:gd name="T3" fmla="*/ 0 h 1"/>
                  <a:gd name="T4" fmla="*/ 0 w 4"/>
                  <a:gd name="T5" fmla="*/ 1 h 1"/>
                  <a:gd name="T6" fmla="*/ 0 w 4"/>
                  <a:gd name="T7" fmla="*/ 1 h 1"/>
                  <a:gd name="T8" fmla="*/ 2 w 4"/>
                  <a:gd name="T9" fmla="*/ 1 h 1"/>
                  <a:gd name="T10" fmla="*/ 4 w 4"/>
                  <a:gd name="T11" fmla="*/ 1 h 1"/>
                  <a:gd name="T12" fmla="*/ 4 w 4"/>
                  <a:gd name="T13" fmla="*/ 1 h 1"/>
                  <a:gd name="T14" fmla="*/ 0 w 4"/>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
                    <a:moveTo>
                      <a:pt x="0" y="0"/>
                    </a:moveTo>
                    <a:lnTo>
                      <a:pt x="0" y="0"/>
                    </a:lnTo>
                    <a:lnTo>
                      <a:pt x="0" y="1"/>
                    </a:lnTo>
                    <a:lnTo>
                      <a:pt x="0" y="1"/>
                    </a:lnTo>
                    <a:lnTo>
                      <a:pt x="2" y="1"/>
                    </a:lnTo>
                    <a:lnTo>
                      <a:pt x="4" y="1"/>
                    </a:lnTo>
                    <a:lnTo>
                      <a:pt x="4" y="1"/>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75" name="Freeform 2727"/>
              <p:cNvSpPr>
                <a:spLocks/>
              </p:cNvSpPr>
              <p:nvPr/>
            </p:nvSpPr>
            <p:spPr bwMode="auto">
              <a:xfrm>
                <a:off x="4299" y="2625"/>
                <a:ext cx="2" cy="4"/>
              </a:xfrm>
              <a:custGeom>
                <a:avLst/>
                <a:gdLst>
                  <a:gd name="T0" fmla="*/ 2 w 2"/>
                  <a:gd name="T1" fmla="*/ 0 h 4"/>
                  <a:gd name="T2" fmla="*/ 2 w 2"/>
                  <a:gd name="T3" fmla="*/ 0 h 4"/>
                  <a:gd name="T4" fmla="*/ 0 w 2"/>
                  <a:gd name="T5" fmla="*/ 0 h 4"/>
                  <a:gd name="T6" fmla="*/ 0 w 2"/>
                  <a:gd name="T7" fmla="*/ 2 h 4"/>
                  <a:gd name="T8" fmla="*/ 0 w 2"/>
                  <a:gd name="T9" fmla="*/ 2 h 4"/>
                  <a:gd name="T10" fmla="*/ 2 w 2"/>
                  <a:gd name="T11" fmla="*/ 4 h 4"/>
                  <a:gd name="T12" fmla="*/ 2 w 2"/>
                  <a:gd name="T13" fmla="*/ 4 h 4"/>
                  <a:gd name="T14" fmla="*/ 2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2" y="0"/>
                    </a:moveTo>
                    <a:lnTo>
                      <a:pt x="2" y="0"/>
                    </a:lnTo>
                    <a:lnTo>
                      <a:pt x="0" y="0"/>
                    </a:lnTo>
                    <a:lnTo>
                      <a:pt x="0" y="2"/>
                    </a:lnTo>
                    <a:lnTo>
                      <a:pt x="0" y="2"/>
                    </a:lnTo>
                    <a:lnTo>
                      <a:pt x="2" y="4"/>
                    </a:lnTo>
                    <a:lnTo>
                      <a:pt x="2" y="4"/>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76" name="Freeform 2728"/>
              <p:cNvSpPr>
                <a:spLocks/>
              </p:cNvSpPr>
              <p:nvPr/>
            </p:nvSpPr>
            <p:spPr bwMode="auto">
              <a:xfrm>
                <a:off x="4299" y="2625"/>
                <a:ext cx="2" cy="4"/>
              </a:xfrm>
              <a:custGeom>
                <a:avLst/>
                <a:gdLst>
                  <a:gd name="T0" fmla="*/ 2 w 2"/>
                  <a:gd name="T1" fmla="*/ 0 h 4"/>
                  <a:gd name="T2" fmla="*/ 2 w 2"/>
                  <a:gd name="T3" fmla="*/ 0 h 4"/>
                  <a:gd name="T4" fmla="*/ 0 w 2"/>
                  <a:gd name="T5" fmla="*/ 0 h 4"/>
                  <a:gd name="T6" fmla="*/ 0 w 2"/>
                  <a:gd name="T7" fmla="*/ 2 h 4"/>
                  <a:gd name="T8" fmla="*/ 0 w 2"/>
                  <a:gd name="T9" fmla="*/ 2 h 4"/>
                  <a:gd name="T10" fmla="*/ 2 w 2"/>
                  <a:gd name="T11" fmla="*/ 4 h 4"/>
                  <a:gd name="T12" fmla="*/ 2 w 2"/>
                  <a:gd name="T13" fmla="*/ 4 h 4"/>
                  <a:gd name="T14" fmla="*/ 2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2" y="0"/>
                    </a:moveTo>
                    <a:lnTo>
                      <a:pt x="2" y="0"/>
                    </a:lnTo>
                    <a:lnTo>
                      <a:pt x="0" y="0"/>
                    </a:lnTo>
                    <a:lnTo>
                      <a:pt x="0" y="2"/>
                    </a:lnTo>
                    <a:lnTo>
                      <a:pt x="0" y="2"/>
                    </a:lnTo>
                    <a:lnTo>
                      <a:pt x="2" y="4"/>
                    </a:lnTo>
                    <a:lnTo>
                      <a:pt x="2" y="4"/>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77" name="Freeform 2729"/>
              <p:cNvSpPr>
                <a:spLocks/>
              </p:cNvSpPr>
              <p:nvPr/>
            </p:nvSpPr>
            <p:spPr bwMode="auto">
              <a:xfrm>
                <a:off x="4366" y="2666"/>
                <a:ext cx="1" cy="2"/>
              </a:xfrm>
              <a:custGeom>
                <a:avLst/>
                <a:gdLst>
                  <a:gd name="T0" fmla="*/ 0 w 1"/>
                  <a:gd name="T1" fmla="*/ 0 h 2"/>
                  <a:gd name="T2" fmla="*/ 0 w 1"/>
                  <a:gd name="T3" fmla="*/ 0 h 2"/>
                  <a:gd name="T4" fmla="*/ 0 w 1"/>
                  <a:gd name="T5" fmla="*/ 2 h 2"/>
                  <a:gd name="T6" fmla="*/ 0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0" y="0"/>
                    </a:lnTo>
                    <a:lnTo>
                      <a:pt x="0" y="2"/>
                    </a:lnTo>
                    <a:lnTo>
                      <a:pt x="0" y="2"/>
                    </a:lnTo>
                    <a:lnTo>
                      <a:pt x="1"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78" name="Freeform 2730"/>
              <p:cNvSpPr>
                <a:spLocks/>
              </p:cNvSpPr>
              <p:nvPr/>
            </p:nvSpPr>
            <p:spPr bwMode="auto">
              <a:xfrm>
                <a:off x="4366" y="2666"/>
                <a:ext cx="1" cy="2"/>
              </a:xfrm>
              <a:custGeom>
                <a:avLst/>
                <a:gdLst>
                  <a:gd name="T0" fmla="*/ 0 w 1"/>
                  <a:gd name="T1" fmla="*/ 0 h 2"/>
                  <a:gd name="T2" fmla="*/ 0 w 1"/>
                  <a:gd name="T3" fmla="*/ 0 h 2"/>
                  <a:gd name="T4" fmla="*/ 0 w 1"/>
                  <a:gd name="T5" fmla="*/ 2 h 2"/>
                  <a:gd name="T6" fmla="*/ 0 w 1"/>
                  <a:gd name="T7" fmla="*/ 2 h 2"/>
                  <a:gd name="T8" fmla="*/ 1 w 1"/>
                  <a:gd name="T9" fmla="*/ 2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0" y="0"/>
                    </a:lnTo>
                    <a:lnTo>
                      <a:pt x="0" y="2"/>
                    </a:lnTo>
                    <a:lnTo>
                      <a:pt x="0" y="2"/>
                    </a:lnTo>
                    <a:lnTo>
                      <a:pt x="1"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79" name="Freeform 2731"/>
              <p:cNvSpPr>
                <a:spLocks/>
              </p:cNvSpPr>
              <p:nvPr/>
            </p:nvSpPr>
            <p:spPr bwMode="auto">
              <a:xfrm>
                <a:off x="4299" y="2606"/>
                <a:ext cx="67" cy="85"/>
              </a:xfrm>
              <a:custGeom>
                <a:avLst/>
                <a:gdLst>
                  <a:gd name="T0" fmla="*/ 2 w 67"/>
                  <a:gd name="T1" fmla="*/ 5 h 85"/>
                  <a:gd name="T2" fmla="*/ 0 w 67"/>
                  <a:gd name="T3" fmla="*/ 5 h 85"/>
                  <a:gd name="T4" fmla="*/ 6 w 67"/>
                  <a:gd name="T5" fmla="*/ 28 h 85"/>
                  <a:gd name="T6" fmla="*/ 8 w 67"/>
                  <a:gd name="T7" fmla="*/ 30 h 85"/>
                  <a:gd name="T8" fmla="*/ 8 w 67"/>
                  <a:gd name="T9" fmla="*/ 37 h 85"/>
                  <a:gd name="T10" fmla="*/ 9 w 67"/>
                  <a:gd name="T11" fmla="*/ 41 h 85"/>
                  <a:gd name="T12" fmla="*/ 9 w 67"/>
                  <a:gd name="T13" fmla="*/ 43 h 85"/>
                  <a:gd name="T14" fmla="*/ 20 w 67"/>
                  <a:gd name="T15" fmla="*/ 57 h 85"/>
                  <a:gd name="T16" fmla="*/ 20 w 67"/>
                  <a:gd name="T17" fmla="*/ 60 h 85"/>
                  <a:gd name="T18" fmla="*/ 52 w 67"/>
                  <a:gd name="T19" fmla="*/ 84 h 85"/>
                  <a:gd name="T20" fmla="*/ 54 w 67"/>
                  <a:gd name="T21" fmla="*/ 84 h 85"/>
                  <a:gd name="T22" fmla="*/ 54 w 67"/>
                  <a:gd name="T23" fmla="*/ 85 h 85"/>
                  <a:gd name="T24" fmla="*/ 56 w 67"/>
                  <a:gd name="T25" fmla="*/ 84 h 85"/>
                  <a:gd name="T26" fmla="*/ 56 w 67"/>
                  <a:gd name="T27" fmla="*/ 82 h 85"/>
                  <a:gd name="T28" fmla="*/ 58 w 67"/>
                  <a:gd name="T29" fmla="*/ 80 h 85"/>
                  <a:gd name="T30" fmla="*/ 61 w 67"/>
                  <a:gd name="T31" fmla="*/ 82 h 85"/>
                  <a:gd name="T32" fmla="*/ 65 w 67"/>
                  <a:gd name="T33" fmla="*/ 84 h 85"/>
                  <a:gd name="T34" fmla="*/ 65 w 67"/>
                  <a:gd name="T35" fmla="*/ 82 h 85"/>
                  <a:gd name="T36" fmla="*/ 67 w 67"/>
                  <a:gd name="T37" fmla="*/ 76 h 85"/>
                  <a:gd name="T38" fmla="*/ 59 w 67"/>
                  <a:gd name="T39" fmla="*/ 64 h 85"/>
                  <a:gd name="T40" fmla="*/ 56 w 67"/>
                  <a:gd name="T41" fmla="*/ 60 h 85"/>
                  <a:gd name="T42" fmla="*/ 52 w 67"/>
                  <a:gd name="T43" fmla="*/ 28 h 85"/>
                  <a:gd name="T44" fmla="*/ 47 w 67"/>
                  <a:gd name="T45" fmla="*/ 18 h 85"/>
                  <a:gd name="T46" fmla="*/ 36 w 67"/>
                  <a:gd name="T47" fmla="*/ 9 h 85"/>
                  <a:gd name="T48" fmla="*/ 33 w 67"/>
                  <a:gd name="T49" fmla="*/ 9 h 85"/>
                  <a:gd name="T50" fmla="*/ 31 w 67"/>
                  <a:gd name="T51" fmla="*/ 12 h 85"/>
                  <a:gd name="T52" fmla="*/ 27 w 67"/>
                  <a:gd name="T53" fmla="*/ 12 h 85"/>
                  <a:gd name="T54" fmla="*/ 24 w 67"/>
                  <a:gd name="T55" fmla="*/ 12 h 85"/>
                  <a:gd name="T56" fmla="*/ 17 w 67"/>
                  <a:gd name="T57" fmla="*/ 16 h 85"/>
                  <a:gd name="T58" fmla="*/ 17 w 67"/>
                  <a:gd name="T59" fmla="*/ 12 h 85"/>
                  <a:gd name="T60" fmla="*/ 17 w 67"/>
                  <a:gd name="T61" fmla="*/ 9 h 85"/>
                  <a:gd name="T62" fmla="*/ 13 w 67"/>
                  <a:gd name="T63" fmla="*/ 3 h 85"/>
                  <a:gd name="T64" fmla="*/ 6 w 67"/>
                  <a:gd name="T65" fmla="*/ 3 h 85"/>
                  <a:gd name="T66" fmla="*/ 4 w 67"/>
                  <a:gd name="T67" fmla="*/ 0 h 85"/>
                  <a:gd name="T68" fmla="*/ 0 w 67"/>
                  <a:gd name="T69" fmla="*/ 0 h 85"/>
                  <a:gd name="T70" fmla="*/ 2 w 67"/>
                  <a:gd name="T71"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85">
                    <a:moveTo>
                      <a:pt x="2" y="5"/>
                    </a:moveTo>
                    <a:lnTo>
                      <a:pt x="0" y="5"/>
                    </a:lnTo>
                    <a:lnTo>
                      <a:pt x="6" y="28"/>
                    </a:lnTo>
                    <a:lnTo>
                      <a:pt x="8" y="30"/>
                    </a:lnTo>
                    <a:lnTo>
                      <a:pt x="8" y="37"/>
                    </a:lnTo>
                    <a:lnTo>
                      <a:pt x="9" y="41"/>
                    </a:lnTo>
                    <a:lnTo>
                      <a:pt x="9" y="43"/>
                    </a:lnTo>
                    <a:lnTo>
                      <a:pt x="20" y="57"/>
                    </a:lnTo>
                    <a:lnTo>
                      <a:pt x="20" y="60"/>
                    </a:lnTo>
                    <a:lnTo>
                      <a:pt x="52" y="84"/>
                    </a:lnTo>
                    <a:lnTo>
                      <a:pt x="54" y="84"/>
                    </a:lnTo>
                    <a:lnTo>
                      <a:pt x="54" y="85"/>
                    </a:lnTo>
                    <a:lnTo>
                      <a:pt x="56" y="84"/>
                    </a:lnTo>
                    <a:lnTo>
                      <a:pt x="56" y="82"/>
                    </a:lnTo>
                    <a:lnTo>
                      <a:pt x="58" y="80"/>
                    </a:lnTo>
                    <a:lnTo>
                      <a:pt x="61" y="82"/>
                    </a:lnTo>
                    <a:lnTo>
                      <a:pt x="65" y="84"/>
                    </a:lnTo>
                    <a:lnTo>
                      <a:pt x="65" y="82"/>
                    </a:lnTo>
                    <a:lnTo>
                      <a:pt x="67" y="76"/>
                    </a:lnTo>
                    <a:lnTo>
                      <a:pt x="59" y="64"/>
                    </a:lnTo>
                    <a:lnTo>
                      <a:pt x="56" y="60"/>
                    </a:lnTo>
                    <a:lnTo>
                      <a:pt x="52" y="28"/>
                    </a:lnTo>
                    <a:lnTo>
                      <a:pt x="47" y="18"/>
                    </a:lnTo>
                    <a:lnTo>
                      <a:pt x="36" y="9"/>
                    </a:lnTo>
                    <a:lnTo>
                      <a:pt x="33" y="9"/>
                    </a:lnTo>
                    <a:lnTo>
                      <a:pt x="31" y="12"/>
                    </a:lnTo>
                    <a:lnTo>
                      <a:pt x="27" y="12"/>
                    </a:lnTo>
                    <a:lnTo>
                      <a:pt x="24" y="12"/>
                    </a:lnTo>
                    <a:lnTo>
                      <a:pt x="17" y="16"/>
                    </a:lnTo>
                    <a:lnTo>
                      <a:pt x="17" y="12"/>
                    </a:lnTo>
                    <a:lnTo>
                      <a:pt x="17" y="9"/>
                    </a:lnTo>
                    <a:lnTo>
                      <a:pt x="13" y="3"/>
                    </a:lnTo>
                    <a:lnTo>
                      <a:pt x="6" y="3"/>
                    </a:lnTo>
                    <a:lnTo>
                      <a:pt x="4" y="0"/>
                    </a:lnTo>
                    <a:lnTo>
                      <a:pt x="0" y="0"/>
                    </a:lnTo>
                    <a:lnTo>
                      <a:pt x="2"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80" name="Freeform 2732"/>
              <p:cNvSpPr>
                <a:spLocks/>
              </p:cNvSpPr>
              <p:nvPr/>
            </p:nvSpPr>
            <p:spPr bwMode="auto">
              <a:xfrm>
                <a:off x="4299" y="2606"/>
                <a:ext cx="67" cy="85"/>
              </a:xfrm>
              <a:custGeom>
                <a:avLst/>
                <a:gdLst>
                  <a:gd name="T0" fmla="*/ 2 w 67"/>
                  <a:gd name="T1" fmla="*/ 5 h 85"/>
                  <a:gd name="T2" fmla="*/ 0 w 67"/>
                  <a:gd name="T3" fmla="*/ 5 h 85"/>
                  <a:gd name="T4" fmla="*/ 6 w 67"/>
                  <a:gd name="T5" fmla="*/ 28 h 85"/>
                  <a:gd name="T6" fmla="*/ 8 w 67"/>
                  <a:gd name="T7" fmla="*/ 30 h 85"/>
                  <a:gd name="T8" fmla="*/ 8 w 67"/>
                  <a:gd name="T9" fmla="*/ 37 h 85"/>
                  <a:gd name="T10" fmla="*/ 9 w 67"/>
                  <a:gd name="T11" fmla="*/ 41 h 85"/>
                  <a:gd name="T12" fmla="*/ 9 w 67"/>
                  <a:gd name="T13" fmla="*/ 43 h 85"/>
                  <a:gd name="T14" fmla="*/ 20 w 67"/>
                  <a:gd name="T15" fmla="*/ 57 h 85"/>
                  <a:gd name="T16" fmla="*/ 20 w 67"/>
                  <a:gd name="T17" fmla="*/ 60 h 85"/>
                  <a:gd name="T18" fmla="*/ 52 w 67"/>
                  <a:gd name="T19" fmla="*/ 84 h 85"/>
                  <a:gd name="T20" fmla="*/ 54 w 67"/>
                  <a:gd name="T21" fmla="*/ 84 h 85"/>
                  <a:gd name="T22" fmla="*/ 54 w 67"/>
                  <a:gd name="T23" fmla="*/ 85 h 85"/>
                  <a:gd name="T24" fmla="*/ 56 w 67"/>
                  <a:gd name="T25" fmla="*/ 84 h 85"/>
                  <a:gd name="T26" fmla="*/ 56 w 67"/>
                  <a:gd name="T27" fmla="*/ 82 h 85"/>
                  <a:gd name="T28" fmla="*/ 58 w 67"/>
                  <a:gd name="T29" fmla="*/ 80 h 85"/>
                  <a:gd name="T30" fmla="*/ 61 w 67"/>
                  <a:gd name="T31" fmla="*/ 82 h 85"/>
                  <a:gd name="T32" fmla="*/ 65 w 67"/>
                  <a:gd name="T33" fmla="*/ 84 h 85"/>
                  <a:gd name="T34" fmla="*/ 65 w 67"/>
                  <a:gd name="T35" fmla="*/ 82 h 85"/>
                  <a:gd name="T36" fmla="*/ 67 w 67"/>
                  <a:gd name="T37" fmla="*/ 76 h 85"/>
                  <a:gd name="T38" fmla="*/ 59 w 67"/>
                  <a:gd name="T39" fmla="*/ 64 h 85"/>
                  <a:gd name="T40" fmla="*/ 56 w 67"/>
                  <a:gd name="T41" fmla="*/ 60 h 85"/>
                  <a:gd name="T42" fmla="*/ 52 w 67"/>
                  <a:gd name="T43" fmla="*/ 28 h 85"/>
                  <a:gd name="T44" fmla="*/ 47 w 67"/>
                  <a:gd name="T45" fmla="*/ 18 h 85"/>
                  <a:gd name="T46" fmla="*/ 36 w 67"/>
                  <a:gd name="T47" fmla="*/ 9 h 85"/>
                  <a:gd name="T48" fmla="*/ 33 w 67"/>
                  <a:gd name="T49" fmla="*/ 9 h 85"/>
                  <a:gd name="T50" fmla="*/ 31 w 67"/>
                  <a:gd name="T51" fmla="*/ 12 h 85"/>
                  <a:gd name="T52" fmla="*/ 27 w 67"/>
                  <a:gd name="T53" fmla="*/ 12 h 85"/>
                  <a:gd name="T54" fmla="*/ 24 w 67"/>
                  <a:gd name="T55" fmla="*/ 12 h 85"/>
                  <a:gd name="T56" fmla="*/ 17 w 67"/>
                  <a:gd name="T57" fmla="*/ 16 h 85"/>
                  <a:gd name="T58" fmla="*/ 17 w 67"/>
                  <a:gd name="T59" fmla="*/ 12 h 85"/>
                  <a:gd name="T60" fmla="*/ 17 w 67"/>
                  <a:gd name="T61" fmla="*/ 9 h 85"/>
                  <a:gd name="T62" fmla="*/ 13 w 67"/>
                  <a:gd name="T63" fmla="*/ 3 h 85"/>
                  <a:gd name="T64" fmla="*/ 6 w 67"/>
                  <a:gd name="T65" fmla="*/ 3 h 85"/>
                  <a:gd name="T66" fmla="*/ 4 w 67"/>
                  <a:gd name="T67" fmla="*/ 0 h 85"/>
                  <a:gd name="T68" fmla="*/ 0 w 67"/>
                  <a:gd name="T69" fmla="*/ 0 h 85"/>
                  <a:gd name="T70" fmla="*/ 2 w 67"/>
                  <a:gd name="T71" fmla="*/ 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85">
                    <a:moveTo>
                      <a:pt x="2" y="5"/>
                    </a:moveTo>
                    <a:lnTo>
                      <a:pt x="0" y="5"/>
                    </a:lnTo>
                    <a:lnTo>
                      <a:pt x="6" y="28"/>
                    </a:lnTo>
                    <a:lnTo>
                      <a:pt x="8" y="30"/>
                    </a:lnTo>
                    <a:lnTo>
                      <a:pt x="8" y="37"/>
                    </a:lnTo>
                    <a:lnTo>
                      <a:pt x="9" y="41"/>
                    </a:lnTo>
                    <a:lnTo>
                      <a:pt x="9" y="43"/>
                    </a:lnTo>
                    <a:lnTo>
                      <a:pt x="20" y="57"/>
                    </a:lnTo>
                    <a:lnTo>
                      <a:pt x="20" y="60"/>
                    </a:lnTo>
                    <a:lnTo>
                      <a:pt x="52" y="84"/>
                    </a:lnTo>
                    <a:lnTo>
                      <a:pt x="54" y="84"/>
                    </a:lnTo>
                    <a:lnTo>
                      <a:pt x="54" y="85"/>
                    </a:lnTo>
                    <a:lnTo>
                      <a:pt x="56" y="84"/>
                    </a:lnTo>
                    <a:lnTo>
                      <a:pt x="56" y="82"/>
                    </a:lnTo>
                    <a:lnTo>
                      <a:pt x="58" y="80"/>
                    </a:lnTo>
                    <a:lnTo>
                      <a:pt x="61" y="82"/>
                    </a:lnTo>
                    <a:lnTo>
                      <a:pt x="65" y="84"/>
                    </a:lnTo>
                    <a:lnTo>
                      <a:pt x="65" y="82"/>
                    </a:lnTo>
                    <a:lnTo>
                      <a:pt x="67" y="76"/>
                    </a:lnTo>
                    <a:lnTo>
                      <a:pt x="59" y="64"/>
                    </a:lnTo>
                    <a:lnTo>
                      <a:pt x="56" y="60"/>
                    </a:lnTo>
                    <a:lnTo>
                      <a:pt x="52" y="28"/>
                    </a:lnTo>
                    <a:lnTo>
                      <a:pt x="47" y="18"/>
                    </a:lnTo>
                    <a:lnTo>
                      <a:pt x="36" y="9"/>
                    </a:lnTo>
                    <a:lnTo>
                      <a:pt x="33" y="9"/>
                    </a:lnTo>
                    <a:lnTo>
                      <a:pt x="31" y="12"/>
                    </a:lnTo>
                    <a:lnTo>
                      <a:pt x="27" y="12"/>
                    </a:lnTo>
                    <a:lnTo>
                      <a:pt x="24" y="12"/>
                    </a:lnTo>
                    <a:lnTo>
                      <a:pt x="17" y="16"/>
                    </a:lnTo>
                    <a:lnTo>
                      <a:pt x="17" y="12"/>
                    </a:lnTo>
                    <a:lnTo>
                      <a:pt x="17" y="9"/>
                    </a:lnTo>
                    <a:lnTo>
                      <a:pt x="13" y="3"/>
                    </a:lnTo>
                    <a:lnTo>
                      <a:pt x="6" y="3"/>
                    </a:lnTo>
                    <a:lnTo>
                      <a:pt x="4" y="0"/>
                    </a:lnTo>
                    <a:lnTo>
                      <a:pt x="0" y="0"/>
                    </a:lnTo>
                    <a:lnTo>
                      <a:pt x="2"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81" name="Freeform 2733"/>
              <p:cNvSpPr>
                <a:spLocks/>
              </p:cNvSpPr>
              <p:nvPr/>
            </p:nvSpPr>
            <p:spPr bwMode="auto">
              <a:xfrm>
                <a:off x="4453" y="2599"/>
                <a:ext cx="155" cy="100"/>
              </a:xfrm>
              <a:custGeom>
                <a:avLst/>
                <a:gdLst>
                  <a:gd name="T0" fmla="*/ 11 w 155"/>
                  <a:gd name="T1" fmla="*/ 87 h 100"/>
                  <a:gd name="T2" fmla="*/ 14 w 155"/>
                  <a:gd name="T3" fmla="*/ 87 h 100"/>
                  <a:gd name="T4" fmla="*/ 21 w 155"/>
                  <a:gd name="T5" fmla="*/ 89 h 100"/>
                  <a:gd name="T6" fmla="*/ 30 w 155"/>
                  <a:gd name="T7" fmla="*/ 92 h 100"/>
                  <a:gd name="T8" fmla="*/ 25 w 155"/>
                  <a:gd name="T9" fmla="*/ 87 h 100"/>
                  <a:gd name="T10" fmla="*/ 27 w 155"/>
                  <a:gd name="T11" fmla="*/ 83 h 100"/>
                  <a:gd name="T12" fmla="*/ 30 w 155"/>
                  <a:gd name="T13" fmla="*/ 78 h 100"/>
                  <a:gd name="T14" fmla="*/ 27 w 155"/>
                  <a:gd name="T15" fmla="*/ 75 h 100"/>
                  <a:gd name="T16" fmla="*/ 38 w 155"/>
                  <a:gd name="T17" fmla="*/ 67 h 100"/>
                  <a:gd name="T18" fmla="*/ 57 w 155"/>
                  <a:gd name="T19" fmla="*/ 60 h 100"/>
                  <a:gd name="T20" fmla="*/ 70 w 155"/>
                  <a:gd name="T21" fmla="*/ 39 h 100"/>
                  <a:gd name="T22" fmla="*/ 79 w 155"/>
                  <a:gd name="T23" fmla="*/ 46 h 100"/>
                  <a:gd name="T24" fmla="*/ 84 w 155"/>
                  <a:gd name="T25" fmla="*/ 41 h 100"/>
                  <a:gd name="T26" fmla="*/ 86 w 155"/>
                  <a:gd name="T27" fmla="*/ 33 h 100"/>
                  <a:gd name="T28" fmla="*/ 91 w 155"/>
                  <a:gd name="T29" fmla="*/ 39 h 100"/>
                  <a:gd name="T30" fmla="*/ 93 w 155"/>
                  <a:gd name="T31" fmla="*/ 33 h 100"/>
                  <a:gd name="T32" fmla="*/ 95 w 155"/>
                  <a:gd name="T33" fmla="*/ 30 h 100"/>
                  <a:gd name="T34" fmla="*/ 96 w 155"/>
                  <a:gd name="T35" fmla="*/ 25 h 100"/>
                  <a:gd name="T36" fmla="*/ 104 w 155"/>
                  <a:gd name="T37" fmla="*/ 14 h 100"/>
                  <a:gd name="T38" fmla="*/ 111 w 155"/>
                  <a:gd name="T39" fmla="*/ 5 h 100"/>
                  <a:gd name="T40" fmla="*/ 113 w 155"/>
                  <a:gd name="T41" fmla="*/ 7 h 100"/>
                  <a:gd name="T42" fmla="*/ 120 w 155"/>
                  <a:gd name="T43" fmla="*/ 1 h 100"/>
                  <a:gd name="T44" fmla="*/ 125 w 155"/>
                  <a:gd name="T45" fmla="*/ 7 h 100"/>
                  <a:gd name="T46" fmla="*/ 129 w 155"/>
                  <a:gd name="T47" fmla="*/ 12 h 100"/>
                  <a:gd name="T48" fmla="*/ 125 w 155"/>
                  <a:gd name="T49" fmla="*/ 19 h 100"/>
                  <a:gd name="T50" fmla="*/ 134 w 155"/>
                  <a:gd name="T51" fmla="*/ 16 h 100"/>
                  <a:gd name="T52" fmla="*/ 132 w 155"/>
                  <a:gd name="T53" fmla="*/ 21 h 100"/>
                  <a:gd name="T54" fmla="*/ 141 w 155"/>
                  <a:gd name="T55" fmla="*/ 21 h 100"/>
                  <a:gd name="T56" fmla="*/ 148 w 155"/>
                  <a:gd name="T57" fmla="*/ 26 h 100"/>
                  <a:gd name="T58" fmla="*/ 155 w 155"/>
                  <a:gd name="T59" fmla="*/ 28 h 100"/>
                  <a:gd name="T60" fmla="*/ 145 w 155"/>
                  <a:gd name="T61" fmla="*/ 33 h 100"/>
                  <a:gd name="T62" fmla="*/ 141 w 155"/>
                  <a:gd name="T63" fmla="*/ 37 h 100"/>
                  <a:gd name="T64" fmla="*/ 145 w 155"/>
                  <a:gd name="T65" fmla="*/ 42 h 100"/>
                  <a:gd name="T66" fmla="*/ 134 w 155"/>
                  <a:gd name="T67" fmla="*/ 44 h 100"/>
                  <a:gd name="T68" fmla="*/ 129 w 155"/>
                  <a:gd name="T69" fmla="*/ 46 h 100"/>
                  <a:gd name="T70" fmla="*/ 118 w 155"/>
                  <a:gd name="T71" fmla="*/ 42 h 100"/>
                  <a:gd name="T72" fmla="*/ 109 w 155"/>
                  <a:gd name="T73" fmla="*/ 44 h 100"/>
                  <a:gd name="T74" fmla="*/ 104 w 155"/>
                  <a:gd name="T75" fmla="*/ 44 h 100"/>
                  <a:gd name="T76" fmla="*/ 98 w 155"/>
                  <a:gd name="T77" fmla="*/ 46 h 100"/>
                  <a:gd name="T78" fmla="*/ 96 w 155"/>
                  <a:gd name="T79" fmla="*/ 57 h 100"/>
                  <a:gd name="T80" fmla="*/ 93 w 155"/>
                  <a:gd name="T81" fmla="*/ 64 h 100"/>
                  <a:gd name="T82" fmla="*/ 88 w 155"/>
                  <a:gd name="T83" fmla="*/ 76 h 100"/>
                  <a:gd name="T84" fmla="*/ 84 w 155"/>
                  <a:gd name="T85" fmla="*/ 85 h 100"/>
                  <a:gd name="T86" fmla="*/ 77 w 155"/>
                  <a:gd name="T87" fmla="*/ 91 h 100"/>
                  <a:gd name="T88" fmla="*/ 68 w 155"/>
                  <a:gd name="T89" fmla="*/ 92 h 100"/>
                  <a:gd name="T90" fmla="*/ 57 w 155"/>
                  <a:gd name="T91" fmla="*/ 89 h 100"/>
                  <a:gd name="T92" fmla="*/ 45 w 155"/>
                  <a:gd name="T93" fmla="*/ 91 h 100"/>
                  <a:gd name="T94" fmla="*/ 32 w 155"/>
                  <a:gd name="T95" fmla="*/ 98 h 100"/>
                  <a:gd name="T96" fmla="*/ 20 w 155"/>
                  <a:gd name="T97" fmla="*/ 100 h 100"/>
                  <a:gd name="T98" fmla="*/ 13 w 155"/>
                  <a:gd name="T99" fmla="*/ 98 h 100"/>
                  <a:gd name="T100" fmla="*/ 4 w 155"/>
                  <a:gd name="T101" fmla="*/ 89 h 100"/>
                  <a:gd name="T102" fmla="*/ 0 w 155"/>
                  <a:gd name="T103" fmla="*/ 8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5" h="100">
                    <a:moveTo>
                      <a:pt x="2" y="80"/>
                    </a:moveTo>
                    <a:lnTo>
                      <a:pt x="2" y="80"/>
                    </a:lnTo>
                    <a:lnTo>
                      <a:pt x="4" y="83"/>
                    </a:lnTo>
                    <a:lnTo>
                      <a:pt x="7" y="85"/>
                    </a:lnTo>
                    <a:lnTo>
                      <a:pt x="11" y="87"/>
                    </a:lnTo>
                    <a:lnTo>
                      <a:pt x="13" y="85"/>
                    </a:lnTo>
                    <a:lnTo>
                      <a:pt x="13" y="85"/>
                    </a:lnTo>
                    <a:lnTo>
                      <a:pt x="13" y="85"/>
                    </a:lnTo>
                    <a:lnTo>
                      <a:pt x="14" y="85"/>
                    </a:lnTo>
                    <a:lnTo>
                      <a:pt x="14" y="87"/>
                    </a:lnTo>
                    <a:lnTo>
                      <a:pt x="14" y="87"/>
                    </a:lnTo>
                    <a:lnTo>
                      <a:pt x="16" y="89"/>
                    </a:lnTo>
                    <a:lnTo>
                      <a:pt x="20" y="89"/>
                    </a:lnTo>
                    <a:lnTo>
                      <a:pt x="20" y="89"/>
                    </a:lnTo>
                    <a:lnTo>
                      <a:pt x="21" y="89"/>
                    </a:lnTo>
                    <a:lnTo>
                      <a:pt x="23" y="91"/>
                    </a:lnTo>
                    <a:lnTo>
                      <a:pt x="23" y="91"/>
                    </a:lnTo>
                    <a:lnTo>
                      <a:pt x="27" y="91"/>
                    </a:lnTo>
                    <a:lnTo>
                      <a:pt x="30" y="92"/>
                    </a:lnTo>
                    <a:lnTo>
                      <a:pt x="30" y="92"/>
                    </a:lnTo>
                    <a:lnTo>
                      <a:pt x="27" y="91"/>
                    </a:lnTo>
                    <a:lnTo>
                      <a:pt x="25" y="91"/>
                    </a:lnTo>
                    <a:lnTo>
                      <a:pt x="25" y="89"/>
                    </a:lnTo>
                    <a:lnTo>
                      <a:pt x="25" y="89"/>
                    </a:lnTo>
                    <a:lnTo>
                      <a:pt x="25" y="87"/>
                    </a:lnTo>
                    <a:lnTo>
                      <a:pt x="27" y="87"/>
                    </a:lnTo>
                    <a:lnTo>
                      <a:pt x="27" y="87"/>
                    </a:lnTo>
                    <a:lnTo>
                      <a:pt x="25" y="85"/>
                    </a:lnTo>
                    <a:lnTo>
                      <a:pt x="27" y="83"/>
                    </a:lnTo>
                    <a:lnTo>
                      <a:pt x="27" y="83"/>
                    </a:lnTo>
                    <a:lnTo>
                      <a:pt x="27" y="82"/>
                    </a:lnTo>
                    <a:lnTo>
                      <a:pt x="27" y="82"/>
                    </a:lnTo>
                    <a:lnTo>
                      <a:pt x="29" y="80"/>
                    </a:lnTo>
                    <a:lnTo>
                      <a:pt x="30" y="78"/>
                    </a:lnTo>
                    <a:lnTo>
                      <a:pt x="30" y="78"/>
                    </a:lnTo>
                    <a:lnTo>
                      <a:pt x="27" y="78"/>
                    </a:lnTo>
                    <a:lnTo>
                      <a:pt x="27" y="78"/>
                    </a:lnTo>
                    <a:lnTo>
                      <a:pt x="27" y="76"/>
                    </a:lnTo>
                    <a:lnTo>
                      <a:pt x="27" y="75"/>
                    </a:lnTo>
                    <a:lnTo>
                      <a:pt x="27" y="75"/>
                    </a:lnTo>
                    <a:lnTo>
                      <a:pt x="32" y="76"/>
                    </a:lnTo>
                    <a:lnTo>
                      <a:pt x="32" y="76"/>
                    </a:lnTo>
                    <a:lnTo>
                      <a:pt x="30" y="73"/>
                    </a:lnTo>
                    <a:lnTo>
                      <a:pt x="30" y="71"/>
                    </a:lnTo>
                    <a:lnTo>
                      <a:pt x="38" y="67"/>
                    </a:lnTo>
                    <a:lnTo>
                      <a:pt x="38" y="67"/>
                    </a:lnTo>
                    <a:lnTo>
                      <a:pt x="46" y="66"/>
                    </a:lnTo>
                    <a:lnTo>
                      <a:pt x="55" y="62"/>
                    </a:lnTo>
                    <a:lnTo>
                      <a:pt x="55" y="62"/>
                    </a:lnTo>
                    <a:lnTo>
                      <a:pt x="57" y="60"/>
                    </a:lnTo>
                    <a:lnTo>
                      <a:pt x="59" y="57"/>
                    </a:lnTo>
                    <a:lnTo>
                      <a:pt x="63" y="51"/>
                    </a:lnTo>
                    <a:lnTo>
                      <a:pt x="63" y="51"/>
                    </a:lnTo>
                    <a:lnTo>
                      <a:pt x="68" y="46"/>
                    </a:lnTo>
                    <a:lnTo>
                      <a:pt x="70" y="39"/>
                    </a:lnTo>
                    <a:lnTo>
                      <a:pt x="70" y="39"/>
                    </a:lnTo>
                    <a:lnTo>
                      <a:pt x="73" y="41"/>
                    </a:lnTo>
                    <a:lnTo>
                      <a:pt x="75" y="42"/>
                    </a:lnTo>
                    <a:lnTo>
                      <a:pt x="75" y="42"/>
                    </a:lnTo>
                    <a:lnTo>
                      <a:pt x="79" y="46"/>
                    </a:lnTo>
                    <a:lnTo>
                      <a:pt x="80" y="48"/>
                    </a:lnTo>
                    <a:lnTo>
                      <a:pt x="80" y="48"/>
                    </a:lnTo>
                    <a:lnTo>
                      <a:pt x="82" y="48"/>
                    </a:lnTo>
                    <a:lnTo>
                      <a:pt x="84" y="46"/>
                    </a:lnTo>
                    <a:lnTo>
                      <a:pt x="84" y="41"/>
                    </a:lnTo>
                    <a:lnTo>
                      <a:pt x="84" y="41"/>
                    </a:lnTo>
                    <a:lnTo>
                      <a:pt x="82" y="39"/>
                    </a:lnTo>
                    <a:lnTo>
                      <a:pt x="84" y="37"/>
                    </a:lnTo>
                    <a:lnTo>
                      <a:pt x="86" y="33"/>
                    </a:lnTo>
                    <a:lnTo>
                      <a:pt x="86" y="33"/>
                    </a:lnTo>
                    <a:lnTo>
                      <a:pt x="88" y="41"/>
                    </a:lnTo>
                    <a:lnTo>
                      <a:pt x="89" y="42"/>
                    </a:lnTo>
                    <a:lnTo>
                      <a:pt x="91" y="44"/>
                    </a:lnTo>
                    <a:lnTo>
                      <a:pt x="91" y="44"/>
                    </a:lnTo>
                    <a:lnTo>
                      <a:pt x="91" y="39"/>
                    </a:lnTo>
                    <a:lnTo>
                      <a:pt x="89" y="35"/>
                    </a:lnTo>
                    <a:lnTo>
                      <a:pt x="89" y="35"/>
                    </a:lnTo>
                    <a:lnTo>
                      <a:pt x="89" y="33"/>
                    </a:lnTo>
                    <a:lnTo>
                      <a:pt x="89" y="33"/>
                    </a:lnTo>
                    <a:lnTo>
                      <a:pt x="93" y="33"/>
                    </a:lnTo>
                    <a:lnTo>
                      <a:pt x="93" y="33"/>
                    </a:lnTo>
                    <a:lnTo>
                      <a:pt x="95" y="32"/>
                    </a:lnTo>
                    <a:lnTo>
                      <a:pt x="95" y="30"/>
                    </a:lnTo>
                    <a:lnTo>
                      <a:pt x="95" y="30"/>
                    </a:lnTo>
                    <a:lnTo>
                      <a:pt x="95" y="30"/>
                    </a:lnTo>
                    <a:lnTo>
                      <a:pt x="93" y="28"/>
                    </a:lnTo>
                    <a:lnTo>
                      <a:pt x="93" y="26"/>
                    </a:lnTo>
                    <a:lnTo>
                      <a:pt x="95" y="23"/>
                    </a:lnTo>
                    <a:lnTo>
                      <a:pt x="95" y="23"/>
                    </a:lnTo>
                    <a:lnTo>
                      <a:pt x="96" y="25"/>
                    </a:lnTo>
                    <a:lnTo>
                      <a:pt x="98" y="25"/>
                    </a:lnTo>
                    <a:lnTo>
                      <a:pt x="100" y="21"/>
                    </a:lnTo>
                    <a:lnTo>
                      <a:pt x="100" y="21"/>
                    </a:lnTo>
                    <a:lnTo>
                      <a:pt x="104" y="14"/>
                    </a:lnTo>
                    <a:lnTo>
                      <a:pt x="104" y="14"/>
                    </a:lnTo>
                    <a:lnTo>
                      <a:pt x="105" y="12"/>
                    </a:lnTo>
                    <a:lnTo>
                      <a:pt x="105" y="12"/>
                    </a:lnTo>
                    <a:lnTo>
                      <a:pt x="109" y="8"/>
                    </a:lnTo>
                    <a:lnTo>
                      <a:pt x="109" y="8"/>
                    </a:lnTo>
                    <a:lnTo>
                      <a:pt x="111" y="5"/>
                    </a:lnTo>
                    <a:lnTo>
                      <a:pt x="113" y="0"/>
                    </a:lnTo>
                    <a:lnTo>
                      <a:pt x="113" y="0"/>
                    </a:lnTo>
                    <a:lnTo>
                      <a:pt x="114" y="1"/>
                    </a:lnTo>
                    <a:lnTo>
                      <a:pt x="114" y="3"/>
                    </a:lnTo>
                    <a:lnTo>
                      <a:pt x="113" y="7"/>
                    </a:lnTo>
                    <a:lnTo>
                      <a:pt x="113" y="7"/>
                    </a:lnTo>
                    <a:lnTo>
                      <a:pt x="116" y="3"/>
                    </a:lnTo>
                    <a:lnTo>
                      <a:pt x="118" y="1"/>
                    </a:lnTo>
                    <a:lnTo>
                      <a:pt x="120" y="1"/>
                    </a:lnTo>
                    <a:lnTo>
                      <a:pt x="120" y="1"/>
                    </a:lnTo>
                    <a:lnTo>
                      <a:pt x="121" y="5"/>
                    </a:lnTo>
                    <a:lnTo>
                      <a:pt x="123" y="7"/>
                    </a:lnTo>
                    <a:lnTo>
                      <a:pt x="125" y="7"/>
                    </a:lnTo>
                    <a:lnTo>
                      <a:pt x="125" y="7"/>
                    </a:lnTo>
                    <a:lnTo>
                      <a:pt x="125" y="7"/>
                    </a:lnTo>
                    <a:lnTo>
                      <a:pt x="127" y="8"/>
                    </a:lnTo>
                    <a:lnTo>
                      <a:pt x="129" y="10"/>
                    </a:lnTo>
                    <a:lnTo>
                      <a:pt x="129" y="12"/>
                    </a:lnTo>
                    <a:lnTo>
                      <a:pt x="129" y="12"/>
                    </a:lnTo>
                    <a:lnTo>
                      <a:pt x="129" y="12"/>
                    </a:lnTo>
                    <a:lnTo>
                      <a:pt x="127" y="14"/>
                    </a:lnTo>
                    <a:lnTo>
                      <a:pt x="127" y="14"/>
                    </a:lnTo>
                    <a:lnTo>
                      <a:pt x="127" y="17"/>
                    </a:lnTo>
                    <a:lnTo>
                      <a:pt x="125" y="19"/>
                    </a:lnTo>
                    <a:lnTo>
                      <a:pt x="125" y="19"/>
                    </a:lnTo>
                    <a:lnTo>
                      <a:pt x="130" y="17"/>
                    </a:lnTo>
                    <a:lnTo>
                      <a:pt x="130" y="17"/>
                    </a:lnTo>
                    <a:lnTo>
                      <a:pt x="132" y="16"/>
                    </a:lnTo>
                    <a:lnTo>
                      <a:pt x="134" y="16"/>
                    </a:lnTo>
                    <a:lnTo>
                      <a:pt x="134" y="16"/>
                    </a:lnTo>
                    <a:lnTo>
                      <a:pt x="136" y="17"/>
                    </a:lnTo>
                    <a:lnTo>
                      <a:pt x="134" y="19"/>
                    </a:lnTo>
                    <a:lnTo>
                      <a:pt x="132" y="19"/>
                    </a:lnTo>
                    <a:lnTo>
                      <a:pt x="132" y="19"/>
                    </a:lnTo>
                    <a:lnTo>
                      <a:pt x="132" y="21"/>
                    </a:lnTo>
                    <a:lnTo>
                      <a:pt x="134" y="21"/>
                    </a:lnTo>
                    <a:lnTo>
                      <a:pt x="138" y="19"/>
                    </a:lnTo>
                    <a:lnTo>
                      <a:pt x="138" y="19"/>
                    </a:lnTo>
                    <a:lnTo>
                      <a:pt x="139" y="19"/>
                    </a:lnTo>
                    <a:lnTo>
                      <a:pt x="141" y="21"/>
                    </a:lnTo>
                    <a:lnTo>
                      <a:pt x="143" y="23"/>
                    </a:lnTo>
                    <a:lnTo>
                      <a:pt x="143" y="23"/>
                    </a:lnTo>
                    <a:lnTo>
                      <a:pt x="145" y="23"/>
                    </a:lnTo>
                    <a:lnTo>
                      <a:pt x="146" y="25"/>
                    </a:lnTo>
                    <a:lnTo>
                      <a:pt x="148" y="26"/>
                    </a:lnTo>
                    <a:lnTo>
                      <a:pt x="148" y="26"/>
                    </a:lnTo>
                    <a:lnTo>
                      <a:pt x="150" y="25"/>
                    </a:lnTo>
                    <a:lnTo>
                      <a:pt x="152" y="26"/>
                    </a:lnTo>
                    <a:lnTo>
                      <a:pt x="154" y="26"/>
                    </a:lnTo>
                    <a:lnTo>
                      <a:pt x="155" y="28"/>
                    </a:lnTo>
                    <a:lnTo>
                      <a:pt x="155" y="28"/>
                    </a:lnTo>
                    <a:lnTo>
                      <a:pt x="154" y="30"/>
                    </a:lnTo>
                    <a:lnTo>
                      <a:pt x="150" y="32"/>
                    </a:lnTo>
                    <a:lnTo>
                      <a:pt x="145" y="33"/>
                    </a:lnTo>
                    <a:lnTo>
                      <a:pt x="145" y="33"/>
                    </a:lnTo>
                    <a:lnTo>
                      <a:pt x="139" y="33"/>
                    </a:lnTo>
                    <a:lnTo>
                      <a:pt x="138" y="33"/>
                    </a:lnTo>
                    <a:lnTo>
                      <a:pt x="138" y="35"/>
                    </a:lnTo>
                    <a:lnTo>
                      <a:pt x="138" y="35"/>
                    </a:lnTo>
                    <a:lnTo>
                      <a:pt x="141" y="37"/>
                    </a:lnTo>
                    <a:lnTo>
                      <a:pt x="143" y="39"/>
                    </a:lnTo>
                    <a:lnTo>
                      <a:pt x="143" y="41"/>
                    </a:lnTo>
                    <a:lnTo>
                      <a:pt x="143" y="41"/>
                    </a:lnTo>
                    <a:lnTo>
                      <a:pt x="145" y="41"/>
                    </a:lnTo>
                    <a:lnTo>
                      <a:pt x="145" y="42"/>
                    </a:lnTo>
                    <a:lnTo>
                      <a:pt x="145" y="42"/>
                    </a:lnTo>
                    <a:lnTo>
                      <a:pt x="143" y="42"/>
                    </a:lnTo>
                    <a:lnTo>
                      <a:pt x="139" y="44"/>
                    </a:lnTo>
                    <a:lnTo>
                      <a:pt x="139" y="44"/>
                    </a:lnTo>
                    <a:lnTo>
                      <a:pt x="134" y="44"/>
                    </a:lnTo>
                    <a:lnTo>
                      <a:pt x="129" y="42"/>
                    </a:lnTo>
                    <a:lnTo>
                      <a:pt x="129" y="42"/>
                    </a:lnTo>
                    <a:lnTo>
                      <a:pt x="129" y="44"/>
                    </a:lnTo>
                    <a:lnTo>
                      <a:pt x="129" y="46"/>
                    </a:lnTo>
                    <a:lnTo>
                      <a:pt x="129" y="46"/>
                    </a:lnTo>
                    <a:lnTo>
                      <a:pt x="125" y="46"/>
                    </a:lnTo>
                    <a:lnTo>
                      <a:pt x="123" y="44"/>
                    </a:lnTo>
                    <a:lnTo>
                      <a:pt x="123" y="44"/>
                    </a:lnTo>
                    <a:lnTo>
                      <a:pt x="120" y="42"/>
                    </a:lnTo>
                    <a:lnTo>
                      <a:pt x="118" y="42"/>
                    </a:lnTo>
                    <a:lnTo>
                      <a:pt x="114" y="42"/>
                    </a:lnTo>
                    <a:lnTo>
                      <a:pt x="111" y="42"/>
                    </a:lnTo>
                    <a:lnTo>
                      <a:pt x="111" y="42"/>
                    </a:lnTo>
                    <a:lnTo>
                      <a:pt x="111" y="44"/>
                    </a:lnTo>
                    <a:lnTo>
                      <a:pt x="109" y="44"/>
                    </a:lnTo>
                    <a:lnTo>
                      <a:pt x="107" y="42"/>
                    </a:lnTo>
                    <a:lnTo>
                      <a:pt x="107" y="42"/>
                    </a:lnTo>
                    <a:lnTo>
                      <a:pt x="105" y="42"/>
                    </a:lnTo>
                    <a:lnTo>
                      <a:pt x="104" y="44"/>
                    </a:lnTo>
                    <a:lnTo>
                      <a:pt x="104" y="44"/>
                    </a:lnTo>
                    <a:lnTo>
                      <a:pt x="102" y="44"/>
                    </a:lnTo>
                    <a:lnTo>
                      <a:pt x="100" y="42"/>
                    </a:lnTo>
                    <a:lnTo>
                      <a:pt x="100" y="42"/>
                    </a:lnTo>
                    <a:lnTo>
                      <a:pt x="98" y="46"/>
                    </a:lnTo>
                    <a:lnTo>
                      <a:pt x="98" y="46"/>
                    </a:lnTo>
                    <a:lnTo>
                      <a:pt x="96" y="51"/>
                    </a:lnTo>
                    <a:lnTo>
                      <a:pt x="96" y="51"/>
                    </a:lnTo>
                    <a:lnTo>
                      <a:pt x="96" y="55"/>
                    </a:lnTo>
                    <a:lnTo>
                      <a:pt x="96" y="55"/>
                    </a:lnTo>
                    <a:lnTo>
                      <a:pt x="96" y="57"/>
                    </a:lnTo>
                    <a:lnTo>
                      <a:pt x="96" y="60"/>
                    </a:lnTo>
                    <a:lnTo>
                      <a:pt x="96" y="60"/>
                    </a:lnTo>
                    <a:lnTo>
                      <a:pt x="95" y="64"/>
                    </a:lnTo>
                    <a:lnTo>
                      <a:pt x="93" y="64"/>
                    </a:lnTo>
                    <a:lnTo>
                      <a:pt x="93" y="64"/>
                    </a:lnTo>
                    <a:lnTo>
                      <a:pt x="89" y="66"/>
                    </a:lnTo>
                    <a:lnTo>
                      <a:pt x="89" y="67"/>
                    </a:lnTo>
                    <a:lnTo>
                      <a:pt x="91" y="73"/>
                    </a:lnTo>
                    <a:lnTo>
                      <a:pt x="91" y="73"/>
                    </a:lnTo>
                    <a:lnTo>
                      <a:pt x="88" y="76"/>
                    </a:lnTo>
                    <a:lnTo>
                      <a:pt x="86" y="78"/>
                    </a:lnTo>
                    <a:lnTo>
                      <a:pt x="86" y="80"/>
                    </a:lnTo>
                    <a:lnTo>
                      <a:pt x="86" y="80"/>
                    </a:lnTo>
                    <a:lnTo>
                      <a:pt x="86" y="82"/>
                    </a:lnTo>
                    <a:lnTo>
                      <a:pt x="84" y="85"/>
                    </a:lnTo>
                    <a:lnTo>
                      <a:pt x="82" y="87"/>
                    </a:lnTo>
                    <a:lnTo>
                      <a:pt x="82" y="91"/>
                    </a:lnTo>
                    <a:lnTo>
                      <a:pt x="82" y="91"/>
                    </a:lnTo>
                    <a:lnTo>
                      <a:pt x="79" y="89"/>
                    </a:lnTo>
                    <a:lnTo>
                      <a:pt x="77" y="91"/>
                    </a:lnTo>
                    <a:lnTo>
                      <a:pt x="77" y="91"/>
                    </a:lnTo>
                    <a:lnTo>
                      <a:pt x="73" y="91"/>
                    </a:lnTo>
                    <a:lnTo>
                      <a:pt x="71" y="91"/>
                    </a:lnTo>
                    <a:lnTo>
                      <a:pt x="71" y="91"/>
                    </a:lnTo>
                    <a:lnTo>
                      <a:pt x="68" y="92"/>
                    </a:lnTo>
                    <a:lnTo>
                      <a:pt x="64" y="92"/>
                    </a:lnTo>
                    <a:lnTo>
                      <a:pt x="64" y="92"/>
                    </a:lnTo>
                    <a:lnTo>
                      <a:pt x="61" y="92"/>
                    </a:lnTo>
                    <a:lnTo>
                      <a:pt x="57" y="89"/>
                    </a:lnTo>
                    <a:lnTo>
                      <a:pt x="57" y="89"/>
                    </a:lnTo>
                    <a:lnTo>
                      <a:pt x="55" y="89"/>
                    </a:lnTo>
                    <a:lnTo>
                      <a:pt x="50" y="87"/>
                    </a:lnTo>
                    <a:lnTo>
                      <a:pt x="46" y="89"/>
                    </a:lnTo>
                    <a:lnTo>
                      <a:pt x="45" y="91"/>
                    </a:lnTo>
                    <a:lnTo>
                      <a:pt x="45" y="91"/>
                    </a:lnTo>
                    <a:lnTo>
                      <a:pt x="41" y="94"/>
                    </a:lnTo>
                    <a:lnTo>
                      <a:pt x="41" y="94"/>
                    </a:lnTo>
                    <a:lnTo>
                      <a:pt x="38" y="98"/>
                    </a:lnTo>
                    <a:lnTo>
                      <a:pt x="38" y="98"/>
                    </a:lnTo>
                    <a:lnTo>
                      <a:pt x="32" y="98"/>
                    </a:lnTo>
                    <a:lnTo>
                      <a:pt x="32" y="98"/>
                    </a:lnTo>
                    <a:lnTo>
                      <a:pt x="29" y="96"/>
                    </a:lnTo>
                    <a:lnTo>
                      <a:pt x="29" y="96"/>
                    </a:lnTo>
                    <a:lnTo>
                      <a:pt x="23" y="98"/>
                    </a:lnTo>
                    <a:lnTo>
                      <a:pt x="20" y="100"/>
                    </a:lnTo>
                    <a:lnTo>
                      <a:pt x="20" y="100"/>
                    </a:lnTo>
                    <a:lnTo>
                      <a:pt x="18" y="100"/>
                    </a:lnTo>
                    <a:lnTo>
                      <a:pt x="16" y="100"/>
                    </a:lnTo>
                    <a:lnTo>
                      <a:pt x="13" y="98"/>
                    </a:lnTo>
                    <a:lnTo>
                      <a:pt x="13" y="98"/>
                    </a:lnTo>
                    <a:lnTo>
                      <a:pt x="9" y="94"/>
                    </a:lnTo>
                    <a:lnTo>
                      <a:pt x="9" y="94"/>
                    </a:lnTo>
                    <a:lnTo>
                      <a:pt x="7" y="91"/>
                    </a:lnTo>
                    <a:lnTo>
                      <a:pt x="7" y="91"/>
                    </a:lnTo>
                    <a:lnTo>
                      <a:pt x="4" y="89"/>
                    </a:lnTo>
                    <a:lnTo>
                      <a:pt x="4" y="89"/>
                    </a:lnTo>
                    <a:lnTo>
                      <a:pt x="4" y="87"/>
                    </a:lnTo>
                    <a:lnTo>
                      <a:pt x="2" y="85"/>
                    </a:lnTo>
                    <a:lnTo>
                      <a:pt x="2" y="85"/>
                    </a:lnTo>
                    <a:lnTo>
                      <a:pt x="0" y="83"/>
                    </a:lnTo>
                    <a:lnTo>
                      <a:pt x="0" y="82"/>
                    </a:lnTo>
                    <a:lnTo>
                      <a:pt x="2" y="8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82" name="Freeform 2734"/>
              <p:cNvSpPr>
                <a:spLocks/>
              </p:cNvSpPr>
              <p:nvPr/>
            </p:nvSpPr>
            <p:spPr bwMode="auto">
              <a:xfrm>
                <a:off x="4453" y="2599"/>
                <a:ext cx="155" cy="100"/>
              </a:xfrm>
              <a:custGeom>
                <a:avLst/>
                <a:gdLst>
                  <a:gd name="T0" fmla="*/ 11 w 155"/>
                  <a:gd name="T1" fmla="*/ 87 h 100"/>
                  <a:gd name="T2" fmla="*/ 14 w 155"/>
                  <a:gd name="T3" fmla="*/ 87 h 100"/>
                  <a:gd name="T4" fmla="*/ 21 w 155"/>
                  <a:gd name="T5" fmla="*/ 89 h 100"/>
                  <a:gd name="T6" fmla="*/ 30 w 155"/>
                  <a:gd name="T7" fmla="*/ 92 h 100"/>
                  <a:gd name="T8" fmla="*/ 25 w 155"/>
                  <a:gd name="T9" fmla="*/ 87 h 100"/>
                  <a:gd name="T10" fmla="*/ 27 w 155"/>
                  <a:gd name="T11" fmla="*/ 83 h 100"/>
                  <a:gd name="T12" fmla="*/ 30 w 155"/>
                  <a:gd name="T13" fmla="*/ 78 h 100"/>
                  <a:gd name="T14" fmla="*/ 27 w 155"/>
                  <a:gd name="T15" fmla="*/ 75 h 100"/>
                  <a:gd name="T16" fmla="*/ 38 w 155"/>
                  <a:gd name="T17" fmla="*/ 67 h 100"/>
                  <a:gd name="T18" fmla="*/ 57 w 155"/>
                  <a:gd name="T19" fmla="*/ 60 h 100"/>
                  <a:gd name="T20" fmla="*/ 70 w 155"/>
                  <a:gd name="T21" fmla="*/ 39 h 100"/>
                  <a:gd name="T22" fmla="*/ 79 w 155"/>
                  <a:gd name="T23" fmla="*/ 46 h 100"/>
                  <a:gd name="T24" fmla="*/ 84 w 155"/>
                  <a:gd name="T25" fmla="*/ 41 h 100"/>
                  <a:gd name="T26" fmla="*/ 86 w 155"/>
                  <a:gd name="T27" fmla="*/ 33 h 100"/>
                  <a:gd name="T28" fmla="*/ 91 w 155"/>
                  <a:gd name="T29" fmla="*/ 39 h 100"/>
                  <a:gd name="T30" fmla="*/ 93 w 155"/>
                  <a:gd name="T31" fmla="*/ 33 h 100"/>
                  <a:gd name="T32" fmla="*/ 95 w 155"/>
                  <a:gd name="T33" fmla="*/ 30 h 100"/>
                  <a:gd name="T34" fmla="*/ 96 w 155"/>
                  <a:gd name="T35" fmla="*/ 25 h 100"/>
                  <a:gd name="T36" fmla="*/ 104 w 155"/>
                  <a:gd name="T37" fmla="*/ 14 h 100"/>
                  <a:gd name="T38" fmla="*/ 111 w 155"/>
                  <a:gd name="T39" fmla="*/ 5 h 100"/>
                  <a:gd name="T40" fmla="*/ 113 w 155"/>
                  <a:gd name="T41" fmla="*/ 7 h 100"/>
                  <a:gd name="T42" fmla="*/ 120 w 155"/>
                  <a:gd name="T43" fmla="*/ 1 h 100"/>
                  <a:gd name="T44" fmla="*/ 125 w 155"/>
                  <a:gd name="T45" fmla="*/ 7 h 100"/>
                  <a:gd name="T46" fmla="*/ 129 w 155"/>
                  <a:gd name="T47" fmla="*/ 12 h 100"/>
                  <a:gd name="T48" fmla="*/ 125 w 155"/>
                  <a:gd name="T49" fmla="*/ 19 h 100"/>
                  <a:gd name="T50" fmla="*/ 134 w 155"/>
                  <a:gd name="T51" fmla="*/ 16 h 100"/>
                  <a:gd name="T52" fmla="*/ 132 w 155"/>
                  <a:gd name="T53" fmla="*/ 21 h 100"/>
                  <a:gd name="T54" fmla="*/ 141 w 155"/>
                  <a:gd name="T55" fmla="*/ 21 h 100"/>
                  <a:gd name="T56" fmla="*/ 148 w 155"/>
                  <a:gd name="T57" fmla="*/ 26 h 100"/>
                  <a:gd name="T58" fmla="*/ 155 w 155"/>
                  <a:gd name="T59" fmla="*/ 28 h 100"/>
                  <a:gd name="T60" fmla="*/ 145 w 155"/>
                  <a:gd name="T61" fmla="*/ 33 h 100"/>
                  <a:gd name="T62" fmla="*/ 141 w 155"/>
                  <a:gd name="T63" fmla="*/ 37 h 100"/>
                  <a:gd name="T64" fmla="*/ 145 w 155"/>
                  <a:gd name="T65" fmla="*/ 42 h 100"/>
                  <a:gd name="T66" fmla="*/ 134 w 155"/>
                  <a:gd name="T67" fmla="*/ 44 h 100"/>
                  <a:gd name="T68" fmla="*/ 129 w 155"/>
                  <a:gd name="T69" fmla="*/ 46 h 100"/>
                  <a:gd name="T70" fmla="*/ 118 w 155"/>
                  <a:gd name="T71" fmla="*/ 42 h 100"/>
                  <a:gd name="T72" fmla="*/ 109 w 155"/>
                  <a:gd name="T73" fmla="*/ 44 h 100"/>
                  <a:gd name="T74" fmla="*/ 104 w 155"/>
                  <a:gd name="T75" fmla="*/ 44 h 100"/>
                  <a:gd name="T76" fmla="*/ 98 w 155"/>
                  <a:gd name="T77" fmla="*/ 46 h 100"/>
                  <a:gd name="T78" fmla="*/ 96 w 155"/>
                  <a:gd name="T79" fmla="*/ 57 h 100"/>
                  <a:gd name="T80" fmla="*/ 93 w 155"/>
                  <a:gd name="T81" fmla="*/ 64 h 100"/>
                  <a:gd name="T82" fmla="*/ 88 w 155"/>
                  <a:gd name="T83" fmla="*/ 76 h 100"/>
                  <a:gd name="T84" fmla="*/ 84 w 155"/>
                  <a:gd name="T85" fmla="*/ 85 h 100"/>
                  <a:gd name="T86" fmla="*/ 77 w 155"/>
                  <a:gd name="T87" fmla="*/ 91 h 100"/>
                  <a:gd name="T88" fmla="*/ 68 w 155"/>
                  <a:gd name="T89" fmla="*/ 92 h 100"/>
                  <a:gd name="T90" fmla="*/ 57 w 155"/>
                  <a:gd name="T91" fmla="*/ 89 h 100"/>
                  <a:gd name="T92" fmla="*/ 45 w 155"/>
                  <a:gd name="T93" fmla="*/ 91 h 100"/>
                  <a:gd name="T94" fmla="*/ 32 w 155"/>
                  <a:gd name="T95" fmla="*/ 98 h 100"/>
                  <a:gd name="T96" fmla="*/ 20 w 155"/>
                  <a:gd name="T97" fmla="*/ 100 h 100"/>
                  <a:gd name="T98" fmla="*/ 13 w 155"/>
                  <a:gd name="T99" fmla="*/ 98 h 100"/>
                  <a:gd name="T100" fmla="*/ 4 w 155"/>
                  <a:gd name="T101" fmla="*/ 89 h 100"/>
                  <a:gd name="T102" fmla="*/ 0 w 155"/>
                  <a:gd name="T103" fmla="*/ 83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5" h="100">
                    <a:moveTo>
                      <a:pt x="2" y="80"/>
                    </a:moveTo>
                    <a:lnTo>
                      <a:pt x="2" y="80"/>
                    </a:lnTo>
                    <a:lnTo>
                      <a:pt x="4" y="83"/>
                    </a:lnTo>
                    <a:lnTo>
                      <a:pt x="7" y="85"/>
                    </a:lnTo>
                    <a:lnTo>
                      <a:pt x="11" y="87"/>
                    </a:lnTo>
                    <a:lnTo>
                      <a:pt x="13" y="85"/>
                    </a:lnTo>
                    <a:lnTo>
                      <a:pt x="13" y="85"/>
                    </a:lnTo>
                    <a:lnTo>
                      <a:pt x="13" y="85"/>
                    </a:lnTo>
                    <a:lnTo>
                      <a:pt x="14" y="85"/>
                    </a:lnTo>
                    <a:lnTo>
                      <a:pt x="14" y="87"/>
                    </a:lnTo>
                    <a:lnTo>
                      <a:pt x="14" y="87"/>
                    </a:lnTo>
                    <a:lnTo>
                      <a:pt x="16" y="89"/>
                    </a:lnTo>
                    <a:lnTo>
                      <a:pt x="20" y="89"/>
                    </a:lnTo>
                    <a:lnTo>
                      <a:pt x="20" y="89"/>
                    </a:lnTo>
                    <a:lnTo>
                      <a:pt x="21" y="89"/>
                    </a:lnTo>
                    <a:lnTo>
                      <a:pt x="23" y="91"/>
                    </a:lnTo>
                    <a:lnTo>
                      <a:pt x="23" y="91"/>
                    </a:lnTo>
                    <a:lnTo>
                      <a:pt x="27" y="91"/>
                    </a:lnTo>
                    <a:lnTo>
                      <a:pt x="30" y="92"/>
                    </a:lnTo>
                    <a:lnTo>
                      <a:pt x="30" y="92"/>
                    </a:lnTo>
                    <a:lnTo>
                      <a:pt x="27" y="91"/>
                    </a:lnTo>
                    <a:lnTo>
                      <a:pt x="25" y="91"/>
                    </a:lnTo>
                    <a:lnTo>
                      <a:pt x="25" y="89"/>
                    </a:lnTo>
                    <a:lnTo>
                      <a:pt x="25" y="89"/>
                    </a:lnTo>
                    <a:lnTo>
                      <a:pt x="25" y="87"/>
                    </a:lnTo>
                    <a:lnTo>
                      <a:pt x="27" y="87"/>
                    </a:lnTo>
                    <a:lnTo>
                      <a:pt x="27" y="87"/>
                    </a:lnTo>
                    <a:lnTo>
                      <a:pt x="25" y="85"/>
                    </a:lnTo>
                    <a:lnTo>
                      <a:pt x="27" y="83"/>
                    </a:lnTo>
                    <a:lnTo>
                      <a:pt x="27" y="83"/>
                    </a:lnTo>
                    <a:lnTo>
                      <a:pt x="27" y="82"/>
                    </a:lnTo>
                    <a:lnTo>
                      <a:pt x="27" y="82"/>
                    </a:lnTo>
                    <a:lnTo>
                      <a:pt x="29" y="80"/>
                    </a:lnTo>
                    <a:lnTo>
                      <a:pt x="30" y="78"/>
                    </a:lnTo>
                    <a:lnTo>
                      <a:pt x="30" y="78"/>
                    </a:lnTo>
                    <a:lnTo>
                      <a:pt x="27" y="78"/>
                    </a:lnTo>
                    <a:lnTo>
                      <a:pt x="27" y="78"/>
                    </a:lnTo>
                    <a:lnTo>
                      <a:pt x="27" y="76"/>
                    </a:lnTo>
                    <a:lnTo>
                      <a:pt x="27" y="75"/>
                    </a:lnTo>
                    <a:lnTo>
                      <a:pt x="27" y="75"/>
                    </a:lnTo>
                    <a:lnTo>
                      <a:pt x="32" y="76"/>
                    </a:lnTo>
                    <a:lnTo>
                      <a:pt x="32" y="76"/>
                    </a:lnTo>
                    <a:lnTo>
                      <a:pt x="30" y="73"/>
                    </a:lnTo>
                    <a:lnTo>
                      <a:pt x="30" y="71"/>
                    </a:lnTo>
                    <a:lnTo>
                      <a:pt x="38" y="67"/>
                    </a:lnTo>
                    <a:lnTo>
                      <a:pt x="38" y="67"/>
                    </a:lnTo>
                    <a:lnTo>
                      <a:pt x="46" y="66"/>
                    </a:lnTo>
                    <a:lnTo>
                      <a:pt x="55" y="62"/>
                    </a:lnTo>
                    <a:lnTo>
                      <a:pt x="55" y="62"/>
                    </a:lnTo>
                    <a:lnTo>
                      <a:pt x="57" y="60"/>
                    </a:lnTo>
                    <a:lnTo>
                      <a:pt x="59" y="57"/>
                    </a:lnTo>
                    <a:lnTo>
                      <a:pt x="63" y="51"/>
                    </a:lnTo>
                    <a:lnTo>
                      <a:pt x="63" y="51"/>
                    </a:lnTo>
                    <a:lnTo>
                      <a:pt x="68" y="46"/>
                    </a:lnTo>
                    <a:lnTo>
                      <a:pt x="70" y="39"/>
                    </a:lnTo>
                    <a:lnTo>
                      <a:pt x="70" y="39"/>
                    </a:lnTo>
                    <a:lnTo>
                      <a:pt x="73" y="41"/>
                    </a:lnTo>
                    <a:lnTo>
                      <a:pt x="75" y="42"/>
                    </a:lnTo>
                    <a:lnTo>
                      <a:pt x="75" y="42"/>
                    </a:lnTo>
                    <a:lnTo>
                      <a:pt x="79" y="46"/>
                    </a:lnTo>
                    <a:lnTo>
                      <a:pt x="80" y="48"/>
                    </a:lnTo>
                    <a:lnTo>
                      <a:pt x="80" y="48"/>
                    </a:lnTo>
                    <a:lnTo>
                      <a:pt x="82" y="48"/>
                    </a:lnTo>
                    <a:lnTo>
                      <a:pt x="84" y="46"/>
                    </a:lnTo>
                    <a:lnTo>
                      <a:pt x="84" y="41"/>
                    </a:lnTo>
                    <a:lnTo>
                      <a:pt x="84" y="41"/>
                    </a:lnTo>
                    <a:lnTo>
                      <a:pt x="82" y="39"/>
                    </a:lnTo>
                    <a:lnTo>
                      <a:pt x="84" y="37"/>
                    </a:lnTo>
                    <a:lnTo>
                      <a:pt x="86" y="33"/>
                    </a:lnTo>
                    <a:lnTo>
                      <a:pt x="86" y="33"/>
                    </a:lnTo>
                    <a:lnTo>
                      <a:pt x="88" y="41"/>
                    </a:lnTo>
                    <a:lnTo>
                      <a:pt x="89" y="42"/>
                    </a:lnTo>
                    <a:lnTo>
                      <a:pt x="91" y="44"/>
                    </a:lnTo>
                    <a:lnTo>
                      <a:pt x="91" y="44"/>
                    </a:lnTo>
                    <a:lnTo>
                      <a:pt x="91" y="39"/>
                    </a:lnTo>
                    <a:lnTo>
                      <a:pt x="89" y="35"/>
                    </a:lnTo>
                    <a:lnTo>
                      <a:pt x="89" y="35"/>
                    </a:lnTo>
                    <a:lnTo>
                      <a:pt x="89" y="33"/>
                    </a:lnTo>
                    <a:lnTo>
                      <a:pt x="89" y="33"/>
                    </a:lnTo>
                    <a:lnTo>
                      <a:pt x="93" y="33"/>
                    </a:lnTo>
                    <a:lnTo>
                      <a:pt x="93" y="33"/>
                    </a:lnTo>
                    <a:lnTo>
                      <a:pt x="95" y="32"/>
                    </a:lnTo>
                    <a:lnTo>
                      <a:pt x="95" y="30"/>
                    </a:lnTo>
                    <a:lnTo>
                      <a:pt x="95" y="30"/>
                    </a:lnTo>
                    <a:lnTo>
                      <a:pt x="95" y="30"/>
                    </a:lnTo>
                    <a:lnTo>
                      <a:pt x="93" y="28"/>
                    </a:lnTo>
                    <a:lnTo>
                      <a:pt x="93" y="26"/>
                    </a:lnTo>
                    <a:lnTo>
                      <a:pt x="95" y="23"/>
                    </a:lnTo>
                    <a:lnTo>
                      <a:pt x="95" y="23"/>
                    </a:lnTo>
                    <a:lnTo>
                      <a:pt x="96" y="25"/>
                    </a:lnTo>
                    <a:lnTo>
                      <a:pt x="98" y="25"/>
                    </a:lnTo>
                    <a:lnTo>
                      <a:pt x="100" y="21"/>
                    </a:lnTo>
                    <a:lnTo>
                      <a:pt x="100" y="21"/>
                    </a:lnTo>
                    <a:lnTo>
                      <a:pt x="104" y="14"/>
                    </a:lnTo>
                    <a:lnTo>
                      <a:pt x="104" y="14"/>
                    </a:lnTo>
                    <a:lnTo>
                      <a:pt x="105" y="12"/>
                    </a:lnTo>
                    <a:lnTo>
                      <a:pt x="105" y="12"/>
                    </a:lnTo>
                    <a:lnTo>
                      <a:pt x="109" y="8"/>
                    </a:lnTo>
                    <a:lnTo>
                      <a:pt x="109" y="8"/>
                    </a:lnTo>
                    <a:lnTo>
                      <a:pt x="111" y="5"/>
                    </a:lnTo>
                    <a:lnTo>
                      <a:pt x="113" y="0"/>
                    </a:lnTo>
                    <a:lnTo>
                      <a:pt x="113" y="0"/>
                    </a:lnTo>
                    <a:lnTo>
                      <a:pt x="114" y="1"/>
                    </a:lnTo>
                    <a:lnTo>
                      <a:pt x="114" y="3"/>
                    </a:lnTo>
                    <a:lnTo>
                      <a:pt x="113" y="7"/>
                    </a:lnTo>
                    <a:lnTo>
                      <a:pt x="113" y="7"/>
                    </a:lnTo>
                    <a:lnTo>
                      <a:pt x="116" y="3"/>
                    </a:lnTo>
                    <a:lnTo>
                      <a:pt x="118" y="1"/>
                    </a:lnTo>
                    <a:lnTo>
                      <a:pt x="120" y="1"/>
                    </a:lnTo>
                    <a:lnTo>
                      <a:pt x="120" y="1"/>
                    </a:lnTo>
                    <a:lnTo>
                      <a:pt x="121" y="5"/>
                    </a:lnTo>
                    <a:lnTo>
                      <a:pt x="123" y="7"/>
                    </a:lnTo>
                    <a:lnTo>
                      <a:pt x="125" y="7"/>
                    </a:lnTo>
                    <a:lnTo>
                      <a:pt x="125" y="7"/>
                    </a:lnTo>
                    <a:lnTo>
                      <a:pt x="125" y="7"/>
                    </a:lnTo>
                    <a:lnTo>
                      <a:pt x="127" y="8"/>
                    </a:lnTo>
                    <a:lnTo>
                      <a:pt x="129" y="10"/>
                    </a:lnTo>
                    <a:lnTo>
                      <a:pt x="129" y="12"/>
                    </a:lnTo>
                    <a:lnTo>
                      <a:pt x="129" y="12"/>
                    </a:lnTo>
                    <a:lnTo>
                      <a:pt x="129" y="12"/>
                    </a:lnTo>
                    <a:lnTo>
                      <a:pt x="127" y="14"/>
                    </a:lnTo>
                    <a:lnTo>
                      <a:pt x="127" y="14"/>
                    </a:lnTo>
                    <a:lnTo>
                      <a:pt x="127" y="17"/>
                    </a:lnTo>
                    <a:lnTo>
                      <a:pt x="125" y="19"/>
                    </a:lnTo>
                    <a:lnTo>
                      <a:pt x="125" y="19"/>
                    </a:lnTo>
                    <a:lnTo>
                      <a:pt x="130" y="17"/>
                    </a:lnTo>
                    <a:lnTo>
                      <a:pt x="130" y="17"/>
                    </a:lnTo>
                    <a:lnTo>
                      <a:pt x="132" y="16"/>
                    </a:lnTo>
                    <a:lnTo>
                      <a:pt x="134" y="16"/>
                    </a:lnTo>
                    <a:lnTo>
                      <a:pt x="134" y="16"/>
                    </a:lnTo>
                    <a:lnTo>
                      <a:pt x="136" y="17"/>
                    </a:lnTo>
                    <a:lnTo>
                      <a:pt x="134" y="19"/>
                    </a:lnTo>
                    <a:lnTo>
                      <a:pt x="132" y="19"/>
                    </a:lnTo>
                    <a:lnTo>
                      <a:pt x="132" y="19"/>
                    </a:lnTo>
                    <a:lnTo>
                      <a:pt x="132" y="21"/>
                    </a:lnTo>
                    <a:lnTo>
                      <a:pt x="134" y="21"/>
                    </a:lnTo>
                    <a:lnTo>
                      <a:pt x="138" y="19"/>
                    </a:lnTo>
                    <a:lnTo>
                      <a:pt x="138" y="19"/>
                    </a:lnTo>
                    <a:lnTo>
                      <a:pt x="139" y="19"/>
                    </a:lnTo>
                    <a:lnTo>
                      <a:pt x="141" y="21"/>
                    </a:lnTo>
                    <a:lnTo>
                      <a:pt x="143" y="23"/>
                    </a:lnTo>
                    <a:lnTo>
                      <a:pt x="143" y="23"/>
                    </a:lnTo>
                    <a:lnTo>
                      <a:pt x="145" y="23"/>
                    </a:lnTo>
                    <a:lnTo>
                      <a:pt x="146" y="25"/>
                    </a:lnTo>
                    <a:lnTo>
                      <a:pt x="148" y="26"/>
                    </a:lnTo>
                    <a:lnTo>
                      <a:pt x="148" y="26"/>
                    </a:lnTo>
                    <a:lnTo>
                      <a:pt x="150" y="25"/>
                    </a:lnTo>
                    <a:lnTo>
                      <a:pt x="152" y="26"/>
                    </a:lnTo>
                    <a:lnTo>
                      <a:pt x="154" y="26"/>
                    </a:lnTo>
                    <a:lnTo>
                      <a:pt x="155" y="28"/>
                    </a:lnTo>
                    <a:lnTo>
                      <a:pt x="155" y="28"/>
                    </a:lnTo>
                    <a:lnTo>
                      <a:pt x="154" y="30"/>
                    </a:lnTo>
                    <a:lnTo>
                      <a:pt x="150" y="32"/>
                    </a:lnTo>
                    <a:lnTo>
                      <a:pt x="145" y="33"/>
                    </a:lnTo>
                    <a:lnTo>
                      <a:pt x="145" y="33"/>
                    </a:lnTo>
                    <a:lnTo>
                      <a:pt x="139" y="33"/>
                    </a:lnTo>
                    <a:lnTo>
                      <a:pt x="138" y="33"/>
                    </a:lnTo>
                    <a:lnTo>
                      <a:pt x="138" y="35"/>
                    </a:lnTo>
                    <a:lnTo>
                      <a:pt x="138" y="35"/>
                    </a:lnTo>
                    <a:lnTo>
                      <a:pt x="141" y="37"/>
                    </a:lnTo>
                    <a:lnTo>
                      <a:pt x="143" y="39"/>
                    </a:lnTo>
                    <a:lnTo>
                      <a:pt x="143" y="41"/>
                    </a:lnTo>
                    <a:lnTo>
                      <a:pt x="143" y="41"/>
                    </a:lnTo>
                    <a:lnTo>
                      <a:pt x="145" y="41"/>
                    </a:lnTo>
                    <a:lnTo>
                      <a:pt x="145" y="42"/>
                    </a:lnTo>
                    <a:lnTo>
                      <a:pt x="145" y="42"/>
                    </a:lnTo>
                    <a:lnTo>
                      <a:pt x="143" y="42"/>
                    </a:lnTo>
                    <a:lnTo>
                      <a:pt x="139" y="44"/>
                    </a:lnTo>
                    <a:lnTo>
                      <a:pt x="139" y="44"/>
                    </a:lnTo>
                    <a:lnTo>
                      <a:pt x="134" y="44"/>
                    </a:lnTo>
                    <a:lnTo>
                      <a:pt x="129" y="42"/>
                    </a:lnTo>
                    <a:lnTo>
                      <a:pt x="129" y="42"/>
                    </a:lnTo>
                    <a:lnTo>
                      <a:pt x="129" y="44"/>
                    </a:lnTo>
                    <a:lnTo>
                      <a:pt x="129" y="46"/>
                    </a:lnTo>
                    <a:lnTo>
                      <a:pt x="129" y="46"/>
                    </a:lnTo>
                    <a:lnTo>
                      <a:pt x="125" y="46"/>
                    </a:lnTo>
                    <a:lnTo>
                      <a:pt x="123" y="44"/>
                    </a:lnTo>
                    <a:lnTo>
                      <a:pt x="123" y="44"/>
                    </a:lnTo>
                    <a:lnTo>
                      <a:pt x="120" y="42"/>
                    </a:lnTo>
                    <a:lnTo>
                      <a:pt x="118" y="42"/>
                    </a:lnTo>
                    <a:lnTo>
                      <a:pt x="114" y="42"/>
                    </a:lnTo>
                    <a:lnTo>
                      <a:pt x="111" y="42"/>
                    </a:lnTo>
                    <a:lnTo>
                      <a:pt x="111" y="42"/>
                    </a:lnTo>
                    <a:lnTo>
                      <a:pt x="111" y="44"/>
                    </a:lnTo>
                    <a:lnTo>
                      <a:pt x="109" y="44"/>
                    </a:lnTo>
                    <a:lnTo>
                      <a:pt x="107" y="42"/>
                    </a:lnTo>
                    <a:lnTo>
                      <a:pt x="107" y="42"/>
                    </a:lnTo>
                    <a:lnTo>
                      <a:pt x="105" y="42"/>
                    </a:lnTo>
                    <a:lnTo>
                      <a:pt x="104" y="44"/>
                    </a:lnTo>
                    <a:lnTo>
                      <a:pt x="104" y="44"/>
                    </a:lnTo>
                    <a:lnTo>
                      <a:pt x="102" y="44"/>
                    </a:lnTo>
                    <a:lnTo>
                      <a:pt x="100" y="42"/>
                    </a:lnTo>
                    <a:lnTo>
                      <a:pt x="100" y="42"/>
                    </a:lnTo>
                    <a:lnTo>
                      <a:pt x="98" y="46"/>
                    </a:lnTo>
                    <a:lnTo>
                      <a:pt x="98" y="46"/>
                    </a:lnTo>
                    <a:lnTo>
                      <a:pt x="96" y="51"/>
                    </a:lnTo>
                    <a:lnTo>
                      <a:pt x="96" y="51"/>
                    </a:lnTo>
                    <a:lnTo>
                      <a:pt x="96" y="55"/>
                    </a:lnTo>
                    <a:lnTo>
                      <a:pt x="96" y="55"/>
                    </a:lnTo>
                    <a:lnTo>
                      <a:pt x="96" y="57"/>
                    </a:lnTo>
                    <a:lnTo>
                      <a:pt x="96" y="60"/>
                    </a:lnTo>
                    <a:lnTo>
                      <a:pt x="96" y="60"/>
                    </a:lnTo>
                    <a:lnTo>
                      <a:pt x="95" y="64"/>
                    </a:lnTo>
                    <a:lnTo>
                      <a:pt x="93" y="64"/>
                    </a:lnTo>
                    <a:lnTo>
                      <a:pt x="93" y="64"/>
                    </a:lnTo>
                    <a:lnTo>
                      <a:pt x="89" y="66"/>
                    </a:lnTo>
                    <a:lnTo>
                      <a:pt x="89" y="67"/>
                    </a:lnTo>
                    <a:lnTo>
                      <a:pt x="91" y="73"/>
                    </a:lnTo>
                    <a:lnTo>
                      <a:pt x="91" y="73"/>
                    </a:lnTo>
                    <a:lnTo>
                      <a:pt x="88" y="76"/>
                    </a:lnTo>
                    <a:lnTo>
                      <a:pt x="86" y="78"/>
                    </a:lnTo>
                    <a:lnTo>
                      <a:pt x="86" y="80"/>
                    </a:lnTo>
                    <a:lnTo>
                      <a:pt x="86" y="80"/>
                    </a:lnTo>
                    <a:lnTo>
                      <a:pt x="86" y="82"/>
                    </a:lnTo>
                    <a:lnTo>
                      <a:pt x="84" y="85"/>
                    </a:lnTo>
                    <a:lnTo>
                      <a:pt x="82" y="87"/>
                    </a:lnTo>
                    <a:lnTo>
                      <a:pt x="82" y="91"/>
                    </a:lnTo>
                    <a:lnTo>
                      <a:pt x="82" y="91"/>
                    </a:lnTo>
                    <a:lnTo>
                      <a:pt x="79" y="89"/>
                    </a:lnTo>
                    <a:lnTo>
                      <a:pt x="77" y="91"/>
                    </a:lnTo>
                    <a:lnTo>
                      <a:pt x="77" y="91"/>
                    </a:lnTo>
                    <a:lnTo>
                      <a:pt x="73" y="91"/>
                    </a:lnTo>
                    <a:lnTo>
                      <a:pt x="71" y="91"/>
                    </a:lnTo>
                    <a:lnTo>
                      <a:pt x="71" y="91"/>
                    </a:lnTo>
                    <a:lnTo>
                      <a:pt x="68" y="92"/>
                    </a:lnTo>
                    <a:lnTo>
                      <a:pt x="64" y="92"/>
                    </a:lnTo>
                    <a:lnTo>
                      <a:pt x="64" y="92"/>
                    </a:lnTo>
                    <a:lnTo>
                      <a:pt x="61" y="92"/>
                    </a:lnTo>
                    <a:lnTo>
                      <a:pt x="57" y="89"/>
                    </a:lnTo>
                    <a:lnTo>
                      <a:pt x="57" y="89"/>
                    </a:lnTo>
                    <a:lnTo>
                      <a:pt x="55" y="89"/>
                    </a:lnTo>
                    <a:lnTo>
                      <a:pt x="50" y="87"/>
                    </a:lnTo>
                    <a:lnTo>
                      <a:pt x="46" y="89"/>
                    </a:lnTo>
                    <a:lnTo>
                      <a:pt x="45" y="91"/>
                    </a:lnTo>
                    <a:lnTo>
                      <a:pt x="45" y="91"/>
                    </a:lnTo>
                    <a:lnTo>
                      <a:pt x="41" y="94"/>
                    </a:lnTo>
                    <a:lnTo>
                      <a:pt x="41" y="94"/>
                    </a:lnTo>
                    <a:lnTo>
                      <a:pt x="38" y="98"/>
                    </a:lnTo>
                    <a:lnTo>
                      <a:pt x="38" y="98"/>
                    </a:lnTo>
                    <a:lnTo>
                      <a:pt x="32" y="98"/>
                    </a:lnTo>
                    <a:lnTo>
                      <a:pt x="32" y="98"/>
                    </a:lnTo>
                    <a:lnTo>
                      <a:pt x="29" y="96"/>
                    </a:lnTo>
                    <a:lnTo>
                      <a:pt x="29" y="96"/>
                    </a:lnTo>
                    <a:lnTo>
                      <a:pt x="23" y="98"/>
                    </a:lnTo>
                    <a:lnTo>
                      <a:pt x="20" y="100"/>
                    </a:lnTo>
                    <a:lnTo>
                      <a:pt x="20" y="100"/>
                    </a:lnTo>
                    <a:lnTo>
                      <a:pt x="18" y="100"/>
                    </a:lnTo>
                    <a:lnTo>
                      <a:pt x="16" y="100"/>
                    </a:lnTo>
                    <a:lnTo>
                      <a:pt x="13" y="98"/>
                    </a:lnTo>
                    <a:lnTo>
                      <a:pt x="13" y="98"/>
                    </a:lnTo>
                    <a:lnTo>
                      <a:pt x="9" y="94"/>
                    </a:lnTo>
                    <a:lnTo>
                      <a:pt x="9" y="94"/>
                    </a:lnTo>
                    <a:lnTo>
                      <a:pt x="7" y="91"/>
                    </a:lnTo>
                    <a:lnTo>
                      <a:pt x="7" y="91"/>
                    </a:lnTo>
                    <a:lnTo>
                      <a:pt x="4" y="89"/>
                    </a:lnTo>
                    <a:lnTo>
                      <a:pt x="4" y="89"/>
                    </a:lnTo>
                    <a:lnTo>
                      <a:pt x="4" y="87"/>
                    </a:lnTo>
                    <a:lnTo>
                      <a:pt x="2" y="85"/>
                    </a:lnTo>
                    <a:lnTo>
                      <a:pt x="2" y="85"/>
                    </a:lnTo>
                    <a:lnTo>
                      <a:pt x="0" y="83"/>
                    </a:lnTo>
                    <a:lnTo>
                      <a:pt x="0" y="82"/>
                    </a:lnTo>
                    <a:lnTo>
                      <a:pt x="2" y="8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83" name="Freeform 2735"/>
              <p:cNvSpPr>
                <a:spLocks/>
              </p:cNvSpPr>
              <p:nvPr/>
            </p:nvSpPr>
            <p:spPr bwMode="auto">
              <a:xfrm>
                <a:off x="5365" y="2565"/>
                <a:ext cx="13" cy="9"/>
              </a:xfrm>
              <a:custGeom>
                <a:avLst/>
                <a:gdLst>
                  <a:gd name="T0" fmla="*/ 2 w 13"/>
                  <a:gd name="T1" fmla="*/ 0 h 9"/>
                  <a:gd name="T2" fmla="*/ 2 w 13"/>
                  <a:gd name="T3" fmla="*/ 0 h 9"/>
                  <a:gd name="T4" fmla="*/ 2 w 13"/>
                  <a:gd name="T5" fmla="*/ 0 h 9"/>
                  <a:gd name="T6" fmla="*/ 8 w 13"/>
                  <a:gd name="T7" fmla="*/ 0 h 9"/>
                  <a:gd name="T8" fmla="*/ 8 w 13"/>
                  <a:gd name="T9" fmla="*/ 0 h 9"/>
                  <a:gd name="T10" fmla="*/ 9 w 13"/>
                  <a:gd name="T11" fmla="*/ 0 h 9"/>
                  <a:gd name="T12" fmla="*/ 9 w 13"/>
                  <a:gd name="T13" fmla="*/ 0 h 9"/>
                  <a:gd name="T14" fmla="*/ 13 w 13"/>
                  <a:gd name="T15" fmla="*/ 5 h 9"/>
                  <a:gd name="T16" fmla="*/ 13 w 13"/>
                  <a:gd name="T17" fmla="*/ 9 h 9"/>
                  <a:gd name="T18" fmla="*/ 13 w 13"/>
                  <a:gd name="T19" fmla="*/ 9 h 9"/>
                  <a:gd name="T20" fmla="*/ 11 w 13"/>
                  <a:gd name="T21" fmla="*/ 9 h 9"/>
                  <a:gd name="T22" fmla="*/ 11 w 13"/>
                  <a:gd name="T23" fmla="*/ 5 h 9"/>
                  <a:gd name="T24" fmla="*/ 8 w 13"/>
                  <a:gd name="T25" fmla="*/ 1 h 9"/>
                  <a:gd name="T26" fmla="*/ 2 w 13"/>
                  <a:gd name="T27" fmla="*/ 1 h 9"/>
                  <a:gd name="T28" fmla="*/ 2 w 13"/>
                  <a:gd name="T29" fmla="*/ 0 h 9"/>
                  <a:gd name="T30" fmla="*/ 0 w 13"/>
                  <a:gd name="T31" fmla="*/ 0 h 9"/>
                  <a:gd name="T32" fmla="*/ 2 w 13"/>
                  <a:gd name="T3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9">
                    <a:moveTo>
                      <a:pt x="2" y="0"/>
                    </a:moveTo>
                    <a:lnTo>
                      <a:pt x="2" y="0"/>
                    </a:lnTo>
                    <a:lnTo>
                      <a:pt x="2" y="0"/>
                    </a:lnTo>
                    <a:lnTo>
                      <a:pt x="8" y="0"/>
                    </a:lnTo>
                    <a:lnTo>
                      <a:pt x="8" y="0"/>
                    </a:lnTo>
                    <a:lnTo>
                      <a:pt x="9" y="0"/>
                    </a:lnTo>
                    <a:lnTo>
                      <a:pt x="9" y="0"/>
                    </a:lnTo>
                    <a:lnTo>
                      <a:pt x="13" y="5"/>
                    </a:lnTo>
                    <a:lnTo>
                      <a:pt x="13" y="9"/>
                    </a:lnTo>
                    <a:lnTo>
                      <a:pt x="13" y="9"/>
                    </a:lnTo>
                    <a:lnTo>
                      <a:pt x="11" y="9"/>
                    </a:lnTo>
                    <a:lnTo>
                      <a:pt x="11" y="5"/>
                    </a:lnTo>
                    <a:lnTo>
                      <a:pt x="8" y="1"/>
                    </a:lnTo>
                    <a:lnTo>
                      <a:pt x="2" y="1"/>
                    </a:lnTo>
                    <a:lnTo>
                      <a:pt x="2" y="0"/>
                    </a:lnTo>
                    <a:lnTo>
                      <a:pt x="0"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84" name="Freeform 2736"/>
              <p:cNvSpPr>
                <a:spLocks/>
              </p:cNvSpPr>
              <p:nvPr/>
            </p:nvSpPr>
            <p:spPr bwMode="auto">
              <a:xfrm>
                <a:off x="5365" y="2565"/>
                <a:ext cx="13" cy="9"/>
              </a:xfrm>
              <a:custGeom>
                <a:avLst/>
                <a:gdLst>
                  <a:gd name="T0" fmla="*/ 2 w 13"/>
                  <a:gd name="T1" fmla="*/ 0 h 9"/>
                  <a:gd name="T2" fmla="*/ 2 w 13"/>
                  <a:gd name="T3" fmla="*/ 0 h 9"/>
                  <a:gd name="T4" fmla="*/ 2 w 13"/>
                  <a:gd name="T5" fmla="*/ 0 h 9"/>
                  <a:gd name="T6" fmla="*/ 8 w 13"/>
                  <a:gd name="T7" fmla="*/ 0 h 9"/>
                  <a:gd name="T8" fmla="*/ 8 w 13"/>
                  <a:gd name="T9" fmla="*/ 0 h 9"/>
                  <a:gd name="T10" fmla="*/ 9 w 13"/>
                  <a:gd name="T11" fmla="*/ 0 h 9"/>
                  <a:gd name="T12" fmla="*/ 9 w 13"/>
                  <a:gd name="T13" fmla="*/ 0 h 9"/>
                  <a:gd name="T14" fmla="*/ 13 w 13"/>
                  <a:gd name="T15" fmla="*/ 5 h 9"/>
                  <a:gd name="T16" fmla="*/ 13 w 13"/>
                  <a:gd name="T17" fmla="*/ 9 h 9"/>
                  <a:gd name="T18" fmla="*/ 13 w 13"/>
                  <a:gd name="T19" fmla="*/ 9 h 9"/>
                  <a:gd name="T20" fmla="*/ 11 w 13"/>
                  <a:gd name="T21" fmla="*/ 9 h 9"/>
                  <a:gd name="T22" fmla="*/ 11 w 13"/>
                  <a:gd name="T23" fmla="*/ 5 h 9"/>
                  <a:gd name="T24" fmla="*/ 8 w 13"/>
                  <a:gd name="T25" fmla="*/ 1 h 9"/>
                  <a:gd name="T26" fmla="*/ 2 w 13"/>
                  <a:gd name="T27" fmla="*/ 1 h 9"/>
                  <a:gd name="T28" fmla="*/ 2 w 13"/>
                  <a:gd name="T29" fmla="*/ 0 h 9"/>
                  <a:gd name="T30" fmla="*/ 0 w 13"/>
                  <a:gd name="T31" fmla="*/ 0 h 9"/>
                  <a:gd name="T32" fmla="*/ 2 w 13"/>
                  <a:gd name="T3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9">
                    <a:moveTo>
                      <a:pt x="2" y="0"/>
                    </a:moveTo>
                    <a:lnTo>
                      <a:pt x="2" y="0"/>
                    </a:lnTo>
                    <a:lnTo>
                      <a:pt x="2" y="0"/>
                    </a:lnTo>
                    <a:lnTo>
                      <a:pt x="8" y="0"/>
                    </a:lnTo>
                    <a:lnTo>
                      <a:pt x="8" y="0"/>
                    </a:lnTo>
                    <a:lnTo>
                      <a:pt x="9" y="0"/>
                    </a:lnTo>
                    <a:lnTo>
                      <a:pt x="9" y="0"/>
                    </a:lnTo>
                    <a:lnTo>
                      <a:pt x="13" y="5"/>
                    </a:lnTo>
                    <a:lnTo>
                      <a:pt x="13" y="9"/>
                    </a:lnTo>
                    <a:lnTo>
                      <a:pt x="13" y="9"/>
                    </a:lnTo>
                    <a:lnTo>
                      <a:pt x="11" y="9"/>
                    </a:lnTo>
                    <a:lnTo>
                      <a:pt x="11" y="5"/>
                    </a:lnTo>
                    <a:lnTo>
                      <a:pt x="8" y="1"/>
                    </a:lnTo>
                    <a:lnTo>
                      <a:pt x="2" y="1"/>
                    </a:lnTo>
                    <a:lnTo>
                      <a:pt x="2" y="0"/>
                    </a:lnTo>
                    <a:lnTo>
                      <a:pt x="0"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85" name="Freeform 2737"/>
              <p:cNvSpPr>
                <a:spLocks/>
              </p:cNvSpPr>
              <p:nvPr/>
            </p:nvSpPr>
            <p:spPr bwMode="auto">
              <a:xfrm>
                <a:off x="5364" y="2529"/>
                <a:ext cx="5" cy="5"/>
              </a:xfrm>
              <a:custGeom>
                <a:avLst/>
                <a:gdLst>
                  <a:gd name="T0" fmla="*/ 1 w 5"/>
                  <a:gd name="T1" fmla="*/ 2 h 5"/>
                  <a:gd name="T2" fmla="*/ 3 w 5"/>
                  <a:gd name="T3" fmla="*/ 2 h 5"/>
                  <a:gd name="T4" fmla="*/ 5 w 5"/>
                  <a:gd name="T5" fmla="*/ 0 h 5"/>
                  <a:gd name="T6" fmla="*/ 5 w 5"/>
                  <a:gd name="T7" fmla="*/ 2 h 5"/>
                  <a:gd name="T8" fmla="*/ 3 w 5"/>
                  <a:gd name="T9" fmla="*/ 3 h 5"/>
                  <a:gd name="T10" fmla="*/ 3 w 5"/>
                  <a:gd name="T11" fmla="*/ 3 h 5"/>
                  <a:gd name="T12" fmla="*/ 1 w 5"/>
                  <a:gd name="T13" fmla="*/ 5 h 5"/>
                  <a:gd name="T14" fmla="*/ 0 w 5"/>
                  <a:gd name="T15" fmla="*/ 5 h 5"/>
                  <a:gd name="T16" fmla="*/ 0 w 5"/>
                  <a:gd name="T17" fmla="*/ 5 h 5"/>
                  <a:gd name="T18" fmla="*/ 0 w 5"/>
                  <a:gd name="T19" fmla="*/ 3 h 5"/>
                  <a:gd name="T20" fmla="*/ 0 w 5"/>
                  <a:gd name="T21" fmla="*/ 2 h 5"/>
                  <a:gd name="T22" fmla="*/ 1 w 5"/>
                  <a:gd name="T23" fmla="*/ 2 h 5"/>
                  <a:gd name="T24" fmla="*/ 1 w 5"/>
                  <a:gd name="T2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5">
                    <a:moveTo>
                      <a:pt x="1" y="2"/>
                    </a:moveTo>
                    <a:lnTo>
                      <a:pt x="3" y="2"/>
                    </a:lnTo>
                    <a:lnTo>
                      <a:pt x="5" y="0"/>
                    </a:lnTo>
                    <a:lnTo>
                      <a:pt x="5" y="2"/>
                    </a:lnTo>
                    <a:lnTo>
                      <a:pt x="3" y="3"/>
                    </a:lnTo>
                    <a:lnTo>
                      <a:pt x="3" y="3"/>
                    </a:lnTo>
                    <a:lnTo>
                      <a:pt x="1" y="5"/>
                    </a:lnTo>
                    <a:lnTo>
                      <a:pt x="0" y="5"/>
                    </a:lnTo>
                    <a:lnTo>
                      <a:pt x="0" y="5"/>
                    </a:lnTo>
                    <a:lnTo>
                      <a:pt x="0" y="3"/>
                    </a:lnTo>
                    <a:lnTo>
                      <a:pt x="0" y="2"/>
                    </a:lnTo>
                    <a:lnTo>
                      <a:pt x="1" y="2"/>
                    </a:lnTo>
                    <a:lnTo>
                      <a:pt x="1"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86" name="Freeform 2738"/>
              <p:cNvSpPr>
                <a:spLocks/>
              </p:cNvSpPr>
              <p:nvPr/>
            </p:nvSpPr>
            <p:spPr bwMode="auto">
              <a:xfrm>
                <a:off x="5364" y="2529"/>
                <a:ext cx="5" cy="5"/>
              </a:xfrm>
              <a:custGeom>
                <a:avLst/>
                <a:gdLst>
                  <a:gd name="T0" fmla="*/ 1 w 5"/>
                  <a:gd name="T1" fmla="*/ 2 h 5"/>
                  <a:gd name="T2" fmla="*/ 3 w 5"/>
                  <a:gd name="T3" fmla="*/ 2 h 5"/>
                  <a:gd name="T4" fmla="*/ 5 w 5"/>
                  <a:gd name="T5" fmla="*/ 0 h 5"/>
                  <a:gd name="T6" fmla="*/ 5 w 5"/>
                  <a:gd name="T7" fmla="*/ 2 h 5"/>
                  <a:gd name="T8" fmla="*/ 3 w 5"/>
                  <a:gd name="T9" fmla="*/ 3 h 5"/>
                  <a:gd name="T10" fmla="*/ 3 w 5"/>
                  <a:gd name="T11" fmla="*/ 3 h 5"/>
                  <a:gd name="T12" fmla="*/ 1 w 5"/>
                  <a:gd name="T13" fmla="*/ 5 h 5"/>
                  <a:gd name="T14" fmla="*/ 0 w 5"/>
                  <a:gd name="T15" fmla="*/ 5 h 5"/>
                  <a:gd name="T16" fmla="*/ 0 w 5"/>
                  <a:gd name="T17" fmla="*/ 5 h 5"/>
                  <a:gd name="T18" fmla="*/ 0 w 5"/>
                  <a:gd name="T19" fmla="*/ 3 h 5"/>
                  <a:gd name="T20" fmla="*/ 0 w 5"/>
                  <a:gd name="T21" fmla="*/ 2 h 5"/>
                  <a:gd name="T22" fmla="*/ 1 w 5"/>
                  <a:gd name="T23" fmla="*/ 2 h 5"/>
                  <a:gd name="T24" fmla="*/ 1 w 5"/>
                  <a:gd name="T2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5">
                    <a:moveTo>
                      <a:pt x="1" y="2"/>
                    </a:moveTo>
                    <a:lnTo>
                      <a:pt x="3" y="2"/>
                    </a:lnTo>
                    <a:lnTo>
                      <a:pt x="5" y="0"/>
                    </a:lnTo>
                    <a:lnTo>
                      <a:pt x="5" y="2"/>
                    </a:lnTo>
                    <a:lnTo>
                      <a:pt x="3" y="3"/>
                    </a:lnTo>
                    <a:lnTo>
                      <a:pt x="3" y="3"/>
                    </a:lnTo>
                    <a:lnTo>
                      <a:pt x="1" y="5"/>
                    </a:lnTo>
                    <a:lnTo>
                      <a:pt x="0" y="5"/>
                    </a:lnTo>
                    <a:lnTo>
                      <a:pt x="0" y="5"/>
                    </a:lnTo>
                    <a:lnTo>
                      <a:pt x="0" y="3"/>
                    </a:lnTo>
                    <a:lnTo>
                      <a:pt x="0" y="2"/>
                    </a:lnTo>
                    <a:lnTo>
                      <a:pt x="1" y="2"/>
                    </a:lnTo>
                    <a:lnTo>
                      <a:pt x="1"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87" name="Freeform 2739"/>
              <p:cNvSpPr>
                <a:spLocks/>
              </p:cNvSpPr>
              <p:nvPr/>
            </p:nvSpPr>
            <p:spPr bwMode="auto">
              <a:xfrm>
                <a:off x="5430" y="2572"/>
                <a:ext cx="5" cy="5"/>
              </a:xfrm>
              <a:custGeom>
                <a:avLst/>
                <a:gdLst>
                  <a:gd name="T0" fmla="*/ 0 w 5"/>
                  <a:gd name="T1" fmla="*/ 0 h 5"/>
                  <a:gd name="T2" fmla="*/ 1 w 5"/>
                  <a:gd name="T3" fmla="*/ 0 h 5"/>
                  <a:gd name="T4" fmla="*/ 1 w 5"/>
                  <a:gd name="T5" fmla="*/ 0 h 5"/>
                  <a:gd name="T6" fmla="*/ 3 w 5"/>
                  <a:gd name="T7" fmla="*/ 2 h 5"/>
                  <a:gd name="T8" fmla="*/ 5 w 5"/>
                  <a:gd name="T9" fmla="*/ 3 h 5"/>
                  <a:gd name="T10" fmla="*/ 5 w 5"/>
                  <a:gd name="T11" fmla="*/ 5 h 5"/>
                  <a:gd name="T12" fmla="*/ 5 w 5"/>
                  <a:gd name="T13" fmla="*/ 5 h 5"/>
                  <a:gd name="T14" fmla="*/ 3 w 5"/>
                  <a:gd name="T15" fmla="*/ 5 h 5"/>
                  <a:gd name="T16" fmla="*/ 1 w 5"/>
                  <a:gd name="T17" fmla="*/ 3 h 5"/>
                  <a:gd name="T18" fmla="*/ 0 w 5"/>
                  <a:gd name="T19" fmla="*/ 2 h 5"/>
                  <a:gd name="T20" fmla="*/ 0 w 5"/>
                  <a:gd name="T21" fmla="*/ 0 h 5"/>
                  <a:gd name="T22" fmla="*/ 0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0" y="0"/>
                    </a:moveTo>
                    <a:lnTo>
                      <a:pt x="1" y="0"/>
                    </a:lnTo>
                    <a:lnTo>
                      <a:pt x="1" y="0"/>
                    </a:lnTo>
                    <a:lnTo>
                      <a:pt x="3" y="2"/>
                    </a:lnTo>
                    <a:lnTo>
                      <a:pt x="5" y="3"/>
                    </a:lnTo>
                    <a:lnTo>
                      <a:pt x="5" y="5"/>
                    </a:lnTo>
                    <a:lnTo>
                      <a:pt x="5" y="5"/>
                    </a:lnTo>
                    <a:lnTo>
                      <a:pt x="3" y="5"/>
                    </a:lnTo>
                    <a:lnTo>
                      <a:pt x="1" y="3"/>
                    </a:lnTo>
                    <a:lnTo>
                      <a:pt x="0" y="2"/>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88" name="Freeform 2740"/>
              <p:cNvSpPr>
                <a:spLocks/>
              </p:cNvSpPr>
              <p:nvPr/>
            </p:nvSpPr>
            <p:spPr bwMode="auto">
              <a:xfrm>
                <a:off x="5430" y="2572"/>
                <a:ext cx="5" cy="5"/>
              </a:xfrm>
              <a:custGeom>
                <a:avLst/>
                <a:gdLst>
                  <a:gd name="T0" fmla="*/ 0 w 5"/>
                  <a:gd name="T1" fmla="*/ 0 h 5"/>
                  <a:gd name="T2" fmla="*/ 1 w 5"/>
                  <a:gd name="T3" fmla="*/ 0 h 5"/>
                  <a:gd name="T4" fmla="*/ 1 w 5"/>
                  <a:gd name="T5" fmla="*/ 0 h 5"/>
                  <a:gd name="T6" fmla="*/ 3 w 5"/>
                  <a:gd name="T7" fmla="*/ 2 h 5"/>
                  <a:gd name="T8" fmla="*/ 5 w 5"/>
                  <a:gd name="T9" fmla="*/ 3 h 5"/>
                  <a:gd name="T10" fmla="*/ 5 w 5"/>
                  <a:gd name="T11" fmla="*/ 5 h 5"/>
                  <a:gd name="T12" fmla="*/ 5 w 5"/>
                  <a:gd name="T13" fmla="*/ 5 h 5"/>
                  <a:gd name="T14" fmla="*/ 3 w 5"/>
                  <a:gd name="T15" fmla="*/ 5 h 5"/>
                  <a:gd name="T16" fmla="*/ 1 w 5"/>
                  <a:gd name="T17" fmla="*/ 3 h 5"/>
                  <a:gd name="T18" fmla="*/ 0 w 5"/>
                  <a:gd name="T19" fmla="*/ 2 h 5"/>
                  <a:gd name="T20" fmla="*/ 0 w 5"/>
                  <a:gd name="T21" fmla="*/ 0 h 5"/>
                  <a:gd name="T22" fmla="*/ 0 w 5"/>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0" y="0"/>
                    </a:moveTo>
                    <a:lnTo>
                      <a:pt x="1" y="0"/>
                    </a:lnTo>
                    <a:lnTo>
                      <a:pt x="1" y="0"/>
                    </a:lnTo>
                    <a:lnTo>
                      <a:pt x="3" y="2"/>
                    </a:lnTo>
                    <a:lnTo>
                      <a:pt x="5" y="3"/>
                    </a:lnTo>
                    <a:lnTo>
                      <a:pt x="5" y="5"/>
                    </a:lnTo>
                    <a:lnTo>
                      <a:pt x="5" y="5"/>
                    </a:lnTo>
                    <a:lnTo>
                      <a:pt x="3" y="5"/>
                    </a:lnTo>
                    <a:lnTo>
                      <a:pt x="1" y="3"/>
                    </a:lnTo>
                    <a:lnTo>
                      <a:pt x="0" y="2"/>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089" name="Freeform 2741"/>
              <p:cNvSpPr>
                <a:spLocks/>
              </p:cNvSpPr>
              <p:nvPr/>
            </p:nvSpPr>
            <p:spPr bwMode="auto">
              <a:xfrm>
                <a:off x="5462" y="2682"/>
                <a:ext cx="3" cy="11"/>
              </a:xfrm>
              <a:custGeom>
                <a:avLst/>
                <a:gdLst>
                  <a:gd name="T0" fmla="*/ 0 w 3"/>
                  <a:gd name="T1" fmla="*/ 0 h 11"/>
                  <a:gd name="T2" fmla="*/ 0 w 3"/>
                  <a:gd name="T3" fmla="*/ 2 h 11"/>
                  <a:gd name="T4" fmla="*/ 2 w 3"/>
                  <a:gd name="T5" fmla="*/ 4 h 11"/>
                  <a:gd name="T6" fmla="*/ 2 w 3"/>
                  <a:gd name="T7" fmla="*/ 8 h 11"/>
                  <a:gd name="T8" fmla="*/ 3 w 3"/>
                  <a:gd name="T9" fmla="*/ 9 h 11"/>
                  <a:gd name="T10" fmla="*/ 3 w 3"/>
                  <a:gd name="T11" fmla="*/ 11 h 11"/>
                  <a:gd name="T12" fmla="*/ 2 w 3"/>
                  <a:gd name="T13" fmla="*/ 11 h 11"/>
                  <a:gd name="T14" fmla="*/ 0 w 3"/>
                  <a:gd name="T15" fmla="*/ 9 h 11"/>
                  <a:gd name="T16" fmla="*/ 0 w 3"/>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1">
                    <a:moveTo>
                      <a:pt x="0" y="0"/>
                    </a:moveTo>
                    <a:lnTo>
                      <a:pt x="0" y="2"/>
                    </a:lnTo>
                    <a:lnTo>
                      <a:pt x="2" y="4"/>
                    </a:lnTo>
                    <a:lnTo>
                      <a:pt x="2" y="8"/>
                    </a:lnTo>
                    <a:lnTo>
                      <a:pt x="3" y="9"/>
                    </a:lnTo>
                    <a:lnTo>
                      <a:pt x="3" y="11"/>
                    </a:lnTo>
                    <a:lnTo>
                      <a:pt x="2" y="11"/>
                    </a:lnTo>
                    <a:lnTo>
                      <a:pt x="0" y="9"/>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grpSp>
        <p:grpSp>
          <p:nvGrpSpPr>
            <p:cNvPr id="147" name="Group 2943"/>
            <p:cNvGrpSpPr>
              <a:grpSpLocks/>
            </p:cNvGrpSpPr>
            <p:nvPr/>
          </p:nvGrpSpPr>
          <p:grpSpPr bwMode="auto">
            <a:xfrm>
              <a:off x="7582720" y="3649441"/>
              <a:ext cx="1874016" cy="1630909"/>
              <a:chOff x="4573" y="2068"/>
              <a:chExt cx="1164" cy="1013"/>
            </a:xfrm>
            <a:solidFill>
              <a:schemeClr val="bg1">
                <a:lumMod val="85000"/>
              </a:schemeClr>
            </a:solidFill>
          </p:grpSpPr>
          <p:sp>
            <p:nvSpPr>
              <p:cNvPr id="689" name="Freeform 2743"/>
              <p:cNvSpPr>
                <a:spLocks/>
              </p:cNvSpPr>
              <p:nvPr/>
            </p:nvSpPr>
            <p:spPr bwMode="auto">
              <a:xfrm>
                <a:off x="5462" y="2682"/>
                <a:ext cx="3" cy="11"/>
              </a:xfrm>
              <a:custGeom>
                <a:avLst/>
                <a:gdLst>
                  <a:gd name="T0" fmla="*/ 0 w 3"/>
                  <a:gd name="T1" fmla="*/ 0 h 11"/>
                  <a:gd name="T2" fmla="*/ 0 w 3"/>
                  <a:gd name="T3" fmla="*/ 2 h 11"/>
                  <a:gd name="T4" fmla="*/ 2 w 3"/>
                  <a:gd name="T5" fmla="*/ 4 h 11"/>
                  <a:gd name="T6" fmla="*/ 2 w 3"/>
                  <a:gd name="T7" fmla="*/ 8 h 11"/>
                  <a:gd name="T8" fmla="*/ 3 w 3"/>
                  <a:gd name="T9" fmla="*/ 9 h 11"/>
                  <a:gd name="T10" fmla="*/ 3 w 3"/>
                  <a:gd name="T11" fmla="*/ 11 h 11"/>
                  <a:gd name="T12" fmla="*/ 2 w 3"/>
                  <a:gd name="T13" fmla="*/ 11 h 11"/>
                  <a:gd name="T14" fmla="*/ 0 w 3"/>
                  <a:gd name="T15" fmla="*/ 9 h 11"/>
                  <a:gd name="T16" fmla="*/ 0 w 3"/>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11">
                    <a:moveTo>
                      <a:pt x="0" y="0"/>
                    </a:moveTo>
                    <a:lnTo>
                      <a:pt x="0" y="2"/>
                    </a:lnTo>
                    <a:lnTo>
                      <a:pt x="2" y="4"/>
                    </a:lnTo>
                    <a:lnTo>
                      <a:pt x="2" y="8"/>
                    </a:lnTo>
                    <a:lnTo>
                      <a:pt x="3" y="9"/>
                    </a:lnTo>
                    <a:lnTo>
                      <a:pt x="3" y="11"/>
                    </a:lnTo>
                    <a:lnTo>
                      <a:pt x="2" y="11"/>
                    </a:lnTo>
                    <a:lnTo>
                      <a:pt x="0" y="9"/>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90" name="Freeform 2744"/>
              <p:cNvSpPr>
                <a:spLocks/>
              </p:cNvSpPr>
              <p:nvPr/>
            </p:nvSpPr>
            <p:spPr bwMode="auto">
              <a:xfrm>
                <a:off x="5348" y="2882"/>
                <a:ext cx="5" cy="4"/>
              </a:xfrm>
              <a:custGeom>
                <a:avLst/>
                <a:gdLst>
                  <a:gd name="T0" fmla="*/ 0 w 5"/>
                  <a:gd name="T1" fmla="*/ 4 h 4"/>
                  <a:gd name="T2" fmla="*/ 0 w 5"/>
                  <a:gd name="T3" fmla="*/ 4 h 4"/>
                  <a:gd name="T4" fmla="*/ 0 w 5"/>
                  <a:gd name="T5" fmla="*/ 4 h 4"/>
                  <a:gd name="T6" fmla="*/ 1 w 5"/>
                  <a:gd name="T7" fmla="*/ 0 h 4"/>
                  <a:gd name="T8" fmla="*/ 3 w 5"/>
                  <a:gd name="T9" fmla="*/ 0 h 4"/>
                  <a:gd name="T10" fmla="*/ 5 w 5"/>
                  <a:gd name="T11" fmla="*/ 2 h 4"/>
                  <a:gd name="T12" fmla="*/ 5 w 5"/>
                  <a:gd name="T13" fmla="*/ 4 h 4"/>
                  <a:gd name="T14" fmla="*/ 3 w 5"/>
                  <a:gd name="T15" fmla="*/ 4 h 4"/>
                  <a:gd name="T16" fmla="*/ 3 w 5"/>
                  <a:gd name="T17" fmla="*/ 4 h 4"/>
                  <a:gd name="T18" fmla="*/ 1 w 5"/>
                  <a:gd name="T19" fmla="*/ 4 h 4"/>
                  <a:gd name="T20" fmla="*/ 1 w 5"/>
                  <a:gd name="T21" fmla="*/ 4 h 4"/>
                  <a:gd name="T22" fmla="*/ 0 w 5"/>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4"/>
                    </a:moveTo>
                    <a:lnTo>
                      <a:pt x="0" y="4"/>
                    </a:lnTo>
                    <a:lnTo>
                      <a:pt x="0" y="4"/>
                    </a:lnTo>
                    <a:lnTo>
                      <a:pt x="1" y="0"/>
                    </a:lnTo>
                    <a:lnTo>
                      <a:pt x="3" y="0"/>
                    </a:lnTo>
                    <a:lnTo>
                      <a:pt x="5" y="2"/>
                    </a:lnTo>
                    <a:lnTo>
                      <a:pt x="5" y="4"/>
                    </a:lnTo>
                    <a:lnTo>
                      <a:pt x="3" y="4"/>
                    </a:lnTo>
                    <a:lnTo>
                      <a:pt x="3" y="4"/>
                    </a:lnTo>
                    <a:lnTo>
                      <a:pt x="1" y="4"/>
                    </a:lnTo>
                    <a:lnTo>
                      <a:pt x="1" y="4"/>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91" name="Freeform 2745"/>
              <p:cNvSpPr>
                <a:spLocks/>
              </p:cNvSpPr>
              <p:nvPr/>
            </p:nvSpPr>
            <p:spPr bwMode="auto">
              <a:xfrm>
                <a:off x="5348" y="2882"/>
                <a:ext cx="5" cy="4"/>
              </a:xfrm>
              <a:custGeom>
                <a:avLst/>
                <a:gdLst>
                  <a:gd name="T0" fmla="*/ 0 w 5"/>
                  <a:gd name="T1" fmla="*/ 4 h 4"/>
                  <a:gd name="T2" fmla="*/ 0 w 5"/>
                  <a:gd name="T3" fmla="*/ 4 h 4"/>
                  <a:gd name="T4" fmla="*/ 0 w 5"/>
                  <a:gd name="T5" fmla="*/ 4 h 4"/>
                  <a:gd name="T6" fmla="*/ 1 w 5"/>
                  <a:gd name="T7" fmla="*/ 0 h 4"/>
                  <a:gd name="T8" fmla="*/ 3 w 5"/>
                  <a:gd name="T9" fmla="*/ 0 h 4"/>
                  <a:gd name="T10" fmla="*/ 5 w 5"/>
                  <a:gd name="T11" fmla="*/ 2 h 4"/>
                  <a:gd name="T12" fmla="*/ 5 w 5"/>
                  <a:gd name="T13" fmla="*/ 4 h 4"/>
                  <a:gd name="T14" fmla="*/ 3 w 5"/>
                  <a:gd name="T15" fmla="*/ 4 h 4"/>
                  <a:gd name="T16" fmla="*/ 3 w 5"/>
                  <a:gd name="T17" fmla="*/ 4 h 4"/>
                  <a:gd name="T18" fmla="*/ 1 w 5"/>
                  <a:gd name="T19" fmla="*/ 4 h 4"/>
                  <a:gd name="T20" fmla="*/ 1 w 5"/>
                  <a:gd name="T21" fmla="*/ 4 h 4"/>
                  <a:gd name="T22" fmla="*/ 0 w 5"/>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4">
                    <a:moveTo>
                      <a:pt x="0" y="4"/>
                    </a:moveTo>
                    <a:lnTo>
                      <a:pt x="0" y="4"/>
                    </a:lnTo>
                    <a:lnTo>
                      <a:pt x="0" y="4"/>
                    </a:lnTo>
                    <a:lnTo>
                      <a:pt x="1" y="0"/>
                    </a:lnTo>
                    <a:lnTo>
                      <a:pt x="3" y="0"/>
                    </a:lnTo>
                    <a:lnTo>
                      <a:pt x="5" y="2"/>
                    </a:lnTo>
                    <a:lnTo>
                      <a:pt x="5" y="4"/>
                    </a:lnTo>
                    <a:lnTo>
                      <a:pt x="3" y="4"/>
                    </a:lnTo>
                    <a:lnTo>
                      <a:pt x="3" y="4"/>
                    </a:lnTo>
                    <a:lnTo>
                      <a:pt x="1" y="4"/>
                    </a:lnTo>
                    <a:lnTo>
                      <a:pt x="1" y="4"/>
                    </a:lnTo>
                    <a:lnTo>
                      <a:pt x="0"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92" name="Freeform 2746"/>
              <p:cNvSpPr>
                <a:spLocks/>
              </p:cNvSpPr>
              <p:nvPr/>
            </p:nvSpPr>
            <p:spPr bwMode="auto">
              <a:xfrm>
                <a:off x="5530" y="2993"/>
                <a:ext cx="21" cy="14"/>
              </a:xfrm>
              <a:custGeom>
                <a:avLst/>
                <a:gdLst>
                  <a:gd name="T0" fmla="*/ 10 w 21"/>
                  <a:gd name="T1" fmla="*/ 2 h 14"/>
                  <a:gd name="T2" fmla="*/ 12 w 21"/>
                  <a:gd name="T3" fmla="*/ 2 h 14"/>
                  <a:gd name="T4" fmla="*/ 14 w 21"/>
                  <a:gd name="T5" fmla="*/ 0 h 14"/>
                  <a:gd name="T6" fmla="*/ 14 w 21"/>
                  <a:gd name="T7" fmla="*/ 2 h 14"/>
                  <a:gd name="T8" fmla="*/ 16 w 21"/>
                  <a:gd name="T9" fmla="*/ 4 h 14"/>
                  <a:gd name="T10" fmla="*/ 18 w 21"/>
                  <a:gd name="T11" fmla="*/ 4 h 14"/>
                  <a:gd name="T12" fmla="*/ 19 w 21"/>
                  <a:gd name="T13" fmla="*/ 4 h 14"/>
                  <a:gd name="T14" fmla="*/ 21 w 21"/>
                  <a:gd name="T15" fmla="*/ 11 h 14"/>
                  <a:gd name="T16" fmla="*/ 21 w 21"/>
                  <a:gd name="T17" fmla="*/ 13 h 14"/>
                  <a:gd name="T18" fmla="*/ 16 w 21"/>
                  <a:gd name="T19" fmla="*/ 13 h 14"/>
                  <a:gd name="T20" fmla="*/ 14 w 21"/>
                  <a:gd name="T21" fmla="*/ 14 h 14"/>
                  <a:gd name="T22" fmla="*/ 7 w 21"/>
                  <a:gd name="T23" fmla="*/ 14 h 14"/>
                  <a:gd name="T24" fmla="*/ 7 w 21"/>
                  <a:gd name="T25" fmla="*/ 13 h 14"/>
                  <a:gd name="T26" fmla="*/ 1 w 21"/>
                  <a:gd name="T27" fmla="*/ 13 h 14"/>
                  <a:gd name="T28" fmla="*/ 0 w 21"/>
                  <a:gd name="T29" fmla="*/ 11 h 14"/>
                  <a:gd name="T30" fmla="*/ 0 w 21"/>
                  <a:gd name="T31" fmla="*/ 9 h 14"/>
                  <a:gd name="T32" fmla="*/ 1 w 21"/>
                  <a:gd name="T33" fmla="*/ 6 h 14"/>
                  <a:gd name="T34" fmla="*/ 5 w 21"/>
                  <a:gd name="T35" fmla="*/ 2 h 14"/>
                  <a:gd name="T36" fmla="*/ 7 w 21"/>
                  <a:gd name="T37" fmla="*/ 2 h 14"/>
                  <a:gd name="T38" fmla="*/ 9 w 21"/>
                  <a:gd name="T39" fmla="*/ 2 h 14"/>
                  <a:gd name="T40" fmla="*/ 10 w 21"/>
                  <a:gd name="T41"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4">
                    <a:moveTo>
                      <a:pt x="10" y="2"/>
                    </a:moveTo>
                    <a:lnTo>
                      <a:pt x="12" y="2"/>
                    </a:lnTo>
                    <a:lnTo>
                      <a:pt x="14" y="0"/>
                    </a:lnTo>
                    <a:lnTo>
                      <a:pt x="14" y="2"/>
                    </a:lnTo>
                    <a:lnTo>
                      <a:pt x="16" y="4"/>
                    </a:lnTo>
                    <a:lnTo>
                      <a:pt x="18" y="4"/>
                    </a:lnTo>
                    <a:lnTo>
                      <a:pt x="19" y="4"/>
                    </a:lnTo>
                    <a:lnTo>
                      <a:pt x="21" y="11"/>
                    </a:lnTo>
                    <a:lnTo>
                      <a:pt x="21" y="13"/>
                    </a:lnTo>
                    <a:lnTo>
                      <a:pt x="16" y="13"/>
                    </a:lnTo>
                    <a:lnTo>
                      <a:pt x="14" y="14"/>
                    </a:lnTo>
                    <a:lnTo>
                      <a:pt x="7" y="14"/>
                    </a:lnTo>
                    <a:lnTo>
                      <a:pt x="7" y="13"/>
                    </a:lnTo>
                    <a:lnTo>
                      <a:pt x="1" y="13"/>
                    </a:lnTo>
                    <a:lnTo>
                      <a:pt x="0" y="11"/>
                    </a:lnTo>
                    <a:lnTo>
                      <a:pt x="0" y="9"/>
                    </a:lnTo>
                    <a:lnTo>
                      <a:pt x="1" y="6"/>
                    </a:lnTo>
                    <a:lnTo>
                      <a:pt x="5" y="2"/>
                    </a:lnTo>
                    <a:lnTo>
                      <a:pt x="7" y="2"/>
                    </a:lnTo>
                    <a:lnTo>
                      <a:pt x="9" y="2"/>
                    </a:lnTo>
                    <a:lnTo>
                      <a:pt x="1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93" name="Freeform 2747"/>
              <p:cNvSpPr>
                <a:spLocks/>
              </p:cNvSpPr>
              <p:nvPr/>
            </p:nvSpPr>
            <p:spPr bwMode="auto">
              <a:xfrm>
                <a:off x="5530" y="2993"/>
                <a:ext cx="21" cy="14"/>
              </a:xfrm>
              <a:custGeom>
                <a:avLst/>
                <a:gdLst>
                  <a:gd name="T0" fmla="*/ 10 w 21"/>
                  <a:gd name="T1" fmla="*/ 2 h 14"/>
                  <a:gd name="T2" fmla="*/ 12 w 21"/>
                  <a:gd name="T3" fmla="*/ 2 h 14"/>
                  <a:gd name="T4" fmla="*/ 14 w 21"/>
                  <a:gd name="T5" fmla="*/ 0 h 14"/>
                  <a:gd name="T6" fmla="*/ 14 w 21"/>
                  <a:gd name="T7" fmla="*/ 2 h 14"/>
                  <a:gd name="T8" fmla="*/ 16 w 21"/>
                  <a:gd name="T9" fmla="*/ 4 h 14"/>
                  <a:gd name="T10" fmla="*/ 18 w 21"/>
                  <a:gd name="T11" fmla="*/ 4 h 14"/>
                  <a:gd name="T12" fmla="*/ 19 w 21"/>
                  <a:gd name="T13" fmla="*/ 4 h 14"/>
                  <a:gd name="T14" fmla="*/ 21 w 21"/>
                  <a:gd name="T15" fmla="*/ 11 h 14"/>
                  <a:gd name="T16" fmla="*/ 21 w 21"/>
                  <a:gd name="T17" fmla="*/ 13 h 14"/>
                  <a:gd name="T18" fmla="*/ 16 w 21"/>
                  <a:gd name="T19" fmla="*/ 13 h 14"/>
                  <a:gd name="T20" fmla="*/ 14 w 21"/>
                  <a:gd name="T21" fmla="*/ 14 h 14"/>
                  <a:gd name="T22" fmla="*/ 7 w 21"/>
                  <a:gd name="T23" fmla="*/ 14 h 14"/>
                  <a:gd name="T24" fmla="*/ 7 w 21"/>
                  <a:gd name="T25" fmla="*/ 13 h 14"/>
                  <a:gd name="T26" fmla="*/ 1 w 21"/>
                  <a:gd name="T27" fmla="*/ 13 h 14"/>
                  <a:gd name="T28" fmla="*/ 0 w 21"/>
                  <a:gd name="T29" fmla="*/ 11 h 14"/>
                  <a:gd name="T30" fmla="*/ 0 w 21"/>
                  <a:gd name="T31" fmla="*/ 9 h 14"/>
                  <a:gd name="T32" fmla="*/ 1 w 21"/>
                  <a:gd name="T33" fmla="*/ 6 h 14"/>
                  <a:gd name="T34" fmla="*/ 5 w 21"/>
                  <a:gd name="T35" fmla="*/ 2 h 14"/>
                  <a:gd name="T36" fmla="*/ 7 w 21"/>
                  <a:gd name="T37" fmla="*/ 2 h 14"/>
                  <a:gd name="T38" fmla="*/ 9 w 21"/>
                  <a:gd name="T39" fmla="*/ 2 h 14"/>
                  <a:gd name="T40" fmla="*/ 10 w 21"/>
                  <a:gd name="T41"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4">
                    <a:moveTo>
                      <a:pt x="10" y="2"/>
                    </a:moveTo>
                    <a:lnTo>
                      <a:pt x="12" y="2"/>
                    </a:lnTo>
                    <a:lnTo>
                      <a:pt x="14" y="0"/>
                    </a:lnTo>
                    <a:lnTo>
                      <a:pt x="14" y="2"/>
                    </a:lnTo>
                    <a:lnTo>
                      <a:pt x="16" y="4"/>
                    </a:lnTo>
                    <a:lnTo>
                      <a:pt x="18" y="4"/>
                    </a:lnTo>
                    <a:lnTo>
                      <a:pt x="19" y="4"/>
                    </a:lnTo>
                    <a:lnTo>
                      <a:pt x="21" y="11"/>
                    </a:lnTo>
                    <a:lnTo>
                      <a:pt x="21" y="13"/>
                    </a:lnTo>
                    <a:lnTo>
                      <a:pt x="16" y="13"/>
                    </a:lnTo>
                    <a:lnTo>
                      <a:pt x="14" y="14"/>
                    </a:lnTo>
                    <a:lnTo>
                      <a:pt x="7" y="14"/>
                    </a:lnTo>
                    <a:lnTo>
                      <a:pt x="7" y="13"/>
                    </a:lnTo>
                    <a:lnTo>
                      <a:pt x="1" y="13"/>
                    </a:lnTo>
                    <a:lnTo>
                      <a:pt x="0" y="11"/>
                    </a:lnTo>
                    <a:lnTo>
                      <a:pt x="0" y="9"/>
                    </a:lnTo>
                    <a:lnTo>
                      <a:pt x="1" y="6"/>
                    </a:lnTo>
                    <a:lnTo>
                      <a:pt x="5" y="2"/>
                    </a:lnTo>
                    <a:lnTo>
                      <a:pt x="7" y="2"/>
                    </a:lnTo>
                    <a:lnTo>
                      <a:pt x="9" y="2"/>
                    </a:lnTo>
                    <a:lnTo>
                      <a:pt x="1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94" name="Freeform 2748"/>
              <p:cNvSpPr>
                <a:spLocks/>
              </p:cNvSpPr>
              <p:nvPr/>
            </p:nvSpPr>
            <p:spPr bwMode="auto">
              <a:xfrm>
                <a:off x="5549" y="2974"/>
                <a:ext cx="24" cy="14"/>
              </a:xfrm>
              <a:custGeom>
                <a:avLst/>
                <a:gdLst>
                  <a:gd name="T0" fmla="*/ 7 w 24"/>
                  <a:gd name="T1" fmla="*/ 5 h 14"/>
                  <a:gd name="T2" fmla="*/ 7 w 24"/>
                  <a:gd name="T3" fmla="*/ 5 h 14"/>
                  <a:gd name="T4" fmla="*/ 7 w 24"/>
                  <a:gd name="T5" fmla="*/ 5 h 14"/>
                  <a:gd name="T6" fmla="*/ 24 w 24"/>
                  <a:gd name="T7" fmla="*/ 0 h 14"/>
                  <a:gd name="T8" fmla="*/ 24 w 24"/>
                  <a:gd name="T9" fmla="*/ 1 h 14"/>
                  <a:gd name="T10" fmla="*/ 18 w 24"/>
                  <a:gd name="T11" fmla="*/ 3 h 14"/>
                  <a:gd name="T12" fmla="*/ 16 w 24"/>
                  <a:gd name="T13" fmla="*/ 7 h 14"/>
                  <a:gd name="T14" fmla="*/ 22 w 24"/>
                  <a:gd name="T15" fmla="*/ 5 h 14"/>
                  <a:gd name="T16" fmla="*/ 22 w 24"/>
                  <a:gd name="T17" fmla="*/ 8 h 14"/>
                  <a:gd name="T18" fmla="*/ 13 w 24"/>
                  <a:gd name="T19" fmla="*/ 10 h 14"/>
                  <a:gd name="T20" fmla="*/ 13 w 24"/>
                  <a:gd name="T21" fmla="*/ 8 h 14"/>
                  <a:gd name="T22" fmla="*/ 13 w 24"/>
                  <a:gd name="T23" fmla="*/ 7 h 14"/>
                  <a:gd name="T24" fmla="*/ 11 w 24"/>
                  <a:gd name="T25" fmla="*/ 8 h 14"/>
                  <a:gd name="T26" fmla="*/ 9 w 24"/>
                  <a:gd name="T27" fmla="*/ 12 h 14"/>
                  <a:gd name="T28" fmla="*/ 7 w 24"/>
                  <a:gd name="T29" fmla="*/ 12 h 14"/>
                  <a:gd name="T30" fmla="*/ 6 w 24"/>
                  <a:gd name="T31" fmla="*/ 12 h 14"/>
                  <a:gd name="T32" fmla="*/ 6 w 24"/>
                  <a:gd name="T33" fmla="*/ 14 h 14"/>
                  <a:gd name="T34" fmla="*/ 2 w 24"/>
                  <a:gd name="T35" fmla="*/ 10 h 14"/>
                  <a:gd name="T36" fmla="*/ 0 w 24"/>
                  <a:gd name="T37" fmla="*/ 10 h 14"/>
                  <a:gd name="T38" fmla="*/ 0 w 24"/>
                  <a:gd name="T39" fmla="*/ 7 h 14"/>
                  <a:gd name="T40" fmla="*/ 4 w 24"/>
                  <a:gd name="T41" fmla="*/ 7 h 14"/>
                  <a:gd name="T42" fmla="*/ 7 w 24"/>
                  <a:gd name="T43"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4">
                    <a:moveTo>
                      <a:pt x="7" y="5"/>
                    </a:moveTo>
                    <a:lnTo>
                      <a:pt x="7" y="5"/>
                    </a:lnTo>
                    <a:lnTo>
                      <a:pt x="7" y="5"/>
                    </a:lnTo>
                    <a:lnTo>
                      <a:pt x="24" y="0"/>
                    </a:lnTo>
                    <a:lnTo>
                      <a:pt x="24" y="1"/>
                    </a:lnTo>
                    <a:lnTo>
                      <a:pt x="18" y="3"/>
                    </a:lnTo>
                    <a:lnTo>
                      <a:pt x="16" y="7"/>
                    </a:lnTo>
                    <a:lnTo>
                      <a:pt x="22" y="5"/>
                    </a:lnTo>
                    <a:lnTo>
                      <a:pt x="22" y="8"/>
                    </a:lnTo>
                    <a:lnTo>
                      <a:pt x="13" y="10"/>
                    </a:lnTo>
                    <a:lnTo>
                      <a:pt x="13" y="8"/>
                    </a:lnTo>
                    <a:lnTo>
                      <a:pt x="13" y="7"/>
                    </a:lnTo>
                    <a:lnTo>
                      <a:pt x="11" y="8"/>
                    </a:lnTo>
                    <a:lnTo>
                      <a:pt x="9" y="12"/>
                    </a:lnTo>
                    <a:lnTo>
                      <a:pt x="7" y="12"/>
                    </a:lnTo>
                    <a:lnTo>
                      <a:pt x="6" y="12"/>
                    </a:lnTo>
                    <a:lnTo>
                      <a:pt x="6" y="14"/>
                    </a:lnTo>
                    <a:lnTo>
                      <a:pt x="2" y="10"/>
                    </a:lnTo>
                    <a:lnTo>
                      <a:pt x="0" y="10"/>
                    </a:lnTo>
                    <a:lnTo>
                      <a:pt x="0" y="7"/>
                    </a:lnTo>
                    <a:lnTo>
                      <a:pt x="4" y="7"/>
                    </a:lnTo>
                    <a:lnTo>
                      <a:pt x="7"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95" name="Freeform 2749"/>
              <p:cNvSpPr>
                <a:spLocks/>
              </p:cNvSpPr>
              <p:nvPr/>
            </p:nvSpPr>
            <p:spPr bwMode="auto">
              <a:xfrm>
                <a:off x="5549" y="2974"/>
                <a:ext cx="24" cy="14"/>
              </a:xfrm>
              <a:custGeom>
                <a:avLst/>
                <a:gdLst>
                  <a:gd name="T0" fmla="*/ 7 w 24"/>
                  <a:gd name="T1" fmla="*/ 5 h 14"/>
                  <a:gd name="T2" fmla="*/ 7 w 24"/>
                  <a:gd name="T3" fmla="*/ 5 h 14"/>
                  <a:gd name="T4" fmla="*/ 7 w 24"/>
                  <a:gd name="T5" fmla="*/ 5 h 14"/>
                  <a:gd name="T6" fmla="*/ 24 w 24"/>
                  <a:gd name="T7" fmla="*/ 0 h 14"/>
                  <a:gd name="T8" fmla="*/ 24 w 24"/>
                  <a:gd name="T9" fmla="*/ 1 h 14"/>
                  <a:gd name="T10" fmla="*/ 18 w 24"/>
                  <a:gd name="T11" fmla="*/ 3 h 14"/>
                  <a:gd name="T12" fmla="*/ 16 w 24"/>
                  <a:gd name="T13" fmla="*/ 7 h 14"/>
                  <a:gd name="T14" fmla="*/ 22 w 24"/>
                  <a:gd name="T15" fmla="*/ 5 h 14"/>
                  <a:gd name="T16" fmla="*/ 22 w 24"/>
                  <a:gd name="T17" fmla="*/ 8 h 14"/>
                  <a:gd name="T18" fmla="*/ 13 w 24"/>
                  <a:gd name="T19" fmla="*/ 10 h 14"/>
                  <a:gd name="T20" fmla="*/ 13 w 24"/>
                  <a:gd name="T21" fmla="*/ 8 h 14"/>
                  <a:gd name="T22" fmla="*/ 13 w 24"/>
                  <a:gd name="T23" fmla="*/ 7 h 14"/>
                  <a:gd name="T24" fmla="*/ 11 w 24"/>
                  <a:gd name="T25" fmla="*/ 8 h 14"/>
                  <a:gd name="T26" fmla="*/ 9 w 24"/>
                  <a:gd name="T27" fmla="*/ 12 h 14"/>
                  <a:gd name="T28" fmla="*/ 7 w 24"/>
                  <a:gd name="T29" fmla="*/ 12 h 14"/>
                  <a:gd name="T30" fmla="*/ 6 w 24"/>
                  <a:gd name="T31" fmla="*/ 12 h 14"/>
                  <a:gd name="T32" fmla="*/ 6 w 24"/>
                  <a:gd name="T33" fmla="*/ 14 h 14"/>
                  <a:gd name="T34" fmla="*/ 2 w 24"/>
                  <a:gd name="T35" fmla="*/ 10 h 14"/>
                  <a:gd name="T36" fmla="*/ 0 w 24"/>
                  <a:gd name="T37" fmla="*/ 10 h 14"/>
                  <a:gd name="T38" fmla="*/ 0 w 24"/>
                  <a:gd name="T39" fmla="*/ 7 h 14"/>
                  <a:gd name="T40" fmla="*/ 4 w 24"/>
                  <a:gd name="T41" fmla="*/ 7 h 14"/>
                  <a:gd name="T42" fmla="*/ 7 w 24"/>
                  <a:gd name="T43"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14">
                    <a:moveTo>
                      <a:pt x="7" y="5"/>
                    </a:moveTo>
                    <a:lnTo>
                      <a:pt x="7" y="5"/>
                    </a:lnTo>
                    <a:lnTo>
                      <a:pt x="7" y="5"/>
                    </a:lnTo>
                    <a:lnTo>
                      <a:pt x="24" y="0"/>
                    </a:lnTo>
                    <a:lnTo>
                      <a:pt x="24" y="1"/>
                    </a:lnTo>
                    <a:lnTo>
                      <a:pt x="18" y="3"/>
                    </a:lnTo>
                    <a:lnTo>
                      <a:pt x="16" y="7"/>
                    </a:lnTo>
                    <a:lnTo>
                      <a:pt x="22" y="5"/>
                    </a:lnTo>
                    <a:lnTo>
                      <a:pt x="22" y="8"/>
                    </a:lnTo>
                    <a:lnTo>
                      <a:pt x="13" y="10"/>
                    </a:lnTo>
                    <a:lnTo>
                      <a:pt x="13" y="8"/>
                    </a:lnTo>
                    <a:lnTo>
                      <a:pt x="13" y="7"/>
                    </a:lnTo>
                    <a:lnTo>
                      <a:pt x="11" y="8"/>
                    </a:lnTo>
                    <a:lnTo>
                      <a:pt x="9" y="12"/>
                    </a:lnTo>
                    <a:lnTo>
                      <a:pt x="7" y="12"/>
                    </a:lnTo>
                    <a:lnTo>
                      <a:pt x="6" y="12"/>
                    </a:lnTo>
                    <a:lnTo>
                      <a:pt x="6" y="14"/>
                    </a:lnTo>
                    <a:lnTo>
                      <a:pt x="2" y="10"/>
                    </a:lnTo>
                    <a:lnTo>
                      <a:pt x="0" y="10"/>
                    </a:lnTo>
                    <a:lnTo>
                      <a:pt x="0" y="7"/>
                    </a:lnTo>
                    <a:lnTo>
                      <a:pt x="4" y="7"/>
                    </a:lnTo>
                    <a:lnTo>
                      <a:pt x="7"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96" name="Freeform 2750"/>
              <p:cNvSpPr>
                <a:spLocks/>
              </p:cNvSpPr>
              <p:nvPr/>
            </p:nvSpPr>
            <p:spPr bwMode="auto">
              <a:xfrm>
                <a:off x="5358" y="2949"/>
                <a:ext cx="11" cy="16"/>
              </a:xfrm>
              <a:custGeom>
                <a:avLst/>
                <a:gdLst>
                  <a:gd name="T0" fmla="*/ 0 w 11"/>
                  <a:gd name="T1" fmla="*/ 1 h 16"/>
                  <a:gd name="T2" fmla="*/ 2 w 11"/>
                  <a:gd name="T3" fmla="*/ 0 h 16"/>
                  <a:gd name="T4" fmla="*/ 2 w 11"/>
                  <a:gd name="T5" fmla="*/ 1 h 16"/>
                  <a:gd name="T6" fmla="*/ 2 w 11"/>
                  <a:gd name="T7" fmla="*/ 3 h 16"/>
                  <a:gd name="T8" fmla="*/ 4 w 11"/>
                  <a:gd name="T9" fmla="*/ 5 h 16"/>
                  <a:gd name="T10" fmla="*/ 4 w 11"/>
                  <a:gd name="T11" fmla="*/ 8 h 16"/>
                  <a:gd name="T12" fmla="*/ 6 w 11"/>
                  <a:gd name="T13" fmla="*/ 8 h 16"/>
                  <a:gd name="T14" fmla="*/ 6 w 11"/>
                  <a:gd name="T15" fmla="*/ 8 h 16"/>
                  <a:gd name="T16" fmla="*/ 7 w 11"/>
                  <a:gd name="T17" fmla="*/ 5 h 16"/>
                  <a:gd name="T18" fmla="*/ 7 w 11"/>
                  <a:gd name="T19" fmla="*/ 5 h 16"/>
                  <a:gd name="T20" fmla="*/ 9 w 11"/>
                  <a:gd name="T21" fmla="*/ 5 h 16"/>
                  <a:gd name="T22" fmla="*/ 9 w 11"/>
                  <a:gd name="T23" fmla="*/ 7 h 16"/>
                  <a:gd name="T24" fmla="*/ 9 w 11"/>
                  <a:gd name="T25" fmla="*/ 7 h 16"/>
                  <a:gd name="T26" fmla="*/ 11 w 11"/>
                  <a:gd name="T27" fmla="*/ 14 h 16"/>
                  <a:gd name="T28" fmla="*/ 11 w 11"/>
                  <a:gd name="T29" fmla="*/ 14 h 16"/>
                  <a:gd name="T30" fmla="*/ 7 w 11"/>
                  <a:gd name="T31" fmla="*/ 14 h 16"/>
                  <a:gd name="T32" fmla="*/ 6 w 11"/>
                  <a:gd name="T33" fmla="*/ 16 h 16"/>
                  <a:gd name="T34" fmla="*/ 4 w 11"/>
                  <a:gd name="T35" fmla="*/ 16 h 16"/>
                  <a:gd name="T36" fmla="*/ 0 w 11"/>
                  <a:gd name="T3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16">
                    <a:moveTo>
                      <a:pt x="0" y="1"/>
                    </a:moveTo>
                    <a:lnTo>
                      <a:pt x="2" y="0"/>
                    </a:lnTo>
                    <a:lnTo>
                      <a:pt x="2" y="1"/>
                    </a:lnTo>
                    <a:lnTo>
                      <a:pt x="2" y="3"/>
                    </a:lnTo>
                    <a:lnTo>
                      <a:pt x="4" y="5"/>
                    </a:lnTo>
                    <a:lnTo>
                      <a:pt x="4" y="8"/>
                    </a:lnTo>
                    <a:lnTo>
                      <a:pt x="6" y="8"/>
                    </a:lnTo>
                    <a:lnTo>
                      <a:pt x="6" y="8"/>
                    </a:lnTo>
                    <a:lnTo>
                      <a:pt x="7" y="5"/>
                    </a:lnTo>
                    <a:lnTo>
                      <a:pt x="7" y="5"/>
                    </a:lnTo>
                    <a:lnTo>
                      <a:pt x="9" y="5"/>
                    </a:lnTo>
                    <a:lnTo>
                      <a:pt x="9" y="7"/>
                    </a:lnTo>
                    <a:lnTo>
                      <a:pt x="9" y="7"/>
                    </a:lnTo>
                    <a:lnTo>
                      <a:pt x="11" y="14"/>
                    </a:lnTo>
                    <a:lnTo>
                      <a:pt x="11" y="14"/>
                    </a:lnTo>
                    <a:lnTo>
                      <a:pt x="7" y="14"/>
                    </a:lnTo>
                    <a:lnTo>
                      <a:pt x="6" y="16"/>
                    </a:lnTo>
                    <a:lnTo>
                      <a:pt x="4" y="16"/>
                    </a:lnTo>
                    <a:lnTo>
                      <a:pt x="0"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97" name="Freeform 2751"/>
              <p:cNvSpPr>
                <a:spLocks/>
              </p:cNvSpPr>
              <p:nvPr/>
            </p:nvSpPr>
            <p:spPr bwMode="auto">
              <a:xfrm>
                <a:off x="5358" y="2949"/>
                <a:ext cx="11" cy="16"/>
              </a:xfrm>
              <a:custGeom>
                <a:avLst/>
                <a:gdLst>
                  <a:gd name="T0" fmla="*/ 0 w 11"/>
                  <a:gd name="T1" fmla="*/ 1 h 16"/>
                  <a:gd name="T2" fmla="*/ 2 w 11"/>
                  <a:gd name="T3" fmla="*/ 0 h 16"/>
                  <a:gd name="T4" fmla="*/ 2 w 11"/>
                  <a:gd name="T5" fmla="*/ 1 h 16"/>
                  <a:gd name="T6" fmla="*/ 2 w 11"/>
                  <a:gd name="T7" fmla="*/ 3 h 16"/>
                  <a:gd name="T8" fmla="*/ 4 w 11"/>
                  <a:gd name="T9" fmla="*/ 5 h 16"/>
                  <a:gd name="T10" fmla="*/ 4 w 11"/>
                  <a:gd name="T11" fmla="*/ 8 h 16"/>
                  <a:gd name="T12" fmla="*/ 6 w 11"/>
                  <a:gd name="T13" fmla="*/ 8 h 16"/>
                  <a:gd name="T14" fmla="*/ 6 w 11"/>
                  <a:gd name="T15" fmla="*/ 8 h 16"/>
                  <a:gd name="T16" fmla="*/ 7 w 11"/>
                  <a:gd name="T17" fmla="*/ 5 h 16"/>
                  <a:gd name="T18" fmla="*/ 7 w 11"/>
                  <a:gd name="T19" fmla="*/ 5 h 16"/>
                  <a:gd name="T20" fmla="*/ 9 w 11"/>
                  <a:gd name="T21" fmla="*/ 5 h 16"/>
                  <a:gd name="T22" fmla="*/ 9 w 11"/>
                  <a:gd name="T23" fmla="*/ 7 h 16"/>
                  <a:gd name="T24" fmla="*/ 9 w 11"/>
                  <a:gd name="T25" fmla="*/ 7 h 16"/>
                  <a:gd name="T26" fmla="*/ 11 w 11"/>
                  <a:gd name="T27" fmla="*/ 14 h 16"/>
                  <a:gd name="T28" fmla="*/ 11 w 11"/>
                  <a:gd name="T29" fmla="*/ 14 h 16"/>
                  <a:gd name="T30" fmla="*/ 7 w 11"/>
                  <a:gd name="T31" fmla="*/ 14 h 16"/>
                  <a:gd name="T32" fmla="*/ 6 w 11"/>
                  <a:gd name="T33" fmla="*/ 16 h 16"/>
                  <a:gd name="T34" fmla="*/ 4 w 11"/>
                  <a:gd name="T35" fmla="*/ 16 h 16"/>
                  <a:gd name="T36" fmla="*/ 0 w 11"/>
                  <a:gd name="T3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16">
                    <a:moveTo>
                      <a:pt x="0" y="1"/>
                    </a:moveTo>
                    <a:lnTo>
                      <a:pt x="2" y="0"/>
                    </a:lnTo>
                    <a:lnTo>
                      <a:pt x="2" y="1"/>
                    </a:lnTo>
                    <a:lnTo>
                      <a:pt x="2" y="3"/>
                    </a:lnTo>
                    <a:lnTo>
                      <a:pt x="4" y="5"/>
                    </a:lnTo>
                    <a:lnTo>
                      <a:pt x="4" y="8"/>
                    </a:lnTo>
                    <a:lnTo>
                      <a:pt x="6" y="8"/>
                    </a:lnTo>
                    <a:lnTo>
                      <a:pt x="6" y="8"/>
                    </a:lnTo>
                    <a:lnTo>
                      <a:pt x="7" y="5"/>
                    </a:lnTo>
                    <a:lnTo>
                      <a:pt x="7" y="5"/>
                    </a:lnTo>
                    <a:lnTo>
                      <a:pt x="9" y="5"/>
                    </a:lnTo>
                    <a:lnTo>
                      <a:pt x="9" y="7"/>
                    </a:lnTo>
                    <a:lnTo>
                      <a:pt x="9" y="7"/>
                    </a:lnTo>
                    <a:lnTo>
                      <a:pt x="11" y="14"/>
                    </a:lnTo>
                    <a:lnTo>
                      <a:pt x="11" y="14"/>
                    </a:lnTo>
                    <a:lnTo>
                      <a:pt x="7" y="14"/>
                    </a:lnTo>
                    <a:lnTo>
                      <a:pt x="6" y="16"/>
                    </a:lnTo>
                    <a:lnTo>
                      <a:pt x="4" y="16"/>
                    </a:lnTo>
                    <a:lnTo>
                      <a:pt x="0"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98" name="Freeform 2752"/>
              <p:cNvSpPr>
                <a:spLocks/>
              </p:cNvSpPr>
              <p:nvPr/>
            </p:nvSpPr>
            <p:spPr bwMode="auto">
              <a:xfrm>
                <a:off x="5369" y="2968"/>
                <a:ext cx="9" cy="11"/>
              </a:xfrm>
              <a:custGeom>
                <a:avLst/>
                <a:gdLst>
                  <a:gd name="T0" fmla="*/ 0 w 9"/>
                  <a:gd name="T1" fmla="*/ 0 h 11"/>
                  <a:gd name="T2" fmla="*/ 2 w 9"/>
                  <a:gd name="T3" fmla="*/ 0 h 11"/>
                  <a:gd name="T4" fmla="*/ 2 w 9"/>
                  <a:gd name="T5" fmla="*/ 2 h 11"/>
                  <a:gd name="T6" fmla="*/ 4 w 9"/>
                  <a:gd name="T7" fmla="*/ 4 h 11"/>
                  <a:gd name="T8" fmla="*/ 4 w 9"/>
                  <a:gd name="T9" fmla="*/ 4 h 11"/>
                  <a:gd name="T10" fmla="*/ 5 w 9"/>
                  <a:gd name="T11" fmla="*/ 6 h 11"/>
                  <a:gd name="T12" fmla="*/ 7 w 9"/>
                  <a:gd name="T13" fmla="*/ 7 h 11"/>
                  <a:gd name="T14" fmla="*/ 9 w 9"/>
                  <a:gd name="T15" fmla="*/ 9 h 11"/>
                  <a:gd name="T16" fmla="*/ 9 w 9"/>
                  <a:gd name="T17" fmla="*/ 11 h 11"/>
                  <a:gd name="T18" fmla="*/ 4 w 9"/>
                  <a:gd name="T19" fmla="*/ 11 h 11"/>
                  <a:gd name="T20" fmla="*/ 2 w 9"/>
                  <a:gd name="T21" fmla="*/ 4 h 11"/>
                  <a:gd name="T22" fmla="*/ 2 w 9"/>
                  <a:gd name="T23" fmla="*/ 4 h 11"/>
                  <a:gd name="T24" fmla="*/ 0 w 9"/>
                  <a:gd name="T25" fmla="*/ 2 h 11"/>
                  <a:gd name="T26" fmla="*/ 0 w 9"/>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0" y="0"/>
                    </a:moveTo>
                    <a:lnTo>
                      <a:pt x="2" y="0"/>
                    </a:lnTo>
                    <a:lnTo>
                      <a:pt x="2" y="2"/>
                    </a:lnTo>
                    <a:lnTo>
                      <a:pt x="4" y="4"/>
                    </a:lnTo>
                    <a:lnTo>
                      <a:pt x="4" y="4"/>
                    </a:lnTo>
                    <a:lnTo>
                      <a:pt x="5" y="6"/>
                    </a:lnTo>
                    <a:lnTo>
                      <a:pt x="7" y="7"/>
                    </a:lnTo>
                    <a:lnTo>
                      <a:pt x="9" y="9"/>
                    </a:lnTo>
                    <a:lnTo>
                      <a:pt x="9" y="11"/>
                    </a:lnTo>
                    <a:lnTo>
                      <a:pt x="4" y="11"/>
                    </a:lnTo>
                    <a:lnTo>
                      <a:pt x="2" y="4"/>
                    </a:lnTo>
                    <a:lnTo>
                      <a:pt x="2" y="4"/>
                    </a:lnTo>
                    <a:lnTo>
                      <a:pt x="0"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99" name="Freeform 2753"/>
              <p:cNvSpPr>
                <a:spLocks/>
              </p:cNvSpPr>
              <p:nvPr/>
            </p:nvSpPr>
            <p:spPr bwMode="auto">
              <a:xfrm>
                <a:off x="5369" y="2968"/>
                <a:ext cx="9" cy="11"/>
              </a:xfrm>
              <a:custGeom>
                <a:avLst/>
                <a:gdLst>
                  <a:gd name="T0" fmla="*/ 0 w 9"/>
                  <a:gd name="T1" fmla="*/ 0 h 11"/>
                  <a:gd name="T2" fmla="*/ 2 w 9"/>
                  <a:gd name="T3" fmla="*/ 0 h 11"/>
                  <a:gd name="T4" fmla="*/ 2 w 9"/>
                  <a:gd name="T5" fmla="*/ 2 h 11"/>
                  <a:gd name="T6" fmla="*/ 4 w 9"/>
                  <a:gd name="T7" fmla="*/ 4 h 11"/>
                  <a:gd name="T8" fmla="*/ 4 w 9"/>
                  <a:gd name="T9" fmla="*/ 4 h 11"/>
                  <a:gd name="T10" fmla="*/ 5 w 9"/>
                  <a:gd name="T11" fmla="*/ 6 h 11"/>
                  <a:gd name="T12" fmla="*/ 7 w 9"/>
                  <a:gd name="T13" fmla="*/ 7 h 11"/>
                  <a:gd name="T14" fmla="*/ 9 w 9"/>
                  <a:gd name="T15" fmla="*/ 9 h 11"/>
                  <a:gd name="T16" fmla="*/ 9 w 9"/>
                  <a:gd name="T17" fmla="*/ 11 h 11"/>
                  <a:gd name="T18" fmla="*/ 4 w 9"/>
                  <a:gd name="T19" fmla="*/ 11 h 11"/>
                  <a:gd name="T20" fmla="*/ 2 w 9"/>
                  <a:gd name="T21" fmla="*/ 4 h 11"/>
                  <a:gd name="T22" fmla="*/ 2 w 9"/>
                  <a:gd name="T23" fmla="*/ 4 h 11"/>
                  <a:gd name="T24" fmla="*/ 0 w 9"/>
                  <a:gd name="T25" fmla="*/ 2 h 11"/>
                  <a:gd name="T26" fmla="*/ 0 w 9"/>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11">
                    <a:moveTo>
                      <a:pt x="0" y="0"/>
                    </a:moveTo>
                    <a:lnTo>
                      <a:pt x="2" y="0"/>
                    </a:lnTo>
                    <a:lnTo>
                      <a:pt x="2" y="2"/>
                    </a:lnTo>
                    <a:lnTo>
                      <a:pt x="4" y="4"/>
                    </a:lnTo>
                    <a:lnTo>
                      <a:pt x="4" y="4"/>
                    </a:lnTo>
                    <a:lnTo>
                      <a:pt x="5" y="6"/>
                    </a:lnTo>
                    <a:lnTo>
                      <a:pt x="7" y="7"/>
                    </a:lnTo>
                    <a:lnTo>
                      <a:pt x="9" y="9"/>
                    </a:lnTo>
                    <a:lnTo>
                      <a:pt x="9" y="11"/>
                    </a:lnTo>
                    <a:lnTo>
                      <a:pt x="4" y="11"/>
                    </a:lnTo>
                    <a:lnTo>
                      <a:pt x="2" y="4"/>
                    </a:lnTo>
                    <a:lnTo>
                      <a:pt x="2" y="4"/>
                    </a:lnTo>
                    <a:lnTo>
                      <a:pt x="0"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00" name="Freeform 2754"/>
              <p:cNvSpPr>
                <a:spLocks/>
              </p:cNvSpPr>
              <p:nvPr/>
            </p:nvSpPr>
            <p:spPr bwMode="auto">
              <a:xfrm>
                <a:off x="5385" y="2961"/>
                <a:ext cx="0" cy="9"/>
              </a:xfrm>
              <a:custGeom>
                <a:avLst/>
                <a:gdLst>
                  <a:gd name="T0" fmla="*/ 2 h 9"/>
                  <a:gd name="T1" fmla="*/ 0 h 9"/>
                  <a:gd name="T2" fmla="*/ 5 h 9"/>
                  <a:gd name="T3" fmla="*/ 5 h 9"/>
                  <a:gd name="T4" fmla="*/ 7 h 9"/>
                  <a:gd name="T5" fmla="*/ 9 h 9"/>
                  <a:gd name="T6" fmla="*/ 4 h 9"/>
                  <a:gd name="T7" fmla="*/ 2 h 9"/>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9">
                    <a:moveTo>
                      <a:pt x="0" y="2"/>
                    </a:moveTo>
                    <a:lnTo>
                      <a:pt x="0" y="0"/>
                    </a:lnTo>
                    <a:lnTo>
                      <a:pt x="0" y="5"/>
                    </a:lnTo>
                    <a:lnTo>
                      <a:pt x="0" y="5"/>
                    </a:lnTo>
                    <a:lnTo>
                      <a:pt x="0" y="7"/>
                    </a:lnTo>
                    <a:lnTo>
                      <a:pt x="0" y="9"/>
                    </a:lnTo>
                    <a:lnTo>
                      <a:pt x="0" y="4"/>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01" name="Freeform 2755"/>
              <p:cNvSpPr>
                <a:spLocks/>
              </p:cNvSpPr>
              <p:nvPr/>
            </p:nvSpPr>
            <p:spPr bwMode="auto">
              <a:xfrm>
                <a:off x="5385" y="2961"/>
                <a:ext cx="0" cy="9"/>
              </a:xfrm>
              <a:custGeom>
                <a:avLst/>
                <a:gdLst>
                  <a:gd name="T0" fmla="*/ 2 h 9"/>
                  <a:gd name="T1" fmla="*/ 0 h 9"/>
                  <a:gd name="T2" fmla="*/ 5 h 9"/>
                  <a:gd name="T3" fmla="*/ 5 h 9"/>
                  <a:gd name="T4" fmla="*/ 7 h 9"/>
                  <a:gd name="T5" fmla="*/ 9 h 9"/>
                  <a:gd name="T6" fmla="*/ 4 h 9"/>
                  <a:gd name="T7" fmla="*/ 2 h 9"/>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9">
                    <a:moveTo>
                      <a:pt x="0" y="2"/>
                    </a:moveTo>
                    <a:lnTo>
                      <a:pt x="0" y="0"/>
                    </a:lnTo>
                    <a:lnTo>
                      <a:pt x="0" y="5"/>
                    </a:lnTo>
                    <a:lnTo>
                      <a:pt x="0" y="5"/>
                    </a:lnTo>
                    <a:lnTo>
                      <a:pt x="0" y="7"/>
                    </a:lnTo>
                    <a:lnTo>
                      <a:pt x="0" y="9"/>
                    </a:lnTo>
                    <a:lnTo>
                      <a:pt x="0" y="4"/>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02" name="Freeform 2756"/>
              <p:cNvSpPr>
                <a:spLocks/>
              </p:cNvSpPr>
              <p:nvPr/>
            </p:nvSpPr>
            <p:spPr bwMode="auto">
              <a:xfrm>
                <a:off x="5381" y="2972"/>
                <a:ext cx="6" cy="5"/>
              </a:xfrm>
              <a:custGeom>
                <a:avLst/>
                <a:gdLst>
                  <a:gd name="T0" fmla="*/ 4 w 6"/>
                  <a:gd name="T1" fmla="*/ 0 h 5"/>
                  <a:gd name="T2" fmla="*/ 4 w 6"/>
                  <a:gd name="T3" fmla="*/ 0 h 5"/>
                  <a:gd name="T4" fmla="*/ 4 w 6"/>
                  <a:gd name="T5" fmla="*/ 2 h 5"/>
                  <a:gd name="T6" fmla="*/ 6 w 6"/>
                  <a:gd name="T7" fmla="*/ 3 h 5"/>
                  <a:gd name="T8" fmla="*/ 2 w 6"/>
                  <a:gd name="T9" fmla="*/ 5 h 5"/>
                  <a:gd name="T10" fmla="*/ 0 w 6"/>
                  <a:gd name="T11" fmla="*/ 3 h 5"/>
                  <a:gd name="T12" fmla="*/ 0 w 6"/>
                  <a:gd name="T13" fmla="*/ 2 h 5"/>
                  <a:gd name="T14" fmla="*/ 0 w 6"/>
                  <a:gd name="T15" fmla="*/ 2 h 5"/>
                  <a:gd name="T16" fmla="*/ 2 w 6"/>
                  <a:gd name="T17" fmla="*/ 2 h 5"/>
                  <a:gd name="T18" fmla="*/ 2 w 6"/>
                  <a:gd name="T19" fmla="*/ 0 h 5"/>
                  <a:gd name="T20" fmla="*/ 4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4" y="0"/>
                    </a:moveTo>
                    <a:lnTo>
                      <a:pt x="4" y="0"/>
                    </a:lnTo>
                    <a:lnTo>
                      <a:pt x="4" y="2"/>
                    </a:lnTo>
                    <a:lnTo>
                      <a:pt x="6" y="3"/>
                    </a:lnTo>
                    <a:lnTo>
                      <a:pt x="2" y="5"/>
                    </a:lnTo>
                    <a:lnTo>
                      <a:pt x="0" y="3"/>
                    </a:lnTo>
                    <a:lnTo>
                      <a:pt x="0" y="2"/>
                    </a:lnTo>
                    <a:lnTo>
                      <a:pt x="0" y="2"/>
                    </a:lnTo>
                    <a:lnTo>
                      <a:pt x="2" y="2"/>
                    </a:lnTo>
                    <a:lnTo>
                      <a:pt x="2" y="0"/>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03" name="Freeform 2757"/>
              <p:cNvSpPr>
                <a:spLocks/>
              </p:cNvSpPr>
              <p:nvPr/>
            </p:nvSpPr>
            <p:spPr bwMode="auto">
              <a:xfrm>
                <a:off x="5381" y="2972"/>
                <a:ext cx="6" cy="5"/>
              </a:xfrm>
              <a:custGeom>
                <a:avLst/>
                <a:gdLst>
                  <a:gd name="T0" fmla="*/ 4 w 6"/>
                  <a:gd name="T1" fmla="*/ 0 h 5"/>
                  <a:gd name="T2" fmla="*/ 4 w 6"/>
                  <a:gd name="T3" fmla="*/ 0 h 5"/>
                  <a:gd name="T4" fmla="*/ 4 w 6"/>
                  <a:gd name="T5" fmla="*/ 2 h 5"/>
                  <a:gd name="T6" fmla="*/ 6 w 6"/>
                  <a:gd name="T7" fmla="*/ 3 h 5"/>
                  <a:gd name="T8" fmla="*/ 2 w 6"/>
                  <a:gd name="T9" fmla="*/ 5 h 5"/>
                  <a:gd name="T10" fmla="*/ 0 w 6"/>
                  <a:gd name="T11" fmla="*/ 3 h 5"/>
                  <a:gd name="T12" fmla="*/ 0 w 6"/>
                  <a:gd name="T13" fmla="*/ 2 h 5"/>
                  <a:gd name="T14" fmla="*/ 0 w 6"/>
                  <a:gd name="T15" fmla="*/ 2 h 5"/>
                  <a:gd name="T16" fmla="*/ 2 w 6"/>
                  <a:gd name="T17" fmla="*/ 2 h 5"/>
                  <a:gd name="T18" fmla="*/ 2 w 6"/>
                  <a:gd name="T19" fmla="*/ 0 h 5"/>
                  <a:gd name="T20" fmla="*/ 4 w 6"/>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5">
                    <a:moveTo>
                      <a:pt x="4" y="0"/>
                    </a:moveTo>
                    <a:lnTo>
                      <a:pt x="4" y="0"/>
                    </a:lnTo>
                    <a:lnTo>
                      <a:pt x="4" y="2"/>
                    </a:lnTo>
                    <a:lnTo>
                      <a:pt x="6" y="3"/>
                    </a:lnTo>
                    <a:lnTo>
                      <a:pt x="2" y="5"/>
                    </a:lnTo>
                    <a:lnTo>
                      <a:pt x="0" y="3"/>
                    </a:lnTo>
                    <a:lnTo>
                      <a:pt x="0" y="2"/>
                    </a:lnTo>
                    <a:lnTo>
                      <a:pt x="0" y="2"/>
                    </a:lnTo>
                    <a:lnTo>
                      <a:pt x="2" y="2"/>
                    </a:lnTo>
                    <a:lnTo>
                      <a:pt x="2" y="0"/>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04" name="Freeform 2758"/>
              <p:cNvSpPr>
                <a:spLocks/>
              </p:cNvSpPr>
              <p:nvPr/>
            </p:nvSpPr>
            <p:spPr bwMode="auto">
              <a:xfrm>
                <a:off x="5385" y="2997"/>
                <a:ext cx="5" cy="3"/>
              </a:xfrm>
              <a:custGeom>
                <a:avLst/>
                <a:gdLst>
                  <a:gd name="T0" fmla="*/ 4 w 5"/>
                  <a:gd name="T1" fmla="*/ 0 h 3"/>
                  <a:gd name="T2" fmla="*/ 5 w 5"/>
                  <a:gd name="T3" fmla="*/ 0 h 3"/>
                  <a:gd name="T4" fmla="*/ 5 w 5"/>
                  <a:gd name="T5" fmla="*/ 3 h 3"/>
                  <a:gd name="T6" fmla="*/ 4 w 5"/>
                  <a:gd name="T7" fmla="*/ 3 h 3"/>
                  <a:gd name="T8" fmla="*/ 2 w 5"/>
                  <a:gd name="T9" fmla="*/ 3 h 3"/>
                  <a:gd name="T10" fmla="*/ 0 w 5"/>
                  <a:gd name="T11" fmla="*/ 2 h 3"/>
                  <a:gd name="T12" fmla="*/ 0 w 5"/>
                  <a:gd name="T13" fmla="*/ 2 h 3"/>
                  <a:gd name="T14" fmla="*/ 2 w 5"/>
                  <a:gd name="T15" fmla="*/ 0 h 3"/>
                  <a:gd name="T16" fmla="*/ 4 w 5"/>
                  <a:gd name="T17" fmla="*/ 0 h 3"/>
                  <a:gd name="T18" fmla="*/ 4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4" y="0"/>
                    </a:moveTo>
                    <a:lnTo>
                      <a:pt x="5" y="0"/>
                    </a:lnTo>
                    <a:lnTo>
                      <a:pt x="5" y="3"/>
                    </a:lnTo>
                    <a:lnTo>
                      <a:pt x="4" y="3"/>
                    </a:lnTo>
                    <a:lnTo>
                      <a:pt x="2" y="3"/>
                    </a:lnTo>
                    <a:lnTo>
                      <a:pt x="0" y="2"/>
                    </a:lnTo>
                    <a:lnTo>
                      <a:pt x="0" y="2"/>
                    </a:lnTo>
                    <a:lnTo>
                      <a:pt x="2" y="0"/>
                    </a:lnTo>
                    <a:lnTo>
                      <a:pt x="4" y="0"/>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05" name="Freeform 2759"/>
              <p:cNvSpPr>
                <a:spLocks/>
              </p:cNvSpPr>
              <p:nvPr/>
            </p:nvSpPr>
            <p:spPr bwMode="auto">
              <a:xfrm>
                <a:off x="5385" y="2997"/>
                <a:ext cx="5" cy="3"/>
              </a:xfrm>
              <a:custGeom>
                <a:avLst/>
                <a:gdLst>
                  <a:gd name="T0" fmla="*/ 4 w 5"/>
                  <a:gd name="T1" fmla="*/ 0 h 3"/>
                  <a:gd name="T2" fmla="*/ 5 w 5"/>
                  <a:gd name="T3" fmla="*/ 0 h 3"/>
                  <a:gd name="T4" fmla="*/ 5 w 5"/>
                  <a:gd name="T5" fmla="*/ 3 h 3"/>
                  <a:gd name="T6" fmla="*/ 4 w 5"/>
                  <a:gd name="T7" fmla="*/ 3 h 3"/>
                  <a:gd name="T8" fmla="*/ 2 w 5"/>
                  <a:gd name="T9" fmla="*/ 3 h 3"/>
                  <a:gd name="T10" fmla="*/ 0 w 5"/>
                  <a:gd name="T11" fmla="*/ 2 h 3"/>
                  <a:gd name="T12" fmla="*/ 0 w 5"/>
                  <a:gd name="T13" fmla="*/ 2 h 3"/>
                  <a:gd name="T14" fmla="*/ 2 w 5"/>
                  <a:gd name="T15" fmla="*/ 0 h 3"/>
                  <a:gd name="T16" fmla="*/ 4 w 5"/>
                  <a:gd name="T17" fmla="*/ 0 h 3"/>
                  <a:gd name="T18" fmla="*/ 4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4" y="0"/>
                    </a:moveTo>
                    <a:lnTo>
                      <a:pt x="5" y="0"/>
                    </a:lnTo>
                    <a:lnTo>
                      <a:pt x="5" y="3"/>
                    </a:lnTo>
                    <a:lnTo>
                      <a:pt x="4" y="3"/>
                    </a:lnTo>
                    <a:lnTo>
                      <a:pt x="2" y="3"/>
                    </a:lnTo>
                    <a:lnTo>
                      <a:pt x="0" y="2"/>
                    </a:lnTo>
                    <a:lnTo>
                      <a:pt x="0" y="2"/>
                    </a:lnTo>
                    <a:lnTo>
                      <a:pt x="2" y="0"/>
                    </a:lnTo>
                    <a:lnTo>
                      <a:pt x="4" y="0"/>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06" name="Freeform 2760"/>
              <p:cNvSpPr>
                <a:spLocks/>
              </p:cNvSpPr>
              <p:nvPr/>
            </p:nvSpPr>
            <p:spPr bwMode="auto">
              <a:xfrm>
                <a:off x="5398" y="3015"/>
                <a:ext cx="1" cy="5"/>
              </a:xfrm>
              <a:custGeom>
                <a:avLst/>
                <a:gdLst>
                  <a:gd name="T0" fmla="*/ 0 w 1"/>
                  <a:gd name="T1" fmla="*/ 0 h 5"/>
                  <a:gd name="T2" fmla="*/ 0 w 1"/>
                  <a:gd name="T3" fmla="*/ 0 h 5"/>
                  <a:gd name="T4" fmla="*/ 0 w 1"/>
                  <a:gd name="T5" fmla="*/ 0 h 5"/>
                  <a:gd name="T6" fmla="*/ 1 w 1"/>
                  <a:gd name="T7" fmla="*/ 0 h 5"/>
                  <a:gd name="T8" fmla="*/ 1 w 1"/>
                  <a:gd name="T9" fmla="*/ 1 h 5"/>
                  <a:gd name="T10" fmla="*/ 1 w 1"/>
                  <a:gd name="T11" fmla="*/ 1 h 5"/>
                  <a:gd name="T12" fmla="*/ 1 w 1"/>
                  <a:gd name="T13" fmla="*/ 5 h 5"/>
                  <a:gd name="T14" fmla="*/ 1 w 1"/>
                  <a:gd name="T15" fmla="*/ 5 h 5"/>
                  <a:gd name="T16" fmla="*/ 0 w 1"/>
                  <a:gd name="T17" fmla="*/ 3 h 5"/>
                  <a:gd name="T18" fmla="*/ 0 w 1"/>
                  <a:gd name="T19" fmla="*/ 1 h 5"/>
                  <a:gd name="T20" fmla="*/ 0 w 1"/>
                  <a:gd name="T21" fmla="*/ 0 h 5"/>
                  <a:gd name="T22" fmla="*/ 0 w 1"/>
                  <a:gd name="T23" fmla="*/ 3 h 5"/>
                  <a:gd name="T24" fmla="*/ 0 w 1"/>
                  <a:gd name="T25" fmla="*/ 1 h 5"/>
                  <a:gd name="T26" fmla="*/ 0 w 1"/>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5">
                    <a:moveTo>
                      <a:pt x="0" y="0"/>
                    </a:moveTo>
                    <a:lnTo>
                      <a:pt x="0" y="0"/>
                    </a:lnTo>
                    <a:lnTo>
                      <a:pt x="0" y="0"/>
                    </a:lnTo>
                    <a:lnTo>
                      <a:pt x="1" y="0"/>
                    </a:lnTo>
                    <a:lnTo>
                      <a:pt x="1" y="1"/>
                    </a:lnTo>
                    <a:lnTo>
                      <a:pt x="1" y="1"/>
                    </a:lnTo>
                    <a:lnTo>
                      <a:pt x="1" y="5"/>
                    </a:lnTo>
                    <a:lnTo>
                      <a:pt x="1" y="5"/>
                    </a:lnTo>
                    <a:lnTo>
                      <a:pt x="0" y="3"/>
                    </a:lnTo>
                    <a:lnTo>
                      <a:pt x="0" y="1"/>
                    </a:lnTo>
                    <a:lnTo>
                      <a:pt x="0" y="0"/>
                    </a:lnTo>
                    <a:lnTo>
                      <a:pt x="0" y="3"/>
                    </a:lnTo>
                    <a:lnTo>
                      <a:pt x="0" y="1"/>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07" name="Freeform 2761"/>
              <p:cNvSpPr>
                <a:spLocks/>
              </p:cNvSpPr>
              <p:nvPr/>
            </p:nvSpPr>
            <p:spPr bwMode="auto">
              <a:xfrm>
                <a:off x="5398" y="3015"/>
                <a:ext cx="1" cy="5"/>
              </a:xfrm>
              <a:custGeom>
                <a:avLst/>
                <a:gdLst>
                  <a:gd name="T0" fmla="*/ 0 w 1"/>
                  <a:gd name="T1" fmla="*/ 0 h 5"/>
                  <a:gd name="T2" fmla="*/ 0 w 1"/>
                  <a:gd name="T3" fmla="*/ 0 h 5"/>
                  <a:gd name="T4" fmla="*/ 0 w 1"/>
                  <a:gd name="T5" fmla="*/ 0 h 5"/>
                  <a:gd name="T6" fmla="*/ 1 w 1"/>
                  <a:gd name="T7" fmla="*/ 0 h 5"/>
                  <a:gd name="T8" fmla="*/ 1 w 1"/>
                  <a:gd name="T9" fmla="*/ 1 h 5"/>
                  <a:gd name="T10" fmla="*/ 1 w 1"/>
                  <a:gd name="T11" fmla="*/ 1 h 5"/>
                  <a:gd name="T12" fmla="*/ 1 w 1"/>
                  <a:gd name="T13" fmla="*/ 5 h 5"/>
                  <a:gd name="T14" fmla="*/ 1 w 1"/>
                  <a:gd name="T15" fmla="*/ 5 h 5"/>
                  <a:gd name="T16" fmla="*/ 0 w 1"/>
                  <a:gd name="T17" fmla="*/ 3 h 5"/>
                  <a:gd name="T18" fmla="*/ 0 w 1"/>
                  <a:gd name="T19" fmla="*/ 1 h 5"/>
                  <a:gd name="T20" fmla="*/ 0 w 1"/>
                  <a:gd name="T21" fmla="*/ 0 h 5"/>
                  <a:gd name="T22" fmla="*/ 0 w 1"/>
                  <a:gd name="T23" fmla="*/ 3 h 5"/>
                  <a:gd name="T24" fmla="*/ 0 w 1"/>
                  <a:gd name="T25" fmla="*/ 1 h 5"/>
                  <a:gd name="T26" fmla="*/ 0 w 1"/>
                  <a:gd name="T2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5">
                    <a:moveTo>
                      <a:pt x="0" y="0"/>
                    </a:moveTo>
                    <a:lnTo>
                      <a:pt x="0" y="0"/>
                    </a:lnTo>
                    <a:lnTo>
                      <a:pt x="0" y="0"/>
                    </a:lnTo>
                    <a:lnTo>
                      <a:pt x="1" y="0"/>
                    </a:lnTo>
                    <a:lnTo>
                      <a:pt x="1" y="1"/>
                    </a:lnTo>
                    <a:lnTo>
                      <a:pt x="1" y="1"/>
                    </a:lnTo>
                    <a:lnTo>
                      <a:pt x="1" y="5"/>
                    </a:lnTo>
                    <a:lnTo>
                      <a:pt x="1" y="5"/>
                    </a:lnTo>
                    <a:lnTo>
                      <a:pt x="0" y="3"/>
                    </a:lnTo>
                    <a:lnTo>
                      <a:pt x="0" y="1"/>
                    </a:lnTo>
                    <a:lnTo>
                      <a:pt x="0" y="0"/>
                    </a:lnTo>
                    <a:lnTo>
                      <a:pt x="0" y="3"/>
                    </a:lnTo>
                    <a:lnTo>
                      <a:pt x="0" y="1"/>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08" name="Freeform 2762"/>
              <p:cNvSpPr>
                <a:spLocks/>
              </p:cNvSpPr>
              <p:nvPr/>
            </p:nvSpPr>
            <p:spPr bwMode="auto">
              <a:xfrm>
                <a:off x="5401" y="3027"/>
                <a:ext cx="4" cy="4"/>
              </a:xfrm>
              <a:custGeom>
                <a:avLst/>
                <a:gdLst>
                  <a:gd name="T0" fmla="*/ 0 w 4"/>
                  <a:gd name="T1" fmla="*/ 0 h 4"/>
                  <a:gd name="T2" fmla="*/ 2 w 4"/>
                  <a:gd name="T3" fmla="*/ 0 h 4"/>
                  <a:gd name="T4" fmla="*/ 4 w 4"/>
                  <a:gd name="T5" fmla="*/ 2 h 4"/>
                  <a:gd name="T6" fmla="*/ 2 w 4"/>
                  <a:gd name="T7" fmla="*/ 4 h 4"/>
                  <a:gd name="T8" fmla="*/ 0 w 4"/>
                  <a:gd name="T9" fmla="*/ 4 h 4"/>
                  <a:gd name="T10" fmla="*/ 0 w 4"/>
                  <a:gd name="T11" fmla="*/ 2 h 4"/>
                  <a:gd name="T12" fmla="*/ 0 w 4"/>
                  <a:gd name="T13" fmla="*/ 0 h 4"/>
                  <a:gd name="T14" fmla="*/ 0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0"/>
                    </a:moveTo>
                    <a:lnTo>
                      <a:pt x="2" y="0"/>
                    </a:lnTo>
                    <a:lnTo>
                      <a:pt x="4" y="2"/>
                    </a:lnTo>
                    <a:lnTo>
                      <a:pt x="2" y="4"/>
                    </a:lnTo>
                    <a:lnTo>
                      <a:pt x="0" y="4"/>
                    </a:lnTo>
                    <a:lnTo>
                      <a:pt x="0" y="2"/>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09" name="Freeform 2763"/>
              <p:cNvSpPr>
                <a:spLocks/>
              </p:cNvSpPr>
              <p:nvPr/>
            </p:nvSpPr>
            <p:spPr bwMode="auto">
              <a:xfrm>
                <a:off x="5401" y="3027"/>
                <a:ext cx="4" cy="4"/>
              </a:xfrm>
              <a:custGeom>
                <a:avLst/>
                <a:gdLst>
                  <a:gd name="T0" fmla="*/ 0 w 4"/>
                  <a:gd name="T1" fmla="*/ 0 h 4"/>
                  <a:gd name="T2" fmla="*/ 2 w 4"/>
                  <a:gd name="T3" fmla="*/ 0 h 4"/>
                  <a:gd name="T4" fmla="*/ 4 w 4"/>
                  <a:gd name="T5" fmla="*/ 2 h 4"/>
                  <a:gd name="T6" fmla="*/ 2 w 4"/>
                  <a:gd name="T7" fmla="*/ 4 h 4"/>
                  <a:gd name="T8" fmla="*/ 0 w 4"/>
                  <a:gd name="T9" fmla="*/ 4 h 4"/>
                  <a:gd name="T10" fmla="*/ 0 w 4"/>
                  <a:gd name="T11" fmla="*/ 2 h 4"/>
                  <a:gd name="T12" fmla="*/ 0 w 4"/>
                  <a:gd name="T13" fmla="*/ 0 h 4"/>
                  <a:gd name="T14" fmla="*/ 0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0"/>
                    </a:moveTo>
                    <a:lnTo>
                      <a:pt x="2" y="0"/>
                    </a:lnTo>
                    <a:lnTo>
                      <a:pt x="4" y="2"/>
                    </a:lnTo>
                    <a:lnTo>
                      <a:pt x="2" y="4"/>
                    </a:lnTo>
                    <a:lnTo>
                      <a:pt x="0" y="4"/>
                    </a:lnTo>
                    <a:lnTo>
                      <a:pt x="0" y="2"/>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10" name="Freeform 2764"/>
              <p:cNvSpPr>
                <a:spLocks/>
              </p:cNvSpPr>
              <p:nvPr/>
            </p:nvSpPr>
            <p:spPr bwMode="auto">
              <a:xfrm>
                <a:off x="5319" y="3041"/>
                <a:ext cx="46" cy="40"/>
              </a:xfrm>
              <a:custGeom>
                <a:avLst/>
                <a:gdLst>
                  <a:gd name="T0" fmla="*/ 18 w 46"/>
                  <a:gd name="T1" fmla="*/ 20 h 40"/>
                  <a:gd name="T2" fmla="*/ 11 w 46"/>
                  <a:gd name="T3" fmla="*/ 18 h 40"/>
                  <a:gd name="T4" fmla="*/ 7 w 46"/>
                  <a:gd name="T5" fmla="*/ 13 h 40"/>
                  <a:gd name="T6" fmla="*/ 5 w 46"/>
                  <a:gd name="T7" fmla="*/ 11 h 40"/>
                  <a:gd name="T8" fmla="*/ 4 w 46"/>
                  <a:gd name="T9" fmla="*/ 8 h 40"/>
                  <a:gd name="T10" fmla="*/ 2 w 46"/>
                  <a:gd name="T11" fmla="*/ 6 h 40"/>
                  <a:gd name="T12" fmla="*/ 2 w 46"/>
                  <a:gd name="T13" fmla="*/ 2 h 40"/>
                  <a:gd name="T14" fmla="*/ 0 w 46"/>
                  <a:gd name="T15" fmla="*/ 0 h 40"/>
                  <a:gd name="T16" fmla="*/ 2 w 46"/>
                  <a:gd name="T17" fmla="*/ 0 h 40"/>
                  <a:gd name="T18" fmla="*/ 4 w 46"/>
                  <a:gd name="T19" fmla="*/ 2 h 40"/>
                  <a:gd name="T20" fmla="*/ 5 w 46"/>
                  <a:gd name="T21" fmla="*/ 2 h 40"/>
                  <a:gd name="T22" fmla="*/ 9 w 46"/>
                  <a:gd name="T23" fmla="*/ 4 h 40"/>
                  <a:gd name="T24" fmla="*/ 11 w 46"/>
                  <a:gd name="T25" fmla="*/ 6 h 40"/>
                  <a:gd name="T26" fmla="*/ 12 w 46"/>
                  <a:gd name="T27" fmla="*/ 6 h 40"/>
                  <a:gd name="T28" fmla="*/ 12 w 46"/>
                  <a:gd name="T29" fmla="*/ 8 h 40"/>
                  <a:gd name="T30" fmla="*/ 16 w 46"/>
                  <a:gd name="T31" fmla="*/ 9 h 40"/>
                  <a:gd name="T32" fmla="*/ 20 w 46"/>
                  <a:gd name="T33" fmla="*/ 13 h 40"/>
                  <a:gd name="T34" fmla="*/ 21 w 46"/>
                  <a:gd name="T35" fmla="*/ 13 h 40"/>
                  <a:gd name="T36" fmla="*/ 21 w 46"/>
                  <a:gd name="T37" fmla="*/ 16 h 40"/>
                  <a:gd name="T38" fmla="*/ 23 w 46"/>
                  <a:gd name="T39" fmla="*/ 16 h 40"/>
                  <a:gd name="T40" fmla="*/ 23 w 46"/>
                  <a:gd name="T41" fmla="*/ 18 h 40"/>
                  <a:gd name="T42" fmla="*/ 25 w 46"/>
                  <a:gd name="T43" fmla="*/ 20 h 40"/>
                  <a:gd name="T44" fmla="*/ 27 w 46"/>
                  <a:gd name="T45" fmla="*/ 22 h 40"/>
                  <a:gd name="T46" fmla="*/ 29 w 46"/>
                  <a:gd name="T47" fmla="*/ 22 h 40"/>
                  <a:gd name="T48" fmla="*/ 29 w 46"/>
                  <a:gd name="T49" fmla="*/ 24 h 40"/>
                  <a:gd name="T50" fmla="*/ 32 w 46"/>
                  <a:gd name="T51" fmla="*/ 24 h 40"/>
                  <a:gd name="T52" fmla="*/ 36 w 46"/>
                  <a:gd name="T53" fmla="*/ 25 h 40"/>
                  <a:gd name="T54" fmla="*/ 41 w 46"/>
                  <a:gd name="T55" fmla="*/ 31 h 40"/>
                  <a:gd name="T56" fmla="*/ 41 w 46"/>
                  <a:gd name="T57" fmla="*/ 33 h 40"/>
                  <a:gd name="T58" fmla="*/ 43 w 46"/>
                  <a:gd name="T59" fmla="*/ 31 h 40"/>
                  <a:gd name="T60" fmla="*/ 46 w 46"/>
                  <a:gd name="T61" fmla="*/ 33 h 40"/>
                  <a:gd name="T62" fmla="*/ 46 w 46"/>
                  <a:gd name="T63" fmla="*/ 36 h 40"/>
                  <a:gd name="T64" fmla="*/ 46 w 46"/>
                  <a:gd name="T65" fmla="*/ 36 h 40"/>
                  <a:gd name="T66" fmla="*/ 45 w 46"/>
                  <a:gd name="T67" fmla="*/ 36 h 40"/>
                  <a:gd name="T68" fmla="*/ 45 w 46"/>
                  <a:gd name="T69" fmla="*/ 40 h 40"/>
                  <a:gd name="T70" fmla="*/ 43 w 46"/>
                  <a:gd name="T71" fmla="*/ 38 h 40"/>
                  <a:gd name="T72" fmla="*/ 43 w 46"/>
                  <a:gd name="T73" fmla="*/ 38 h 40"/>
                  <a:gd name="T74" fmla="*/ 41 w 46"/>
                  <a:gd name="T75" fmla="*/ 36 h 40"/>
                  <a:gd name="T76" fmla="*/ 39 w 46"/>
                  <a:gd name="T77" fmla="*/ 34 h 40"/>
                  <a:gd name="T78" fmla="*/ 37 w 46"/>
                  <a:gd name="T79" fmla="*/ 34 h 40"/>
                  <a:gd name="T80" fmla="*/ 36 w 46"/>
                  <a:gd name="T81" fmla="*/ 34 h 40"/>
                  <a:gd name="T82" fmla="*/ 34 w 46"/>
                  <a:gd name="T83" fmla="*/ 34 h 40"/>
                  <a:gd name="T84" fmla="*/ 32 w 46"/>
                  <a:gd name="T85" fmla="*/ 33 h 40"/>
                  <a:gd name="T86" fmla="*/ 32 w 46"/>
                  <a:gd name="T87" fmla="*/ 31 h 40"/>
                  <a:gd name="T88" fmla="*/ 30 w 46"/>
                  <a:gd name="T89" fmla="*/ 31 h 40"/>
                  <a:gd name="T90" fmla="*/ 30 w 46"/>
                  <a:gd name="T91" fmla="*/ 29 h 40"/>
                  <a:gd name="T92" fmla="*/ 29 w 46"/>
                  <a:gd name="T93" fmla="*/ 29 h 40"/>
                  <a:gd name="T94" fmla="*/ 29 w 46"/>
                  <a:gd name="T95" fmla="*/ 29 h 40"/>
                  <a:gd name="T96" fmla="*/ 27 w 46"/>
                  <a:gd name="T97" fmla="*/ 29 h 40"/>
                  <a:gd name="T98" fmla="*/ 27 w 46"/>
                  <a:gd name="T99" fmla="*/ 27 h 40"/>
                  <a:gd name="T100" fmla="*/ 25 w 46"/>
                  <a:gd name="T101" fmla="*/ 27 h 40"/>
                  <a:gd name="T102" fmla="*/ 21 w 46"/>
                  <a:gd name="T103" fmla="*/ 25 h 40"/>
                  <a:gd name="T104" fmla="*/ 20 w 46"/>
                  <a:gd name="T105" fmla="*/ 25 h 40"/>
                  <a:gd name="T106" fmla="*/ 20 w 46"/>
                  <a:gd name="T107" fmla="*/ 24 h 40"/>
                  <a:gd name="T108" fmla="*/ 18 w 46"/>
                  <a:gd name="T109" fmla="*/ 22 h 40"/>
                  <a:gd name="T110" fmla="*/ 18 w 46"/>
                  <a:gd name="T11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 h="40">
                    <a:moveTo>
                      <a:pt x="18" y="20"/>
                    </a:moveTo>
                    <a:lnTo>
                      <a:pt x="11" y="18"/>
                    </a:lnTo>
                    <a:lnTo>
                      <a:pt x="7" y="13"/>
                    </a:lnTo>
                    <a:lnTo>
                      <a:pt x="5" y="11"/>
                    </a:lnTo>
                    <a:lnTo>
                      <a:pt x="4" y="8"/>
                    </a:lnTo>
                    <a:lnTo>
                      <a:pt x="2" y="6"/>
                    </a:lnTo>
                    <a:lnTo>
                      <a:pt x="2" y="2"/>
                    </a:lnTo>
                    <a:lnTo>
                      <a:pt x="0" y="0"/>
                    </a:lnTo>
                    <a:lnTo>
                      <a:pt x="2" y="0"/>
                    </a:lnTo>
                    <a:lnTo>
                      <a:pt x="4" y="2"/>
                    </a:lnTo>
                    <a:lnTo>
                      <a:pt x="5" y="2"/>
                    </a:lnTo>
                    <a:lnTo>
                      <a:pt x="9" y="4"/>
                    </a:lnTo>
                    <a:lnTo>
                      <a:pt x="11" y="6"/>
                    </a:lnTo>
                    <a:lnTo>
                      <a:pt x="12" y="6"/>
                    </a:lnTo>
                    <a:lnTo>
                      <a:pt x="12" y="8"/>
                    </a:lnTo>
                    <a:lnTo>
                      <a:pt x="16" y="9"/>
                    </a:lnTo>
                    <a:lnTo>
                      <a:pt x="20" y="13"/>
                    </a:lnTo>
                    <a:lnTo>
                      <a:pt x="21" y="13"/>
                    </a:lnTo>
                    <a:lnTo>
                      <a:pt x="21" y="16"/>
                    </a:lnTo>
                    <a:lnTo>
                      <a:pt x="23" y="16"/>
                    </a:lnTo>
                    <a:lnTo>
                      <a:pt x="23" y="18"/>
                    </a:lnTo>
                    <a:lnTo>
                      <a:pt x="25" y="20"/>
                    </a:lnTo>
                    <a:lnTo>
                      <a:pt x="27" y="22"/>
                    </a:lnTo>
                    <a:lnTo>
                      <a:pt x="29" y="22"/>
                    </a:lnTo>
                    <a:lnTo>
                      <a:pt x="29" y="24"/>
                    </a:lnTo>
                    <a:lnTo>
                      <a:pt x="32" y="24"/>
                    </a:lnTo>
                    <a:lnTo>
                      <a:pt x="36" y="25"/>
                    </a:lnTo>
                    <a:lnTo>
                      <a:pt x="41" y="31"/>
                    </a:lnTo>
                    <a:lnTo>
                      <a:pt x="41" y="33"/>
                    </a:lnTo>
                    <a:lnTo>
                      <a:pt x="43" y="31"/>
                    </a:lnTo>
                    <a:lnTo>
                      <a:pt x="46" y="33"/>
                    </a:lnTo>
                    <a:lnTo>
                      <a:pt x="46" y="36"/>
                    </a:lnTo>
                    <a:lnTo>
                      <a:pt x="46" y="36"/>
                    </a:lnTo>
                    <a:lnTo>
                      <a:pt x="45" y="36"/>
                    </a:lnTo>
                    <a:lnTo>
                      <a:pt x="45" y="40"/>
                    </a:lnTo>
                    <a:lnTo>
                      <a:pt x="43" y="38"/>
                    </a:lnTo>
                    <a:lnTo>
                      <a:pt x="43" y="38"/>
                    </a:lnTo>
                    <a:lnTo>
                      <a:pt x="41" y="36"/>
                    </a:lnTo>
                    <a:lnTo>
                      <a:pt x="39" y="34"/>
                    </a:lnTo>
                    <a:lnTo>
                      <a:pt x="37" y="34"/>
                    </a:lnTo>
                    <a:lnTo>
                      <a:pt x="36" y="34"/>
                    </a:lnTo>
                    <a:lnTo>
                      <a:pt x="34" y="34"/>
                    </a:lnTo>
                    <a:lnTo>
                      <a:pt x="32" y="33"/>
                    </a:lnTo>
                    <a:lnTo>
                      <a:pt x="32" y="31"/>
                    </a:lnTo>
                    <a:lnTo>
                      <a:pt x="30" y="31"/>
                    </a:lnTo>
                    <a:lnTo>
                      <a:pt x="30" y="29"/>
                    </a:lnTo>
                    <a:lnTo>
                      <a:pt x="29" y="29"/>
                    </a:lnTo>
                    <a:lnTo>
                      <a:pt x="29" y="29"/>
                    </a:lnTo>
                    <a:lnTo>
                      <a:pt x="27" y="29"/>
                    </a:lnTo>
                    <a:lnTo>
                      <a:pt x="27" y="27"/>
                    </a:lnTo>
                    <a:lnTo>
                      <a:pt x="25" y="27"/>
                    </a:lnTo>
                    <a:lnTo>
                      <a:pt x="21" y="25"/>
                    </a:lnTo>
                    <a:lnTo>
                      <a:pt x="20" y="25"/>
                    </a:lnTo>
                    <a:lnTo>
                      <a:pt x="20" y="24"/>
                    </a:lnTo>
                    <a:lnTo>
                      <a:pt x="18" y="22"/>
                    </a:lnTo>
                    <a:lnTo>
                      <a:pt x="18" y="2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11" name="Freeform 2765"/>
              <p:cNvSpPr>
                <a:spLocks/>
              </p:cNvSpPr>
              <p:nvPr/>
            </p:nvSpPr>
            <p:spPr bwMode="auto">
              <a:xfrm>
                <a:off x="5319" y="3041"/>
                <a:ext cx="46" cy="40"/>
              </a:xfrm>
              <a:custGeom>
                <a:avLst/>
                <a:gdLst>
                  <a:gd name="T0" fmla="*/ 18 w 46"/>
                  <a:gd name="T1" fmla="*/ 20 h 40"/>
                  <a:gd name="T2" fmla="*/ 11 w 46"/>
                  <a:gd name="T3" fmla="*/ 18 h 40"/>
                  <a:gd name="T4" fmla="*/ 7 w 46"/>
                  <a:gd name="T5" fmla="*/ 13 h 40"/>
                  <a:gd name="T6" fmla="*/ 5 w 46"/>
                  <a:gd name="T7" fmla="*/ 11 h 40"/>
                  <a:gd name="T8" fmla="*/ 4 w 46"/>
                  <a:gd name="T9" fmla="*/ 8 h 40"/>
                  <a:gd name="T10" fmla="*/ 2 w 46"/>
                  <a:gd name="T11" fmla="*/ 6 h 40"/>
                  <a:gd name="T12" fmla="*/ 2 w 46"/>
                  <a:gd name="T13" fmla="*/ 2 h 40"/>
                  <a:gd name="T14" fmla="*/ 0 w 46"/>
                  <a:gd name="T15" fmla="*/ 0 h 40"/>
                  <a:gd name="T16" fmla="*/ 2 w 46"/>
                  <a:gd name="T17" fmla="*/ 0 h 40"/>
                  <a:gd name="T18" fmla="*/ 4 w 46"/>
                  <a:gd name="T19" fmla="*/ 2 h 40"/>
                  <a:gd name="T20" fmla="*/ 5 w 46"/>
                  <a:gd name="T21" fmla="*/ 2 h 40"/>
                  <a:gd name="T22" fmla="*/ 9 w 46"/>
                  <a:gd name="T23" fmla="*/ 4 h 40"/>
                  <a:gd name="T24" fmla="*/ 11 w 46"/>
                  <a:gd name="T25" fmla="*/ 6 h 40"/>
                  <a:gd name="T26" fmla="*/ 12 w 46"/>
                  <a:gd name="T27" fmla="*/ 6 h 40"/>
                  <a:gd name="T28" fmla="*/ 12 w 46"/>
                  <a:gd name="T29" fmla="*/ 8 h 40"/>
                  <a:gd name="T30" fmla="*/ 16 w 46"/>
                  <a:gd name="T31" fmla="*/ 9 h 40"/>
                  <a:gd name="T32" fmla="*/ 20 w 46"/>
                  <a:gd name="T33" fmla="*/ 13 h 40"/>
                  <a:gd name="T34" fmla="*/ 21 w 46"/>
                  <a:gd name="T35" fmla="*/ 13 h 40"/>
                  <a:gd name="T36" fmla="*/ 21 w 46"/>
                  <a:gd name="T37" fmla="*/ 16 h 40"/>
                  <a:gd name="T38" fmla="*/ 23 w 46"/>
                  <a:gd name="T39" fmla="*/ 16 h 40"/>
                  <a:gd name="T40" fmla="*/ 23 w 46"/>
                  <a:gd name="T41" fmla="*/ 18 h 40"/>
                  <a:gd name="T42" fmla="*/ 25 w 46"/>
                  <a:gd name="T43" fmla="*/ 20 h 40"/>
                  <a:gd name="T44" fmla="*/ 27 w 46"/>
                  <a:gd name="T45" fmla="*/ 22 h 40"/>
                  <a:gd name="T46" fmla="*/ 29 w 46"/>
                  <a:gd name="T47" fmla="*/ 22 h 40"/>
                  <a:gd name="T48" fmla="*/ 29 w 46"/>
                  <a:gd name="T49" fmla="*/ 24 h 40"/>
                  <a:gd name="T50" fmla="*/ 32 w 46"/>
                  <a:gd name="T51" fmla="*/ 24 h 40"/>
                  <a:gd name="T52" fmla="*/ 36 w 46"/>
                  <a:gd name="T53" fmla="*/ 25 h 40"/>
                  <a:gd name="T54" fmla="*/ 41 w 46"/>
                  <a:gd name="T55" fmla="*/ 31 h 40"/>
                  <a:gd name="T56" fmla="*/ 41 w 46"/>
                  <a:gd name="T57" fmla="*/ 33 h 40"/>
                  <a:gd name="T58" fmla="*/ 43 w 46"/>
                  <a:gd name="T59" fmla="*/ 31 h 40"/>
                  <a:gd name="T60" fmla="*/ 46 w 46"/>
                  <a:gd name="T61" fmla="*/ 33 h 40"/>
                  <a:gd name="T62" fmla="*/ 46 w 46"/>
                  <a:gd name="T63" fmla="*/ 36 h 40"/>
                  <a:gd name="T64" fmla="*/ 46 w 46"/>
                  <a:gd name="T65" fmla="*/ 36 h 40"/>
                  <a:gd name="T66" fmla="*/ 45 w 46"/>
                  <a:gd name="T67" fmla="*/ 36 h 40"/>
                  <a:gd name="T68" fmla="*/ 45 w 46"/>
                  <a:gd name="T69" fmla="*/ 40 h 40"/>
                  <a:gd name="T70" fmla="*/ 43 w 46"/>
                  <a:gd name="T71" fmla="*/ 38 h 40"/>
                  <a:gd name="T72" fmla="*/ 43 w 46"/>
                  <a:gd name="T73" fmla="*/ 38 h 40"/>
                  <a:gd name="T74" fmla="*/ 41 w 46"/>
                  <a:gd name="T75" fmla="*/ 36 h 40"/>
                  <a:gd name="T76" fmla="*/ 39 w 46"/>
                  <a:gd name="T77" fmla="*/ 34 h 40"/>
                  <a:gd name="T78" fmla="*/ 37 w 46"/>
                  <a:gd name="T79" fmla="*/ 34 h 40"/>
                  <a:gd name="T80" fmla="*/ 36 w 46"/>
                  <a:gd name="T81" fmla="*/ 34 h 40"/>
                  <a:gd name="T82" fmla="*/ 34 w 46"/>
                  <a:gd name="T83" fmla="*/ 34 h 40"/>
                  <a:gd name="T84" fmla="*/ 32 w 46"/>
                  <a:gd name="T85" fmla="*/ 33 h 40"/>
                  <a:gd name="T86" fmla="*/ 32 w 46"/>
                  <a:gd name="T87" fmla="*/ 31 h 40"/>
                  <a:gd name="T88" fmla="*/ 30 w 46"/>
                  <a:gd name="T89" fmla="*/ 31 h 40"/>
                  <a:gd name="T90" fmla="*/ 30 w 46"/>
                  <a:gd name="T91" fmla="*/ 29 h 40"/>
                  <a:gd name="T92" fmla="*/ 29 w 46"/>
                  <a:gd name="T93" fmla="*/ 29 h 40"/>
                  <a:gd name="T94" fmla="*/ 29 w 46"/>
                  <a:gd name="T95" fmla="*/ 29 h 40"/>
                  <a:gd name="T96" fmla="*/ 27 w 46"/>
                  <a:gd name="T97" fmla="*/ 29 h 40"/>
                  <a:gd name="T98" fmla="*/ 27 w 46"/>
                  <a:gd name="T99" fmla="*/ 27 h 40"/>
                  <a:gd name="T100" fmla="*/ 25 w 46"/>
                  <a:gd name="T101" fmla="*/ 27 h 40"/>
                  <a:gd name="T102" fmla="*/ 21 w 46"/>
                  <a:gd name="T103" fmla="*/ 25 h 40"/>
                  <a:gd name="T104" fmla="*/ 20 w 46"/>
                  <a:gd name="T105" fmla="*/ 25 h 40"/>
                  <a:gd name="T106" fmla="*/ 20 w 46"/>
                  <a:gd name="T107" fmla="*/ 24 h 40"/>
                  <a:gd name="T108" fmla="*/ 18 w 46"/>
                  <a:gd name="T109" fmla="*/ 22 h 40"/>
                  <a:gd name="T110" fmla="*/ 18 w 46"/>
                  <a:gd name="T11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 h="40">
                    <a:moveTo>
                      <a:pt x="18" y="20"/>
                    </a:moveTo>
                    <a:lnTo>
                      <a:pt x="11" y="18"/>
                    </a:lnTo>
                    <a:lnTo>
                      <a:pt x="7" y="13"/>
                    </a:lnTo>
                    <a:lnTo>
                      <a:pt x="5" y="11"/>
                    </a:lnTo>
                    <a:lnTo>
                      <a:pt x="4" y="8"/>
                    </a:lnTo>
                    <a:lnTo>
                      <a:pt x="2" y="6"/>
                    </a:lnTo>
                    <a:lnTo>
                      <a:pt x="2" y="2"/>
                    </a:lnTo>
                    <a:lnTo>
                      <a:pt x="0" y="0"/>
                    </a:lnTo>
                    <a:lnTo>
                      <a:pt x="2" y="0"/>
                    </a:lnTo>
                    <a:lnTo>
                      <a:pt x="4" y="2"/>
                    </a:lnTo>
                    <a:lnTo>
                      <a:pt x="5" y="2"/>
                    </a:lnTo>
                    <a:lnTo>
                      <a:pt x="9" y="4"/>
                    </a:lnTo>
                    <a:lnTo>
                      <a:pt x="11" y="6"/>
                    </a:lnTo>
                    <a:lnTo>
                      <a:pt x="12" y="6"/>
                    </a:lnTo>
                    <a:lnTo>
                      <a:pt x="12" y="8"/>
                    </a:lnTo>
                    <a:lnTo>
                      <a:pt x="16" y="9"/>
                    </a:lnTo>
                    <a:lnTo>
                      <a:pt x="20" y="13"/>
                    </a:lnTo>
                    <a:lnTo>
                      <a:pt x="21" y="13"/>
                    </a:lnTo>
                    <a:lnTo>
                      <a:pt x="21" y="16"/>
                    </a:lnTo>
                    <a:lnTo>
                      <a:pt x="23" y="16"/>
                    </a:lnTo>
                    <a:lnTo>
                      <a:pt x="23" y="18"/>
                    </a:lnTo>
                    <a:lnTo>
                      <a:pt x="25" y="20"/>
                    </a:lnTo>
                    <a:lnTo>
                      <a:pt x="27" y="22"/>
                    </a:lnTo>
                    <a:lnTo>
                      <a:pt x="29" y="22"/>
                    </a:lnTo>
                    <a:lnTo>
                      <a:pt x="29" y="24"/>
                    </a:lnTo>
                    <a:lnTo>
                      <a:pt x="32" y="24"/>
                    </a:lnTo>
                    <a:lnTo>
                      <a:pt x="36" y="25"/>
                    </a:lnTo>
                    <a:lnTo>
                      <a:pt x="41" y="31"/>
                    </a:lnTo>
                    <a:lnTo>
                      <a:pt x="41" y="33"/>
                    </a:lnTo>
                    <a:lnTo>
                      <a:pt x="43" y="31"/>
                    </a:lnTo>
                    <a:lnTo>
                      <a:pt x="46" y="33"/>
                    </a:lnTo>
                    <a:lnTo>
                      <a:pt x="46" y="36"/>
                    </a:lnTo>
                    <a:lnTo>
                      <a:pt x="46" y="36"/>
                    </a:lnTo>
                    <a:lnTo>
                      <a:pt x="45" y="36"/>
                    </a:lnTo>
                    <a:lnTo>
                      <a:pt x="45" y="40"/>
                    </a:lnTo>
                    <a:lnTo>
                      <a:pt x="43" y="38"/>
                    </a:lnTo>
                    <a:lnTo>
                      <a:pt x="43" y="38"/>
                    </a:lnTo>
                    <a:lnTo>
                      <a:pt x="41" y="36"/>
                    </a:lnTo>
                    <a:lnTo>
                      <a:pt x="39" y="34"/>
                    </a:lnTo>
                    <a:lnTo>
                      <a:pt x="37" y="34"/>
                    </a:lnTo>
                    <a:lnTo>
                      <a:pt x="36" y="34"/>
                    </a:lnTo>
                    <a:lnTo>
                      <a:pt x="34" y="34"/>
                    </a:lnTo>
                    <a:lnTo>
                      <a:pt x="32" y="33"/>
                    </a:lnTo>
                    <a:lnTo>
                      <a:pt x="32" y="31"/>
                    </a:lnTo>
                    <a:lnTo>
                      <a:pt x="30" y="31"/>
                    </a:lnTo>
                    <a:lnTo>
                      <a:pt x="30" y="29"/>
                    </a:lnTo>
                    <a:lnTo>
                      <a:pt x="29" y="29"/>
                    </a:lnTo>
                    <a:lnTo>
                      <a:pt x="29" y="29"/>
                    </a:lnTo>
                    <a:lnTo>
                      <a:pt x="27" y="29"/>
                    </a:lnTo>
                    <a:lnTo>
                      <a:pt x="27" y="27"/>
                    </a:lnTo>
                    <a:lnTo>
                      <a:pt x="25" y="27"/>
                    </a:lnTo>
                    <a:lnTo>
                      <a:pt x="21" y="25"/>
                    </a:lnTo>
                    <a:lnTo>
                      <a:pt x="20" y="25"/>
                    </a:lnTo>
                    <a:lnTo>
                      <a:pt x="20" y="24"/>
                    </a:lnTo>
                    <a:lnTo>
                      <a:pt x="18" y="22"/>
                    </a:lnTo>
                    <a:lnTo>
                      <a:pt x="18" y="2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12" name="Freeform 2766"/>
              <p:cNvSpPr>
                <a:spLocks/>
              </p:cNvSpPr>
              <p:nvPr/>
            </p:nvSpPr>
            <p:spPr bwMode="auto">
              <a:xfrm>
                <a:off x="5367" y="3050"/>
                <a:ext cx="6" cy="7"/>
              </a:xfrm>
              <a:custGeom>
                <a:avLst/>
                <a:gdLst>
                  <a:gd name="T0" fmla="*/ 0 w 6"/>
                  <a:gd name="T1" fmla="*/ 0 h 7"/>
                  <a:gd name="T2" fmla="*/ 2 w 6"/>
                  <a:gd name="T3" fmla="*/ 2 h 7"/>
                  <a:gd name="T4" fmla="*/ 2 w 6"/>
                  <a:gd name="T5" fmla="*/ 0 h 7"/>
                  <a:gd name="T6" fmla="*/ 4 w 6"/>
                  <a:gd name="T7" fmla="*/ 2 h 7"/>
                  <a:gd name="T8" fmla="*/ 4 w 6"/>
                  <a:gd name="T9" fmla="*/ 4 h 7"/>
                  <a:gd name="T10" fmla="*/ 4 w 6"/>
                  <a:gd name="T11" fmla="*/ 4 h 7"/>
                  <a:gd name="T12" fmla="*/ 6 w 6"/>
                  <a:gd name="T13" fmla="*/ 4 h 7"/>
                  <a:gd name="T14" fmla="*/ 6 w 6"/>
                  <a:gd name="T15" fmla="*/ 7 h 7"/>
                  <a:gd name="T16" fmla="*/ 6 w 6"/>
                  <a:gd name="T17" fmla="*/ 7 h 7"/>
                  <a:gd name="T18" fmla="*/ 4 w 6"/>
                  <a:gd name="T19" fmla="*/ 7 h 7"/>
                  <a:gd name="T20" fmla="*/ 0 w 6"/>
                  <a:gd name="T21" fmla="*/ 6 h 7"/>
                  <a:gd name="T22" fmla="*/ 0 w 6"/>
                  <a:gd name="T23" fmla="*/ 4 h 7"/>
                  <a:gd name="T24" fmla="*/ 0 w 6"/>
                  <a:gd name="T25" fmla="*/ 4 h 7"/>
                  <a:gd name="T26" fmla="*/ 0 w 6"/>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7">
                    <a:moveTo>
                      <a:pt x="0" y="0"/>
                    </a:moveTo>
                    <a:lnTo>
                      <a:pt x="2" y="2"/>
                    </a:lnTo>
                    <a:lnTo>
                      <a:pt x="2" y="0"/>
                    </a:lnTo>
                    <a:lnTo>
                      <a:pt x="4" y="2"/>
                    </a:lnTo>
                    <a:lnTo>
                      <a:pt x="4" y="4"/>
                    </a:lnTo>
                    <a:lnTo>
                      <a:pt x="4" y="4"/>
                    </a:lnTo>
                    <a:lnTo>
                      <a:pt x="6" y="4"/>
                    </a:lnTo>
                    <a:lnTo>
                      <a:pt x="6" y="7"/>
                    </a:lnTo>
                    <a:lnTo>
                      <a:pt x="6" y="7"/>
                    </a:lnTo>
                    <a:lnTo>
                      <a:pt x="4" y="7"/>
                    </a:lnTo>
                    <a:lnTo>
                      <a:pt x="0" y="6"/>
                    </a:lnTo>
                    <a:lnTo>
                      <a:pt x="0" y="4"/>
                    </a:lnTo>
                    <a:lnTo>
                      <a:pt x="0" y="4"/>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13" name="Freeform 2767"/>
              <p:cNvSpPr>
                <a:spLocks/>
              </p:cNvSpPr>
              <p:nvPr/>
            </p:nvSpPr>
            <p:spPr bwMode="auto">
              <a:xfrm>
                <a:off x="5367" y="3050"/>
                <a:ext cx="6" cy="7"/>
              </a:xfrm>
              <a:custGeom>
                <a:avLst/>
                <a:gdLst>
                  <a:gd name="T0" fmla="*/ 0 w 6"/>
                  <a:gd name="T1" fmla="*/ 0 h 7"/>
                  <a:gd name="T2" fmla="*/ 2 w 6"/>
                  <a:gd name="T3" fmla="*/ 2 h 7"/>
                  <a:gd name="T4" fmla="*/ 2 w 6"/>
                  <a:gd name="T5" fmla="*/ 0 h 7"/>
                  <a:gd name="T6" fmla="*/ 4 w 6"/>
                  <a:gd name="T7" fmla="*/ 2 h 7"/>
                  <a:gd name="T8" fmla="*/ 4 w 6"/>
                  <a:gd name="T9" fmla="*/ 4 h 7"/>
                  <a:gd name="T10" fmla="*/ 4 w 6"/>
                  <a:gd name="T11" fmla="*/ 4 h 7"/>
                  <a:gd name="T12" fmla="*/ 6 w 6"/>
                  <a:gd name="T13" fmla="*/ 4 h 7"/>
                  <a:gd name="T14" fmla="*/ 6 w 6"/>
                  <a:gd name="T15" fmla="*/ 7 h 7"/>
                  <a:gd name="T16" fmla="*/ 6 w 6"/>
                  <a:gd name="T17" fmla="*/ 7 h 7"/>
                  <a:gd name="T18" fmla="*/ 4 w 6"/>
                  <a:gd name="T19" fmla="*/ 7 h 7"/>
                  <a:gd name="T20" fmla="*/ 0 w 6"/>
                  <a:gd name="T21" fmla="*/ 6 h 7"/>
                  <a:gd name="T22" fmla="*/ 0 w 6"/>
                  <a:gd name="T23" fmla="*/ 4 h 7"/>
                  <a:gd name="T24" fmla="*/ 0 w 6"/>
                  <a:gd name="T25" fmla="*/ 4 h 7"/>
                  <a:gd name="T26" fmla="*/ 0 w 6"/>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 h="7">
                    <a:moveTo>
                      <a:pt x="0" y="0"/>
                    </a:moveTo>
                    <a:lnTo>
                      <a:pt x="2" y="2"/>
                    </a:lnTo>
                    <a:lnTo>
                      <a:pt x="2" y="0"/>
                    </a:lnTo>
                    <a:lnTo>
                      <a:pt x="4" y="2"/>
                    </a:lnTo>
                    <a:lnTo>
                      <a:pt x="4" y="4"/>
                    </a:lnTo>
                    <a:lnTo>
                      <a:pt x="4" y="4"/>
                    </a:lnTo>
                    <a:lnTo>
                      <a:pt x="6" y="4"/>
                    </a:lnTo>
                    <a:lnTo>
                      <a:pt x="6" y="7"/>
                    </a:lnTo>
                    <a:lnTo>
                      <a:pt x="6" y="7"/>
                    </a:lnTo>
                    <a:lnTo>
                      <a:pt x="4" y="7"/>
                    </a:lnTo>
                    <a:lnTo>
                      <a:pt x="0" y="6"/>
                    </a:lnTo>
                    <a:lnTo>
                      <a:pt x="0" y="4"/>
                    </a:lnTo>
                    <a:lnTo>
                      <a:pt x="0" y="4"/>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14" name="Freeform 2768"/>
              <p:cNvSpPr>
                <a:spLocks/>
              </p:cNvSpPr>
              <p:nvPr/>
            </p:nvSpPr>
            <p:spPr bwMode="auto">
              <a:xfrm>
                <a:off x="5378" y="3061"/>
                <a:ext cx="5" cy="5"/>
              </a:xfrm>
              <a:custGeom>
                <a:avLst/>
                <a:gdLst>
                  <a:gd name="T0" fmla="*/ 2 w 5"/>
                  <a:gd name="T1" fmla="*/ 2 h 5"/>
                  <a:gd name="T2" fmla="*/ 0 w 5"/>
                  <a:gd name="T3" fmla="*/ 0 h 5"/>
                  <a:gd name="T4" fmla="*/ 3 w 5"/>
                  <a:gd name="T5" fmla="*/ 0 h 5"/>
                  <a:gd name="T6" fmla="*/ 3 w 5"/>
                  <a:gd name="T7" fmla="*/ 2 h 5"/>
                  <a:gd name="T8" fmla="*/ 5 w 5"/>
                  <a:gd name="T9" fmla="*/ 2 h 5"/>
                  <a:gd name="T10" fmla="*/ 5 w 5"/>
                  <a:gd name="T11" fmla="*/ 4 h 5"/>
                  <a:gd name="T12" fmla="*/ 5 w 5"/>
                  <a:gd name="T13" fmla="*/ 5 h 5"/>
                  <a:gd name="T14" fmla="*/ 3 w 5"/>
                  <a:gd name="T15" fmla="*/ 4 h 5"/>
                  <a:gd name="T16" fmla="*/ 2 w 5"/>
                  <a:gd name="T17" fmla="*/ 4 h 5"/>
                  <a:gd name="T18" fmla="*/ 2 w 5"/>
                  <a:gd name="T1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2" y="2"/>
                    </a:moveTo>
                    <a:lnTo>
                      <a:pt x="0" y="0"/>
                    </a:lnTo>
                    <a:lnTo>
                      <a:pt x="3" y="0"/>
                    </a:lnTo>
                    <a:lnTo>
                      <a:pt x="3" y="2"/>
                    </a:lnTo>
                    <a:lnTo>
                      <a:pt x="5" y="2"/>
                    </a:lnTo>
                    <a:lnTo>
                      <a:pt x="5" y="4"/>
                    </a:lnTo>
                    <a:lnTo>
                      <a:pt x="5" y="5"/>
                    </a:lnTo>
                    <a:lnTo>
                      <a:pt x="3" y="4"/>
                    </a:lnTo>
                    <a:lnTo>
                      <a:pt x="2" y="4"/>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15" name="Freeform 2769"/>
              <p:cNvSpPr>
                <a:spLocks/>
              </p:cNvSpPr>
              <p:nvPr/>
            </p:nvSpPr>
            <p:spPr bwMode="auto">
              <a:xfrm>
                <a:off x="5378" y="3061"/>
                <a:ext cx="5" cy="5"/>
              </a:xfrm>
              <a:custGeom>
                <a:avLst/>
                <a:gdLst>
                  <a:gd name="T0" fmla="*/ 2 w 5"/>
                  <a:gd name="T1" fmla="*/ 2 h 5"/>
                  <a:gd name="T2" fmla="*/ 0 w 5"/>
                  <a:gd name="T3" fmla="*/ 0 h 5"/>
                  <a:gd name="T4" fmla="*/ 3 w 5"/>
                  <a:gd name="T5" fmla="*/ 0 h 5"/>
                  <a:gd name="T6" fmla="*/ 3 w 5"/>
                  <a:gd name="T7" fmla="*/ 2 h 5"/>
                  <a:gd name="T8" fmla="*/ 5 w 5"/>
                  <a:gd name="T9" fmla="*/ 2 h 5"/>
                  <a:gd name="T10" fmla="*/ 5 w 5"/>
                  <a:gd name="T11" fmla="*/ 4 h 5"/>
                  <a:gd name="T12" fmla="*/ 5 w 5"/>
                  <a:gd name="T13" fmla="*/ 5 h 5"/>
                  <a:gd name="T14" fmla="*/ 3 w 5"/>
                  <a:gd name="T15" fmla="*/ 4 h 5"/>
                  <a:gd name="T16" fmla="*/ 2 w 5"/>
                  <a:gd name="T17" fmla="*/ 4 h 5"/>
                  <a:gd name="T18" fmla="*/ 2 w 5"/>
                  <a:gd name="T1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2" y="2"/>
                    </a:moveTo>
                    <a:lnTo>
                      <a:pt x="0" y="0"/>
                    </a:lnTo>
                    <a:lnTo>
                      <a:pt x="3" y="0"/>
                    </a:lnTo>
                    <a:lnTo>
                      <a:pt x="3" y="2"/>
                    </a:lnTo>
                    <a:lnTo>
                      <a:pt x="5" y="2"/>
                    </a:lnTo>
                    <a:lnTo>
                      <a:pt x="5" y="4"/>
                    </a:lnTo>
                    <a:lnTo>
                      <a:pt x="5" y="5"/>
                    </a:lnTo>
                    <a:lnTo>
                      <a:pt x="3" y="4"/>
                    </a:lnTo>
                    <a:lnTo>
                      <a:pt x="2" y="4"/>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16" name="Freeform 2770"/>
              <p:cNvSpPr>
                <a:spLocks/>
              </p:cNvSpPr>
              <p:nvPr/>
            </p:nvSpPr>
            <p:spPr bwMode="auto">
              <a:xfrm>
                <a:off x="5648" y="3056"/>
                <a:ext cx="5" cy="3"/>
              </a:xfrm>
              <a:custGeom>
                <a:avLst/>
                <a:gdLst>
                  <a:gd name="T0" fmla="*/ 5 w 5"/>
                  <a:gd name="T1" fmla="*/ 1 h 3"/>
                  <a:gd name="T2" fmla="*/ 5 w 5"/>
                  <a:gd name="T3" fmla="*/ 0 h 3"/>
                  <a:gd name="T4" fmla="*/ 5 w 5"/>
                  <a:gd name="T5" fmla="*/ 1 h 3"/>
                  <a:gd name="T6" fmla="*/ 5 w 5"/>
                  <a:gd name="T7" fmla="*/ 3 h 3"/>
                  <a:gd name="T8" fmla="*/ 5 w 5"/>
                  <a:gd name="T9" fmla="*/ 3 h 3"/>
                  <a:gd name="T10" fmla="*/ 1 w 5"/>
                  <a:gd name="T11" fmla="*/ 1 h 3"/>
                  <a:gd name="T12" fmla="*/ 0 w 5"/>
                  <a:gd name="T13" fmla="*/ 0 h 3"/>
                  <a:gd name="T14" fmla="*/ 5 w 5"/>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1"/>
                    </a:moveTo>
                    <a:lnTo>
                      <a:pt x="5" y="0"/>
                    </a:lnTo>
                    <a:lnTo>
                      <a:pt x="5" y="1"/>
                    </a:lnTo>
                    <a:lnTo>
                      <a:pt x="5" y="3"/>
                    </a:lnTo>
                    <a:lnTo>
                      <a:pt x="5" y="3"/>
                    </a:lnTo>
                    <a:lnTo>
                      <a:pt x="1" y="1"/>
                    </a:lnTo>
                    <a:lnTo>
                      <a:pt x="0" y="0"/>
                    </a:lnTo>
                    <a:lnTo>
                      <a:pt x="5"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17" name="Freeform 2771"/>
              <p:cNvSpPr>
                <a:spLocks/>
              </p:cNvSpPr>
              <p:nvPr/>
            </p:nvSpPr>
            <p:spPr bwMode="auto">
              <a:xfrm>
                <a:off x="5648" y="3056"/>
                <a:ext cx="5" cy="3"/>
              </a:xfrm>
              <a:custGeom>
                <a:avLst/>
                <a:gdLst>
                  <a:gd name="T0" fmla="*/ 5 w 5"/>
                  <a:gd name="T1" fmla="*/ 1 h 3"/>
                  <a:gd name="T2" fmla="*/ 5 w 5"/>
                  <a:gd name="T3" fmla="*/ 0 h 3"/>
                  <a:gd name="T4" fmla="*/ 5 w 5"/>
                  <a:gd name="T5" fmla="*/ 1 h 3"/>
                  <a:gd name="T6" fmla="*/ 5 w 5"/>
                  <a:gd name="T7" fmla="*/ 3 h 3"/>
                  <a:gd name="T8" fmla="*/ 5 w 5"/>
                  <a:gd name="T9" fmla="*/ 3 h 3"/>
                  <a:gd name="T10" fmla="*/ 1 w 5"/>
                  <a:gd name="T11" fmla="*/ 1 h 3"/>
                  <a:gd name="T12" fmla="*/ 0 w 5"/>
                  <a:gd name="T13" fmla="*/ 0 h 3"/>
                  <a:gd name="T14" fmla="*/ 5 w 5"/>
                  <a:gd name="T15" fmla="*/ 1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1"/>
                    </a:moveTo>
                    <a:lnTo>
                      <a:pt x="5" y="0"/>
                    </a:lnTo>
                    <a:lnTo>
                      <a:pt x="5" y="1"/>
                    </a:lnTo>
                    <a:lnTo>
                      <a:pt x="5" y="3"/>
                    </a:lnTo>
                    <a:lnTo>
                      <a:pt x="5" y="3"/>
                    </a:lnTo>
                    <a:lnTo>
                      <a:pt x="1" y="1"/>
                    </a:lnTo>
                    <a:lnTo>
                      <a:pt x="0" y="0"/>
                    </a:lnTo>
                    <a:lnTo>
                      <a:pt x="5"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18" name="Freeform 2772"/>
              <p:cNvSpPr>
                <a:spLocks/>
              </p:cNvSpPr>
              <p:nvPr/>
            </p:nvSpPr>
            <p:spPr bwMode="auto">
              <a:xfrm>
                <a:off x="5735" y="3018"/>
                <a:ext cx="2" cy="6"/>
              </a:xfrm>
              <a:custGeom>
                <a:avLst/>
                <a:gdLst>
                  <a:gd name="T0" fmla="*/ 2 w 2"/>
                  <a:gd name="T1" fmla="*/ 2 h 6"/>
                  <a:gd name="T2" fmla="*/ 2 w 2"/>
                  <a:gd name="T3" fmla="*/ 6 h 6"/>
                  <a:gd name="T4" fmla="*/ 0 w 2"/>
                  <a:gd name="T5" fmla="*/ 4 h 6"/>
                  <a:gd name="T6" fmla="*/ 0 w 2"/>
                  <a:gd name="T7" fmla="*/ 2 h 6"/>
                  <a:gd name="T8" fmla="*/ 0 w 2"/>
                  <a:gd name="T9" fmla="*/ 0 h 6"/>
                  <a:gd name="T10" fmla="*/ 2 w 2"/>
                  <a:gd name="T11" fmla="*/ 0 h 6"/>
                  <a:gd name="T12" fmla="*/ 2 w 2"/>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2"/>
                    </a:moveTo>
                    <a:lnTo>
                      <a:pt x="2" y="6"/>
                    </a:lnTo>
                    <a:lnTo>
                      <a:pt x="0" y="4"/>
                    </a:lnTo>
                    <a:lnTo>
                      <a:pt x="0" y="2"/>
                    </a:lnTo>
                    <a:lnTo>
                      <a:pt x="0" y="0"/>
                    </a:lnTo>
                    <a:lnTo>
                      <a:pt x="2" y="0"/>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19" name="Freeform 2773"/>
              <p:cNvSpPr>
                <a:spLocks/>
              </p:cNvSpPr>
              <p:nvPr/>
            </p:nvSpPr>
            <p:spPr bwMode="auto">
              <a:xfrm>
                <a:off x="5735" y="3018"/>
                <a:ext cx="2" cy="6"/>
              </a:xfrm>
              <a:custGeom>
                <a:avLst/>
                <a:gdLst>
                  <a:gd name="T0" fmla="*/ 2 w 2"/>
                  <a:gd name="T1" fmla="*/ 2 h 6"/>
                  <a:gd name="T2" fmla="*/ 2 w 2"/>
                  <a:gd name="T3" fmla="*/ 6 h 6"/>
                  <a:gd name="T4" fmla="*/ 0 w 2"/>
                  <a:gd name="T5" fmla="*/ 4 h 6"/>
                  <a:gd name="T6" fmla="*/ 0 w 2"/>
                  <a:gd name="T7" fmla="*/ 2 h 6"/>
                  <a:gd name="T8" fmla="*/ 0 w 2"/>
                  <a:gd name="T9" fmla="*/ 0 h 6"/>
                  <a:gd name="T10" fmla="*/ 2 w 2"/>
                  <a:gd name="T11" fmla="*/ 0 h 6"/>
                  <a:gd name="T12" fmla="*/ 2 w 2"/>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2"/>
                    </a:moveTo>
                    <a:lnTo>
                      <a:pt x="2" y="6"/>
                    </a:lnTo>
                    <a:lnTo>
                      <a:pt x="0" y="4"/>
                    </a:lnTo>
                    <a:lnTo>
                      <a:pt x="0" y="2"/>
                    </a:lnTo>
                    <a:lnTo>
                      <a:pt x="0" y="0"/>
                    </a:lnTo>
                    <a:lnTo>
                      <a:pt x="2" y="0"/>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20" name="Freeform 2774"/>
              <p:cNvSpPr>
                <a:spLocks/>
              </p:cNvSpPr>
              <p:nvPr/>
            </p:nvSpPr>
            <p:spPr bwMode="auto">
              <a:xfrm>
                <a:off x="5687" y="2929"/>
                <a:ext cx="12" cy="7"/>
              </a:xfrm>
              <a:custGeom>
                <a:avLst/>
                <a:gdLst>
                  <a:gd name="T0" fmla="*/ 5 w 12"/>
                  <a:gd name="T1" fmla="*/ 0 h 7"/>
                  <a:gd name="T2" fmla="*/ 9 w 12"/>
                  <a:gd name="T3" fmla="*/ 0 h 7"/>
                  <a:gd name="T4" fmla="*/ 12 w 12"/>
                  <a:gd name="T5" fmla="*/ 3 h 7"/>
                  <a:gd name="T6" fmla="*/ 11 w 12"/>
                  <a:gd name="T7" fmla="*/ 7 h 7"/>
                  <a:gd name="T8" fmla="*/ 9 w 12"/>
                  <a:gd name="T9" fmla="*/ 5 h 7"/>
                  <a:gd name="T10" fmla="*/ 7 w 12"/>
                  <a:gd name="T11" fmla="*/ 5 h 7"/>
                  <a:gd name="T12" fmla="*/ 5 w 12"/>
                  <a:gd name="T13" fmla="*/ 5 h 7"/>
                  <a:gd name="T14" fmla="*/ 3 w 12"/>
                  <a:gd name="T15" fmla="*/ 5 h 7"/>
                  <a:gd name="T16" fmla="*/ 2 w 12"/>
                  <a:gd name="T17" fmla="*/ 2 h 7"/>
                  <a:gd name="T18" fmla="*/ 2 w 12"/>
                  <a:gd name="T19" fmla="*/ 2 h 7"/>
                  <a:gd name="T20" fmla="*/ 0 w 12"/>
                  <a:gd name="T21" fmla="*/ 0 h 7"/>
                  <a:gd name="T22" fmla="*/ 0 w 12"/>
                  <a:gd name="T23" fmla="*/ 0 h 7"/>
                  <a:gd name="T24" fmla="*/ 2 w 12"/>
                  <a:gd name="T25" fmla="*/ 0 h 7"/>
                  <a:gd name="T26" fmla="*/ 5 w 12"/>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7">
                    <a:moveTo>
                      <a:pt x="5" y="0"/>
                    </a:moveTo>
                    <a:lnTo>
                      <a:pt x="9" y="0"/>
                    </a:lnTo>
                    <a:lnTo>
                      <a:pt x="12" y="3"/>
                    </a:lnTo>
                    <a:lnTo>
                      <a:pt x="11" y="7"/>
                    </a:lnTo>
                    <a:lnTo>
                      <a:pt x="9" y="5"/>
                    </a:lnTo>
                    <a:lnTo>
                      <a:pt x="7" y="5"/>
                    </a:lnTo>
                    <a:lnTo>
                      <a:pt x="5" y="5"/>
                    </a:lnTo>
                    <a:lnTo>
                      <a:pt x="3" y="5"/>
                    </a:lnTo>
                    <a:lnTo>
                      <a:pt x="2" y="2"/>
                    </a:lnTo>
                    <a:lnTo>
                      <a:pt x="2" y="2"/>
                    </a:lnTo>
                    <a:lnTo>
                      <a:pt x="0" y="0"/>
                    </a:lnTo>
                    <a:lnTo>
                      <a:pt x="0" y="0"/>
                    </a:lnTo>
                    <a:lnTo>
                      <a:pt x="2" y="0"/>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21" name="Freeform 2775"/>
              <p:cNvSpPr>
                <a:spLocks/>
              </p:cNvSpPr>
              <p:nvPr/>
            </p:nvSpPr>
            <p:spPr bwMode="auto">
              <a:xfrm>
                <a:off x="5687" y="2929"/>
                <a:ext cx="12" cy="7"/>
              </a:xfrm>
              <a:custGeom>
                <a:avLst/>
                <a:gdLst>
                  <a:gd name="T0" fmla="*/ 5 w 12"/>
                  <a:gd name="T1" fmla="*/ 0 h 7"/>
                  <a:gd name="T2" fmla="*/ 9 w 12"/>
                  <a:gd name="T3" fmla="*/ 0 h 7"/>
                  <a:gd name="T4" fmla="*/ 12 w 12"/>
                  <a:gd name="T5" fmla="*/ 3 h 7"/>
                  <a:gd name="T6" fmla="*/ 11 w 12"/>
                  <a:gd name="T7" fmla="*/ 7 h 7"/>
                  <a:gd name="T8" fmla="*/ 9 w 12"/>
                  <a:gd name="T9" fmla="*/ 5 h 7"/>
                  <a:gd name="T10" fmla="*/ 7 w 12"/>
                  <a:gd name="T11" fmla="*/ 5 h 7"/>
                  <a:gd name="T12" fmla="*/ 5 w 12"/>
                  <a:gd name="T13" fmla="*/ 5 h 7"/>
                  <a:gd name="T14" fmla="*/ 3 w 12"/>
                  <a:gd name="T15" fmla="*/ 5 h 7"/>
                  <a:gd name="T16" fmla="*/ 2 w 12"/>
                  <a:gd name="T17" fmla="*/ 2 h 7"/>
                  <a:gd name="T18" fmla="*/ 2 w 12"/>
                  <a:gd name="T19" fmla="*/ 2 h 7"/>
                  <a:gd name="T20" fmla="*/ 0 w 12"/>
                  <a:gd name="T21" fmla="*/ 0 h 7"/>
                  <a:gd name="T22" fmla="*/ 0 w 12"/>
                  <a:gd name="T23" fmla="*/ 0 h 7"/>
                  <a:gd name="T24" fmla="*/ 2 w 12"/>
                  <a:gd name="T25" fmla="*/ 0 h 7"/>
                  <a:gd name="T26" fmla="*/ 5 w 12"/>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7">
                    <a:moveTo>
                      <a:pt x="5" y="0"/>
                    </a:moveTo>
                    <a:lnTo>
                      <a:pt x="9" y="0"/>
                    </a:lnTo>
                    <a:lnTo>
                      <a:pt x="12" y="3"/>
                    </a:lnTo>
                    <a:lnTo>
                      <a:pt x="11" y="7"/>
                    </a:lnTo>
                    <a:lnTo>
                      <a:pt x="9" y="5"/>
                    </a:lnTo>
                    <a:lnTo>
                      <a:pt x="7" y="5"/>
                    </a:lnTo>
                    <a:lnTo>
                      <a:pt x="5" y="5"/>
                    </a:lnTo>
                    <a:lnTo>
                      <a:pt x="3" y="5"/>
                    </a:lnTo>
                    <a:lnTo>
                      <a:pt x="2" y="2"/>
                    </a:lnTo>
                    <a:lnTo>
                      <a:pt x="2" y="2"/>
                    </a:lnTo>
                    <a:lnTo>
                      <a:pt x="0" y="0"/>
                    </a:lnTo>
                    <a:lnTo>
                      <a:pt x="0" y="0"/>
                    </a:lnTo>
                    <a:lnTo>
                      <a:pt x="2" y="0"/>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22" name="Freeform 2776"/>
              <p:cNvSpPr>
                <a:spLocks/>
              </p:cNvSpPr>
              <p:nvPr/>
            </p:nvSpPr>
            <p:spPr bwMode="auto">
              <a:xfrm>
                <a:off x="5699" y="2934"/>
                <a:ext cx="11" cy="4"/>
              </a:xfrm>
              <a:custGeom>
                <a:avLst/>
                <a:gdLst>
                  <a:gd name="T0" fmla="*/ 6 w 11"/>
                  <a:gd name="T1" fmla="*/ 2 h 4"/>
                  <a:gd name="T2" fmla="*/ 9 w 11"/>
                  <a:gd name="T3" fmla="*/ 2 h 4"/>
                  <a:gd name="T4" fmla="*/ 9 w 11"/>
                  <a:gd name="T5" fmla="*/ 2 h 4"/>
                  <a:gd name="T6" fmla="*/ 11 w 11"/>
                  <a:gd name="T7" fmla="*/ 2 h 4"/>
                  <a:gd name="T8" fmla="*/ 11 w 11"/>
                  <a:gd name="T9" fmla="*/ 4 h 4"/>
                  <a:gd name="T10" fmla="*/ 4 w 11"/>
                  <a:gd name="T11" fmla="*/ 4 h 4"/>
                  <a:gd name="T12" fmla="*/ 2 w 11"/>
                  <a:gd name="T13" fmla="*/ 4 h 4"/>
                  <a:gd name="T14" fmla="*/ 0 w 11"/>
                  <a:gd name="T15" fmla="*/ 2 h 4"/>
                  <a:gd name="T16" fmla="*/ 2 w 11"/>
                  <a:gd name="T17" fmla="*/ 0 h 4"/>
                  <a:gd name="T18" fmla="*/ 6 w 11"/>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
                    <a:moveTo>
                      <a:pt x="6" y="2"/>
                    </a:moveTo>
                    <a:lnTo>
                      <a:pt x="9" y="2"/>
                    </a:lnTo>
                    <a:lnTo>
                      <a:pt x="9" y="2"/>
                    </a:lnTo>
                    <a:lnTo>
                      <a:pt x="11" y="2"/>
                    </a:lnTo>
                    <a:lnTo>
                      <a:pt x="11" y="4"/>
                    </a:lnTo>
                    <a:lnTo>
                      <a:pt x="4" y="4"/>
                    </a:lnTo>
                    <a:lnTo>
                      <a:pt x="2" y="4"/>
                    </a:lnTo>
                    <a:lnTo>
                      <a:pt x="0" y="2"/>
                    </a:lnTo>
                    <a:lnTo>
                      <a:pt x="2" y="0"/>
                    </a:lnTo>
                    <a:lnTo>
                      <a:pt x="6"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23" name="Freeform 2777"/>
              <p:cNvSpPr>
                <a:spLocks/>
              </p:cNvSpPr>
              <p:nvPr/>
            </p:nvSpPr>
            <p:spPr bwMode="auto">
              <a:xfrm>
                <a:off x="5699" y="2934"/>
                <a:ext cx="11" cy="4"/>
              </a:xfrm>
              <a:custGeom>
                <a:avLst/>
                <a:gdLst>
                  <a:gd name="T0" fmla="*/ 6 w 11"/>
                  <a:gd name="T1" fmla="*/ 2 h 4"/>
                  <a:gd name="T2" fmla="*/ 9 w 11"/>
                  <a:gd name="T3" fmla="*/ 2 h 4"/>
                  <a:gd name="T4" fmla="*/ 9 w 11"/>
                  <a:gd name="T5" fmla="*/ 2 h 4"/>
                  <a:gd name="T6" fmla="*/ 11 w 11"/>
                  <a:gd name="T7" fmla="*/ 2 h 4"/>
                  <a:gd name="T8" fmla="*/ 11 w 11"/>
                  <a:gd name="T9" fmla="*/ 4 h 4"/>
                  <a:gd name="T10" fmla="*/ 4 w 11"/>
                  <a:gd name="T11" fmla="*/ 4 h 4"/>
                  <a:gd name="T12" fmla="*/ 2 w 11"/>
                  <a:gd name="T13" fmla="*/ 4 h 4"/>
                  <a:gd name="T14" fmla="*/ 0 w 11"/>
                  <a:gd name="T15" fmla="*/ 2 h 4"/>
                  <a:gd name="T16" fmla="*/ 2 w 11"/>
                  <a:gd name="T17" fmla="*/ 0 h 4"/>
                  <a:gd name="T18" fmla="*/ 6 w 11"/>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
                    <a:moveTo>
                      <a:pt x="6" y="2"/>
                    </a:moveTo>
                    <a:lnTo>
                      <a:pt x="9" y="2"/>
                    </a:lnTo>
                    <a:lnTo>
                      <a:pt x="9" y="2"/>
                    </a:lnTo>
                    <a:lnTo>
                      <a:pt x="11" y="2"/>
                    </a:lnTo>
                    <a:lnTo>
                      <a:pt x="11" y="4"/>
                    </a:lnTo>
                    <a:lnTo>
                      <a:pt x="4" y="4"/>
                    </a:lnTo>
                    <a:lnTo>
                      <a:pt x="2" y="4"/>
                    </a:lnTo>
                    <a:lnTo>
                      <a:pt x="0" y="2"/>
                    </a:lnTo>
                    <a:lnTo>
                      <a:pt x="2" y="0"/>
                    </a:lnTo>
                    <a:lnTo>
                      <a:pt x="6"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24" name="Freeform 2778"/>
              <p:cNvSpPr>
                <a:spLocks/>
              </p:cNvSpPr>
              <p:nvPr/>
            </p:nvSpPr>
            <p:spPr bwMode="auto">
              <a:xfrm>
                <a:off x="5055" y="2793"/>
                <a:ext cx="3" cy="4"/>
              </a:xfrm>
              <a:custGeom>
                <a:avLst/>
                <a:gdLst>
                  <a:gd name="T0" fmla="*/ 2 w 3"/>
                  <a:gd name="T1" fmla="*/ 4 h 4"/>
                  <a:gd name="T2" fmla="*/ 2 w 3"/>
                  <a:gd name="T3" fmla="*/ 4 h 4"/>
                  <a:gd name="T4" fmla="*/ 3 w 3"/>
                  <a:gd name="T5" fmla="*/ 4 h 4"/>
                  <a:gd name="T6" fmla="*/ 3 w 3"/>
                  <a:gd name="T7" fmla="*/ 2 h 4"/>
                  <a:gd name="T8" fmla="*/ 2 w 3"/>
                  <a:gd name="T9" fmla="*/ 0 h 4"/>
                  <a:gd name="T10" fmla="*/ 2 w 3"/>
                  <a:gd name="T11" fmla="*/ 0 h 4"/>
                  <a:gd name="T12" fmla="*/ 2 w 3"/>
                  <a:gd name="T13" fmla="*/ 0 h 4"/>
                  <a:gd name="T14" fmla="*/ 0 w 3"/>
                  <a:gd name="T15" fmla="*/ 0 h 4"/>
                  <a:gd name="T16" fmla="*/ 0 w 3"/>
                  <a:gd name="T17" fmla="*/ 2 h 4"/>
                  <a:gd name="T18" fmla="*/ 2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2" y="4"/>
                    </a:moveTo>
                    <a:lnTo>
                      <a:pt x="2" y="4"/>
                    </a:lnTo>
                    <a:lnTo>
                      <a:pt x="3" y="4"/>
                    </a:lnTo>
                    <a:lnTo>
                      <a:pt x="3" y="2"/>
                    </a:lnTo>
                    <a:lnTo>
                      <a:pt x="2" y="0"/>
                    </a:lnTo>
                    <a:lnTo>
                      <a:pt x="2" y="0"/>
                    </a:lnTo>
                    <a:lnTo>
                      <a:pt x="2" y="0"/>
                    </a:lnTo>
                    <a:lnTo>
                      <a:pt x="0" y="0"/>
                    </a:lnTo>
                    <a:lnTo>
                      <a:pt x="0" y="2"/>
                    </a:lnTo>
                    <a:lnTo>
                      <a:pt x="2"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25" name="Freeform 2779"/>
              <p:cNvSpPr>
                <a:spLocks/>
              </p:cNvSpPr>
              <p:nvPr/>
            </p:nvSpPr>
            <p:spPr bwMode="auto">
              <a:xfrm>
                <a:off x="5055" y="2793"/>
                <a:ext cx="3" cy="4"/>
              </a:xfrm>
              <a:custGeom>
                <a:avLst/>
                <a:gdLst>
                  <a:gd name="T0" fmla="*/ 2 w 3"/>
                  <a:gd name="T1" fmla="*/ 4 h 4"/>
                  <a:gd name="T2" fmla="*/ 2 w 3"/>
                  <a:gd name="T3" fmla="*/ 4 h 4"/>
                  <a:gd name="T4" fmla="*/ 3 w 3"/>
                  <a:gd name="T5" fmla="*/ 4 h 4"/>
                  <a:gd name="T6" fmla="*/ 3 w 3"/>
                  <a:gd name="T7" fmla="*/ 2 h 4"/>
                  <a:gd name="T8" fmla="*/ 2 w 3"/>
                  <a:gd name="T9" fmla="*/ 0 h 4"/>
                  <a:gd name="T10" fmla="*/ 2 w 3"/>
                  <a:gd name="T11" fmla="*/ 0 h 4"/>
                  <a:gd name="T12" fmla="*/ 2 w 3"/>
                  <a:gd name="T13" fmla="*/ 0 h 4"/>
                  <a:gd name="T14" fmla="*/ 0 w 3"/>
                  <a:gd name="T15" fmla="*/ 0 h 4"/>
                  <a:gd name="T16" fmla="*/ 0 w 3"/>
                  <a:gd name="T17" fmla="*/ 2 h 4"/>
                  <a:gd name="T18" fmla="*/ 2 w 3"/>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2" y="4"/>
                    </a:moveTo>
                    <a:lnTo>
                      <a:pt x="2" y="4"/>
                    </a:lnTo>
                    <a:lnTo>
                      <a:pt x="3" y="4"/>
                    </a:lnTo>
                    <a:lnTo>
                      <a:pt x="3" y="2"/>
                    </a:lnTo>
                    <a:lnTo>
                      <a:pt x="2" y="0"/>
                    </a:lnTo>
                    <a:lnTo>
                      <a:pt x="2" y="0"/>
                    </a:lnTo>
                    <a:lnTo>
                      <a:pt x="2" y="0"/>
                    </a:lnTo>
                    <a:lnTo>
                      <a:pt x="0" y="0"/>
                    </a:lnTo>
                    <a:lnTo>
                      <a:pt x="0" y="2"/>
                    </a:lnTo>
                    <a:lnTo>
                      <a:pt x="2"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26" name="Freeform 2780"/>
              <p:cNvSpPr>
                <a:spLocks/>
              </p:cNvSpPr>
              <p:nvPr/>
            </p:nvSpPr>
            <p:spPr bwMode="auto">
              <a:xfrm>
                <a:off x="5067" y="2799"/>
                <a:ext cx="4" cy="5"/>
              </a:xfrm>
              <a:custGeom>
                <a:avLst/>
                <a:gdLst>
                  <a:gd name="T0" fmla="*/ 4 w 4"/>
                  <a:gd name="T1" fmla="*/ 5 h 5"/>
                  <a:gd name="T2" fmla="*/ 4 w 4"/>
                  <a:gd name="T3" fmla="*/ 5 h 5"/>
                  <a:gd name="T4" fmla="*/ 4 w 4"/>
                  <a:gd name="T5" fmla="*/ 3 h 5"/>
                  <a:gd name="T6" fmla="*/ 4 w 4"/>
                  <a:gd name="T7" fmla="*/ 1 h 5"/>
                  <a:gd name="T8" fmla="*/ 4 w 4"/>
                  <a:gd name="T9" fmla="*/ 0 h 5"/>
                  <a:gd name="T10" fmla="*/ 2 w 4"/>
                  <a:gd name="T11" fmla="*/ 0 h 5"/>
                  <a:gd name="T12" fmla="*/ 2 w 4"/>
                  <a:gd name="T13" fmla="*/ 0 h 5"/>
                  <a:gd name="T14" fmla="*/ 0 w 4"/>
                  <a:gd name="T15" fmla="*/ 0 h 5"/>
                  <a:gd name="T16" fmla="*/ 0 w 4"/>
                  <a:gd name="T17" fmla="*/ 1 h 5"/>
                  <a:gd name="T18" fmla="*/ 4 w 4"/>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5"/>
                    </a:moveTo>
                    <a:lnTo>
                      <a:pt x="4" y="5"/>
                    </a:lnTo>
                    <a:lnTo>
                      <a:pt x="4" y="3"/>
                    </a:lnTo>
                    <a:lnTo>
                      <a:pt x="4" y="1"/>
                    </a:lnTo>
                    <a:lnTo>
                      <a:pt x="4" y="0"/>
                    </a:lnTo>
                    <a:lnTo>
                      <a:pt x="2" y="0"/>
                    </a:lnTo>
                    <a:lnTo>
                      <a:pt x="2" y="0"/>
                    </a:lnTo>
                    <a:lnTo>
                      <a:pt x="0" y="0"/>
                    </a:lnTo>
                    <a:lnTo>
                      <a:pt x="0" y="1"/>
                    </a:lnTo>
                    <a:lnTo>
                      <a:pt x="4"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27" name="Freeform 2781"/>
              <p:cNvSpPr>
                <a:spLocks/>
              </p:cNvSpPr>
              <p:nvPr/>
            </p:nvSpPr>
            <p:spPr bwMode="auto">
              <a:xfrm>
                <a:off x="5067" y="2799"/>
                <a:ext cx="4" cy="5"/>
              </a:xfrm>
              <a:custGeom>
                <a:avLst/>
                <a:gdLst>
                  <a:gd name="T0" fmla="*/ 4 w 4"/>
                  <a:gd name="T1" fmla="*/ 5 h 5"/>
                  <a:gd name="T2" fmla="*/ 4 w 4"/>
                  <a:gd name="T3" fmla="*/ 5 h 5"/>
                  <a:gd name="T4" fmla="*/ 4 w 4"/>
                  <a:gd name="T5" fmla="*/ 3 h 5"/>
                  <a:gd name="T6" fmla="*/ 4 w 4"/>
                  <a:gd name="T7" fmla="*/ 1 h 5"/>
                  <a:gd name="T8" fmla="*/ 4 w 4"/>
                  <a:gd name="T9" fmla="*/ 0 h 5"/>
                  <a:gd name="T10" fmla="*/ 2 w 4"/>
                  <a:gd name="T11" fmla="*/ 0 h 5"/>
                  <a:gd name="T12" fmla="*/ 2 w 4"/>
                  <a:gd name="T13" fmla="*/ 0 h 5"/>
                  <a:gd name="T14" fmla="*/ 0 w 4"/>
                  <a:gd name="T15" fmla="*/ 0 h 5"/>
                  <a:gd name="T16" fmla="*/ 0 w 4"/>
                  <a:gd name="T17" fmla="*/ 1 h 5"/>
                  <a:gd name="T18" fmla="*/ 4 w 4"/>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4" y="5"/>
                    </a:moveTo>
                    <a:lnTo>
                      <a:pt x="4" y="5"/>
                    </a:lnTo>
                    <a:lnTo>
                      <a:pt x="4" y="3"/>
                    </a:lnTo>
                    <a:lnTo>
                      <a:pt x="4" y="1"/>
                    </a:lnTo>
                    <a:lnTo>
                      <a:pt x="4" y="0"/>
                    </a:lnTo>
                    <a:lnTo>
                      <a:pt x="2" y="0"/>
                    </a:lnTo>
                    <a:lnTo>
                      <a:pt x="2" y="0"/>
                    </a:lnTo>
                    <a:lnTo>
                      <a:pt x="0" y="0"/>
                    </a:lnTo>
                    <a:lnTo>
                      <a:pt x="0" y="1"/>
                    </a:lnTo>
                    <a:lnTo>
                      <a:pt x="4"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28" name="Freeform 2782"/>
              <p:cNvSpPr>
                <a:spLocks/>
              </p:cNvSpPr>
              <p:nvPr/>
            </p:nvSpPr>
            <p:spPr bwMode="auto">
              <a:xfrm>
                <a:off x="5076" y="2775"/>
                <a:ext cx="66" cy="36"/>
              </a:xfrm>
              <a:custGeom>
                <a:avLst/>
                <a:gdLst>
                  <a:gd name="T0" fmla="*/ 7 w 66"/>
                  <a:gd name="T1" fmla="*/ 31 h 36"/>
                  <a:gd name="T2" fmla="*/ 11 w 66"/>
                  <a:gd name="T3" fmla="*/ 32 h 36"/>
                  <a:gd name="T4" fmla="*/ 18 w 66"/>
                  <a:gd name="T5" fmla="*/ 32 h 36"/>
                  <a:gd name="T6" fmla="*/ 20 w 66"/>
                  <a:gd name="T7" fmla="*/ 34 h 36"/>
                  <a:gd name="T8" fmla="*/ 22 w 66"/>
                  <a:gd name="T9" fmla="*/ 36 h 36"/>
                  <a:gd name="T10" fmla="*/ 32 w 66"/>
                  <a:gd name="T11" fmla="*/ 36 h 36"/>
                  <a:gd name="T12" fmla="*/ 41 w 66"/>
                  <a:gd name="T13" fmla="*/ 31 h 36"/>
                  <a:gd name="T14" fmla="*/ 45 w 66"/>
                  <a:gd name="T15" fmla="*/ 31 h 36"/>
                  <a:gd name="T16" fmla="*/ 50 w 66"/>
                  <a:gd name="T17" fmla="*/ 25 h 36"/>
                  <a:gd name="T18" fmla="*/ 50 w 66"/>
                  <a:gd name="T19" fmla="*/ 24 h 36"/>
                  <a:gd name="T20" fmla="*/ 61 w 66"/>
                  <a:gd name="T21" fmla="*/ 22 h 36"/>
                  <a:gd name="T22" fmla="*/ 61 w 66"/>
                  <a:gd name="T23" fmla="*/ 20 h 36"/>
                  <a:gd name="T24" fmla="*/ 59 w 66"/>
                  <a:gd name="T25" fmla="*/ 15 h 36"/>
                  <a:gd name="T26" fmla="*/ 61 w 66"/>
                  <a:gd name="T27" fmla="*/ 15 h 36"/>
                  <a:gd name="T28" fmla="*/ 64 w 66"/>
                  <a:gd name="T29" fmla="*/ 13 h 36"/>
                  <a:gd name="T30" fmla="*/ 66 w 66"/>
                  <a:gd name="T31" fmla="*/ 7 h 36"/>
                  <a:gd name="T32" fmla="*/ 64 w 66"/>
                  <a:gd name="T33" fmla="*/ 4 h 36"/>
                  <a:gd name="T34" fmla="*/ 63 w 66"/>
                  <a:gd name="T35" fmla="*/ 2 h 36"/>
                  <a:gd name="T36" fmla="*/ 64 w 66"/>
                  <a:gd name="T37" fmla="*/ 0 h 36"/>
                  <a:gd name="T38" fmla="*/ 59 w 66"/>
                  <a:gd name="T39" fmla="*/ 4 h 36"/>
                  <a:gd name="T40" fmla="*/ 57 w 66"/>
                  <a:gd name="T41" fmla="*/ 2 h 36"/>
                  <a:gd name="T42" fmla="*/ 54 w 66"/>
                  <a:gd name="T43" fmla="*/ 2 h 36"/>
                  <a:gd name="T44" fmla="*/ 54 w 66"/>
                  <a:gd name="T45" fmla="*/ 4 h 36"/>
                  <a:gd name="T46" fmla="*/ 54 w 66"/>
                  <a:gd name="T47" fmla="*/ 11 h 36"/>
                  <a:gd name="T48" fmla="*/ 54 w 66"/>
                  <a:gd name="T49" fmla="*/ 13 h 36"/>
                  <a:gd name="T50" fmla="*/ 47 w 66"/>
                  <a:gd name="T51" fmla="*/ 15 h 36"/>
                  <a:gd name="T52" fmla="*/ 45 w 66"/>
                  <a:gd name="T53" fmla="*/ 18 h 36"/>
                  <a:gd name="T54" fmla="*/ 43 w 66"/>
                  <a:gd name="T55" fmla="*/ 22 h 36"/>
                  <a:gd name="T56" fmla="*/ 39 w 66"/>
                  <a:gd name="T57" fmla="*/ 22 h 36"/>
                  <a:gd name="T58" fmla="*/ 34 w 66"/>
                  <a:gd name="T59" fmla="*/ 22 h 36"/>
                  <a:gd name="T60" fmla="*/ 32 w 66"/>
                  <a:gd name="T61" fmla="*/ 24 h 36"/>
                  <a:gd name="T62" fmla="*/ 29 w 66"/>
                  <a:gd name="T63" fmla="*/ 24 h 36"/>
                  <a:gd name="T64" fmla="*/ 29 w 66"/>
                  <a:gd name="T65" fmla="*/ 18 h 36"/>
                  <a:gd name="T66" fmla="*/ 31 w 66"/>
                  <a:gd name="T67" fmla="*/ 16 h 36"/>
                  <a:gd name="T68" fmla="*/ 29 w 66"/>
                  <a:gd name="T69" fmla="*/ 15 h 36"/>
                  <a:gd name="T70" fmla="*/ 27 w 66"/>
                  <a:gd name="T71" fmla="*/ 22 h 36"/>
                  <a:gd name="T72" fmla="*/ 25 w 66"/>
                  <a:gd name="T73" fmla="*/ 22 h 36"/>
                  <a:gd name="T74" fmla="*/ 16 w 66"/>
                  <a:gd name="T75" fmla="*/ 24 h 36"/>
                  <a:gd name="T76" fmla="*/ 13 w 66"/>
                  <a:gd name="T77" fmla="*/ 24 h 36"/>
                  <a:gd name="T78" fmla="*/ 7 w 66"/>
                  <a:gd name="T79" fmla="*/ 24 h 36"/>
                  <a:gd name="T80" fmla="*/ 6 w 66"/>
                  <a:gd name="T81" fmla="*/ 24 h 36"/>
                  <a:gd name="T82" fmla="*/ 2 w 66"/>
                  <a:gd name="T83" fmla="*/ 24 h 36"/>
                  <a:gd name="T84" fmla="*/ 0 w 66"/>
                  <a:gd name="T85" fmla="*/ 24 h 36"/>
                  <a:gd name="T86" fmla="*/ 0 w 66"/>
                  <a:gd name="T87" fmla="*/ 27 h 36"/>
                  <a:gd name="T88" fmla="*/ 2 w 66"/>
                  <a:gd name="T89" fmla="*/ 27 h 36"/>
                  <a:gd name="T90" fmla="*/ 6 w 66"/>
                  <a:gd name="T9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 h="36">
                    <a:moveTo>
                      <a:pt x="7" y="31"/>
                    </a:moveTo>
                    <a:lnTo>
                      <a:pt x="7" y="31"/>
                    </a:lnTo>
                    <a:lnTo>
                      <a:pt x="11" y="32"/>
                    </a:lnTo>
                    <a:lnTo>
                      <a:pt x="11" y="32"/>
                    </a:lnTo>
                    <a:lnTo>
                      <a:pt x="14" y="32"/>
                    </a:lnTo>
                    <a:lnTo>
                      <a:pt x="18" y="32"/>
                    </a:lnTo>
                    <a:lnTo>
                      <a:pt x="18" y="32"/>
                    </a:lnTo>
                    <a:lnTo>
                      <a:pt x="20" y="34"/>
                    </a:lnTo>
                    <a:lnTo>
                      <a:pt x="22" y="36"/>
                    </a:lnTo>
                    <a:lnTo>
                      <a:pt x="22" y="36"/>
                    </a:lnTo>
                    <a:lnTo>
                      <a:pt x="32" y="36"/>
                    </a:lnTo>
                    <a:lnTo>
                      <a:pt x="32" y="36"/>
                    </a:lnTo>
                    <a:lnTo>
                      <a:pt x="38" y="32"/>
                    </a:lnTo>
                    <a:lnTo>
                      <a:pt x="41" y="31"/>
                    </a:lnTo>
                    <a:lnTo>
                      <a:pt x="41" y="31"/>
                    </a:lnTo>
                    <a:lnTo>
                      <a:pt x="45" y="31"/>
                    </a:lnTo>
                    <a:lnTo>
                      <a:pt x="48" y="29"/>
                    </a:lnTo>
                    <a:lnTo>
                      <a:pt x="50" y="25"/>
                    </a:lnTo>
                    <a:lnTo>
                      <a:pt x="50" y="24"/>
                    </a:lnTo>
                    <a:lnTo>
                      <a:pt x="50" y="24"/>
                    </a:lnTo>
                    <a:lnTo>
                      <a:pt x="57" y="24"/>
                    </a:lnTo>
                    <a:lnTo>
                      <a:pt x="61" y="22"/>
                    </a:lnTo>
                    <a:lnTo>
                      <a:pt x="61" y="20"/>
                    </a:lnTo>
                    <a:lnTo>
                      <a:pt x="61" y="20"/>
                    </a:lnTo>
                    <a:lnTo>
                      <a:pt x="59" y="16"/>
                    </a:lnTo>
                    <a:lnTo>
                      <a:pt x="59" y="15"/>
                    </a:lnTo>
                    <a:lnTo>
                      <a:pt x="61" y="15"/>
                    </a:lnTo>
                    <a:lnTo>
                      <a:pt x="61" y="15"/>
                    </a:lnTo>
                    <a:lnTo>
                      <a:pt x="63" y="15"/>
                    </a:lnTo>
                    <a:lnTo>
                      <a:pt x="64" y="13"/>
                    </a:lnTo>
                    <a:lnTo>
                      <a:pt x="66" y="7"/>
                    </a:lnTo>
                    <a:lnTo>
                      <a:pt x="66" y="7"/>
                    </a:lnTo>
                    <a:lnTo>
                      <a:pt x="66" y="6"/>
                    </a:lnTo>
                    <a:lnTo>
                      <a:pt x="64" y="4"/>
                    </a:lnTo>
                    <a:lnTo>
                      <a:pt x="64" y="4"/>
                    </a:lnTo>
                    <a:lnTo>
                      <a:pt x="63" y="2"/>
                    </a:lnTo>
                    <a:lnTo>
                      <a:pt x="64" y="0"/>
                    </a:lnTo>
                    <a:lnTo>
                      <a:pt x="64" y="0"/>
                    </a:lnTo>
                    <a:lnTo>
                      <a:pt x="61" y="2"/>
                    </a:lnTo>
                    <a:lnTo>
                      <a:pt x="59" y="4"/>
                    </a:lnTo>
                    <a:lnTo>
                      <a:pt x="57" y="2"/>
                    </a:lnTo>
                    <a:lnTo>
                      <a:pt x="57" y="2"/>
                    </a:lnTo>
                    <a:lnTo>
                      <a:pt x="56" y="2"/>
                    </a:lnTo>
                    <a:lnTo>
                      <a:pt x="54" y="2"/>
                    </a:lnTo>
                    <a:lnTo>
                      <a:pt x="54" y="4"/>
                    </a:lnTo>
                    <a:lnTo>
                      <a:pt x="54" y="4"/>
                    </a:lnTo>
                    <a:lnTo>
                      <a:pt x="54" y="7"/>
                    </a:lnTo>
                    <a:lnTo>
                      <a:pt x="54" y="11"/>
                    </a:lnTo>
                    <a:lnTo>
                      <a:pt x="54" y="11"/>
                    </a:lnTo>
                    <a:lnTo>
                      <a:pt x="54" y="13"/>
                    </a:lnTo>
                    <a:lnTo>
                      <a:pt x="52" y="15"/>
                    </a:lnTo>
                    <a:lnTo>
                      <a:pt x="47" y="15"/>
                    </a:lnTo>
                    <a:lnTo>
                      <a:pt x="47" y="15"/>
                    </a:lnTo>
                    <a:lnTo>
                      <a:pt x="45" y="18"/>
                    </a:lnTo>
                    <a:lnTo>
                      <a:pt x="43" y="22"/>
                    </a:lnTo>
                    <a:lnTo>
                      <a:pt x="43" y="22"/>
                    </a:lnTo>
                    <a:lnTo>
                      <a:pt x="39" y="22"/>
                    </a:lnTo>
                    <a:lnTo>
                      <a:pt x="39" y="22"/>
                    </a:lnTo>
                    <a:lnTo>
                      <a:pt x="36" y="24"/>
                    </a:lnTo>
                    <a:lnTo>
                      <a:pt x="34" y="22"/>
                    </a:lnTo>
                    <a:lnTo>
                      <a:pt x="34" y="22"/>
                    </a:lnTo>
                    <a:lnTo>
                      <a:pt x="32" y="24"/>
                    </a:lnTo>
                    <a:lnTo>
                      <a:pt x="31" y="24"/>
                    </a:lnTo>
                    <a:lnTo>
                      <a:pt x="29" y="24"/>
                    </a:lnTo>
                    <a:lnTo>
                      <a:pt x="29" y="24"/>
                    </a:lnTo>
                    <a:lnTo>
                      <a:pt x="29" y="18"/>
                    </a:lnTo>
                    <a:lnTo>
                      <a:pt x="29" y="16"/>
                    </a:lnTo>
                    <a:lnTo>
                      <a:pt x="31" y="16"/>
                    </a:lnTo>
                    <a:lnTo>
                      <a:pt x="31" y="16"/>
                    </a:lnTo>
                    <a:lnTo>
                      <a:pt x="29" y="15"/>
                    </a:lnTo>
                    <a:lnTo>
                      <a:pt x="27" y="16"/>
                    </a:lnTo>
                    <a:lnTo>
                      <a:pt x="27" y="22"/>
                    </a:lnTo>
                    <a:lnTo>
                      <a:pt x="27" y="22"/>
                    </a:lnTo>
                    <a:lnTo>
                      <a:pt x="25" y="22"/>
                    </a:lnTo>
                    <a:lnTo>
                      <a:pt x="22" y="24"/>
                    </a:lnTo>
                    <a:lnTo>
                      <a:pt x="16" y="24"/>
                    </a:lnTo>
                    <a:lnTo>
                      <a:pt x="16" y="24"/>
                    </a:lnTo>
                    <a:lnTo>
                      <a:pt x="13" y="24"/>
                    </a:lnTo>
                    <a:lnTo>
                      <a:pt x="13" y="24"/>
                    </a:lnTo>
                    <a:lnTo>
                      <a:pt x="7" y="24"/>
                    </a:lnTo>
                    <a:lnTo>
                      <a:pt x="7" y="24"/>
                    </a:lnTo>
                    <a:lnTo>
                      <a:pt x="6" y="24"/>
                    </a:lnTo>
                    <a:lnTo>
                      <a:pt x="2" y="24"/>
                    </a:lnTo>
                    <a:lnTo>
                      <a:pt x="2" y="24"/>
                    </a:lnTo>
                    <a:lnTo>
                      <a:pt x="0" y="22"/>
                    </a:lnTo>
                    <a:lnTo>
                      <a:pt x="0" y="24"/>
                    </a:lnTo>
                    <a:lnTo>
                      <a:pt x="0" y="25"/>
                    </a:lnTo>
                    <a:lnTo>
                      <a:pt x="0" y="27"/>
                    </a:lnTo>
                    <a:lnTo>
                      <a:pt x="0" y="27"/>
                    </a:lnTo>
                    <a:lnTo>
                      <a:pt x="2" y="27"/>
                    </a:lnTo>
                    <a:lnTo>
                      <a:pt x="6" y="29"/>
                    </a:lnTo>
                    <a:lnTo>
                      <a:pt x="6" y="29"/>
                    </a:lnTo>
                    <a:lnTo>
                      <a:pt x="7" y="3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29" name="Freeform 2783"/>
              <p:cNvSpPr>
                <a:spLocks/>
              </p:cNvSpPr>
              <p:nvPr/>
            </p:nvSpPr>
            <p:spPr bwMode="auto">
              <a:xfrm>
                <a:off x="5076" y="2775"/>
                <a:ext cx="66" cy="36"/>
              </a:xfrm>
              <a:custGeom>
                <a:avLst/>
                <a:gdLst>
                  <a:gd name="T0" fmla="*/ 7 w 66"/>
                  <a:gd name="T1" fmla="*/ 31 h 36"/>
                  <a:gd name="T2" fmla="*/ 11 w 66"/>
                  <a:gd name="T3" fmla="*/ 32 h 36"/>
                  <a:gd name="T4" fmla="*/ 18 w 66"/>
                  <a:gd name="T5" fmla="*/ 32 h 36"/>
                  <a:gd name="T6" fmla="*/ 20 w 66"/>
                  <a:gd name="T7" fmla="*/ 34 h 36"/>
                  <a:gd name="T8" fmla="*/ 22 w 66"/>
                  <a:gd name="T9" fmla="*/ 36 h 36"/>
                  <a:gd name="T10" fmla="*/ 32 w 66"/>
                  <a:gd name="T11" fmla="*/ 36 h 36"/>
                  <a:gd name="T12" fmla="*/ 41 w 66"/>
                  <a:gd name="T13" fmla="*/ 31 h 36"/>
                  <a:gd name="T14" fmla="*/ 45 w 66"/>
                  <a:gd name="T15" fmla="*/ 31 h 36"/>
                  <a:gd name="T16" fmla="*/ 50 w 66"/>
                  <a:gd name="T17" fmla="*/ 25 h 36"/>
                  <a:gd name="T18" fmla="*/ 50 w 66"/>
                  <a:gd name="T19" fmla="*/ 24 h 36"/>
                  <a:gd name="T20" fmla="*/ 61 w 66"/>
                  <a:gd name="T21" fmla="*/ 22 h 36"/>
                  <a:gd name="T22" fmla="*/ 61 w 66"/>
                  <a:gd name="T23" fmla="*/ 20 h 36"/>
                  <a:gd name="T24" fmla="*/ 59 w 66"/>
                  <a:gd name="T25" fmla="*/ 15 h 36"/>
                  <a:gd name="T26" fmla="*/ 61 w 66"/>
                  <a:gd name="T27" fmla="*/ 15 h 36"/>
                  <a:gd name="T28" fmla="*/ 64 w 66"/>
                  <a:gd name="T29" fmla="*/ 13 h 36"/>
                  <a:gd name="T30" fmla="*/ 66 w 66"/>
                  <a:gd name="T31" fmla="*/ 7 h 36"/>
                  <a:gd name="T32" fmla="*/ 64 w 66"/>
                  <a:gd name="T33" fmla="*/ 4 h 36"/>
                  <a:gd name="T34" fmla="*/ 63 w 66"/>
                  <a:gd name="T35" fmla="*/ 2 h 36"/>
                  <a:gd name="T36" fmla="*/ 64 w 66"/>
                  <a:gd name="T37" fmla="*/ 0 h 36"/>
                  <a:gd name="T38" fmla="*/ 59 w 66"/>
                  <a:gd name="T39" fmla="*/ 4 h 36"/>
                  <a:gd name="T40" fmla="*/ 57 w 66"/>
                  <a:gd name="T41" fmla="*/ 2 h 36"/>
                  <a:gd name="T42" fmla="*/ 54 w 66"/>
                  <a:gd name="T43" fmla="*/ 2 h 36"/>
                  <a:gd name="T44" fmla="*/ 54 w 66"/>
                  <a:gd name="T45" fmla="*/ 4 h 36"/>
                  <a:gd name="T46" fmla="*/ 54 w 66"/>
                  <a:gd name="T47" fmla="*/ 11 h 36"/>
                  <a:gd name="T48" fmla="*/ 54 w 66"/>
                  <a:gd name="T49" fmla="*/ 13 h 36"/>
                  <a:gd name="T50" fmla="*/ 47 w 66"/>
                  <a:gd name="T51" fmla="*/ 15 h 36"/>
                  <a:gd name="T52" fmla="*/ 45 w 66"/>
                  <a:gd name="T53" fmla="*/ 18 h 36"/>
                  <a:gd name="T54" fmla="*/ 43 w 66"/>
                  <a:gd name="T55" fmla="*/ 22 h 36"/>
                  <a:gd name="T56" fmla="*/ 39 w 66"/>
                  <a:gd name="T57" fmla="*/ 22 h 36"/>
                  <a:gd name="T58" fmla="*/ 34 w 66"/>
                  <a:gd name="T59" fmla="*/ 22 h 36"/>
                  <a:gd name="T60" fmla="*/ 32 w 66"/>
                  <a:gd name="T61" fmla="*/ 24 h 36"/>
                  <a:gd name="T62" fmla="*/ 29 w 66"/>
                  <a:gd name="T63" fmla="*/ 24 h 36"/>
                  <a:gd name="T64" fmla="*/ 29 w 66"/>
                  <a:gd name="T65" fmla="*/ 18 h 36"/>
                  <a:gd name="T66" fmla="*/ 31 w 66"/>
                  <a:gd name="T67" fmla="*/ 16 h 36"/>
                  <a:gd name="T68" fmla="*/ 29 w 66"/>
                  <a:gd name="T69" fmla="*/ 15 h 36"/>
                  <a:gd name="T70" fmla="*/ 27 w 66"/>
                  <a:gd name="T71" fmla="*/ 22 h 36"/>
                  <a:gd name="T72" fmla="*/ 25 w 66"/>
                  <a:gd name="T73" fmla="*/ 22 h 36"/>
                  <a:gd name="T74" fmla="*/ 16 w 66"/>
                  <a:gd name="T75" fmla="*/ 24 h 36"/>
                  <a:gd name="T76" fmla="*/ 13 w 66"/>
                  <a:gd name="T77" fmla="*/ 24 h 36"/>
                  <a:gd name="T78" fmla="*/ 7 w 66"/>
                  <a:gd name="T79" fmla="*/ 24 h 36"/>
                  <a:gd name="T80" fmla="*/ 6 w 66"/>
                  <a:gd name="T81" fmla="*/ 24 h 36"/>
                  <a:gd name="T82" fmla="*/ 2 w 66"/>
                  <a:gd name="T83" fmla="*/ 24 h 36"/>
                  <a:gd name="T84" fmla="*/ 0 w 66"/>
                  <a:gd name="T85" fmla="*/ 24 h 36"/>
                  <a:gd name="T86" fmla="*/ 0 w 66"/>
                  <a:gd name="T87" fmla="*/ 27 h 36"/>
                  <a:gd name="T88" fmla="*/ 2 w 66"/>
                  <a:gd name="T89" fmla="*/ 27 h 36"/>
                  <a:gd name="T90" fmla="*/ 6 w 66"/>
                  <a:gd name="T9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 h="36">
                    <a:moveTo>
                      <a:pt x="7" y="31"/>
                    </a:moveTo>
                    <a:lnTo>
                      <a:pt x="7" y="31"/>
                    </a:lnTo>
                    <a:lnTo>
                      <a:pt x="11" y="32"/>
                    </a:lnTo>
                    <a:lnTo>
                      <a:pt x="11" y="32"/>
                    </a:lnTo>
                    <a:lnTo>
                      <a:pt x="14" y="32"/>
                    </a:lnTo>
                    <a:lnTo>
                      <a:pt x="18" y="32"/>
                    </a:lnTo>
                    <a:lnTo>
                      <a:pt x="18" y="32"/>
                    </a:lnTo>
                    <a:lnTo>
                      <a:pt x="20" y="34"/>
                    </a:lnTo>
                    <a:lnTo>
                      <a:pt x="22" y="36"/>
                    </a:lnTo>
                    <a:lnTo>
                      <a:pt x="22" y="36"/>
                    </a:lnTo>
                    <a:lnTo>
                      <a:pt x="32" y="36"/>
                    </a:lnTo>
                    <a:lnTo>
                      <a:pt x="32" y="36"/>
                    </a:lnTo>
                    <a:lnTo>
                      <a:pt x="38" y="32"/>
                    </a:lnTo>
                    <a:lnTo>
                      <a:pt x="41" y="31"/>
                    </a:lnTo>
                    <a:lnTo>
                      <a:pt x="41" y="31"/>
                    </a:lnTo>
                    <a:lnTo>
                      <a:pt x="45" y="31"/>
                    </a:lnTo>
                    <a:lnTo>
                      <a:pt x="48" y="29"/>
                    </a:lnTo>
                    <a:lnTo>
                      <a:pt x="50" y="25"/>
                    </a:lnTo>
                    <a:lnTo>
                      <a:pt x="50" y="24"/>
                    </a:lnTo>
                    <a:lnTo>
                      <a:pt x="50" y="24"/>
                    </a:lnTo>
                    <a:lnTo>
                      <a:pt x="57" y="24"/>
                    </a:lnTo>
                    <a:lnTo>
                      <a:pt x="61" y="22"/>
                    </a:lnTo>
                    <a:lnTo>
                      <a:pt x="61" y="20"/>
                    </a:lnTo>
                    <a:lnTo>
                      <a:pt x="61" y="20"/>
                    </a:lnTo>
                    <a:lnTo>
                      <a:pt x="59" y="16"/>
                    </a:lnTo>
                    <a:lnTo>
                      <a:pt x="59" y="15"/>
                    </a:lnTo>
                    <a:lnTo>
                      <a:pt x="61" y="15"/>
                    </a:lnTo>
                    <a:lnTo>
                      <a:pt x="61" y="15"/>
                    </a:lnTo>
                    <a:lnTo>
                      <a:pt x="63" y="15"/>
                    </a:lnTo>
                    <a:lnTo>
                      <a:pt x="64" y="13"/>
                    </a:lnTo>
                    <a:lnTo>
                      <a:pt x="66" y="7"/>
                    </a:lnTo>
                    <a:lnTo>
                      <a:pt x="66" y="7"/>
                    </a:lnTo>
                    <a:lnTo>
                      <a:pt x="66" y="6"/>
                    </a:lnTo>
                    <a:lnTo>
                      <a:pt x="64" y="4"/>
                    </a:lnTo>
                    <a:lnTo>
                      <a:pt x="64" y="4"/>
                    </a:lnTo>
                    <a:lnTo>
                      <a:pt x="63" y="2"/>
                    </a:lnTo>
                    <a:lnTo>
                      <a:pt x="64" y="0"/>
                    </a:lnTo>
                    <a:lnTo>
                      <a:pt x="64" y="0"/>
                    </a:lnTo>
                    <a:lnTo>
                      <a:pt x="61" y="2"/>
                    </a:lnTo>
                    <a:lnTo>
                      <a:pt x="59" y="4"/>
                    </a:lnTo>
                    <a:lnTo>
                      <a:pt x="57" y="2"/>
                    </a:lnTo>
                    <a:lnTo>
                      <a:pt x="57" y="2"/>
                    </a:lnTo>
                    <a:lnTo>
                      <a:pt x="56" y="2"/>
                    </a:lnTo>
                    <a:lnTo>
                      <a:pt x="54" y="2"/>
                    </a:lnTo>
                    <a:lnTo>
                      <a:pt x="54" y="4"/>
                    </a:lnTo>
                    <a:lnTo>
                      <a:pt x="54" y="4"/>
                    </a:lnTo>
                    <a:lnTo>
                      <a:pt x="54" y="7"/>
                    </a:lnTo>
                    <a:lnTo>
                      <a:pt x="54" y="11"/>
                    </a:lnTo>
                    <a:lnTo>
                      <a:pt x="54" y="11"/>
                    </a:lnTo>
                    <a:lnTo>
                      <a:pt x="54" y="13"/>
                    </a:lnTo>
                    <a:lnTo>
                      <a:pt x="52" y="15"/>
                    </a:lnTo>
                    <a:lnTo>
                      <a:pt x="47" y="15"/>
                    </a:lnTo>
                    <a:lnTo>
                      <a:pt x="47" y="15"/>
                    </a:lnTo>
                    <a:lnTo>
                      <a:pt x="45" y="18"/>
                    </a:lnTo>
                    <a:lnTo>
                      <a:pt x="43" y="22"/>
                    </a:lnTo>
                    <a:lnTo>
                      <a:pt x="43" y="22"/>
                    </a:lnTo>
                    <a:lnTo>
                      <a:pt x="39" y="22"/>
                    </a:lnTo>
                    <a:lnTo>
                      <a:pt x="39" y="22"/>
                    </a:lnTo>
                    <a:lnTo>
                      <a:pt x="36" y="24"/>
                    </a:lnTo>
                    <a:lnTo>
                      <a:pt x="34" y="22"/>
                    </a:lnTo>
                    <a:lnTo>
                      <a:pt x="34" y="22"/>
                    </a:lnTo>
                    <a:lnTo>
                      <a:pt x="32" y="24"/>
                    </a:lnTo>
                    <a:lnTo>
                      <a:pt x="31" y="24"/>
                    </a:lnTo>
                    <a:lnTo>
                      <a:pt x="29" y="24"/>
                    </a:lnTo>
                    <a:lnTo>
                      <a:pt x="29" y="24"/>
                    </a:lnTo>
                    <a:lnTo>
                      <a:pt x="29" y="18"/>
                    </a:lnTo>
                    <a:lnTo>
                      <a:pt x="29" y="16"/>
                    </a:lnTo>
                    <a:lnTo>
                      <a:pt x="31" y="16"/>
                    </a:lnTo>
                    <a:lnTo>
                      <a:pt x="31" y="16"/>
                    </a:lnTo>
                    <a:lnTo>
                      <a:pt x="29" y="15"/>
                    </a:lnTo>
                    <a:lnTo>
                      <a:pt x="27" y="16"/>
                    </a:lnTo>
                    <a:lnTo>
                      <a:pt x="27" y="22"/>
                    </a:lnTo>
                    <a:lnTo>
                      <a:pt x="27" y="22"/>
                    </a:lnTo>
                    <a:lnTo>
                      <a:pt x="25" y="22"/>
                    </a:lnTo>
                    <a:lnTo>
                      <a:pt x="22" y="24"/>
                    </a:lnTo>
                    <a:lnTo>
                      <a:pt x="16" y="24"/>
                    </a:lnTo>
                    <a:lnTo>
                      <a:pt x="16" y="24"/>
                    </a:lnTo>
                    <a:lnTo>
                      <a:pt x="13" y="24"/>
                    </a:lnTo>
                    <a:lnTo>
                      <a:pt x="13" y="24"/>
                    </a:lnTo>
                    <a:lnTo>
                      <a:pt x="7" y="24"/>
                    </a:lnTo>
                    <a:lnTo>
                      <a:pt x="7" y="24"/>
                    </a:lnTo>
                    <a:lnTo>
                      <a:pt x="6" y="24"/>
                    </a:lnTo>
                    <a:lnTo>
                      <a:pt x="2" y="24"/>
                    </a:lnTo>
                    <a:lnTo>
                      <a:pt x="2" y="24"/>
                    </a:lnTo>
                    <a:lnTo>
                      <a:pt x="0" y="22"/>
                    </a:lnTo>
                    <a:lnTo>
                      <a:pt x="0" y="24"/>
                    </a:lnTo>
                    <a:lnTo>
                      <a:pt x="0" y="25"/>
                    </a:lnTo>
                    <a:lnTo>
                      <a:pt x="0" y="27"/>
                    </a:lnTo>
                    <a:lnTo>
                      <a:pt x="0" y="27"/>
                    </a:lnTo>
                    <a:lnTo>
                      <a:pt x="2" y="27"/>
                    </a:lnTo>
                    <a:lnTo>
                      <a:pt x="6" y="29"/>
                    </a:lnTo>
                    <a:lnTo>
                      <a:pt x="6" y="29"/>
                    </a:lnTo>
                    <a:lnTo>
                      <a:pt x="7" y="3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30" name="Freeform 2784"/>
              <p:cNvSpPr>
                <a:spLocks/>
              </p:cNvSpPr>
              <p:nvPr/>
            </p:nvSpPr>
            <p:spPr bwMode="auto">
              <a:xfrm>
                <a:off x="5098" y="2731"/>
                <a:ext cx="3" cy="3"/>
              </a:xfrm>
              <a:custGeom>
                <a:avLst/>
                <a:gdLst>
                  <a:gd name="T0" fmla="*/ 3 w 3"/>
                  <a:gd name="T1" fmla="*/ 3 h 3"/>
                  <a:gd name="T2" fmla="*/ 3 w 3"/>
                  <a:gd name="T3" fmla="*/ 3 h 3"/>
                  <a:gd name="T4" fmla="*/ 3 w 3"/>
                  <a:gd name="T5" fmla="*/ 3 h 3"/>
                  <a:gd name="T6" fmla="*/ 3 w 3"/>
                  <a:gd name="T7" fmla="*/ 1 h 3"/>
                  <a:gd name="T8" fmla="*/ 1 w 3"/>
                  <a:gd name="T9" fmla="*/ 0 h 3"/>
                  <a:gd name="T10" fmla="*/ 0 w 3"/>
                  <a:gd name="T11" fmla="*/ 1 h 3"/>
                  <a:gd name="T12" fmla="*/ 0 w 3"/>
                  <a:gd name="T13" fmla="*/ 1 h 3"/>
                  <a:gd name="T14" fmla="*/ 1 w 3"/>
                  <a:gd name="T15" fmla="*/ 3 h 3"/>
                  <a:gd name="T16" fmla="*/ 3 w 3"/>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3" y="3"/>
                    </a:moveTo>
                    <a:lnTo>
                      <a:pt x="3" y="3"/>
                    </a:lnTo>
                    <a:lnTo>
                      <a:pt x="3" y="3"/>
                    </a:lnTo>
                    <a:lnTo>
                      <a:pt x="3" y="1"/>
                    </a:lnTo>
                    <a:lnTo>
                      <a:pt x="1" y="0"/>
                    </a:lnTo>
                    <a:lnTo>
                      <a:pt x="0" y="1"/>
                    </a:lnTo>
                    <a:lnTo>
                      <a:pt x="0" y="1"/>
                    </a:lnTo>
                    <a:lnTo>
                      <a:pt x="1" y="3"/>
                    </a:lnTo>
                    <a:lnTo>
                      <a:pt x="3"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31" name="Freeform 2785"/>
              <p:cNvSpPr>
                <a:spLocks/>
              </p:cNvSpPr>
              <p:nvPr/>
            </p:nvSpPr>
            <p:spPr bwMode="auto">
              <a:xfrm>
                <a:off x="5098" y="2731"/>
                <a:ext cx="3" cy="3"/>
              </a:xfrm>
              <a:custGeom>
                <a:avLst/>
                <a:gdLst>
                  <a:gd name="T0" fmla="*/ 3 w 3"/>
                  <a:gd name="T1" fmla="*/ 3 h 3"/>
                  <a:gd name="T2" fmla="*/ 3 w 3"/>
                  <a:gd name="T3" fmla="*/ 3 h 3"/>
                  <a:gd name="T4" fmla="*/ 3 w 3"/>
                  <a:gd name="T5" fmla="*/ 3 h 3"/>
                  <a:gd name="T6" fmla="*/ 3 w 3"/>
                  <a:gd name="T7" fmla="*/ 1 h 3"/>
                  <a:gd name="T8" fmla="*/ 1 w 3"/>
                  <a:gd name="T9" fmla="*/ 0 h 3"/>
                  <a:gd name="T10" fmla="*/ 0 w 3"/>
                  <a:gd name="T11" fmla="*/ 1 h 3"/>
                  <a:gd name="T12" fmla="*/ 0 w 3"/>
                  <a:gd name="T13" fmla="*/ 1 h 3"/>
                  <a:gd name="T14" fmla="*/ 1 w 3"/>
                  <a:gd name="T15" fmla="*/ 3 h 3"/>
                  <a:gd name="T16" fmla="*/ 3 w 3"/>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3" y="3"/>
                    </a:moveTo>
                    <a:lnTo>
                      <a:pt x="3" y="3"/>
                    </a:lnTo>
                    <a:lnTo>
                      <a:pt x="3" y="3"/>
                    </a:lnTo>
                    <a:lnTo>
                      <a:pt x="3" y="1"/>
                    </a:lnTo>
                    <a:lnTo>
                      <a:pt x="1" y="0"/>
                    </a:lnTo>
                    <a:lnTo>
                      <a:pt x="0" y="1"/>
                    </a:lnTo>
                    <a:lnTo>
                      <a:pt x="0" y="1"/>
                    </a:lnTo>
                    <a:lnTo>
                      <a:pt x="1" y="3"/>
                    </a:lnTo>
                    <a:lnTo>
                      <a:pt x="3"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32" name="Freeform 2786"/>
              <p:cNvSpPr>
                <a:spLocks/>
              </p:cNvSpPr>
              <p:nvPr/>
            </p:nvSpPr>
            <p:spPr bwMode="auto">
              <a:xfrm>
                <a:off x="5099" y="2857"/>
                <a:ext cx="4" cy="6"/>
              </a:xfrm>
              <a:custGeom>
                <a:avLst/>
                <a:gdLst>
                  <a:gd name="T0" fmla="*/ 4 w 4"/>
                  <a:gd name="T1" fmla="*/ 6 h 6"/>
                  <a:gd name="T2" fmla="*/ 4 w 4"/>
                  <a:gd name="T3" fmla="*/ 6 h 6"/>
                  <a:gd name="T4" fmla="*/ 4 w 4"/>
                  <a:gd name="T5" fmla="*/ 2 h 6"/>
                  <a:gd name="T6" fmla="*/ 4 w 4"/>
                  <a:gd name="T7" fmla="*/ 0 h 6"/>
                  <a:gd name="T8" fmla="*/ 2 w 4"/>
                  <a:gd name="T9" fmla="*/ 0 h 6"/>
                  <a:gd name="T10" fmla="*/ 2 w 4"/>
                  <a:gd name="T11" fmla="*/ 0 h 6"/>
                  <a:gd name="T12" fmla="*/ 0 w 4"/>
                  <a:gd name="T13" fmla="*/ 2 h 6"/>
                  <a:gd name="T14" fmla="*/ 0 w 4"/>
                  <a:gd name="T15" fmla="*/ 4 h 6"/>
                  <a:gd name="T16" fmla="*/ 4 w 4"/>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4" y="6"/>
                    </a:moveTo>
                    <a:lnTo>
                      <a:pt x="4" y="6"/>
                    </a:lnTo>
                    <a:lnTo>
                      <a:pt x="4" y="2"/>
                    </a:lnTo>
                    <a:lnTo>
                      <a:pt x="4" y="0"/>
                    </a:lnTo>
                    <a:lnTo>
                      <a:pt x="2" y="0"/>
                    </a:lnTo>
                    <a:lnTo>
                      <a:pt x="2" y="0"/>
                    </a:lnTo>
                    <a:lnTo>
                      <a:pt x="0" y="2"/>
                    </a:lnTo>
                    <a:lnTo>
                      <a:pt x="0" y="4"/>
                    </a:lnTo>
                    <a:lnTo>
                      <a:pt x="4"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33" name="Freeform 2787"/>
              <p:cNvSpPr>
                <a:spLocks/>
              </p:cNvSpPr>
              <p:nvPr/>
            </p:nvSpPr>
            <p:spPr bwMode="auto">
              <a:xfrm>
                <a:off x="5099" y="2857"/>
                <a:ext cx="4" cy="6"/>
              </a:xfrm>
              <a:custGeom>
                <a:avLst/>
                <a:gdLst>
                  <a:gd name="T0" fmla="*/ 4 w 4"/>
                  <a:gd name="T1" fmla="*/ 6 h 6"/>
                  <a:gd name="T2" fmla="*/ 4 w 4"/>
                  <a:gd name="T3" fmla="*/ 6 h 6"/>
                  <a:gd name="T4" fmla="*/ 4 w 4"/>
                  <a:gd name="T5" fmla="*/ 2 h 6"/>
                  <a:gd name="T6" fmla="*/ 4 w 4"/>
                  <a:gd name="T7" fmla="*/ 0 h 6"/>
                  <a:gd name="T8" fmla="*/ 2 w 4"/>
                  <a:gd name="T9" fmla="*/ 0 h 6"/>
                  <a:gd name="T10" fmla="*/ 2 w 4"/>
                  <a:gd name="T11" fmla="*/ 0 h 6"/>
                  <a:gd name="T12" fmla="*/ 0 w 4"/>
                  <a:gd name="T13" fmla="*/ 2 h 6"/>
                  <a:gd name="T14" fmla="*/ 0 w 4"/>
                  <a:gd name="T15" fmla="*/ 4 h 6"/>
                  <a:gd name="T16" fmla="*/ 4 w 4"/>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4" y="6"/>
                    </a:moveTo>
                    <a:lnTo>
                      <a:pt x="4" y="6"/>
                    </a:lnTo>
                    <a:lnTo>
                      <a:pt x="4" y="2"/>
                    </a:lnTo>
                    <a:lnTo>
                      <a:pt x="4" y="0"/>
                    </a:lnTo>
                    <a:lnTo>
                      <a:pt x="2" y="0"/>
                    </a:lnTo>
                    <a:lnTo>
                      <a:pt x="2" y="0"/>
                    </a:lnTo>
                    <a:lnTo>
                      <a:pt x="0" y="2"/>
                    </a:lnTo>
                    <a:lnTo>
                      <a:pt x="0" y="4"/>
                    </a:lnTo>
                    <a:lnTo>
                      <a:pt x="4"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34" name="Freeform 2788"/>
              <p:cNvSpPr>
                <a:spLocks/>
              </p:cNvSpPr>
              <p:nvPr/>
            </p:nvSpPr>
            <p:spPr bwMode="auto">
              <a:xfrm>
                <a:off x="5105" y="2859"/>
                <a:ext cx="7" cy="6"/>
              </a:xfrm>
              <a:custGeom>
                <a:avLst/>
                <a:gdLst>
                  <a:gd name="T0" fmla="*/ 5 w 7"/>
                  <a:gd name="T1" fmla="*/ 6 h 6"/>
                  <a:gd name="T2" fmla="*/ 5 w 7"/>
                  <a:gd name="T3" fmla="*/ 6 h 6"/>
                  <a:gd name="T4" fmla="*/ 7 w 7"/>
                  <a:gd name="T5" fmla="*/ 4 h 6"/>
                  <a:gd name="T6" fmla="*/ 5 w 7"/>
                  <a:gd name="T7" fmla="*/ 4 h 6"/>
                  <a:gd name="T8" fmla="*/ 2 w 7"/>
                  <a:gd name="T9" fmla="*/ 0 h 6"/>
                  <a:gd name="T10" fmla="*/ 2 w 7"/>
                  <a:gd name="T11" fmla="*/ 0 h 6"/>
                  <a:gd name="T12" fmla="*/ 0 w 7"/>
                  <a:gd name="T13" fmla="*/ 0 h 6"/>
                  <a:gd name="T14" fmla="*/ 0 w 7"/>
                  <a:gd name="T15" fmla="*/ 2 h 6"/>
                  <a:gd name="T16" fmla="*/ 0 w 7"/>
                  <a:gd name="T17" fmla="*/ 4 h 6"/>
                  <a:gd name="T18" fmla="*/ 0 w 7"/>
                  <a:gd name="T19" fmla="*/ 6 h 6"/>
                  <a:gd name="T20" fmla="*/ 0 w 7"/>
                  <a:gd name="T21" fmla="*/ 6 h 6"/>
                  <a:gd name="T22" fmla="*/ 3 w 7"/>
                  <a:gd name="T23" fmla="*/ 6 h 6"/>
                  <a:gd name="T24" fmla="*/ 5 w 7"/>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6">
                    <a:moveTo>
                      <a:pt x="5" y="6"/>
                    </a:moveTo>
                    <a:lnTo>
                      <a:pt x="5" y="6"/>
                    </a:lnTo>
                    <a:lnTo>
                      <a:pt x="7" y="4"/>
                    </a:lnTo>
                    <a:lnTo>
                      <a:pt x="5" y="4"/>
                    </a:lnTo>
                    <a:lnTo>
                      <a:pt x="2" y="0"/>
                    </a:lnTo>
                    <a:lnTo>
                      <a:pt x="2" y="0"/>
                    </a:lnTo>
                    <a:lnTo>
                      <a:pt x="0" y="0"/>
                    </a:lnTo>
                    <a:lnTo>
                      <a:pt x="0" y="2"/>
                    </a:lnTo>
                    <a:lnTo>
                      <a:pt x="0" y="4"/>
                    </a:lnTo>
                    <a:lnTo>
                      <a:pt x="0" y="6"/>
                    </a:lnTo>
                    <a:lnTo>
                      <a:pt x="0" y="6"/>
                    </a:lnTo>
                    <a:lnTo>
                      <a:pt x="3" y="6"/>
                    </a:lnTo>
                    <a:lnTo>
                      <a:pt x="5"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35" name="Freeform 2789"/>
              <p:cNvSpPr>
                <a:spLocks/>
              </p:cNvSpPr>
              <p:nvPr/>
            </p:nvSpPr>
            <p:spPr bwMode="auto">
              <a:xfrm>
                <a:off x="5105" y="2859"/>
                <a:ext cx="7" cy="6"/>
              </a:xfrm>
              <a:custGeom>
                <a:avLst/>
                <a:gdLst>
                  <a:gd name="T0" fmla="*/ 5 w 7"/>
                  <a:gd name="T1" fmla="*/ 6 h 6"/>
                  <a:gd name="T2" fmla="*/ 5 w 7"/>
                  <a:gd name="T3" fmla="*/ 6 h 6"/>
                  <a:gd name="T4" fmla="*/ 7 w 7"/>
                  <a:gd name="T5" fmla="*/ 4 h 6"/>
                  <a:gd name="T6" fmla="*/ 5 w 7"/>
                  <a:gd name="T7" fmla="*/ 4 h 6"/>
                  <a:gd name="T8" fmla="*/ 2 w 7"/>
                  <a:gd name="T9" fmla="*/ 0 h 6"/>
                  <a:gd name="T10" fmla="*/ 2 w 7"/>
                  <a:gd name="T11" fmla="*/ 0 h 6"/>
                  <a:gd name="T12" fmla="*/ 0 w 7"/>
                  <a:gd name="T13" fmla="*/ 0 h 6"/>
                  <a:gd name="T14" fmla="*/ 0 w 7"/>
                  <a:gd name="T15" fmla="*/ 2 h 6"/>
                  <a:gd name="T16" fmla="*/ 0 w 7"/>
                  <a:gd name="T17" fmla="*/ 4 h 6"/>
                  <a:gd name="T18" fmla="*/ 0 w 7"/>
                  <a:gd name="T19" fmla="*/ 6 h 6"/>
                  <a:gd name="T20" fmla="*/ 0 w 7"/>
                  <a:gd name="T21" fmla="*/ 6 h 6"/>
                  <a:gd name="T22" fmla="*/ 3 w 7"/>
                  <a:gd name="T23" fmla="*/ 6 h 6"/>
                  <a:gd name="T24" fmla="*/ 5 w 7"/>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6">
                    <a:moveTo>
                      <a:pt x="5" y="6"/>
                    </a:moveTo>
                    <a:lnTo>
                      <a:pt x="5" y="6"/>
                    </a:lnTo>
                    <a:lnTo>
                      <a:pt x="7" y="4"/>
                    </a:lnTo>
                    <a:lnTo>
                      <a:pt x="5" y="4"/>
                    </a:lnTo>
                    <a:lnTo>
                      <a:pt x="2" y="0"/>
                    </a:lnTo>
                    <a:lnTo>
                      <a:pt x="2" y="0"/>
                    </a:lnTo>
                    <a:lnTo>
                      <a:pt x="0" y="0"/>
                    </a:lnTo>
                    <a:lnTo>
                      <a:pt x="0" y="2"/>
                    </a:lnTo>
                    <a:lnTo>
                      <a:pt x="0" y="4"/>
                    </a:lnTo>
                    <a:lnTo>
                      <a:pt x="0" y="6"/>
                    </a:lnTo>
                    <a:lnTo>
                      <a:pt x="0" y="6"/>
                    </a:lnTo>
                    <a:lnTo>
                      <a:pt x="3" y="6"/>
                    </a:lnTo>
                    <a:lnTo>
                      <a:pt x="5"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36" name="Freeform 2790"/>
              <p:cNvSpPr>
                <a:spLocks/>
              </p:cNvSpPr>
              <p:nvPr/>
            </p:nvSpPr>
            <p:spPr bwMode="auto">
              <a:xfrm>
                <a:off x="5105" y="2749"/>
                <a:ext cx="9" cy="3"/>
              </a:xfrm>
              <a:custGeom>
                <a:avLst/>
                <a:gdLst>
                  <a:gd name="T0" fmla="*/ 0 w 9"/>
                  <a:gd name="T1" fmla="*/ 1 h 3"/>
                  <a:gd name="T2" fmla="*/ 0 w 9"/>
                  <a:gd name="T3" fmla="*/ 1 h 3"/>
                  <a:gd name="T4" fmla="*/ 2 w 9"/>
                  <a:gd name="T5" fmla="*/ 1 h 3"/>
                  <a:gd name="T6" fmla="*/ 5 w 9"/>
                  <a:gd name="T7" fmla="*/ 3 h 3"/>
                  <a:gd name="T8" fmla="*/ 5 w 9"/>
                  <a:gd name="T9" fmla="*/ 3 h 3"/>
                  <a:gd name="T10" fmla="*/ 7 w 9"/>
                  <a:gd name="T11" fmla="*/ 3 h 3"/>
                  <a:gd name="T12" fmla="*/ 9 w 9"/>
                  <a:gd name="T13" fmla="*/ 1 h 3"/>
                  <a:gd name="T14" fmla="*/ 7 w 9"/>
                  <a:gd name="T15" fmla="*/ 0 h 3"/>
                  <a:gd name="T16" fmla="*/ 7 w 9"/>
                  <a:gd name="T17" fmla="*/ 0 h 3"/>
                  <a:gd name="T18" fmla="*/ 3 w 9"/>
                  <a:gd name="T19" fmla="*/ 0 h 3"/>
                  <a:gd name="T20" fmla="*/ 2 w 9"/>
                  <a:gd name="T21" fmla="*/ 0 h 3"/>
                  <a:gd name="T22" fmla="*/ 0 w 9"/>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3">
                    <a:moveTo>
                      <a:pt x="0" y="1"/>
                    </a:moveTo>
                    <a:lnTo>
                      <a:pt x="0" y="1"/>
                    </a:lnTo>
                    <a:lnTo>
                      <a:pt x="2" y="1"/>
                    </a:lnTo>
                    <a:lnTo>
                      <a:pt x="5" y="3"/>
                    </a:lnTo>
                    <a:lnTo>
                      <a:pt x="5" y="3"/>
                    </a:lnTo>
                    <a:lnTo>
                      <a:pt x="7" y="3"/>
                    </a:lnTo>
                    <a:lnTo>
                      <a:pt x="9" y="1"/>
                    </a:lnTo>
                    <a:lnTo>
                      <a:pt x="7" y="0"/>
                    </a:lnTo>
                    <a:lnTo>
                      <a:pt x="7" y="0"/>
                    </a:lnTo>
                    <a:lnTo>
                      <a:pt x="3" y="0"/>
                    </a:lnTo>
                    <a:lnTo>
                      <a:pt x="2" y="0"/>
                    </a:lnTo>
                    <a:lnTo>
                      <a:pt x="0"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37" name="Freeform 2791"/>
              <p:cNvSpPr>
                <a:spLocks/>
              </p:cNvSpPr>
              <p:nvPr/>
            </p:nvSpPr>
            <p:spPr bwMode="auto">
              <a:xfrm>
                <a:off x="5105" y="2749"/>
                <a:ext cx="9" cy="3"/>
              </a:xfrm>
              <a:custGeom>
                <a:avLst/>
                <a:gdLst>
                  <a:gd name="T0" fmla="*/ 0 w 9"/>
                  <a:gd name="T1" fmla="*/ 1 h 3"/>
                  <a:gd name="T2" fmla="*/ 0 w 9"/>
                  <a:gd name="T3" fmla="*/ 1 h 3"/>
                  <a:gd name="T4" fmla="*/ 2 w 9"/>
                  <a:gd name="T5" fmla="*/ 1 h 3"/>
                  <a:gd name="T6" fmla="*/ 5 w 9"/>
                  <a:gd name="T7" fmla="*/ 3 h 3"/>
                  <a:gd name="T8" fmla="*/ 5 w 9"/>
                  <a:gd name="T9" fmla="*/ 3 h 3"/>
                  <a:gd name="T10" fmla="*/ 7 w 9"/>
                  <a:gd name="T11" fmla="*/ 3 h 3"/>
                  <a:gd name="T12" fmla="*/ 9 w 9"/>
                  <a:gd name="T13" fmla="*/ 1 h 3"/>
                  <a:gd name="T14" fmla="*/ 7 w 9"/>
                  <a:gd name="T15" fmla="*/ 0 h 3"/>
                  <a:gd name="T16" fmla="*/ 7 w 9"/>
                  <a:gd name="T17" fmla="*/ 0 h 3"/>
                  <a:gd name="T18" fmla="*/ 3 w 9"/>
                  <a:gd name="T19" fmla="*/ 0 h 3"/>
                  <a:gd name="T20" fmla="*/ 2 w 9"/>
                  <a:gd name="T21" fmla="*/ 0 h 3"/>
                  <a:gd name="T22" fmla="*/ 0 w 9"/>
                  <a:gd name="T23"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3">
                    <a:moveTo>
                      <a:pt x="0" y="1"/>
                    </a:moveTo>
                    <a:lnTo>
                      <a:pt x="0" y="1"/>
                    </a:lnTo>
                    <a:lnTo>
                      <a:pt x="2" y="1"/>
                    </a:lnTo>
                    <a:lnTo>
                      <a:pt x="5" y="3"/>
                    </a:lnTo>
                    <a:lnTo>
                      <a:pt x="5" y="3"/>
                    </a:lnTo>
                    <a:lnTo>
                      <a:pt x="7" y="3"/>
                    </a:lnTo>
                    <a:lnTo>
                      <a:pt x="9" y="1"/>
                    </a:lnTo>
                    <a:lnTo>
                      <a:pt x="7" y="0"/>
                    </a:lnTo>
                    <a:lnTo>
                      <a:pt x="7" y="0"/>
                    </a:lnTo>
                    <a:lnTo>
                      <a:pt x="3" y="0"/>
                    </a:lnTo>
                    <a:lnTo>
                      <a:pt x="2" y="0"/>
                    </a:lnTo>
                    <a:lnTo>
                      <a:pt x="0"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38" name="Freeform 2792"/>
              <p:cNvSpPr>
                <a:spLocks/>
              </p:cNvSpPr>
              <p:nvPr/>
            </p:nvSpPr>
            <p:spPr bwMode="auto">
              <a:xfrm>
                <a:off x="5108" y="2879"/>
                <a:ext cx="2" cy="2"/>
              </a:xfrm>
              <a:custGeom>
                <a:avLst/>
                <a:gdLst>
                  <a:gd name="T0" fmla="*/ 2 w 2"/>
                  <a:gd name="T1" fmla="*/ 2 h 2"/>
                  <a:gd name="T2" fmla="*/ 2 w 2"/>
                  <a:gd name="T3" fmla="*/ 2 h 2"/>
                  <a:gd name="T4" fmla="*/ 2 w 2"/>
                  <a:gd name="T5" fmla="*/ 0 h 2"/>
                  <a:gd name="T6" fmla="*/ 0 w 2"/>
                  <a:gd name="T7" fmla="*/ 0 h 2"/>
                  <a:gd name="T8" fmla="*/ 0 w 2"/>
                  <a:gd name="T9" fmla="*/ 2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2" y="2"/>
                    </a:lnTo>
                    <a:lnTo>
                      <a:pt x="2" y="0"/>
                    </a:lnTo>
                    <a:lnTo>
                      <a:pt x="0" y="0"/>
                    </a:lnTo>
                    <a:lnTo>
                      <a:pt x="0" y="2"/>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39" name="Freeform 2793"/>
              <p:cNvSpPr>
                <a:spLocks/>
              </p:cNvSpPr>
              <p:nvPr/>
            </p:nvSpPr>
            <p:spPr bwMode="auto">
              <a:xfrm>
                <a:off x="5108" y="2879"/>
                <a:ext cx="2" cy="2"/>
              </a:xfrm>
              <a:custGeom>
                <a:avLst/>
                <a:gdLst>
                  <a:gd name="T0" fmla="*/ 2 w 2"/>
                  <a:gd name="T1" fmla="*/ 2 h 2"/>
                  <a:gd name="T2" fmla="*/ 2 w 2"/>
                  <a:gd name="T3" fmla="*/ 2 h 2"/>
                  <a:gd name="T4" fmla="*/ 2 w 2"/>
                  <a:gd name="T5" fmla="*/ 0 h 2"/>
                  <a:gd name="T6" fmla="*/ 0 w 2"/>
                  <a:gd name="T7" fmla="*/ 0 h 2"/>
                  <a:gd name="T8" fmla="*/ 0 w 2"/>
                  <a:gd name="T9" fmla="*/ 2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2" y="2"/>
                    </a:lnTo>
                    <a:lnTo>
                      <a:pt x="2" y="0"/>
                    </a:lnTo>
                    <a:lnTo>
                      <a:pt x="0" y="0"/>
                    </a:lnTo>
                    <a:lnTo>
                      <a:pt x="0" y="2"/>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40" name="Freeform 2794"/>
              <p:cNvSpPr>
                <a:spLocks/>
              </p:cNvSpPr>
              <p:nvPr/>
            </p:nvSpPr>
            <p:spPr bwMode="auto">
              <a:xfrm>
                <a:off x="5108" y="2866"/>
                <a:ext cx="9" cy="6"/>
              </a:xfrm>
              <a:custGeom>
                <a:avLst/>
                <a:gdLst>
                  <a:gd name="T0" fmla="*/ 2 w 9"/>
                  <a:gd name="T1" fmla="*/ 4 h 6"/>
                  <a:gd name="T2" fmla="*/ 2 w 9"/>
                  <a:gd name="T3" fmla="*/ 4 h 6"/>
                  <a:gd name="T4" fmla="*/ 4 w 9"/>
                  <a:gd name="T5" fmla="*/ 4 h 6"/>
                  <a:gd name="T6" fmla="*/ 4 w 9"/>
                  <a:gd name="T7" fmla="*/ 4 h 6"/>
                  <a:gd name="T8" fmla="*/ 4 w 9"/>
                  <a:gd name="T9" fmla="*/ 4 h 6"/>
                  <a:gd name="T10" fmla="*/ 4 w 9"/>
                  <a:gd name="T11" fmla="*/ 6 h 6"/>
                  <a:gd name="T12" fmla="*/ 6 w 9"/>
                  <a:gd name="T13" fmla="*/ 6 h 6"/>
                  <a:gd name="T14" fmla="*/ 6 w 9"/>
                  <a:gd name="T15" fmla="*/ 6 h 6"/>
                  <a:gd name="T16" fmla="*/ 7 w 9"/>
                  <a:gd name="T17" fmla="*/ 6 h 6"/>
                  <a:gd name="T18" fmla="*/ 9 w 9"/>
                  <a:gd name="T19" fmla="*/ 6 h 6"/>
                  <a:gd name="T20" fmla="*/ 7 w 9"/>
                  <a:gd name="T21" fmla="*/ 2 h 6"/>
                  <a:gd name="T22" fmla="*/ 7 w 9"/>
                  <a:gd name="T23" fmla="*/ 2 h 6"/>
                  <a:gd name="T24" fmla="*/ 7 w 9"/>
                  <a:gd name="T25" fmla="*/ 4 h 6"/>
                  <a:gd name="T26" fmla="*/ 7 w 9"/>
                  <a:gd name="T27" fmla="*/ 4 h 6"/>
                  <a:gd name="T28" fmla="*/ 4 w 9"/>
                  <a:gd name="T29" fmla="*/ 2 h 6"/>
                  <a:gd name="T30" fmla="*/ 0 w 9"/>
                  <a:gd name="T31" fmla="*/ 0 h 6"/>
                  <a:gd name="T32" fmla="*/ 0 w 9"/>
                  <a:gd name="T33" fmla="*/ 0 h 6"/>
                  <a:gd name="T34" fmla="*/ 2 w 9"/>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6">
                    <a:moveTo>
                      <a:pt x="2" y="4"/>
                    </a:moveTo>
                    <a:lnTo>
                      <a:pt x="2" y="4"/>
                    </a:lnTo>
                    <a:lnTo>
                      <a:pt x="4" y="4"/>
                    </a:lnTo>
                    <a:lnTo>
                      <a:pt x="4" y="4"/>
                    </a:lnTo>
                    <a:lnTo>
                      <a:pt x="4" y="4"/>
                    </a:lnTo>
                    <a:lnTo>
                      <a:pt x="4" y="6"/>
                    </a:lnTo>
                    <a:lnTo>
                      <a:pt x="6" y="6"/>
                    </a:lnTo>
                    <a:lnTo>
                      <a:pt x="6" y="6"/>
                    </a:lnTo>
                    <a:lnTo>
                      <a:pt x="7" y="6"/>
                    </a:lnTo>
                    <a:lnTo>
                      <a:pt x="9" y="6"/>
                    </a:lnTo>
                    <a:lnTo>
                      <a:pt x="7" y="2"/>
                    </a:lnTo>
                    <a:lnTo>
                      <a:pt x="7" y="2"/>
                    </a:lnTo>
                    <a:lnTo>
                      <a:pt x="7" y="4"/>
                    </a:lnTo>
                    <a:lnTo>
                      <a:pt x="7" y="4"/>
                    </a:lnTo>
                    <a:lnTo>
                      <a:pt x="4" y="2"/>
                    </a:lnTo>
                    <a:lnTo>
                      <a:pt x="0" y="0"/>
                    </a:lnTo>
                    <a:lnTo>
                      <a:pt x="0" y="0"/>
                    </a:lnTo>
                    <a:lnTo>
                      <a:pt x="2"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41" name="Freeform 2795"/>
              <p:cNvSpPr>
                <a:spLocks/>
              </p:cNvSpPr>
              <p:nvPr/>
            </p:nvSpPr>
            <p:spPr bwMode="auto">
              <a:xfrm>
                <a:off x="5108" y="2866"/>
                <a:ext cx="9" cy="6"/>
              </a:xfrm>
              <a:custGeom>
                <a:avLst/>
                <a:gdLst>
                  <a:gd name="T0" fmla="*/ 2 w 9"/>
                  <a:gd name="T1" fmla="*/ 4 h 6"/>
                  <a:gd name="T2" fmla="*/ 2 w 9"/>
                  <a:gd name="T3" fmla="*/ 4 h 6"/>
                  <a:gd name="T4" fmla="*/ 4 w 9"/>
                  <a:gd name="T5" fmla="*/ 4 h 6"/>
                  <a:gd name="T6" fmla="*/ 4 w 9"/>
                  <a:gd name="T7" fmla="*/ 4 h 6"/>
                  <a:gd name="T8" fmla="*/ 4 w 9"/>
                  <a:gd name="T9" fmla="*/ 4 h 6"/>
                  <a:gd name="T10" fmla="*/ 4 w 9"/>
                  <a:gd name="T11" fmla="*/ 6 h 6"/>
                  <a:gd name="T12" fmla="*/ 6 w 9"/>
                  <a:gd name="T13" fmla="*/ 6 h 6"/>
                  <a:gd name="T14" fmla="*/ 6 w 9"/>
                  <a:gd name="T15" fmla="*/ 6 h 6"/>
                  <a:gd name="T16" fmla="*/ 7 w 9"/>
                  <a:gd name="T17" fmla="*/ 6 h 6"/>
                  <a:gd name="T18" fmla="*/ 9 w 9"/>
                  <a:gd name="T19" fmla="*/ 6 h 6"/>
                  <a:gd name="T20" fmla="*/ 7 w 9"/>
                  <a:gd name="T21" fmla="*/ 2 h 6"/>
                  <a:gd name="T22" fmla="*/ 7 w 9"/>
                  <a:gd name="T23" fmla="*/ 2 h 6"/>
                  <a:gd name="T24" fmla="*/ 7 w 9"/>
                  <a:gd name="T25" fmla="*/ 4 h 6"/>
                  <a:gd name="T26" fmla="*/ 7 w 9"/>
                  <a:gd name="T27" fmla="*/ 4 h 6"/>
                  <a:gd name="T28" fmla="*/ 4 w 9"/>
                  <a:gd name="T29" fmla="*/ 2 h 6"/>
                  <a:gd name="T30" fmla="*/ 0 w 9"/>
                  <a:gd name="T31" fmla="*/ 0 h 6"/>
                  <a:gd name="T32" fmla="*/ 0 w 9"/>
                  <a:gd name="T33" fmla="*/ 0 h 6"/>
                  <a:gd name="T34" fmla="*/ 2 w 9"/>
                  <a:gd name="T35"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 h="6">
                    <a:moveTo>
                      <a:pt x="2" y="4"/>
                    </a:moveTo>
                    <a:lnTo>
                      <a:pt x="2" y="4"/>
                    </a:lnTo>
                    <a:lnTo>
                      <a:pt x="4" y="4"/>
                    </a:lnTo>
                    <a:lnTo>
                      <a:pt x="4" y="4"/>
                    </a:lnTo>
                    <a:lnTo>
                      <a:pt x="4" y="4"/>
                    </a:lnTo>
                    <a:lnTo>
                      <a:pt x="4" y="6"/>
                    </a:lnTo>
                    <a:lnTo>
                      <a:pt x="6" y="6"/>
                    </a:lnTo>
                    <a:lnTo>
                      <a:pt x="6" y="6"/>
                    </a:lnTo>
                    <a:lnTo>
                      <a:pt x="7" y="6"/>
                    </a:lnTo>
                    <a:lnTo>
                      <a:pt x="9" y="6"/>
                    </a:lnTo>
                    <a:lnTo>
                      <a:pt x="7" y="2"/>
                    </a:lnTo>
                    <a:lnTo>
                      <a:pt x="7" y="2"/>
                    </a:lnTo>
                    <a:lnTo>
                      <a:pt x="7" y="4"/>
                    </a:lnTo>
                    <a:lnTo>
                      <a:pt x="7" y="4"/>
                    </a:lnTo>
                    <a:lnTo>
                      <a:pt x="4" y="2"/>
                    </a:lnTo>
                    <a:lnTo>
                      <a:pt x="0" y="0"/>
                    </a:lnTo>
                    <a:lnTo>
                      <a:pt x="0" y="0"/>
                    </a:lnTo>
                    <a:lnTo>
                      <a:pt x="2"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42" name="Freeform 2796"/>
              <p:cNvSpPr>
                <a:spLocks/>
              </p:cNvSpPr>
              <p:nvPr/>
            </p:nvSpPr>
            <p:spPr bwMode="auto">
              <a:xfrm>
                <a:off x="5115" y="2845"/>
                <a:ext cx="2" cy="5"/>
              </a:xfrm>
              <a:custGeom>
                <a:avLst/>
                <a:gdLst>
                  <a:gd name="T0" fmla="*/ 2 w 2"/>
                  <a:gd name="T1" fmla="*/ 5 h 5"/>
                  <a:gd name="T2" fmla="*/ 2 w 2"/>
                  <a:gd name="T3" fmla="*/ 5 h 5"/>
                  <a:gd name="T4" fmla="*/ 0 w 2"/>
                  <a:gd name="T5" fmla="*/ 4 h 5"/>
                  <a:gd name="T6" fmla="*/ 2 w 2"/>
                  <a:gd name="T7" fmla="*/ 0 h 5"/>
                  <a:gd name="T8" fmla="*/ 2 w 2"/>
                  <a:gd name="T9" fmla="*/ 0 h 5"/>
                  <a:gd name="T10" fmla="*/ 0 w 2"/>
                  <a:gd name="T11" fmla="*/ 0 h 5"/>
                  <a:gd name="T12" fmla="*/ 0 w 2"/>
                  <a:gd name="T13" fmla="*/ 2 h 5"/>
                  <a:gd name="T14" fmla="*/ 2 w 2"/>
                  <a:gd name="T15" fmla="*/ 2 h 5"/>
                  <a:gd name="T16" fmla="*/ 2 w 2"/>
                  <a:gd name="T17" fmla="*/ 2 h 5"/>
                  <a:gd name="T18" fmla="*/ 0 w 2"/>
                  <a:gd name="T19" fmla="*/ 4 h 5"/>
                  <a:gd name="T20" fmla="*/ 2 w 2"/>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2" y="5"/>
                    </a:moveTo>
                    <a:lnTo>
                      <a:pt x="2" y="5"/>
                    </a:lnTo>
                    <a:lnTo>
                      <a:pt x="0" y="4"/>
                    </a:lnTo>
                    <a:lnTo>
                      <a:pt x="2" y="0"/>
                    </a:lnTo>
                    <a:lnTo>
                      <a:pt x="2" y="0"/>
                    </a:lnTo>
                    <a:lnTo>
                      <a:pt x="0" y="0"/>
                    </a:lnTo>
                    <a:lnTo>
                      <a:pt x="0" y="2"/>
                    </a:lnTo>
                    <a:lnTo>
                      <a:pt x="2" y="2"/>
                    </a:lnTo>
                    <a:lnTo>
                      <a:pt x="2" y="2"/>
                    </a:lnTo>
                    <a:lnTo>
                      <a:pt x="0" y="4"/>
                    </a:lnTo>
                    <a:lnTo>
                      <a:pt x="2"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43" name="Freeform 2797"/>
              <p:cNvSpPr>
                <a:spLocks/>
              </p:cNvSpPr>
              <p:nvPr/>
            </p:nvSpPr>
            <p:spPr bwMode="auto">
              <a:xfrm>
                <a:off x="5115" y="2845"/>
                <a:ext cx="2" cy="5"/>
              </a:xfrm>
              <a:custGeom>
                <a:avLst/>
                <a:gdLst>
                  <a:gd name="T0" fmla="*/ 2 w 2"/>
                  <a:gd name="T1" fmla="*/ 5 h 5"/>
                  <a:gd name="T2" fmla="*/ 2 w 2"/>
                  <a:gd name="T3" fmla="*/ 5 h 5"/>
                  <a:gd name="T4" fmla="*/ 0 w 2"/>
                  <a:gd name="T5" fmla="*/ 4 h 5"/>
                  <a:gd name="T6" fmla="*/ 2 w 2"/>
                  <a:gd name="T7" fmla="*/ 0 h 5"/>
                  <a:gd name="T8" fmla="*/ 2 w 2"/>
                  <a:gd name="T9" fmla="*/ 0 h 5"/>
                  <a:gd name="T10" fmla="*/ 0 w 2"/>
                  <a:gd name="T11" fmla="*/ 0 h 5"/>
                  <a:gd name="T12" fmla="*/ 0 w 2"/>
                  <a:gd name="T13" fmla="*/ 2 h 5"/>
                  <a:gd name="T14" fmla="*/ 2 w 2"/>
                  <a:gd name="T15" fmla="*/ 2 h 5"/>
                  <a:gd name="T16" fmla="*/ 2 w 2"/>
                  <a:gd name="T17" fmla="*/ 2 h 5"/>
                  <a:gd name="T18" fmla="*/ 0 w 2"/>
                  <a:gd name="T19" fmla="*/ 4 h 5"/>
                  <a:gd name="T20" fmla="*/ 2 w 2"/>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2" y="5"/>
                    </a:moveTo>
                    <a:lnTo>
                      <a:pt x="2" y="5"/>
                    </a:lnTo>
                    <a:lnTo>
                      <a:pt x="0" y="4"/>
                    </a:lnTo>
                    <a:lnTo>
                      <a:pt x="2" y="0"/>
                    </a:lnTo>
                    <a:lnTo>
                      <a:pt x="2" y="0"/>
                    </a:lnTo>
                    <a:lnTo>
                      <a:pt x="0" y="0"/>
                    </a:lnTo>
                    <a:lnTo>
                      <a:pt x="0" y="2"/>
                    </a:lnTo>
                    <a:lnTo>
                      <a:pt x="2" y="2"/>
                    </a:lnTo>
                    <a:lnTo>
                      <a:pt x="2" y="2"/>
                    </a:lnTo>
                    <a:lnTo>
                      <a:pt x="0" y="4"/>
                    </a:lnTo>
                    <a:lnTo>
                      <a:pt x="2"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44" name="Freeform 2798"/>
              <p:cNvSpPr>
                <a:spLocks/>
              </p:cNvSpPr>
              <p:nvPr/>
            </p:nvSpPr>
            <p:spPr bwMode="auto">
              <a:xfrm>
                <a:off x="5119" y="2752"/>
                <a:ext cx="36" cy="36"/>
              </a:xfrm>
              <a:custGeom>
                <a:avLst/>
                <a:gdLst>
                  <a:gd name="T0" fmla="*/ 29 w 36"/>
                  <a:gd name="T1" fmla="*/ 20 h 36"/>
                  <a:gd name="T2" fmla="*/ 29 w 36"/>
                  <a:gd name="T3" fmla="*/ 20 h 36"/>
                  <a:gd name="T4" fmla="*/ 25 w 36"/>
                  <a:gd name="T5" fmla="*/ 16 h 36"/>
                  <a:gd name="T6" fmla="*/ 23 w 36"/>
                  <a:gd name="T7" fmla="*/ 14 h 36"/>
                  <a:gd name="T8" fmla="*/ 23 w 36"/>
                  <a:gd name="T9" fmla="*/ 14 h 36"/>
                  <a:gd name="T10" fmla="*/ 20 w 36"/>
                  <a:gd name="T11" fmla="*/ 11 h 36"/>
                  <a:gd name="T12" fmla="*/ 16 w 36"/>
                  <a:gd name="T13" fmla="*/ 9 h 36"/>
                  <a:gd name="T14" fmla="*/ 16 w 36"/>
                  <a:gd name="T15" fmla="*/ 9 h 36"/>
                  <a:gd name="T16" fmla="*/ 11 w 36"/>
                  <a:gd name="T17" fmla="*/ 5 h 36"/>
                  <a:gd name="T18" fmla="*/ 7 w 36"/>
                  <a:gd name="T19" fmla="*/ 4 h 36"/>
                  <a:gd name="T20" fmla="*/ 7 w 36"/>
                  <a:gd name="T21" fmla="*/ 4 h 36"/>
                  <a:gd name="T22" fmla="*/ 5 w 36"/>
                  <a:gd name="T23" fmla="*/ 4 h 36"/>
                  <a:gd name="T24" fmla="*/ 5 w 36"/>
                  <a:gd name="T25" fmla="*/ 2 h 36"/>
                  <a:gd name="T26" fmla="*/ 5 w 36"/>
                  <a:gd name="T27" fmla="*/ 2 h 36"/>
                  <a:gd name="T28" fmla="*/ 4 w 36"/>
                  <a:gd name="T29" fmla="*/ 0 h 36"/>
                  <a:gd name="T30" fmla="*/ 0 w 36"/>
                  <a:gd name="T31" fmla="*/ 0 h 36"/>
                  <a:gd name="T32" fmla="*/ 0 w 36"/>
                  <a:gd name="T33" fmla="*/ 0 h 36"/>
                  <a:gd name="T34" fmla="*/ 0 w 36"/>
                  <a:gd name="T35" fmla="*/ 0 h 36"/>
                  <a:gd name="T36" fmla="*/ 0 w 36"/>
                  <a:gd name="T37" fmla="*/ 0 h 36"/>
                  <a:gd name="T38" fmla="*/ 0 w 36"/>
                  <a:gd name="T39" fmla="*/ 0 h 36"/>
                  <a:gd name="T40" fmla="*/ 4 w 36"/>
                  <a:gd name="T41" fmla="*/ 4 h 36"/>
                  <a:gd name="T42" fmla="*/ 4 w 36"/>
                  <a:gd name="T43" fmla="*/ 4 h 36"/>
                  <a:gd name="T44" fmla="*/ 11 w 36"/>
                  <a:gd name="T45" fmla="*/ 7 h 36"/>
                  <a:gd name="T46" fmla="*/ 11 w 36"/>
                  <a:gd name="T47" fmla="*/ 7 h 36"/>
                  <a:gd name="T48" fmla="*/ 16 w 36"/>
                  <a:gd name="T49" fmla="*/ 13 h 36"/>
                  <a:gd name="T50" fmla="*/ 16 w 36"/>
                  <a:gd name="T51" fmla="*/ 13 h 36"/>
                  <a:gd name="T52" fmla="*/ 21 w 36"/>
                  <a:gd name="T53" fmla="*/ 14 h 36"/>
                  <a:gd name="T54" fmla="*/ 21 w 36"/>
                  <a:gd name="T55" fmla="*/ 14 h 36"/>
                  <a:gd name="T56" fmla="*/ 25 w 36"/>
                  <a:gd name="T57" fmla="*/ 18 h 36"/>
                  <a:gd name="T58" fmla="*/ 29 w 36"/>
                  <a:gd name="T59" fmla="*/ 23 h 36"/>
                  <a:gd name="T60" fmla="*/ 29 w 36"/>
                  <a:gd name="T61" fmla="*/ 23 h 36"/>
                  <a:gd name="T62" fmla="*/ 29 w 36"/>
                  <a:gd name="T63" fmla="*/ 27 h 36"/>
                  <a:gd name="T64" fmla="*/ 29 w 36"/>
                  <a:gd name="T65" fmla="*/ 29 h 36"/>
                  <a:gd name="T66" fmla="*/ 29 w 36"/>
                  <a:gd name="T67" fmla="*/ 29 h 36"/>
                  <a:gd name="T68" fmla="*/ 29 w 36"/>
                  <a:gd name="T69" fmla="*/ 32 h 36"/>
                  <a:gd name="T70" fmla="*/ 30 w 36"/>
                  <a:gd name="T71" fmla="*/ 36 h 36"/>
                  <a:gd name="T72" fmla="*/ 30 w 36"/>
                  <a:gd name="T73" fmla="*/ 36 h 36"/>
                  <a:gd name="T74" fmla="*/ 34 w 36"/>
                  <a:gd name="T75" fmla="*/ 30 h 36"/>
                  <a:gd name="T76" fmla="*/ 36 w 36"/>
                  <a:gd name="T77" fmla="*/ 25 h 36"/>
                  <a:gd name="T78" fmla="*/ 36 w 36"/>
                  <a:gd name="T79" fmla="*/ 25 h 36"/>
                  <a:gd name="T80" fmla="*/ 32 w 36"/>
                  <a:gd name="T81" fmla="*/ 22 h 36"/>
                  <a:gd name="T82" fmla="*/ 32 w 36"/>
                  <a:gd name="T83" fmla="*/ 22 h 36"/>
                  <a:gd name="T84" fmla="*/ 30 w 36"/>
                  <a:gd name="T85" fmla="*/ 20 h 36"/>
                  <a:gd name="T86" fmla="*/ 29 w 36"/>
                  <a:gd name="T87"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36">
                    <a:moveTo>
                      <a:pt x="29" y="20"/>
                    </a:moveTo>
                    <a:lnTo>
                      <a:pt x="29" y="20"/>
                    </a:lnTo>
                    <a:lnTo>
                      <a:pt x="25" y="16"/>
                    </a:lnTo>
                    <a:lnTo>
                      <a:pt x="23" y="14"/>
                    </a:lnTo>
                    <a:lnTo>
                      <a:pt x="23" y="14"/>
                    </a:lnTo>
                    <a:lnTo>
                      <a:pt x="20" y="11"/>
                    </a:lnTo>
                    <a:lnTo>
                      <a:pt x="16" y="9"/>
                    </a:lnTo>
                    <a:lnTo>
                      <a:pt x="16" y="9"/>
                    </a:lnTo>
                    <a:lnTo>
                      <a:pt x="11" y="5"/>
                    </a:lnTo>
                    <a:lnTo>
                      <a:pt x="7" y="4"/>
                    </a:lnTo>
                    <a:lnTo>
                      <a:pt x="7" y="4"/>
                    </a:lnTo>
                    <a:lnTo>
                      <a:pt x="5" y="4"/>
                    </a:lnTo>
                    <a:lnTo>
                      <a:pt x="5" y="2"/>
                    </a:lnTo>
                    <a:lnTo>
                      <a:pt x="5" y="2"/>
                    </a:lnTo>
                    <a:lnTo>
                      <a:pt x="4" y="0"/>
                    </a:lnTo>
                    <a:lnTo>
                      <a:pt x="0" y="0"/>
                    </a:lnTo>
                    <a:lnTo>
                      <a:pt x="0" y="0"/>
                    </a:lnTo>
                    <a:lnTo>
                      <a:pt x="0" y="0"/>
                    </a:lnTo>
                    <a:lnTo>
                      <a:pt x="0" y="0"/>
                    </a:lnTo>
                    <a:lnTo>
                      <a:pt x="0" y="0"/>
                    </a:lnTo>
                    <a:lnTo>
                      <a:pt x="4" y="4"/>
                    </a:lnTo>
                    <a:lnTo>
                      <a:pt x="4" y="4"/>
                    </a:lnTo>
                    <a:lnTo>
                      <a:pt x="11" y="7"/>
                    </a:lnTo>
                    <a:lnTo>
                      <a:pt x="11" y="7"/>
                    </a:lnTo>
                    <a:lnTo>
                      <a:pt x="16" y="13"/>
                    </a:lnTo>
                    <a:lnTo>
                      <a:pt x="16" y="13"/>
                    </a:lnTo>
                    <a:lnTo>
                      <a:pt x="21" y="14"/>
                    </a:lnTo>
                    <a:lnTo>
                      <a:pt x="21" y="14"/>
                    </a:lnTo>
                    <a:lnTo>
                      <a:pt x="25" y="18"/>
                    </a:lnTo>
                    <a:lnTo>
                      <a:pt x="29" y="23"/>
                    </a:lnTo>
                    <a:lnTo>
                      <a:pt x="29" y="23"/>
                    </a:lnTo>
                    <a:lnTo>
                      <a:pt x="29" y="27"/>
                    </a:lnTo>
                    <a:lnTo>
                      <a:pt x="29" y="29"/>
                    </a:lnTo>
                    <a:lnTo>
                      <a:pt x="29" y="29"/>
                    </a:lnTo>
                    <a:lnTo>
                      <a:pt x="29" y="32"/>
                    </a:lnTo>
                    <a:lnTo>
                      <a:pt x="30" y="36"/>
                    </a:lnTo>
                    <a:lnTo>
                      <a:pt x="30" y="36"/>
                    </a:lnTo>
                    <a:lnTo>
                      <a:pt x="34" y="30"/>
                    </a:lnTo>
                    <a:lnTo>
                      <a:pt x="36" y="25"/>
                    </a:lnTo>
                    <a:lnTo>
                      <a:pt x="36" y="25"/>
                    </a:lnTo>
                    <a:lnTo>
                      <a:pt x="32" y="22"/>
                    </a:lnTo>
                    <a:lnTo>
                      <a:pt x="32" y="22"/>
                    </a:lnTo>
                    <a:lnTo>
                      <a:pt x="30" y="20"/>
                    </a:lnTo>
                    <a:lnTo>
                      <a:pt x="29" y="2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45" name="Freeform 2799"/>
              <p:cNvSpPr>
                <a:spLocks/>
              </p:cNvSpPr>
              <p:nvPr/>
            </p:nvSpPr>
            <p:spPr bwMode="auto">
              <a:xfrm>
                <a:off x="5119" y="2752"/>
                <a:ext cx="36" cy="36"/>
              </a:xfrm>
              <a:custGeom>
                <a:avLst/>
                <a:gdLst>
                  <a:gd name="T0" fmla="*/ 29 w 36"/>
                  <a:gd name="T1" fmla="*/ 20 h 36"/>
                  <a:gd name="T2" fmla="*/ 29 w 36"/>
                  <a:gd name="T3" fmla="*/ 20 h 36"/>
                  <a:gd name="T4" fmla="*/ 25 w 36"/>
                  <a:gd name="T5" fmla="*/ 16 h 36"/>
                  <a:gd name="T6" fmla="*/ 23 w 36"/>
                  <a:gd name="T7" fmla="*/ 14 h 36"/>
                  <a:gd name="T8" fmla="*/ 23 w 36"/>
                  <a:gd name="T9" fmla="*/ 14 h 36"/>
                  <a:gd name="T10" fmla="*/ 20 w 36"/>
                  <a:gd name="T11" fmla="*/ 11 h 36"/>
                  <a:gd name="T12" fmla="*/ 16 w 36"/>
                  <a:gd name="T13" fmla="*/ 9 h 36"/>
                  <a:gd name="T14" fmla="*/ 16 w 36"/>
                  <a:gd name="T15" fmla="*/ 9 h 36"/>
                  <a:gd name="T16" fmla="*/ 11 w 36"/>
                  <a:gd name="T17" fmla="*/ 5 h 36"/>
                  <a:gd name="T18" fmla="*/ 7 w 36"/>
                  <a:gd name="T19" fmla="*/ 4 h 36"/>
                  <a:gd name="T20" fmla="*/ 7 w 36"/>
                  <a:gd name="T21" fmla="*/ 4 h 36"/>
                  <a:gd name="T22" fmla="*/ 5 w 36"/>
                  <a:gd name="T23" fmla="*/ 4 h 36"/>
                  <a:gd name="T24" fmla="*/ 5 w 36"/>
                  <a:gd name="T25" fmla="*/ 2 h 36"/>
                  <a:gd name="T26" fmla="*/ 5 w 36"/>
                  <a:gd name="T27" fmla="*/ 2 h 36"/>
                  <a:gd name="T28" fmla="*/ 4 w 36"/>
                  <a:gd name="T29" fmla="*/ 0 h 36"/>
                  <a:gd name="T30" fmla="*/ 0 w 36"/>
                  <a:gd name="T31" fmla="*/ 0 h 36"/>
                  <a:gd name="T32" fmla="*/ 0 w 36"/>
                  <a:gd name="T33" fmla="*/ 0 h 36"/>
                  <a:gd name="T34" fmla="*/ 0 w 36"/>
                  <a:gd name="T35" fmla="*/ 0 h 36"/>
                  <a:gd name="T36" fmla="*/ 0 w 36"/>
                  <a:gd name="T37" fmla="*/ 0 h 36"/>
                  <a:gd name="T38" fmla="*/ 0 w 36"/>
                  <a:gd name="T39" fmla="*/ 0 h 36"/>
                  <a:gd name="T40" fmla="*/ 4 w 36"/>
                  <a:gd name="T41" fmla="*/ 4 h 36"/>
                  <a:gd name="T42" fmla="*/ 4 w 36"/>
                  <a:gd name="T43" fmla="*/ 4 h 36"/>
                  <a:gd name="T44" fmla="*/ 11 w 36"/>
                  <a:gd name="T45" fmla="*/ 7 h 36"/>
                  <a:gd name="T46" fmla="*/ 11 w 36"/>
                  <a:gd name="T47" fmla="*/ 7 h 36"/>
                  <a:gd name="T48" fmla="*/ 16 w 36"/>
                  <a:gd name="T49" fmla="*/ 13 h 36"/>
                  <a:gd name="T50" fmla="*/ 16 w 36"/>
                  <a:gd name="T51" fmla="*/ 13 h 36"/>
                  <a:gd name="T52" fmla="*/ 21 w 36"/>
                  <a:gd name="T53" fmla="*/ 14 h 36"/>
                  <a:gd name="T54" fmla="*/ 21 w 36"/>
                  <a:gd name="T55" fmla="*/ 14 h 36"/>
                  <a:gd name="T56" fmla="*/ 25 w 36"/>
                  <a:gd name="T57" fmla="*/ 18 h 36"/>
                  <a:gd name="T58" fmla="*/ 29 w 36"/>
                  <a:gd name="T59" fmla="*/ 23 h 36"/>
                  <a:gd name="T60" fmla="*/ 29 w 36"/>
                  <a:gd name="T61" fmla="*/ 23 h 36"/>
                  <a:gd name="T62" fmla="*/ 29 w 36"/>
                  <a:gd name="T63" fmla="*/ 27 h 36"/>
                  <a:gd name="T64" fmla="*/ 29 w 36"/>
                  <a:gd name="T65" fmla="*/ 29 h 36"/>
                  <a:gd name="T66" fmla="*/ 29 w 36"/>
                  <a:gd name="T67" fmla="*/ 29 h 36"/>
                  <a:gd name="T68" fmla="*/ 29 w 36"/>
                  <a:gd name="T69" fmla="*/ 32 h 36"/>
                  <a:gd name="T70" fmla="*/ 30 w 36"/>
                  <a:gd name="T71" fmla="*/ 36 h 36"/>
                  <a:gd name="T72" fmla="*/ 30 w 36"/>
                  <a:gd name="T73" fmla="*/ 36 h 36"/>
                  <a:gd name="T74" fmla="*/ 34 w 36"/>
                  <a:gd name="T75" fmla="*/ 30 h 36"/>
                  <a:gd name="T76" fmla="*/ 36 w 36"/>
                  <a:gd name="T77" fmla="*/ 25 h 36"/>
                  <a:gd name="T78" fmla="*/ 36 w 36"/>
                  <a:gd name="T79" fmla="*/ 25 h 36"/>
                  <a:gd name="T80" fmla="*/ 32 w 36"/>
                  <a:gd name="T81" fmla="*/ 22 h 36"/>
                  <a:gd name="T82" fmla="*/ 32 w 36"/>
                  <a:gd name="T83" fmla="*/ 22 h 36"/>
                  <a:gd name="T84" fmla="*/ 30 w 36"/>
                  <a:gd name="T85" fmla="*/ 20 h 36"/>
                  <a:gd name="T86" fmla="*/ 29 w 36"/>
                  <a:gd name="T87"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 h="36">
                    <a:moveTo>
                      <a:pt x="29" y="20"/>
                    </a:moveTo>
                    <a:lnTo>
                      <a:pt x="29" y="20"/>
                    </a:lnTo>
                    <a:lnTo>
                      <a:pt x="25" y="16"/>
                    </a:lnTo>
                    <a:lnTo>
                      <a:pt x="23" y="14"/>
                    </a:lnTo>
                    <a:lnTo>
                      <a:pt x="23" y="14"/>
                    </a:lnTo>
                    <a:lnTo>
                      <a:pt x="20" y="11"/>
                    </a:lnTo>
                    <a:lnTo>
                      <a:pt x="16" y="9"/>
                    </a:lnTo>
                    <a:lnTo>
                      <a:pt x="16" y="9"/>
                    </a:lnTo>
                    <a:lnTo>
                      <a:pt x="11" y="5"/>
                    </a:lnTo>
                    <a:lnTo>
                      <a:pt x="7" y="4"/>
                    </a:lnTo>
                    <a:lnTo>
                      <a:pt x="7" y="4"/>
                    </a:lnTo>
                    <a:lnTo>
                      <a:pt x="5" y="4"/>
                    </a:lnTo>
                    <a:lnTo>
                      <a:pt x="5" y="2"/>
                    </a:lnTo>
                    <a:lnTo>
                      <a:pt x="5" y="2"/>
                    </a:lnTo>
                    <a:lnTo>
                      <a:pt x="4" y="0"/>
                    </a:lnTo>
                    <a:lnTo>
                      <a:pt x="0" y="0"/>
                    </a:lnTo>
                    <a:lnTo>
                      <a:pt x="0" y="0"/>
                    </a:lnTo>
                    <a:lnTo>
                      <a:pt x="0" y="0"/>
                    </a:lnTo>
                    <a:lnTo>
                      <a:pt x="0" y="0"/>
                    </a:lnTo>
                    <a:lnTo>
                      <a:pt x="0" y="0"/>
                    </a:lnTo>
                    <a:lnTo>
                      <a:pt x="4" y="4"/>
                    </a:lnTo>
                    <a:lnTo>
                      <a:pt x="4" y="4"/>
                    </a:lnTo>
                    <a:lnTo>
                      <a:pt x="11" y="7"/>
                    </a:lnTo>
                    <a:lnTo>
                      <a:pt x="11" y="7"/>
                    </a:lnTo>
                    <a:lnTo>
                      <a:pt x="16" y="13"/>
                    </a:lnTo>
                    <a:lnTo>
                      <a:pt x="16" y="13"/>
                    </a:lnTo>
                    <a:lnTo>
                      <a:pt x="21" y="14"/>
                    </a:lnTo>
                    <a:lnTo>
                      <a:pt x="21" y="14"/>
                    </a:lnTo>
                    <a:lnTo>
                      <a:pt x="25" y="18"/>
                    </a:lnTo>
                    <a:lnTo>
                      <a:pt x="29" y="23"/>
                    </a:lnTo>
                    <a:lnTo>
                      <a:pt x="29" y="23"/>
                    </a:lnTo>
                    <a:lnTo>
                      <a:pt x="29" y="27"/>
                    </a:lnTo>
                    <a:lnTo>
                      <a:pt x="29" y="29"/>
                    </a:lnTo>
                    <a:lnTo>
                      <a:pt x="29" y="29"/>
                    </a:lnTo>
                    <a:lnTo>
                      <a:pt x="29" y="32"/>
                    </a:lnTo>
                    <a:lnTo>
                      <a:pt x="30" y="36"/>
                    </a:lnTo>
                    <a:lnTo>
                      <a:pt x="30" y="36"/>
                    </a:lnTo>
                    <a:lnTo>
                      <a:pt x="34" y="30"/>
                    </a:lnTo>
                    <a:lnTo>
                      <a:pt x="36" y="25"/>
                    </a:lnTo>
                    <a:lnTo>
                      <a:pt x="36" y="25"/>
                    </a:lnTo>
                    <a:lnTo>
                      <a:pt x="32" y="22"/>
                    </a:lnTo>
                    <a:lnTo>
                      <a:pt x="32" y="22"/>
                    </a:lnTo>
                    <a:lnTo>
                      <a:pt x="30" y="20"/>
                    </a:lnTo>
                    <a:lnTo>
                      <a:pt x="29" y="2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46" name="Freeform 2800"/>
              <p:cNvSpPr>
                <a:spLocks/>
              </p:cNvSpPr>
              <p:nvPr/>
            </p:nvSpPr>
            <p:spPr bwMode="auto">
              <a:xfrm>
                <a:off x="5137" y="2881"/>
                <a:ext cx="3" cy="0"/>
              </a:xfrm>
              <a:custGeom>
                <a:avLst/>
                <a:gdLst>
                  <a:gd name="T0" fmla="*/ 2 w 3"/>
                  <a:gd name="T1" fmla="*/ 2 w 3"/>
                  <a:gd name="T2" fmla="*/ 3 w 3"/>
                  <a:gd name="T3" fmla="*/ 3 w 3"/>
                  <a:gd name="T4" fmla="*/ 0 w 3"/>
                  <a:gd name="T5" fmla="*/ 0 w 3"/>
                  <a:gd name="T6" fmla="*/ 2 w 3"/>
                </a:gdLst>
                <a:ahLst/>
                <a:cxnLst>
                  <a:cxn ang="0">
                    <a:pos x="T0" y="0"/>
                  </a:cxn>
                  <a:cxn ang="0">
                    <a:pos x="T1" y="0"/>
                  </a:cxn>
                  <a:cxn ang="0">
                    <a:pos x="T2" y="0"/>
                  </a:cxn>
                  <a:cxn ang="0">
                    <a:pos x="T3" y="0"/>
                  </a:cxn>
                  <a:cxn ang="0">
                    <a:pos x="T4" y="0"/>
                  </a:cxn>
                  <a:cxn ang="0">
                    <a:pos x="T5" y="0"/>
                  </a:cxn>
                  <a:cxn ang="0">
                    <a:pos x="T6" y="0"/>
                  </a:cxn>
                </a:cxnLst>
                <a:rect l="0" t="0" r="r" b="b"/>
                <a:pathLst>
                  <a:path w="3">
                    <a:moveTo>
                      <a:pt x="2" y="0"/>
                    </a:moveTo>
                    <a:lnTo>
                      <a:pt x="2" y="0"/>
                    </a:lnTo>
                    <a:lnTo>
                      <a:pt x="3" y="0"/>
                    </a:lnTo>
                    <a:lnTo>
                      <a:pt x="3" y="0"/>
                    </a:lnTo>
                    <a:lnTo>
                      <a:pt x="0" y="0"/>
                    </a:lnTo>
                    <a:lnTo>
                      <a:pt x="0"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47" name="Freeform 2801"/>
              <p:cNvSpPr>
                <a:spLocks/>
              </p:cNvSpPr>
              <p:nvPr/>
            </p:nvSpPr>
            <p:spPr bwMode="auto">
              <a:xfrm>
                <a:off x="5137" y="2881"/>
                <a:ext cx="3" cy="0"/>
              </a:xfrm>
              <a:custGeom>
                <a:avLst/>
                <a:gdLst>
                  <a:gd name="T0" fmla="*/ 2 w 3"/>
                  <a:gd name="T1" fmla="*/ 2 w 3"/>
                  <a:gd name="T2" fmla="*/ 3 w 3"/>
                  <a:gd name="T3" fmla="*/ 3 w 3"/>
                  <a:gd name="T4" fmla="*/ 0 w 3"/>
                  <a:gd name="T5" fmla="*/ 0 w 3"/>
                  <a:gd name="T6" fmla="*/ 2 w 3"/>
                </a:gdLst>
                <a:ahLst/>
                <a:cxnLst>
                  <a:cxn ang="0">
                    <a:pos x="T0" y="0"/>
                  </a:cxn>
                  <a:cxn ang="0">
                    <a:pos x="T1" y="0"/>
                  </a:cxn>
                  <a:cxn ang="0">
                    <a:pos x="T2" y="0"/>
                  </a:cxn>
                  <a:cxn ang="0">
                    <a:pos x="T3" y="0"/>
                  </a:cxn>
                  <a:cxn ang="0">
                    <a:pos x="T4" y="0"/>
                  </a:cxn>
                  <a:cxn ang="0">
                    <a:pos x="T5" y="0"/>
                  </a:cxn>
                  <a:cxn ang="0">
                    <a:pos x="T6" y="0"/>
                  </a:cxn>
                </a:cxnLst>
                <a:rect l="0" t="0" r="r" b="b"/>
                <a:pathLst>
                  <a:path w="3">
                    <a:moveTo>
                      <a:pt x="2" y="0"/>
                    </a:moveTo>
                    <a:lnTo>
                      <a:pt x="2" y="0"/>
                    </a:lnTo>
                    <a:lnTo>
                      <a:pt x="3" y="0"/>
                    </a:lnTo>
                    <a:lnTo>
                      <a:pt x="3" y="0"/>
                    </a:lnTo>
                    <a:lnTo>
                      <a:pt x="0" y="0"/>
                    </a:lnTo>
                    <a:lnTo>
                      <a:pt x="0"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48" name="Freeform 2802"/>
              <p:cNvSpPr>
                <a:spLocks/>
              </p:cNvSpPr>
              <p:nvPr/>
            </p:nvSpPr>
            <p:spPr bwMode="auto">
              <a:xfrm>
                <a:off x="5139" y="2854"/>
                <a:ext cx="7" cy="3"/>
              </a:xfrm>
              <a:custGeom>
                <a:avLst/>
                <a:gdLst>
                  <a:gd name="T0" fmla="*/ 5 w 7"/>
                  <a:gd name="T1" fmla="*/ 3 h 3"/>
                  <a:gd name="T2" fmla="*/ 5 w 7"/>
                  <a:gd name="T3" fmla="*/ 3 h 3"/>
                  <a:gd name="T4" fmla="*/ 7 w 7"/>
                  <a:gd name="T5" fmla="*/ 2 h 3"/>
                  <a:gd name="T6" fmla="*/ 5 w 7"/>
                  <a:gd name="T7" fmla="*/ 0 h 3"/>
                  <a:gd name="T8" fmla="*/ 3 w 7"/>
                  <a:gd name="T9" fmla="*/ 0 h 3"/>
                  <a:gd name="T10" fmla="*/ 0 w 7"/>
                  <a:gd name="T11" fmla="*/ 0 h 3"/>
                  <a:gd name="T12" fmla="*/ 0 w 7"/>
                  <a:gd name="T13" fmla="*/ 0 h 3"/>
                  <a:gd name="T14" fmla="*/ 5 w 7"/>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5" y="3"/>
                    </a:moveTo>
                    <a:lnTo>
                      <a:pt x="5" y="3"/>
                    </a:lnTo>
                    <a:lnTo>
                      <a:pt x="7" y="2"/>
                    </a:lnTo>
                    <a:lnTo>
                      <a:pt x="5" y="0"/>
                    </a:lnTo>
                    <a:lnTo>
                      <a:pt x="3" y="0"/>
                    </a:lnTo>
                    <a:lnTo>
                      <a:pt x="0" y="0"/>
                    </a:lnTo>
                    <a:lnTo>
                      <a:pt x="0" y="0"/>
                    </a:lnTo>
                    <a:lnTo>
                      <a:pt x="5"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49" name="Freeform 2803"/>
              <p:cNvSpPr>
                <a:spLocks/>
              </p:cNvSpPr>
              <p:nvPr/>
            </p:nvSpPr>
            <p:spPr bwMode="auto">
              <a:xfrm>
                <a:off x="5139" y="2854"/>
                <a:ext cx="7" cy="3"/>
              </a:xfrm>
              <a:custGeom>
                <a:avLst/>
                <a:gdLst>
                  <a:gd name="T0" fmla="*/ 5 w 7"/>
                  <a:gd name="T1" fmla="*/ 3 h 3"/>
                  <a:gd name="T2" fmla="*/ 5 w 7"/>
                  <a:gd name="T3" fmla="*/ 3 h 3"/>
                  <a:gd name="T4" fmla="*/ 7 w 7"/>
                  <a:gd name="T5" fmla="*/ 2 h 3"/>
                  <a:gd name="T6" fmla="*/ 5 w 7"/>
                  <a:gd name="T7" fmla="*/ 0 h 3"/>
                  <a:gd name="T8" fmla="*/ 3 w 7"/>
                  <a:gd name="T9" fmla="*/ 0 h 3"/>
                  <a:gd name="T10" fmla="*/ 0 w 7"/>
                  <a:gd name="T11" fmla="*/ 0 h 3"/>
                  <a:gd name="T12" fmla="*/ 0 w 7"/>
                  <a:gd name="T13" fmla="*/ 0 h 3"/>
                  <a:gd name="T14" fmla="*/ 5 w 7"/>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5" y="3"/>
                    </a:moveTo>
                    <a:lnTo>
                      <a:pt x="5" y="3"/>
                    </a:lnTo>
                    <a:lnTo>
                      <a:pt x="7" y="2"/>
                    </a:lnTo>
                    <a:lnTo>
                      <a:pt x="5" y="0"/>
                    </a:lnTo>
                    <a:lnTo>
                      <a:pt x="3" y="0"/>
                    </a:lnTo>
                    <a:lnTo>
                      <a:pt x="0" y="0"/>
                    </a:lnTo>
                    <a:lnTo>
                      <a:pt x="0" y="0"/>
                    </a:lnTo>
                    <a:lnTo>
                      <a:pt x="5"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50" name="Freeform 2804"/>
              <p:cNvSpPr>
                <a:spLocks/>
              </p:cNvSpPr>
              <p:nvPr/>
            </p:nvSpPr>
            <p:spPr bwMode="auto">
              <a:xfrm>
                <a:off x="5146" y="2891"/>
                <a:ext cx="7" cy="6"/>
              </a:xfrm>
              <a:custGeom>
                <a:avLst/>
                <a:gdLst>
                  <a:gd name="T0" fmla="*/ 3 w 7"/>
                  <a:gd name="T1" fmla="*/ 6 h 6"/>
                  <a:gd name="T2" fmla="*/ 3 w 7"/>
                  <a:gd name="T3" fmla="*/ 6 h 6"/>
                  <a:gd name="T4" fmla="*/ 7 w 7"/>
                  <a:gd name="T5" fmla="*/ 4 h 6"/>
                  <a:gd name="T6" fmla="*/ 7 w 7"/>
                  <a:gd name="T7" fmla="*/ 4 h 6"/>
                  <a:gd name="T8" fmla="*/ 3 w 7"/>
                  <a:gd name="T9" fmla="*/ 2 h 6"/>
                  <a:gd name="T10" fmla="*/ 0 w 7"/>
                  <a:gd name="T11" fmla="*/ 0 h 6"/>
                  <a:gd name="T12" fmla="*/ 0 w 7"/>
                  <a:gd name="T13" fmla="*/ 0 h 6"/>
                  <a:gd name="T14" fmla="*/ 2 w 7"/>
                  <a:gd name="T15" fmla="*/ 4 h 6"/>
                  <a:gd name="T16" fmla="*/ 2 w 7"/>
                  <a:gd name="T17" fmla="*/ 4 h 6"/>
                  <a:gd name="T18" fmla="*/ 3 w 7"/>
                  <a:gd name="T19" fmla="*/ 4 h 6"/>
                  <a:gd name="T20" fmla="*/ 3 w 7"/>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3" y="6"/>
                    </a:moveTo>
                    <a:lnTo>
                      <a:pt x="3" y="6"/>
                    </a:lnTo>
                    <a:lnTo>
                      <a:pt x="7" y="4"/>
                    </a:lnTo>
                    <a:lnTo>
                      <a:pt x="7" y="4"/>
                    </a:lnTo>
                    <a:lnTo>
                      <a:pt x="3" y="2"/>
                    </a:lnTo>
                    <a:lnTo>
                      <a:pt x="0" y="0"/>
                    </a:lnTo>
                    <a:lnTo>
                      <a:pt x="0" y="0"/>
                    </a:lnTo>
                    <a:lnTo>
                      <a:pt x="2" y="4"/>
                    </a:lnTo>
                    <a:lnTo>
                      <a:pt x="2" y="4"/>
                    </a:lnTo>
                    <a:lnTo>
                      <a:pt x="3" y="4"/>
                    </a:lnTo>
                    <a:lnTo>
                      <a:pt x="3"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51" name="Freeform 2805"/>
              <p:cNvSpPr>
                <a:spLocks/>
              </p:cNvSpPr>
              <p:nvPr/>
            </p:nvSpPr>
            <p:spPr bwMode="auto">
              <a:xfrm>
                <a:off x="5146" y="2891"/>
                <a:ext cx="7" cy="6"/>
              </a:xfrm>
              <a:custGeom>
                <a:avLst/>
                <a:gdLst>
                  <a:gd name="T0" fmla="*/ 3 w 7"/>
                  <a:gd name="T1" fmla="*/ 6 h 6"/>
                  <a:gd name="T2" fmla="*/ 3 w 7"/>
                  <a:gd name="T3" fmla="*/ 6 h 6"/>
                  <a:gd name="T4" fmla="*/ 7 w 7"/>
                  <a:gd name="T5" fmla="*/ 4 h 6"/>
                  <a:gd name="T6" fmla="*/ 7 w 7"/>
                  <a:gd name="T7" fmla="*/ 4 h 6"/>
                  <a:gd name="T8" fmla="*/ 3 w 7"/>
                  <a:gd name="T9" fmla="*/ 2 h 6"/>
                  <a:gd name="T10" fmla="*/ 0 w 7"/>
                  <a:gd name="T11" fmla="*/ 0 h 6"/>
                  <a:gd name="T12" fmla="*/ 0 w 7"/>
                  <a:gd name="T13" fmla="*/ 0 h 6"/>
                  <a:gd name="T14" fmla="*/ 2 w 7"/>
                  <a:gd name="T15" fmla="*/ 4 h 6"/>
                  <a:gd name="T16" fmla="*/ 2 w 7"/>
                  <a:gd name="T17" fmla="*/ 4 h 6"/>
                  <a:gd name="T18" fmla="*/ 3 w 7"/>
                  <a:gd name="T19" fmla="*/ 4 h 6"/>
                  <a:gd name="T20" fmla="*/ 3 w 7"/>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3" y="6"/>
                    </a:moveTo>
                    <a:lnTo>
                      <a:pt x="3" y="6"/>
                    </a:lnTo>
                    <a:lnTo>
                      <a:pt x="7" y="4"/>
                    </a:lnTo>
                    <a:lnTo>
                      <a:pt x="7" y="4"/>
                    </a:lnTo>
                    <a:lnTo>
                      <a:pt x="3" y="2"/>
                    </a:lnTo>
                    <a:lnTo>
                      <a:pt x="0" y="0"/>
                    </a:lnTo>
                    <a:lnTo>
                      <a:pt x="0" y="0"/>
                    </a:lnTo>
                    <a:lnTo>
                      <a:pt x="2" y="4"/>
                    </a:lnTo>
                    <a:lnTo>
                      <a:pt x="2" y="4"/>
                    </a:lnTo>
                    <a:lnTo>
                      <a:pt x="3" y="4"/>
                    </a:lnTo>
                    <a:lnTo>
                      <a:pt x="3"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52" name="Freeform 2806"/>
              <p:cNvSpPr>
                <a:spLocks/>
              </p:cNvSpPr>
              <p:nvPr/>
            </p:nvSpPr>
            <p:spPr bwMode="auto">
              <a:xfrm>
                <a:off x="5146" y="2757"/>
                <a:ext cx="2" cy="4"/>
              </a:xfrm>
              <a:custGeom>
                <a:avLst/>
                <a:gdLst>
                  <a:gd name="T0" fmla="*/ 2 w 2"/>
                  <a:gd name="T1" fmla="*/ 4 h 4"/>
                  <a:gd name="T2" fmla="*/ 2 w 2"/>
                  <a:gd name="T3" fmla="*/ 4 h 4"/>
                  <a:gd name="T4" fmla="*/ 2 w 2"/>
                  <a:gd name="T5" fmla="*/ 2 h 4"/>
                  <a:gd name="T6" fmla="*/ 0 w 2"/>
                  <a:gd name="T7" fmla="*/ 0 h 4"/>
                  <a:gd name="T8" fmla="*/ 0 w 2"/>
                  <a:gd name="T9" fmla="*/ 0 h 4"/>
                  <a:gd name="T10" fmla="*/ 0 w 2"/>
                  <a:gd name="T11" fmla="*/ 2 h 4"/>
                  <a:gd name="T12" fmla="*/ 2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4"/>
                    </a:moveTo>
                    <a:lnTo>
                      <a:pt x="2" y="4"/>
                    </a:lnTo>
                    <a:lnTo>
                      <a:pt x="2" y="2"/>
                    </a:lnTo>
                    <a:lnTo>
                      <a:pt x="0" y="0"/>
                    </a:lnTo>
                    <a:lnTo>
                      <a:pt x="0" y="0"/>
                    </a:lnTo>
                    <a:lnTo>
                      <a:pt x="0" y="2"/>
                    </a:lnTo>
                    <a:lnTo>
                      <a:pt x="2"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53" name="Freeform 2807"/>
              <p:cNvSpPr>
                <a:spLocks/>
              </p:cNvSpPr>
              <p:nvPr/>
            </p:nvSpPr>
            <p:spPr bwMode="auto">
              <a:xfrm>
                <a:off x="5146" y="2757"/>
                <a:ext cx="2" cy="4"/>
              </a:xfrm>
              <a:custGeom>
                <a:avLst/>
                <a:gdLst>
                  <a:gd name="T0" fmla="*/ 2 w 2"/>
                  <a:gd name="T1" fmla="*/ 4 h 4"/>
                  <a:gd name="T2" fmla="*/ 2 w 2"/>
                  <a:gd name="T3" fmla="*/ 4 h 4"/>
                  <a:gd name="T4" fmla="*/ 2 w 2"/>
                  <a:gd name="T5" fmla="*/ 2 h 4"/>
                  <a:gd name="T6" fmla="*/ 0 w 2"/>
                  <a:gd name="T7" fmla="*/ 0 h 4"/>
                  <a:gd name="T8" fmla="*/ 0 w 2"/>
                  <a:gd name="T9" fmla="*/ 0 h 4"/>
                  <a:gd name="T10" fmla="*/ 0 w 2"/>
                  <a:gd name="T11" fmla="*/ 2 h 4"/>
                  <a:gd name="T12" fmla="*/ 2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4"/>
                    </a:moveTo>
                    <a:lnTo>
                      <a:pt x="2" y="4"/>
                    </a:lnTo>
                    <a:lnTo>
                      <a:pt x="2" y="2"/>
                    </a:lnTo>
                    <a:lnTo>
                      <a:pt x="0" y="0"/>
                    </a:lnTo>
                    <a:lnTo>
                      <a:pt x="0" y="0"/>
                    </a:lnTo>
                    <a:lnTo>
                      <a:pt x="0" y="2"/>
                    </a:lnTo>
                    <a:lnTo>
                      <a:pt x="2"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54" name="Freeform 2808"/>
              <p:cNvSpPr>
                <a:spLocks/>
              </p:cNvSpPr>
              <p:nvPr/>
            </p:nvSpPr>
            <p:spPr bwMode="auto">
              <a:xfrm>
                <a:off x="5158" y="2891"/>
                <a:ext cx="4" cy="2"/>
              </a:xfrm>
              <a:custGeom>
                <a:avLst/>
                <a:gdLst>
                  <a:gd name="T0" fmla="*/ 2 w 4"/>
                  <a:gd name="T1" fmla="*/ 2 h 2"/>
                  <a:gd name="T2" fmla="*/ 2 w 4"/>
                  <a:gd name="T3" fmla="*/ 2 h 2"/>
                  <a:gd name="T4" fmla="*/ 4 w 4"/>
                  <a:gd name="T5" fmla="*/ 0 h 2"/>
                  <a:gd name="T6" fmla="*/ 4 w 4"/>
                  <a:gd name="T7" fmla="*/ 0 h 2"/>
                  <a:gd name="T8" fmla="*/ 2 w 4"/>
                  <a:gd name="T9" fmla="*/ 0 h 2"/>
                  <a:gd name="T10" fmla="*/ 0 w 4"/>
                  <a:gd name="T11" fmla="*/ 0 h 2"/>
                  <a:gd name="T12" fmla="*/ 0 w 4"/>
                  <a:gd name="T13" fmla="*/ 0 h 2"/>
                  <a:gd name="T14" fmla="*/ 2 w 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2" y="2"/>
                    </a:moveTo>
                    <a:lnTo>
                      <a:pt x="2" y="2"/>
                    </a:lnTo>
                    <a:lnTo>
                      <a:pt x="4" y="0"/>
                    </a:lnTo>
                    <a:lnTo>
                      <a:pt x="4" y="0"/>
                    </a:lnTo>
                    <a:lnTo>
                      <a:pt x="2" y="0"/>
                    </a:lnTo>
                    <a:lnTo>
                      <a:pt x="0" y="0"/>
                    </a:lnTo>
                    <a:lnTo>
                      <a:pt x="0" y="0"/>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55" name="Freeform 2809"/>
              <p:cNvSpPr>
                <a:spLocks/>
              </p:cNvSpPr>
              <p:nvPr/>
            </p:nvSpPr>
            <p:spPr bwMode="auto">
              <a:xfrm>
                <a:off x="5158" y="2891"/>
                <a:ext cx="4" cy="2"/>
              </a:xfrm>
              <a:custGeom>
                <a:avLst/>
                <a:gdLst>
                  <a:gd name="T0" fmla="*/ 2 w 4"/>
                  <a:gd name="T1" fmla="*/ 2 h 2"/>
                  <a:gd name="T2" fmla="*/ 2 w 4"/>
                  <a:gd name="T3" fmla="*/ 2 h 2"/>
                  <a:gd name="T4" fmla="*/ 4 w 4"/>
                  <a:gd name="T5" fmla="*/ 0 h 2"/>
                  <a:gd name="T6" fmla="*/ 4 w 4"/>
                  <a:gd name="T7" fmla="*/ 0 h 2"/>
                  <a:gd name="T8" fmla="*/ 2 w 4"/>
                  <a:gd name="T9" fmla="*/ 0 h 2"/>
                  <a:gd name="T10" fmla="*/ 0 w 4"/>
                  <a:gd name="T11" fmla="*/ 0 h 2"/>
                  <a:gd name="T12" fmla="*/ 0 w 4"/>
                  <a:gd name="T13" fmla="*/ 0 h 2"/>
                  <a:gd name="T14" fmla="*/ 2 w 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2" y="2"/>
                    </a:moveTo>
                    <a:lnTo>
                      <a:pt x="2" y="2"/>
                    </a:lnTo>
                    <a:lnTo>
                      <a:pt x="4" y="0"/>
                    </a:lnTo>
                    <a:lnTo>
                      <a:pt x="4" y="0"/>
                    </a:lnTo>
                    <a:lnTo>
                      <a:pt x="2" y="0"/>
                    </a:lnTo>
                    <a:lnTo>
                      <a:pt x="0" y="0"/>
                    </a:lnTo>
                    <a:lnTo>
                      <a:pt x="0" y="0"/>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56" name="Freeform 2810"/>
              <p:cNvSpPr>
                <a:spLocks/>
              </p:cNvSpPr>
              <p:nvPr/>
            </p:nvSpPr>
            <p:spPr bwMode="auto">
              <a:xfrm>
                <a:off x="5176" y="2790"/>
                <a:ext cx="4" cy="7"/>
              </a:xfrm>
              <a:custGeom>
                <a:avLst/>
                <a:gdLst>
                  <a:gd name="T0" fmla="*/ 2 w 4"/>
                  <a:gd name="T1" fmla="*/ 7 h 7"/>
                  <a:gd name="T2" fmla="*/ 2 w 4"/>
                  <a:gd name="T3" fmla="*/ 7 h 7"/>
                  <a:gd name="T4" fmla="*/ 4 w 4"/>
                  <a:gd name="T5" fmla="*/ 3 h 7"/>
                  <a:gd name="T6" fmla="*/ 2 w 4"/>
                  <a:gd name="T7" fmla="*/ 0 h 7"/>
                  <a:gd name="T8" fmla="*/ 2 w 4"/>
                  <a:gd name="T9" fmla="*/ 0 h 7"/>
                  <a:gd name="T10" fmla="*/ 0 w 4"/>
                  <a:gd name="T11" fmla="*/ 3 h 7"/>
                  <a:gd name="T12" fmla="*/ 2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7"/>
                    </a:moveTo>
                    <a:lnTo>
                      <a:pt x="2" y="7"/>
                    </a:lnTo>
                    <a:lnTo>
                      <a:pt x="4" y="3"/>
                    </a:lnTo>
                    <a:lnTo>
                      <a:pt x="2" y="0"/>
                    </a:lnTo>
                    <a:lnTo>
                      <a:pt x="2" y="0"/>
                    </a:lnTo>
                    <a:lnTo>
                      <a:pt x="0" y="3"/>
                    </a:lnTo>
                    <a:lnTo>
                      <a:pt x="2"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57" name="Freeform 2811"/>
              <p:cNvSpPr>
                <a:spLocks/>
              </p:cNvSpPr>
              <p:nvPr/>
            </p:nvSpPr>
            <p:spPr bwMode="auto">
              <a:xfrm>
                <a:off x="5176" y="2790"/>
                <a:ext cx="4" cy="7"/>
              </a:xfrm>
              <a:custGeom>
                <a:avLst/>
                <a:gdLst>
                  <a:gd name="T0" fmla="*/ 2 w 4"/>
                  <a:gd name="T1" fmla="*/ 7 h 7"/>
                  <a:gd name="T2" fmla="*/ 2 w 4"/>
                  <a:gd name="T3" fmla="*/ 7 h 7"/>
                  <a:gd name="T4" fmla="*/ 4 w 4"/>
                  <a:gd name="T5" fmla="*/ 3 h 7"/>
                  <a:gd name="T6" fmla="*/ 2 w 4"/>
                  <a:gd name="T7" fmla="*/ 0 h 7"/>
                  <a:gd name="T8" fmla="*/ 2 w 4"/>
                  <a:gd name="T9" fmla="*/ 0 h 7"/>
                  <a:gd name="T10" fmla="*/ 0 w 4"/>
                  <a:gd name="T11" fmla="*/ 3 h 7"/>
                  <a:gd name="T12" fmla="*/ 2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7"/>
                    </a:moveTo>
                    <a:lnTo>
                      <a:pt x="2" y="7"/>
                    </a:lnTo>
                    <a:lnTo>
                      <a:pt x="4" y="3"/>
                    </a:lnTo>
                    <a:lnTo>
                      <a:pt x="2" y="0"/>
                    </a:lnTo>
                    <a:lnTo>
                      <a:pt x="2" y="0"/>
                    </a:lnTo>
                    <a:lnTo>
                      <a:pt x="0" y="3"/>
                    </a:lnTo>
                    <a:lnTo>
                      <a:pt x="2"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58" name="Freeform 2812"/>
              <p:cNvSpPr>
                <a:spLocks/>
              </p:cNvSpPr>
              <p:nvPr/>
            </p:nvSpPr>
            <p:spPr bwMode="auto">
              <a:xfrm>
                <a:off x="5178" y="2797"/>
                <a:ext cx="20" cy="21"/>
              </a:xfrm>
              <a:custGeom>
                <a:avLst/>
                <a:gdLst>
                  <a:gd name="T0" fmla="*/ 5 w 20"/>
                  <a:gd name="T1" fmla="*/ 12 h 21"/>
                  <a:gd name="T2" fmla="*/ 5 w 20"/>
                  <a:gd name="T3" fmla="*/ 12 h 21"/>
                  <a:gd name="T4" fmla="*/ 7 w 20"/>
                  <a:gd name="T5" fmla="*/ 12 h 21"/>
                  <a:gd name="T6" fmla="*/ 7 w 20"/>
                  <a:gd name="T7" fmla="*/ 14 h 21"/>
                  <a:gd name="T8" fmla="*/ 7 w 20"/>
                  <a:gd name="T9" fmla="*/ 14 h 21"/>
                  <a:gd name="T10" fmla="*/ 7 w 20"/>
                  <a:gd name="T11" fmla="*/ 18 h 21"/>
                  <a:gd name="T12" fmla="*/ 9 w 20"/>
                  <a:gd name="T13" fmla="*/ 19 h 21"/>
                  <a:gd name="T14" fmla="*/ 9 w 20"/>
                  <a:gd name="T15" fmla="*/ 19 h 21"/>
                  <a:gd name="T16" fmla="*/ 12 w 20"/>
                  <a:gd name="T17" fmla="*/ 21 h 21"/>
                  <a:gd name="T18" fmla="*/ 16 w 20"/>
                  <a:gd name="T19" fmla="*/ 21 h 21"/>
                  <a:gd name="T20" fmla="*/ 18 w 20"/>
                  <a:gd name="T21" fmla="*/ 21 h 21"/>
                  <a:gd name="T22" fmla="*/ 20 w 20"/>
                  <a:gd name="T23" fmla="*/ 19 h 21"/>
                  <a:gd name="T24" fmla="*/ 20 w 20"/>
                  <a:gd name="T25" fmla="*/ 19 h 21"/>
                  <a:gd name="T26" fmla="*/ 18 w 20"/>
                  <a:gd name="T27" fmla="*/ 14 h 21"/>
                  <a:gd name="T28" fmla="*/ 18 w 20"/>
                  <a:gd name="T29" fmla="*/ 14 h 21"/>
                  <a:gd name="T30" fmla="*/ 14 w 20"/>
                  <a:gd name="T31" fmla="*/ 10 h 21"/>
                  <a:gd name="T32" fmla="*/ 14 w 20"/>
                  <a:gd name="T33" fmla="*/ 10 h 21"/>
                  <a:gd name="T34" fmla="*/ 11 w 20"/>
                  <a:gd name="T35" fmla="*/ 10 h 21"/>
                  <a:gd name="T36" fmla="*/ 11 w 20"/>
                  <a:gd name="T37" fmla="*/ 10 h 21"/>
                  <a:gd name="T38" fmla="*/ 7 w 20"/>
                  <a:gd name="T39" fmla="*/ 3 h 21"/>
                  <a:gd name="T40" fmla="*/ 4 w 20"/>
                  <a:gd name="T41" fmla="*/ 2 h 21"/>
                  <a:gd name="T42" fmla="*/ 0 w 20"/>
                  <a:gd name="T43" fmla="*/ 0 h 21"/>
                  <a:gd name="T44" fmla="*/ 0 w 20"/>
                  <a:gd name="T45" fmla="*/ 0 h 21"/>
                  <a:gd name="T46" fmla="*/ 2 w 20"/>
                  <a:gd name="T47" fmla="*/ 2 h 21"/>
                  <a:gd name="T48" fmla="*/ 0 w 20"/>
                  <a:gd name="T49" fmla="*/ 5 h 21"/>
                  <a:gd name="T50" fmla="*/ 0 w 20"/>
                  <a:gd name="T51" fmla="*/ 5 h 21"/>
                  <a:gd name="T52" fmla="*/ 2 w 20"/>
                  <a:gd name="T53" fmla="*/ 9 h 21"/>
                  <a:gd name="T54" fmla="*/ 5 w 20"/>
                  <a:gd name="T55" fmla="*/ 1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21">
                    <a:moveTo>
                      <a:pt x="5" y="12"/>
                    </a:moveTo>
                    <a:lnTo>
                      <a:pt x="5" y="12"/>
                    </a:lnTo>
                    <a:lnTo>
                      <a:pt x="7" y="12"/>
                    </a:lnTo>
                    <a:lnTo>
                      <a:pt x="7" y="14"/>
                    </a:lnTo>
                    <a:lnTo>
                      <a:pt x="7" y="14"/>
                    </a:lnTo>
                    <a:lnTo>
                      <a:pt x="7" y="18"/>
                    </a:lnTo>
                    <a:lnTo>
                      <a:pt x="9" y="19"/>
                    </a:lnTo>
                    <a:lnTo>
                      <a:pt x="9" y="19"/>
                    </a:lnTo>
                    <a:lnTo>
                      <a:pt x="12" y="21"/>
                    </a:lnTo>
                    <a:lnTo>
                      <a:pt x="16" y="21"/>
                    </a:lnTo>
                    <a:lnTo>
                      <a:pt x="18" y="21"/>
                    </a:lnTo>
                    <a:lnTo>
                      <a:pt x="20" y="19"/>
                    </a:lnTo>
                    <a:lnTo>
                      <a:pt x="20" y="19"/>
                    </a:lnTo>
                    <a:lnTo>
                      <a:pt x="18" y="14"/>
                    </a:lnTo>
                    <a:lnTo>
                      <a:pt x="18" y="14"/>
                    </a:lnTo>
                    <a:lnTo>
                      <a:pt x="14" y="10"/>
                    </a:lnTo>
                    <a:lnTo>
                      <a:pt x="14" y="10"/>
                    </a:lnTo>
                    <a:lnTo>
                      <a:pt x="11" y="10"/>
                    </a:lnTo>
                    <a:lnTo>
                      <a:pt x="11" y="10"/>
                    </a:lnTo>
                    <a:lnTo>
                      <a:pt x="7" y="3"/>
                    </a:lnTo>
                    <a:lnTo>
                      <a:pt x="4" y="2"/>
                    </a:lnTo>
                    <a:lnTo>
                      <a:pt x="0" y="0"/>
                    </a:lnTo>
                    <a:lnTo>
                      <a:pt x="0" y="0"/>
                    </a:lnTo>
                    <a:lnTo>
                      <a:pt x="2" y="2"/>
                    </a:lnTo>
                    <a:lnTo>
                      <a:pt x="0" y="5"/>
                    </a:lnTo>
                    <a:lnTo>
                      <a:pt x="0" y="5"/>
                    </a:lnTo>
                    <a:lnTo>
                      <a:pt x="2" y="9"/>
                    </a:lnTo>
                    <a:lnTo>
                      <a:pt x="5" y="1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59" name="Freeform 2813"/>
              <p:cNvSpPr>
                <a:spLocks/>
              </p:cNvSpPr>
              <p:nvPr/>
            </p:nvSpPr>
            <p:spPr bwMode="auto">
              <a:xfrm>
                <a:off x="5178" y="2797"/>
                <a:ext cx="20" cy="21"/>
              </a:xfrm>
              <a:custGeom>
                <a:avLst/>
                <a:gdLst>
                  <a:gd name="T0" fmla="*/ 5 w 20"/>
                  <a:gd name="T1" fmla="*/ 12 h 21"/>
                  <a:gd name="T2" fmla="*/ 5 w 20"/>
                  <a:gd name="T3" fmla="*/ 12 h 21"/>
                  <a:gd name="T4" fmla="*/ 7 w 20"/>
                  <a:gd name="T5" fmla="*/ 12 h 21"/>
                  <a:gd name="T6" fmla="*/ 7 w 20"/>
                  <a:gd name="T7" fmla="*/ 14 h 21"/>
                  <a:gd name="T8" fmla="*/ 7 w 20"/>
                  <a:gd name="T9" fmla="*/ 14 h 21"/>
                  <a:gd name="T10" fmla="*/ 7 w 20"/>
                  <a:gd name="T11" fmla="*/ 18 h 21"/>
                  <a:gd name="T12" fmla="*/ 9 w 20"/>
                  <a:gd name="T13" fmla="*/ 19 h 21"/>
                  <a:gd name="T14" fmla="*/ 9 w 20"/>
                  <a:gd name="T15" fmla="*/ 19 h 21"/>
                  <a:gd name="T16" fmla="*/ 12 w 20"/>
                  <a:gd name="T17" fmla="*/ 21 h 21"/>
                  <a:gd name="T18" fmla="*/ 16 w 20"/>
                  <a:gd name="T19" fmla="*/ 21 h 21"/>
                  <a:gd name="T20" fmla="*/ 18 w 20"/>
                  <a:gd name="T21" fmla="*/ 21 h 21"/>
                  <a:gd name="T22" fmla="*/ 20 w 20"/>
                  <a:gd name="T23" fmla="*/ 19 h 21"/>
                  <a:gd name="T24" fmla="*/ 20 w 20"/>
                  <a:gd name="T25" fmla="*/ 19 h 21"/>
                  <a:gd name="T26" fmla="*/ 18 w 20"/>
                  <a:gd name="T27" fmla="*/ 14 h 21"/>
                  <a:gd name="T28" fmla="*/ 18 w 20"/>
                  <a:gd name="T29" fmla="*/ 14 h 21"/>
                  <a:gd name="T30" fmla="*/ 14 w 20"/>
                  <a:gd name="T31" fmla="*/ 10 h 21"/>
                  <a:gd name="T32" fmla="*/ 14 w 20"/>
                  <a:gd name="T33" fmla="*/ 10 h 21"/>
                  <a:gd name="T34" fmla="*/ 11 w 20"/>
                  <a:gd name="T35" fmla="*/ 10 h 21"/>
                  <a:gd name="T36" fmla="*/ 11 w 20"/>
                  <a:gd name="T37" fmla="*/ 10 h 21"/>
                  <a:gd name="T38" fmla="*/ 7 w 20"/>
                  <a:gd name="T39" fmla="*/ 3 h 21"/>
                  <a:gd name="T40" fmla="*/ 4 w 20"/>
                  <a:gd name="T41" fmla="*/ 2 h 21"/>
                  <a:gd name="T42" fmla="*/ 0 w 20"/>
                  <a:gd name="T43" fmla="*/ 0 h 21"/>
                  <a:gd name="T44" fmla="*/ 0 w 20"/>
                  <a:gd name="T45" fmla="*/ 0 h 21"/>
                  <a:gd name="T46" fmla="*/ 2 w 20"/>
                  <a:gd name="T47" fmla="*/ 2 h 21"/>
                  <a:gd name="T48" fmla="*/ 0 w 20"/>
                  <a:gd name="T49" fmla="*/ 5 h 21"/>
                  <a:gd name="T50" fmla="*/ 0 w 20"/>
                  <a:gd name="T51" fmla="*/ 5 h 21"/>
                  <a:gd name="T52" fmla="*/ 2 w 20"/>
                  <a:gd name="T53" fmla="*/ 9 h 21"/>
                  <a:gd name="T54" fmla="*/ 5 w 20"/>
                  <a:gd name="T55" fmla="*/ 1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21">
                    <a:moveTo>
                      <a:pt x="5" y="12"/>
                    </a:moveTo>
                    <a:lnTo>
                      <a:pt x="5" y="12"/>
                    </a:lnTo>
                    <a:lnTo>
                      <a:pt x="7" y="12"/>
                    </a:lnTo>
                    <a:lnTo>
                      <a:pt x="7" y="14"/>
                    </a:lnTo>
                    <a:lnTo>
                      <a:pt x="7" y="14"/>
                    </a:lnTo>
                    <a:lnTo>
                      <a:pt x="7" y="18"/>
                    </a:lnTo>
                    <a:lnTo>
                      <a:pt x="9" y="19"/>
                    </a:lnTo>
                    <a:lnTo>
                      <a:pt x="9" y="19"/>
                    </a:lnTo>
                    <a:lnTo>
                      <a:pt x="12" y="21"/>
                    </a:lnTo>
                    <a:lnTo>
                      <a:pt x="16" y="21"/>
                    </a:lnTo>
                    <a:lnTo>
                      <a:pt x="18" y="21"/>
                    </a:lnTo>
                    <a:lnTo>
                      <a:pt x="20" y="19"/>
                    </a:lnTo>
                    <a:lnTo>
                      <a:pt x="20" y="19"/>
                    </a:lnTo>
                    <a:lnTo>
                      <a:pt x="18" y="14"/>
                    </a:lnTo>
                    <a:lnTo>
                      <a:pt x="18" y="14"/>
                    </a:lnTo>
                    <a:lnTo>
                      <a:pt x="14" y="10"/>
                    </a:lnTo>
                    <a:lnTo>
                      <a:pt x="14" y="10"/>
                    </a:lnTo>
                    <a:lnTo>
                      <a:pt x="11" y="10"/>
                    </a:lnTo>
                    <a:lnTo>
                      <a:pt x="11" y="10"/>
                    </a:lnTo>
                    <a:lnTo>
                      <a:pt x="7" y="3"/>
                    </a:lnTo>
                    <a:lnTo>
                      <a:pt x="4" y="2"/>
                    </a:lnTo>
                    <a:lnTo>
                      <a:pt x="0" y="0"/>
                    </a:lnTo>
                    <a:lnTo>
                      <a:pt x="0" y="0"/>
                    </a:lnTo>
                    <a:lnTo>
                      <a:pt x="2" y="2"/>
                    </a:lnTo>
                    <a:lnTo>
                      <a:pt x="0" y="5"/>
                    </a:lnTo>
                    <a:lnTo>
                      <a:pt x="0" y="5"/>
                    </a:lnTo>
                    <a:lnTo>
                      <a:pt x="2" y="9"/>
                    </a:lnTo>
                    <a:lnTo>
                      <a:pt x="5" y="1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60" name="Freeform 2814"/>
              <p:cNvSpPr>
                <a:spLocks/>
              </p:cNvSpPr>
              <p:nvPr/>
            </p:nvSpPr>
            <p:spPr bwMode="auto">
              <a:xfrm>
                <a:off x="5192" y="2822"/>
                <a:ext cx="4" cy="2"/>
              </a:xfrm>
              <a:custGeom>
                <a:avLst/>
                <a:gdLst>
                  <a:gd name="T0" fmla="*/ 2 w 4"/>
                  <a:gd name="T1" fmla="*/ 2 h 2"/>
                  <a:gd name="T2" fmla="*/ 2 w 4"/>
                  <a:gd name="T3" fmla="*/ 2 h 2"/>
                  <a:gd name="T4" fmla="*/ 4 w 4"/>
                  <a:gd name="T5" fmla="*/ 2 h 2"/>
                  <a:gd name="T6" fmla="*/ 4 w 4"/>
                  <a:gd name="T7" fmla="*/ 2 h 2"/>
                  <a:gd name="T8" fmla="*/ 2 w 4"/>
                  <a:gd name="T9" fmla="*/ 0 h 2"/>
                  <a:gd name="T10" fmla="*/ 0 w 4"/>
                  <a:gd name="T11" fmla="*/ 2 h 2"/>
                  <a:gd name="T12" fmla="*/ 0 w 4"/>
                  <a:gd name="T13" fmla="*/ 2 h 2"/>
                  <a:gd name="T14" fmla="*/ 2 w 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2" y="2"/>
                    </a:moveTo>
                    <a:lnTo>
                      <a:pt x="2" y="2"/>
                    </a:lnTo>
                    <a:lnTo>
                      <a:pt x="4" y="2"/>
                    </a:lnTo>
                    <a:lnTo>
                      <a:pt x="4" y="2"/>
                    </a:lnTo>
                    <a:lnTo>
                      <a:pt x="2" y="0"/>
                    </a:lnTo>
                    <a:lnTo>
                      <a:pt x="0" y="2"/>
                    </a:lnTo>
                    <a:lnTo>
                      <a:pt x="0" y="2"/>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61" name="Freeform 2815"/>
              <p:cNvSpPr>
                <a:spLocks/>
              </p:cNvSpPr>
              <p:nvPr/>
            </p:nvSpPr>
            <p:spPr bwMode="auto">
              <a:xfrm>
                <a:off x="5192" y="2822"/>
                <a:ext cx="4" cy="2"/>
              </a:xfrm>
              <a:custGeom>
                <a:avLst/>
                <a:gdLst>
                  <a:gd name="T0" fmla="*/ 2 w 4"/>
                  <a:gd name="T1" fmla="*/ 2 h 2"/>
                  <a:gd name="T2" fmla="*/ 2 w 4"/>
                  <a:gd name="T3" fmla="*/ 2 h 2"/>
                  <a:gd name="T4" fmla="*/ 4 w 4"/>
                  <a:gd name="T5" fmla="*/ 2 h 2"/>
                  <a:gd name="T6" fmla="*/ 4 w 4"/>
                  <a:gd name="T7" fmla="*/ 2 h 2"/>
                  <a:gd name="T8" fmla="*/ 2 w 4"/>
                  <a:gd name="T9" fmla="*/ 0 h 2"/>
                  <a:gd name="T10" fmla="*/ 0 w 4"/>
                  <a:gd name="T11" fmla="*/ 2 h 2"/>
                  <a:gd name="T12" fmla="*/ 0 w 4"/>
                  <a:gd name="T13" fmla="*/ 2 h 2"/>
                  <a:gd name="T14" fmla="*/ 2 w 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2" y="2"/>
                    </a:moveTo>
                    <a:lnTo>
                      <a:pt x="2" y="2"/>
                    </a:lnTo>
                    <a:lnTo>
                      <a:pt x="4" y="2"/>
                    </a:lnTo>
                    <a:lnTo>
                      <a:pt x="4" y="2"/>
                    </a:lnTo>
                    <a:lnTo>
                      <a:pt x="2" y="0"/>
                    </a:lnTo>
                    <a:lnTo>
                      <a:pt x="0" y="2"/>
                    </a:lnTo>
                    <a:lnTo>
                      <a:pt x="0" y="2"/>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62" name="Freeform 2816"/>
              <p:cNvSpPr>
                <a:spLocks/>
              </p:cNvSpPr>
              <p:nvPr/>
            </p:nvSpPr>
            <p:spPr bwMode="auto">
              <a:xfrm>
                <a:off x="5049" y="2741"/>
                <a:ext cx="15" cy="4"/>
              </a:xfrm>
              <a:custGeom>
                <a:avLst/>
                <a:gdLst>
                  <a:gd name="T0" fmla="*/ 0 w 15"/>
                  <a:gd name="T1" fmla="*/ 4 h 4"/>
                  <a:gd name="T2" fmla="*/ 0 w 15"/>
                  <a:gd name="T3" fmla="*/ 4 h 4"/>
                  <a:gd name="T4" fmla="*/ 0 w 15"/>
                  <a:gd name="T5" fmla="*/ 2 h 4"/>
                  <a:gd name="T6" fmla="*/ 2 w 15"/>
                  <a:gd name="T7" fmla="*/ 2 h 4"/>
                  <a:gd name="T8" fmla="*/ 4 w 15"/>
                  <a:gd name="T9" fmla="*/ 0 h 4"/>
                  <a:gd name="T10" fmla="*/ 4 w 15"/>
                  <a:gd name="T11" fmla="*/ 0 h 4"/>
                  <a:gd name="T12" fmla="*/ 9 w 15"/>
                  <a:gd name="T13" fmla="*/ 0 h 4"/>
                  <a:gd name="T14" fmla="*/ 15 w 15"/>
                  <a:gd name="T15" fmla="*/ 2 h 4"/>
                  <a:gd name="T16" fmla="*/ 15 w 15"/>
                  <a:gd name="T17" fmla="*/ 2 h 4"/>
                  <a:gd name="T18" fmla="*/ 11 w 15"/>
                  <a:gd name="T19" fmla="*/ 2 h 4"/>
                  <a:gd name="T20" fmla="*/ 8 w 15"/>
                  <a:gd name="T21" fmla="*/ 4 h 4"/>
                  <a:gd name="T22" fmla="*/ 8 w 15"/>
                  <a:gd name="T23" fmla="*/ 4 h 4"/>
                  <a:gd name="T24" fmla="*/ 4 w 15"/>
                  <a:gd name="T25" fmla="*/ 2 h 4"/>
                  <a:gd name="T26" fmla="*/ 4 w 15"/>
                  <a:gd name="T27" fmla="*/ 2 h 4"/>
                  <a:gd name="T28" fmla="*/ 0 w 15"/>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4">
                    <a:moveTo>
                      <a:pt x="0" y="4"/>
                    </a:moveTo>
                    <a:lnTo>
                      <a:pt x="0" y="4"/>
                    </a:lnTo>
                    <a:lnTo>
                      <a:pt x="0" y="2"/>
                    </a:lnTo>
                    <a:lnTo>
                      <a:pt x="2" y="2"/>
                    </a:lnTo>
                    <a:lnTo>
                      <a:pt x="4" y="0"/>
                    </a:lnTo>
                    <a:lnTo>
                      <a:pt x="4" y="0"/>
                    </a:lnTo>
                    <a:lnTo>
                      <a:pt x="9" y="0"/>
                    </a:lnTo>
                    <a:lnTo>
                      <a:pt x="15" y="2"/>
                    </a:lnTo>
                    <a:lnTo>
                      <a:pt x="15" y="2"/>
                    </a:lnTo>
                    <a:lnTo>
                      <a:pt x="11" y="2"/>
                    </a:lnTo>
                    <a:lnTo>
                      <a:pt x="8" y="4"/>
                    </a:lnTo>
                    <a:lnTo>
                      <a:pt x="8" y="4"/>
                    </a:lnTo>
                    <a:lnTo>
                      <a:pt x="4" y="2"/>
                    </a:lnTo>
                    <a:lnTo>
                      <a:pt x="4" y="2"/>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63" name="Freeform 2817"/>
              <p:cNvSpPr>
                <a:spLocks/>
              </p:cNvSpPr>
              <p:nvPr/>
            </p:nvSpPr>
            <p:spPr bwMode="auto">
              <a:xfrm>
                <a:off x="5049" y="2741"/>
                <a:ext cx="15" cy="4"/>
              </a:xfrm>
              <a:custGeom>
                <a:avLst/>
                <a:gdLst>
                  <a:gd name="T0" fmla="*/ 0 w 15"/>
                  <a:gd name="T1" fmla="*/ 4 h 4"/>
                  <a:gd name="T2" fmla="*/ 0 w 15"/>
                  <a:gd name="T3" fmla="*/ 4 h 4"/>
                  <a:gd name="T4" fmla="*/ 0 w 15"/>
                  <a:gd name="T5" fmla="*/ 2 h 4"/>
                  <a:gd name="T6" fmla="*/ 2 w 15"/>
                  <a:gd name="T7" fmla="*/ 2 h 4"/>
                  <a:gd name="T8" fmla="*/ 4 w 15"/>
                  <a:gd name="T9" fmla="*/ 0 h 4"/>
                  <a:gd name="T10" fmla="*/ 4 w 15"/>
                  <a:gd name="T11" fmla="*/ 0 h 4"/>
                  <a:gd name="T12" fmla="*/ 9 w 15"/>
                  <a:gd name="T13" fmla="*/ 0 h 4"/>
                  <a:gd name="T14" fmla="*/ 15 w 15"/>
                  <a:gd name="T15" fmla="*/ 2 h 4"/>
                  <a:gd name="T16" fmla="*/ 15 w 15"/>
                  <a:gd name="T17" fmla="*/ 2 h 4"/>
                  <a:gd name="T18" fmla="*/ 11 w 15"/>
                  <a:gd name="T19" fmla="*/ 2 h 4"/>
                  <a:gd name="T20" fmla="*/ 8 w 15"/>
                  <a:gd name="T21" fmla="*/ 4 h 4"/>
                  <a:gd name="T22" fmla="*/ 8 w 15"/>
                  <a:gd name="T23" fmla="*/ 4 h 4"/>
                  <a:gd name="T24" fmla="*/ 4 w 15"/>
                  <a:gd name="T25" fmla="*/ 2 h 4"/>
                  <a:gd name="T26" fmla="*/ 4 w 15"/>
                  <a:gd name="T27" fmla="*/ 2 h 4"/>
                  <a:gd name="T28" fmla="*/ 0 w 15"/>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4">
                    <a:moveTo>
                      <a:pt x="0" y="4"/>
                    </a:moveTo>
                    <a:lnTo>
                      <a:pt x="0" y="4"/>
                    </a:lnTo>
                    <a:lnTo>
                      <a:pt x="0" y="2"/>
                    </a:lnTo>
                    <a:lnTo>
                      <a:pt x="2" y="2"/>
                    </a:lnTo>
                    <a:lnTo>
                      <a:pt x="4" y="0"/>
                    </a:lnTo>
                    <a:lnTo>
                      <a:pt x="4" y="0"/>
                    </a:lnTo>
                    <a:lnTo>
                      <a:pt x="9" y="0"/>
                    </a:lnTo>
                    <a:lnTo>
                      <a:pt x="15" y="2"/>
                    </a:lnTo>
                    <a:lnTo>
                      <a:pt x="15" y="2"/>
                    </a:lnTo>
                    <a:lnTo>
                      <a:pt x="11" y="2"/>
                    </a:lnTo>
                    <a:lnTo>
                      <a:pt x="8" y="4"/>
                    </a:lnTo>
                    <a:lnTo>
                      <a:pt x="8" y="4"/>
                    </a:lnTo>
                    <a:lnTo>
                      <a:pt x="4" y="2"/>
                    </a:lnTo>
                    <a:lnTo>
                      <a:pt x="4" y="2"/>
                    </a:lnTo>
                    <a:lnTo>
                      <a:pt x="0"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64" name="Freeform 2818"/>
              <p:cNvSpPr>
                <a:spLocks/>
              </p:cNvSpPr>
              <p:nvPr/>
            </p:nvSpPr>
            <p:spPr bwMode="auto">
              <a:xfrm>
                <a:off x="5001" y="2491"/>
                <a:ext cx="4" cy="6"/>
              </a:xfrm>
              <a:custGeom>
                <a:avLst/>
                <a:gdLst>
                  <a:gd name="T0" fmla="*/ 2 w 4"/>
                  <a:gd name="T1" fmla="*/ 6 h 6"/>
                  <a:gd name="T2" fmla="*/ 2 w 4"/>
                  <a:gd name="T3" fmla="*/ 6 h 6"/>
                  <a:gd name="T4" fmla="*/ 4 w 4"/>
                  <a:gd name="T5" fmla="*/ 0 h 6"/>
                  <a:gd name="T6" fmla="*/ 4 w 4"/>
                  <a:gd name="T7" fmla="*/ 0 h 6"/>
                  <a:gd name="T8" fmla="*/ 2 w 4"/>
                  <a:gd name="T9" fmla="*/ 0 h 6"/>
                  <a:gd name="T10" fmla="*/ 0 w 4"/>
                  <a:gd name="T11" fmla="*/ 2 h 6"/>
                  <a:gd name="T12" fmla="*/ 0 w 4"/>
                  <a:gd name="T13" fmla="*/ 4 h 6"/>
                  <a:gd name="T14" fmla="*/ 2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2" y="6"/>
                    </a:moveTo>
                    <a:lnTo>
                      <a:pt x="2" y="6"/>
                    </a:lnTo>
                    <a:lnTo>
                      <a:pt x="4" y="0"/>
                    </a:lnTo>
                    <a:lnTo>
                      <a:pt x="4" y="0"/>
                    </a:lnTo>
                    <a:lnTo>
                      <a:pt x="2" y="0"/>
                    </a:lnTo>
                    <a:lnTo>
                      <a:pt x="0" y="2"/>
                    </a:lnTo>
                    <a:lnTo>
                      <a:pt x="0" y="4"/>
                    </a:lnTo>
                    <a:lnTo>
                      <a:pt x="2"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65" name="Freeform 2819"/>
              <p:cNvSpPr>
                <a:spLocks/>
              </p:cNvSpPr>
              <p:nvPr/>
            </p:nvSpPr>
            <p:spPr bwMode="auto">
              <a:xfrm>
                <a:off x="5001" y="2491"/>
                <a:ext cx="4" cy="6"/>
              </a:xfrm>
              <a:custGeom>
                <a:avLst/>
                <a:gdLst>
                  <a:gd name="T0" fmla="*/ 2 w 4"/>
                  <a:gd name="T1" fmla="*/ 6 h 6"/>
                  <a:gd name="T2" fmla="*/ 2 w 4"/>
                  <a:gd name="T3" fmla="*/ 6 h 6"/>
                  <a:gd name="T4" fmla="*/ 4 w 4"/>
                  <a:gd name="T5" fmla="*/ 0 h 6"/>
                  <a:gd name="T6" fmla="*/ 4 w 4"/>
                  <a:gd name="T7" fmla="*/ 0 h 6"/>
                  <a:gd name="T8" fmla="*/ 2 w 4"/>
                  <a:gd name="T9" fmla="*/ 0 h 6"/>
                  <a:gd name="T10" fmla="*/ 0 w 4"/>
                  <a:gd name="T11" fmla="*/ 2 h 6"/>
                  <a:gd name="T12" fmla="*/ 0 w 4"/>
                  <a:gd name="T13" fmla="*/ 4 h 6"/>
                  <a:gd name="T14" fmla="*/ 2 w 4"/>
                  <a:gd name="T15" fmla="*/ 6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6">
                    <a:moveTo>
                      <a:pt x="2" y="6"/>
                    </a:moveTo>
                    <a:lnTo>
                      <a:pt x="2" y="6"/>
                    </a:lnTo>
                    <a:lnTo>
                      <a:pt x="4" y="0"/>
                    </a:lnTo>
                    <a:lnTo>
                      <a:pt x="4" y="0"/>
                    </a:lnTo>
                    <a:lnTo>
                      <a:pt x="2" y="0"/>
                    </a:lnTo>
                    <a:lnTo>
                      <a:pt x="0" y="2"/>
                    </a:lnTo>
                    <a:lnTo>
                      <a:pt x="0" y="4"/>
                    </a:lnTo>
                    <a:lnTo>
                      <a:pt x="2"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66" name="Freeform 2820"/>
              <p:cNvSpPr>
                <a:spLocks/>
              </p:cNvSpPr>
              <p:nvPr/>
            </p:nvSpPr>
            <p:spPr bwMode="auto">
              <a:xfrm>
                <a:off x="5205" y="2831"/>
                <a:ext cx="3" cy="5"/>
              </a:xfrm>
              <a:custGeom>
                <a:avLst/>
                <a:gdLst>
                  <a:gd name="T0" fmla="*/ 3 w 3"/>
                  <a:gd name="T1" fmla="*/ 5 h 5"/>
                  <a:gd name="T2" fmla="*/ 3 w 3"/>
                  <a:gd name="T3" fmla="*/ 5 h 5"/>
                  <a:gd name="T4" fmla="*/ 3 w 3"/>
                  <a:gd name="T5" fmla="*/ 3 h 5"/>
                  <a:gd name="T6" fmla="*/ 3 w 3"/>
                  <a:gd name="T7" fmla="*/ 1 h 5"/>
                  <a:gd name="T8" fmla="*/ 3 w 3"/>
                  <a:gd name="T9" fmla="*/ 1 h 5"/>
                  <a:gd name="T10" fmla="*/ 1 w 3"/>
                  <a:gd name="T11" fmla="*/ 0 h 5"/>
                  <a:gd name="T12" fmla="*/ 1 w 3"/>
                  <a:gd name="T13" fmla="*/ 0 h 5"/>
                  <a:gd name="T14" fmla="*/ 0 w 3"/>
                  <a:gd name="T15" fmla="*/ 0 h 5"/>
                  <a:gd name="T16" fmla="*/ 0 w 3"/>
                  <a:gd name="T17" fmla="*/ 1 h 5"/>
                  <a:gd name="T18" fmla="*/ 3 w 3"/>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3" y="5"/>
                    </a:moveTo>
                    <a:lnTo>
                      <a:pt x="3" y="5"/>
                    </a:lnTo>
                    <a:lnTo>
                      <a:pt x="3" y="3"/>
                    </a:lnTo>
                    <a:lnTo>
                      <a:pt x="3" y="1"/>
                    </a:lnTo>
                    <a:lnTo>
                      <a:pt x="3" y="1"/>
                    </a:lnTo>
                    <a:lnTo>
                      <a:pt x="1" y="0"/>
                    </a:lnTo>
                    <a:lnTo>
                      <a:pt x="1" y="0"/>
                    </a:lnTo>
                    <a:lnTo>
                      <a:pt x="0" y="0"/>
                    </a:lnTo>
                    <a:lnTo>
                      <a:pt x="0" y="1"/>
                    </a:lnTo>
                    <a:lnTo>
                      <a:pt x="3"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67" name="Freeform 2821"/>
              <p:cNvSpPr>
                <a:spLocks/>
              </p:cNvSpPr>
              <p:nvPr/>
            </p:nvSpPr>
            <p:spPr bwMode="auto">
              <a:xfrm>
                <a:off x="5205" y="2831"/>
                <a:ext cx="3" cy="5"/>
              </a:xfrm>
              <a:custGeom>
                <a:avLst/>
                <a:gdLst>
                  <a:gd name="T0" fmla="*/ 3 w 3"/>
                  <a:gd name="T1" fmla="*/ 5 h 5"/>
                  <a:gd name="T2" fmla="*/ 3 w 3"/>
                  <a:gd name="T3" fmla="*/ 5 h 5"/>
                  <a:gd name="T4" fmla="*/ 3 w 3"/>
                  <a:gd name="T5" fmla="*/ 3 h 5"/>
                  <a:gd name="T6" fmla="*/ 3 w 3"/>
                  <a:gd name="T7" fmla="*/ 1 h 5"/>
                  <a:gd name="T8" fmla="*/ 3 w 3"/>
                  <a:gd name="T9" fmla="*/ 1 h 5"/>
                  <a:gd name="T10" fmla="*/ 1 w 3"/>
                  <a:gd name="T11" fmla="*/ 0 h 5"/>
                  <a:gd name="T12" fmla="*/ 1 w 3"/>
                  <a:gd name="T13" fmla="*/ 0 h 5"/>
                  <a:gd name="T14" fmla="*/ 0 w 3"/>
                  <a:gd name="T15" fmla="*/ 0 h 5"/>
                  <a:gd name="T16" fmla="*/ 0 w 3"/>
                  <a:gd name="T17" fmla="*/ 1 h 5"/>
                  <a:gd name="T18" fmla="*/ 3 w 3"/>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5">
                    <a:moveTo>
                      <a:pt x="3" y="5"/>
                    </a:moveTo>
                    <a:lnTo>
                      <a:pt x="3" y="5"/>
                    </a:lnTo>
                    <a:lnTo>
                      <a:pt x="3" y="3"/>
                    </a:lnTo>
                    <a:lnTo>
                      <a:pt x="3" y="1"/>
                    </a:lnTo>
                    <a:lnTo>
                      <a:pt x="3" y="1"/>
                    </a:lnTo>
                    <a:lnTo>
                      <a:pt x="1" y="0"/>
                    </a:lnTo>
                    <a:lnTo>
                      <a:pt x="1" y="0"/>
                    </a:lnTo>
                    <a:lnTo>
                      <a:pt x="0" y="0"/>
                    </a:lnTo>
                    <a:lnTo>
                      <a:pt x="0" y="1"/>
                    </a:lnTo>
                    <a:lnTo>
                      <a:pt x="3"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68" name="Freeform 2822"/>
              <p:cNvSpPr>
                <a:spLocks/>
              </p:cNvSpPr>
              <p:nvPr/>
            </p:nvSpPr>
            <p:spPr bwMode="auto">
              <a:xfrm>
                <a:off x="5205" y="2836"/>
                <a:ext cx="1" cy="5"/>
              </a:xfrm>
              <a:custGeom>
                <a:avLst/>
                <a:gdLst>
                  <a:gd name="T0" fmla="*/ 0 w 1"/>
                  <a:gd name="T1" fmla="*/ 5 h 5"/>
                  <a:gd name="T2" fmla="*/ 0 w 1"/>
                  <a:gd name="T3" fmla="*/ 5 h 5"/>
                  <a:gd name="T4" fmla="*/ 1 w 1"/>
                  <a:gd name="T5" fmla="*/ 2 h 5"/>
                  <a:gd name="T6" fmla="*/ 0 w 1"/>
                  <a:gd name="T7" fmla="*/ 0 h 5"/>
                  <a:gd name="T8" fmla="*/ 0 w 1"/>
                  <a:gd name="T9" fmla="*/ 0 h 5"/>
                  <a:gd name="T10" fmla="*/ 0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0" y="5"/>
                    </a:moveTo>
                    <a:lnTo>
                      <a:pt x="0" y="5"/>
                    </a:lnTo>
                    <a:lnTo>
                      <a:pt x="1" y="2"/>
                    </a:lnTo>
                    <a:lnTo>
                      <a:pt x="0" y="0"/>
                    </a:lnTo>
                    <a:lnTo>
                      <a:pt x="0" y="0"/>
                    </a:lnTo>
                    <a:lnTo>
                      <a:pt x="0"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69" name="Freeform 2823"/>
              <p:cNvSpPr>
                <a:spLocks/>
              </p:cNvSpPr>
              <p:nvPr/>
            </p:nvSpPr>
            <p:spPr bwMode="auto">
              <a:xfrm>
                <a:off x="5205" y="2836"/>
                <a:ext cx="1" cy="5"/>
              </a:xfrm>
              <a:custGeom>
                <a:avLst/>
                <a:gdLst>
                  <a:gd name="T0" fmla="*/ 0 w 1"/>
                  <a:gd name="T1" fmla="*/ 5 h 5"/>
                  <a:gd name="T2" fmla="*/ 0 w 1"/>
                  <a:gd name="T3" fmla="*/ 5 h 5"/>
                  <a:gd name="T4" fmla="*/ 1 w 1"/>
                  <a:gd name="T5" fmla="*/ 2 h 5"/>
                  <a:gd name="T6" fmla="*/ 0 w 1"/>
                  <a:gd name="T7" fmla="*/ 0 h 5"/>
                  <a:gd name="T8" fmla="*/ 0 w 1"/>
                  <a:gd name="T9" fmla="*/ 0 h 5"/>
                  <a:gd name="T10" fmla="*/ 0 w 1"/>
                  <a:gd name="T11" fmla="*/ 5 h 5"/>
                </a:gdLst>
                <a:ahLst/>
                <a:cxnLst>
                  <a:cxn ang="0">
                    <a:pos x="T0" y="T1"/>
                  </a:cxn>
                  <a:cxn ang="0">
                    <a:pos x="T2" y="T3"/>
                  </a:cxn>
                  <a:cxn ang="0">
                    <a:pos x="T4" y="T5"/>
                  </a:cxn>
                  <a:cxn ang="0">
                    <a:pos x="T6" y="T7"/>
                  </a:cxn>
                  <a:cxn ang="0">
                    <a:pos x="T8" y="T9"/>
                  </a:cxn>
                  <a:cxn ang="0">
                    <a:pos x="T10" y="T11"/>
                  </a:cxn>
                </a:cxnLst>
                <a:rect l="0" t="0" r="r" b="b"/>
                <a:pathLst>
                  <a:path w="1" h="5">
                    <a:moveTo>
                      <a:pt x="0" y="5"/>
                    </a:moveTo>
                    <a:lnTo>
                      <a:pt x="0" y="5"/>
                    </a:lnTo>
                    <a:lnTo>
                      <a:pt x="1" y="2"/>
                    </a:lnTo>
                    <a:lnTo>
                      <a:pt x="0" y="0"/>
                    </a:lnTo>
                    <a:lnTo>
                      <a:pt x="0" y="0"/>
                    </a:lnTo>
                    <a:lnTo>
                      <a:pt x="0"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70" name="Freeform 2824"/>
              <p:cNvSpPr>
                <a:spLocks/>
              </p:cNvSpPr>
              <p:nvPr/>
            </p:nvSpPr>
            <p:spPr bwMode="auto">
              <a:xfrm>
                <a:off x="5206" y="2815"/>
                <a:ext cx="15" cy="12"/>
              </a:xfrm>
              <a:custGeom>
                <a:avLst/>
                <a:gdLst>
                  <a:gd name="T0" fmla="*/ 4 w 15"/>
                  <a:gd name="T1" fmla="*/ 9 h 12"/>
                  <a:gd name="T2" fmla="*/ 4 w 15"/>
                  <a:gd name="T3" fmla="*/ 9 h 12"/>
                  <a:gd name="T4" fmla="*/ 9 w 15"/>
                  <a:gd name="T5" fmla="*/ 12 h 12"/>
                  <a:gd name="T6" fmla="*/ 13 w 15"/>
                  <a:gd name="T7" fmla="*/ 12 h 12"/>
                  <a:gd name="T8" fmla="*/ 15 w 15"/>
                  <a:gd name="T9" fmla="*/ 12 h 12"/>
                  <a:gd name="T10" fmla="*/ 15 w 15"/>
                  <a:gd name="T11" fmla="*/ 12 h 12"/>
                  <a:gd name="T12" fmla="*/ 11 w 15"/>
                  <a:gd name="T13" fmla="*/ 10 h 12"/>
                  <a:gd name="T14" fmla="*/ 11 w 15"/>
                  <a:gd name="T15" fmla="*/ 10 h 12"/>
                  <a:gd name="T16" fmla="*/ 8 w 15"/>
                  <a:gd name="T17" fmla="*/ 5 h 12"/>
                  <a:gd name="T18" fmla="*/ 8 w 15"/>
                  <a:gd name="T19" fmla="*/ 5 h 12"/>
                  <a:gd name="T20" fmla="*/ 0 w 15"/>
                  <a:gd name="T21" fmla="*/ 0 h 12"/>
                  <a:gd name="T22" fmla="*/ 0 w 15"/>
                  <a:gd name="T23" fmla="*/ 0 h 12"/>
                  <a:gd name="T24" fmla="*/ 0 w 15"/>
                  <a:gd name="T25" fmla="*/ 1 h 12"/>
                  <a:gd name="T26" fmla="*/ 0 w 15"/>
                  <a:gd name="T27" fmla="*/ 5 h 12"/>
                  <a:gd name="T28" fmla="*/ 4 w 15"/>
                  <a:gd name="T29"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2">
                    <a:moveTo>
                      <a:pt x="4" y="9"/>
                    </a:moveTo>
                    <a:lnTo>
                      <a:pt x="4" y="9"/>
                    </a:lnTo>
                    <a:lnTo>
                      <a:pt x="9" y="12"/>
                    </a:lnTo>
                    <a:lnTo>
                      <a:pt x="13" y="12"/>
                    </a:lnTo>
                    <a:lnTo>
                      <a:pt x="15" y="12"/>
                    </a:lnTo>
                    <a:lnTo>
                      <a:pt x="15" y="12"/>
                    </a:lnTo>
                    <a:lnTo>
                      <a:pt x="11" y="10"/>
                    </a:lnTo>
                    <a:lnTo>
                      <a:pt x="11" y="10"/>
                    </a:lnTo>
                    <a:lnTo>
                      <a:pt x="8" y="5"/>
                    </a:lnTo>
                    <a:lnTo>
                      <a:pt x="8" y="5"/>
                    </a:lnTo>
                    <a:lnTo>
                      <a:pt x="0" y="0"/>
                    </a:lnTo>
                    <a:lnTo>
                      <a:pt x="0" y="0"/>
                    </a:lnTo>
                    <a:lnTo>
                      <a:pt x="0" y="1"/>
                    </a:lnTo>
                    <a:lnTo>
                      <a:pt x="0" y="5"/>
                    </a:lnTo>
                    <a:lnTo>
                      <a:pt x="4"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71" name="Freeform 2825"/>
              <p:cNvSpPr>
                <a:spLocks/>
              </p:cNvSpPr>
              <p:nvPr/>
            </p:nvSpPr>
            <p:spPr bwMode="auto">
              <a:xfrm>
                <a:off x="5206" y="2815"/>
                <a:ext cx="15" cy="12"/>
              </a:xfrm>
              <a:custGeom>
                <a:avLst/>
                <a:gdLst>
                  <a:gd name="T0" fmla="*/ 4 w 15"/>
                  <a:gd name="T1" fmla="*/ 9 h 12"/>
                  <a:gd name="T2" fmla="*/ 4 w 15"/>
                  <a:gd name="T3" fmla="*/ 9 h 12"/>
                  <a:gd name="T4" fmla="*/ 9 w 15"/>
                  <a:gd name="T5" fmla="*/ 12 h 12"/>
                  <a:gd name="T6" fmla="*/ 13 w 15"/>
                  <a:gd name="T7" fmla="*/ 12 h 12"/>
                  <a:gd name="T8" fmla="*/ 15 w 15"/>
                  <a:gd name="T9" fmla="*/ 12 h 12"/>
                  <a:gd name="T10" fmla="*/ 15 w 15"/>
                  <a:gd name="T11" fmla="*/ 12 h 12"/>
                  <a:gd name="T12" fmla="*/ 11 w 15"/>
                  <a:gd name="T13" fmla="*/ 10 h 12"/>
                  <a:gd name="T14" fmla="*/ 11 w 15"/>
                  <a:gd name="T15" fmla="*/ 10 h 12"/>
                  <a:gd name="T16" fmla="*/ 8 w 15"/>
                  <a:gd name="T17" fmla="*/ 5 h 12"/>
                  <a:gd name="T18" fmla="*/ 8 w 15"/>
                  <a:gd name="T19" fmla="*/ 5 h 12"/>
                  <a:gd name="T20" fmla="*/ 0 w 15"/>
                  <a:gd name="T21" fmla="*/ 0 h 12"/>
                  <a:gd name="T22" fmla="*/ 0 w 15"/>
                  <a:gd name="T23" fmla="*/ 0 h 12"/>
                  <a:gd name="T24" fmla="*/ 0 w 15"/>
                  <a:gd name="T25" fmla="*/ 1 h 12"/>
                  <a:gd name="T26" fmla="*/ 0 w 15"/>
                  <a:gd name="T27" fmla="*/ 5 h 12"/>
                  <a:gd name="T28" fmla="*/ 4 w 15"/>
                  <a:gd name="T29"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12">
                    <a:moveTo>
                      <a:pt x="4" y="9"/>
                    </a:moveTo>
                    <a:lnTo>
                      <a:pt x="4" y="9"/>
                    </a:lnTo>
                    <a:lnTo>
                      <a:pt x="9" y="12"/>
                    </a:lnTo>
                    <a:lnTo>
                      <a:pt x="13" y="12"/>
                    </a:lnTo>
                    <a:lnTo>
                      <a:pt x="15" y="12"/>
                    </a:lnTo>
                    <a:lnTo>
                      <a:pt x="15" y="12"/>
                    </a:lnTo>
                    <a:lnTo>
                      <a:pt x="11" y="10"/>
                    </a:lnTo>
                    <a:lnTo>
                      <a:pt x="11" y="10"/>
                    </a:lnTo>
                    <a:lnTo>
                      <a:pt x="8" y="5"/>
                    </a:lnTo>
                    <a:lnTo>
                      <a:pt x="8" y="5"/>
                    </a:lnTo>
                    <a:lnTo>
                      <a:pt x="0" y="0"/>
                    </a:lnTo>
                    <a:lnTo>
                      <a:pt x="0" y="0"/>
                    </a:lnTo>
                    <a:lnTo>
                      <a:pt x="0" y="1"/>
                    </a:lnTo>
                    <a:lnTo>
                      <a:pt x="0" y="5"/>
                    </a:lnTo>
                    <a:lnTo>
                      <a:pt x="4"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72" name="Freeform 2826"/>
              <p:cNvSpPr>
                <a:spLocks/>
              </p:cNvSpPr>
              <p:nvPr/>
            </p:nvSpPr>
            <p:spPr bwMode="auto">
              <a:xfrm>
                <a:off x="5212" y="2834"/>
                <a:ext cx="3" cy="6"/>
              </a:xfrm>
              <a:custGeom>
                <a:avLst/>
                <a:gdLst>
                  <a:gd name="T0" fmla="*/ 2 w 3"/>
                  <a:gd name="T1" fmla="*/ 6 h 6"/>
                  <a:gd name="T2" fmla="*/ 2 w 3"/>
                  <a:gd name="T3" fmla="*/ 6 h 6"/>
                  <a:gd name="T4" fmla="*/ 3 w 3"/>
                  <a:gd name="T5" fmla="*/ 4 h 6"/>
                  <a:gd name="T6" fmla="*/ 3 w 3"/>
                  <a:gd name="T7" fmla="*/ 2 h 6"/>
                  <a:gd name="T8" fmla="*/ 2 w 3"/>
                  <a:gd name="T9" fmla="*/ 0 h 6"/>
                  <a:gd name="T10" fmla="*/ 2 w 3"/>
                  <a:gd name="T11" fmla="*/ 0 h 6"/>
                  <a:gd name="T12" fmla="*/ 0 w 3"/>
                  <a:gd name="T13" fmla="*/ 2 h 6"/>
                  <a:gd name="T14" fmla="*/ 0 w 3"/>
                  <a:gd name="T15" fmla="*/ 4 h 6"/>
                  <a:gd name="T16" fmla="*/ 0 w 3"/>
                  <a:gd name="T17" fmla="*/ 6 h 6"/>
                  <a:gd name="T18" fmla="*/ 2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2" y="6"/>
                    </a:moveTo>
                    <a:lnTo>
                      <a:pt x="2" y="6"/>
                    </a:lnTo>
                    <a:lnTo>
                      <a:pt x="3" y="4"/>
                    </a:lnTo>
                    <a:lnTo>
                      <a:pt x="3" y="2"/>
                    </a:lnTo>
                    <a:lnTo>
                      <a:pt x="2" y="0"/>
                    </a:lnTo>
                    <a:lnTo>
                      <a:pt x="2" y="0"/>
                    </a:lnTo>
                    <a:lnTo>
                      <a:pt x="0" y="2"/>
                    </a:lnTo>
                    <a:lnTo>
                      <a:pt x="0" y="4"/>
                    </a:lnTo>
                    <a:lnTo>
                      <a:pt x="0" y="6"/>
                    </a:lnTo>
                    <a:lnTo>
                      <a:pt x="2"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73" name="Freeform 2827"/>
              <p:cNvSpPr>
                <a:spLocks/>
              </p:cNvSpPr>
              <p:nvPr/>
            </p:nvSpPr>
            <p:spPr bwMode="auto">
              <a:xfrm>
                <a:off x="5212" y="2834"/>
                <a:ext cx="3" cy="6"/>
              </a:xfrm>
              <a:custGeom>
                <a:avLst/>
                <a:gdLst>
                  <a:gd name="T0" fmla="*/ 2 w 3"/>
                  <a:gd name="T1" fmla="*/ 6 h 6"/>
                  <a:gd name="T2" fmla="*/ 2 w 3"/>
                  <a:gd name="T3" fmla="*/ 6 h 6"/>
                  <a:gd name="T4" fmla="*/ 3 w 3"/>
                  <a:gd name="T5" fmla="*/ 4 h 6"/>
                  <a:gd name="T6" fmla="*/ 3 w 3"/>
                  <a:gd name="T7" fmla="*/ 2 h 6"/>
                  <a:gd name="T8" fmla="*/ 2 w 3"/>
                  <a:gd name="T9" fmla="*/ 0 h 6"/>
                  <a:gd name="T10" fmla="*/ 2 w 3"/>
                  <a:gd name="T11" fmla="*/ 0 h 6"/>
                  <a:gd name="T12" fmla="*/ 0 w 3"/>
                  <a:gd name="T13" fmla="*/ 2 h 6"/>
                  <a:gd name="T14" fmla="*/ 0 w 3"/>
                  <a:gd name="T15" fmla="*/ 4 h 6"/>
                  <a:gd name="T16" fmla="*/ 0 w 3"/>
                  <a:gd name="T17" fmla="*/ 6 h 6"/>
                  <a:gd name="T18" fmla="*/ 2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2" y="6"/>
                    </a:moveTo>
                    <a:lnTo>
                      <a:pt x="2" y="6"/>
                    </a:lnTo>
                    <a:lnTo>
                      <a:pt x="3" y="4"/>
                    </a:lnTo>
                    <a:lnTo>
                      <a:pt x="3" y="2"/>
                    </a:lnTo>
                    <a:lnTo>
                      <a:pt x="2" y="0"/>
                    </a:lnTo>
                    <a:lnTo>
                      <a:pt x="2" y="0"/>
                    </a:lnTo>
                    <a:lnTo>
                      <a:pt x="0" y="2"/>
                    </a:lnTo>
                    <a:lnTo>
                      <a:pt x="0" y="4"/>
                    </a:lnTo>
                    <a:lnTo>
                      <a:pt x="0" y="6"/>
                    </a:lnTo>
                    <a:lnTo>
                      <a:pt x="2"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74" name="Freeform 2828"/>
              <p:cNvSpPr>
                <a:spLocks/>
              </p:cNvSpPr>
              <p:nvPr/>
            </p:nvSpPr>
            <p:spPr bwMode="auto">
              <a:xfrm>
                <a:off x="5215" y="2843"/>
                <a:ext cx="2" cy="6"/>
              </a:xfrm>
              <a:custGeom>
                <a:avLst/>
                <a:gdLst>
                  <a:gd name="T0" fmla="*/ 2 w 2"/>
                  <a:gd name="T1" fmla="*/ 6 h 6"/>
                  <a:gd name="T2" fmla="*/ 2 w 2"/>
                  <a:gd name="T3" fmla="*/ 6 h 6"/>
                  <a:gd name="T4" fmla="*/ 2 w 2"/>
                  <a:gd name="T5" fmla="*/ 6 h 6"/>
                  <a:gd name="T6" fmla="*/ 2 w 2"/>
                  <a:gd name="T7" fmla="*/ 4 h 6"/>
                  <a:gd name="T8" fmla="*/ 2 w 2"/>
                  <a:gd name="T9" fmla="*/ 2 h 6"/>
                  <a:gd name="T10" fmla="*/ 2 w 2"/>
                  <a:gd name="T11" fmla="*/ 0 h 6"/>
                  <a:gd name="T12" fmla="*/ 2 w 2"/>
                  <a:gd name="T13" fmla="*/ 0 h 6"/>
                  <a:gd name="T14" fmla="*/ 0 w 2"/>
                  <a:gd name="T15" fmla="*/ 4 h 6"/>
                  <a:gd name="T16" fmla="*/ 2 w 2"/>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2" y="6"/>
                    </a:moveTo>
                    <a:lnTo>
                      <a:pt x="2" y="6"/>
                    </a:lnTo>
                    <a:lnTo>
                      <a:pt x="2" y="6"/>
                    </a:lnTo>
                    <a:lnTo>
                      <a:pt x="2" y="4"/>
                    </a:lnTo>
                    <a:lnTo>
                      <a:pt x="2" y="2"/>
                    </a:lnTo>
                    <a:lnTo>
                      <a:pt x="2" y="0"/>
                    </a:lnTo>
                    <a:lnTo>
                      <a:pt x="2" y="0"/>
                    </a:lnTo>
                    <a:lnTo>
                      <a:pt x="0" y="4"/>
                    </a:lnTo>
                    <a:lnTo>
                      <a:pt x="2"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75" name="Freeform 2829"/>
              <p:cNvSpPr>
                <a:spLocks/>
              </p:cNvSpPr>
              <p:nvPr/>
            </p:nvSpPr>
            <p:spPr bwMode="auto">
              <a:xfrm>
                <a:off x="5215" y="2843"/>
                <a:ext cx="2" cy="6"/>
              </a:xfrm>
              <a:custGeom>
                <a:avLst/>
                <a:gdLst>
                  <a:gd name="T0" fmla="*/ 2 w 2"/>
                  <a:gd name="T1" fmla="*/ 6 h 6"/>
                  <a:gd name="T2" fmla="*/ 2 w 2"/>
                  <a:gd name="T3" fmla="*/ 6 h 6"/>
                  <a:gd name="T4" fmla="*/ 2 w 2"/>
                  <a:gd name="T5" fmla="*/ 6 h 6"/>
                  <a:gd name="T6" fmla="*/ 2 w 2"/>
                  <a:gd name="T7" fmla="*/ 4 h 6"/>
                  <a:gd name="T8" fmla="*/ 2 w 2"/>
                  <a:gd name="T9" fmla="*/ 2 h 6"/>
                  <a:gd name="T10" fmla="*/ 2 w 2"/>
                  <a:gd name="T11" fmla="*/ 0 h 6"/>
                  <a:gd name="T12" fmla="*/ 2 w 2"/>
                  <a:gd name="T13" fmla="*/ 0 h 6"/>
                  <a:gd name="T14" fmla="*/ 0 w 2"/>
                  <a:gd name="T15" fmla="*/ 4 h 6"/>
                  <a:gd name="T16" fmla="*/ 2 w 2"/>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6">
                    <a:moveTo>
                      <a:pt x="2" y="6"/>
                    </a:moveTo>
                    <a:lnTo>
                      <a:pt x="2" y="6"/>
                    </a:lnTo>
                    <a:lnTo>
                      <a:pt x="2" y="6"/>
                    </a:lnTo>
                    <a:lnTo>
                      <a:pt x="2" y="4"/>
                    </a:lnTo>
                    <a:lnTo>
                      <a:pt x="2" y="2"/>
                    </a:lnTo>
                    <a:lnTo>
                      <a:pt x="2" y="0"/>
                    </a:lnTo>
                    <a:lnTo>
                      <a:pt x="2" y="0"/>
                    </a:lnTo>
                    <a:lnTo>
                      <a:pt x="0" y="4"/>
                    </a:lnTo>
                    <a:lnTo>
                      <a:pt x="2"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76" name="Freeform 2830"/>
              <p:cNvSpPr>
                <a:spLocks/>
              </p:cNvSpPr>
              <p:nvPr/>
            </p:nvSpPr>
            <p:spPr bwMode="auto">
              <a:xfrm>
                <a:off x="5215" y="2836"/>
                <a:ext cx="11" cy="11"/>
              </a:xfrm>
              <a:custGeom>
                <a:avLst/>
                <a:gdLst>
                  <a:gd name="T0" fmla="*/ 9 w 11"/>
                  <a:gd name="T1" fmla="*/ 11 h 11"/>
                  <a:gd name="T2" fmla="*/ 9 w 11"/>
                  <a:gd name="T3" fmla="*/ 11 h 11"/>
                  <a:gd name="T4" fmla="*/ 11 w 11"/>
                  <a:gd name="T5" fmla="*/ 11 h 11"/>
                  <a:gd name="T6" fmla="*/ 11 w 11"/>
                  <a:gd name="T7" fmla="*/ 9 h 11"/>
                  <a:gd name="T8" fmla="*/ 11 w 11"/>
                  <a:gd name="T9" fmla="*/ 9 h 11"/>
                  <a:gd name="T10" fmla="*/ 9 w 11"/>
                  <a:gd name="T11" fmla="*/ 5 h 11"/>
                  <a:gd name="T12" fmla="*/ 8 w 11"/>
                  <a:gd name="T13" fmla="*/ 4 h 11"/>
                  <a:gd name="T14" fmla="*/ 8 w 11"/>
                  <a:gd name="T15" fmla="*/ 4 h 11"/>
                  <a:gd name="T16" fmla="*/ 6 w 11"/>
                  <a:gd name="T17" fmla="*/ 2 h 11"/>
                  <a:gd name="T18" fmla="*/ 6 w 11"/>
                  <a:gd name="T19" fmla="*/ 0 h 11"/>
                  <a:gd name="T20" fmla="*/ 4 w 11"/>
                  <a:gd name="T21" fmla="*/ 2 h 11"/>
                  <a:gd name="T22" fmla="*/ 4 w 11"/>
                  <a:gd name="T23" fmla="*/ 2 h 11"/>
                  <a:gd name="T24" fmla="*/ 2 w 11"/>
                  <a:gd name="T25" fmla="*/ 4 h 11"/>
                  <a:gd name="T26" fmla="*/ 0 w 11"/>
                  <a:gd name="T27" fmla="*/ 5 h 11"/>
                  <a:gd name="T28" fmla="*/ 0 w 11"/>
                  <a:gd name="T29" fmla="*/ 5 h 11"/>
                  <a:gd name="T30" fmla="*/ 4 w 11"/>
                  <a:gd name="T31" fmla="*/ 5 h 11"/>
                  <a:gd name="T32" fmla="*/ 6 w 11"/>
                  <a:gd name="T33" fmla="*/ 7 h 11"/>
                  <a:gd name="T34" fmla="*/ 6 w 11"/>
                  <a:gd name="T35" fmla="*/ 7 h 11"/>
                  <a:gd name="T36" fmla="*/ 6 w 11"/>
                  <a:gd name="T37" fmla="*/ 7 h 11"/>
                  <a:gd name="T38" fmla="*/ 6 w 11"/>
                  <a:gd name="T39" fmla="*/ 7 h 11"/>
                  <a:gd name="T40" fmla="*/ 8 w 11"/>
                  <a:gd name="T41" fmla="*/ 9 h 11"/>
                  <a:gd name="T42" fmla="*/ 9 w 11"/>
                  <a:gd name="T4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11">
                    <a:moveTo>
                      <a:pt x="9" y="11"/>
                    </a:moveTo>
                    <a:lnTo>
                      <a:pt x="9" y="11"/>
                    </a:lnTo>
                    <a:lnTo>
                      <a:pt x="11" y="11"/>
                    </a:lnTo>
                    <a:lnTo>
                      <a:pt x="11" y="9"/>
                    </a:lnTo>
                    <a:lnTo>
                      <a:pt x="11" y="9"/>
                    </a:lnTo>
                    <a:lnTo>
                      <a:pt x="9" y="5"/>
                    </a:lnTo>
                    <a:lnTo>
                      <a:pt x="8" y="4"/>
                    </a:lnTo>
                    <a:lnTo>
                      <a:pt x="8" y="4"/>
                    </a:lnTo>
                    <a:lnTo>
                      <a:pt x="6" y="2"/>
                    </a:lnTo>
                    <a:lnTo>
                      <a:pt x="6" y="0"/>
                    </a:lnTo>
                    <a:lnTo>
                      <a:pt x="4" y="2"/>
                    </a:lnTo>
                    <a:lnTo>
                      <a:pt x="4" y="2"/>
                    </a:lnTo>
                    <a:lnTo>
                      <a:pt x="2" y="4"/>
                    </a:lnTo>
                    <a:lnTo>
                      <a:pt x="0" y="5"/>
                    </a:lnTo>
                    <a:lnTo>
                      <a:pt x="0" y="5"/>
                    </a:lnTo>
                    <a:lnTo>
                      <a:pt x="4" y="5"/>
                    </a:lnTo>
                    <a:lnTo>
                      <a:pt x="6" y="7"/>
                    </a:lnTo>
                    <a:lnTo>
                      <a:pt x="6" y="7"/>
                    </a:lnTo>
                    <a:lnTo>
                      <a:pt x="6" y="7"/>
                    </a:lnTo>
                    <a:lnTo>
                      <a:pt x="6" y="7"/>
                    </a:lnTo>
                    <a:lnTo>
                      <a:pt x="8" y="9"/>
                    </a:lnTo>
                    <a:lnTo>
                      <a:pt x="9"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77" name="Freeform 2831"/>
              <p:cNvSpPr>
                <a:spLocks/>
              </p:cNvSpPr>
              <p:nvPr/>
            </p:nvSpPr>
            <p:spPr bwMode="auto">
              <a:xfrm>
                <a:off x="5215" y="2836"/>
                <a:ext cx="11" cy="11"/>
              </a:xfrm>
              <a:custGeom>
                <a:avLst/>
                <a:gdLst>
                  <a:gd name="T0" fmla="*/ 9 w 11"/>
                  <a:gd name="T1" fmla="*/ 11 h 11"/>
                  <a:gd name="T2" fmla="*/ 9 w 11"/>
                  <a:gd name="T3" fmla="*/ 11 h 11"/>
                  <a:gd name="T4" fmla="*/ 11 w 11"/>
                  <a:gd name="T5" fmla="*/ 11 h 11"/>
                  <a:gd name="T6" fmla="*/ 11 w 11"/>
                  <a:gd name="T7" fmla="*/ 9 h 11"/>
                  <a:gd name="T8" fmla="*/ 11 w 11"/>
                  <a:gd name="T9" fmla="*/ 9 h 11"/>
                  <a:gd name="T10" fmla="*/ 9 w 11"/>
                  <a:gd name="T11" fmla="*/ 5 h 11"/>
                  <a:gd name="T12" fmla="*/ 8 w 11"/>
                  <a:gd name="T13" fmla="*/ 4 h 11"/>
                  <a:gd name="T14" fmla="*/ 8 w 11"/>
                  <a:gd name="T15" fmla="*/ 4 h 11"/>
                  <a:gd name="T16" fmla="*/ 6 w 11"/>
                  <a:gd name="T17" fmla="*/ 2 h 11"/>
                  <a:gd name="T18" fmla="*/ 6 w 11"/>
                  <a:gd name="T19" fmla="*/ 0 h 11"/>
                  <a:gd name="T20" fmla="*/ 4 w 11"/>
                  <a:gd name="T21" fmla="*/ 2 h 11"/>
                  <a:gd name="T22" fmla="*/ 4 w 11"/>
                  <a:gd name="T23" fmla="*/ 2 h 11"/>
                  <a:gd name="T24" fmla="*/ 2 w 11"/>
                  <a:gd name="T25" fmla="*/ 4 h 11"/>
                  <a:gd name="T26" fmla="*/ 0 w 11"/>
                  <a:gd name="T27" fmla="*/ 5 h 11"/>
                  <a:gd name="T28" fmla="*/ 0 w 11"/>
                  <a:gd name="T29" fmla="*/ 5 h 11"/>
                  <a:gd name="T30" fmla="*/ 4 w 11"/>
                  <a:gd name="T31" fmla="*/ 5 h 11"/>
                  <a:gd name="T32" fmla="*/ 6 w 11"/>
                  <a:gd name="T33" fmla="*/ 7 h 11"/>
                  <a:gd name="T34" fmla="*/ 6 w 11"/>
                  <a:gd name="T35" fmla="*/ 7 h 11"/>
                  <a:gd name="T36" fmla="*/ 6 w 11"/>
                  <a:gd name="T37" fmla="*/ 7 h 11"/>
                  <a:gd name="T38" fmla="*/ 6 w 11"/>
                  <a:gd name="T39" fmla="*/ 7 h 11"/>
                  <a:gd name="T40" fmla="*/ 8 w 11"/>
                  <a:gd name="T41" fmla="*/ 9 h 11"/>
                  <a:gd name="T42" fmla="*/ 9 w 11"/>
                  <a:gd name="T4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11">
                    <a:moveTo>
                      <a:pt x="9" y="11"/>
                    </a:moveTo>
                    <a:lnTo>
                      <a:pt x="9" y="11"/>
                    </a:lnTo>
                    <a:lnTo>
                      <a:pt x="11" y="11"/>
                    </a:lnTo>
                    <a:lnTo>
                      <a:pt x="11" y="9"/>
                    </a:lnTo>
                    <a:lnTo>
                      <a:pt x="11" y="9"/>
                    </a:lnTo>
                    <a:lnTo>
                      <a:pt x="9" y="5"/>
                    </a:lnTo>
                    <a:lnTo>
                      <a:pt x="8" y="4"/>
                    </a:lnTo>
                    <a:lnTo>
                      <a:pt x="8" y="4"/>
                    </a:lnTo>
                    <a:lnTo>
                      <a:pt x="6" y="2"/>
                    </a:lnTo>
                    <a:lnTo>
                      <a:pt x="6" y="0"/>
                    </a:lnTo>
                    <a:lnTo>
                      <a:pt x="4" y="2"/>
                    </a:lnTo>
                    <a:lnTo>
                      <a:pt x="4" y="2"/>
                    </a:lnTo>
                    <a:lnTo>
                      <a:pt x="2" y="4"/>
                    </a:lnTo>
                    <a:lnTo>
                      <a:pt x="0" y="5"/>
                    </a:lnTo>
                    <a:lnTo>
                      <a:pt x="0" y="5"/>
                    </a:lnTo>
                    <a:lnTo>
                      <a:pt x="4" y="5"/>
                    </a:lnTo>
                    <a:lnTo>
                      <a:pt x="6" y="7"/>
                    </a:lnTo>
                    <a:lnTo>
                      <a:pt x="6" y="7"/>
                    </a:lnTo>
                    <a:lnTo>
                      <a:pt x="6" y="7"/>
                    </a:lnTo>
                    <a:lnTo>
                      <a:pt x="6" y="7"/>
                    </a:lnTo>
                    <a:lnTo>
                      <a:pt x="8" y="9"/>
                    </a:lnTo>
                    <a:lnTo>
                      <a:pt x="9"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78" name="Freeform 2832"/>
              <p:cNvSpPr>
                <a:spLocks/>
              </p:cNvSpPr>
              <p:nvPr/>
            </p:nvSpPr>
            <p:spPr bwMode="auto">
              <a:xfrm>
                <a:off x="5219" y="2849"/>
                <a:ext cx="2" cy="1"/>
              </a:xfrm>
              <a:custGeom>
                <a:avLst/>
                <a:gdLst>
                  <a:gd name="T0" fmla="*/ 2 w 2"/>
                  <a:gd name="T1" fmla="*/ 1 h 1"/>
                  <a:gd name="T2" fmla="*/ 2 w 2"/>
                  <a:gd name="T3" fmla="*/ 1 h 1"/>
                  <a:gd name="T4" fmla="*/ 2 w 2"/>
                  <a:gd name="T5" fmla="*/ 0 h 1"/>
                  <a:gd name="T6" fmla="*/ 0 w 2"/>
                  <a:gd name="T7" fmla="*/ 1 h 1"/>
                  <a:gd name="T8" fmla="*/ 0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1"/>
                    </a:lnTo>
                    <a:lnTo>
                      <a:pt x="2" y="0"/>
                    </a:lnTo>
                    <a:lnTo>
                      <a:pt x="0" y="1"/>
                    </a:lnTo>
                    <a:lnTo>
                      <a:pt x="0" y="1"/>
                    </a:lnTo>
                    <a:lnTo>
                      <a:pt x="2"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79" name="Freeform 2833"/>
              <p:cNvSpPr>
                <a:spLocks/>
              </p:cNvSpPr>
              <p:nvPr/>
            </p:nvSpPr>
            <p:spPr bwMode="auto">
              <a:xfrm>
                <a:off x="5219" y="2849"/>
                <a:ext cx="2" cy="1"/>
              </a:xfrm>
              <a:custGeom>
                <a:avLst/>
                <a:gdLst>
                  <a:gd name="T0" fmla="*/ 2 w 2"/>
                  <a:gd name="T1" fmla="*/ 1 h 1"/>
                  <a:gd name="T2" fmla="*/ 2 w 2"/>
                  <a:gd name="T3" fmla="*/ 1 h 1"/>
                  <a:gd name="T4" fmla="*/ 2 w 2"/>
                  <a:gd name="T5" fmla="*/ 0 h 1"/>
                  <a:gd name="T6" fmla="*/ 0 w 2"/>
                  <a:gd name="T7" fmla="*/ 1 h 1"/>
                  <a:gd name="T8" fmla="*/ 0 w 2"/>
                  <a:gd name="T9" fmla="*/ 1 h 1"/>
                  <a:gd name="T10" fmla="*/ 2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2" y="1"/>
                    </a:moveTo>
                    <a:lnTo>
                      <a:pt x="2" y="1"/>
                    </a:lnTo>
                    <a:lnTo>
                      <a:pt x="2" y="0"/>
                    </a:lnTo>
                    <a:lnTo>
                      <a:pt x="0" y="1"/>
                    </a:lnTo>
                    <a:lnTo>
                      <a:pt x="0" y="1"/>
                    </a:lnTo>
                    <a:lnTo>
                      <a:pt x="2"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80" name="Freeform 2834"/>
              <p:cNvSpPr>
                <a:spLocks/>
              </p:cNvSpPr>
              <p:nvPr/>
            </p:nvSpPr>
            <p:spPr bwMode="auto">
              <a:xfrm>
                <a:off x="5221" y="2827"/>
                <a:ext cx="2" cy="2"/>
              </a:xfrm>
              <a:custGeom>
                <a:avLst/>
                <a:gdLst>
                  <a:gd name="T0" fmla="*/ 2 w 2"/>
                  <a:gd name="T1" fmla="*/ 2 h 2"/>
                  <a:gd name="T2" fmla="*/ 2 w 2"/>
                  <a:gd name="T3" fmla="*/ 2 h 2"/>
                  <a:gd name="T4" fmla="*/ 2 w 2"/>
                  <a:gd name="T5" fmla="*/ 0 h 2"/>
                  <a:gd name="T6" fmla="*/ 0 w 2"/>
                  <a:gd name="T7" fmla="*/ 0 h 2"/>
                  <a:gd name="T8" fmla="*/ 0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2" y="2"/>
                    </a:lnTo>
                    <a:lnTo>
                      <a:pt x="2" y="0"/>
                    </a:lnTo>
                    <a:lnTo>
                      <a:pt x="0" y="0"/>
                    </a:lnTo>
                    <a:lnTo>
                      <a:pt x="0" y="0"/>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81" name="Freeform 2835"/>
              <p:cNvSpPr>
                <a:spLocks/>
              </p:cNvSpPr>
              <p:nvPr/>
            </p:nvSpPr>
            <p:spPr bwMode="auto">
              <a:xfrm>
                <a:off x="5221" y="2827"/>
                <a:ext cx="2" cy="2"/>
              </a:xfrm>
              <a:custGeom>
                <a:avLst/>
                <a:gdLst>
                  <a:gd name="T0" fmla="*/ 2 w 2"/>
                  <a:gd name="T1" fmla="*/ 2 h 2"/>
                  <a:gd name="T2" fmla="*/ 2 w 2"/>
                  <a:gd name="T3" fmla="*/ 2 h 2"/>
                  <a:gd name="T4" fmla="*/ 2 w 2"/>
                  <a:gd name="T5" fmla="*/ 0 h 2"/>
                  <a:gd name="T6" fmla="*/ 0 w 2"/>
                  <a:gd name="T7" fmla="*/ 0 h 2"/>
                  <a:gd name="T8" fmla="*/ 0 w 2"/>
                  <a:gd name="T9" fmla="*/ 0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2" y="2"/>
                    </a:lnTo>
                    <a:lnTo>
                      <a:pt x="2" y="0"/>
                    </a:lnTo>
                    <a:lnTo>
                      <a:pt x="0" y="0"/>
                    </a:lnTo>
                    <a:lnTo>
                      <a:pt x="0" y="0"/>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82" name="Freeform 2836"/>
              <p:cNvSpPr>
                <a:spLocks/>
              </p:cNvSpPr>
              <p:nvPr/>
            </p:nvSpPr>
            <p:spPr bwMode="auto">
              <a:xfrm>
                <a:off x="5224" y="2827"/>
                <a:ext cx="2" cy="2"/>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2"/>
                    </a:lnTo>
                    <a:lnTo>
                      <a:pt x="2" y="2"/>
                    </a:lnTo>
                    <a:lnTo>
                      <a:pt x="0" y="0"/>
                    </a:lnTo>
                    <a:lnTo>
                      <a:pt x="0" y="0"/>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83" name="Freeform 2837"/>
              <p:cNvSpPr>
                <a:spLocks/>
              </p:cNvSpPr>
              <p:nvPr/>
            </p:nvSpPr>
            <p:spPr bwMode="auto">
              <a:xfrm>
                <a:off x="5224" y="2827"/>
                <a:ext cx="2" cy="2"/>
              </a:xfrm>
              <a:custGeom>
                <a:avLst/>
                <a:gdLst>
                  <a:gd name="T0" fmla="*/ 0 w 2"/>
                  <a:gd name="T1" fmla="*/ 2 h 2"/>
                  <a:gd name="T2" fmla="*/ 0 w 2"/>
                  <a:gd name="T3" fmla="*/ 2 h 2"/>
                  <a:gd name="T4" fmla="*/ 2 w 2"/>
                  <a:gd name="T5" fmla="*/ 2 h 2"/>
                  <a:gd name="T6" fmla="*/ 0 w 2"/>
                  <a:gd name="T7" fmla="*/ 0 h 2"/>
                  <a:gd name="T8" fmla="*/ 0 w 2"/>
                  <a:gd name="T9" fmla="*/ 0 h 2"/>
                  <a:gd name="T10" fmla="*/ 0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0" y="2"/>
                    </a:moveTo>
                    <a:lnTo>
                      <a:pt x="0" y="2"/>
                    </a:lnTo>
                    <a:lnTo>
                      <a:pt x="2" y="2"/>
                    </a:lnTo>
                    <a:lnTo>
                      <a:pt x="0" y="0"/>
                    </a:lnTo>
                    <a:lnTo>
                      <a:pt x="0" y="0"/>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84" name="Freeform 2838"/>
              <p:cNvSpPr>
                <a:spLocks/>
              </p:cNvSpPr>
              <p:nvPr/>
            </p:nvSpPr>
            <p:spPr bwMode="auto">
              <a:xfrm>
                <a:off x="5226" y="2845"/>
                <a:ext cx="2" cy="5"/>
              </a:xfrm>
              <a:custGeom>
                <a:avLst/>
                <a:gdLst>
                  <a:gd name="T0" fmla="*/ 0 w 2"/>
                  <a:gd name="T1" fmla="*/ 5 h 5"/>
                  <a:gd name="T2" fmla="*/ 0 w 2"/>
                  <a:gd name="T3" fmla="*/ 5 h 5"/>
                  <a:gd name="T4" fmla="*/ 2 w 2"/>
                  <a:gd name="T5" fmla="*/ 4 h 5"/>
                  <a:gd name="T6" fmla="*/ 2 w 2"/>
                  <a:gd name="T7" fmla="*/ 4 h 5"/>
                  <a:gd name="T8" fmla="*/ 2 w 2"/>
                  <a:gd name="T9" fmla="*/ 0 h 5"/>
                  <a:gd name="T10" fmla="*/ 2 w 2"/>
                  <a:gd name="T11" fmla="*/ 0 h 5"/>
                  <a:gd name="T12" fmla="*/ 0 w 2"/>
                  <a:gd name="T13" fmla="*/ 2 h 5"/>
                  <a:gd name="T14" fmla="*/ 0 w 2"/>
                  <a:gd name="T15" fmla="*/ 2 h 5"/>
                  <a:gd name="T16" fmla="*/ 0 w 2"/>
                  <a:gd name="T17" fmla="*/ 4 h 5"/>
                  <a:gd name="T18" fmla="*/ 0 w 2"/>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0" y="5"/>
                    </a:moveTo>
                    <a:lnTo>
                      <a:pt x="0" y="5"/>
                    </a:lnTo>
                    <a:lnTo>
                      <a:pt x="2" y="4"/>
                    </a:lnTo>
                    <a:lnTo>
                      <a:pt x="2" y="4"/>
                    </a:lnTo>
                    <a:lnTo>
                      <a:pt x="2" y="0"/>
                    </a:lnTo>
                    <a:lnTo>
                      <a:pt x="2" y="0"/>
                    </a:lnTo>
                    <a:lnTo>
                      <a:pt x="0" y="2"/>
                    </a:lnTo>
                    <a:lnTo>
                      <a:pt x="0" y="2"/>
                    </a:lnTo>
                    <a:lnTo>
                      <a:pt x="0" y="4"/>
                    </a:lnTo>
                    <a:lnTo>
                      <a:pt x="0"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85" name="Freeform 2839"/>
              <p:cNvSpPr>
                <a:spLocks/>
              </p:cNvSpPr>
              <p:nvPr/>
            </p:nvSpPr>
            <p:spPr bwMode="auto">
              <a:xfrm>
                <a:off x="5226" y="2845"/>
                <a:ext cx="2" cy="5"/>
              </a:xfrm>
              <a:custGeom>
                <a:avLst/>
                <a:gdLst>
                  <a:gd name="T0" fmla="*/ 0 w 2"/>
                  <a:gd name="T1" fmla="*/ 5 h 5"/>
                  <a:gd name="T2" fmla="*/ 0 w 2"/>
                  <a:gd name="T3" fmla="*/ 5 h 5"/>
                  <a:gd name="T4" fmla="*/ 2 w 2"/>
                  <a:gd name="T5" fmla="*/ 4 h 5"/>
                  <a:gd name="T6" fmla="*/ 2 w 2"/>
                  <a:gd name="T7" fmla="*/ 4 h 5"/>
                  <a:gd name="T8" fmla="*/ 2 w 2"/>
                  <a:gd name="T9" fmla="*/ 0 h 5"/>
                  <a:gd name="T10" fmla="*/ 2 w 2"/>
                  <a:gd name="T11" fmla="*/ 0 h 5"/>
                  <a:gd name="T12" fmla="*/ 0 w 2"/>
                  <a:gd name="T13" fmla="*/ 2 h 5"/>
                  <a:gd name="T14" fmla="*/ 0 w 2"/>
                  <a:gd name="T15" fmla="*/ 2 h 5"/>
                  <a:gd name="T16" fmla="*/ 0 w 2"/>
                  <a:gd name="T17" fmla="*/ 4 h 5"/>
                  <a:gd name="T18" fmla="*/ 0 w 2"/>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0" y="5"/>
                    </a:moveTo>
                    <a:lnTo>
                      <a:pt x="0" y="5"/>
                    </a:lnTo>
                    <a:lnTo>
                      <a:pt x="2" y="4"/>
                    </a:lnTo>
                    <a:lnTo>
                      <a:pt x="2" y="4"/>
                    </a:lnTo>
                    <a:lnTo>
                      <a:pt x="2" y="0"/>
                    </a:lnTo>
                    <a:lnTo>
                      <a:pt x="2" y="0"/>
                    </a:lnTo>
                    <a:lnTo>
                      <a:pt x="0" y="2"/>
                    </a:lnTo>
                    <a:lnTo>
                      <a:pt x="0" y="2"/>
                    </a:lnTo>
                    <a:lnTo>
                      <a:pt x="0" y="4"/>
                    </a:lnTo>
                    <a:lnTo>
                      <a:pt x="0"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86" name="Freeform 2840"/>
              <p:cNvSpPr>
                <a:spLocks/>
              </p:cNvSpPr>
              <p:nvPr/>
            </p:nvSpPr>
            <p:spPr bwMode="auto">
              <a:xfrm>
                <a:off x="5237" y="2829"/>
                <a:ext cx="19" cy="16"/>
              </a:xfrm>
              <a:custGeom>
                <a:avLst/>
                <a:gdLst>
                  <a:gd name="T0" fmla="*/ 9 w 19"/>
                  <a:gd name="T1" fmla="*/ 11 h 16"/>
                  <a:gd name="T2" fmla="*/ 9 w 19"/>
                  <a:gd name="T3" fmla="*/ 11 h 16"/>
                  <a:gd name="T4" fmla="*/ 14 w 19"/>
                  <a:gd name="T5" fmla="*/ 14 h 16"/>
                  <a:gd name="T6" fmla="*/ 19 w 19"/>
                  <a:gd name="T7" fmla="*/ 16 h 16"/>
                  <a:gd name="T8" fmla="*/ 19 w 19"/>
                  <a:gd name="T9" fmla="*/ 16 h 16"/>
                  <a:gd name="T10" fmla="*/ 19 w 19"/>
                  <a:gd name="T11" fmla="*/ 14 h 16"/>
                  <a:gd name="T12" fmla="*/ 18 w 19"/>
                  <a:gd name="T13" fmla="*/ 11 h 16"/>
                  <a:gd name="T14" fmla="*/ 12 w 19"/>
                  <a:gd name="T15" fmla="*/ 7 h 16"/>
                  <a:gd name="T16" fmla="*/ 12 w 19"/>
                  <a:gd name="T17" fmla="*/ 7 h 16"/>
                  <a:gd name="T18" fmla="*/ 9 w 19"/>
                  <a:gd name="T19" fmla="*/ 5 h 16"/>
                  <a:gd name="T20" fmla="*/ 5 w 19"/>
                  <a:gd name="T21" fmla="*/ 3 h 16"/>
                  <a:gd name="T22" fmla="*/ 5 w 19"/>
                  <a:gd name="T23" fmla="*/ 3 h 16"/>
                  <a:gd name="T24" fmla="*/ 3 w 19"/>
                  <a:gd name="T25" fmla="*/ 2 h 16"/>
                  <a:gd name="T26" fmla="*/ 3 w 19"/>
                  <a:gd name="T27" fmla="*/ 2 h 16"/>
                  <a:gd name="T28" fmla="*/ 0 w 19"/>
                  <a:gd name="T29" fmla="*/ 0 h 16"/>
                  <a:gd name="T30" fmla="*/ 0 w 19"/>
                  <a:gd name="T31" fmla="*/ 0 h 16"/>
                  <a:gd name="T32" fmla="*/ 3 w 19"/>
                  <a:gd name="T33" fmla="*/ 7 h 16"/>
                  <a:gd name="T34" fmla="*/ 9 w 19"/>
                  <a:gd name="T35"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6">
                    <a:moveTo>
                      <a:pt x="9" y="11"/>
                    </a:moveTo>
                    <a:lnTo>
                      <a:pt x="9" y="11"/>
                    </a:lnTo>
                    <a:lnTo>
                      <a:pt x="14" y="14"/>
                    </a:lnTo>
                    <a:lnTo>
                      <a:pt x="19" y="16"/>
                    </a:lnTo>
                    <a:lnTo>
                      <a:pt x="19" y="16"/>
                    </a:lnTo>
                    <a:lnTo>
                      <a:pt x="19" y="14"/>
                    </a:lnTo>
                    <a:lnTo>
                      <a:pt x="18" y="11"/>
                    </a:lnTo>
                    <a:lnTo>
                      <a:pt x="12" y="7"/>
                    </a:lnTo>
                    <a:lnTo>
                      <a:pt x="12" y="7"/>
                    </a:lnTo>
                    <a:lnTo>
                      <a:pt x="9" y="5"/>
                    </a:lnTo>
                    <a:lnTo>
                      <a:pt x="5" y="3"/>
                    </a:lnTo>
                    <a:lnTo>
                      <a:pt x="5" y="3"/>
                    </a:lnTo>
                    <a:lnTo>
                      <a:pt x="3" y="2"/>
                    </a:lnTo>
                    <a:lnTo>
                      <a:pt x="3" y="2"/>
                    </a:lnTo>
                    <a:lnTo>
                      <a:pt x="0" y="0"/>
                    </a:lnTo>
                    <a:lnTo>
                      <a:pt x="0" y="0"/>
                    </a:lnTo>
                    <a:lnTo>
                      <a:pt x="3" y="7"/>
                    </a:lnTo>
                    <a:lnTo>
                      <a:pt x="9"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87" name="Freeform 2841"/>
              <p:cNvSpPr>
                <a:spLocks/>
              </p:cNvSpPr>
              <p:nvPr/>
            </p:nvSpPr>
            <p:spPr bwMode="auto">
              <a:xfrm>
                <a:off x="5237" y="2829"/>
                <a:ext cx="19" cy="16"/>
              </a:xfrm>
              <a:custGeom>
                <a:avLst/>
                <a:gdLst>
                  <a:gd name="T0" fmla="*/ 9 w 19"/>
                  <a:gd name="T1" fmla="*/ 11 h 16"/>
                  <a:gd name="T2" fmla="*/ 9 w 19"/>
                  <a:gd name="T3" fmla="*/ 11 h 16"/>
                  <a:gd name="T4" fmla="*/ 14 w 19"/>
                  <a:gd name="T5" fmla="*/ 14 h 16"/>
                  <a:gd name="T6" fmla="*/ 19 w 19"/>
                  <a:gd name="T7" fmla="*/ 16 h 16"/>
                  <a:gd name="T8" fmla="*/ 19 w 19"/>
                  <a:gd name="T9" fmla="*/ 16 h 16"/>
                  <a:gd name="T10" fmla="*/ 19 w 19"/>
                  <a:gd name="T11" fmla="*/ 14 h 16"/>
                  <a:gd name="T12" fmla="*/ 18 w 19"/>
                  <a:gd name="T13" fmla="*/ 11 h 16"/>
                  <a:gd name="T14" fmla="*/ 12 w 19"/>
                  <a:gd name="T15" fmla="*/ 7 h 16"/>
                  <a:gd name="T16" fmla="*/ 12 w 19"/>
                  <a:gd name="T17" fmla="*/ 7 h 16"/>
                  <a:gd name="T18" fmla="*/ 9 w 19"/>
                  <a:gd name="T19" fmla="*/ 5 h 16"/>
                  <a:gd name="T20" fmla="*/ 5 w 19"/>
                  <a:gd name="T21" fmla="*/ 3 h 16"/>
                  <a:gd name="T22" fmla="*/ 5 w 19"/>
                  <a:gd name="T23" fmla="*/ 3 h 16"/>
                  <a:gd name="T24" fmla="*/ 3 w 19"/>
                  <a:gd name="T25" fmla="*/ 2 h 16"/>
                  <a:gd name="T26" fmla="*/ 3 w 19"/>
                  <a:gd name="T27" fmla="*/ 2 h 16"/>
                  <a:gd name="T28" fmla="*/ 0 w 19"/>
                  <a:gd name="T29" fmla="*/ 0 h 16"/>
                  <a:gd name="T30" fmla="*/ 0 w 19"/>
                  <a:gd name="T31" fmla="*/ 0 h 16"/>
                  <a:gd name="T32" fmla="*/ 3 w 19"/>
                  <a:gd name="T33" fmla="*/ 7 h 16"/>
                  <a:gd name="T34" fmla="*/ 9 w 19"/>
                  <a:gd name="T35"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16">
                    <a:moveTo>
                      <a:pt x="9" y="11"/>
                    </a:moveTo>
                    <a:lnTo>
                      <a:pt x="9" y="11"/>
                    </a:lnTo>
                    <a:lnTo>
                      <a:pt x="14" y="14"/>
                    </a:lnTo>
                    <a:lnTo>
                      <a:pt x="19" y="16"/>
                    </a:lnTo>
                    <a:lnTo>
                      <a:pt x="19" y="16"/>
                    </a:lnTo>
                    <a:lnTo>
                      <a:pt x="19" y="14"/>
                    </a:lnTo>
                    <a:lnTo>
                      <a:pt x="18" y="11"/>
                    </a:lnTo>
                    <a:lnTo>
                      <a:pt x="12" y="7"/>
                    </a:lnTo>
                    <a:lnTo>
                      <a:pt x="12" y="7"/>
                    </a:lnTo>
                    <a:lnTo>
                      <a:pt x="9" y="5"/>
                    </a:lnTo>
                    <a:lnTo>
                      <a:pt x="5" y="3"/>
                    </a:lnTo>
                    <a:lnTo>
                      <a:pt x="5" y="3"/>
                    </a:lnTo>
                    <a:lnTo>
                      <a:pt x="3" y="2"/>
                    </a:lnTo>
                    <a:lnTo>
                      <a:pt x="3" y="2"/>
                    </a:lnTo>
                    <a:lnTo>
                      <a:pt x="0" y="0"/>
                    </a:lnTo>
                    <a:lnTo>
                      <a:pt x="0" y="0"/>
                    </a:lnTo>
                    <a:lnTo>
                      <a:pt x="3" y="7"/>
                    </a:lnTo>
                    <a:lnTo>
                      <a:pt x="9"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88" name="Freeform 2842"/>
              <p:cNvSpPr>
                <a:spLocks/>
              </p:cNvSpPr>
              <p:nvPr/>
            </p:nvSpPr>
            <p:spPr bwMode="auto">
              <a:xfrm>
                <a:off x="5244" y="2854"/>
                <a:ext cx="2" cy="2"/>
              </a:xfrm>
              <a:custGeom>
                <a:avLst/>
                <a:gdLst>
                  <a:gd name="T0" fmla="*/ 0 w 2"/>
                  <a:gd name="T1" fmla="*/ 2 h 2"/>
                  <a:gd name="T2" fmla="*/ 0 w 2"/>
                  <a:gd name="T3" fmla="*/ 2 h 2"/>
                  <a:gd name="T4" fmla="*/ 2 w 2"/>
                  <a:gd name="T5" fmla="*/ 0 h 2"/>
                  <a:gd name="T6" fmla="*/ 2 w 2"/>
                  <a:gd name="T7" fmla="*/ 0 h 2"/>
                  <a:gd name="T8" fmla="*/ 2 w 2"/>
                  <a:gd name="T9" fmla="*/ 0 h 2"/>
                  <a:gd name="T10" fmla="*/ 0 w 2"/>
                  <a:gd name="T11" fmla="*/ 0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lnTo>
                      <a:pt x="0" y="2"/>
                    </a:lnTo>
                    <a:lnTo>
                      <a:pt x="2" y="0"/>
                    </a:lnTo>
                    <a:lnTo>
                      <a:pt x="2" y="0"/>
                    </a:lnTo>
                    <a:lnTo>
                      <a:pt x="2" y="0"/>
                    </a:lnTo>
                    <a:lnTo>
                      <a:pt x="0" y="0"/>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89" name="Freeform 2843"/>
              <p:cNvSpPr>
                <a:spLocks/>
              </p:cNvSpPr>
              <p:nvPr/>
            </p:nvSpPr>
            <p:spPr bwMode="auto">
              <a:xfrm>
                <a:off x="5244" y="2854"/>
                <a:ext cx="2" cy="2"/>
              </a:xfrm>
              <a:custGeom>
                <a:avLst/>
                <a:gdLst>
                  <a:gd name="T0" fmla="*/ 0 w 2"/>
                  <a:gd name="T1" fmla="*/ 2 h 2"/>
                  <a:gd name="T2" fmla="*/ 0 w 2"/>
                  <a:gd name="T3" fmla="*/ 2 h 2"/>
                  <a:gd name="T4" fmla="*/ 2 w 2"/>
                  <a:gd name="T5" fmla="*/ 0 h 2"/>
                  <a:gd name="T6" fmla="*/ 2 w 2"/>
                  <a:gd name="T7" fmla="*/ 0 h 2"/>
                  <a:gd name="T8" fmla="*/ 2 w 2"/>
                  <a:gd name="T9" fmla="*/ 0 h 2"/>
                  <a:gd name="T10" fmla="*/ 0 w 2"/>
                  <a:gd name="T11" fmla="*/ 0 h 2"/>
                  <a:gd name="T12" fmla="*/ 0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2"/>
                    </a:moveTo>
                    <a:lnTo>
                      <a:pt x="0" y="2"/>
                    </a:lnTo>
                    <a:lnTo>
                      <a:pt x="2" y="0"/>
                    </a:lnTo>
                    <a:lnTo>
                      <a:pt x="2" y="0"/>
                    </a:lnTo>
                    <a:lnTo>
                      <a:pt x="2" y="0"/>
                    </a:lnTo>
                    <a:lnTo>
                      <a:pt x="0" y="0"/>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90" name="Freeform 2844"/>
              <p:cNvSpPr>
                <a:spLocks/>
              </p:cNvSpPr>
              <p:nvPr/>
            </p:nvSpPr>
            <p:spPr bwMode="auto">
              <a:xfrm>
                <a:off x="5253" y="2843"/>
                <a:ext cx="2" cy="4"/>
              </a:xfrm>
              <a:custGeom>
                <a:avLst/>
                <a:gdLst>
                  <a:gd name="T0" fmla="*/ 2 w 2"/>
                  <a:gd name="T1" fmla="*/ 4 h 4"/>
                  <a:gd name="T2" fmla="*/ 2 w 2"/>
                  <a:gd name="T3" fmla="*/ 4 h 4"/>
                  <a:gd name="T4" fmla="*/ 2 w 2"/>
                  <a:gd name="T5" fmla="*/ 0 h 4"/>
                  <a:gd name="T6" fmla="*/ 2 w 2"/>
                  <a:gd name="T7" fmla="*/ 0 h 4"/>
                  <a:gd name="T8" fmla="*/ 0 w 2"/>
                  <a:gd name="T9" fmla="*/ 0 h 4"/>
                  <a:gd name="T10" fmla="*/ 0 w 2"/>
                  <a:gd name="T11" fmla="*/ 2 h 4"/>
                  <a:gd name="T12" fmla="*/ 2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4"/>
                    </a:moveTo>
                    <a:lnTo>
                      <a:pt x="2" y="4"/>
                    </a:lnTo>
                    <a:lnTo>
                      <a:pt x="2" y="0"/>
                    </a:lnTo>
                    <a:lnTo>
                      <a:pt x="2" y="0"/>
                    </a:lnTo>
                    <a:lnTo>
                      <a:pt x="0" y="0"/>
                    </a:lnTo>
                    <a:lnTo>
                      <a:pt x="0" y="2"/>
                    </a:lnTo>
                    <a:lnTo>
                      <a:pt x="2"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91" name="Freeform 2845"/>
              <p:cNvSpPr>
                <a:spLocks/>
              </p:cNvSpPr>
              <p:nvPr/>
            </p:nvSpPr>
            <p:spPr bwMode="auto">
              <a:xfrm>
                <a:off x="5253" y="2843"/>
                <a:ext cx="2" cy="4"/>
              </a:xfrm>
              <a:custGeom>
                <a:avLst/>
                <a:gdLst>
                  <a:gd name="T0" fmla="*/ 2 w 2"/>
                  <a:gd name="T1" fmla="*/ 4 h 4"/>
                  <a:gd name="T2" fmla="*/ 2 w 2"/>
                  <a:gd name="T3" fmla="*/ 4 h 4"/>
                  <a:gd name="T4" fmla="*/ 2 w 2"/>
                  <a:gd name="T5" fmla="*/ 0 h 4"/>
                  <a:gd name="T6" fmla="*/ 2 w 2"/>
                  <a:gd name="T7" fmla="*/ 0 h 4"/>
                  <a:gd name="T8" fmla="*/ 0 w 2"/>
                  <a:gd name="T9" fmla="*/ 0 h 4"/>
                  <a:gd name="T10" fmla="*/ 0 w 2"/>
                  <a:gd name="T11" fmla="*/ 2 h 4"/>
                  <a:gd name="T12" fmla="*/ 2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2" y="4"/>
                    </a:moveTo>
                    <a:lnTo>
                      <a:pt x="2" y="4"/>
                    </a:lnTo>
                    <a:lnTo>
                      <a:pt x="2" y="0"/>
                    </a:lnTo>
                    <a:lnTo>
                      <a:pt x="2" y="0"/>
                    </a:lnTo>
                    <a:lnTo>
                      <a:pt x="0" y="0"/>
                    </a:lnTo>
                    <a:lnTo>
                      <a:pt x="0" y="2"/>
                    </a:lnTo>
                    <a:lnTo>
                      <a:pt x="2"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92" name="Freeform 2846"/>
              <p:cNvSpPr>
                <a:spLocks/>
              </p:cNvSpPr>
              <p:nvPr/>
            </p:nvSpPr>
            <p:spPr bwMode="auto">
              <a:xfrm>
                <a:off x="5253" y="2893"/>
                <a:ext cx="7" cy="6"/>
              </a:xfrm>
              <a:custGeom>
                <a:avLst/>
                <a:gdLst>
                  <a:gd name="T0" fmla="*/ 0 w 7"/>
                  <a:gd name="T1" fmla="*/ 2 h 6"/>
                  <a:gd name="T2" fmla="*/ 0 w 7"/>
                  <a:gd name="T3" fmla="*/ 2 h 6"/>
                  <a:gd name="T4" fmla="*/ 5 w 7"/>
                  <a:gd name="T5" fmla="*/ 2 h 6"/>
                  <a:gd name="T6" fmla="*/ 5 w 7"/>
                  <a:gd name="T7" fmla="*/ 2 h 6"/>
                  <a:gd name="T8" fmla="*/ 5 w 7"/>
                  <a:gd name="T9" fmla="*/ 4 h 6"/>
                  <a:gd name="T10" fmla="*/ 7 w 7"/>
                  <a:gd name="T11" fmla="*/ 6 h 6"/>
                  <a:gd name="T12" fmla="*/ 7 w 7"/>
                  <a:gd name="T13" fmla="*/ 6 h 6"/>
                  <a:gd name="T14" fmla="*/ 7 w 7"/>
                  <a:gd name="T15" fmla="*/ 4 h 6"/>
                  <a:gd name="T16" fmla="*/ 5 w 7"/>
                  <a:gd name="T17" fmla="*/ 2 h 6"/>
                  <a:gd name="T18" fmla="*/ 2 w 7"/>
                  <a:gd name="T19" fmla="*/ 0 h 6"/>
                  <a:gd name="T20" fmla="*/ 0 w 7"/>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0" y="2"/>
                    </a:moveTo>
                    <a:lnTo>
                      <a:pt x="0" y="2"/>
                    </a:lnTo>
                    <a:lnTo>
                      <a:pt x="5" y="2"/>
                    </a:lnTo>
                    <a:lnTo>
                      <a:pt x="5" y="2"/>
                    </a:lnTo>
                    <a:lnTo>
                      <a:pt x="5" y="4"/>
                    </a:lnTo>
                    <a:lnTo>
                      <a:pt x="7" y="6"/>
                    </a:lnTo>
                    <a:lnTo>
                      <a:pt x="7" y="6"/>
                    </a:lnTo>
                    <a:lnTo>
                      <a:pt x="7" y="4"/>
                    </a:lnTo>
                    <a:lnTo>
                      <a:pt x="5" y="2"/>
                    </a:lnTo>
                    <a:lnTo>
                      <a:pt x="2" y="0"/>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93" name="Freeform 2847"/>
              <p:cNvSpPr>
                <a:spLocks/>
              </p:cNvSpPr>
              <p:nvPr/>
            </p:nvSpPr>
            <p:spPr bwMode="auto">
              <a:xfrm>
                <a:off x="5253" y="2893"/>
                <a:ext cx="7" cy="6"/>
              </a:xfrm>
              <a:custGeom>
                <a:avLst/>
                <a:gdLst>
                  <a:gd name="T0" fmla="*/ 0 w 7"/>
                  <a:gd name="T1" fmla="*/ 2 h 6"/>
                  <a:gd name="T2" fmla="*/ 0 w 7"/>
                  <a:gd name="T3" fmla="*/ 2 h 6"/>
                  <a:gd name="T4" fmla="*/ 5 w 7"/>
                  <a:gd name="T5" fmla="*/ 2 h 6"/>
                  <a:gd name="T6" fmla="*/ 5 w 7"/>
                  <a:gd name="T7" fmla="*/ 2 h 6"/>
                  <a:gd name="T8" fmla="*/ 5 w 7"/>
                  <a:gd name="T9" fmla="*/ 4 h 6"/>
                  <a:gd name="T10" fmla="*/ 7 w 7"/>
                  <a:gd name="T11" fmla="*/ 6 h 6"/>
                  <a:gd name="T12" fmla="*/ 7 w 7"/>
                  <a:gd name="T13" fmla="*/ 6 h 6"/>
                  <a:gd name="T14" fmla="*/ 7 w 7"/>
                  <a:gd name="T15" fmla="*/ 4 h 6"/>
                  <a:gd name="T16" fmla="*/ 5 w 7"/>
                  <a:gd name="T17" fmla="*/ 2 h 6"/>
                  <a:gd name="T18" fmla="*/ 2 w 7"/>
                  <a:gd name="T19" fmla="*/ 0 h 6"/>
                  <a:gd name="T20" fmla="*/ 0 w 7"/>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6">
                    <a:moveTo>
                      <a:pt x="0" y="2"/>
                    </a:moveTo>
                    <a:lnTo>
                      <a:pt x="0" y="2"/>
                    </a:lnTo>
                    <a:lnTo>
                      <a:pt x="5" y="2"/>
                    </a:lnTo>
                    <a:lnTo>
                      <a:pt x="5" y="2"/>
                    </a:lnTo>
                    <a:lnTo>
                      <a:pt x="5" y="4"/>
                    </a:lnTo>
                    <a:lnTo>
                      <a:pt x="7" y="6"/>
                    </a:lnTo>
                    <a:lnTo>
                      <a:pt x="7" y="6"/>
                    </a:lnTo>
                    <a:lnTo>
                      <a:pt x="7" y="4"/>
                    </a:lnTo>
                    <a:lnTo>
                      <a:pt x="5" y="2"/>
                    </a:lnTo>
                    <a:lnTo>
                      <a:pt x="2" y="0"/>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94" name="Freeform 2848"/>
              <p:cNvSpPr>
                <a:spLocks/>
              </p:cNvSpPr>
              <p:nvPr/>
            </p:nvSpPr>
            <p:spPr bwMode="auto">
              <a:xfrm>
                <a:off x="5262" y="2854"/>
                <a:ext cx="0" cy="2"/>
              </a:xfrm>
              <a:custGeom>
                <a:avLst/>
                <a:gdLst>
                  <a:gd name="T0" fmla="*/ 2 h 2"/>
                  <a:gd name="T1" fmla="*/ 2 h 2"/>
                  <a:gd name="T2" fmla="*/ 0 h 2"/>
                  <a:gd name="T3" fmla="*/ 0 h 2"/>
                  <a:gd name="T4" fmla="*/ 0 h 2"/>
                  <a:gd name="T5" fmla="*/ 0 h 2"/>
                  <a:gd name="T6" fmla="*/ 2 h 2"/>
                </a:gdLst>
                <a:ahLst/>
                <a:cxnLst>
                  <a:cxn ang="0">
                    <a:pos x="0" y="T0"/>
                  </a:cxn>
                  <a:cxn ang="0">
                    <a:pos x="0" y="T1"/>
                  </a:cxn>
                  <a:cxn ang="0">
                    <a:pos x="0" y="T2"/>
                  </a:cxn>
                  <a:cxn ang="0">
                    <a:pos x="0" y="T3"/>
                  </a:cxn>
                  <a:cxn ang="0">
                    <a:pos x="0" y="T4"/>
                  </a:cxn>
                  <a:cxn ang="0">
                    <a:pos x="0" y="T5"/>
                  </a:cxn>
                  <a:cxn ang="0">
                    <a:pos x="0" y="T6"/>
                  </a:cxn>
                </a:cxnLst>
                <a:rect l="0" t="0" r="r" b="b"/>
                <a:pathLst>
                  <a:path h="2">
                    <a:moveTo>
                      <a:pt x="0" y="2"/>
                    </a:moveTo>
                    <a:lnTo>
                      <a:pt x="0" y="2"/>
                    </a:lnTo>
                    <a:lnTo>
                      <a:pt x="0" y="0"/>
                    </a:lnTo>
                    <a:lnTo>
                      <a:pt x="0" y="0"/>
                    </a:lnTo>
                    <a:lnTo>
                      <a:pt x="0" y="0"/>
                    </a:lnTo>
                    <a:lnTo>
                      <a:pt x="0" y="0"/>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95" name="Freeform 2849"/>
              <p:cNvSpPr>
                <a:spLocks/>
              </p:cNvSpPr>
              <p:nvPr/>
            </p:nvSpPr>
            <p:spPr bwMode="auto">
              <a:xfrm>
                <a:off x="5262" y="2854"/>
                <a:ext cx="0" cy="2"/>
              </a:xfrm>
              <a:custGeom>
                <a:avLst/>
                <a:gdLst>
                  <a:gd name="T0" fmla="*/ 2 h 2"/>
                  <a:gd name="T1" fmla="*/ 2 h 2"/>
                  <a:gd name="T2" fmla="*/ 0 h 2"/>
                  <a:gd name="T3" fmla="*/ 0 h 2"/>
                  <a:gd name="T4" fmla="*/ 0 h 2"/>
                  <a:gd name="T5" fmla="*/ 0 h 2"/>
                  <a:gd name="T6" fmla="*/ 2 h 2"/>
                </a:gdLst>
                <a:ahLst/>
                <a:cxnLst>
                  <a:cxn ang="0">
                    <a:pos x="0" y="T0"/>
                  </a:cxn>
                  <a:cxn ang="0">
                    <a:pos x="0" y="T1"/>
                  </a:cxn>
                  <a:cxn ang="0">
                    <a:pos x="0" y="T2"/>
                  </a:cxn>
                  <a:cxn ang="0">
                    <a:pos x="0" y="T3"/>
                  </a:cxn>
                  <a:cxn ang="0">
                    <a:pos x="0" y="T4"/>
                  </a:cxn>
                  <a:cxn ang="0">
                    <a:pos x="0" y="T5"/>
                  </a:cxn>
                  <a:cxn ang="0">
                    <a:pos x="0" y="T6"/>
                  </a:cxn>
                </a:cxnLst>
                <a:rect l="0" t="0" r="r" b="b"/>
                <a:pathLst>
                  <a:path h="2">
                    <a:moveTo>
                      <a:pt x="0" y="2"/>
                    </a:moveTo>
                    <a:lnTo>
                      <a:pt x="0" y="2"/>
                    </a:lnTo>
                    <a:lnTo>
                      <a:pt x="0" y="0"/>
                    </a:lnTo>
                    <a:lnTo>
                      <a:pt x="0" y="0"/>
                    </a:lnTo>
                    <a:lnTo>
                      <a:pt x="0" y="0"/>
                    </a:lnTo>
                    <a:lnTo>
                      <a:pt x="0" y="0"/>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96" name="Freeform 2850"/>
              <p:cNvSpPr>
                <a:spLocks/>
              </p:cNvSpPr>
              <p:nvPr/>
            </p:nvSpPr>
            <p:spPr bwMode="auto">
              <a:xfrm>
                <a:off x="5231" y="2597"/>
                <a:ext cx="2" cy="3"/>
              </a:xfrm>
              <a:custGeom>
                <a:avLst/>
                <a:gdLst>
                  <a:gd name="T0" fmla="*/ 2 w 2"/>
                  <a:gd name="T1" fmla="*/ 3 h 3"/>
                  <a:gd name="T2" fmla="*/ 2 w 2"/>
                  <a:gd name="T3" fmla="*/ 3 h 3"/>
                  <a:gd name="T4" fmla="*/ 2 w 2"/>
                  <a:gd name="T5" fmla="*/ 2 h 3"/>
                  <a:gd name="T6" fmla="*/ 2 w 2"/>
                  <a:gd name="T7" fmla="*/ 2 h 3"/>
                  <a:gd name="T8" fmla="*/ 0 w 2"/>
                  <a:gd name="T9" fmla="*/ 0 h 3"/>
                  <a:gd name="T10" fmla="*/ 0 w 2"/>
                  <a:gd name="T11" fmla="*/ 0 h 3"/>
                  <a:gd name="T12" fmla="*/ 2 w 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3"/>
                    </a:moveTo>
                    <a:lnTo>
                      <a:pt x="2" y="3"/>
                    </a:lnTo>
                    <a:lnTo>
                      <a:pt x="2" y="2"/>
                    </a:lnTo>
                    <a:lnTo>
                      <a:pt x="2" y="2"/>
                    </a:lnTo>
                    <a:lnTo>
                      <a:pt x="0" y="0"/>
                    </a:lnTo>
                    <a:lnTo>
                      <a:pt x="0" y="0"/>
                    </a:lnTo>
                    <a:lnTo>
                      <a:pt x="2"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97" name="Freeform 2851"/>
              <p:cNvSpPr>
                <a:spLocks/>
              </p:cNvSpPr>
              <p:nvPr/>
            </p:nvSpPr>
            <p:spPr bwMode="auto">
              <a:xfrm>
                <a:off x="5231" y="2597"/>
                <a:ext cx="2" cy="3"/>
              </a:xfrm>
              <a:custGeom>
                <a:avLst/>
                <a:gdLst>
                  <a:gd name="T0" fmla="*/ 2 w 2"/>
                  <a:gd name="T1" fmla="*/ 3 h 3"/>
                  <a:gd name="T2" fmla="*/ 2 w 2"/>
                  <a:gd name="T3" fmla="*/ 3 h 3"/>
                  <a:gd name="T4" fmla="*/ 2 w 2"/>
                  <a:gd name="T5" fmla="*/ 2 h 3"/>
                  <a:gd name="T6" fmla="*/ 2 w 2"/>
                  <a:gd name="T7" fmla="*/ 2 h 3"/>
                  <a:gd name="T8" fmla="*/ 0 w 2"/>
                  <a:gd name="T9" fmla="*/ 0 h 3"/>
                  <a:gd name="T10" fmla="*/ 0 w 2"/>
                  <a:gd name="T11" fmla="*/ 0 h 3"/>
                  <a:gd name="T12" fmla="*/ 2 w 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3"/>
                    </a:moveTo>
                    <a:lnTo>
                      <a:pt x="2" y="3"/>
                    </a:lnTo>
                    <a:lnTo>
                      <a:pt x="2" y="2"/>
                    </a:lnTo>
                    <a:lnTo>
                      <a:pt x="2" y="2"/>
                    </a:lnTo>
                    <a:lnTo>
                      <a:pt x="0" y="0"/>
                    </a:lnTo>
                    <a:lnTo>
                      <a:pt x="0" y="0"/>
                    </a:lnTo>
                    <a:lnTo>
                      <a:pt x="2"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98" name="Freeform 2852"/>
              <p:cNvSpPr>
                <a:spLocks/>
              </p:cNvSpPr>
              <p:nvPr/>
            </p:nvSpPr>
            <p:spPr bwMode="auto">
              <a:xfrm>
                <a:off x="4573" y="2524"/>
                <a:ext cx="41" cy="46"/>
              </a:xfrm>
              <a:custGeom>
                <a:avLst/>
                <a:gdLst>
                  <a:gd name="T0" fmla="*/ 1 w 41"/>
                  <a:gd name="T1" fmla="*/ 42 h 46"/>
                  <a:gd name="T2" fmla="*/ 0 w 41"/>
                  <a:gd name="T3" fmla="*/ 46 h 46"/>
                  <a:gd name="T4" fmla="*/ 12 w 41"/>
                  <a:gd name="T5" fmla="*/ 39 h 46"/>
                  <a:gd name="T6" fmla="*/ 16 w 41"/>
                  <a:gd name="T7" fmla="*/ 35 h 46"/>
                  <a:gd name="T8" fmla="*/ 25 w 41"/>
                  <a:gd name="T9" fmla="*/ 28 h 46"/>
                  <a:gd name="T10" fmla="*/ 25 w 41"/>
                  <a:gd name="T11" fmla="*/ 25 h 46"/>
                  <a:gd name="T12" fmla="*/ 26 w 41"/>
                  <a:gd name="T13" fmla="*/ 25 h 46"/>
                  <a:gd name="T14" fmla="*/ 26 w 41"/>
                  <a:gd name="T15" fmla="*/ 23 h 46"/>
                  <a:gd name="T16" fmla="*/ 30 w 41"/>
                  <a:gd name="T17" fmla="*/ 21 h 46"/>
                  <a:gd name="T18" fmla="*/ 34 w 41"/>
                  <a:gd name="T19" fmla="*/ 21 h 46"/>
                  <a:gd name="T20" fmla="*/ 34 w 41"/>
                  <a:gd name="T21" fmla="*/ 19 h 46"/>
                  <a:gd name="T22" fmla="*/ 39 w 41"/>
                  <a:gd name="T23" fmla="*/ 16 h 46"/>
                  <a:gd name="T24" fmla="*/ 41 w 41"/>
                  <a:gd name="T25" fmla="*/ 16 h 46"/>
                  <a:gd name="T26" fmla="*/ 39 w 41"/>
                  <a:gd name="T27" fmla="*/ 10 h 46"/>
                  <a:gd name="T28" fmla="*/ 39 w 41"/>
                  <a:gd name="T29" fmla="*/ 7 h 46"/>
                  <a:gd name="T30" fmla="*/ 39 w 41"/>
                  <a:gd name="T31" fmla="*/ 1 h 46"/>
                  <a:gd name="T32" fmla="*/ 37 w 41"/>
                  <a:gd name="T33" fmla="*/ 0 h 46"/>
                  <a:gd name="T34" fmla="*/ 37 w 41"/>
                  <a:gd name="T35" fmla="*/ 3 h 46"/>
                  <a:gd name="T36" fmla="*/ 35 w 41"/>
                  <a:gd name="T37" fmla="*/ 5 h 46"/>
                  <a:gd name="T38" fmla="*/ 37 w 41"/>
                  <a:gd name="T39" fmla="*/ 10 h 46"/>
                  <a:gd name="T40" fmla="*/ 35 w 41"/>
                  <a:gd name="T41" fmla="*/ 8 h 46"/>
                  <a:gd name="T42" fmla="*/ 34 w 41"/>
                  <a:gd name="T43" fmla="*/ 7 h 46"/>
                  <a:gd name="T44" fmla="*/ 35 w 41"/>
                  <a:gd name="T45" fmla="*/ 10 h 46"/>
                  <a:gd name="T46" fmla="*/ 32 w 41"/>
                  <a:gd name="T47" fmla="*/ 16 h 46"/>
                  <a:gd name="T48" fmla="*/ 32 w 41"/>
                  <a:gd name="T49" fmla="*/ 14 h 46"/>
                  <a:gd name="T50" fmla="*/ 30 w 41"/>
                  <a:gd name="T51" fmla="*/ 16 h 46"/>
                  <a:gd name="T52" fmla="*/ 28 w 41"/>
                  <a:gd name="T53" fmla="*/ 17 h 46"/>
                  <a:gd name="T54" fmla="*/ 26 w 41"/>
                  <a:gd name="T55" fmla="*/ 17 h 46"/>
                  <a:gd name="T56" fmla="*/ 26 w 41"/>
                  <a:gd name="T57" fmla="*/ 19 h 46"/>
                  <a:gd name="T58" fmla="*/ 26 w 41"/>
                  <a:gd name="T59" fmla="*/ 21 h 46"/>
                  <a:gd name="T60" fmla="*/ 25 w 41"/>
                  <a:gd name="T61" fmla="*/ 19 h 46"/>
                  <a:gd name="T62" fmla="*/ 25 w 41"/>
                  <a:gd name="T63" fmla="*/ 23 h 46"/>
                  <a:gd name="T64" fmla="*/ 21 w 41"/>
                  <a:gd name="T65" fmla="*/ 26 h 46"/>
                  <a:gd name="T66" fmla="*/ 14 w 41"/>
                  <a:gd name="T67" fmla="*/ 32 h 46"/>
                  <a:gd name="T68" fmla="*/ 12 w 41"/>
                  <a:gd name="T69" fmla="*/ 32 h 46"/>
                  <a:gd name="T70" fmla="*/ 9 w 41"/>
                  <a:gd name="T71" fmla="*/ 33 h 46"/>
                  <a:gd name="T72" fmla="*/ 1 w 41"/>
                  <a:gd name="T73"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6">
                    <a:moveTo>
                      <a:pt x="1" y="42"/>
                    </a:moveTo>
                    <a:lnTo>
                      <a:pt x="1" y="42"/>
                    </a:lnTo>
                    <a:lnTo>
                      <a:pt x="0" y="46"/>
                    </a:lnTo>
                    <a:lnTo>
                      <a:pt x="0" y="46"/>
                    </a:lnTo>
                    <a:lnTo>
                      <a:pt x="9" y="41"/>
                    </a:lnTo>
                    <a:lnTo>
                      <a:pt x="12" y="39"/>
                    </a:lnTo>
                    <a:lnTo>
                      <a:pt x="16" y="35"/>
                    </a:lnTo>
                    <a:lnTo>
                      <a:pt x="16" y="35"/>
                    </a:lnTo>
                    <a:lnTo>
                      <a:pt x="23" y="32"/>
                    </a:lnTo>
                    <a:lnTo>
                      <a:pt x="25" y="28"/>
                    </a:lnTo>
                    <a:lnTo>
                      <a:pt x="26" y="26"/>
                    </a:lnTo>
                    <a:lnTo>
                      <a:pt x="25" y="25"/>
                    </a:lnTo>
                    <a:lnTo>
                      <a:pt x="25" y="25"/>
                    </a:lnTo>
                    <a:lnTo>
                      <a:pt x="26" y="25"/>
                    </a:lnTo>
                    <a:lnTo>
                      <a:pt x="26" y="23"/>
                    </a:lnTo>
                    <a:lnTo>
                      <a:pt x="26" y="23"/>
                    </a:lnTo>
                    <a:lnTo>
                      <a:pt x="28" y="21"/>
                    </a:lnTo>
                    <a:lnTo>
                      <a:pt x="30" y="21"/>
                    </a:lnTo>
                    <a:lnTo>
                      <a:pt x="30" y="21"/>
                    </a:lnTo>
                    <a:lnTo>
                      <a:pt x="34" y="21"/>
                    </a:lnTo>
                    <a:lnTo>
                      <a:pt x="34" y="19"/>
                    </a:lnTo>
                    <a:lnTo>
                      <a:pt x="34" y="19"/>
                    </a:lnTo>
                    <a:lnTo>
                      <a:pt x="35" y="17"/>
                    </a:lnTo>
                    <a:lnTo>
                      <a:pt x="39" y="16"/>
                    </a:lnTo>
                    <a:lnTo>
                      <a:pt x="39" y="16"/>
                    </a:lnTo>
                    <a:lnTo>
                      <a:pt x="41" y="16"/>
                    </a:lnTo>
                    <a:lnTo>
                      <a:pt x="41" y="14"/>
                    </a:lnTo>
                    <a:lnTo>
                      <a:pt x="39" y="10"/>
                    </a:lnTo>
                    <a:lnTo>
                      <a:pt x="39" y="10"/>
                    </a:lnTo>
                    <a:lnTo>
                      <a:pt x="39" y="7"/>
                    </a:lnTo>
                    <a:lnTo>
                      <a:pt x="39" y="5"/>
                    </a:lnTo>
                    <a:lnTo>
                      <a:pt x="39" y="1"/>
                    </a:lnTo>
                    <a:lnTo>
                      <a:pt x="37" y="0"/>
                    </a:lnTo>
                    <a:lnTo>
                      <a:pt x="37" y="0"/>
                    </a:lnTo>
                    <a:lnTo>
                      <a:pt x="37" y="1"/>
                    </a:lnTo>
                    <a:lnTo>
                      <a:pt x="37" y="3"/>
                    </a:lnTo>
                    <a:lnTo>
                      <a:pt x="35" y="5"/>
                    </a:lnTo>
                    <a:lnTo>
                      <a:pt x="35" y="5"/>
                    </a:lnTo>
                    <a:lnTo>
                      <a:pt x="35" y="5"/>
                    </a:lnTo>
                    <a:lnTo>
                      <a:pt x="37" y="10"/>
                    </a:lnTo>
                    <a:lnTo>
                      <a:pt x="37" y="10"/>
                    </a:lnTo>
                    <a:lnTo>
                      <a:pt x="35" y="8"/>
                    </a:lnTo>
                    <a:lnTo>
                      <a:pt x="34" y="7"/>
                    </a:lnTo>
                    <a:lnTo>
                      <a:pt x="34" y="7"/>
                    </a:lnTo>
                    <a:lnTo>
                      <a:pt x="35" y="10"/>
                    </a:lnTo>
                    <a:lnTo>
                      <a:pt x="35" y="10"/>
                    </a:lnTo>
                    <a:lnTo>
                      <a:pt x="34" y="14"/>
                    </a:lnTo>
                    <a:lnTo>
                      <a:pt x="32" y="16"/>
                    </a:lnTo>
                    <a:lnTo>
                      <a:pt x="32" y="14"/>
                    </a:lnTo>
                    <a:lnTo>
                      <a:pt x="32" y="14"/>
                    </a:lnTo>
                    <a:lnTo>
                      <a:pt x="30" y="16"/>
                    </a:lnTo>
                    <a:lnTo>
                      <a:pt x="30" y="16"/>
                    </a:lnTo>
                    <a:lnTo>
                      <a:pt x="28" y="16"/>
                    </a:lnTo>
                    <a:lnTo>
                      <a:pt x="28" y="17"/>
                    </a:lnTo>
                    <a:lnTo>
                      <a:pt x="28" y="17"/>
                    </a:lnTo>
                    <a:lnTo>
                      <a:pt x="26" y="17"/>
                    </a:lnTo>
                    <a:lnTo>
                      <a:pt x="26" y="17"/>
                    </a:lnTo>
                    <a:lnTo>
                      <a:pt x="26" y="19"/>
                    </a:lnTo>
                    <a:lnTo>
                      <a:pt x="26" y="21"/>
                    </a:lnTo>
                    <a:lnTo>
                      <a:pt x="26" y="21"/>
                    </a:lnTo>
                    <a:lnTo>
                      <a:pt x="26" y="19"/>
                    </a:lnTo>
                    <a:lnTo>
                      <a:pt x="25" y="19"/>
                    </a:lnTo>
                    <a:lnTo>
                      <a:pt x="25" y="23"/>
                    </a:lnTo>
                    <a:lnTo>
                      <a:pt x="25" y="23"/>
                    </a:lnTo>
                    <a:lnTo>
                      <a:pt x="21" y="26"/>
                    </a:lnTo>
                    <a:lnTo>
                      <a:pt x="21" y="26"/>
                    </a:lnTo>
                    <a:lnTo>
                      <a:pt x="14" y="32"/>
                    </a:lnTo>
                    <a:lnTo>
                      <a:pt x="14" y="32"/>
                    </a:lnTo>
                    <a:lnTo>
                      <a:pt x="12" y="32"/>
                    </a:lnTo>
                    <a:lnTo>
                      <a:pt x="12" y="32"/>
                    </a:lnTo>
                    <a:lnTo>
                      <a:pt x="9" y="33"/>
                    </a:lnTo>
                    <a:lnTo>
                      <a:pt x="9" y="33"/>
                    </a:lnTo>
                    <a:lnTo>
                      <a:pt x="5" y="37"/>
                    </a:lnTo>
                    <a:lnTo>
                      <a:pt x="1" y="4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799" name="Freeform 2853"/>
              <p:cNvSpPr>
                <a:spLocks/>
              </p:cNvSpPr>
              <p:nvPr/>
            </p:nvSpPr>
            <p:spPr bwMode="auto">
              <a:xfrm>
                <a:off x="4573" y="2524"/>
                <a:ext cx="41" cy="46"/>
              </a:xfrm>
              <a:custGeom>
                <a:avLst/>
                <a:gdLst>
                  <a:gd name="T0" fmla="*/ 1 w 41"/>
                  <a:gd name="T1" fmla="*/ 42 h 46"/>
                  <a:gd name="T2" fmla="*/ 0 w 41"/>
                  <a:gd name="T3" fmla="*/ 46 h 46"/>
                  <a:gd name="T4" fmla="*/ 12 w 41"/>
                  <a:gd name="T5" fmla="*/ 39 h 46"/>
                  <a:gd name="T6" fmla="*/ 16 w 41"/>
                  <a:gd name="T7" fmla="*/ 35 h 46"/>
                  <a:gd name="T8" fmla="*/ 25 w 41"/>
                  <a:gd name="T9" fmla="*/ 28 h 46"/>
                  <a:gd name="T10" fmla="*/ 25 w 41"/>
                  <a:gd name="T11" fmla="*/ 25 h 46"/>
                  <a:gd name="T12" fmla="*/ 26 w 41"/>
                  <a:gd name="T13" fmla="*/ 25 h 46"/>
                  <a:gd name="T14" fmla="*/ 26 w 41"/>
                  <a:gd name="T15" fmla="*/ 23 h 46"/>
                  <a:gd name="T16" fmla="*/ 30 w 41"/>
                  <a:gd name="T17" fmla="*/ 21 h 46"/>
                  <a:gd name="T18" fmla="*/ 34 w 41"/>
                  <a:gd name="T19" fmla="*/ 21 h 46"/>
                  <a:gd name="T20" fmla="*/ 34 w 41"/>
                  <a:gd name="T21" fmla="*/ 19 h 46"/>
                  <a:gd name="T22" fmla="*/ 39 w 41"/>
                  <a:gd name="T23" fmla="*/ 16 h 46"/>
                  <a:gd name="T24" fmla="*/ 41 w 41"/>
                  <a:gd name="T25" fmla="*/ 16 h 46"/>
                  <a:gd name="T26" fmla="*/ 39 w 41"/>
                  <a:gd name="T27" fmla="*/ 10 h 46"/>
                  <a:gd name="T28" fmla="*/ 39 w 41"/>
                  <a:gd name="T29" fmla="*/ 7 h 46"/>
                  <a:gd name="T30" fmla="*/ 39 w 41"/>
                  <a:gd name="T31" fmla="*/ 1 h 46"/>
                  <a:gd name="T32" fmla="*/ 37 w 41"/>
                  <a:gd name="T33" fmla="*/ 0 h 46"/>
                  <a:gd name="T34" fmla="*/ 37 w 41"/>
                  <a:gd name="T35" fmla="*/ 3 h 46"/>
                  <a:gd name="T36" fmla="*/ 35 w 41"/>
                  <a:gd name="T37" fmla="*/ 5 h 46"/>
                  <a:gd name="T38" fmla="*/ 37 w 41"/>
                  <a:gd name="T39" fmla="*/ 10 h 46"/>
                  <a:gd name="T40" fmla="*/ 35 w 41"/>
                  <a:gd name="T41" fmla="*/ 8 h 46"/>
                  <a:gd name="T42" fmla="*/ 34 w 41"/>
                  <a:gd name="T43" fmla="*/ 7 h 46"/>
                  <a:gd name="T44" fmla="*/ 35 w 41"/>
                  <a:gd name="T45" fmla="*/ 10 h 46"/>
                  <a:gd name="T46" fmla="*/ 32 w 41"/>
                  <a:gd name="T47" fmla="*/ 16 h 46"/>
                  <a:gd name="T48" fmla="*/ 32 w 41"/>
                  <a:gd name="T49" fmla="*/ 14 h 46"/>
                  <a:gd name="T50" fmla="*/ 30 w 41"/>
                  <a:gd name="T51" fmla="*/ 16 h 46"/>
                  <a:gd name="T52" fmla="*/ 28 w 41"/>
                  <a:gd name="T53" fmla="*/ 17 h 46"/>
                  <a:gd name="T54" fmla="*/ 26 w 41"/>
                  <a:gd name="T55" fmla="*/ 17 h 46"/>
                  <a:gd name="T56" fmla="*/ 26 w 41"/>
                  <a:gd name="T57" fmla="*/ 19 h 46"/>
                  <a:gd name="T58" fmla="*/ 26 w 41"/>
                  <a:gd name="T59" fmla="*/ 21 h 46"/>
                  <a:gd name="T60" fmla="*/ 25 w 41"/>
                  <a:gd name="T61" fmla="*/ 19 h 46"/>
                  <a:gd name="T62" fmla="*/ 25 w 41"/>
                  <a:gd name="T63" fmla="*/ 23 h 46"/>
                  <a:gd name="T64" fmla="*/ 21 w 41"/>
                  <a:gd name="T65" fmla="*/ 26 h 46"/>
                  <a:gd name="T66" fmla="*/ 14 w 41"/>
                  <a:gd name="T67" fmla="*/ 32 h 46"/>
                  <a:gd name="T68" fmla="*/ 12 w 41"/>
                  <a:gd name="T69" fmla="*/ 32 h 46"/>
                  <a:gd name="T70" fmla="*/ 9 w 41"/>
                  <a:gd name="T71" fmla="*/ 33 h 46"/>
                  <a:gd name="T72" fmla="*/ 1 w 41"/>
                  <a:gd name="T73" fmla="*/ 4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 h="46">
                    <a:moveTo>
                      <a:pt x="1" y="42"/>
                    </a:moveTo>
                    <a:lnTo>
                      <a:pt x="1" y="42"/>
                    </a:lnTo>
                    <a:lnTo>
                      <a:pt x="0" y="46"/>
                    </a:lnTo>
                    <a:lnTo>
                      <a:pt x="0" y="46"/>
                    </a:lnTo>
                    <a:lnTo>
                      <a:pt x="9" y="41"/>
                    </a:lnTo>
                    <a:lnTo>
                      <a:pt x="12" y="39"/>
                    </a:lnTo>
                    <a:lnTo>
                      <a:pt x="16" y="35"/>
                    </a:lnTo>
                    <a:lnTo>
                      <a:pt x="16" y="35"/>
                    </a:lnTo>
                    <a:lnTo>
                      <a:pt x="23" y="32"/>
                    </a:lnTo>
                    <a:lnTo>
                      <a:pt x="25" y="28"/>
                    </a:lnTo>
                    <a:lnTo>
                      <a:pt x="26" y="26"/>
                    </a:lnTo>
                    <a:lnTo>
                      <a:pt x="25" y="25"/>
                    </a:lnTo>
                    <a:lnTo>
                      <a:pt x="25" y="25"/>
                    </a:lnTo>
                    <a:lnTo>
                      <a:pt x="26" y="25"/>
                    </a:lnTo>
                    <a:lnTo>
                      <a:pt x="26" y="23"/>
                    </a:lnTo>
                    <a:lnTo>
                      <a:pt x="26" y="23"/>
                    </a:lnTo>
                    <a:lnTo>
                      <a:pt x="28" y="21"/>
                    </a:lnTo>
                    <a:lnTo>
                      <a:pt x="30" y="21"/>
                    </a:lnTo>
                    <a:lnTo>
                      <a:pt x="30" y="21"/>
                    </a:lnTo>
                    <a:lnTo>
                      <a:pt x="34" y="21"/>
                    </a:lnTo>
                    <a:lnTo>
                      <a:pt x="34" y="19"/>
                    </a:lnTo>
                    <a:lnTo>
                      <a:pt x="34" y="19"/>
                    </a:lnTo>
                    <a:lnTo>
                      <a:pt x="35" y="17"/>
                    </a:lnTo>
                    <a:lnTo>
                      <a:pt x="39" y="16"/>
                    </a:lnTo>
                    <a:lnTo>
                      <a:pt x="39" y="16"/>
                    </a:lnTo>
                    <a:lnTo>
                      <a:pt x="41" y="16"/>
                    </a:lnTo>
                    <a:lnTo>
                      <a:pt x="41" y="14"/>
                    </a:lnTo>
                    <a:lnTo>
                      <a:pt x="39" y="10"/>
                    </a:lnTo>
                    <a:lnTo>
                      <a:pt x="39" y="10"/>
                    </a:lnTo>
                    <a:lnTo>
                      <a:pt x="39" y="7"/>
                    </a:lnTo>
                    <a:lnTo>
                      <a:pt x="39" y="5"/>
                    </a:lnTo>
                    <a:lnTo>
                      <a:pt x="39" y="1"/>
                    </a:lnTo>
                    <a:lnTo>
                      <a:pt x="37" y="0"/>
                    </a:lnTo>
                    <a:lnTo>
                      <a:pt x="37" y="0"/>
                    </a:lnTo>
                    <a:lnTo>
                      <a:pt x="37" y="1"/>
                    </a:lnTo>
                    <a:lnTo>
                      <a:pt x="37" y="3"/>
                    </a:lnTo>
                    <a:lnTo>
                      <a:pt x="35" y="5"/>
                    </a:lnTo>
                    <a:lnTo>
                      <a:pt x="35" y="5"/>
                    </a:lnTo>
                    <a:lnTo>
                      <a:pt x="35" y="5"/>
                    </a:lnTo>
                    <a:lnTo>
                      <a:pt x="37" y="10"/>
                    </a:lnTo>
                    <a:lnTo>
                      <a:pt x="37" y="10"/>
                    </a:lnTo>
                    <a:lnTo>
                      <a:pt x="35" y="8"/>
                    </a:lnTo>
                    <a:lnTo>
                      <a:pt x="34" y="7"/>
                    </a:lnTo>
                    <a:lnTo>
                      <a:pt x="34" y="7"/>
                    </a:lnTo>
                    <a:lnTo>
                      <a:pt x="35" y="10"/>
                    </a:lnTo>
                    <a:lnTo>
                      <a:pt x="35" y="10"/>
                    </a:lnTo>
                    <a:lnTo>
                      <a:pt x="34" y="14"/>
                    </a:lnTo>
                    <a:lnTo>
                      <a:pt x="32" y="16"/>
                    </a:lnTo>
                    <a:lnTo>
                      <a:pt x="32" y="14"/>
                    </a:lnTo>
                    <a:lnTo>
                      <a:pt x="32" y="14"/>
                    </a:lnTo>
                    <a:lnTo>
                      <a:pt x="30" y="16"/>
                    </a:lnTo>
                    <a:lnTo>
                      <a:pt x="30" y="16"/>
                    </a:lnTo>
                    <a:lnTo>
                      <a:pt x="28" y="16"/>
                    </a:lnTo>
                    <a:lnTo>
                      <a:pt x="28" y="17"/>
                    </a:lnTo>
                    <a:lnTo>
                      <a:pt x="28" y="17"/>
                    </a:lnTo>
                    <a:lnTo>
                      <a:pt x="26" y="17"/>
                    </a:lnTo>
                    <a:lnTo>
                      <a:pt x="26" y="17"/>
                    </a:lnTo>
                    <a:lnTo>
                      <a:pt x="26" y="19"/>
                    </a:lnTo>
                    <a:lnTo>
                      <a:pt x="26" y="21"/>
                    </a:lnTo>
                    <a:lnTo>
                      <a:pt x="26" y="21"/>
                    </a:lnTo>
                    <a:lnTo>
                      <a:pt x="26" y="19"/>
                    </a:lnTo>
                    <a:lnTo>
                      <a:pt x="25" y="19"/>
                    </a:lnTo>
                    <a:lnTo>
                      <a:pt x="25" y="23"/>
                    </a:lnTo>
                    <a:lnTo>
                      <a:pt x="25" y="23"/>
                    </a:lnTo>
                    <a:lnTo>
                      <a:pt x="21" y="26"/>
                    </a:lnTo>
                    <a:lnTo>
                      <a:pt x="21" y="26"/>
                    </a:lnTo>
                    <a:lnTo>
                      <a:pt x="14" y="32"/>
                    </a:lnTo>
                    <a:lnTo>
                      <a:pt x="14" y="32"/>
                    </a:lnTo>
                    <a:lnTo>
                      <a:pt x="12" y="32"/>
                    </a:lnTo>
                    <a:lnTo>
                      <a:pt x="12" y="32"/>
                    </a:lnTo>
                    <a:lnTo>
                      <a:pt x="9" y="33"/>
                    </a:lnTo>
                    <a:lnTo>
                      <a:pt x="9" y="33"/>
                    </a:lnTo>
                    <a:lnTo>
                      <a:pt x="5" y="37"/>
                    </a:lnTo>
                    <a:lnTo>
                      <a:pt x="1" y="4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00" name="Freeform 2854"/>
              <p:cNvSpPr>
                <a:spLocks/>
              </p:cNvSpPr>
              <p:nvPr/>
            </p:nvSpPr>
            <p:spPr bwMode="auto">
              <a:xfrm>
                <a:off x="4612" y="2409"/>
                <a:ext cx="71" cy="104"/>
              </a:xfrm>
              <a:custGeom>
                <a:avLst/>
                <a:gdLst>
                  <a:gd name="T0" fmla="*/ 2 w 71"/>
                  <a:gd name="T1" fmla="*/ 41 h 104"/>
                  <a:gd name="T2" fmla="*/ 3 w 71"/>
                  <a:gd name="T3" fmla="*/ 50 h 104"/>
                  <a:gd name="T4" fmla="*/ 7 w 71"/>
                  <a:gd name="T5" fmla="*/ 61 h 104"/>
                  <a:gd name="T6" fmla="*/ 9 w 71"/>
                  <a:gd name="T7" fmla="*/ 61 h 104"/>
                  <a:gd name="T8" fmla="*/ 12 w 71"/>
                  <a:gd name="T9" fmla="*/ 66 h 104"/>
                  <a:gd name="T10" fmla="*/ 14 w 71"/>
                  <a:gd name="T11" fmla="*/ 61 h 104"/>
                  <a:gd name="T12" fmla="*/ 21 w 71"/>
                  <a:gd name="T13" fmla="*/ 66 h 104"/>
                  <a:gd name="T14" fmla="*/ 14 w 71"/>
                  <a:gd name="T15" fmla="*/ 73 h 104"/>
                  <a:gd name="T16" fmla="*/ 18 w 71"/>
                  <a:gd name="T17" fmla="*/ 75 h 104"/>
                  <a:gd name="T18" fmla="*/ 20 w 71"/>
                  <a:gd name="T19" fmla="*/ 79 h 104"/>
                  <a:gd name="T20" fmla="*/ 23 w 71"/>
                  <a:gd name="T21" fmla="*/ 81 h 104"/>
                  <a:gd name="T22" fmla="*/ 30 w 71"/>
                  <a:gd name="T23" fmla="*/ 77 h 104"/>
                  <a:gd name="T24" fmla="*/ 39 w 71"/>
                  <a:gd name="T25" fmla="*/ 81 h 104"/>
                  <a:gd name="T26" fmla="*/ 46 w 71"/>
                  <a:gd name="T27" fmla="*/ 90 h 104"/>
                  <a:gd name="T28" fmla="*/ 48 w 71"/>
                  <a:gd name="T29" fmla="*/ 88 h 104"/>
                  <a:gd name="T30" fmla="*/ 46 w 71"/>
                  <a:gd name="T31" fmla="*/ 84 h 104"/>
                  <a:gd name="T32" fmla="*/ 46 w 71"/>
                  <a:gd name="T33" fmla="*/ 79 h 104"/>
                  <a:gd name="T34" fmla="*/ 55 w 71"/>
                  <a:gd name="T35" fmla="*/ 86 h 104"/>
                  <a:gd name="T36" fmla="*/ 59 w 71"/>
                  <a:gd name="T37" fmla="*/ 93 h 104"/>
                  <a:gd name="T38" fmla="*/ 64 w 71"/>
                  <a:gd name="T39" fmla="*/ 97 h 104"/>
                  <a:gd name="T40" fmla="*/ 70 w 71"/>
                  <a:gd name="T41" fmla="*/ 97 h 104"/>
                  <a:gd name="T42" fmla="*/ 68 w 71"/>
                  <a:gd name="T43" fmla="*/ 100 h 104"/>
                  <a:gd name="T44" fmla="*/ 71 w 71"/>
                  <a:gd name="T45" fmla="*/ 102 h 104"/>
                  <a:gd name="T46" fmla="*/ 66 w 71"/>
                  <a:gd name="T47" fmla="*/ 93 h 104"/>
                  <a:gd name="T48" fmla="*/ 62 w 71"/>
                  <a:gd name="T49" fmla="*/ 86 h 104"/>
                  <a:gd name="T50" fmla="*/ 70 w 71"/>
                  <a:gd name="T51" fmla="*/ 84 h 104"/>
                  <a:gd name="T52" fmla="*/ 64 w 71"/>
                  <a:gd name="T53" fmla="*/ 81 h 104"/>
                  <a:gd name="T54" fmla="*/ 59 w 71"/>
                  <a:gd name="T55" fmla="*/ 81 h 104"/>
                  <a:gd name="T56" fmla="*/ 55 w 71"/>
                  <a:gd name="T57" fmla="*/ 82 h 104"/>
                  <a:gd name="T58" fmla="*/ 52 w 71"/>
                  <a:gd name="T59" fmla="*/ 73 h 104"/>
                  <a:gd name="T60" fmla="*/ 43 w 71"/>
                  <a:gd name="T61" fmla="*/ 75 h 104"/>
                  <a:gd name="T62" fmla="*/ 41 w 71"/>
                  <a:gd name="T63" fmla="*/ 75 h 104"/>
                  <a:gd name="T64" fmla="*/ 39 w 71"/>
                  <a:gd name="T65" fmla="*/ 77 h 104"/>
                  <a:gd name="T66" fmla="*/ 32 w 71"/>
                  <a:gd name="T67" fmla="*/ 70 h 104"/>
                  <a:gd name="T68" fmla="*/ 28 w 71"/>
                  <a:gd name="T69" fmla="*/ 59 h 104"/>
                  <a:gd name="T70" fmla="*/ 28 w 71"/>
                  <a:gd name="T71" fmla="*/ 48 h 104"/>
                  <a:gd name="T72" fmla="*/ 37 w 71"/>
                  <a:gd name="T73" fmla="*/ 40 h 104"/>
                  <a:gd name="T74" fmla="*/ 39 w 71"/>
                  <a:gd name="T75" fmla="*/ 40 h 104"/>
                  <a:gd name="T76" fmla="*/ 43 w 71"/>
                  <a:gd name="T77" fmla="*/ 25 h 104"/>
                  <a:gd name="T78" fmla="*/ 41 w 71"/>
                  <a:gd name="T79" fmla="*/ 23 h 104"/>
                  <a:gd name="T80" fmla="*/ 36 w 71"/>
                  <a:gd name="T81" fmla="*/ 16 h 104"/>
                  <a:gd name="T82" fmla="*/ 37 w 71"/>
                  <a:gd name="T83" fmla="*/ 6 h 104"/>
                  <a:gd name="T84" fmla="*/ 34 w 71"/>
                  <a:gd name="T85" fmla="*/ 6 h 104"/>
                  <a:gd name="T86" fmla="*/ 27 w 71"/>
                  <a:gd name="T87" fmla="*/ 6 h 104"/>
                  <a:gd name="T88" fmla="*/ 21 w 71"/>
                  <a:gd name="T89" fmla="*/ 0 h 104"/>
                  <a:gd name="T90" fmla="*/ 14 w 71"/>
                  <a:gd name="T91" fmla="*/ 0 h 104"/>
                  <a:gd name="T92" fmla="*/ 11 w 71"/>
                  <a:gd name="T93" fmla="*/ 2 h 104"/>
                  <a:gd name="T94" fmla="*/ 9 w 71"/>
                  <a:gd name="T95" fmla="*/ 13 h 104"/>
                  <a:gd name="T96" fmla="*/ 9 w 71"/>
                  <a:gd name="T97" fmla="*/ 27 h 104"/>
                  <a:gd name="T98" fmla="*/ 11 w 71"/>
                  <a:gd name="T99" fmla="*/ 40 h 104"/>
                  <a:gd name="T100" fmla="*/ 2 w 71"/>
                  <a:gd name="T101" fmla="*/ 3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 h="104">
                    <a:moveTo>
                      <a:pt x="0" y="38"/>
                    </a:moveTo>
                    <a:lnTo>
                      <a:pt x="0" y="38"/>
                    </a:lnTo>
                    <a:lnTo>
                      <a:pt x="0" y="40"/>
                    </a:lnTo>
                    <a:lnTo>
                      <a:pt x="2" y="41"/>
                    </a:lnTo>
                    <a:lnTo>
                      <a:pt x="2" y="43"/>
                    </a:lnTo>
                    <a:lnTo>
                      <a:pt x="2" y="43"/>
                    </a:lnTo>
                    <a:lnTo>
                      <a:pt x="3" y="47"/>
                    </a:lnTo>
                    <a:lnTo>
                      <a:pt x="3" y="50"/>
                    </a:lnTo>
                    <a:lnTo>
                      <a:pt x="3" y="50"/>
                    </a:lnTo>
                    <a:lnTo>
                      <a:pt x="5" y="57"/>
                    </a:lnTo>
                    <a:lnTo>
                      <a:pt x="5" y="57"/>
                    </a:lnTo>
                    <a:lnTo>
                      <a:pt x="7" y="61"/>
                    </a:lnTo>
                    <a:lnTo>
                      <a:pt x="7" y="61"/>
                    </a:lnTo>
                    <a:lnTo>
                      <a:pt x="9" y="59"/>
                    </a:lnTo>
                    <a:lnTo>
                      <a:pt x="9" y="59"/>
                    </a:lnTo>
                    <a:lnTo>
                      <a:pt x="9" y="61"/>
                    </a:lnTo>
                    <a:lnTo>
                      <a:pt x="11" y="63"/>
                    </a:lnTo>
                    <a:lnTo>
                      <a:pt x="11" y="65"/>
                    </a:lnTo>
                    <a:lnTo>
                      <a:pt x="12" y="66"/>
                    </a:lnTo>
                    <a:lnTo>
                      <a:pt x="12" y="66"/>
                    </a:lnTo>
                    <a:lnTo>
                      <a:pt x="14" y="66"/>
                    </a:lnTo>
                    <a:lnTo>
                      <a:pt x="14" y="65"/>
                    </a:lnTo>
                    <a:lnTo>
                      <a:pt x="14" y="61"/>
                    </a:lnTo>
                    <a:lnTo>
                      <a:pt x="14" y="61"/>
                    </a:lnTo>
                    <a:lnTo>
                      <a:pt x="20" y="63"/>
                    </a:lnTo>
                    <a:lnTo>
                      <a:pt x="21" y="65"/>
                    </a:lnTo>
                    <a:lnTo>
                      <a:pt x="21" y="66"/>
                    </a:lnTo>
                    <a:lnTo>
                      <a:pt x="21" y="66"/>
                    </a:lnTo>
                    <a:lnTo>
                      <a:pt x="16" y="70"/>
                    </a:lnTo>
                    <a:lnTo>
                      <a:pt x="16" y="70"/>
                    </a:lnTo>
                    <a:lnTo>
                      <a:pt x="14" y="72"/>
                    </a:lnTo>
                    <a:lnTo>
                      <a:pt x="14" y="73"/>
                    </a:lnTo>
                    <a:lnTo>
                      <a:pt x="16" y="77"/>
                    </a:lnTo>
                    <a:lnTo>
                      <a:pt x="16" y="77"/>
                    </a:lnTo>
                    <a:lnTo>
                      <a:pt x="18" y="77"/>
                    </a:lnTo>
                    <a:lnTo>
                      <a:pt x="18" y="75"/>
                    </a:lnTo>
                    <a:lnTo>
                      <a:pt x="18" y="75"/>
                    </a:lnTo>
                    <a:lnTo>
                      <a:pt x="20" y="77"/>
                    </a:lnTo>
                    <a:lnTo>
                      <a:pt x="20" y="79"/>
                    </a:lnTo>
                    <a:lnTo>
                      <a:pt x="20" y="79"/>
                    </a:lnTo>
                    <a:lnTo>
                      <a:pt x="21" y="79"/>
                    </a:lnTo>
                    <a:lnTo>
                      <a:pt x="21" y="79"/>
                    </a:lnTo>
                    <a:lnTo>
                      <a:pt x="23" y="81"/>
                    </a:lnTo>
                    <a:lnTo>
                      <a:pt x="23" y="81"/>
                    </a:lnTo>
                    <a:lnTo>
                      <a:pt x="25" y="81"/>
                    </a:lnTo>
                    <a:lnTo>
                      <a:pt x="27" y="81"/>
                    </a:lnTo>
                    <a:lnTo>
                      <a:pt x="27" y="81"/>
                    </a:lnTo>
                    <a:lnTo>
                      <a:pt x="30" y="77"/>
                    </a:lnTo>
                    <a:lnTo>
                      <a:pt x="30" y="77"/>
                    </a:lnTo>
                    <a:lnTo>
                      <a:pt x="34" y="77"/>
                    </a:lnTo>
                    <a:lnTo>
                      <a:pt x="34" y="77"/>
                    </a:lnTo>
                    <a:lnTo>
                      <a:pt x="39" y="81"/>
                    </a:lnTo>
                    <a:lnTo>
                      <a:pt x="39" y="81"/>
                    </a:lnTo>
                    <a:lnTo>
                      <a:pt x="45" y="84"/>
                    </a:lnTo>
                    <a:lnTo>
                      <a:pt x="46" y="90"/>
                    </a:lnTo>
                    <a:lnTo>
                      <a:pt x="46" y="90"/>
                    </a:lnTo>
                    <a:lnTo>
                      <a:pt x="48" y="90"/>
                    </a:lnTo>
                    <a:lnTo>
                      <a:pt x="48" y="90"/>
                    </a:lnTo>
                    <a:lnTo>
                      <a:pt x="48" y="90"/>
                    </a:lnTo>
                    <a:lnTo>
                      <a:pt x="48" y="88"/>
                    </a:lnTo>
                    <a:lnTo>
                      <a:pt x="48" y="88"/>
                    </a:lnTo>
                    <a:lnTo>
                      <a:pt x="46" y="86"/>
                    </a:lnTo>
                    <a:lnTo>
                      <a:pt x="46" y="84"/>
                    </a:lnTo>
                    <a:lnTo>
                      <a:pt x="46" y="84"/>
                    </a:lnTo>
                    <a:lnTo>
                      <a:pt x="46" y="81"/>
                    </a:lnTo>
                    <a:lnTo>
                      <a:pt x="45" y="77"/>
                    </a:lnTo>
                    <a:lnTo>
                      <a:pt x="45" y="77"/>
                    </a:lnTo>
                    <a:lnTo>
                      <a:pt x="46" y="79"/>
                    </a:lnTo>
                    <a:lnTo>
                      <a:pt x="48" y="81"/>
                    </a:lnTo>
                    <a:lnTo>
                      <a:pt x="52" y="84"/>
                    </a:lnTo>
                    <a:lnTo>
                      <a:pt x="52" y="84"/>
                    </a:lnTo>
                    <a:lnTo>
                      <a:pt x="55" y="86"/>
                    </a:lnTo>
                    <a:lnTo>
                      <a:pt x="59" y="90"/>
                    </a:lnTo>
                    <a:lnTo>
                      <a:pt x="59" y="90"/>
                    </a:lnTo>
                    <a:lnTo>
                      <a:pt x="59" y="91"/>
                    </a:lnTo>
                    <a:lnTo>
                      <a:pt x="59" y="93"/>
                    </a:lnTo>
                    <a:lnTo>
                      <a:pt x="59" y="93"/>
                    </a:lnTo>
                    <a:lnTo>
                      <a:pt x="64" y="95"/>
                    </a:lnTo>
                    <a:lnTo>
                      <a:pt x="64" y="95"/>
                    </a:lnTo>
                    <a:lnTo>
                      <a:pt x="64" y="97"/>
                    </a:lnTo>
                    <a:lnTo>
                      <a:pt x="66" y="97"/>
                    </a:lnTo>
                    <a:lnTo>
                      <a:pt x="66" y="97"/>
                    </a:lnTo>
                    <a:lnTo>
                      <a:pt x="70" y="97"/>
                    </a:lnTo>
                    <a:lnTo>
                      <a:pt x="70" y="97"/>
                    </a:lnTo>
                    <a:lnTo>
                      <a:pt x="68" y="98"/>
                    </a:lnTo>
                    <a:lnTo>
                      <a:pt x="68" y="98"/>
                    </a:lnTo>
                    <a:lnTo>
                      <a:pt x="68" y="100"/>
                    </a:lnTo>
                    <a:lnTo>
                      <a:pt x="68" y="100"/>
                    </a:lnTo>
                    <a:lnTo>
                      <a:pt x="70" y="102"/>
                    </a:lnTo>
                    <a:lnTo>
                      <a:pt x="71" y="104"/>
                    </a:lnTo>
                    <a:lnTo>
                      <a:pt x="71" y="102"/>
                    </a:lnTo>
                    <a:lnTo>
                      <a:pt x="71" y="102"/>
                    </a:lnTo>
                    <a:lnTo>
                      <a:pt x="71" y="100"/>
                    </a:lnTo>
                    <a:lnTo>
                      <a:pt x="71" y="97"/>
                    </a:lnTo>
                    <a:lnTo>
                      <a:pt x="70" y="93"/>
                    </a:lnTo>
                    <a:lnTo>
                      <a:pt x="66" y="93"/>
                    </a:lnTo>
                    <a:lnTo>
                      <a:pt x="66" y="93"/>
                    </a:lnTo>
                    <a:lnTo>
                      <a:pt x="66" y="90"/>
                    </a:lnTo>
                    <a:lnTo>
                      <a:pt x="66" y="90"/>
                    </a:lnTo>
                    <a:lnTo>
                      <a:pt x="62" y="86"/>
                    </a:lnTo>
                    <a:lnTo>
                      <a:pt x="62" y="86"/>
                    </a:lnTo>
                    <a:lnTo>
                      <a:pt x="62" y="84"/>
                    </a:lnTo>
                    <a:lnTo>
                      <a:pt x="64" y="84"/>
                    </a:lnTo>
                    <a:lnTo>
                      <a:pt x="70" y="84"/>
                    </a:lnTo>
                    <a:lnTo>
                      <a:pt x="70" y="84"/>
                    </a:lnTo>
                    <a:lnTo>
                      <a:pt x="66" y="81"/>
                    </a:lnTo>
                    <a:lnTo>
                      <a:pt x="64" y="81"/>
                    </a:lnTo>
                    <a:lnTo>
                      <a:pt x="64" y="81"/>
                    </a:lnTo>
                    <a:lnTo>
                      <a:pt x="61" y="79"/>
                    </a:lnTo>
                    <a:lnTo>
                      <a:pt x="57" y="77"/>
                    </a:lnTo>
                    <a:lnTo>
                      <a:pt x="57" y="77"/>
                    </a:lnTo>
                    <a:lnTo>
                      <a:pt x="59" y="81"/>
                    </a:lnTo>
                    <a:lnTo>
                      <a:pt x="59" y="81"/>
                    </a:lnTo>
                    <a:lnTo>
                      <a:pt x="57" y="82"/>
                    </a:lnTo>
                    <a:lnTo>
                      <a:pt x="57" y="82"/>
                    </a:lnTo>
                    <a:lnTo>
                      <a:pt x="55" y="82"/>
                    </a:lnTo>
                    <a:lnTo>
                      <a:pt x="55" y="81"/>
                    </a:lnTo>
                    <a:lnTo>
                      <a:pt x="53" y="75"/>
                    </a:lnTo>
                    <a:lnTo>
                      <a:pt x="53" y="75"/>
                    </a:lnTo>
                    <a:lnTo>
                      <a:pt x="52" y="73"/>
                    </a:lnTo>
                    <a:lnTo>
                      <a:pt x="48" y="72"/>
                    </a:lnTo>
                    <a:lnTo>
                      <a:pt x="45" y="72"/>
                    </a:lnTo>
                    <a:lnTo>
                      <a:pt x="43" y="75"/>
                    </a:lnTo>
                    <a:lnTo>
                      <a:pt x="43" y="75"/>
                    </a:lnTo>
                    <a:lnTo>
                      <a:pt x="41" y="73"/>
                    </a:lnTo>
                    <a:lnTo>
                      <a:pt x="41" y="73"/>
                    </a:lnTo>
                    <a:lnTo>
                      <a:pt x="41" y="75"/>
                    </a:lnTo>
                    <a:lnTo>
                      <a:pt x="41" y="75"/>
                    </a:lnTo>
                    <a:lnTo>
                      <a:pt x="43" y="77"/>
                    </a:lnTo>
                    <a:lnTo>
                      <a:pt x="41" y="77"/>
                    </a:lnTo>
                    <a:lnTo>
                      <a:pt x="41" y="77"/>
                    </a:lnTo>
                    <a:lnTo>
                      <a:pt x="39" y="77"/>
                    </a:lnTo>
                    <a:lnTo>
                      <a:pt x="37" y="77"/>
                    </a:lnTo>
                    <a:lnTo>
                      <a:pt x="34" y="75"/>
                    </a:lnTo>
                    <a:lnTo>
                      <a:pt x="34" y="75"/>
                    </a:lnTo>
                    <a:lnTo>
                      <a:pt x="32" y="70"/>
                    </a:lnTo>
                    <a:lnTo>
                      <a:pt x="30" y="66"/>
                    </a:lnTo>
                    <a:lnTo>
                      <a:pt x="32" y="65"/>
                    </a:lnTo>
                    <a:lnTo>
                      <a:pt x="32" y="65"/>
                    </a:lnTo>
                    <a:lnTo>
                      <a:pt x="28" y="59"/>
                    </a:lnTo>
                    <a:lnTo>
                      <a:pt x="27" y="54"/>
                    </a:lnTo>
                    <a:lnTo>
                      <a:pt x="28" y="52"/>
                    </a:lnTo>
                    <a:lnTo>
                      <a:pt x="28" y="52"/>
                    </a:lnTo>
                    <a:lnTo>
                      <a:pt x="28" y="48"/>
                    </a:lnTo>
                    <a:lnTo>
                      <a:pt x="30" y="45"/>
                    </a:lnTo>
                    <a:lnTo>
                      <a:pt x="30" y="45"/>
                    </a:lnTo>
                    <a:lnTo>
                      <a:pt x="34" y="41"/>
                    </a:lnTo>
                    <a:lnTo>
                      <a:pt x="37" y="40"/>
                    </a:lnTo>
                    <a:lnTo>
                      <a:pt x="37" y="40"/>
                    </a:lnTo>
                    <a:lnTo>
                      <a:pt x="37" y="41"/>
                    </a:lnTo>
                    <a:lnTo>
                      <a:pt x="37" y="41"/>
                    </a:lnTo>
                    <a:lnTo>
                      <a:pt x="39" y="40"/>
                    </a:lnTo>
                    <a:lnTo>
                      <a:pt x="39" y="36"/>
                    </a:lnTo>
                    <a:lnTo>
                      <a:pt x="39" y="36"/>
                    </a:lnTo>
                    <a:lnTo>
                      <a:pt x="41" y="31"/>
                    </a:lnTo>
                    <a:lnTo>
                      <a:pt x="43" y="25"/>
                    </a:lnTo>
                    <a:lnTo>
                      <a:pt x="43" y="25"/>
                    </a:lnTo>
                    <a:lnTo>
                      <a:pt x="41" y="25"/>
                    </a:lnTo>
                    <a:lnTo>
                      <a:pt x="41" y="25"/>
                    </a:lnTo>
                    <a:lnTo>
                      <a:pt x="41" y="23"/>
                    </a:lnTo>
                    <a:lnTo>
                      <a:pt x="41" y="23"/>
                    </a:lnTo>
                    <a:lnTo>
                      <a:pt x="39" y="20"/>
                    </a:lnTo>
                    <a:lnTo>
                      <a:pt x="36" y="16"/>
                    </a:lnTo>
                    <a:lnTo>
                      <a:pt x="36" y="16"/>
                    </a:lnTo>
                    <a:lnTo>
                      <a:pt x="36" y="13"/>
                    </a:lnTo>
                    <a:lnTo>
                      <a:pt x="37" y="7"/>
                    </a:lnTo>
                    <a:lnTo>
                      <a:pt x="37" y="7"/>
                    </a:lnTo>
                    <a:lnTo>
                      <a:pt x="37" y="6"/>
                    </a:lnTo>
                    <a:lnTo>
                      <a:pt x="36" y="4"/>
                    </a:lnTo>
                    <a:lnTo>
                      <a:pt x="36" y="4"/>
                    </a:lnTo>
                    <a:lnTo>
                      <a:pt x="36" y="4"/>
                    </a:lnTo>
                    <a:lnTo>
                      <a:pt x="34" y="6"/>
                    </a:lnTo>
                    <a:lnTo>
                      <a:pt x="32" y="7"/>
                    </a:lnTo>
                    <a:lnTo>
                      <a:pt x="32" y="7"/>
                    </a:lnTo>
                    <a:lnTo>
                      <a:pt x="30" y="6"/>
                    </a:lnTo>
                    <a:lnTo>
                      <a:pt x="27" y="6"/>
                    </a:lnTo>
                    <a:lnTo>
                      <a:pt x="27" y="6"/>
                    </a:lnTo>
                    <a:lnTo>
                      <a:pt x="25" y="4"/>
                    </a:lnTo>
                    <a:lnTo>
                      <a:pt x="25" y="4"/>
                    </a:lnTo>
                    <a:lnTo>
                      <a:pt x="21" y="0"/>
                    </a:lnTo>
                    <a:lnTo>
                      <a:pt x="18" y="0"/>
                    </a:lnTo>
                    <a:lnTo>
                      <a:pt x="18" y="0"/>
                    </a:lnTo>
                    <a:lnTo>
                      <a:pt x="14" y="0"/>
                    </a:lnTo>
                    <a:lnTo>
                      <a:pt x="14" y="0"/>
                    </a:lnTo>
                    <a:lnTo>
                      <a:pt x="12" y="0"/>
                    </a:lnTo>
                    <a:lnTo>
                      <a:pt x="12" y="0"/>
                    </a:lnTo>
                    <a:lnTo>
                      <a:pt x="12" y="0"/>
                    </a:lnTo>
                    <a:lnTo>
                      <a:pt x="11" y="2"/>
                    </a:lnTo>
                    <a:lnTo>
                      <a:pt x="11" y="4"/>
                    </a:lnTo>
                    <a:lnTo>
                      <a:pt x="11" y="4"/>
                    </a:lnTo>
                    <a:lnTo>
                      <a:pt x="9" y="13"/>
                    </a:lnTo>
                    <a:lnTo>
                      <a:pt x="9" y="13"/>
                    </a:lnTo>
                    <a:lnTo>
                      <a:pt x="9" y="16"/>
                    </a:lnTo>
                    <a:lnTo>
                      <a:pt x="9" y="20"/>
                    </a:lnTo>
                    <a:lnTo>
                      <a:pt x="9" y="23"/>
                    </a:lnTo>
                    <a:lnTo>
                      <a:pt x="9" y="27"/>
                    </a:lnTo>
                    <a:lnTo>
                      <a:pt x="9" y="27"/>
                    </a:lnTo>
                    <a:lnTo>
                      <a:pt x="9" y="32"/>
                    </a:lnTo>
                    <a:lnTo>
                      <a:pt x="11" y="40"/>
                    </a:lnTo>
                    <a:lnTo>
                      <a:pt x="11" y="40"/>
                    </a:lnTo>
                    <a:lnTo>
                      <a:pt x="9" y="40"/>
                    </a:lnTo>
                    <a:lnTo>
                      <a:pt x="9" y="41"/>
                    </a:lnTo>
                    <a:lnTo>
                      <a:pt x="7" y="40"/>
                    </a:lnTo>
                    <a:lnTo>
                      <a:pt x="2" y="34"/>
                    </a:lnTo>
                    <a:lnTo>
                      <a:pt x="2" y="34"/>
                    </a:lnTo>
                    <a:lnTo>
                      <a:pt x="0" y="36"/>
                    </a:lnTo>
                    <a:lnTo>
                      <a:pt x="0" y="3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01" name="Freeform 2855"/>
              <p:cNvSpPr>
                <a:spLocks/>
              </p:cNvSpPr>
              <p:nvPr/>
            </p:nvSpPr>
            <p:spPr bwMode="auto">
              <a:xfrm>
                <a:off x="4612" y="2409"/>
                <a:ext cx="71" cy="104"/>
              </a:xfrm>
              <a:custGeom>
                <a:avLst/>
                <a:gdLst>
                  <a:gd name="T0" fmla="*/ 2 w 71"/>
                  <a:gd name="T1" fmla="*/ 41 h 104"/>
                  <a:gd name="T2" fmla="*/ 3 w 71"/>
                  <a:gd name="T3" fmla="*/ 50 h 104"/>
                  <a:gd name="T4" fmla="*/ 7 w 71"/>
                  <a:gd name="T5" fmla="*/ 61 h 104"/>
                  <a:gd name="T6" fmla="*/ 9 w 71"/>
                  <a:gd name="T7" fmla="*/ 61 h 104"/>
                  <a:gd name="T8" fmla="*/ 12 w 71"/>
                  <a:gd name="T9" fmla="*/ 66 h 104"/>
                  <a:gd name="T10" fmla="*/ 14 w 71"/>
                  <a:gd name="T11" fmla="*/ 61 h 104"/>
                  <a:gd name="T12" fmla="*/ 21 w 71"/>
                  <a:gd name="T13" fmla="*/ 66 h 104"/>
                  <a:gd name="T14" fmla="*/ 14 w 71"/>
                  <a:gd name="T15" fmla="*/ 73 h 104"/>
                  <a:gd name="T16" fmla="*/ 18 w 71"/>
                  <a:gd name="T17" fmla="*/ 75 h 104"/>
                  <a:gd name="T18" fmla="*/ 20 w 71"/>
                  <a:gd name="T19" fmla="*/ 79 h 104"/>
                  <a:gd name="T20" fmla="*/ 23 w 71"/>
                  <a:gd name="T21" fmla="*/ 81 h 104"/>
                  <a:gd name="T22" fmla="*/ 30 w 71"/>
                  <a:gd name="T23" fmla="*/ 77 h 104"/>
                  <a:gd name="T24" fmla="*/ 39 w 71"/>
                  <a:gd name="T25" fmla="*/ 81 h 104"/>
                  <a:gd name="T26" fmla="*/ 46 w 71"/>
                  <a:gd name="T27" fmla="*/ 90 h 104"/>
                  <a:gd name="T28" fmla="*/ 48 w 71"/>
                  <a:gd name="T29" fmla="*/ 88 h 104"/>
                  <a:gd name="T30" fmla="*/ 46 w 71"/>
                  <a:gd name="T31" fmla="*/ 84 h 104"/>
                  <a:gd name="T32" fmla="*/ 46 w 71"/>
                  <a:gd name="T33" fmla="*/ 79 h 104"/>
                  <a:gd name="T34" fmla="*/ 55 w 71"/>
                  <a:gd name="T35" fmla="*/ 86 h 104"/>
                  <a:gd name="T36" fmla="*/ 59 w 71"/>
                  <a:gd name="T37" fmla="*/ 93 h 104"/>
                  <a:gd name="T38" fmla="*/ 64 w 71"/>
                  <a:gd name="T39" fmla="*/ 97 h 104"/>
                  <a:gd name="T40" fmla="*/ 70 w 71"/>
                  <a:gd name="T41" fmla="*/ 97 h 104"/>
                  <a:gd name="T42" fmla="*/ 68 w 71"/>
                  <a:gd name="T43" fmla="*/ 100 h 104"/>
                  <a:gd name="T44" fmla="*/ 71 w 71"/>
                  <a:gd name="T45" fmla="*/ 102 h 104"/>
                  <a:gd name="T46" fmla="*/ 66 w 71"/>
                  <a:gd name="T47" fmla="*/ 93 h 104"/>
                  <a:gd name="T48" fmla="*/ 62 w 71"/>
                  <a:gd name="T49" fmla="*/ 86 h 104"/>
                  <a:gd name="T50" fmla="*/ 70 w 71"/>
                  <a:gd name="T51" fmla="*/ 84 h 104"/>
                  <a:gd name="T52" fmla="*/ 64 w 71"/>
                  <a:gd name="T53" fmla="*/ 81 h 104"/>
                  <a:gd name="T54" fmla="*/ 59 w 71"/>
                  <a:gd name="T55" fmla="*/ 81 h 104"/>
                  <a:gd name="T56" fmla="*/ 55 w 71"/>
                  <a:gd name="T57" fmla="*/ 82 h 104"/>
                  <a:gd name="T58" fmla="*/ 52 w 71"/>
                  <a:gd name="T59" fmla="*/ 73 h 104"/>
                  <a:gd name="T60" fmla="*/ 43 w 71"/>
                  <a:gd name="T61" fmla="*/ 75 h 104"/>
                  <a:gd name="T62" fmla="*/ 41 w 71"/>
                  <a:gd name="T63" fmla="*/ 75 h 104"/>
                  <a:gd name="T64" fmla="*/ 39 w 71"/>
                  <a:gd name="T65" fmla="*/ 77 h 104"/>
                  <a:gd name="T66" fmla="*/ 32 w 71"/>
                  <a:gd name="T67" fmla="*/ 70 h 104"/>
                  <a:gd name="T68" fmla="*/ 28 w 71"/>
                  <a:gd name="T69" fmla="*/ 59 h 104"/>
                  <a:gd name="T70" fmla="*/ 28 w 71"/>
                  <a:gd name="T71" fmla="*/ 48 h 104"/>
                  <a:gd name="T72" fmla="*/ 37 w 71"/>
                  <a:gd name="T73" fmla="*/ 40 h 104"/>
                  <a:gd name="T74" fmla="*/ 39 w 71"/>
                  <a:gd name="T75" fmla="*/ 40 h 104"/>
                  <a:gd name="T76" fmla="*/ 43 w 71"/>
                  <a:gd name="T77" fmla="*/ 25 h 104"/>
                  <a:gd name="T78" fmla="*/ 41 w 71"/>
                  <a:gd name="T79" fmla="*/ 23 h 104"/>
                  <a:gd name="T80" fmla="*/ 36 w 71"/>
                  <a:gd name="T81" fmla="*/ 16 h 104"/>
                  <a:gd name="T82" fmla="*/ 37 w 71"/>
                  <a:gd name="T83" fmla="*/ 6 h 104"/>
                  <a:gd name="T84" fmla="*/ 34 w 71"/>
                  <a:gd name="T85" fmla="*/ 6 h 104"/>
                  <a:gd name="T86" fmla="*/ 27 w 71"/>
                  <a:gd name="T87" fmla="*/ 6 h 104"/>
                  <a:gd name="T88" fmla="*/ 21 w 71"/>
                  <a:gd name="T89" fmla="*/ 0 h 104"/>
                  <a:gd name="T90" fmla="*/ 14 w 71"/>
                  <a:gd name="T91" fmla="*/ 0 h 104"/>
                  <a:gd name="T92" fmla="*/ 11 w 71"/>
                  <a:gd name="T93" fmla="*/ 2 h 104"/>
                  <a:gd name="T94" fmla="*/ 9 w 71"/>
                  <a:gd name="T95" fmla="*/ 13 h 104"/>
                  <a:gd name="T96" fmla="*/ 9 w 71"/>
                  <a:gd name="T97" fmla="*/ 27 h 104"/>
                  <a:gd name="T98" fmla="*/ 11 w 71"/>
                  <a:gd name="T99" fmla="*/ 40 h 104"/>
                  <a:gd name="T100" fmla="*/ 2 w 71"/>
                  <a:gd name="T101" fmla="*/ 3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1" h="104">
                    <a:moveTo>
                      <a:pt x="0" y="38"/>
                    </a:moveTo>
                    <a:lnTo>
                      <a:pt x="0" y="38"/>
                    </a:lnTo>
                    <a:lnTo>
                      <a:pt x="0" y="40"/>
                    </a:lnTo>
                    <a:lnTo>
                      <a:pt x="2" y="41"/>
                    </a:lnTo>
                    <a:lnTo>
                      <a:pt x="2" y="43"/>
                    </a:lnTo>
                    <a:lnTo>
                      <a:pt x="2" y="43"/>
                    </a:lnTo>
                    <a:lnTo>
                      <a:pt x="3" y="47"/>
                    </a:lnTo>
                    <a:lnTo>
                      <a:pt x="3" y="50"/>
                    </a:lnTo>
                    <a:lnTo>
                      <a:pt x="3" y="50"/>
                    </a:lnTo>
                    <a:lnTo>
                      <a:pt x="5" y="57"/>
                    </a:lnTo>
                    <a:lnTo>
                      <a:pt x="5" y="57"/>
                    </a:lnTo>
                    <a:lnTo>
                      <a:pt x="7" y="61"/>
                    </a:lnTo>
                    <a:lnTo>
                      <a:pt x="7" y="61"/>
                    </a:lnTo>
                    <a:lnTo>
                      <a:pt x="9" y="59"/>
                    </a:lnTo>
                    <a:lnTo>
                      <a:pt x="9" y="59"/>
                    </a:lnTo>
                    <a:lnTo>
                      <a:pt x="9" y="61"/>
                    </a:lnTo>
                    <a:lnTo>
                      <a:pt x="11" y="63"/>
                    </a:lnTo>
                    <a:lnTo>
                      <a:pt x="11" y="65"/>
                    </a:lnTo>
                    <a:lnTo>
                      <a:pt x="12" y="66"/>
                    </a:lnTo>
                    <a:lnTo>
                      <a:pt x="12" y="66"/>
                    </a:lnTo>
                    <a:lnTo>
                      <a:pt x="14" y="66"/>
                    </a:lnTo>
                    <a:lnTo>
                      <a:pt x="14" y="65"/>
                    </a:lnTo>
                    <a:lnTo>
                      <a:pt x="14" y="61"/>
                    </a:lnTo>
                    <a:lnTo>
                      <a:pt x="14" y="61"/>
                    </a:lnTo>
                    <a:lnTo>
                      <a:pt x="20" y="63"/>
                    </a:lnTo>
                    <a:lnTo>
                      <a:pt x="21" y="65"/>
                    </a:lnTo>
                    <a:lnTo>
                      <a:pt x="21" y="66"/>
                    </a:lnTo>
                    <a:lnTo>
                      <a:pt x="21" y="66"/>
                    </a:lnTo>
                    <a:lnTo>
                      <a:pt x="16" y="70"/>
                    </a:lnTo>
                    <a:lnTo>
                      <a:pt x="16" y="70"/>
                    </a:lnTo>
                    <a:lnTo>
                      <a:pt x="14" y="72"/>
                    </a:lnTo>
                    <a:lnTo>
                      <a:pt x="14" y="73"/>
                    </a:lnTo>
                    <a:lnTo>
                      <a:pt x="16" y="77"/>
                    </a:lnTo>
                    <a:lnTo>
                      <a:pt x="16" y="77"/>
                    </a:lnTo>
                    <a:lnTo>
                      <a:pt x="18" y="77"/>
                    </a:lnTo>
                    <a:lnTo>
                      <a:pt x="18" y="75"/>
                    </a:lnTo>
                    <a:lnTo>
                      <a:pt x="18" y="75"/>
                    </a:lnTo>
                    <a:lnTo>
                      <a:pt x="20" y="77"/>
                    </a:lnTo>
                    <a:lnTo>
                      <a:pt x="20" y="79"/>
                    </a:lnTo>
                    <a:lnTo>
                      <a:pt x="20" y="79"/>
                    </a:lnTo>
                    <a:lnTo>
                      <a:pt x="21" y="79"/>
                    </a:lnTo>
                    <a:lnTo>
                      <a:pt x="21" y="79"/>
                    </a:lnTo>
                    <a:lnTo>
                      <a:pt x="23" y="81"/>
                    </a:lnTo>
                    <a:lnTo>
                      <a:pt x="23" y="81"/>
                    </a:lnTo>
                    <a:lnTo>
                      <a:pt x="25" y="81"/>
                    </a:lnTo>
                    <a:lnTo>
                      <a:pt x="27" y="81"/>
                    </a:lnTo>
                    <a:lnTo>
                      <a:pt x="27" y="81"/>
                    </a:lnTo>
                    <a:lnTo>
                      <a:pt x="30" y="77"/>
                    </a:lnTo>
                    <a:lnTo>
                      <a:pt x="30" y="77"/>
                    </a:lnTo>
                    <a:lnTo>
                      <a:pt x="34" y="77"/>
                    </a:lnTo>
                    <a:lnTo>
                      <a:pt x="34" y="77"/>
                    </a:lnTo>
                    <a:lnTo>
                      <a:pt x="39" y="81"/>
                    </a:lnTo>
                    <a:lnTo>
                      <a:pt x="39" y="81"/>
                    </a:lnTo>
                    <a:lnTo>
                      <a:pt x="45" y="84"/>
                    </a:lnTo>
                    <a:lnTo>
                      <a:pt x="46" y="90"/>
                    </a:lnTo>
                    <a:lnTo>
                      <a:pt x="46" y="90"/>
                    </a:lnTo>
                    <a:lnTo>
                      <a:pt x="48" y="90"/>
                    </a:lnTo>
                    <a:lnTo>
                      <a:pt x="48" y="90"/>
                    </a:lnTo>
                    <a:lnTo>
                      <a:pt x="48" y="90"/>
                    </a:lnTo>
                    <a:lnTo>
                      <a:pt x="48" y="88"/>
                    </a:lnTo>
                    <a:lnTo>
                      <a:pt x="48" y="88"/>
                    </a:lnTo>
                    <a:lnTo>
                      <a:pt x="46" y="86"/>
                    </a:lnTo>
                    <a:lnTo>
                      <a:pt x="46" y="84"/>
                    </a:lnTo>
                    <a:lnTo>
                      <a:pt x="46" y="84"/>
                    </a:lnTo>
                    <a:lnTo>
                      <a:pt x="46" y="81"/>
                    </a:lnTo>
                    <a:lnTo>
                      <a:pt x="45" y="77"/>
                    </a:lnTo>
                    <a:lnTo>
                      <a:pt x="45" y="77"/>
                    </a:lnTo>
                    <a:lnTo>
                      <a:pt x="46" y="79"/>
                    </a:lnTo>
                    <a:lnTo>
                      <a:pt x="48" y="81"/>
                    </a:lnTo>
                    <a:lnTo>
                      <a:pt x="52" y="84"/>
                    </a:lnTo>
                    <a:lnTo>
                      <a:pt x="52" y="84"/>
                    </a:lnTo>
                    <a:lnTo>
                      <a:pt x="55" y="86"/>
                    </a:lnTo>
                    <a:lnTo>
                      <a:pt x="59" y="90"/>
                    </a:lnTo>
                    <a:lnTo>
                      <a:pt x="59" y="90"/>
                    </a:lnTo>
                    <a:lnTo>
                      <a:pt x="59" y="91"/>
                    </a:lnTo>
                    <a:lnTo>
                      <a:pt x="59" y="93"/>
                    </a:lnTo>
                    <a:lnTo>
                      <a:pt x="59" y="93"/>
                    </a:lnTo>
                    <a:lnTo>
                      <a:pt x="64" y="95"/>
                    </a:lnTo>
                    <a:lnTo>
                      <a:pt x="64" y="95"/>
                    </a:lnTo>
                    <a:lnTo>
                      <a:pt x="64" y="97"/>
                    </a:lnTo>
                    <a:lnTo>
                      <a:pt x="66" y="97"/>
                    </a:lnTo>
                    <a:lnTo>
                      <a:pt x="66" y="97"/>
                    </a:lnTo>
                    <a:lnTo>
                      <a:pt x="70" y="97"/>
                    </a:lnTo>
                    <a:lnTo>
                      <a:pt x="70" y="97"/>
                    </a:lnTo>
                    <a:lnTo>
                      <a:pt x="68" y="98"/>
                    </a:lnTo>
                    <a:lnTo>
                      <a:pt x="68" y="98"/>
                    </a:lnTo>
                    <a:lnTo>
                      <a:pt x="68" y="100"/>
                    </a:lnTo>
                    <a:lnTo>
                      <a:pt x="68" y="100"/>
                    </a:lnTo>
                    <a:lnTo>
                      <a:pt x="70" y="102"/>
                    </a:lnTo>
                    <a:lnTo>
                      <a:pt x="71" y="104"/>
                    </a:lnTo>
                    <a:lnTo>
                      <a:pt x="71" y="102"/>
                    </a:lnTo>
                    <a:lnTo>
                      <a:pt x="71" y="102"/>
                    </a:lnTo>
                    <a:lnTo>
                      <a:pt x="71" y="100"/>
                    </a:lnTo>
                    <a:lnTo>
                      <a:pt x="71" y="97"/>
                    </a:lnTo>
                    <a:lnTo>
                      <a:pt x="70" y="93"/>
                    </a:lnTo>
                    <a:lnTo>
                      <a:pt x="66" y="93"/>
                    </a:lnTo>
                    <a:lnTo>
                      <a:pt x="66" y="93"/>
                    </a:lnTo>
                    <a:lnTo>
                      <a:pt x="66" y="90"/>
                    </a:lnTo>
                    <a:lnTo>
                      <a:pt x="66" y="90"/>
                    </a:lnTo>
                    <a:lnTo>
                      <a:pt x="62" y="86"/>
                    </a:lnTo>
                    <a:lnTo>
                      <a:pt x="62" y="86"/>
                    </a:lnTo>
                    <a:lnTo>
                      <a:pt x="62" y="84"/>
                    </a:lnTo>
                    <a:lnTo>
                      <a:pt x="64" y="84"/>
                    </a:lnTo>
                    <a:lnTo>
                      <a:pt x="70" y="84"/>
                    </a:lnTo>
                    <a:lnTo>
                      <a:pt x="70" y="84"/>
                    </a:lnTo>
                    <a:lnTo>
                      <a:pt x="66" y="81"/>
                    </a:lnTo>
                    <a:lnTo>
                      <a:pt x="64" y="81"/>
                    </a:lnTo>
                    <a:lnTo>
                      <a:pt x="64" y="81"/>
                    </a:lnTo>
                    <a:lnTo>
                      <a:pt x="61" y="79"/>
                    </a:lnTo>
                    <a:lnTo>
                      <a:pt x="57" y="77"/>
                    </a:lnTo>
                    <a:lnTo>
                      <a:pt x="57" y="77"/>
                    </a:lnTo>
                    <a:lnTo>
                      <a:pt x="59" y="81"/>
                    </a:lnTo>
                    <a:lnTo>
                      <a:pt x="59" y="81"/>
                    </a:lnTo>
                    <a:lnTo>
                      <a:pt x="57" y="82"/>
                    </a:lnTo>
                    <a:lnTo>
                      <a:pt x="57" y="82"/>
                    </a:lnTo>
                    <a:lnTo>
                      <a:pt x="55" y="82"/>
                    </a:lnTo>
                    <a:lnTo>
                      <a:pt x="55" y="81"/>
                    </a:lnTo>
                    <a:lnTo>
                      <a:pt x="53" y="75"/>
                    </a:lnTo>
                    <a:lnTo>
                      <a:pt x="53" y="75"/>
                    </a:lnTo>
                    <a:lnTo>
                      <a:pt x="52" y="73"/>
                    </a:lnTo>
                    <a:lnTo>
                      <a:pt x="48" y="72"/>
                    </a:lnTo>
                    <a:lnTo>
                      <a:pt x="45" y="72"/>
                    </a:lnTo>
                    <a:lnTo>
                      <a:pt x="43" y="75"/>
                    </a:lnTo>
                    <a:lnTo>
                      <a:pt x="43" y="75"/>
                    </a:lnTo>
                    <a:lnTo>
                      <a:pt x="41" y="73"/>
                    </a:lnTo>
                    <a:lnTo>
                      <a:pt x="41" y="73"/>
                    </a:lnTo>
                    <a:lnTo>
                      <a:pt x="41" y="75"/>
                    </a:lnTo>
                    <a:lnTo>
                      <a:pt x="41" y="75"/>
                    </a:lnTo>
                    <a:lnTo>
                      <a:pt x="43" y="77"/>
                    </a:lnTo>
                    <a:lnTo>
                      <a:pt x="41" y="77"/>
                    </a:lnTo>
                    <a:lnTo>
                      <a:pt x="41" y="77"/>
                    </a:lnTo>
                    <a:lnTo>
                      <a:pt x="39" y="77"/>
                    </a:lnTo>
                    <a:lnTo>
                      <a:pt x="37" y="77"/>
                    </a:lnTo>
                    <a:lnTo>
                      <a:pt x="34" y="75"/>
                    </a:lnTo>
                    <a:lnTo>
                      <a:pt x="34" y="75"/>
                    </a:lnTo>
                    <a:lnTo>
                      <a:pt x="32" y="70"/>
                    </a:lnTo>
                    <a:lnTo>
                      <a:pt x="30" y="66"/>
                    </a:lnTo>
                    <a:lnTo>
                      <a:pt x="32" y="65"/>
                    </a:lnTo>
                    <a:lnTo>
                      <a:pt x="32" y="65"/>
                    </a:lnTo>
                    <a:lnTo>
                      <a:pt x="28" y="59"/>
                    </a:lnTo>
                    <a:lnTo>
                      <a:pt x="27" y="54"/>
                    </a:lnTo>
                    <a:lnTo>
                      <a:pt x="28" y="52"/>
                    </a:lnTo>
                    <a:lnTo>
                      <a:pt x="28" y="52"/>
                    </a:lnTo>
                    <a:lnTo>
                      <a:pt x="28" y="48"/>
                    </a:lnTo>
                    <a:lnTo>
                      <a:pt x="30" y="45"/>
                    </a:lnTo>
                    <a:lnTo>
                      <a:pt x="30" y="45"/>
                    </a:lnTo>
                    <a:lnTo>
                      <a:pt x="34" y="41"/>
                    </a:lnTo>
                    <a:lnTo>
                      <a:pt x="37" y="40"/>
                    </a:lnTo>
                    <a:lnTo>
                      <a:pt x="37" y="40"/>
                    </a:lnTo>
                    <a:lnTo>
                      <a:pt x="37" y="41"/>
                    </a:lnTo>
                    <a:lnTo>
                      <a:pt x="37" y="41"/>
                    </a:lnTo>
                    <a:lnTo>
                      <a:pt x="39" y="40"/>
                    </a:lnTo>
                    <a:lnTo>
                      <a:pt x="39" y="36"/>
                    </a:lnTo>
                    <a:lnTo>
                      <a:pt x="39" y="36"/>
                    </a:lnTo>
                    <a:lnTo>
                      <a:pt x="41" y="31"/>
                    </a:lnTo>
                    <a:lnTo>
                      <a:pt x="43" y="25"/>
                    </a:lnTo>
                    <a:lnTo>
                      <a:pt x="43" y="25"/>
                    </a:lnTo>
                    <a:lnTo>
                      <a:pt x="41" y="25"/>
                    </a:lnTo>
                    <a:lnTo>
                      <a:pt x="41" y="25"/>
                    </a:lnTo>
                    <a:lnTo>
                      <a:pt x="41" y="23"/>
                    </a:lnTo>
                    <a:lnTo>
                      <a:pt x="41" y="23"/>
                    </a:lnTo>
                    <a:lnTo>
                      <a:pt x="39" y="20"/>
                    </a:lnTo>
                    <a:lnTo>
                      <a:pt x="36" y="16"/>
                    </a:lnTo>
                    <a:lnTo>
                      <a:pt x="36" y="16"/>
                    </a:lnTo>
                    <a:lnTo>
                      <a:pt x="36" y="13"/>
                    </a:lnTo>
                    <a:lnTo>
                      <a:pt x="37" y="7"/>
                    </a:lnTo>
                    <a:lnTo>
                      <a:pt x="37" y="7"/>
                    </a:lnTo>
                    <a:lnTo>
                      <a:pt x="37" y="6"/>
                    </a:lnTo>
                    <a:lnTo>
                      <a:pt x="36" y="4"/>
                    </a:lnTo>
                    <a:lnTo>
                      <a:pt x="36" y="4"/>
                    </a:lnTo>
                    <a:lnTo>
                      <a:pt x="36" y="4"/>
                    </a:lnTo>
                    <a:lnTo>
                      <a:pt x="34" y="6"/>
                    </a:lnTo>
                    <a:lnTo>
                      <a:pt x="32" y="7"/>
                    </a:lnTo>
                    <a:lnTo>
                      <a:pt x="32" y="7"/>
                    </a:lnTo>
                    <a:lnTo>
                      <a:pt x="30" y="6"/>
                    </a:lnTo>
                    <a:lnTo>
                      <a:pt x="27" y="6"/>
                    </a:lnTo>
                    <a:lnTo>
                      <a:pt x="27" y="6"/>
                    </a:lnTo>
                    <a:lnTo>
                      <a:pt x="25" y="4"/>
                    </a:lnTo>
                    <a:lnTo>
                      <a:pt x="25" y="4"/>
                    </a:lnTo>
                    <a:lnTo>
                      <a:pt x="21" y="0"/>
                    </a:lnTo>
                    <a:lnTo>
                      <a:pt x="18" y="0"/>
                    </a:lnTo>
                    <a:lnTo>
                      <a:pt x="18" y="0"/>
                    </a:lnTo>
                    <a:lnTo>
                      <a:pt x="14" y="0"/>
                    </a:lnTo>
                    <a:lnTo>
                      <a:pt x="14" y="0"/>
                    </a:lnTo>
                    <a:lnTo>
                      <a:pt x="12" y="0"/>
                    </a:lnTo>
                    <a:lnTo>
                      <a:pt x="12" y="0"/>
                    </a:lnTo>
                    <a:lnTo>
                      <a:pt x="12" y="0"/>
                    </a:lnTo>
                    <a:lnTo>
                      <a:pt x="11" y="2"/>
                    </a:lnTo>
                    <a:lnTo>
                      <a:pt x="11" y="4"/>
                    </a:lnTo>
                    <a:lnTo>
                      <a:pt x="11" y="4"/>
                    </a:lnTo>
                    <a:lnTo>
                      <a:pt x="9" y="13"/>
                    </a:lnTo>
                    <a:lnTo>
                      <a:pt x="9" y="13"/>
                    </a:lnTo>
                    <a:lnTo>
                      <a:pt x="9" y="16"/>
                    </a:lnTo>
                    <a:lnTo>
                      <a:pt x="9" y="20"/>
                    </a:lnTo>
                    <a:lnTo>
                      <a:pt x="9" y="23"/>
                    </a:lnTo>
                    <a:lnTo>
                      <a:pt x="9" y="27"/>
                    </a:lnTo>
                    <a:lnTo>
                      <a:pt x="9" y="27"/>
                    </a:lnTo>
                    <a:lnTo>
                      <a:pt x="9" y="32"/>
                    </a:lnTo>
                    <a:lnTo>
                      <a:pt x="11" y="40"/>
                    </a:lnTo>
                    <a:lnTo>
                      <a:pt x="11" y="40"/>
                    </a:lnTo>
                    <a:lnTo>
                      <a:pt x="9" y="40"/>
                    </a:lnTo>
                    <a:lnTo>
                      <a:pt x="9" y="41"/>
                    </a:lnTo>
                    <a:lnTo>
                      <a:pt x="7" y="40"/>
                    </a:lnTo>
                    <a:lnTo>
                      <a:pt x="2" y="34"/>
                    </a:lnTo>
                    <a:lnTo>
                      <a:pt x="2" y="34"/>
                    </a:lnTo>
                    <a:lnTo>
                      <a:pt x="0" y="36"/>
                    </a:lnTo>
                    <a:lnTo>
                      <a:pt x="0" y="3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02" name="Freeform 2856"/>
              <p:cNvSpPr>
                <a:spLocks/>
              </p:cNvSpPr>
              <p:nvPr/>
            </p:nvSpPr>
            <p:spPr bwMode="auto">
              <a:xfrm>
                <a:off x="4614" y="2445"/>
                <a:ext cx="1" cy="2"/>
              </a:xfrm>
              <a:custGeom>
                <a:avLst/>
                <a:gdLst>
                  <a:gd name="T0" fmla="*/ 0 w 1"/>
                  <a:gd name="T1" fmla="*/ 0 h 2"/>
                  <a:gd name="T2" fmla="*/ 0 w 1"/>
                  <a:gd name="T3" fmla="*/ 0 h 2"/>
                  <a:gd name="T4" fmla="*/ 1 w 1"/>
                  <a:gd name="T5" fmla="*/ 2 h 2"/>
                  <a:gd name="T6" fmla="*/ 1 w 1"/>
                  <a:gd name="T7" fmla="*/ 2 h 2"/>
                  <a:gd name="T8" fmla="*/ 1 w 1"/>
                  <a:gd name="T9" fmla="*/ 0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0" y="0"/>
                    </a:lnTo>
                    <a:lnTo>
                      <a:pt x="1" y="2"/>
                    </a:lnTo>
                    <a:lnTo>
                      <a:pt x="1" y="2"/>
                    </a:lnTo>
                    <a:lnTo>
                      <a:pt x="1"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03" name="Freeform 2857"/>
              <p:cNvSpPr>
                <a:spLocks/>
              </p:cNvSpPr>
              <p:nvPr/>
            </p:nvSpPr>
            <p:spPr bwMode="auto">
              <a:xfrm>
                <a:off x="4614" y="2445"/>
                <a:ext cx="1" cy="2"/>
              </a:xfrm>
              <a:custGeom>
                <a:avLst/>
                <a:gdLst>
                  <a:gd name="T0" fmla="*/ 0 w 1"/>
                  <a:gd name="T1" fmla="*/ 0 h 2"/>
                  <a:gd name="T2" fmla="*/ 0 w 1"/>
                  <a:gd name="T3" fmla="*/ 0 h 2"/>
                  <a:gd name="T4" fmla="*/ 1 w 1"/>
                  <a:gd name="T5" fmla="*/ 2 h 2"/>
                  <a:gd name="T6" fmla="*/ 1 w 1"/>
                  <a:gd name="T7" fmla="*/ 2 h 2"/>
                  <a:gd name="T8" fmla="*/ 1 w 1"/>
                  <a:gd name="T9" fmla="*/ 0 h 2"/>
                  <a:gd name="T10" fmla="*/ 0 w 1"/>
                  <a:gd name="T11" fmla="*/ 0 h 2"/>
                </a:gdLst>
                <a:ahLst/>
                <a:cxnLst>
                  <a:cxn ang="0">
                    <a:pos x="T0" y="T1"/>
                  </a:cxn>
                  <a:cxn ang="0">
                    <a:pos x="T2" y="T3"/>
                  </a:cxn>
                  <a:cxn ang="0">
                    <a:pos x="T4" y="T5"/>
                  </a:cxn>
                  <a:cxn ang="0">
                    <a:pos x="T6" y="T7"/>
                  </a:cxn>
                  <a:cxn ang="0">
                    <a:pos x="T8" y="T9"/>
                  </a:cxn>
                  <a:cxn ang="0">
                    <a:pos x="T10" y="T11"/>
                  </a:cxn>
                </a:cxnLst>
                <a:rect l="0" t="0" r="r" b="b"/>
                <a:pathLst>
                  <a:path w="1" h="2">
                    <a:moveTo>
                      <a:pt x="0" y="0"/>
                    </a:moveTo>
                    <a:lnTo>
                      <a:pt x="0" y="0"/>
                    </a:lnTo>
                    <a:lnTo>
                      <a:pt x="1" y="2"/>
                    </a:lnTo>
                    <a:lnTo>
                      <a:pt x="1" y="2"/>
                    </a:lnTo>
                    <a:lnTo>
                      <a:pt x="1"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04" name="Freeform 2858"/>
              <p:cNvSpPr>
                <a:spLocks/>
              </p:cNvSpPr>
              <p:nvPr/>
            </p:nvSpPr>
            <p:spPr bwMode="auto">
              <a:xfrm>
                <a:off x="4614" y="2524"/>
                <a:ext cx="1" cy="0"/>
              </a:xfrm>
              <a:custGeom>
                <a:avLst/>
                <a:gdLst>
                  <a:gd name="T0" fmla="*/ 1 w 1"/>
                  <a:gd name="T1" fmla="*/ 1 w 1"/>
                  <a:gd name="T2" fmla="*/ 1 w 1"/>
                  <a:gd name="T3" fmla="*/ 0 w 1"/>
                  <a:gd name="T4" fmla="*/ 0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1" y="0"/>
                    </a:lnTo>
                    <a:lnTo>
                      <a:pt x="0" y="0"/>
                    </a:lnTo>
                    <a:lnTo>
                      <a:pt x="0" y="0"/>
                    </a:lnTo>
                    <a:lnTo>
                      <a:pt x="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05" name="Freeform 2859"/>
              <p:cNvSpPr>
                <a:spLocks/>
              </p:cNvSpPr>
              <p:nvPr/>
            </p:nvSpPr>
            <p:spPr bwMode="auto">
              <a:xfrm>
                <a:off x="4614" y="2524"/>
                <a:ext cx="1" cy="0"/>
              </a:xfrm>
              <a:custGeom>
                <a:avLst/>
                <a:gdLst>
                  <a:gd name="T0" fmla="*/ 1 w 1"/>
                  <a:gd name="T1" fmla="*/ 1 w 1"/>
                  <a:gd name="T2" fmla="*/ 1 w 1"/>
                  <a:gd name="T3" fmla="*/ 0 w 1"/>
                  <a:gd name="T4" fmla="*/ 0 w 1"/>
                  <a:gd name="T5" fmla="*/ 1 w 1"/>
                </a:gdLst>
                <a:ahLst/>
                <a:cxnLst>
                  <a:cxn ang="0">
                    <a:pos x="T0" y="0"/>
                  </a:cxn>
                  <a:cxn ang="0">
                    <a:pos x="T1" y="0"/>
                  </a:cxn>
                  <a:cxn ang="0">
                    <a:pos x="T2" y="0"/>
                  </a:cxn>
                  <a:cxn ang="0">
                    <a:pos x="T3" y="0"/>
                  </a:cxn>
                  <a:cxn ang="0">
                    <a:pos x="T4" y="0"/>
                  </a:cxn>
                  <a:cxn ang="0">
                    <a:pos x="T5" y="0"/>
                  </a:cxn>
                </a:cxnLst>
                <a:rect l="0" t="0" r="r" b="b"/>
                <a:pathLst>
                  <a:path w="1">
                    <a:moveTo>
                      <a:pt x="1" y="0"/>
                    </a:moveTo>
                    <a:lnTo>
                      <a:pt x="1" y="0"/>
                    </a:lnTo>
                    <a:lnTo>
                      <a:pt x="1" y="0"/>
                    </a:lnTo>
                    <a:lnTo>
                      <a:pt x="0" y="0"/>
                    </a:lnTo>
                    <a:lnTo>
                      <a:pt x="0" y="0"/>
                    </a:lnTo>
                    <a:lnTo>
                      <a:pt x="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06" name="Freeform 2860"/>
              <p:cNvSpPr>
                <a:spLocks/>
              </p:cNvSpPr>
              <p:nvPr/>
            </p:nvSpPr>
            <p:spPr bwMode="auto">
              <a:xfrm>
                <a:off x="4615" y="2509"/>
                <a:ext cx="9" cy="6"/>
              </a:xfrm>
              <a:custGeom>
                <a:avLst/>
                <a:gdLst>
                  <a:gd name="T0" fmla="*/ 4 w 9"/>
                  <a:gd name="T1" fmla="*/ 2 h 6"/>
                  <a:gd name="T2" fmla="*/ 4 w 9"/>
                  <a:gd name="T3" fmla="*/ 2 h 6"/>
                  <a:gd name="T4" fmla="*/ 2 w 9"/>
                  <a:gd name="T5" fmla="*/ 0 h 6"/>
                  <a:gd name="T6" fmla="*/ 2 w 9"/>
                  <a:gd name="T7" fmla="*/ 0 h 6"/>
                  <a:gd name="T8" fmla="*/ 0 w 9"/>
                  <a:gd name="T9" fmla="*/ 2 h 6"/>
                  <a:gd name="T10" fmla="*/ 2 w 9"/>
                  <a:gd name="T11" fmla="*/ 4 h 6"/>
                  <a:gd name="T12" fmla="*/ 9 w 9"/>
                  <a:gd name="T13" fmla="*/ 6 h 6"/>
                  <a:gd name="T14" fmla="*/ 9 w 9"/>
                  <a:gd name="T15" fmla="*/ 6 h 6"/>
                  <a:gd name="T16" fmla="*/ 8 w 9"/>
                  <a:gd name="T17" fmla="*/ 4 h 6"/>
                  <a:gd name="T18" fmla="*/ 8 w 9"/>
                  <a:gd name="T19" fmla="*/ 4 h 6"/>
                  <a:gd name="T20" fmla="*/ 4 w 9"/>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4" y="2"/>
                    </a:moveTo>
                    <a:lnTo>
                      <a:pt x="4" y="2"/>
                    </a:lnTo>
                    <a:lnTo>
                      <a:pt x="2" y="0"/>
                    </a:lnTo>
                    <a:lnTo>
                      <a:pt x="2" y="0"/>
                    </a:lnTo>
                    <a:lnTo>
                      <a:pt x="0" y="2"/>
                    </a:lnTo>
                    <a:lnTo>
                      <a:pt x="2" y="4"/>
                    </a:lnTo>
                    <a:lnTo>
                      <a:pt x="9" y="6"/>
                    </a:lnTo>
                    <a:lnTo>
                      <a:pt x="9" y="6"/>
                    </a:lnTo>
                    <a:lnTo>
                      <a:pt x="8" y="4"/>
                    </a:lnTo>
                    <a:lnTo>
                      <a:pt x="8" y="4"/>
                    </a:lnTo>
                    <a:lnTo>
                      <a:pt x="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07" name="Freeform 2861"/>
              <p:cNvSpPr>
                <a:spLocks/>
              </p:cNvSpPr>
              <p:nvPr/>
            </p:nvSpPr>
            <p:spPr bwMode="auto">
              <a:xfrm>
                <a:off x="4615" y="2509"/>
                <a:ext cx="9" cy="6"/>
              </a:xfrm>
              <a:custGeom>
                <a:avLst/>
                <a:gdLst>
                  <a:gd name="T0" fmla="*/ 4 w 9"/>
                  <a:gd name="T1" fmla="*/ 2 h 6"/>
                  <a:gd name="T2" fmla="*/ 4 w 9"/>
                  <a:gd name="T3" fmla="*/ 2 h 6"/>
                  <a:gd name="T4" fmla="*/ 2 w 9"/>
                  <a:gd name="T5" fmla="*/ 0 h 6"/>
                  <a:gd name="T6" fmla="*/ 2 w 9"/>
                  <a:gd name="T7" fmla="*/ 0 h 6"/>
                  <a:gd name="T8" fmla="*/ 0 w 9"/>
                  <a:gd name="T9" fmla="*/ 2 h 6"/>
                  <a:gd name="T10" fmla="*/ 2 w 9"/>
                  <a:gd name="T11" fmla="*/ 4 h 6"/>
                  <a:gd name="T12" fmla="*/ 9 w 9"/>
                  <a:gd name="T13" fmla="*/ 6 h 6"/>
                  <a:gd name="T14" fmla="*/ 9 w 9"/>
                  <a:gd name="T15" fmla="*/ 6 h 6"/>
                  <a:gd name="T16" fmla="*/ 8 w 9"/>
                  <a:gd name="T17" fmla="*/ 4 h 6"/>
                  <a:gd name="T18" fmla="*/ 8 w 9"/>
                  <a:gd name="T19" fmla="*/ 4 h 6"/>
                  <a:gd name="T20" fmla="*/ 4 w 9"/>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4" y="2"/>
                    </a:moveTo>
                    <a:lnTo>
                      <a:pt x="4" y="2"/>
                    </a:lnTo>
                    <a:lnTo>
                      <a:pt x="2" y="0"/>
                    </a:lnTo>
                    <a:lnTo>
                      <a:pt x="2" y="0"/>
                    </a:lnTo>
                    <a:lnTo>
                      <a:pt x="0" y="2"/>
                    </a:lnTo>
                    <a:lnTo>
                      <a:pt x="2" y="4"/>
                    </a:lnTo>
                    <a:lnTo>
                      <a:pt x="9" y="6"/>
                    </a:lnTo>
                    <a:lnTo>
                      <a:pt x="9" y="6"/>
                    </a:lnTo>
                    <a:lnTo>
                      <a:pt x="8" y="4"/>
                    </a:lnTo>
                    <a:lnTo>
                      <a:pt x="8" y="4"/>
                    </a:lnTo>
                    <a:lnTo>
                      <a:pt x="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08" name="Freeform 2862"/>
              <p:cNvSpPr>
                <a:spLocks/>
              </p:cNvSpPr>
              <p:nvPr/>
            </p:nvSpPr>
            <p:spPr bwMode="auto">
              <a:xfrm>
                <a:off x="4619" y="2484"/>
                <a:ext cx="4" cy="4"/>
              </a:xfrm>
              <a:custGeom>
                <a:avLst/>
                <a:gdLst>
                  <a:gd name="T0" fmla="*/ 0 w 4"/>
                  <a:gd name="T1" fmla="*/ 0 h 4"/>
                  <a:gd name="T2" fmla="*/ 0 w 4"/>
                  <a:gd name="T3" fmla="*/ 0 h 4"/>
                  <a:gd name="T4" fmla="*/ 4 w 4"/>
                  <a:gd name="T5" fmla="*/ 4 h 4"/>
                  <a:gd name="T6" fmla="*/ 4 w 4"/>
                  <a:gd name="T7" fmla="*/ 4 h 4"/>
                  <a:gd name="T8" fmla="*/ 2 w 4"/>
                  <a:gd name="T9" fmla="*/ 2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0" y="0"/>
                    </a:lnTo>
                    <a:lnTo>
                      <a:pt x="4" y="4"/>
                    </a:lnTo>
                    <a:lnTo>
                      <a:pt x="4" y="4"/>
                    </a:lnTo>
                    <a:lnTo>
                      <a:pt x="2"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09" name="Freeform 2863"/>
              <p:cNvSpPr>
                <a:spLocks/>
              </p:cNvSpPr>
              <p:nvPr/>
            </p:nvSpPr>
            <p:spPr bwMode="auto">
              <a:xfrm>
                <a:off x="4619" y="2484"/>
                <a:ext cx="4" cy="4"/>
              </a:xfrm>
              <a:custGeom>
                <a:avLst/>
                <a:gdLst>
                  <a:gd name="T0" fmla="*/ 0 w 4"/>
                  <a:gd name="T1" fmla="*/ 0 h 4"/>
                  <a:gd name="T2" fmla="*/ 0 w 4"/>
                  <a:gd name="T3" fmla="*/ 0 h 4"/>
                  <a:gd name="T4" fmla="*/ 4 w 4"/>
                  <a:gd name="T5" fmla="*/ 4 h 4"/>
                  <a:gd name="T6" fmla="*/ 4 w 4"/>
                  <a:gd name="T7" fmla="*/ 4 h 4"/>
                  <a:gd name="T8" fmla="*/ 2 w 4"/>
                  <a:gd name="T9" fmla="*/ 2 h 4"/>
                  <a:gd name="T10" fmla="*/ 0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0" y="0"/>
                    </a:moveTo>
                    <a:lnTo>
                      <a:pt x="0" y="0"/>
                    </a:lnTo>
                    <a:lnTo>
                      <a:pt x="4" y="4"/>
                    </a:lnTo>
                    <a:lnTo>
                      <a:pt x="4" y="4"/>
                    </a:lnTo>
                    <a:lnTo>
                      <a:pt x="2"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10" name="Freeform 2864"/>
              <p:cNvSpPr>
                <a:spLocks/>
              </p:cNvSpPr>
              <p:nvPr/>
            </p:nvSpPr>
            <p:spPr bwMode="auto">
              <a:xfrm>
                <a:off x="4617" y="2516"/>
                <a:ext cx="2" cy="4"/>
              </a:xfrm>
              <a:custGeom>
                <a:avLst/>
                <a:gdLst>
                  <a:gd name="T0" fmla="*/ 2 w 2"/>
                  <a:gd name="T1" fmla="*/ 0 h 4"/>
                  <a:gd name="T2" fmla="*/ 2 w 2"/>
                  <a:gd name="T3" fmla="*/ 0 h 4"/>
                  <a:gd name="T4" fmla="*/ 0 w 2"/>
                  <a:gd name="T5" fmla="*/ 0 h 4"/>
                  <a:gd name="T6" fmla="*/ 0 w 2"/>
                  <a:gd name="T7" fmla="*/ 0 h 4"/>
                  <a:gd name="T8" fmla="*/ 0 w 2"/>
                  <a:gd name="T9" fmla="*/ 2 h 4"/>
                  <a:gd name="T10" fmla="*/ 2 w 2"/>
                  <a:gd name="T11" fmla="*/ 4 h 4"/>
                  <a:gd name="T12" fmla="*/ 2 w 2"/>
                  <a:gd name="T13" fmla="*/ 4 h 4"/>
                  <a:gd name="T14" fmla="*/ 2 w 2"/>
                  <a:gd name="T15" fmla="*/ 2 h 4"/>
                  <a:gd name="T16" fmla="*/ 2 w 2"/>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2" y="0"/>
                    </a:moveTo>
                    <a:lnTo>
                      <a:pt x="2" y="0"/>
                    </a:lnTo>
                    <a:lnTo>
                      <a:pt x="0" y="0"/>
                    </a:lnTo>
                    <a:lnTo>
                      <a:pt x="0" y="0"/>
                    </a:lnTo>
                    <a:lnTo>
                      <a:pt x="0" y="2"/>
                    </a:lnTo>
                    <a:lnTo>
                      <a:pt x="2" y="4"/>
                    </a:lnTo>
                    <a:lnTo>
                      <a:pt x="2" y="4"/>
                    </a:lnTo>
                    <a:lnTo>
                      <a:pt x="2"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11" name="Freeform 2865"/>
              <p:cNvSpPr>
                <a:spLocks/>
              </p:cNvSpPr>
              <p:nvPr/>
            </p:nvSpPr>
            <p:spPr bwMode="auto">
              <a:xfrm>
                <a:off x="4617" y="2516"/>
                <a:ext cx="2" cy="4"/>
              </a:xfrm>
              <a:custGeom>
                <a:avLst/>
                <a:gdLst>
                  <a:gd name="T0" fmla="*/ 2 w 2"/>
                  <a:gd name="T1" fmla="*/ 0 h 4"/>
                  <a:gd name="T2" fmla="*/ 2 w 2"/>
                  <a:gd name="T3" fmla="*/ 0 h 4"/>
                  <a:gd name="T4" fmla="*/ 0 w 2"/>
                  <a:gd name="T5" fmla="*/ 0 h 4"/>
                  <a:gd name="T6" fmla="*/ 0 w 2"/>
                  <a:gd name="T7" fmla="*/ 0 h 4"/>
                  <a:gd name="T8" fmla="*/ 0 w 2"/>
                  <a:gd name="T9" fmla="*/ 2 h 4"/>
                  <a:gd name="T10" fmla="*/ 2 w 2"/>
                  <a:gd name="T11" fmla="*/ 4 h 4"/>
                  <a:gd name="T12" fmla="*/ 2 w 2"/>
                  <a:gd name="T13" fmla="*/ 4 h 4"/>
                  <a:gd name="T14" fmla="*/ 2 w 2"/>
                  <a:gd name="T15" fmla="*/ 2 h 4"/>
                  <a:gd name="T16" fmla="*/ 2 w 2"/>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2" y="0"/>
                    </a:moveTo>
                    <a:lnTo>
                      <a:pt x="2" y="0"/>
                    </a:lnTo>
                    <a:lnTo>
                      <a:pt x="0" y="0"/>
                    </a:lnTo>
                    <a:lnTo>
                      <a:pt x="0" y="0"/>
                    </a:lnTo>
                    <a:lnTo>
                      <a:pt x="0" y="2"/>
                    </a:lnTo>
                    <a:lnTo>
                      <a:pt x="2" y="4"/>
                    </a:lnTo>
                    <a:lnTo>
                      <a:pt x="2" y="4"/>
                    </a:lnTo>
                    <a:lnTo>
                      <a:pt x="2"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12" name="Freeform 2866"/>
              <p:cNvSpPr>
                <a:spLocks/>
              </p:cNvSpPr>
              <p:nvPr/>
            </p:nvSpPr>
            <p:spPr bwMode="auto">
              <a:xfrm>
                <a:off x="4615" y="2538"/>
                <a:ext cx="4" cy="2"/>
              </a:xfrm>
              <a:custGeom>
                <a:avLst/>
                <a:gdLst>
                  <a:gd name="T0" fmla="*/ 4 w 4"/>
                  <a:gd name="T1" fmla="*/ 0 h 2"/>
                  <a:gd name="T2" fmla="*/ 4 w 4"/>
                  <a:gd name="T3" fmla="*/ 0 h 2"/>
                  <a:gd name="T4" fmla="*/ 4 w 4"/>
                  <a:gd name="T5" fmla="*/ 0 h 2"/>
                  <a:gd name="T6" fmla="*/ 2 w 4"/>
                  <a:gd name="T7" fmla="*/ 0 h 2"/>
                  <a:gd name="T8" fmla="*/ 0 w 4"/>
                  <a:gd name="T9" fmla="*/ 2 h 2"/>
                  <a:gd name="T10" fmla="*/ 0 w 4"/>
                  <a:gd name="T11" fmla="*/ 2 h 2"/>
                  <a:gd name="T12" fmla="*/ 2 w 4"/>
                  <a:gd name="T13" fmla="*/ 2 h 2"/>
                  <a:gd name="T14" fmla="*/ 4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4" y="0"/>
                    </a:moveTo>
                    <a:lnTo>
                      <a:pt x="4" y="0"/>
                    </a:lnTo>
                    <a:lnTo>
                      <a:pt x="4" y="0"/>
                    </a:lnTo>
                    <a:lnTo>
                      <a:pt x="2" y="0"/>
                    </a:lnTo>
                    <a:lnTo>
                      <a:pt x="0" y="2"/>
                    </a:lnTo>
                    <a:lnTo>
                      <a:pt x="0" y="2"/>
                    </a:lnTo>
                    <a:lnTo>
                      <a:pt x="2" y="2"/>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13" name="Freeform 2867"/>
              <p:cNvSpPr>
                <a:spLocks/>
              </p:cNvSpPr>
              <p:nvPr/>
            </p:nvSpPr>
            <p:spPr bwMode="auto">
              <a:xfrm>
                <a:off x="4615" y="2538"/>
                <a:ext cx="4" cy="2"/>
              </a:xfrm>
              <a:custGeom>
                <a:avLst/>
                <a:gdLst>
                  <a:gd name="T0" fmla="*/ 4 w 4"/>
                  <a:gd name="T1" fmla="*/ 0 h 2"/>
                  <a:gd name="T2" fmla="*/ 4 w 4"/>
                  <a:gd name="T3" fmla="*/ 0 h 2"/>
                  <a:gd name="T4" fmla="*/ 4 w 4"/>
                  <a:gd name="T5" fmla="*/ 0 h 2"/>
                  <a:gd name="T6" fmla="*/ 2 w 4"/>
                  <a:gd name="T7" fmla="*/ 0 h 2"/>
                  <a:gd name="T8" fmla="*/ 0 w 4"/>
                  <a:gd name="T9" fmla="*/ 2 h 2"/>
                  <a:gd name="T10" fmla="*/ 0 w 4"/>
                  <a:gd name="T11" fmla="*/ 2 h 2"/>
                  <a:gd name="T12" fmla="*/ 2 w 4"/>
                  <a:gd name="T13" fmla="*/ 2 h 2"/>
                  <a:gd name="T14" fmla="*/ 4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4" y="0"/>
                    </a:moveTo>
                    <a:lnTo>
                      <a:pt x="4" y="0"/>
                    </a:lnTo>
                    <a:lnTo>
                      <a:pt x="4" y="0"/>
                    </a:lnTo>
                    <a:lnTo>
                      <a:pt x="2" y="0"/>
                    </a:lnTo>
                    <a:lnTo>
                      <a:pt x="0" y="2"/>
                    </a:lnTo>
                    <a:lnTo>
                      <a:pt x="0" y="2"/>
                    </a:lnTo>
                    <a:lnTo>
                      <a:pt x="2" y="2"/>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14" name="Freeform 2868"/>
              <p:cNvSpPr>
                <a:spLocks/>
              </p:cNvSpPr>
              <p:nvPr/>
            </p:nvSpPr>
            <p:spPr bwMode="auto">
              <a:xfrm>
                <a:off x="4623" y="2491"/>
                <a:ext cx="19" cy="22"/>
              </a:xfrm>
              <a:custGeom>
                <a:avLst/>
                <a:gdLst>
                  <a:gd name="T0" fmla="*/ 0 w 19"/>
                  <a:gd name="T1" fmla="*/ 0 h 22"/>
                  <a:gd name="T2" fmla="*/ 0 w 19"/>
                  <a:gd name="T3" fmla="*/ 0 h 22"/>
                  <a:gd name="T4" fmla="*/ 3 w 19"/>
                  <a:gd name="T5" fmla="*/ 4 h 22"/>
                  <a:gd name="T6" fmla="*/ 3 w 19"/>
                  <a:gd name="T7" fmla="*/ 4 h 22"/>
                  <a:gd name="T8" fmla="*/ 7 w 19"/>
                  <a:gd name="T9" fmla="*/ 9 h 22"/>
                  <a:gd name="T10" fmla="*/ 9 w 19"/>
                  <a:gd name="T11" fmla="*/ 13 h 22"/>
                  <a:gd name="T12" fmla="*/ 9 w 19"/>
                  <a:gd name="T13" fmla="*/ 13 h 22"/>
                  <a:gd name="T14" fmla="*/ 12 w 19"/>
                  <a:gd name="T15" fmla="*/ 20 h 22"/>
                  <a:gd name="T16" fmla="*/ 16 w 19"/>
                  <a:gd name="T17" fmla="*/ 22 h 22"/>
                  <a:gd name="T18" fmla="*/ 17 w 19"/>
                  <a:gd name="T19" fmla="*/ 22 h 22"/>
                  <a:gd name="T20" fmla="*/ 17 w 19"/>
                  <a:gd name="T21" fmla="*/ 20 h 22"/>
                  <a:gd name="T22" fmla="*/ 17 w 19"/>
                  <a:gd name="T23" fmla="*/ 20 h 22"/>
                  <a:gd name="T24" fmla="*/ 19 w 19"/>
                  <a:gd name="T25" fmla="*/ 16 h 22"/>
                  <a:gd name="T26" fmla="*/ 19 w 19"/>
                  <a:gd name="T27" fmla="*/ 16 h 22"/>
                  <a:gd name="T28" fmla="*/ 19 w 19"/>
                  <a:gd name="T29" fmla="*/ 13 h 22"/>
                  <a:gd name="T30" fmla="*/ 19 w 19"/>
                  <a:gd name="T31" fmla="*/ 11 h 22"/>
                  <a:gd name="T32" fmla="*/ 19 w 19"/>
                  <a:gd name="T33" fmla="*/ 11 h 22"/>
                  <a:gd name="T34" fmla="*/ 17 w 19"/>
                  <a:gd name="T35" fmla="*/ 8 h 22"/>
                  <a:gd name="T36" fmla="*/ 16 w 19"/>
                  <a:gd name="T37" fmla="*/ 4 h 22"/>
                  <a:gd name="T38" fmla="*/ 16 w 19"/>
                  <a:gd name="T39" fmla="*/ 4 h 22"/>
                  <a:gd name="T40" fmla="*/ 7 w 19"/>
                  <a:gd name="T41" fmla="*/ 0 h 22"/>
                  <a:gd name="T42" fmla="*/ 3 w 19"/>
                  <a:gd name="T43" fmla="*/ 0 h 22"/>
                  <a:gd name="T44" fmla="*/ 0 w 19"/>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22">
                    <a:moveTo>
                      <a:pt x="0" y="0"/>
                    </a:moveTo>
                    <a:lnTo>
                      <a:pt x="0" y="0"/>
                    </a:lnTo>
                    <a:lnTo>
                      <a:pt x="3" y="4"/>
                    </a:lnTo>
                    <a:lnTo>
                      <a:pt x="3" y="4"/>
                    </a:lnTo>
                    <a:lnTo>
                      <a:pt x="7" y="9"/>
                    </a:lnTo>
                    <a:lnTo>
                      <a:pt x="9" y="13"/>
                    </a:lnTo>
                    <a:lnTo>
                      <a:pt x="9" y="13"/>
                    </a:lnTo>
                    <a:lnTo>
                      <a:pt x="12" y="20"/>
                    </a:lnTo>
                    <a:lnTo>
                      <a:pt x="16" y="22"/>
                    </a:lnTo>
                    <a:lnTo>
                      <a:pt x="17" y="22"/>
                    </a:lnTo>
                    <a:lnTo>
                      <a:pt x="17" y="20"/>
                    </a:lnTo>
                    <a:lnTo>
                      <a:pt x="17" y="20"/>
                    </a:lnTo>
                    <a:lnTo>
                      <a:pt x="19" y="16"/>
                    </a:lnTo>
                    <a:lnTo>
                      <a:pt x="19" y="16"/>
                    </a:lnTo>
                    <a:lnTo>
                      <a:pt x="19" y="13"/>
                    </a:lnTo>
                    <a:lnTo>
                      <a:pt x="19" y="11"/>
                    </a:lnTo>
                    <a:lnTo>
                      <a:pt x="19" y="11"/>
                    </a:lnTo>
                    <a:lnTo>
                      <a:pt x="17" y="8"/>
                    </a:lnTo>
                    <a:lnTo>
                      <a:pt x="16" y="4"/>
                    </a:lnTo>
                    <a:lnTo>
                      <a:pt x="16" y="4"/>
                    </a:lnTo>
                    <a:lnTo>
                      <a:pt x="7" y="0"/>
                    </a:lnTo>
                    <a:lnTo>
                      <a:pt x="3"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15" name="Freeform 2869"/>
              <p:cNvSpPr>
                <a:spLocks/>
              </p:cNvSpPr>
              <p:nvPr/>
            </p:nvSpPr>
            <p:spPr bwMode="auto">
              <a:xfrm>
                <a:off x="4623" y="2491"/>
                <a:ext cx="19" cy="22"/>
              </a:xfrm>
              <a:custGeom>
                <a:avLst/>
                <a:gdLst>
                  <a:gd name="T0" fmla="*/ 0 w 19"/>
                  <a:gd name="T1" fmla="*/ 0 h 22"/>
                  <a:gd name="T2" fmla="*/ 0 w 19"/>
                  <a:gd name="T3" fmla="*/ 0 h 22"/>
                  <a:gd name="T4" fmla="*/ 3 w 19"/>
                  <a:gd name="T5" fmla="*/ 4 h 22"/>
                  <a:gd name="T6" fmla="*/ 3 w 19"/>
                  <a:gd name="T7" fmla="*/ 4 h 22"/>
                  <a:gd name="T8" fmla="*/ 7 w 19"/>
                  <a:gd name="T9" fmla="*/ 9 h 22"/>
                  <a:gd name="T10" fmla="*/ 9 w 19"/>
                  <a:gd name="T11" fmla="*/ 13 h 22"/>
                  <a:gd name="T12" fmla="*/ 9 w 19"/>
                  <a:gd name="T13" fmla="*/ 13 h 22"/>
                  <a:gd name="T14" fmla="*/ 12 w 19"/>
                  <a:gd name="T15" fmla="*/ 20 h 22"/>
                  <a:gd name="T16" fmla="*/ 16 w 19"/>
                  <a:gd name="T17" fmla="*/ 22 h 22"/>
                  <a:gd name="T18" fmla="*/ 17 w 19"/>
                  <a:gd name="T19" fmla="*/ 22 h 22"/>
                  <a:gd name="T20" fmla="*/ 17 w 19"/>
                  <a:gd name="T21" fmla="*/ 20 h 22"/>
                  <a:gd name="T22" fmla="*/ 17 w 19"/>
                  <a:gd name="T23" fmla="*/ 20 h 22"/>
                  <a:gd name="T24" fmla="*/ 19 w 19"/>
                  <a:gd name="T25" fmla="*/ 16 h 22"/>
                  <a:gd name="T26" fmla="*/ 19 w 19"/>
                  <a:gd name="T27" fmla="*/ 16 h 22"/>
                  <a:gd name="T28" fmla="*/ 19 w 19"/>
                  <a:gd name="T29" fmla="*/ 13 h 22"/>
                  <a:gd name="T30" fmla="*/ 19 w 19"/>
                  <a:gd name="T31" fmla="*/ 11 h 22"/>
                  <a:gd name="T32" fmla="*/ 19 w 19"/>
                  <a:gd name="T33" fmla="*/ 11 h 22"/>
                  <a:gd name="T34" fmla="*/ 17 w 19"/>
                  <a:gd name="T35" fmla="*/ 8 h 22"/>
                  <a:gd name="T36" fmla="*/ 16 w 19"/>
                  <a:gd name="T37" fmla="*/ 4 h 22"/>
                  <a:gd name="T38" fmla="*/ 16 w 19"/>
                  <a:gd name="T39" fmla="*/ 4 h 22"/>
                  <a:gd name="T40" fmla="*/ 7 w 19"/>
                  <a:gd name="T41" fmla="*/ 0 h 22"/>
                  <a:gd name="T42" fmla="*/ 3 w 19"/>
                  <a:gd name="T43" fmla="*/ 0 h 22"/>
                  <a:gd name="T44" fmla="*/ 0 w 19"/>
                  <a:gd name="T4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22">
                    <a:moveTo>
                      <a:pt x="0" y="0"/>
                    </a:moveTo>
                    <a:lnTo>
                      <a:pt x="0" y="0"/>
                    </a:lnTo>
                    <a:lnTo>
                      <a:pt x="3" y="4"/>
                    </a:lnTo>
                    <a:lnTo>
                      <a:pt x="3" y="4"/>
                    </a:lnTo>
                    <a:lnTo>
                      <a:pt x="7" y="9"/>
                    </a:lnTo>
                    <a:lnTo>
                      <a:pt x="9" y="13"/>
                    </a:lnTo>
                    <a:lnTo>
                      <a:pt x="9" y="13"/>
                    </a:lnTo>
                    <a:lnTo>
                      <a:pt x="12" y="20"/>
                    </a:lnTo>
                    <a:lnTo>
                      <a:pt x="16" y="22"/>
                    </a:lnTo>
                    <a:lnTo>
                      <a:pt x="17" y="22"/>
                    </a:lnTo>
                    <a:lnTo>
                      <a:pt x="17" y="20"/>
                    </a:lnTo>
                    <a:lnTo>
                      <a:pt x="17" y="20"/>
                    </a:lnTo>
                    <a:lnTo>
                      <a:pt x="19" y="16"/>
                    </a:lnTo>
                    <a:lnTo>
                      <a:pt x="19" y="16"/>
                    </a:lnTo>
                    <a:lnTo>
                      <a:pt x="19" y="13"/>
                    </a:lnTo>
                    <a:lnTo>
                      <a:pt x="19" y="11"/>
                    </a:lnTo>
                    <a:lnTo>
                      <a:pt x="19" y="11"/>
                    </a:lnTo>
                    <a:lnTo>
                      <a:pt x="17" y="8"/>
                    </a:lnTo>
                    <a:lnTo>
                      <a:pt x="16" y="4"/>
                    </a:lnTo>
                    <a:lnTo>
                      <a:pt x="16" y="4"/>
                    </a:lnTo>
                    <a:lnTo>
                      <a:pt x="7" y="0"/>
                    </a:lnTo>
                    <a:lnTo>
                      <a:pt x="3"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16" name="Freeform 2870"/>
              <p:cNvSpPr>
                <a:spLocks/>
              </p:cNvSpPr>
              <p:nvPr/>
            </p:nvSpPr>
            <p:spPr bwMode="auto">
              <a:xfrm>
                <a:off x="4617" y="2625"/>
                <a:ext cx="6" cy="6"/>
              </a:xfrm>
              <a:custGeom>
                <a:avLst/>
                <a:gdLst>
                  <a:gd name="T0" fmla="*/ 0 w 6"/>
                  <a:gd name="T1" fmla="*/ 6 h 6"/>
                  <a:gd name="T2" fmla="*/ 0 w 6"/>
                  <a:gd name="T3" fmla="*/ 6 h 6"/>
                  <a:gd name="T4" fmla="*/ 6 w 6"/>
                  <a:gd name="T5" fmla="*/ 2 h 6"/>
                  <a:gd name="T6" fmla="*/ 6 w 6"/>
                  <a:gd name="T7" fmla="*/ 2 h 6"/>
                  <a:gd name="T8" fmla="*/ 6 w 6"/>
                  <a:gd name="T9" fmla="*/ 0 h 6"/>
                  <a:gd name="T10" fmla="*/ 4 w 6"/>
                  <a:gd name="T11" fmla="*/ 0 h 6"/>
                  <a:gd name="T12" fmla="*/ 2 w 6"/>
                  <a:gd name="T13" fmla="*/ 2 h 6"/>
                  <a:gd name="T14" fmla="*/ 2 w 6"/>
                  <a:gd name="T15" fmla="*/ 2 h 6"/>
                  <a:gd name="T16" fmla="*/ 0 w 6"/>
                  <a:gd name="T17" fmla="*/ 4 h 6"/>
                  <a:gd name="T18" fmla="*/ 0 w 6"/>
                  <a:gd name="T19" fmla="*/ 4 h 6"/>
                  <a:gd name="T20" fmla="*/ 0 w 6"/>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0" y="6"/>
                    </a:moveTo>
                    <a:lnTo>
                      <a:pt x="0" y="6"/>
                    </a:lnTo>
                    <a:lnTo>
                      <a:pt x="6" y="2"/>
                    </a:lnTo>
                    <a:lnTo>
                      <a:pt x="6" y="2"/>
                    </a:lnTo>
                    <a:lnTo>
                      <a:pt x="6" y="0"/>
                    </a:lnTo>
                    <a:lnTo>
                      <a:pt x="4" y="0"/>
                    </a:lnTo>
                    <a:lnTo>
                      <a:pt x="2" y="2"/>
                    </a:lnTo>
                    <a:lnTo>
                      <a:pt x="2" y="2"/>
                    </a:lnTo>
                    <a:lnTo>
                      <a:pt x="0" y="4"/>
                    </a:lnTo>
                    <a:lnTo>
                      <a:pt x="0" y="4"/>
                    </a:lnTo>
                    <a:lnTo>
                      <a:pt x="0"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17" name="Freeform 2871"/>
              <p:cNvSpPr>
                <a:spLocks/>
              </p:cNvSpPr>
              <p:nvPr/>
            </p:nvSpPr>
            <p:spPr bwMode="auto">
              <a:xfrm>
                <a:off x="4617" y="2625"/>
                <a:ext cx="6" cy="6"/>
              </a:xfrm>
              <a:custGeom>
                <a:avLst/>
                <a:gdLst>
                  <a:gd name="T0" fmla="*/ 0 w 6"/>
                  <a:gd name="T1" fmla="*/ 6 h 6"/>
                  <a:gd name="T2" fmla="*/ 0 w 6"/>
                  <a:gd name="T3" fmla="*/ 6 h 6"/>
                  <a:gd name="T4" fmla="*/ 6 w 6"/>
                  <a:gd name="T5" fmla="*/ 2 h 6"/>
                  <a:gd name="T6" fmla="*/ 6 w 6"/>
                  <a:gd name="T7" fmla="*/ 2 h 6"/>
                  <a:gd name="T8" fmla="*/ 6 w 6"/>
                  <a:gd name="T9" fmla="*/ 0 h 6"/>
                  <a:gd name="T10" fmla="*/ 4 w 6"/>
                  <a:gd name="T11" fmla="*/ 0 h 6"/>
                  <a:gd name="T12" fmla="*/ 2 w 6"/>
                  <a:gd name="T13" fmla="*/ 2 h 6"/>
                  <a:gd name="T14" fmla="*/ 2 w 6"/>
                  <a:gd name="T15" fmla="*/ 2 h 6"/>
                  <a:gd name="T16" fmla="*/ 0 w 6"/>
                  <a:gd name="T17" fmla="*/ 4 h 6"/>
                  <a:gd name="T18" fmla="*/ 0 w 6"/>
                  <a:gd name="T19" fmla="*/ 4 h 6"/>
                  <a:gd name="T20" fmla="*/ 0 w 6"/>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6">
                    <a:moveTo>
                      <a:pt x="0" y="6"/>
                    </a:moveTo>
                    <a:lnTo>
                      <a:pt x="0" y="6"/>
                    </a:lnTo>
                    <a:lnTo>
                      <a:pt x="6" y="2"/>
                    </a:lnTo>
                    <a:lnTo>
                      <a:pt x="6" y="2"/>
                    </a:lnTo>
                    <a:lnTo>
                      <a:pt x="6" y="0"/>
                    </a:lnTo>
                    <a:lnTo>
                      <a:pt x="4" y="0"/>
                    </a:lnTo>
                    <a:lnTo>
                      <a:pt x="2" y="2"/>
                    </a:lnTo>
                    <a:lnTo>
                      <a:pt x="2" y="2"/>
                    </a:lnTo>
                    <a:lnTo>
                      <a:pt x="0" y="4"/>
                    </a:lnTo>
                    <a:lnTo>
                      <a:pt x="0" y="4"/>
                    </a:lnTo>
                    <a:lnTo>
                      <a:pt x="0"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18" name="Freeform 2872"/>
              <p:cNvSpPr>
                <a:spLocks/>
              </p:cNvSpPr>
              <p:nvPr/>
            </p:nvSpPr>
            <p:spPr bwMode="auto">
              <a:xfrm>
                <a:off x="4633" y="2615"/>
                <a:ext cx="7" cy="3"/>
              </a:xfrm>
              <a:custGeom>
                <a:avLst/>
                <a:gdLst>
                  <a:gd name="T0" fmla="*/ 6 w 7"/>
                  <a:gd name="T1" fmla="*/ 3 h 3"/>
                  <a:gd name="T2" fmla="*/ 6 w 7"/>
                  <a:gd name="T3" fmla="*/ 3 h 3"/>
                  <a:gd name="T4" fmla="*/ 7 w 7"/>
                  <a:gd name="T5" fmla="*/ 1 h 3"/>
                  <a:gd name="T6" fmla="*/ 6 w 7"/>
                  <a:gd name="T7" fmla="*/ 0 h 3"/>
                  <a:gd name="T8" fmla="*/ 2 w 7"/>
                  <a:gd name="T9" fmla="*/ 0 h 3"/>
                  <a:gd name="T10" fmla="*/ 2 w 7"/>
                  <a:gd name="T11" fmla="*/ 0 h 3"/>
                  <a:gd name="T12" fmla="*/ 0 w 7"/>
                  <a:gd name="T13" fmla="*/ 1 h 3"/>
                  <a:gd name="T14" fmla="*/ 0 w 7"/>
                  <a:gd name="T15" fmla="*/ 1 h 3"/>
                  <a:gd name="T16" fmla="*/ 0 w 7"/>
                  <a:gd name="T17" fmla="*/ 1 h 3"/>
                  <a:gd name="T18" fmla="*/ 4 w 7"/>
                  <a:gd name="T19" fmla="*/ 1 h 3"/>
                  <a:gd name="T20" fmla="*/ 6 w 7"/>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6" y="3"/>
                    </a:moveTo>
                    <a:lnTo>
                      <a:pt x="6" y="3"/>
                    </a:lnTo>
                    <a:lnTo>
                      <a:pt x="7" y="1"/>
                    </a:lnTo>
                    <a:lnTo>
                      <a:pt x="6" y="0"/>
                    </a:lnTo>
                    <a:lnTo>
                      <a:pt x="2" y="0"/>
                    </a:lnTo>
                    <a:lnTo>
                      <a:pt x="2" y="0"/>
                    </a:lnTo>
                    <a:lnTo>
                      <a:pt x="0" y="1"/>
                    </a:lnTo>
                    <a:lnTo>
                      <a:pt x="0" y="1"/>
                    </a:lnTo>
                    <a:lnTo>
                      <a:pt x="0" y="1"/>
                    </a:lnTo>
                    <a:lnTo>
                      <a:pt x="4" y="1"/>
                    </a:lnTo>
                    <a:lnTo>
                      <a:pt x="6"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19" name="Freeform 2873"/>
              <p:cNvSpPr>
                <a:spLocks/>
              </p:cNvSpPr>
              <p:nvPr/>
            </p:nvSpPr>
            <p:spPr bwMode="auto">
              <a:xfrm>
                <a:off x="4633" y="2615"/>
                <a:ext cx="7" cy="3"/>
              </a:xfrm>
              <a:custGeom>
                <a:avLst/>
                <a:gdLst>
                  <a:gd name="T0" fmla="*/ 6 w 7"/>
                  <a:gd name="T1" fmla="*/ 3 h 3"/>
                  <a:gd name="T2" fmla="*/ 6 w 7"/>
                  <a:gd name="T3" fmla="*/ 3 h 3"/>
                  <a:gd name="T4" fmla="*/ 7 w 7"/>
                  <a:gd name="T5" fmla="*/ 1 h 3"/>
                  <a:gd name="T6" fmla="*/ 6 w 7"/>
                  <a:gd name="T7" fmla="*/ 0 h 3"/>
                  <a:gd name="T8" fmla="*/ 2 w 7"/>
                  <a:gd name="T9" fmla="*/ 0 h 3"/>
                  <a:gd name="T10" fmla="*/ 2 w 7"/>
                  <a:gd name="T11" fmla="*/ 0 h 3"/>
                  <a:gd name="T12" fmla="*/ 0 w 7"/>
                  <a:gd name="T13" fmla="*/ 1 h 3"/>
                  <a:gd name="T14" fmla="*/ 0 w 7"/>
                  <a:gd name="T15" fmla="*/ 1 h 3"/>
                  <a:gd name="T16" fmla="*/ 0 w 7"/>
                  <a:gd name="T17" fmla="*/ 1 h 3"/>
                  <a:gd name="T18" fmla="*/ 4 w 7"/>
                  <a:gd name="T19" fmla="*/ 1 h 3"/>
                  <a:gd name="T20" fmla="*/ 6 w 7"/>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6" y="3"/>
                    </a:moveTo>
                    <a:lnTo>
                      <a:pt x="6" y="3"/>
                    </a:lnTo>
                    <a:lnTo>
                      <a:pt x="7" y="1"/>
                    </a:lnTo>
                    <a:lnTo>
                      <a:pt x="6" y="0"/>
                    </a:lnTo>
                    <a:lnTo>
                      <a:pt x="2" y="0"/>
                    </a:lnTo>
                    <a:lnTo>
                      <a:pt x="2" y="0"/>
                    </a:lnTo>
                    <a:lnTo>
                      <a:pt x="0" y="1"/>
                    </a:lnTo>
                    <a:lnTo>
                      <a:pt x="0" y="1"/>
                    </a:lnTo>
                    <a:lnTo>
                      <a:pt x="0" y="1"/>
                    </a:lnTo>
                    <a:lnTo>
                      <a:pt x="4" y="1"/>
                    </a:lnTo>
                    <a:lnTo>
                      <a:pt x="6"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20" name="Freeform 2874"/>
              <p:cNvSpPr>
                <a:spLocks/>
              </p:cNvSpPr>
              <p:nvPr/>
            </p:nvSpPr>
            <p:spPr bwMode="auto">
              <a:xfrm>
                <a:off x="4646" y="2468"/>
                <a:ext cx="3" cy="7"/>
              </a:xfrm>
              <a:custGeom>
                <a:avLst/>
                <a:gdLst>
                  <a:gd name="T0" fmla="*/ 0 w 3"/>
                  <a:gd name="T1" fmla="*/ 0 h 7"/>
                  <a:gd name="T2" fmla="*/ 0 w 3"/>
                  <a:gd name="T3" fmla="*/ 0 h 7"/>
                  <a:gd name="T4" fmla="*/ 0 w 3"/>
                  <a:gd name="T5" fmla="*/ 4 h 7"/>
                  <a:gd name="T6" fmla="*/ 3 w 3"/>
                  <a:gd name="T7" fmla="*/ 7 h 7"/>
                  <a:gd name="T8" fmla="*/ 3 w 3"/>
                  <a:gd name="T9" fmla="*/ 7 h 7"/>
                  <a:gd name="T10" fmla="*/ 3 w 3"/>
                  <a:gd name="T11" fmla="*/ 2 h 7"/>
                  <a:gd name="T12" fmla="*/ 2 w 3"/>
                  <a:gd name="T13" fmla="*/ 0 h 7"/>
                  <a:gd name="T14" fmla="*/ 0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0"/>
                    </a:moveTo>
                    <a:lnTo>
                      <a:pt x="0" y="0"/>
                    </a:lnTo>
                    <a:lnTo>
                      <a:pt x="0" y="4"/>
                    </a:lnTo>
                    <a:lnTo>
                      <a:pt x="3" y="7"/>
                    </a:lnTo>
                    <a:lnTo>
                      <a:pt x="3" y="7"/>
                    </a:lnTo>
                    <a:lnTo>
                      <a:pt x="3" y="2"/>
                    </a:lnTo>
                    <a:lnTo>
                      <a:pt x="2"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21" name="Freeform 2875"/>
              <p:cNvSpPr>
                <a:spLocks/>
              </p:cNvSpPr>
              <p:nvPr/>
            </p:nvSpPr>
            <p:spPr bwMode="auto">
              <a:xfrm>
                <a:off x="4646" y="2468"/>
                <a:ext cx="3" cy="7"/>
              </a:xfrm>
              <a:custGeom>
                <a:avLst/>
                <a:gdLst>
                  <a:gd name="T0" fmla="*/ 0 w 3"/>
                  <a:gd name="T1" fmla="*/ 0 h 7"/>
                  <a:gd name="T2" fmla="*/ 0 w 3"/>
                  <a:gd name="T3" fmla="*/ 0 h 7"/>
                  <a:gd name="T4" fmla="*/ 0 w 3"/>
                  <a:gd name="T5" fmla="*/ 4 h 7"/>
                  <a:gd name="T6" fmla="*/ 3 w 3"/>
                  <a:gd name="T7" fmla="*/ 7 h 7"/>
                  <a:gd name="T8" fmla="*/ 3 w 3"/>
                  <a:gd name="T9" fmla="*/ 7 h 7"/>
                  <a:gd name="T10" fmla="*/ 3 w 3"/>
                  <a:gd name="T11" fmla="*/ 2 h 7"/>
                  <a:gd name="T12" fmla="*/ 2 w 3"/>
                  <a:gd name="T13" fmla="*/ 0 h 7"/>
                  <a:gd name="T14" fmla="*/ 0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0"/>
                    </a:moveTo>
                    <a:lnTo>
                      <a:pt x="0" y="0"/>
                    </a:lnTo>
                    <a:lnTo>
                      <a:pt x="0" y="4"/>
                    </a:lnTo>
                    <a:lnTo>
                      <a:pt x="3" y="7"/>
                    </a:lnTo>
                    <a:lnTo>
                      <a:pt x="3" y="7"/>
                    </a:lnTo>
                    <a:lnTo>
                      <a:pt x="3" y="2"/>
                    </a:lnTo>
                    <a:lnTo>
                      <a:pt x="2"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22" name="Freeform 2876"/>
              <p:cNvSpPr>
                <a:spLocks/>
              </p:cNvSpPr>
              <p:nvPr/>
            </p:nvSpPr>
            <p:spPr bwMode="auto">
              <a:xfrm>
                <a:off x="4648" y="2482"/>
                <a:ext cx="5" cy="4"/>
              </a:xfrm>
              <a:custGeom>
                <a:avLst/>
                <a:gdLst>
                  <a:gd name="T0" fmla="*/ 5 w 5"/>
                  <a:gd name="T1" fmla="*/ 4 h 4"/>
                  <a:gd name="T2" fmla="*/ 5 w 5"/>
                  <a:gd name="T3" fmla="*/ 4 h 4"/>
                  <a:gd name="T4" fmla="*/ 3 w 5"/>
                  <a:gd name="T5" fmla="*/ 0 h 4"/>
                  <a:gd name="T6" fmla="*/ 0 w 5"/>
                  <a:gd name="T7" fmla="*/ 0 h 4"/>
                  <a:gd name="T8" fmla="*/ 0 w 5"/>
                  <a:gd name="T9" fmla="*/ 0 h 4"/>
                  <a:gd name="T10" fmla="*/ 5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5" y="4"/>
                    </a:moveTo>
                    <a:lnTo>
                      <a:pt x="5" y="4"/>
                    </a:lnTo>
                    <a:lnTo>
                      <a:pt x="3" y="0"/>
                    </a:lnTo>
                    <a:lnTo>
                      <a:pt x="0" y="0"/>
                    </a:lnTo>
                    <a:lnTo>
                      <a:pt x="0" y="0"/>
                    </a:lnTo>
                    <a:lnTo>
                      <a:pt x="5"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23" name="Freeform 2877"/>
              <p:cNvSpPr>
                <a:spLocks/>
              </p:cNvSpPr>
              <p:nvPr/>
            </p:nvSpPr>
            <p:spPr bwMode="auto">
              <a:xfrm>
                <a:off x="4648" y="2482"/>
                <a:ext cx="5" cy="4"/>
              </a:xfrm>
              <a:custGeom>
                <a:avLst/>
                <a:gdLst>
                  <a:gd name="T0" fmla="*/ 5 w 5"/>
                  <a:gd name="T1" fmla="*/ 4 h 4"/>
                  <a:gd name="T2" fmla="*/ 5 w 5"/>
                  <a:gd name="T3" fmla="*/ 4 h 4"/>
                  <a:gd name="T4" fmla="*/ 3 w 5"/>
                  <a:gd name="T5" fmla="*/ 0 h 4"/>
                  <a:gd name="T6" fmla="*/ 0 w 5"/>
                  <a:gd name="T7" fmla="*/ 0 h 4"/>
                  <a:gd name="T8" fmla="*/ 0 w 5"/>
                  <a:gd name="T9" fmla="*/ 0 h 4"/>
                  <a:gd name="T10" fmla="*/ 5 w 5"/>
                  <a:gd name="T11" fmla="*/ 4 h 4"/>
                </a:gdLst>
                <a:ahLst/>
                <a:cxnLst>
                  <a:cxn ang="0">
                    <a:pos x="T0" y="T1"/>
                  </a:cxn>
                  <a:cxn ang="0">
                    <a:pos x="T2" y="T3"/>
                  </a:cxn>
                  <a:cxn ang="0">
                    <a:pos x="T4" y="T5"/>
                  </a:cxn>
                  <a:cxn ang="0">
                    <a:pos x="T6" y="T7"/>
                  </a:cxn>
                  <a:cxn ang="0">
                    <a:pos x="T8" y="T9"/>
                  </a:cxn>
                  <a:cxn ang="0">
                    <a:pos x="T10" y="T11"/>
                  </a:cxn>
                </a:cxnLst>
                <a:rect l="0" t="0" r="r" b="b"/>
                <a:pathLst>
                  <a:path w="5" h="4">
                    <a:moveTo>
                      <a:pt x="5" y="4"/>
                    </a:moveTo>
                    <a:lnTo>
                      <a:pt x="5" y="4"/>
                    </a:lnTo>
                    <a:lnTo>
                      <a:pt x="3" y="0"/>
                    </a:lnTo>
                    <a:lnTo>
                      <a:pt x="0" y="0"/>
                    </a:lnTo>
                    <a:lnTo>
                      <a:pt x="0" y="0"/>
                    </a:lnTo>
                    <a:lnTo>
                      <a:pt x="5"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24" name="Freeform 2878"/>
              <p:cNvSpPr>
                <a:spLocks/>
              </p:cNvSpPr>
              <p:nvPr/>
            </p:nvSpPr>
            <p:spPr bwMode="auto">
              <a:xfrm>
                <a:off x="4648" y="2493"/>
                <a:ext cx="5" cy="4"/>
              </a:xfrm>
              <a:custGeom>
                <a:avLst/>
                <a:gdLst>
                  <a:gd name="T0" fmla="*/ 0 w 5"/>
                  <a:gd name="T1" fmla="*/ 0 h 4"/>
                  <a:gd name="T2" fmla="*/ 0 w 5"/>
                  <a:gd name="T3" fmla="*/ 0 h 4"/>
                  <a:gd name="T4" fmla="*/ 0 w 5"/>
                  <a:gd name="T5" fmla="*/ 4 h 4"/>
                  <a:gd name="T6" fmla="*/ 1 w 5"/>
                  <a:gd name="T7" fmla="*/ 4 h 4"/>
                  <a:gd name="T8" fmla="*/ 3 w 5"/>
                  <a:gd name="T9" fmla="*/ 4 h 4"/>
                  <a:gd name="T10" fmla="*/ 5 w 5"/>
                  <a:gd name="T11" fmla="*/ 2 h 4"/>
                  <a:gd name="T12" fmla="*/ 5 w 5"/>
                  <a:gd name="T13" fmla="*/ 2 h 4"/>
                  <a:gd name="T14" fmla="*/ 3 w 5"/>
                  <a:gd name="T15" fmla="*/ 0 h 4"/>
                  <a:gd name="T16" fmla="*/ 1 w 5"/>
                  <a:gd name="T17" fmla="*/ 0 h 4"/>
                  <a:gd name="T18" fmla="*/ 0 w 5"/>
                  <a:gd name="T19" fmla="*/ 0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0" y="0"/>
                    </a:lnTo>
                    <a:lnTo>
                      <a:pt x="0" y="4"/>
                    </a:lnTo>
                    <a:lnTo>
                      <a:pt x="1" y="4"/>
                    </a:lnTo>
                    <a:lnTo>
                      <a:pt x="3" y="4"/>
                    </a:lnTo>
                    <a:lnTo>
                      <a:pt x="5" y="2"/>
                    </a:lnTo>
                    <a:lnTo>
                      <a:pt x="5" y="2"/>
                    </a:lnTo>
                    <a:lnTo>
                      <a:pt x="3" y="0"/>
                    </a:lnTo>
                    <a:lnTo>
                      <a:pt x="1" y="0"/>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25" name="Freeform 2879"/>
              <p:cNvSpPr>
                <a:spLocks/>
              </p:cNvSpPr>
              <p:nvPr/>
            </p:nvSpPr>
            <p:spPr bwMode="auto">
              <a:xfrm>
                <a:off x="4648" y="2493"/>
                <a:ext cx="5" cy="4"/>
              </a:xfrm>
              <a:custGeom>
                <a:avLst/>
                <a:gdLst>
                  <a:gd name="T0" fmla="*/ 0 w 5"/>
                  <a:gd name="T1" fmla="*/ 0 h 4"/>
                  <a:gd name="T2" fmla="*/ 0 w 5"/>
                  <a:gd name="T3" fmla="*/ 0 h 4"/>
                  <a:gd name="T4" fmla="*/ 0 w 5"/>
                  <a:gd name="T5" fmla="*/ 4 h 4"/>
                  <a:gd name="T6" fmla="*/ 1 w 5"/>
                  <a:gd name="T7" fmla="*/ 4 h 4"/>
                  <a:gd name="T8" fmla="*/ 3 w 5"/>
                  <a:gd name="T9" fmla="*/ 4 h 4"/>
                  <a:gd name="T10" fmla="*/ 5 w 5"/>
                  <a:gd name="T11" fmla="*/ 2 h 4"/>
                  <a:gd name="T12" fmla="*/ 5 w 5"/>
                  <a:gd name="T13" fmla="*/ 2 h 4"/>
                  <a:gd name="T14" fmla="*/ 3 w 5"/>
                  <a:gd name="T15" fmla="*/ 0 h 4"/>
                  <a:gd name="T16" fmla="*/ 1 w 5"/>
                  <a:gd name="T17" fmla="*/ 0 h 4"/>
                  <a:gd name="T18" fmla="*/ 0 w 5"/>
                  <a:gd name="T19" fmla="*/ 0 h 4"/>
                  <a:gd name="T20" fmla="*/ 0 w 5"/>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4">
                    <a:moveTo>
                      <a:pt x="0" y="0"/>
                    </a:moveTo>
                    <a:lnTo>
                      <a:pt x="0" y="0"/>
                    </a:lnTo>
                    <a:lnTo>
                      <a:pt x="0" y="4"/>
                    </a:lnTo>
                    <a:lnTo>
                      <a:pt x="1" y="4"/>
                    </a:lnTo>
                    <a:lnTo>
                      <a:pt x="3" y="4"/>
                    </a:lnTo>
                    <a:lnTo>
                      <a:pt x="5" y="2"/>
                    </a:lnTo>
                    <a:lnTo>
                      <a:pt x="5" y="2"/>
                    </a:lnTo>
                    <a:lnTo>
                      <a:pt x="3" y="0"/>
                    </a:lnTo>
                    <a:lnTo>
                      <a:pt x="1" y="0"/>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26" name="Freeform 2880"/>
              <p:cNvSpPr>
                <a:spLocks/>
              </p:cNvSpPr>
              <p:nvPr/>
            </p:nvSpPr>
            <p:spPr bwMode="auto">
              <a:xfrm>
                <a:off x="4651" y="2474"/>
                <a:ext cx="2" cy="0"/>
              </a:xfrm>
              <a:custGeom>
                <a:avLst/>
                <a:gdLst>
                  <a:gd name="T0" fmla="*/ 2 w 2"/>
                  <a:gd name="T1" fmla="*/ 2 w 2"/>
                  <a:gd name="T2" fmla="*/ 2 w 2"/>
                  <a:gd name="T3" fmla="*/ 0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2" y="0"/>
                    </a:lnTo>
                    <a:lnTo>
                      <a:pt x="0" y="0"/>
                    </a:lnTo>
                    <a:lnTo>
                      <a:pt x="0"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27" name="Freeform 2881"/>
              <p:cNvSpPr>
                <a:spLocks/>
              </p:cNvSpPr>
              <p:nvPr/>
            </p:nvSpPr>
            <p:spPr bwMode="auto">
              <a:xfrm>
                <a:off x="4651" y="2474"/>
                <a:ext cx="2" cy="0"/>
              </a:xfrm>
              <a:custGeom>
                <a:avLst/>
                <a:gdLst>
                  <a:gd name="T0" fmla="*/ 2 w 2"/>
                  <a:gd name="T1" fmla="*/ 2 w 2"/>
                  <a:gd name="T2" fmla="*/ 2 w 2"/>
                  <a:gd name="T3" fmla="*/ 0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2" y="0"/>
                    </a:lnTo>
                    <a:lnTo>
                      <a:pt x="0" y="0"/>
                    </a:lnTo>
                    <a:lnTo>
                      <a:pt x="0"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28" name="Freeform 2882"/>
              <p:cNvSpPr>
                <a:spLocks/>
              </p:cNvSpPr>
              <p:nvPr/>
            </p:nvSpPr>
            <p:spPr bwMode="auto">
              <a:xfrm>
                <a:off x="4648" y="2518"/>
                <a:ext cx="21" cy="25"/>
              </a:xfrm>
              <a:custGeom>
                <a:avLst/>
                <a:gdLst>
                  <a:gd name="T0" fmla="*/ 0 w 21"/>
                  <a:gd name="T1" fmla="*/ 4 h 25"/>
                  <a:gd name="T2" fmla="*/ 0 w 21"/>
                  <a:gd name="T3" fmla="*/ 4 h 25"/>
                  <a:gd name="T4" fmla="*/ 3 w 21"/>
                  <a:gd name="T5" fmla="*/ 4 h 25"/>
                  <a:gd name="T6" fmla="*/ 3 w 21"/>
                  <a:gd name="T7" fmla="*/ 6 h 25"/>
                  <a:gd name="T8" fmla="*/ 3 w 21"/>
                  <a:gd name="T9" fmla="*/ 11 h 25"/>
                  <a:gd name="T10" fmla="*/ 3 w 21"/>
                  <a:gd name="T11" fmla="*/ 11 h 25"/>
                  <a:gd name="T12" fmla="*/ 1 w 21"/>
                  <a:gd name="T13" fmla="*/ 18 h 25"/>
                  <a:gd name="T14" fmla="*/ 1 w 21"/>
                  <a:gd name="T15" fmla="*/ 18 h 25"/>
                  <a:gd name="T16" fmla="*/ 1 w 21"/>
                  <a:gd name="T17" fmla="*/ 22 h 25"/>
                  <a:gd name="T18" fmla="*/ 1 w 21"/>
                  <a:gd name="T19" fmla="*/ 25 h 25"/>
                  <a:gd name="T20" fmla="*/ 1 w 21"/>
                  <a:gd name="T21" fmla="*/ 25 h 25"/>
                  <a:gd name="T22" fmla="*/ 3 w 21"/>
                  <a:gd name="T23" fmla="*/ 25 h 25"/>
                  <a:gd name="T24" fmla="*/ 5 w 21"/>
                  <a:gd name="T25" fmla="*/ 23 h 25"/>
                  <a:gd name="T26" fmla="*/ 7 w 21"/>
                  <a:gd name="T27" fmla="*/ 22 h 25"/>
                  <a:gd name="T28" fmla="*/ 9 w 21"/>
                  <a:gd name="T29" fmla="*/ 22 h 25"/>
                  <a:gd name="T30" fmla="*/ 9 w 21"/>
                  <a:gd name="T31" fmla="*/ 22 h 25"/>
                  <a:gd name="T32" fmla="*/ 14 w 21"/>
                  <a:gd name="T33" fmla="*/ 20 h 25"/>
                  <a:gd name="T34" fmla="*/ 16 w 21"/>
                  <a:gd name="T35" fmla="*/ 18 h 25"/>
                  <a:gd name="T36" fmla="*/ 16 w 21"/>
                  <a:gd name="T37" fmla="*/ 18 h 25"/>
                  <a:gd name="T38" fmla="*/ 16 w 21"/>
                  <a:gd name="T39" fmla="*/ 16 h 25"/>
                  <a:gd name="T40" fmla="*/ 17 w 21"/>
                  <a:gd name="T41" fmla="*/ 16 h 25"/>
                  <a:gd name="T42" fmla="*/ 19 w 21"/>
                  <a:gd name="T43" fmla="*/ 14 h 25"/>
                  <a:gd name="T44" fmla="*/ 21 w 21"/>
                  <a:gd name="T45" fmla="*/ 14 h 25"/>
                  <a:gd name="T46" fmla="*/ 21 w 21"/>
                  <a:gd name="T47" fmla="*/ 14 h 25"/>
                  <a:gd name="T48" fmla="*/ 21 w 21"/>
                  <a:gd name="T49" fmla="*/ 9 h 25"/>
                  <a:gd name="T50" fmla="*/ 19 w 21"/>
                  <a:gd name="T51" fmla="*/ 9 h 25"/>
                  <a:gd name="T52" fmla="*/ 17 w 21"/>
                  <a:gd name="T53" fmla="*/ 11 h 25"/>
                  <a:gd name="T54" fmla="*/ 17 w 21"/>
                  <a:gd name="T55" fmla="*/ 11 h 25"/>
                  <a:gd name="T56" fmla="*/ 17 w 21"/>
                  <a:gd name="T57" fmla="*/ 7 h 25"/>
                  <a:gd name="T58" fmla="*/ 14 w 21"/>
                  <a:gd name="T59" fmla="*/ 7 h 25"/>
                  <a:gd name="T60" fmla="*/ 14 w 21"/>
                  <a:gd name="T61" fmla="*/ 7 h 25"/>
                  <a:gd name="T62" fmla="*/ 12 w 21"/>
                  <a:gd name="T63" fmla="*/ 7 h 25"/>
                  <a:gd name="T64" fmla="*/ 10 w 21"/>
                  <a:gd name="T65" fmla="*/ 7 h 25"/>
                  <a:gd name="T66" fmla="*/ 10 w 21"/>
                  <a:gd name="T67" fmla="*/ 7 h 25"/>
                  <a:gd name="T68" fmla="*/ 7 w 21"/>
                  <a:gd name="T69" fmla="*/ 4 h 25"/>
                  <a:gd name="T70" fmla="*/ 7 w 21"/>
                  <a:gd name="T71" fmla="*/ 4 h 25"/>
                  <a:gd name="T72" fmla="*/ 5 w 21"/>
                  <a:gd name="T73" fmla="*/ 2 h 25"/>
                  <a:gd name="T74" fmla="*/ 1 w 21"/>
                  <a:gd name="T75" fmla="*/ 0 h 25"/>
                  <a:gd name="T76" fmla="*/ 1 w 21"/>
                  <a:gd name="T77" fmla="*/ 0 h 25"/>
                  <a:gd name="T78" fmla="*/ 0 w 21"/>
                  <a:gd name="T7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 h="25">
                    <a:moveTo>
                      <a:pt x="0" y="4"/>
                    </a:moveTo>
                    <a:lnTo>
                      <a:pt x="0" y="4"/>
                    </a:lnTo>
                    <a:lnTo>
                      <a:pt x="3" y="4"/>
                    </a:lnTo>
                    <a:lnTo>
                      <a:pt x="3" y="6"/>
                    </a:lnTo>
                    <a:lnTo>
                      <a:pt x="3" y="11"/>
                    </a:lnTo>
                    <a:lnTo>
                      <a:pt x="3" y="11"/>
                    </a:lnTo>
                    <a:lnTo>
                      <a:pt x="1" y="18"/>
                    </a:lnTo>
                    <a:lnTo>
                      <a:pt x="1" y="18"/>
                    </a:lnTo>
                    <a:lnTo>
                      <a:pt x="1" y="22"/>
                    </a:lnTo>
                    <a:lnTo>
                      <a:pt x="1" y="25"/>
                    </a:lnTo>
                    <a:lnTo>
                      <a:pt x="1" y="25"/>
                    </a:lnTo>
                    <a:lnTo>
                      <a:pt x="3" y="25"/>
                    </a:lnTo>
                    <a:lnTo>
                      <a:pt x="5" y="23"/>
                    </a:lnTo>
                    <a:lnTo>
                      <a:pt x="7" y="22"/>
                    </a:lnTo>
                    <a:lnTo>
                      <a:pt x="9" y="22"/>
                    </a:lnTo>
                    <a:lnTo>
                      <a:pt x="9" y="22"/>
                    </a:lnTo>
                    <a:lnTo>
                      <a:pt x="14" y="20"/>
                    </a:lnTo>
                    <a:lnTo>
                      <a:pt x="16" y="18"/>
                    </a:lnTo>
                    <a:lnTo>
                      <a:pt x="16" y="18"/>
                    </a:lnTo>
                    <a:lnTo>
                      <a:pt x="16" y="16"/>
                    </a:lnTo>
                    <a:lnTo>
                      <a:pt x="17" y="16"/>
                    </a:lnTo>
                    <a:lnTo>
                      <a:pt x="19" y="14"/>
                    </a:lnTo>
                    <a:lnTo>
                      <a:pt x="21" y="14"/>
                    </a:lnTo>
                    <a:lnTo>
                      <a:pt x="21" y="14"/>
                    </a:lnTo>
                    <a:lnTo>
                      <a:pt x="21" y="9"/>
                    </a:lnTo>
                    <a:lnTo>
                      <a:pt x="19" y="9"/>
                    </a:lnTo>
                    <a:lnTo>
                      <a:pt x="17" y="11"/>
                    </a:lnTo>
                    <a:lnTo>
                      <a:pt x="17" y="11"/>
                    </a:lnTo>
                    <a:lnTo>
                      <a:pt x="17" y="7"/>
                    </a:lnTo>
                    <a:lnTo>
                      <a:pt x="14" y="7"/>
                    </a:lnTo>
                    <a:lnTo>
                      <a:pt x="14" y="7"/>
                    </a:lnTo>
                    <a:lnTo>
                      <a:pt x="12" y="7"/>
                    </a:lnTo>
                    <a:lnTo>
                      <a:pt x="10" y="7"/>
                    </a:lnTo>
                    <a:lnTo>
                      <a:pt x="10" y="7"/>
                    </a:lnTo>
                    <a:lnTo>
                      <a:pt x="7" y="4"/>
                    </a:lnTo>
                    <a:lnTo>
                      <a:pt x="7" y="4"/>
                    </a:lnTo>
                    <a:lnTo>
                      <a:pt x="5" y="2"/>
                    </a:lnTo>
                    <a:lnTo>
                      <a:pt x="1" y="0"/>
                    </a:lnTo>
                    <a:lnTo>
                      <a:pt x="1" y="0"/>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29" name="Freeform 2883"/>
              <p:cNvSpPr>
                <a:spLocks/>
              </p:cNvSpPr>
              <p:nvPr/>
            </p:nvSpPr>
            <p:spPr bwMode="auto">
              <a:xfrm>
                <a:off x="4648" y="2518"/>
                <a:ext cx="21" cy="25"/>
              </a:xfrm>
              <a:custGeom>
                <a:avLst/>
                <a:gdLst>
                  <a:gd name="T0" fmla="*/ 0 w 21"/>
                  <a:gd name="T1" fmla="*/ 4 h 25"/>
                  <a:gd name="T2" fmla="*/ 0 w 21"/>
                  <a:gd name="T3" fmla="*/ 4 h 25"/>
                  <a:gd name="T4" fmla="*/ 3 w 21"/>
                  <a:gd name="T5" fmla="*/ 4 h 25"/>
                  <a:gd name="T6" fmla="*/ 3 w 21"/>
                  <a:gd name="T7" fmla="*/ 6 h 25"/>
                  <a:gd name="T8" fmla="*/ 3 w 21"/>
                  <a:gd name="T9" fmla="*/ 11 h 25"/>
                  <a:gd name="T10" fmla="*/ 3 w 21"/>
                  <a:gd name="T11" fmla="*/ 11 h 25"/>
                  <a:gd name="T12" fmla="*/ 1 w 21"/>
                  <a:gd name="T13" fmla="*/ 18 h 25"/>
                  <a:gd name="T14" fmla="*/ 1 w 21"/>
                  <a:gd name="T15" fmla="*/ 18 h 25"/>
                  <a:gd name="T16" fmla="*/ 1 w 21"/>
                  <a:gd name="T17" fmla="*/ 22 h 25"/>
                  <a:gd name="T18" fmla="*/ 1 w 21"/>
                  <a:gd name="T19" fmla="*/ 25 h 25"/>
                  <a:gd name="T20" fmla="*/ 1 w 21"/>
                  <a:gd name="T21" fmla="*/ 25 h 25"/>
                  <a:gd name="T22" fmla="*/ 3 w 21"/>
                  <a:gd name="T23" fmla="*/ 25 h 25"/>
                  <a:gd name="T24" fmla="*/ 5 w 21"/>
                  <a:gd name="T25" fmla="*/ 23 h 25"/>
                  <a:gd name="T26" fmla="*/ 7 w 21"/>
                  <a:gd name="T27" fmla="*/ 22 h 25"/>
                  <a:gd name="T28" fmla="*/ 9 w 21"/>
                  <a:gd name="T29" fmla="*/ 22 h 25"/>
                  <a:gd name="T30" fmla="*/ 9 w 21"/>
                  <a:gd name="T31" fmla="*/ 22 h 25"/>
                  <a:gd name="T32" fmla="*/ 14 w 21"/>
                  <a:gd name="T33" fmla="*/ 20 h 25"/>
                  <a:gd name="T34" fmla="*/ 16 w 21"/>
                  <a:gd name="T35" fmla="*/ 18 h 25"/>
                  <a:gd name="T36" fmla="*/ 16 w 21"/>
                  <a:gd name="T37" fmla="*/ 18 h 25"/>
                  <a:gd name="T38" fmla="*/ 16 w 21"/>
                  <a:gd name="T39" fmla="*/ 16 h 25"/>
                  <a:gd name="T40" fmla="*/ 17 w 21"/>
                  <a:gd name="T41" fmla="*/ 16 h 25"/>
                  <a:gd name="T42" fmla="*/ 19 w 21"/>
                  <a:gd name="T43" fmla="*/ 14 h 25"/>
                  <a:gd name="T44" fmla="*/ 21 w 21"/>
                  <a:gd name="T45" fmla="*/ 14 h 25"/>
                  <a:gd name="T46" fmla="*/ 21 w 21"/>
                  <a:gd name="T47" fmla="*/ 14 h 25"/>
                  <a:gd name="T48" fmla="*/ 21 w 21"/>
                  <a:gd name="T49" fmla="*/ 9 h 25"/>
                  <a:gd name="T50" fmla="*/ 19 w 21"/>
                  <a:gd name="T51" fmla="*/ 9 h 25"/>
                  <a:gd name="T52" fmla="*/ 17 w 21"/>
                  <a:gd name="T53" fmla="*/ 11 h 25"/>
                  <a:gd name="T54" fmla="*/ 17 w 21"/>
                  <a:gd name="T55" fmla="*/ 11 h 25"/>
                  <a:gd name="T56" fmla="*/ 17 w 21"/>
                  <a:gd name="T57" fmla="*/ 7 h 25"/>
                  <a:gd name="T58" fmla="*/ 14 w 21"/>
                  <a:gd name="T59" fmla="*/ 7 h 25"/>
                  <a:gd name="T60" fmla="*/ 14 w 21"/>
                  <a:gd name="T61" fmla="*/ 7 h 25"/>
                  <a:gd name="T62" fmla="*/ 12 w 21"/>
                  <a:gd name="T63" fmla="*/ 7 h 25"/>
                  <a:gd name="T64" fmla="*/ 10 w 21"/>
                  <a:gd name="T65" fmla="*/ 7 h 25"/>
                  <a:gd name="T66" fmla="*/ 10 w 21"/>
                  <a:gd name="T67" fmla="*/ 7 h 25"/>
                  <a:gd name="T68" fmla="*/ 7 w 21"/>
                  <a:gd name="T69" fmla="*/ 4 h 25"/>
                  <a:gd name="T70" fmla="*/ 7 w 21"/>
                  <a:gd name="T71" fmla="*/ 4 h 25"/>
                  <a:gd name="T72" fmla="*/ 5 w 21"/>
                  <a:gd name="T73" fmla="*/ 2 h 25"/>
                  <a:gd name="T74" fmla="*/ 1 w 21"/>
                  <a:gd name="T75" fmla="*/ 0 h 25"/>
                  <a:gd name="T76" fmla="*/ 1 w 21"/>
                  <a:gd name="T77" fmla="*/ 0 h 25"/>
                  <a:gd name="T78" fmla="*/ 0 w 21"/>
                  <a:gd name="T79"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 h="25">
                    <a:moveTo>
                      <a:pt x="0" y="4"/>
                    </a:moveTo>
                    <a:lnTo>
                      <a:pt x="0" y="4"/>
                    </a:lnTo>
                    <a:lnTo>
                      <a:pt x="3" y="4"/>
                    </a:lnTo>
                    <a:lnTo>
                      <a:pt x="3" y="6"/>
                    </a:lnTo>
                    <a:lnTo>
                      <a:pt x="3" y="11"/>
                    </a:lnTo>
                    <a:lnTo>
                      <a:pt x="3" y="11"/>
                    </a:lnTo>
                    <a:lnTo>
                      <a:pt x="1" y="18"/>
                    </a:lnTo>
                    <a:lnTo>
                      <a:pt x="1" y="18"/>
                    </a:lnTo>
                    <a:lnTo>
                      <a:pt x="1" y="22"/>
                    </a:lnTo>
                    <a:lnTo>
                      <a:pt x="1" y="25"/>
                    </a:lnTo>
                    <a:lnTo>
                      <a:pt x="1" y="25"/>
                    </a:lnTo>
                    <a:lnTo>
                      <a:pt x="3" y="25"/>
                    </a:lnTo>
                    <a:lnTo>
                      <a:pt x="5" y="23"/>
                    </a:lnTo>
                    <a:lnTo>
                      <a:pt x="7" y="22"/>
                    </a:lnTo>
                    <a:lnTo>
                      <a:pt x="9" y="22"/>
                    </a:lnTo>
                    <a:lnTo>
                      <a:pt x="9" y="22"/>
                    </a:lnTo>
                    <a:lnTo>
                      <a:pt x="14" y="20"/>
                    </a:lnTo>
                    <a:lnTo>
                      <a:pt x="16" y="18"/>
                    </a:lnTo>
                    <a:lnTo>
                      <a:pt x="16" y="18"/>
                    </a:lnTo>
                    <a:lnTo>
                      <a:pt x="16" y="16"/>
                    </a:lnTo>
                    <a:lnTo>
                      <a:pt x="17" y="16"/>
                    </a:lnTo>
                    <a:lnTo>
                      <a:pt x="19" y="14"/>
                    </a:lnTo>
                    <a:lnTo>
                      <a:pt x="21" y="14"/>
                    </a:lnTo>
                    <a:lnTo>
                      <a:pt x="21" y="14"/>
                    </a:lnTo>
                    <a:lnTo>
                      <a:pt x="21" y="9"/>
                    </a:lnTo>
                    <a:lnTo>
                      <a:pt x="19" y="9"/>
                    </a:lnTo>
                    <a:lnTo>
                      <a:pt x="17" y="11"/>
                    </a:lnTo>
                    <a:lnTo>
                      <a:pt x="17" y="11"/>
                    </a:lnTo>
                    <a:lnTo>
                      <a:pt x="17" y="7"/>
                    </a:lnTo>
                    <a:lnTo>
                      <a:pt x="14" y="7"/>
                    </a:lnTo>
                    <a:lnTo>
                      <a:pt x="14" y="7"/>
                    </a:lnTo>
                    <a:lnTo>
                      <a:pt x="12" y="7"/>
                    </a:lnTo>
                    <a:lnTo>
                      <a:pt x="10" y="7"/>
                    </a:lnTo>
                    <a:lnTo>
                      <a:pt x="10" y="7"/>
                    </a:lnTo>
                    <a:lnTo>
                      <a:pt x="7" y="4"/>
                    </a:lnTo>
                    <a:lnTo>
                      <a:pt x="7" y="4"/>
                    </a:lnTo>
                    <a:lnTo>
                      <a:pt x="5" y="2"/>
                    </a:lnTo>
                    <a:lnTo>
                      <a:pt x="1" y="0"/>
                    </a:lnTo>
                    <a:lnTo>
                      <a:pt x="1" y="0"/>
                    </a:lnTo>
                    <a:lnTo>
                      <a:pt x="0"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30" name="Freeform 2884"/>
              <p:cNvSpPr>
                <a:spLocks/>
              </p:cNvSpPr>
              <p:nvPr/>
            </p:nvSpPr>
            <p:spPr bwMode="auto">
              <a:xfrm>
                <a:off x="4649" y="2507"/>
                <a:ext cx="4" cy="9"/>
              </a:xfrm>
              <a:custGeom>
                <a:avLst/>
                <a:gdLst>
                  <a:gd name="T0" fmla="*/ 2 w 4"/>
                  <a:gd name="T1" fmla="*/ 2 h 9"/>
                  <a:gd name="T2" fmla="*/ 2 w 4"/>
                  <a:gd name="T3" fmla="*/ 2 h 9"/>
                  <a:gd name="T4" fmla="*/ 0 w 4"/>
                  <a:gd name="T5" fmla="*/ 6 h 9"/>
                  <a:gd name="T6" fmla="*/ 2 w 4"/>
                  <a:gd name="T7" fmla="*/ 9 h 9"/>
                  <a:gd name="T8" fmla="*/ 2 w 4"/>
                  <a:gd name="T9" fmla="*/ 9 h 9"/>
                  <a:gd name="T10" fmla="*/ 4 w 4"/>
                  <a:gd name="T11" fmla="*/ 0 h 9"/>
                  <a:gd name="T12" fmla="*/ 4 w 4"/>
                  <a:gd name="T13" fmla="*/ 0 h 9"/>
                  <a:gd name="T14" fmla="*/ 4 w 4"/>
                  <a:gd name="T15" fmla="*/ 0 h 9"/>
                  <a:gd name="T16" fmla="*/ 2 w 4"/>
                  <a:gd name="T17" fmla="*/ 0 h 9"/>
                  <a:gd name="T18" fmla="*/ 2 w 4"/>
                  <a:gd name="T19" fmla="*/ 0 h 9"/>
                  <a:gd name="T20" fmla="*/ 2 w 4"/>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9">
                    <a:moveTo>
                      <a:pt x="2" y="2"/>
                    </a:moveTo>
                    <a:lnTo>
                      <a:pt x="2" y="2"/>
                    </a:lnTo>
                    <a:lnTo>
                      <a:pt x="0" y="6"/>
                    </a:lnTo>
                    <a:lnTo>
                      <a:pt x="2" y="9"/>
                    </a:lnTo>
                    <a:lnTo>
                      <a:pt x="2" y="9"/>
                    </a:lnTo>
                    <a:lnTo>
                      <a:pt x="4" y="0"/>
                    </a:lnTo>
                    <a:lnTo>
                      <a:pt x="4" y="0"/>
                    </a:lnTo>
                    <a:lnTo>
                      <a:pt x="4" y="0"/>
                    </a:lnTo>
                    <a:lnTo>
                      <a:pt x="2" y="0"/>
                    </a:lnTo>
                    <a:lnTo>
                      <a:pt x="2" y="0"/>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31" name="Freeform 2885"/>
              <p:cNvSpPr>
                <a:spLocks/>
              </p:cNvSpPr>
              <p:nvPr/>
            </p:nvSpPr>
            <p:spPr bwMode="auto">
              <a:xfrm>
                <a:off x="4649" y="2507"/>
                <a:ext cx="4" cy="9"/>
              </a:xfrm>
              <a:custGeom>
                <a:avLst/>
                <a:gdLst>
                  <a:gd name="T0" fmla="*/ 2 w 4"/>
                  <a:gd name="T1" fmla="*/ 2 h 9"/>
                  <a:gd name="T2" fmla="*/ 2 w 4"/>
                  <a:gd name="T3" fmla="*/ 2 h 9"/>
                  <a:gd name="T4" fmla="*/ 0 w 4"/>
                  <a:gd name="T5" fmla="*/ 6 h 9"/>
                  <a:gd name="T6" fmla="*/ 2 w 4"/>
                  <a:gd name="T7" fmla="*/ 9 h 9"/>
                  <a:gd name="T8" fmla="*/ 2 w 4"/>
                  <a:gd name="T9" fmla="*/ 9 h 9"/>
                  <a:gd name="T10" fmla="*/ 4 w 4"/>
                  <a:gd name="T11" fmla="*/ 0 h 9"/>
                  <a:gd name="T12" fmla="*/ 4 w 4"/>
                  <a:gd name="T13" fmla="*/ 0 h 9"/>
                  <a:gd name="T14" fmla="*/ 4 w 4"/>
                  <a:gd name="T15" fmla="*/ 0 h 9"/>
                  <a:gd name="T16" fmla="*/ 2 w 4"/>
                  <a:gd name="T17" fmla="*/ 0 h 9"/>
                  <a:gd name="T18" fmla="*/ 2 w 4"/>
                  <a:gd name="T19" fmla="*/ 0 h 9"/>
                  <a:gd name="T20" fmla="*/ 2 w 4"/>
                  <a:gd name="T2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9">
                    <a:moveTo>
                      <a:pt x="2" y="2"/>
                    </a:moveTo>
                    <a:lnTo>
                      <a:pt x="2" y="2"/>
                    </a:lnTo>
                    <a:lnTo>
                      <a:pt x="0" y="6"/>
                    </a:lnTo>
                    <a:lnTo>
                      <a:pt x="2" y="9"/>
                    </a:lnTo>
                    <a:lnTo>
                      <a:pt x="2" y="9"/>
                    </a:lnTo>
                    <a:lnTo>
                      <a:pt x="4" y="0"/>
                    </a:lnTo>
                    <a:lnTo>
                      <a:pt x="4" y="0"/>
                    </a:lnTo>
                    <a:lnTo>
                      <a:pt x="4" y="0"/>
                    </a:lnTo>
                    <a:lnTo>
                      <a:pt x="2" y="0"/>
                    </a:lnTo>
                    <a:lnTo>
                      <a:pt x="2" y="0"/>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32" name="Freeform 2886"/>
              <p:cNvSpPr>
                <a:spLocks/>
              </p:cNvSpPr>
              <p:nvPr/>
            </p:nvSpPr>
            <p:spPr bwMode="auto">
              <a:xfrm>
                <a:off x="4646" y="2604"/>
                <a:ext cx="9" cy="3"/>
              </a:xfrm>
              <a:custGeom>
                <a:avLst/>
                <a:gdLst>
                  <a:gd name="T0" fmla="*/ 2 w 9"/>
                  <a:gd name="T1" fmla="*/ 2 h 3"/>
                  <a:gd name="T2" fmla="*/ 2 w 9"/>
                  <a:gd name="T3" fmla="*/ 2 h 3"/>
                  <a:gd name="T4" fmla="*/ 3 w 9"/>
                  <a:gd name="T5" fmla="*/ 3 h 3"/>
                  <a:gd name="T6" fmla="*/ 5 w 9"/>
                  <a:gd name="T7" fmla="*/ 3 h 3"/>
                  <a:gd name="T8" fmla="*/ 5 w 9"/>
                  <a:gd name="T9" fmla="*/ 3 h 3"/>
                  <a:gd name="T10" fmla="*/ 7 w 9"/>
                  <a:gd name="T11" fmla="*/ 2 h 3"/>
                  <a:gd name="T12" fmla="*/ 9 w 9"/>
                  <a:gd name="T13" fmla="*/ 0 h 3"/>
                  <a:gd name="T14" fmla="*/ 9 w 9"/>
                  <a:gd name="T15" fmla="*/ 0 h 3"/>
                  <a:gd name="T16" fmla="*/ 5 w 9"/>
                  <a:gd name="T17" fmla="*/ 0 h 3"/>
                  <a:gd name="T18" fmla="*/ 5 w 9"/>
                  <a:gd name="T19" fmla="*/ 0 h 3"/>
                  <a:gd name="T20" fmla="*/ 2 w 9"/>
                  <a:gd name="T21" fmla="*/ 0 h 3"/>
                  <a:gd name="T22" fmla="*/ 0 w 9"/>
                  <a:gd name="T23" fmla="*/ 2 h 3"/>
                  <a:gd name="T24" fmla="*/ 0 w 9"/>
                  <a:gd name="T25" fmla="*/ 2 h 3"/>
                  <a:gd name="T26" fmla="*/ 2 w 9"/>
                  <a:gd name="T2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3">
                    <a:moveTo>
                      <a:pt x="2" y="2"/>
                    </a:moveTo>
                    <a:lnTo>
                      <a:pt x="2" y="2"/>
                    </a:lnTo>
                    <a:lnTo>
                      <a:pt x="3" y="3"/>
                    </a:lnTo>
                    <a:lnTo>
                      <a:pt x="5" y="3"/>
                    </a:lnTo>
                    <a:lnTo>
                      <a:pt x="5" y="3"/>
                    </a:lnTo>
                    <a:lnTo>
                      <a:pt x="7" y="2"/>
                    </a:lnTo>
                    <a:lnTo>
                      <a:pt x="9" y="0"/>
                    </a:lnTo>
                    <a:lnTo>
                      <a:pt x="9" y="0"/>
                    </a:lnTo>
                    <a:lnTo>
                      <a:pt x="5" y="0"/>
                    </a:lnTo>
                    <a:lnTo>
                      <a:pt x="5" y="0"/>
                    </a:lnTo>
                    <a:lnTo>
                      <a:pt x="2" y="0"/>
                    </a:lnTo>
                    <a:lnTo>
                      <a:pt x="0" y="2"/>
                    </a:lnTo>
                    <a:lnTo>
                      <a:pt x="0" y="2"/>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33" name="Freeform 2887"/>
              <p:cNvSpPr>
                <a:spLocks/>
              </p:cNvSpPr>
              <p:nvPr/>
            </p:nvSpPr>
            <p:spPr bwMode="auto">
              <a:xfrm>
                <a:off x="4646" y="2604"/>
                <a:ext cx="9" cy="3"/>
              </a:xfrm>
              <a:custGeom>
                <a:avLst/>
                <a:gdLst>
                  <a:gd name="T0" fmla="*/ 2 w 9"/>
                  <a:gd name="T1" fmla="*/ 2 h 3"/>
                  <a:gd name="T2" fmla="*/ 2 w 9"/>
                  <a:gd name="T3" fmla="*/ 2 h 3"/>
                  <a:gd name="T4" fmla="*/ 3 w 9"/>
                  <a:gd name="T5" fmla="*/ 3 h 3"/>
                  <a:gd name="T6" fmla="*/ 5 w 9"/>
                  <a:gd name="T7" fmla="*/ 3 h 3"/>
                  <a:gd name="T8" fmla="*/ 5 w 9"/>
                  <a:gd name="T9" fmla="*/ 3 h 3"/>
                  <a:gd name="T10" fmla="*/ 7 w 9"/>
                  <a:gd name="T11" fmla="*/ 2 h 3"/>
                  <a:gd name="T12" fmla="*/ 9 w 9"/>
                  <a:gd name="T13" fmla="*/ 0 h 3"/>
                  <a:gd name="T14" fmla="*/ 9 w 9"/>
                  <a:gd name="T15" fmla="*/ 0 h 3"/>
                  <a:gd name="T16" fmla="*/ 5 w 9"/>
                  <a:gd name="T17" fmla="*/ 0 h 3"/>
                  <a:gd name="T18" fmla="*/ 5 w 9"/>
                  <a:gd name="T19" fmla="*/ 0 h 3"/>
                  <a:gd name="T20" fmla="*/ 2 w 9"/>
                  <a:gd name="T21" fmla="*/ 0 h 3"/>
                  <a:gd name="T22" fmla="*/ 0 w 9"/>
                  <a:gd name="T23" fmla="*/ 2 h 3"/>
                  <a:gd name="T24" fmla="*/ 0 w 9"/>
                  <a:gd name="T25" fmla="*/ 2 h 3"/>
                  <a:gd name="T26" fmla="*/ 2 w 9"/>
                  <a:gd name="T2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3">
                    <a:moveTo>
                      <a:pt x="2" y="2"/>
                    </a:moveTo>
                    <a:lnTo>
                      <a:pt x="2" y="2"/>
                    </a:lnTo>
                    <a:lnTo>
                      <a:pt x="3" y="3"/>
                    </a:lnTo>
                    <a:lnTo>
                      <a:pt x="5" y="3"/>
                    </a:lnTo>
                    <a:lnTo>
                      <a:pt x="5" y="3"/>
                    </a:lnTo>
                    <a:lnTo>
                      <a:pt x="7" y="2"/>
                    </a:lnTo>
                    <a:lnTo>
                      <a:pt x="9" y="0"/>
                    </a:lnTo>
                    <a:lnTo>
                      <a:pt x="9" y="0"/>
                    </a:lnTo>
                    <a:lnTo>
                      <a:pt x="5" y="0"/>
                    </a:lnTo>
                    <a:lnTo>
                      <a:pt x="5" y="0"/>
                    </a:lnTo>
                    <a:lnTo>
                      <a:pt x="2" y="0"/>
                    </a:lnTo>
                    <a:lnTo>
                      <a:pt x="0" y="2"/>
                    </a:lnTo>
                    <a:lnTo>
                      <a:pt x="0" y="2"/>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34" name="Freeform 2888"/>
              <p:cNvSpPr>
                <a:spLocks/>
              </p:cNvSpPr>
              <p:nvPr/>
            </p:nvSpPr>
            <p:spPr bwMode="auto">
              <a:xfrm>
                <a:off x="4649" y="2557"/>
                <a:ext cx="75" cy="70"/>
              </a:xfrm>
              <a:custGeom>
                <a:avLst/>
                <a:gdLst>
                  <a:gd name="T0" fmla="*/ 0 w 75"/>
                  <a:gd name="T1" fmla="*/ 42 h 70"/>
                  <a:gd name="T2" fmla="*/ 6 w 75"/>
                  <a:gd name="T3" fmla="*/ 40 h 70"/>
                  <a:gd name="T4" fmla="*/ 8 w 75"/>
                  <a:gd name="T5" fmla="*/ 34 h 70"/>
                  <a:gd name="T6" fmla="*/ 11 w 75"/>
                  <a:gd name="T7" fmla="*/ 29 h 70"/>
                  <a:gd name="T8" fmla="*/ 15 w 75"/>
                  <a:gd name="T9" fmla="*/ 33 h 70"/>
                  <a:gd name="T10" fmla="*/ 16 w 75"/>
                  <a:gd name="T11" fmla="*/ 34 h 70"/>
                  <a:gd name="T12" fmla="*/ 18 w 75"/>
                  <a:gd name="T13" fmla="*/ 33 h 70"/>
                  <a:gd name="T14" fmla="*/ 20 w 75"/>
                  <a:gd name="T15" fmla="*/ 33 h 70"/>
                  <a:gd name="T16" fmla="*/ 22 w 75"/>
                  <a:gd name="T17" fmla="*/ 36 h 70"/>
                  <a:gd name="T18" fmla="*/ 24 w 75"/>
                  <a:gd name="T19" fmla="*/ 34 h 70"/>
                  <a:gd name="T20" fmla="*/ 25 w 75"/>
                  <a:gd name="T21" fmla="*/ 33 h 70"/>
                  <a:gd name="T22" fmla="*/ 25 w 75"/>
                  <a:gd name="T23" fmla="*/ 31 h 70"/>
                  <a:gd name="T24" fmla="*/ 29 w 75"/>
                  <a:gd name="T25" fmla="*/ 33 h 70"/>
                  <a:gd name="T26" fmla="*/ 36 w 75"/>
                  <a:gd name="T27" fmla="*/ 40 h 70"/>
                  <a:gd name="T28" fmla="*/ 33 w 75"/>
                  <a:gd name="T29" fmla="*/ 45 h 70"/>
                  <a:gd name="T30" fmla="*/ 34 w 75"/>
                  <a:gd name="T31" fmla="*/ 52 h 70"/>
                  <a:gd name="T32" fmla="*/ 41 w 75"/>
                  <a:gd name="T33" fmla="*/ 61 h 70"/>
                  <a:gd name="T34" fmla="*/ 47 w 75"/>
                  <a:gd name="T35" fmla="*/ 65 h 70"/>
                  <a:gd name="T36" fmla="*/ 50 w 75"/>
                  <a:gd name="T37" fmla="*/ 61 h 70"/>
                  <a:gd name="T38" fmla="*/ 52 w 75"/>
                  <a:gd name="T39" fmla="*/ 67 h 70"/>
                  <a:gd name="T40" fmla="*/ 56 w 75"/>
                  <a:gd name="T41" fmla="*/ 70 h 70"/>
                  <a:gd name="T42" fmla="*/ 59 w 75"/>
                  <a:gd name="T43" fmla="*/ 61 h 70"/>
                  <a:gd name="T44" fmla="*/ 56 w 75"/>
                  <a:gd name="T45" fmla="*/ 52 h 70"/>
                  <a:gd name="T46" fmla="*/ 63 w 75"/>
                  <a:gd name="T47" fmla="*/ 42 h 70"/>
                  <a:gd name="T48" fmla="*/ 66 w 75"/>
                  <a:gd name="T49" fmla="*/ 50 h 70"/>
                  <a:gd name="T50" fmla="*/ 66 w 75"/>
                  <a:gd name="T51" fmla="*/ 54 h 70"/>
                  <a:gd name="T52" fmla="*/ 68 w 75"/>
                  <a:gd name="T53" fmla="*/ 54 h 70"/>
                  <a:gd name="T54" fmla="*/ 68 w 75"/>
                  <a:gd name="T55" fmla="*/ 49 h 70"/>
                  <a:gd name="T56" fmla="*/ 70 w 75"/>
                  <a:gd name="T57" fmla="*/ 50 h 70"/>
                  <a:gd name="T58" fmla="*/ 74 w 75"/>
                  <a:gd name="T59" fmla="*/ 47 h 70"/>
                  <a:gd name="T60" fmla="*/ 75 w 75"/>
                  <a:gd name="T61" fmla="*/ 42 h 70"/>
                  <a:gd name="T62" fmla="*/ 72 w 75"/>
                  <a:gd name="T63" fmla="*/ 34 h 70"/>
                  <a:gd name="T64" fmla="*/ 72 w 75"/>
                  <a:gd name="T65" fmla="*/ 33 h 70"/>
                  <a:gd name="T66" fmla="*/ 70 w 75"/>
                  <a:gd name="T67" fmla="*/ 29 h 70"/>
                  <a:gd name="T68" fmla="*/ 70 w 75"/>
                  <a:gd name="T69" fmla="*/ 24 h 70"/>
                  <a:gd name="T70" fmla="*/ 66 w 75"/>
                  <a:gd name="T71" fmla="*/ 22 h 70"/>
                  <a:gd name="T72" fmla="*/ 70 w 75"/>
                  <a:gd name="T73" fmla="*/ 18 h 70"/>
                  <a:gd name="T74" fmla="*/ 68 w 75"/>
                  <a:gd name="T75" fmla="*/ 15 h 70"/>
                  <a:gd name="T76" fmla="*/ 68 w 75"/>
                  <a:gd name="T77" fmla="*/ 11 h 70"/>
                  <a:gd name="T78" fmla="*/ 65 w 75"/>
                  <a:gd name="T79" fmla="*/ 9 h 70"/>
                  <a:gd name="T80" fmla="*/ 63 w 75"/>
                  <a:gd name="T81" fmla="*/ 6 h 70"/>
                  <a:gd name="T82" fmla="*/ 58 w 75"/>
                  <a:gd name="T83" fmla="*/ 0 h 70"/>
                  <a:gd name="T84" fmla="*/ 56 w 75"/>
                  <a:gd name="T85" fmla="*/ 6 h 70"/>
                  <a:gd name="T86" fmla="*/ 59 w 75"/>
                  <a:gd name="T87" fmla="*/ 13 h 70"/>
                  <a:gd name="T88" fmla="*/ 56 w 75"/>
                  <a:gd name="T89" fmla="*/ 15 h 70"/>
                  <a:gd name="T90" fmla="*/ 52 w 75"/>
                  <a:gd name="T91" fmla="*/ 15 h 70"/>
                  <a:gd name="T92" fmla="*/ 47 w 75"/>
                  <a:gd name="T93" fmla="*/ 13 h 70"/>
                  <a:gd name="T94" fmla="*/ 45 w 75"/>
                  <a:gd name="T95" fmla="*/ 20 h 70"/>
                  <a:gd name="T96" fmla="*/ 40 w 75"/>
                  <a:gd name="T97" fmla="*/ 18 h 70"/>
                  <a:gd name="T98" fmla="*/ 38 w 75"/>
                  <a:gd name="T99" fmla="*/ 24 h 70"/>
                  <a:gd name="T100" fmla="*/ 33 w 75"/>
                  <a:gd name="T101" fmla="*/ 25 h 70"/>
                  <a:gd name="T102" fmla="*/ 29 w 75"/>
                  <a:gd name="T103" fmla="*/ 27 h 70"/>
                  <a:gd name="T104" fmla="*/ 29 w 75"/>
                  <a:gd name="T105" fmla="*/ 27 h 70"/>
                  <a:gd name="T106" fmla="*/ 31 w 75"/>
                  <a:gd name="T107" fmla="*/ 24 h 70"/>
                  <a:gd name="T108" fmla="*/ 27 w 75"/>
                  <a:gd name="T109" fmla="*/ 18 h 70"/>
                  <a:gd name="T110" fmla="*/ 24 w 75"/>
                  <a:gd name="T111" fmla="*/ 15 h 70"/>
                  <a:gd name="T112" fmla="*/ 22 w 75"/>
                  <a:gd name="T113" fmla="*/ 18 h 70"/>
                  <a:gd name="T114" fmla="*/ 16 w 75"/>
                  <a:gd name="T115" fmla="*/ 22 h 70"/>
                  <a:gd name="T116" fmla="*/ 15 w 75"/>
                  <a:gd name="T117" fmla="*/ 24 h 70"/>
                  <a:gd name="T118" fmla="*/ 4 w 75"/>
                  <a:gd name="T119" fmla="*/ 27 h 70"/>
                  <a:gd name="T120" fmla="*/ 2 w 75"/>
                  <a:gd name="T12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 h="70">
                    <a:moveTo>
                      <a:pt x="0" y="38"/>
                    </a:moveTo>
                    <a:lnTo>
                      <a:pt x="0" y="38"/>
                    </a:lnTo>
                    <a:lnTo>
                      <a:pt x="0" y="42"/>
                    </a:lnTo>
                    <a:lnTo>
                      <a:pt x="2" y="42"/>
                    </a:lnTo>
                    <a:lnTo>
                      <a:pt x="4" y="42"/>
                    </a:lnTo>
                    <a:lnTo>
                      <a:pt x="6" y="40"/>
                    </a:lnTo>
                    <a:lnTo>
                      <a:pt x="6" y="40"/>
                    </a:lnTo>
                    <a:lnTo>
                      <a:pt x="6" y="36"/>
                    </a:lnTo>
                    <a:lnTo>
                      <a:pt x="8" y="34"/>
                    </a:lnTo>
                    <a:lnTo>
                      <a:pt x="8" y="34"/>
                    </a:lnTo>
                    <a:lnTo>
                      <a:pt x="9" y="31"/>
                    </a:lnTo>
                    <a:lnTo>
                      <a:pt x="11" y="29"/>
                    </a:lnTo>
                    <a:lnTo>
                      <a:pt x="13" y="29"/>
                    </a:lnTo>
                    <a:lnTo>
                      <a:pt x="13" y="29"/>
                    </a:lnTo>
                    <a:lnTo>
                      <a:pt x="15" y="33"/>
                    </a:lnTo>
                    <a:lnTo>
                      <a:pt x="15" y="34"/>
                    </a:lnTo>
                    <a:lnTo>
                      <a:pt x="15" y="34"/>
                    </a:lnTo>
                    <a:lnTo>
                      <a:pt x="16" y="34"/>
                    </a:lnTo>
                    <a:lnTo>
                      <a:pt x="16" y="36"/>
                    </a:lnTo>
                    <a:lnTo>
                      <a:pt x="16" y="36"/>
                    </a:lnTo>
                    <a:lnTo>
                      <a:pt x="18" y="33"/>
                    </a:lnTo>
                    <a:lnTo>
                      <a:pt x="20" y="31"/>
                    </a:lnTo>
                    <a:lnTo>
                      <a:pt x="20" y="31"/>
                    </a:lnTo>
                    <a:lnTo>
                      <a:pt x="20" y="33"/>
                    </a:lnTo>
                    <a:lnTo>
                      <a:pt x="20" y="34"/>
                    </a:lnTo>
                    <a:lnTo>
                      <a:pt x="20" y="34"/>
                    </a:lnTo>
                    <a:lnTo>
                      <a:pt x="22" y="36"/>
                    </a:lnTo>
                    <a:lnTo>
                      <a:pt x="24" y="36"/>
                    </a:lnTo>
                    <a:lnTo>
                      <a:pt x="24" y="36"/>
                    </a:lnTo>
                    <a:lnTo>
                      <a:pt x="24" y="34"/>
                    </a:lnTo>
                    <a:lnTo>
                      <a:pt x="24" y="34"/>
                    </a:lnTo>
                    <a:lnTo>
                      <a:pt x="25" y="33"/>
                    </a:lnTo>
                    <a:lnTo>
                      <a:pt x="25" y="33"/>
                    </a:lnTo>
                    <a:lnTo>
                      <a:pt x="25" y="31"/>
                    </a:lnTo>
                    <a:lnTo>
                      <a:pt x="25" y="31"/>
                    </a:lnTo>
                    <a:lnTo>
                      <a:pt x="25" y="31"/>
                    </a:lnTo>
                    <a:lnTo>
                      <a:pt x="27" y="31"/>
                    </a:lnTo>
                    <a:lnTo>
                      <a:pt x="29" y="33"/>
                    </a:lnTo>
                    <a:lnTo>
                      <a:pt x="29" y="33"/>
                    </a:lnTo>
                    <a:lnTo>
                      <a:pt x="34" y="34"/>
                    </a:lnTo>
                    <a:lnTo>
                      <a:pt x="36" y="36"/>
                    </a:lnTo>
                    <a:lnTo>
                      <a:pt x="36" y="40"/>
                    </a:lnTo>
                    <a:lnTo>
                      <a:pt x="36" y="40"/>
                    </a:lnTo>
                    <a:lnTo>
                      <a:pt x="34" y="42"/>
                    </a:lnTo>
                    <a:lnTo>
                      <a:pt x="33" y="45"/>
                    </a:lnTo>
                    <a:lnTo>
                      <a:pt x="33" y="45"/>
                    </a:lnTo>
                    <a:lnTo>
                      <a:pt x="33" y="49"/>
                    </a:lnTo>
                    <a:lnTo>
                      <a:pt x="34" y="52"/>
                    </a:lnTo>
                    <a:lnTo>
                      <a:pt x="34" y="52"/>
                    </a:lnTo>
                    <a:lnTo>
                      <a:pt x="36" y="58"/>
                    </a:lnTo>
                    <a:lnTo>
                      <a:pt x="41" y="61"/>
                    </a:lnTo>
                    <a:lnTo>
                      <a:pt x="41" y="61"/>
                    </a:lnTo>
                    <a:lnTo>
                      <a:pt x="45" y="63"/>
                    </a:lnTo>
                    <a:lnTo>
                      <a:pt x="47" y="65"/>
                    </a:lnTo>
                    <a:lnTo>
                      <a:pt x="49" y="65"/>
                    </a:lnTo>
                    <a:lnTo>
                      <a:pt x="49" y="65"/>
                    </a:lnTo>
                    <a:lnTo>
                      <a:pt x="50" y="61"/>
                    </a:lnTo>
                    <a:lnTo>
                      <a:pt x="52" y="61"/>
                    </a:lnTo>
                    <a:lnTo>
                      <a:pt x="52" y="61"/>
                    </a:lnTo>
                    <a:lnTo>
                      <a:pt x="52" y="67"/>
                    </a:lnTo>
                    <a:lnTo>
                      <a:pt x="52" y="68"/>
                    </a:lnTo>
                    <a:lnTo>
                      <a:pt x="56" y="70"/>
                    </a:lnTo>
                    <a:lnTo>
                      <a:pt x="56" y="70"/>
                    </a:lnTo>
                    <a:lnTo>
                      <a:pt x="59" y="65"/>
                    </a:lnTo>
                    <a:lnTo>
                      <a:pt x="59" y="61"/>
                    </a:lnTo>
                    <a:lnTo>
                      <a:pt x="59" y="61"/>
                    </a:lnTo>
                    <a:lnTo>
                      <a:pt x="58" y="56"/>
                    </a:lnTo>
                    <a:lnTo>
                      <a:pt x="56" y="52"/>
                    </a:lnTo>
                    <a:lnTo>
                      <a:pt x="56" y="52"/>
                    </a:lnTo>
                    <a:lnTo>
                      <a:pt x="58" y="45"/>
                    </a:lnTo>
                    <a:lnTo>
                      <a:pt x="61" y="43"/>
                    </a:lnTo>
                    <a:lnTo>
                      <a:pt x="63" y="42"/>
                    </a:lnTo>
                    <a:lnTo>
                      <a:pt x="63" y="42"/>
                    </a:lnTo>
                    <a:lnTo>
                      <a:pt x="65" y="45"/>
                    </a:lnTo>
                    <a:lnTo>
                      <a:pt x="66" y="50"/>
                    </a:lnTo>
                    <a:lnTo>
                      <a:pt x="66" y="50"/>
                    </a:lnTo>
                    <a:lnTo>
                      <a:pt x="66" y="54"/>
                    </a:lnTo>
                    <a:lnTo>
                      <a:pt x="66" y="54"/>
                    </a:lnTo>
                    <a:lnTo>
                      <a:pt x="68" y="59"/>
                    </a:lnTo>
                    <a:lnTo>
                      <a:pt x="68" y="59"/>
                    </a:lnTo>
                    <a:lnTo>
                      <a:pt x="68" y="54"/>
                    </a:lnTo>
                    <a:lnTo>
                      <a:pt x="68" y="52"/>
                    </a:lnTo>
                    <a:lnTo>
                      <a:pt x="68" y="49"/>
                    </a:lnTo>
                    <a:lnTo>
                      <a:pt x="68" y="49"/>
                    </a:lnTo>
                    <a:lnTo>
                      <a:pt x="70" y="49"/>
                    </a:lnTo>
                    <a:lnTo>
                      <a:pt x="70" y="50"/>
                    </a:lnTo>
                    <a:lnTo>
                      <a:pt x="70" y="50"/>
                    </a:lnTo>
                    <a:lnTo>
                      <a:pt x="70" y="49"/>
                    </a:lnTo>
                    <a:lnTo>
                      <a:pt x="70" y="49"/>
                    </a:lnTo>
                    <a:lnTo>
                      <a:pt x="74" y="47"/>
                    </a:lnTo>
                    <a:lnTo>
                      <a:pt x="74" y="47"/>
                    </a:lnTo>
                    <a:lnTo>
                      <a:pt x="75" y="43"/>
                    </a:lnTo>
                    <a:lnTo>
                      <a:pt x="75" y="42"/>
                    </a:lnTo>
                    <a:lnTo>
                      <a:pt x="74" y="38"/>
                    </a:lnTo>
                    <a:lnTo>
                      <a:pt x="74" y="38"/>
                    </a:lnTo>
                    <a:lnTo>
                      <a:pt x="72" y="34"/>
                    </a:lnTo>
                    <a:lnTo>
                      <a:pt x="72" y="34"/>
                    </a:lnTo>
                    <a:lnTo>
                      <a:pt x="72" y="33"/>
                    </a:lnTo>
                    <a:lnTo>
                      <a:pt x="72" y="33"/>
                    </a:lnTo>
                    <a:lnTo>
                      <a:pt x="74" y="29"/>
                    </a:lnTo>
                    <a:lnTo>
                      <a:pt x="72" y="29"/>
                    </a:lnTo>
                    <a:lnTo>
                      <a:pt x="70" y="29"/>
                    </a:lnTo>
                    <a:lnTo>
                      <a:pt x="70" y="29"/>
                    </a:lnTo>
                    <a:lnTo>
                      <a:pt x="72" y="25"/>
                    </a:lnTo>
                    <a:lnTo>
                      <a:pt x="70" y="24"/>
                    </a:lnTo>
                    <a:lnTo>
                      <a:pt x="68" y="22"/>
                    </a:lnTo>
                    <a:lnTo>
                      <a:pt x="66" y="22"/>
                    </a:lnTo>
                    <a:lnTo>
                      <a:pt x="66" y="22"/>
                    </a:lnTo>
                    <a:lnTo>
                      <a:pt x="68" y="20"/>
                    </a:lnTo>
                    <a:lnTo>
                      <a:pt x="70" y="18"/>
                    </a:lnTo>
                    <a:lnTo>
                      <a:pt x="70" y="18"/>
                    </a:lnTo>
                    <a:lnTo>
                      <a:pt x="70" y="17"/>
                    </a:lnTo>
                    <a:lnTo>
                      <a:pt x="68" y="15"/>
                    </a:lnTo>
                    <a:lnTo>
                      <a:pt x="68" y="15"/>
                    </a:lnTo>
                    <a:lnTo>
                      <a:pt x="68" y="11"/>
                    </a:lnTo>
                    <a:lnTo>
                      <a:pt x="68" y="11"/>
                    </a:lnTo>
                    <a:lnTo>
                      <a:pt x="68" y="11"/>
                    </a:lnTo>
                    <a:lnTo>
                      <a:pt x="68" y="11"/>
                    </a:lnTo>
                    <a:lnTo>
                      <a:pt x="66" y="11"/>
                    </a:lnTo>
                    <a:lnTo>
                      <a:pt x="65" y="9"/>
                    </a:lnTo>
                    <a:lnTo>
                      <a:pt x="65" y="9"/>
                    </a:lnTo>
                    <a:lnTo>
                      <a:pt x="65" y="8"/>
                    </a:lnTo>
                    <a:lnTo>
                      <a:pt x="63" y="6"/>
                    </a:lnTo>
                    <a:lnTo>
                      <a:pt x="63" y="6"/>
                    </a:lnTo>
                    <a:lnTo>
                      <a:pt x="59" y="4"/>
                    </a:lnTo>
                    <a:lnTo>
                      <a:pt x="58" y="0"/>
                    </a:lnTo>
                    <a:lnTo>
                      <a:pt x="58" y="0"/>
                    </a:lnTo>
                    <a:lnTo>
                      <a:pt x="56" y="4"/>
                    </a:lnTo>
                    <a:lnTo>
                      <a:pt x="56" y="6"/>
                    </a:lnTo>
                    <a:lnTo>
                      <a:pt x="58" y="11"/>
                    </a:lnTo>
                    <a:lnTo>
                      <a:pt x="58" y="11"/>
                    </a:lnTo>
                    <a:lnTo>
                      <a:pt x="59" y="13"/>
                    </a:lnTo>
                    <a:lnTo>
                      <a:pt x="58" y="15"/>
                    </a:lnTo>
                    <a:lnTo>
                      <a:pt x="58" y="15"/>
                    </a:lnTo>
                    <a:lnTo>
                      <a:pt x="56" y="15"/>
                    </a:lnTo>
                    <a:lnTo>
                      <a:pt x="52" y="13"/>
                    </a:lnTo>
                    <a:lnTo>
                      <a:pt x="52" y="13"/>
                    </a:lnTo>
                    <a:lnTo>
                      <a:pt x="52" y="15"/>
                    </a:lnTo>
                    <a:lnTo>
                      <a:pt x="49" y="13"/>
                    </a:lnTo>
                    <a:lnTo>
                      <a:pt x="49" y="13"/>
                    </a:lnTo>
                    <a:lnTo>
                      <a:pt x="47" y="13"/>
                    </a:lnTo>
                    <a:lnTo>
                      <a:pt x="47" y="17"/>
                    </a:lnTo>
                    <a:lnTo>
                      <a:pt x="45" y="18"/>
                    </a:lnTo>
                    <a:lnTo>
                      <a:pt x="45" y="20"/>
                    </a:lnTo>
                    <a:lnTo>
                      <a:pt x="45" y="20"/>
                    </a:lnTo>
                    <a:lnTo>
                      <a:pt x="41" y="20"/>
                    </a:lnTo>
                    <a:lnTo>
                      <a:pt x="40" y="18"/>
                    </a:lnTo>
                    <a:lnTo>
                      <a:pt x="40" y="18"/>
                    </a:lnTo>
                    <a:lnTo>
                      <a:pt x="38" y="22"/>
                    </a:lnTo>
                    <a:lnTo>
                      <a:pt x="38" y="24"/>
                    </a:lnTo>
                    <a:lnTo>
                      <a:pt x="38" y="24"/>
                    </a:lnTo>
                    <a:lnTo>
                      <a:pt x="34" y="25"/>
                    </a:lnTo>
                    <a:lnTo>
                      <a:pt x="33" y="25"/>
                    </a:lnTo>
                    <a:lnTo>
                      <a:pt x="33" y="25"/>
                    </a:lnTo>
                    <a:lnTo>
                      <a:pt x="29" y="27"/>
                    </a:lnTo>
                    <a:lnTo>
                      <a:pt x="29" y="27"/>
                    </a:lnTo>
                    <a:lnTo>
                      <a:pt x="29" y="27"/>
                    </a:lnTo>
                    <a:lnTo>
                      <a:pt x="29" y="27"/>
                    </a:lnTo>
                    <a:lnTo>
                      <a:pt x="29" y="27"/>
                    </a:lnTo>
                    <a:lnTo>
                      <a:pt x="31" y="25"/>
                    </a:lnTo>
                    <a:lnTo>
                      <a:pt x="31" y="24"/>
                    </a:lnTo>
                    <a:lnTo>
                      <a:pt x="31" y="24"/>
                    </a:lnTo>
                    <a:lnTo>
                      <a:pt x="31" y="18"/>
                    </a:lnTo>
                    <a:lnTo>
                      <a:pt x="29" y="18"/>
                    </a:lnTo>
                    <a:lnTo>
                      <a:pt x="27" y="18"/>
                    </a:lnTo>
                    <a:lnTo>
                      <a:pt x="27" y="18"/>
                    </a:lnTo>
                    <a:lnTo>
                      <a:pt x="25" y="17"/>
                    </a:lnTo>
                    <a:lnTo>
                      <a:pt x="24" y="15"/>
                    </a:lnTo>
                    <a:lnTo>
                      <a:pt x="24" y="15"/>
                    </a:lnTo>
                    <a:lnTo>
                      <a:pt x="24" y="18"/>
                    </a:lnTo>
                    <a:lnTo>
                      <a:pt x="22" y="18"/>
                    </a:lnTo>
                    <a:lnTo>
                      <a:pt x="18" y="20"/>
                    </a:lnTo>
                    <a:lnTo>
                      <a:pt x="18" y="20"/>
                    </a:lnTo>
                    <a:lnTo>
                      <a:pt x="16" y="22"/>
                    </a:lnTo>
                    <a:lnTo>
                      <a:pt x="16" y="24"/>
                    </a:lnTo>
                    <a:lnTo>
                      <a:pt x="15" y="24"/>
                    </a:lnTo>
                    <a:lnTo>
                      <a:pt x="15" y="24"/>
                    </a:lnTo>
                    <a:lnTo>
                      <a:pt x="9" y="25"/>
                    </a:lnTo>
                    <a:lnTo>
                      <a:pt x="6" y="25"/>
                    </a:lnTo>
                    <a:lnTo>
                      <a:pt x="4" y="27"/>
                    </a:lnTo>
                    <a:lnTo>
                      <a:pt x="4" y="27"/>
                    </a:lnTo>
                    <a:lnTo>
                      <a:pt x="2" y="33"/>
                    </a:lnTo>
                    <a:lnTo>
                      <a:pt x="2" y="33"/>
                    </a:lnTo>
                    <a:lnTo>
                      <a:pt x="0" y="3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35" name="Freeform 2889"/>
              <p:cNvSpPr>
                <a:spLocks/>
              </p:cNvSpPr>
              <p:nvPr/>
            </p:nvSpPr>
            <p:spPr bwMode="auto">
              <a:xfrm>
                <a:off x="4649" y="2557"/>
                <a:ext cx="75" cy="70"/>
              </a:xfrm>
              <a:custGeom>
                <a:avLst/>
                <a:gdLst>
                  <a:gd name="T0" fmla="*/ 0 w 75"/>
                  <a:gd name="T1" fmla="*/ 42 h 70"/>
                  <a:gd name="T2" fmla="*/ 6 w 75"/>
                  <a:gd name="T3" fmla="*/ 40 h 70"/>
                  <a:gd name="T4" fmla="*/ 8 w 75"/>
                  <a:gd name="T5" fmla="*/ 34 h 70"/>
                  <a:gd name="T6" fmla="*/ 11 w 75"/>
                  <a:gd name="T7" fmla="*/ 29 h 70"/>
                  <a:gd name="T8" fmla="*/ 15 w 75"/>
                  <a:gd name="T9" fmla="*/ 33 h 70"/>
                  <a:gd name="T10" fmla="*/ 16 w 75"/>
                  <a:gd name="T11" fmla="*/ 34 h 70"/>
                  <a:gd name="T12" fmla="*/ 18 w 75"/>
                  <a:gd name="T13" fmla="*/ 33 h 70"/>
                  <a:gd name="T14" fmla="*/ 20 w 75"/>
                  <a:gd name="T15" fmla="*/ 33 h 70"/>
                  <a:gd name="T16" fmla="*/ 22 w 75"/>
                  <a:gd name="T17" fmla="*/ 36 h 70"/>
                  <a:gd name="T18" fmla="*/ 24 w 75"/>
                  <a:gd name="T19" fmla="*/ 34 h 70"/>
                  <a:gd name="T20" fmla="*/ 25 w 75"/>
                  <a:gd name="T21" fmla="*/ 33 h 70"/>
                  <a:gd name="T22" fmla="*/ 25 w 75"/>
                  <a:gd name="T23" fmla="*/ 31 h 70"/>
                  <a:gd name="T24" fmla="*/ 29 w 75"/>
                  <a:gd name="T25" fmla="*/ 33 h 70"/>
                  <a:gd name="T26" fmla="*/ 36 w 75"/>
                  <a:gd name="T27" fmla="*/ 40 h 70"/>
                  <a:gd name="T28" fmla="*/ 33 w 75"/>
                  <a:gd name="T29" fmla="*/ 45 h 70"/>
                  <a:gd name="T30" fmla="*/ 34 w 75"/>
                  <a:gd name="T31" fmla="*/ 52 h 70"/>
                  <a:gd name="T32" fmla="*/ 41 w 75"/>
                  <a:gd name="T33" fmla="*/ 61 h 70"/>
                  <a:gd name="T34" fmla="*/ 47 w 75"/>
                  <a:gd name="T35" fmla="*/ 65 h 70"/>
                  <a:gd name="T36" fmla="*/ 50 w 75"/>
                  <a:gd name="T37" fmla="*/ 61 h 70"/>
                  <a:gd name="T38" fmla="*/ 52 w 75"/>
                  <a:gd name="T39" fmla="*/ 67 h 70"/>
                  <a:gd name="T40" fmla="*/ 56 w 75"/>
                  <a:gd name="T41" fmla="*/ 70 h 70"/>
                  <a:gd name="T42" fmla="*/ 59 w 75"/>
                  <a:gd name="T43" fmla="*/ 61 h 70"/>
                  <a:gd name="T44" fmla="*/ 56 w 75"/>
                  <a:gd name="T45" fmla="*/ 52 h 70"/>
                  <a:gd name="T46" fmla="*/ 63 w 75"/>
                  <a:gd name="T47" fmla="*/ 42 h 70"/>
                  <a:gd name="T48" fmla="*/ 66 w 75"/>
                  <a:gd name="T49" fmla="*/ 50 h 70"/>
                  <a:gd name="T50" fmla="*/ 66 w 75"/>
                  <a:gd name="T51" fmla="*/ 54 h 70"/>
                  <a:gd name="T52" fmla="*/ 68 w 75"/>
                  <a:gd name="T53" fmla="*/ 54 h 70"/>
                  <a:gd name="T54" fmla="*/ 68 w 75"/>
                  <a:gd name="T55" fmla="*/ 49 h 70"/>
                  <a:gd name="T56" fmla="*/ 70 w 75"/>
                  <a:gd name="T57" fmla="*/ 50 h 70"/>
                  <a:gd name="T58" fmla="*/ 74 w 75"/>
                  <a:gd name="T59" fmla="*/ 47 h 70"/>
                  <a:gd name="T60" fmla="*/ 75 w 75"/>
                  <a:gd name="T61" fmla="*/ 42 h 70"/>
                  <a:gd name="T62" fmla="*/ 72 w 75"/>
                  <a:gd name="T63" fmla="*/ 34 h 70"/>
                  <a:gd name="T64" fmla="*/ 72 w 75"/>
                  <a:gd name="T65" fmla="*/ 33 h 70"/>
                  <a:gd name="T66" fmla="*/ 70 w 75"/>
                  <a:gd name="T67" fmla="*/ 29 h 70"/>
                  <a:gd name="T68" fmla="*/ 70 w 75"/>
                  <a:gd name="T69" fmla="*/ 24 h 70"/>
                  <a:gd name="T70" fmla="*/ 66 w 75"/>
                  <a:gd name="T71" fmla="*/ 22 h 70"/>
                  <a:gd name="T72" fmla="*/ 70 w 75"/>
                  <a:gd name="T73" fmla="*/ 18 h 70"/>
                  <a:gd name="T74" fmla="*/ 68 w 75"/>
                  <a:gd name="T75" fmla="*/ 15 h 70"/>
                  <a:gd name="T76" fmla="*/ 68 w 75"/>
                  <a:gd name="T77" fmla="*/ 11 h 70"/>
                  <a:gd name="T78" fmla="*/ 65 w 75"/>
                  <a:gd name="T79" fmla="*/ 9 h 70"/>
                  <a:gd name="T80" fmla="*/ 63 w 75"/>
                  <a:gd name="T81" fmla="*/ 6 h 70"/>
                  <a:gd name="T82" fmla="*/ 58 w 75"/>
                  <a:gd name="T83" fmla="*/ 0 h 70"/>
                  <a:gd name="T84" fmla="*/ 56 w 75"/>
                  <a:gd name="T85" fmla="*/ 6 h 70"/>
                  <a:gd name="T86" fmla="*/ 59 w 75"/>
                  <a:gd name="T87" fmla="*/ 13 h 70"/>
                  <a:gd name="T88" fmla="*/ 56 w 75"/>
                  <a:gd name="T89" fmla="*/ 15 h 70"/>
                  <a:gd name="T90" fmla="*/ 52 w 75"/>
                  <a:gd name="T91" fmla="*/ 15 h 70"/>
                  <a:gd name="T92" fmla="*/ 47 w 75"/>
                  <a:gd name="T93" fmla="*/ 13 h 70"/>
                  <a:gd name="T94" fmla="*/ 45 w 75"/>
                  <a:gd name="T95" fmla="*/ 20 h 70"/>
                  <a:gd name="T96" fmla="*/ 40 w 75"/>
                  <a:gd name="T97" fmla="*/ 18 h 70"/>
                  <a:gd name="T98" fmla="*/ 38 w 75"/>
                  <a:gd name="T99" fmla="*/ 24 h 70"/>
                  <a:gd name="T100" fmla="*/ 33 w 75"/>
                  <a:gd name="T101" fmla="*/ 25 h 70"/>
                  <a:gd name="T102" fmla="*/ 29 w 75"/>
                  <a:gd name="T103" fmla="*/ 27 h 70"/>
                  <a:gd name="T104" fmla="*/ 29 w 75"/>
                  <a:gd name="T105" fmla="*/ 27 h 70"/>
                  <a:gd name="T106" fmla="*/ 31 w 75"/>
                  <a:gd name="T107" fmla="*/ 24 h 70"/>
                  <a:gd name="T108" fmla="*/ 27 w 75"/>
                  <a:gd name="T109" fmla="*/ 18 h 70"/>
                  <a:gd name="T110" fmla="*/ 24 w 75"/>
                  <a:gd name="T111" fmla="*/ 15 h 70"/>
                  <a:gd name="T112" fmla="*/ 22 w 75"/>
                  <a:gd name="T113" fmla="*/ 18 h 70"/>
                  <a:gd name="T114" fmla="*/ 16 w 75"/>
                  <a:gd name="T115" fmla="*/ 22 h 70"/>
                  <a:gd name="T116" fmla="*/ 15 w 75"/>
                  <a:gd name="T117" fmla="*/ 24 h 70"/>
                  <a:gd name="T118" fmla="*/ 4 w 75"/>
                  <a:gd name="T119" fmla="*/ 27 h 70"/>
                  <a:gd name="T120" fmla="*/ 2 w 75"/>
                  <a:gd name="T121" fmla="*/ 3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 h="70">
                    <a:moveTo>
                      <a:pt x="0" y="38"/>
                    </a:moveTo>
                    <a:lnTo>
                      <a:pt x="0" y="38"/>
                    </a:lnTo>
                    <a:lnTo>
                      <a:pt x="0" y="42"/>
                    </a:lnTo>
                    <a:lnTo>
                      <a:pt x="2" y="42"/>
                    </a:lnTo>
                    <a:lnTo>
                      <a:pt x="4" y="42"/>
                    </a:lnTo>
                    <a:lnTo>
                      <a:pt x="6" y="40"/>
                    </a:lnTo>
                    <a:lnTo>
                      <a:pt x="6" y="40"/>
                    </a:lnTo>
                    <a:lnTo>
                      <a:pt x="6" y="36"/>
                    </a:lnTo>
                    <a:lnTo>
                      <a:pt x="8" y="34"/>
                    </a:lnTo>
                    <a:lnTo>
                      <a:pt x="8" y="34"/>
                    </a:lnTo>
                    <a:lnTo>
                      <a:pt x="9" y="31"/>
                    </a:lnTo>
                    <a:lnTo>
                      <a:pt x="11" y="29"/>
                    </a:lnTo>
                    <a:lnTo>
                      <a:pt x="13" y="29"/>
                    </a:lnTo>
                    <a:lnTo>
                      <a:pt x="13" y="29"/>
                    </a:lnTo>
                    <a:lnTo>
                      <a:pt x="15" y="33"/>
                    </a:lnTo>
                    <a:lnTo>
                      <a:pt x="15" y="34"/>
                    </a:lnTo>
                    <a:lnTo>
                      <a:pt x="15" y="34"/>
                    </a:lnTo>
                    <a:lnTo>
                      <a:pt x="16" y="34"/>
                    </a:lnTo>
                    <a:lnTo>
                      <a:pt x="16" y="36"/>
                    </a:lnTo>
                    <a:lnTo>
                      <a:pt x="16" y="36"/>
                    </a:lnTo>
                    <a:lnTo>
                      <a:pt x="18" y="33"/>
                    </a:lnTo>
                    <a:lnTo>
                      <a:pt x="20" y="31"/>
                    </a:lnTo>
                    <a:lnTo>
                      <a:pt x="20" y="31"/>
                    </a:lnTo>
                    <a:lnTo>
                      <a:pt x="20" y="33"/>
                    </a:lnTo>
                    <a:lnTo>
                      <a:pt x="20" y="34"/>
                    </a:lnTo>
                    <a:lnTo>
                      <a:pt x="20" y="34"/>
                    </a:lnTo>
                    <a:lnTo>
                      <a:pt x="22" y="36"/>
                    </a:lnTo>
                    <a:lnTo>
                      <a:pt x="24" y="36"/>
                    </a:lnTo>
                    <a:lnTo>
                      <a:pt x="24" y="36"/>
                    </a:lnTo>
                    <a:lnTo>
                      <a:pt x="24" y="34"/>
                    </a:lnTo>
                    <a:lnTo>
                      <a:pt x="24" y="34"/>
                    </a:lnTo>
                    <a:lnTo>
                      <a:pt x="25" y="33"/>
                    </a:lnTo>
                    <a:lnTo>
                      <a:pt x="25" y="33"/>
                    </a:lnTo>
                    <a:lnTo>
                      <a:pt x="25" y="31"/>
                    </a:lnTo>
                    <a:lnTo>
                      <a:pt x="25" y="31"/>
                    </a:lnTo>
                    <a:lnTo>
                      <a:pt x="25" y="31"/>
                    </a:lnTo>
                    <a:lnTo>
                      <a:pt x="27" y="31"/>
                    </a:lnTo>
                    <a:lnTo>
                      <a:pt x="29" y="33"/>
                    </a:lnTo>
                    <a:lnTo>
                      <a:pt x="29" y="33"/>
                    </a:lnTo>
                    <a:lnTo>
                      <a:pt x="34" y="34"/>
                    </a:lnTo>
                    <a:lnTo>
                      <a:pt x="36" y="36"/>
                    </a:lnTo>
                    <a:lnTo>
                      <a:pt x="36" y="40"/>
                    </a:lnTo>
                    <a:lnTo>
                      <a:pt x="36" y="40"/>
                    </a:lnTo>
                    <a:lnTo>
                      <a:pt x="34" y="42"/>
                    </a:lnTo>
                    <a:lnTo>
                      <a:pt x="33" y="45"/>
                    </a:lnTo>
                    <a:lnTo>
                      <a:pt x="33" y="45"/>
                    </a:lnTo>
                    <a:lnTo>
                      <a:pt x="33" y="49"/>
                    </a:lnTo>
                    <a:lnTo>
                      <a:pt x="34" y="52"/>
                    </a:lnTo>
                    <a:lnTo>
                      <a:pt x="34" y="52"/>
                    </a:lnTo>
                    <a:lnTo>
                      <a:pt x="36" y="58"/>
                    </a:lnTo>
                    <a:lnTo>
                      <a:pt x="41" y="61"/>
                    </a:lnTo>
                    <a:lnTo>
                      <a:pt x="41" y="61"/>
                    </a:lnTo>
                    <a:lnTo>
                      <a:pt x="45" y="63"/>
                    </a:lnTo>
                    <a:lnTo>
                      <a:pt x="47" y="65"/>
                    </a:lnTo>
                    <a:lnTo>
                      <a:pt x="49" y="65"/>
                    </a:lnTo>
                    <a:lnTo>
                      <a:pt x="49" y="65"/>
                    </a:lnTo>
                    <a:lnTo>
                      <a:pt x="50" y="61"/>
                    </a:lnTo>
                    <a:lnTo>
                      <a:pt x="52" y="61"/>
                    </a:lnTo>
                    <a:lnTo>
                      <a:pt x="52" y="61"/>
                    </a:lnTo>
                    <a:lnTo>
                      <a:pt x="52" y="67"/>
                    </a:lnTo>
                    <a:lnTo>
                      <a:pt x="52" y="68"/>
                    </a:lnTo>
                    <a:lnTo>
                      <a:pt x="56" y="70"/>
                    </a:lnTo>
                    <a:lnTo>
                      <a:pt x="56" y="70"/>
                    </a:lnTo>
                    <a:lnTo>
                      <a:pt x="59" y="65"/>
                    </a:lnTo>
                    <a:lnTo>
                      <a:pt x="59" y="61"/>
                    </a:lnTo>
                    <a:lnTo>
                      <a:pt x="59" y="61"/>
                    </a:lnTo>
                    <a:lnTo>
                      <a:pt x="58" y="56"/>
                    </a:lnTo>
                    <a:lnTo>
                      <a:pt x="56" y="52"/>
                    </a:lnTo>
                    <a:lnTo>
                      <a:pt x="56" y="52"/>
                    </a:lnTo>
                    <a:lnTo>
                      <a:pt x="58" y="45"/>
                    </a:lnTo>
                    <a:lnTo>
                      <a:pt x="61" y="43"/>
                    </a:lnTo>
                    <a:lnTo>
                      <a:pt x="63" y="42"/>
                    </a:lnTo>
                    <a:lnTo>
                      <a:pt x="63" y="42"/>
                    </a:lnTo>
                    <a:lnTo>
                      <a:pt x="65" y="45"/>
                    </a:lnTo>
                    <a:lnTo>
                      <a:pt x="66" y="50"/>
                    </a:lnTo>
                    <a:lnTo>
                      <a:pt x="66" y="50"/>
                    </a:lnTo>
                    <a:lnTo>
                      <a:pt x="66" y="54"/>
                    </a:lnTo>
                    <a:lnTo>
                      <a:pt x="66" y="54"/>
                    </a:lnTo>
                    <a:lnTo>
                      <a:pt x="68" y="59"/>
                    </a:lnTo>
                    <a:lnTo>
                      <a:pt x="68" y="59"/>
                    </a:lnTo>
                    <a:lnTo>
                      <a:pt x="68" y="54"/>
                    </a:lnTo>
                    <a:lnTo>
                      <a:pt x="68" y="52"/>
                    </a:lnTo>
                    <a:lnTo>
                      <a:pt x="68" y="49"/>
                    </a:lnTo>
                    <a:lnTo>
                      <a:pt x="68" y="49"/>
                    </a:lnTo>
                    <a:lnTo>
                      <a:pt x="70" y="49"/>
                    </a:lnTo>
                    <a:lnTo>
                      <a:pt x="70" y="50"/>
                    </a:lnTo>
                    <a:lnTo>
                      <a:pt x="70" y="50"/>
                    </a:lnTo>
                    <a:lnTo>
                      <a:pt x="70" y="49"/>
                    </a:lnTo>
                    <a:lnTo>
                      <a:pt x="70" y="49"/>
                    </a:lnTo>
                    <a:lnTo>
                      <a:pt x="74" y="47"/>
                    </a:lnTo>
                    <a:lnTo>
                      <a:pt x="74" y="47"/>
                    </a:lnTo>
                    <a:lnTo>
                      <a:pt x="75" y="43"/>
                    </a:lnTo>
                    <a:lnTo>
                      <a:pt x="75" y="42"/>
                    </a:lnTo>
                    <a:lnTo>
                      <a:pt x="74" y="38"/>
                    </a:lnTo>
                    <a:lnTo>
                      <a:pt x="74" y="38"/>
                    </a:lnTo>
                    <a:lnTo>
                      <a:pt x="72" y="34"/>
                    </a:lnTo>
                    <a:lnTo>
                      <a:pt x="72" y="34"/>
                    </a:lnTo>
                    <a:lnTo>
                      <a:pt x="72" y="33"/>
                    </a:lnTo>
                    <a:lnTo>
                      <a:pt x="72" y="33"/>
                    </a:lnTo>
                    <a:lnTo>
                      <a:pt x="74" y="29"/>
                    </a:lnTo>
                    <a:lnTo>
                      <a:pt x="72" y="29"/>
                    </a:lnTo>
                    <a:lnTo>
                      <a:pt x="70" y="29"/>
                    </a:lnTo>
                    <a:lnTo>
                      <a:pt x="70" y="29"/>
                    </a:lnTo>
                    <a:lnTo>
                      <a:pt x="72" y="25"/>
                    </a:lnTo>
                    <a:lnTo>
                      <a:pt x="70" y="24"/>
                    </a:lnTo>
                    <a:lnTo>
                      <a:pt x="68" y="22"/>
                    </a:lnTo>
                    <a:lnTo>
                      <a:pt x="66" y="22"/>
                    </a:lnTo>
                    <a:lnTo>
                      <a:pt x="66" y="22"/>
                    </a:lnTo>
                    <a:lnTo>
                      <a:pt x="68" y="20"/>
                    </a:lnTo>
                    <a:lnTo>
                      <a:pt x="70" y="18"/>
                    </a:lnTo>
                    <a:lnTo>
                      <a:pt x="70" y="18"/>
                    </a:lnTo>
                    <a:lnTo>
                      <a:pt x="70" y="17"/>
                    </a:lnTo>
                    <a:lnTo>
                      <a:pt x="68" y="15"/>
                    </a:lnTo>
                    <a:lnTo>
                      <a:pt x="68" y="15"/>
                    </a:lnTo>
                    <a:lnTo>
                      <a:pt x="68" y="11"/>
                    </a:lnTo>
                    <a:lnTo>
                      <a:pt x="68" y="11"/>
                    </a:lnTo>
                    <a:lnTo>
                      <a:pt x="68" y="11"/>
                    </a:lnTo>
                    <a:lnTo>
                      <a:pt x="68" y="11"/>
                    </a:lnTo>
                    <a:lnTo>
                      <a:pt x="66" y="11"/>
                    </a:lnTo>
                    <a:lnTo>
                      <a:pt x="65" y="9"/>
                    </a:lnTo>
                    <a:lnTo>
                      <a:pt x="65" y="9"/>
                    </a:lnTo>
                    <a:lnTo>
                      <a:pt x="65" y="8"/>
                    </a:lnTo>
                    <a:lnTo>
                      <a:pt x="63" y="6"/>
                    </a:lnTo>
                    <a:lnTo>
                      <a:pt x="63" y="6"/>
                    </a:lnTo>
                    <a:lnTo>
                      <a:pt x="59" y="4"/>
                    </a:lnTo>
                    <a:lnTo>
                      <a:pt x="58" y="0"/>
                    </a:lnTo>
                    <a:lnTo>
                      <a:pt x="58" y="0"/>
                    </a:lnTo>
                    <a:lnTo>
                      <a:pt x="56" y="4"/>
                    </a:lnTo>
                    <a:lnTo>
                      <a:pt x="56" y="6"/>
                    </a:lnTo>
                    <a:lnTo>
                      <a:pt x="58" y="11"/>
                    </a:lnTo>
                    <a:lnTo>
                      <a:pt x="58" y="11"/>
                    </a:lnTo>
                    <a:lnTo>
                      <a:pt x="59" y="13"/>
                    </a:lnTo>
                    <a:lnTo>
                      <a:pt x="58" y="15"/>
                    </a:lnTo>
                    <a:lnTo>
                      <a:pt x="58" y="15"/>
                    </a:lnTo>
                    <a:lnTo>
                      <a:pt x="56" y="15"/>
                    </a:lnTo>
                    <a:lnTo>
                      <a:pt x="52" y="13"/>
                    </a:lnTo>
                    <a:lnTo>
                      <a:pt x="52" y="13"/>
                    </a:lnTo>
                    <a:lnTo>
                      <a:pt x="52" y="15"/>
                    </a:lnTo>
                    <a:lnTo>
                      <a:pt x="49" y="13"/>
                    </a:lnTo>
                    <a:lnTo>
                      <a:pt x="49" y="13"/>
                    </a:lnTo>
                    <a:lnTo>
                      <a:pt x="47" y="13"/>
                    </a:lnTo>
                    <a:lnTo>
                      <a:pt x="47" y="17"/>
                    </a:lnTo>
                    <a:lnTo>
                      <a:pt x="45" y="18"/>
                    </a:lnTo>
                    <a:lnTo>
                      <a:pt x="45" y="20"/>
                    </a:lnTo>
                    <a:lnTo>
                      <a:pt x="45" y="20"/>
                    </a:lnTo>
                    <a:lnTo>
                      <a:pt x="41" y="20"/>
                    </a:lnTo>
                    <a:lnTo>
                      <a:pt x="40" y="18"/>
                    </a:lnTo>
                    <a:lnTo>
                      <a:pt x="40" y="18"/>
                    </a:lnTo>
                    <a:lnTo>
                      <a:pt x="38" y="22"/>
                    </a:lnTo>
                    <a:lnTo>
                      <a:pt x="38" y="24"/>
                    </a:lnTo>
                    <a:lnTo>
                      <a:pt x="38" y="24"/>
                    </a:lnTo>
                    <a:lnTo>
                      <a:pt x="34" y="25"/>
                    </a:lnTo>
                    <a:lnTo>
                      <a:pt x="33" y="25"/>
                    </a:lnTo>
                    <a:lnTo>
                      <a:pt x="33" y="25"/>
                    </a:lnTo>
                    <a:lnTo>
                      <a:pt x="29" y="27"/>
                    </a:lnTo>
                    <a:lnTo>
                      <a:pt x="29" y="27"/>
                    </a:lnTo>
                    <a:lnTo>
                      <a:pt x="29" y="27"/>
                    </a:lnTo>
                    <a:lnTo>
                      <a:pt x="29" y="27"/>
                    </a:lnTo>
                    <a:lnTo>
                      <a:pt x="29" y="27"/>
                    </a:lnTo>
                    <a:lnTo>
                      <a:pt x="31" y="25"/>
                    </a:lnTo>
                    <a:lnTo>
                      <a:pt x="31" y="24"/>
                    </a:lnTo>
                    <a:lnTo>
                      <a:pt x="31" y="24"/>
                    </a:lnTo>
                    <a:lnTo>
                      <a:pt x="31" y="18"/>
                    </a:lnTo>
                    <a:lnTo>
                      <a:pt x="29" y="18"/>
                    </a:lnTo>
                    <a:lnTo>
                      <a:pt x="27" y="18"/>
                    </a:lnTo>
                    <a:lnTo>
                      <a:pt x="27" y="18"/>
                    </a:lnTo>
                    <a:lnTo>
                      <a:pt x="25" y="17"/>
                    </a:lnTo>
                    <a:lnTo>
                      <a:pt x="24" y="15"/>
                    </a:lnTo>
                    <a:lnTo>
                      <a:pt x="24" y="15"/>
                    </a:lnTo>
                    <a:lnTo>
                      <a:pt x="24" y="18"/>
                    </a:lnTo>
                    <a:lnTo>
                      <a:pt x="22" y="18"/>
                    </a:lnTo>
                    <a:lnTo>
                      <a:pt x="18" y="20"/>
                    </a:lnTo>
                    <a:lnTo>
                      <a:pt x="18" y="20"/>
                    </a:lnTo>
                    <a:lnTo>
                      <a:pt x="16" y="22"/>
                    </a:lnTo>
                    <a:lnTo>
                      <a:pt x="16" y="24"/>
                    </a:lnTo>
                    <a:lnTo>
                      <a:pt x="15" y="24"/>
                    </a:lnTo>
                    <a:lnTo>
                      <a:pt x="15" y="24"/>
                    </a:lnTo>
                    <a:lnTo>
                      <a:pt x="9" y="25"/>
                    </a:lnTo>
                    <a:lnTo>
                      <a:pt x="6" y="25"/>
                    </a:lnTo>
                    <a:lnTo>
                      <a:pt x="4" y="27"/>
                    </a:lnTo>
                    <a:lnTo>
                      <a:pt x="4" y="27"/>
                    </a:lnTo>
                    <a:lnTo>
                      <a:pt x="2" y="33"/>
                    </a:lnTo>
                    <a:lnTo>
                      <a:pt x="2" y="33"/>
                    </a:lnTo>
                    <a:lnTo>
                      <a:pt x="0" y="3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36" name="Freeform 2890"/>
              <p:cNvSpPr>
                <a:spLocks/>
              </p:cNvSpPr>
              <p:nvPr/>
            </p:nvSpPr>
            <p:spPr bwMode="auto">
              <a:xfrm>
                <a:off x="4657" y="2511"/>
                <a:ext cx="5" cy="4"/>
              </a:xfrm>
              <a:custGeom>
                <a:avLst/>
                <a:gdLst>
                  <a:gd name="T0" fmla="*/ 1 w 5"/>
                  <a:gd name="T1" fmla="*/ 0 h 4"/>
                  <a:gd name="T2" fmla="*/ 1 w 5"/>
                  <a:gd name="T3" fmla="*/ 0 h 4"/>
                  <a:gd name="T4" fmla="*/ 0 w 5"/>
                  <a:gd name="T5" fmla="*/ 0 h 4"/>
                  <a:gd name="T6" fmla="*/ 0 w 5"/>
                  <a:gd name="T7" fmla="*/ 0 h 4"/>
                  <a:gd name="T8" fmla="*/ 3 w 5"/>
                  <a:gd name="T9" fmla="*/ 4 h 4"/>
                  <a:gd name="T10" fmla="*/ 3 w 5"/>
                  <a:gd name="T11" fmla="*/ 4 h 4"/>
                  <a:gd name="T12" fmla="*/ 5 w 5"/>
                  <a:gd name="T13" fmla="*/ 0 h 4"/>
                  <a:gd name="T14" fmla="*/ 1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1" y="0"/>
                    </a:moveTo>
                    <a:lnTo>
                      <a:pt x="1" y="0"/>
                    </a:lnTo>
                    <a:lnTo>
                      <a:pt x="0" y="0"/>
                    </a:lnTo>
                    <a:lnTo>
                      <a:pt x="0" y="0"/>
                    </a:lnTo>
                    <a:lnTo>
                      <a:pt x="3" y="4"/>
                    </a:lnTo>
                    <a:lnTo>
                      <a:pt x="3" y="4"/>
                    </a:lnTo>
                    <a:lnTo>
                      <a:pt x="5" y="0"/>
                    </a:lnTo>
                    <a:lnTo>
                      <a:pt x="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37" name="Freeform 2891"/>
              <p:cNvSpPr>
                <a:spLocks/>
              </p:cNvSpPr>
              <p:nvPr/>
            </p:nvSpPr>
            <p:spPr bwMode="auto">
              <a:xfrm>
                <a:off x="4657" y="2511"/>
                <a:ext cx="5" cy="4"/>
              </a:xfrm>
              <a:custGeom>
                <a:avLst/>
                <a:gdLst>
                  <a:gd name="T0" fmla="*/ 1 w 5"/>
                  <a:gd name="T1" fmla="*/ 0 h 4"/>
                  <a:gd name="T2" fmla="*/ 1 w 5"/>
                  <a:gd name="T3" fmla="*/ 0 h 4"/>
                  <a:gd name="T4" fmla="*/ 0 w 5"/>
                  <a:gd name="T5" fmla="*/ 0 h 4"/>
                  <a:gd name="T6" fmla="*/ 0 w 5"/>
                  <a:gd name="T7" fmla="*/ 0 h 4"/>
                  <a:gd name="T8" fmla="*/ 3 w 5"/>
                  <a:gd name="T9" fmla="*/ 4 h 4"/>
                  <a:gd name="T10" fmla="*/ 3 w 5"/>
                  <a:gd name="T11" fmla="*/ 4 h 4"/>
                  <a:gd name="T12" fmla="*/ 5 w 5"/>
                  <a:gd name="T13" fmla="*/ 0 h 4"/>
                  <a:gd name="T14" fmla="*/ 1 w 5"/>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4">
                    <a:moveTo>
                      <a:pt x="1" y="0"/>
                    </a:moveTo>
                    <a:lnTo>
                      <a:pt x="1" y="0"/>
                    </a:lnTo>
                    <a:lnTo>
                      <a:pt x="0" y="0"/>
                    </a:lnTo>
                    <a:lnTo>
                      <a:pt x="0" y="0"/>
                    </a:lnTo>
                    <a:lnTo>
                      <a:pt x="3" y="4"/>
                    </a:lnTo>
                    <a:lnTo>
                      <a:pt x="3" y="4"/>
                    </a:lnTo>
                    <a:lnTo>
                      <a:pt x="5" y="0"/>
                    </a:lnTo>
                    <a:lnTo>
                      <a:pt x="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38" name="Freeform 2892"/>
              <p:cNvSpPr>
                <a:spLocks/>
              </p:cNvSpPr>
              <p:nvPr/>
            </p:nvSpPr>
            <p:spPr bwMode="auto">
              <a:xfrm>
                <a:off x="4657" y="2536"/>
                <a:ext cx="17" cy="30"/>
              </a:xfrm>
              <a:custGeom>
                <a:avLst/>
                <a:gdLst>
                  <a:gd name="T0" fmla="*/ 3 w 17"/>
                  <a:gd name="T1" fmla="*/ 23 h 30"/>
                  <a:gd name="T2" fmla="*/ 3 w 17"/>
                  <a:gd name="T3" fmla="*/ 23 h 30"/>
                  <a:gd name="T4" fmla="*/ 8 w 17"/>
                  <a:gd name="T5" fmla="*/ 27 h 30"/>
                  <a:gd name="T6" fmla="*/ 8 w 17"/>
                  <a:gd name="T7" fmla="*/ 27 h 30"/>
                  <a:gd name="T8" fmla="*/ 8 w 17"/>
                  <a:gd name="T9" fmla="*/ 30 h 30"/>
                  <a:gd name="T10" fmla="*/ 8 w 17"/>
                  <a:gd name="T11" fmla="*/ 30 h 30"/>
                  <a:gd name="T12" fmla="*/ 12 w 17"/>
                  <a:gd name="T13" fmla="*/ 30 h 30"/>
                  <a:gd name="T14" fmla="*/ 14 w 17"/>
                  <a:gd name="T15" fmla="*/ 29 h 30"/>
                  <a:gd name="T16" fmla="*/ 14 w 17"/>
                  <a:gd name="T17" fmla="*/ 29 h 30"/>
                  <a:gd name="T18" fmla="*/ 14 w 17"/>
                  <a:gd name="T19" fmla="*/ 27 h 30"/>
                  <a:gd name="T20" fmla="*/ 14 w 17"/>
                  <a:gd name="T21" fmla="*/ 27 h 30"/>
                  <a:gd name="T22" fmla="*/ 12 w 17"/>
                  <a:gd name="T23" fmla="*/ 23 h 30"/>
                  <a:gd name="T24" fmla="*/ 12 w 17"/>
                  <a:gd name="T25" fmla="*/ 23 h 30"/>
                  <a:gd name="T26" fmla="*/ 14 w 17"/>
                  <a:gd name="T27" fmla="*/ 16 h 30"/>
                  <a:gd name="T28" fmla="*/ 16 w 17"/>
                  <a:gd name="T29" fmla="*/ 9 h 30"/>
                  <a:gd name="T30" fmla="*/ 16 w 17"/>
                  <a:gd name="T31" fmla="*/ 9 h 30"/>
                  <a:gd name="T32" fmla="*/ 17 w 17"/>
                  <a:gd name="T33" fmla="*/ 5 h 30"/>
                  <a:gd name="T34" fmla="*/ 17 w 17"/>
                  <a:gd name="T35" fmla="*/ 4 h 30"/>
                  <a:gd name="T36" fmla="*/ 16 w 17"/>
                  <a:gd name="T37" fmla="*/ 0 h 30"/>
                  <a:gd name="T38" fmla="*/ 16 w 17"/>
                  <a:gd name="T39" fmla="*/ 0 h 30"/>
                  <a:gd name="T40" fmla="*/ 14 w 17"/>
                  <a:gd name="T41" fmla="*/ 0 h 30"/>
                  <a:gd name="T42" fmla="*/ 12 w 17"/>
                  <a:gd name="T43" fmla="*/ 0 h 30"/>
                  <a:gd name="T44" fmla="*/ 12 w 17"/>
                  <a:gd name="T45" fmla="*/ 0 h 30"/>
                  <a:gd name="T46" fmla="*/ 8 w 17"/>
                  <a:gd name="T47" fmla="*/ 2 h 30"/>
                  <a:gd name="T48" fmla="*/ 8 w 17"/>
                  <a:gd name="T49" fmla="*/ 5 h 30"/>
                  <a:gd name="T50" fmla="*/ 8 w 17"/>
                  <a:gd name="T51" fmla="*/ 5 h 30"/>
                  <a:gd name="T52" fmla="*/ 7 w 17"/>
                  <a:gd name="T53" fmla="*/ 7 h 30"/>
                  <a:gd name="T54" fmla="*/ 7 w 17"/>
                  <a:gd name="T55" fmla="*/ 7 h 30"/>
                  <a:gd name="T56" fmla="*/ 7 w 17"/>
                  <a:gd name="T57" fmla="*/ 7 h 30"/>
                  <a:gd name="T58" fmla="*/ 7 w 17"/>
                  <a:gd name="T59" fmla="*/ 11 h 30"/>
                  <a:gd name="T60" fmla="*/ 7 w 17"/>
                  <a:gd name="T61" fmla="*/ 13 h 30"/>
                  <a:gd name="T62" fmla="*/ 7 w 17"/>
                  <a:gd name="T63" fmla="*/ 13 h 30"/>
                  <a:gd name="T64" fmla="*/ 5 w 17"/>
                  <a:gd name="T65" fmla="*/ 14 h 30"/>
                  <a:gd name="T66" fmla="*/ 3 w 17"/>
                  <a:gd name="T67" fmla="*/ 14 h 30"/>
                  <a:gd name="T68" fmla="*/ 1 w 17"/>
                  <a:gd name="T69" fmla="*/ 16 h 30"/>
                  <a:gd name="T70" fmla="*/ 0 w 17"/>
                  <a:gd name="T71" fmla="*/ 16 h 30"/>
                  <a:gd name="T72" fmla="*/ 0 w 17"/>
                  <a:gd name="T73" fmla="*/ 16 h 30"/>
                  <a:gd name="T74" fmla="*/ 1 w 17"/>
                  <a:gd name="T75" fmla="*/ 20 h 30"/>
                  <a:gd name="T76" fmla="*/ 3 w 17"/>
                  <a:gd name="T77"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 h="30">
                    <a:moveTo>
                      <a:pt x="3" y="23"/>
                    </a:moveTo>
                    <a:lnTo>
                      <a:pt x="3" y="23"/>
                    </a:lnTo>
                    <a:lnTo>
                      <a:pt x="8" y="27"/>
                    </a:lnTo>
                    <a:lnTo>
                      <a:pt x="8" y="27"/>
                    </a:lnTo>
                    <a:lnTo>
                      <a:pt x="8" y="30"/>
                    </a:lnTo>
                    <a:lnTo>
                      <a:pt x="8" y="30"/>
                    </a:lnTo>
                    <a:lnTo>
                      <a:pt x="12" y="30"/>
                    </a:lnTo>
                    <a:lnTo>
                      <a:pt x="14" y="29"/>
                    </a:lnTo>
                    <a:lnTo>
                      <a:pt x="14" y="29"/>
                    </a:lnTo>
                    <a:lnTo>
                      <a:pt x="14" y="27"/>
                    </a:lnTo>
                    <a:lnTo>
                      <a:pt x="14" y="27"/>
                    </a:lnTo>
                    <a:lnTo>
                      <a:pt x="12" y="23"/>
                    </a:lnTo>
                    <a:lnTo>
                      <a:pt x="12" y="23"/>
                    </a:lnTo>
                    <a:lnTo>
                      <a:pt x="14" y="16"/>
                    </a:lnTo>
                    <a:lnTo>
                      <a:pt x="16" y="9"/>
                    </a:lnTo>
                    <a:lnTo>
                      <a:pt x="16" y="9"/>
                    </a:lnTo>
                    <a:lnTo>
                      <a:pt x="17" y="5"/>
                    </a:lnTo>
                    <a:lnTo>
                      <a:pt x="17" y="4"/>
                    </a:lnTo>
                    <a:lnTo>
                      <a:pt x="16" y="0"/>
                    </a:lnTo>
                    <a:lnTo>
                      <a:pt x="16" y="0"/>
                    </a:lnTo>
                    <a:lnTo>
                      <a:pt x="14" y="0"/>
                    </a:lnTo>
                    <a:lnTo>
                      <a:pt x="12" y="0"/>
                    </a:lnTo>
                    <a:lnTo>
                      <a:pt x="12" y="0"/>
                    </a:lnTo>
                    <a:lnTo>
                      <a:pt x="8" y="2"/>
                    </a:lnTo>
                    <a:lnTo>
                      <a:pt x="8" y="5"/>
                    </a:lnTo>
                    <a:lnTo>
                      <a:pt x="8" y="5"/>
                    </a:lnTo>
                    <a:lnTo>
                      <a:pt x="7" y="7"/>
                    </a:lnTo>
                    <a:lnTo>
                      <a:pt x="7" y="7"/>
                    </a:lnTo>
                    <a:lnTo>
                      <a:pt x="7" y="7"/>
                    </a:lnTo>
                    <a:lnTo>
                      <a:pt x="7" y="11"/>
                    </a:lnTo>
                    <a:lnTo>
                      <a:pt x="7" y="13"/>
                    </a:lnTo>
                    <a:lnTo>
                      <a:pt x="7" y="13"/>
                    </a:lnTo>
                    <a:lnTo>
                      <a:pt x="5" y="14"/>
                    </a:lnTo>
                    <a:lnTo>
                      <a:pt x="3" y="14"/>
                    </a:lnTo>
                    <a:lnTo>
                      <a:pt x="1" y="16"/>
                    </a:lnTo>
                    <a:lnTo>
                      <a:pt x="0" y="16"/>
                    </a:lnTo>
                    <a:lnTo>
                      <a:pt x="0" y="16"/>
                    </a:lnTo>
                    <a:lnTo>
                      <a:pt x="1" y="20"/>
                    </a:lnTo>
                    <a:lnTo>
                      <a:pt x="3" y="2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39" name="Freeform 2893"/>
              <p:cNvSpPr>
                <a:spLocks/>
              </p:cNvSpPr>
              <p:nvPr/>
            </p:nvSpPr>
            <p:spPr bwMode="auto">
              <a:xfrm>
                <a:off x="4657" y="2536"/>
                <a:ext cx="17" cy="30"/>
              </a:xfrm>
              <a:custGeom>
                <a:avLst/>
                <a:gdLst>
                  <a:gd name="T0" fmla="*/ 3 w 17"/>
                  <a:gd name="T1" fmla="*/ 23 h 30"/>
                  <a:gd name="T2" fmla="*/ 3 w 17"/>
                  <a:gd name="T3" fmla="*/ 23 h 30"/>
                  <a:gd name="T4" fmla="*/ 8 w 17"/>
                  <a:gd name="T5" fmla="*/ 27 h 30"/>
                  <a:gd name="T6" fmla="*/ 8 w 17"/>
                  <a:gd name="T7" fmla="*/ 27 h 30"/>
                  <a:gd name="T8" fmla="*/ 8 w 17"/>
                  <a:gd name="T9" fmla="*/ 30 h 30"/>
                  <a:gd name="T10" fmla="*/ 8 w 17"/>
                  <a:gd name="T11" fmla="*/ 30 h 30"/>
                  <a:gd name="T12" fmla="*/ 12 w 17"/>
                  <a:gd name="T13" fmla="*/ 30 h 30"/>
                  <a:gd name="T14" fmla="*/ 14 w 17"/>
                  <a:gd name="T15" fmla="*/ 29 h 30"/>
                  <a:gd name="T16" fmla="*/ 14 w 17"/>
                  <a:gd name="T17" fmla="*/ 29 h 30"/>
                  <a:gd name="T18" fmla="*/ 14 w 17"/>
                  <a:gd name="T19" fmla="*/ 27 h 30"/>
                  <a:gd name="T20" fmla="*/ 14 w 17"/>
                  <a:gd name="T21" fmla="*/ 27 h 30"/>
                  <a:gd name="T22" fmla="*/ 12 w 17"/>
                  <a:gd name="T23" fmla="*/ 23 h 30"/>
                  <a:gd name="T24" fmla="*/ 12 w 17"/>
                  <a:gd name="T25" fmla="*/ 23 h 30"/>
                  <a:gd name="T26" fmla="*/ 14 w 17"/>
                  <a:gd name="T27" fmla="*/ 16 h 30"/>
                  <a:gd name="T28" fmla="*/ 16 w 17"/>
                  <a:gd name="T29" fmla="*/ 9 h 30"/>
                  <a:gd name="T30" fmla="*/ 16 w 17"/>
                  <a:gd name="T31" fmla="*/ 9 h 30"/>
                  <a:gd name="T32" fmla="*/ 17 w 17"/>
                  <a:gd name="T33" fmla="*/ 5 h 30"/>
                  <a:gd name="T34" fmla="*/ 17 w 17"/>
                  <a:gd name="T35" fmla="*/ 4 h 30"/>
                  <a:gd name="T36" fmla="*/ 16 w 17"/>
                  <a:gd name="T37" fmla="*/ 0 h 30"/>
                  <a:gd name="T38" fmla="*/ 16 w 17"/>
                  <a:gd name="T39" fmla="*/ 0 h 30"/>
                  <a:gd name="T40" fmla="*/ 14 w 17"/>
                  <a:gd name="T41" fmla="*/ 0 h 30"/>
                  <a:gd name="T42" fmla="*/ 12 w 17"/>
                  <a:gd name="T43" fmla="*/ 0 h 30"/>
                  <a:gd name="T44" fmla="*/ 12 w 17"/>
                  <a:gd name="T45" fmla="*/ 0 h 30"/>
                  <a:gd name="T46" fmla="*/ 8 w 17"/>
                  <a:gd name="T47" fmla="*/ 2 h 30"/>
                  <a:gd name="T48" fmla="*/ 8 w 17"/>
                  <a:gd name="T49" fmla="*/ 5 h 30"/>
                  <a:gd name="T50" fmla="*/ 8 w 17"/>
                  <a:gd name="T51" fmla="*/ 5 h 30"/>
                  <a:gd name="T52" fmla="*/ 7 w 17"/>
                  <a:gd name="T53" fmla="*/ 7 h 30"/>
                  <a:gd name="T54" fmla="*/ 7 w 17"/>
                  <a:gd name="T55" fmla="*/ 7 h 30"/>
                  <a:gd name="T56" fmla="*/ 7 w 17"/>
                  <a:gd name="T57" fmla="*/ 7 h 30"/>
                  <a:gd name="T58" fmla="*/ 7 w 17"/>
                  <a:gd name="T59" fmla="*/ 11 h 30"/>
                  <a:gd name="T60" fmla="*/ 7 w 17"/>
                  <a:gd name="T61" fmla="*/ 13 h 30"/>
                  <a:gd name="T62" fmla="*/ 7 w 17"/>
                  <a:gd name="T63" fmla="*/ 13 h 30"/>
                  <a:gd name="T64" fmla="*/ 5 w 17"/>
                  <a:gd name="T65" fmla="*/ 14 h 30"/>
                  <a:gd name="T66" fmla="*/ 3 w 17"/>
                  <a:gd name="T67" fmla="*/ 14 h 30"/>
                  <a:gd name="T68" fmla="*/ 1 w 17"/>
                  <a:gd name="T69" fmla="*/ 16 h 30"/>
                  <a:gd name="T70" fmla="*/ 0 w 17"/>
                  <a:gd name="T71" fmla="*/ 16 h 30"/>
                  <a:gd name="T72" fmla="*/ 0 w 17"/>
                  <a:gd name="T73" fmla="*/ 16 h 30"/>
                  <a:gd name="T74" fmla="*/ 1 w 17"/>
                  <a:gd name="T75" fmla="*/ 20 h 30"/>
                  <a:gd name="T76" fmla="*/ 3 w 17"/>
                  <a:gd name="T77"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 h="30">
                    <a:moveTo>
                      <a:pt x="3" y="23"/>
                    </a:moveTo>
                    <a:lnTo>
                      <a:pt x="3" y="23"/>
                    </a:lnTo>
                    <a:lnTo>
                      <a:pt x="8" y="27"/>
                    </a:lnTo>
                    <a:lnTo>
                      <a:pt x="8" y="27"/>
                    </a:lnTo>
                    <a:lnTo>
                      <a:pt x="8" y="30"/>
                    </a:lnTo>
                    <a:lnTo>
                      <a:pt x="8" y="30"/>
                    </a:lnTo>
                    <a:lnTo>
                      <a:pt x="12" y="30"/>
                    </a:lnTo>
                    <a:lnTo>
                      <a:pt x="14" y="29"/>
                    </a:lnTo>
                    <a:lnTo>
                      <a:pt x="14" y="29"/>
                    </a:lnTo>
                    <a:lnTo>
                      <a:pt x="14" y="27"/>
                    </a:lnTo>
                    <a:lnTo>
                      <a:pt x="14" y="27"/>
                    </a:lnTo>
                    <a:lnTo>
                      <a:pt x="12" y="23"/>
                    </a:lnTo>
                    <a:lnTo>
                      <a:pt x="12" y="23"/>
                    </a:lnTo>
                    <a:lnTo>
                      <a:pt x="14" y="16"/>
                    </a:lnTo>
                    <a:lnTo>
                      <a:pt x="16" y="9"/>
                    </a:lnTo>
                    <a:lnTo>
                      <a:pt x="16" y="9"/>
                    </a:lnTo>
                    <a:lnTo>
                      <a:pt x="17" y="5"/>
                    </a:lnTo>
                    <a:lnTo>
                      <a:pt x="17" y="4"/>
                    </a:lnTo>
                    <a:lnTo>
                      <a:pt x="16" y="0"/>
                    </a:lnTo>
                    <a:lnTo>
                      <a:pt x="16" y="0"/>
                    </a:lnTo>
                    <a:lnTo>
                      <a:pt x="14" y="0"/>
                    </a:lnTo>
                    <a:lnTo>
                      <a:pt x="12" y="0"/>
                    </a:lnTo>
                    <a:lnTo>
                      <a:pt x="12" y="0"/>
                    </a:lnTo>
                    <a:lnTo>
                      <a:pt x="8" y="2"/>
                    </a:lnTo>
                    <a:lnTo>
                      <a:pt x="8" y="5"/>
                    </a:lnTo>
                    <a:lnTo>
                      <a:pt x="8" y="5"/>
                    </a:lnTo>
                    <a:lnTo>
                      <a:pt x="7" y="7"/>
                    </a:lnTo>
                    <a:lnTo>
                      <a:pt x="7" y="7"/>
                    </a:lnTo>
                    <a:lnTo>
                      <a:pt x="7" y="7"/>
                    </a:lnTo>
                    <a:lnTo>
                      <a:pt x="7" y="11"/>
                    </a:lnTo>
                    <a:lnTo>
                      <a:pt x="7" y="13"/>
                    </a:lnTo>
                    <a:lnTo>
                      <a:pt x="7" y="13"/>
                    </a:lnTo>
                    <a:lnTo>
                      <a:pt x="5" y="14"/>
                    </a:lnTo>
                    <a:lnTo>
                      <a:pt x="3" y="14"/>
                    </a:lnTo>
                    <a:lnTo>
                      <a:pt x="1" y="16"/>
                    </a:lnTo>
                    <a:lnTo>
                      <a:pt x="0" y="16"/>
                    </a:lnTo>
                    <a:lnTo>
                      <a:pt x="0" y="16"/>
                    </a:lnTo>
                    <a:lnTo>
                      <a:pt x="1" y="20"/>
                    </a:lnTo>
                    <a:lnTo>
                      <a:pt x="3" y="2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40" name="Freeform 2894"/>
              <p:cNvSpPr>
                <a:spLocks/>
              </p:cNvSpPr>
              <p:nvPr/>
            </p:nvSpPr>
            <p:spPr bwMode="auto">
              <a:xfrm>
                <a:off x="4660" y="2540"/>
                <a:ext cx="2" cy="5"/>
              </a:xfrm>
              <a:custGeom>
                <a:avLst/>
                <a:gdLst>
                  <a:gd name="T0" fmla="*/ 0 w 2"/>
                  <a:gd name="T1" fmla="*/ 5 h 5"/>
                  <a:gd name="T2" fmla="*/ 0 w 2"/>
                  <a:gd name="T3" fmla="*/ 5 h 5"/>
                  <a:gd name="T4" fmla="*/ 2 w 2"/>
                  <a:gd name="T5" fmla="*/ 1 h 5"/>
                  <a:gd name="T6" fmla="*/ 2 w 2"/>
                  <a:gd name="T7" fmla="*/ 0 h 5"/>
                  <a:gd name="T8" fmla="*/ 2 w 2"/>
                  <a:gd name="T9" fmla="*/ 0 h 5"/>
                  <a:gd name="T10" fmla="*/ 2 w 2"/>
                  <a:gd name="T11" fmla="*/ 0 h 5"/>
                  <a:gd name="T12" fmla="*/ 0 w 2"/>
                  <a:gd name="T13" fmla="*/ 0 h 5"/>
                  <a:gd name="T14" fmla="*/ 0 w 2"/>
                  <a:gd name="T15" fmla="*/ 1 h 5"/>
                  <a:gd name="T16" fmla="*/ 0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0" y="5"/>
                    </a:moveTo>
                    <a:lnTo>
                      <a:pt x="0" y="5"/>
                    </a:lnTo>
                    <a:lnTo>
                      <a:pt x="2" y="1"/>
                    </a:lnTo>
                    <a:lnTo>
                      <a:pt x="2" y="0"/>
                    </a:lnTo>
                    <a:lnTo>
                      <a:pt x="2" y="0"/>
                    </a:lnTo>
                    <a:lnTo>
                      <a:pt x="2" y="0"/>
                    </a:lnTo>
                    <a:lnTo>
                      <a:pt x="0" y="0"/>
                    </a:lnTo>
                    <a:lnTo>
                      <a:pt x="0" y="1"/>
                    </a:lnTo>
                    <a:lnTo>
                      <a:pt x="0"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41" name="Freeform 2895"/>
              <p:cNvSpPr>
                <a:spLocks/>
              </p:cNvSpPr>
              <p:nvPr/>
            </p:nvSpPr>
            <p:spPr bwMode="auto">
              <a:xfrm>
                <a:off x="4660" y="2540"/>
                <a:ext cx="2" cy="5"/>
              </a:xfrm>
              <a:custGeom>
                <a:avLst/>
                <a:gdLst>
                  <a:gd name="T0" fmla="*/ 0 w 2"/>
                  <a:gd name="T1" fmla="*/ 5 h 5"/>
                  <a:gd name="T2" fmla="*/ 0 w 2"/>
                  <a:gd name="T3" fmla="*/ 5 h 5"/>
                  <a:gd name="T4" fmla="*/ 2 w 2"/>
                  <a:gd name="T5" fmla="*/ 1 h 5"/>
                  <a:gd name="T6" fmla="*/ 2 w 2"/>
                  <a:gd name="T7" fmla="*/ 0 h 5"/>
                  <a:gd name="T8" fmla="*/ 2 w 2"/>
                  <a:gd name="T9" fmla="*/ 0 h 5"/>
                  <a:gd name="T10" fmla="*/ 2 w 2"/>
                  <a:gd name="T11" fmla="*/ 0 h 5"/>
                  <a:gd name="T12" fmla="*/ 0 w 2"/>
                  <a:gd name="T13" fmla="*/ 0 h 5"/>
                  <a:gd name="T14" fmla="*/ 0 w 2"/>
                  <a:gd name="T15" fmla="*/ 1 h 5"/>
                  <a:gd name="T16" fmla="*/ 0 w 2"/>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5">
                    <a:moveTo>
                      <a:pt x="0" y="5"/>
                    </a:moveTo>
                    <a:lnTo>
                      <a:pt x="0" y="5"/>
                    </a:lnTo>
                    <a:lnTo>
                      <a:pt x="2" y="1"/>
                    </a:lnTo>
                    <a:lnTo>
                      <a:pt x="2" y="0"/>
                    </a:lnTo>
                    <a:lnTo>
                      <a:pt x="2" y="0"/>
                    </a:lnTo>
                    <a:lnTo>
                      <a:pt x="2" y="0"/>
                    </a:lnTo>
                    <a:lnTo>
                      <a:pt x="0" y="0"/>
                    </a:lnTo>
                    <a:lnTo>
                      <a:pt x="0" y="1"/>
                    </a:lnTo>
                    <a:lnTo>
                      <a:pt x="0"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42" name="Freeform 2896"/>
              <p:cNvSpPr>
                <a:spLocks/>
              </p:cNvSpPr>
              <p:nvPr/>
            </p:nvSpPr>
            <p:spPr bwMode="auto">
              <a:xfrm>
                <a:off x="4665" y="2500"/>
                <a:ext cx="8" cy="7"/>
              </a:xfrm>
              <a:custGeom>
                <a:avLst/>
                <a:gdLst>
                  <a:gd name="T0" fmla="*/ 8 w 8"/>
                  <a:gd name="T1" fmla="*/ 7 h 7"/>
                  <a:gd name="T2" fmla="*/ 8 w 8"/>
                  <a:gd name="T3" fmla="*/ 7 h 7"/>
                  <a:gd name="T4" fmla="*/ 4 w 8"/>
                  <a:gd name="T5" fmla="*/ 4 h 7"/>
                  <a:gd name="T6" fmla="*/ 0 w 8"/>
                  <a:gd name="T7" fmla="*/ 0 h 7"/>
                  <a:gd name="T8" fmla="*/ 0 w 8"/>
                  <a:gd name="T9" fmla="*/ 0 h 7"/>
                  <a:gd name="T10" fmla="*/ 0 w 8"/>
                  <a:gd name="T11" fmla="*/ 2 h 7"/>
                  <a:gd name="T12" fmla="*/ 2 w 8"/>
                  <a:gd name="T13" fmla="*/ 4 h 7"/>
                  <a:gd name="T14" fmla="*/ 8 w 8"/>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8" y="7"/>
                    </a:moveTo>
                    <a:lnTo>
                      <a:pt x="8" y="7"/>
                    </a:lnTo>
                    <a:lnTo>
                      <a:pt x="4" y="4"/>
                    </a:lnTo>
                    <a:lnTo>
                      <a:pt x="0" y="0"/>
                    </a:lnTo>
                    <a:lnTo>
                      <a:pt x="0" y="0"/>
                    </a:lnTo>
                    <a:lnTo>
                      <a:pt x="0" y="2"/>
                    </a:lnTo>
                    <a:lnTo>
                      <a:pt x="2" y="4"/>
                    </a:lnTo>
                    <a:lnTo>
                      <a:pt x="8"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43" name="Freeform 2897"/>
              <p:cNvSpPr>
                <a:spLocks/>
              </p:cNvSpPr>
              <p:nvPr/>
            </p:nvSpPr>
            <p:spPr bwMode="auto">
              <a:xfrm>
                <a:off x="4665" y="2500"/>
                <a:ext cx="8" cy="7"/>
              </a:xfrm>
              <a:custGeom>
                <a:avLst/>
                <a:gdLst>
                  <a:gd name="T0" fmla="*/ 8 w 8"/>
                  <a:gd name="T1" fmla="*/ 7 h 7"/>
                  <a:gd name="T2" fmla="*/ 8 w 8"/>
                  <a:gd name="T3" fmla="*/ 7 h 7"/>
                  <a:gd name="T4" fmla="*/ 4 w 8"/>
                  <a:gd name="T5" fmla="*/ 4 h 7"/>
                  <a:gd name="T6" fmla="*/ 0 w 8"/>
                  <a:gd name="T7" fmla="*/ 0 h 7"/>
                  <a:gd name="T8" fmla="*/ 0 w 8"/>
                  <a:gd name="T9" fmla="*/ 0 h 7"/>
                  <a:gd name="T10" fmla="*/ 0 w 8"/>
                  <a:gd name="T11" fmla="*/ 2 h 7"/>
                  <a:gd name="T12" fmla="*/ 2 w 8"/>
                  <a:gd name="T13" fmla="*/ 4 h 7"/>
                  <a:gd name="T14" fmla="*/ 8 w 8"/>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8" y="7"/>
                    </a:moveTo>
                    <a:lnTo>
                      <a:pt x="8" y="7"/>
                    </a:lnTo>
                    <a:lnTo>
                      <a:pt x="4" y="4"/>
                    </a:lnTo>
                    <a:lnTo>
                      <a:pt x="0" y="0"/>
                    </a:lnTo>
                    <a:lnTo>
                      <a:pt x="0" y="0"/>
                    </a:lnTo>
                    <a:lnTo>
                      <a:pt x="0" y="2"/>
                    </a:lnTo>
                    <a:lnTo>
                      <a:pt x="2" y="4"/>
                    </a:lnTo>
                    <a:lnTo>
                      <a:pt x="8"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44" name="Freeform 2898"/>
              <p:cNvSpPr>
                <a:spLocks/>
              </p:cNvSpPr>
              <p:nvPr/>
            </p:nvSpPr>
            <p:spPr bwMode="auto">
              <a:xfrm>
                <a:off x="4669" y="2509"/>
                <a:ext cx="14" cy="16"/>
              </a:xfrm>
              <a:custGeom>
                <a:avLst/>
                <a:gdLst>
                  <a:gd name="T0" fmla="*/ 0 w 14"/>
                  <a:gd name="T1" fmla="*/ 11 h 16"/>
                  <a:gd name="T2" fmla="*/ 0 w 14"/>
                  <a:gd name="T3" fmla="*/ 11 h 16"/>
                  <a:gd name="T4" fmla="*/ 0 w 14"/>
                  <a:gd name="T5" fmla="*/ 11 h 16"/>
                  <a:gd name="T6" fmla="*/ 0 w 14"/>
                  <a:gd name="T7" fmla="*/ 11 h 16"/>
                  <a:gd name="T8" fmla="*/ 4 w 14"/>
                  <a:gd name="T9" fmla="*/ 9 h 16"/>
                  <a:gd name="T10" fmla="*/ 5 w 14"/>
                  <a:gd name="T11" fmla="*/ 7 h 16"/>
                  <a:gd name="T12" fmla="*/ 7 w 14"/>
                  <a:gd name="T13" fmla="*/ 9 h 16"/>
                  <a:gd name="T14" fmla="*/ 7 w 14"/>
                  <a:gd name="T15" fmla="*/ 9 h 16"/>
                  <a:gd name="T16" fmla="*/ 9 w 14"/>
                  <a:gd name="T17" fmla="*/ 13 h 16"/>
                  <a:gd name="T18" fmla="*/ 9 w 14"/>
                  <a:gd name="T19" fmla="*/ 13 h 16"/>
                  <a:gd name="T20" fmla="*/ 14 w 14"/>
                  <a:gd name="T21" fmla="*/ 16 h 16"/>
                  <a:gd name="T22" fmla="*/ 14 w 14"/>
                  <a:gd name="T23" fmla="*/ 16 h 16"/>
                  <a:gd name="T24" fmla="*/ 14 w 14"/>
                  <a:gd name="T25" fmla="*/ 13 h 16"/>
                  <a:gd name="T26" fmla="*/ 13 w 14"/>
                  <a:gd name="T27" fmla="*/ 11 h 16"/>
                  <a:gd name="T28" fmla="*/ 9 w 14"/>
                  <a:gd name="T29" fmla="*/ 6 h 16"/>
                  <a:gd name="T30" fmla="*/ 9 w 14"/>
                  <a:gd name="T31" fmla="*/ 6 h 16"/>
                  <a:gd name="T32" fmla="*/ 5 w 14"/>
                  <a:gd name="T33" fmla="*/ 4 h 16"/>
                  <a:gd name="T34" fmla="*/ 5 w 14"/>
                  <a:gd name="T35" fmla="*/ 4 h 16"/>
                  <a:gd name="T36" fmla="*/ 0 w 14"/>
                  <a:gd name="T37" fmla="*/ 0 h 16"/>
                  <a:gd name="T38" fmla="*/ 0 w 14"/>
                  <a:gd name="T39" fmla="*/ 0 h 16"/>
                  <a:gd name="T40" fmla="*/ 2 w 14"/>
                  <a:gd name="T41" fmla="*/ 6 h 16"/>
                  <a:gd name="T42" fmla="*/ 2 w 14"/>
                  <a:gd name="T43" fmla="*/ 6 h 16"/>
                  <a:gd name="T44" fmla="*/ 2 w 14"/>
                  <a:gd name="T45" fmla="*/ 9 h 16"/>
                  <a:gd name="T46" fmla="*/ 0 w 14"/>
                  <a:gd name="T47"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16">
                    <a:moveTo>
                      <a:pt x="0" y="11"/>
                    </a:moveTo>
                    <a:lnTo>
                      <a:pt x="0" y="11"/>
                    </a:lnTo>
                    <a:lnTo>
                      <a:pt x="0" y="11"/>
                    </a:lnTo>
                    <a:lnTo>
                      <a:pt x="0" y="11"/>
                    </a:lnTo>
                    <a:lnTo>
                      <a:pt x="4" y="9"/>
                    </a:lnTo>
                    <a:lnTo>
                      <a:pt x="5" y="7"/>
                    </a:lnTo>
                    <a:lnTo>
                      <a:pt x="7" y="9"/>
                    </a:lnTo>
                    <a:lnTo>
                      <a:pt x="7" y="9"/>
                    </a:lnTo>
                    <a:lnTo>
                      <a:pt x="9" y="13"/>
                    </a:lnTo>
                    <a:lnTo>
                      <a:pt x="9" y="13"/>
                    </a:lnTo>
                    <a:lnTo>
                      <a:pt x="14" y="16"/>
                    </a:lnTo>
                    <a:lnTo>
                      <a:pt x="14" y="16"/>
                    </a:lnTo>
                    <a:lnTo>
                      <a:pt x="14" y="13"/>
                    </a:lnTo>
                    <a:lnTo>
                      <a:pt x="13" y="11"/>
                    </a:lnTo>
                    <a:lnTo>
                      <a:pt x="9" y="6"/>
                    </a:lnTo>
                    <a:lnTo>
                      <a:pt x="9" y="6"/>
                    </a:lnTo>
                    <a:lnTo>
                      <a:pt x="5" y="4"/>
                    </a:lnTo>
                    <a:lnTo>
                      <a:pt x="5" y="4"/>
                    </a:lnTo>
                    <a:lnTo>
                      <a:pt x="0" y="0"/>
                    </a:lnTo>
                    <a:lnTo>
                      <a:pt x="0" y="0"/>
                    </a:lnTo>
                    <a:lnTo>
                      <a:pt x="2" y="6"/>
                    </a:lnTo>
                    <a:lnTo>
                      <a:pt x="2" y="6"/>
                    </a:lnTo>
                    <a:lnTo>
                      <a:pt x="2" y="9"/>
                    </a:lnTo>
                    <a:lnTo>
                      <a:pt x="0"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45" name="Freeform 2899"/>
              <p:cNvSpPr>
                <a:spLocks/>
              </p:cNvSpPr>
              <p:nvPr/>
            </p:nvSpPr>
            <p:spPr bwMode="auto">
              <a:xfrm>
                <a:off x="4669" y="2509"/>
                <a:ext cx="14" cy="16"/>
              </a:xfrm>
              <a:custGeom>
                <a:avLst/>
                <a:gdLst>
                  <a:gd name="T0" fmla="*/ 0 w 14"/>
                  <a:gd name="T1" fmla="*/ 11 h 16"/>
                  <a:gd name="T2" fmla="*/ 0 w 14"/>
                  <a:gd name="T3" fmla="*/ 11 h 16"/>
                  <a:gd name="T4" fmla="*/ 0 w 14"/>
                  <a:gd name="T5" fmla="*/ 11 h 16"/>
                  <a:gd name="T6" fmla="*/ 0 w 14"/>
                  <a:gd name="T7" fmla="*/ 11 h 16"/>
                  <a:gd name="T8" fmla="*/ 4 w 14"/>
                  <a:gd name="T9" fmla="*/ 9 h 16"/>
                  <a:gd name="T10" fmla="*/ 5 w 14"/>
                  <a:gd name="T11" fmla="*/ 7 h 16"/>
                  <a:gd name="T12" fmla="*/ 7 w 14"/>
                  <a:gd name="T13" fmla="*/ 9 h 16"/>
                  <a:gd name="T14" fmla="*/ 7 w 14"/>
                  <a:gd name="T15" fmla="*/ 9 h 16"/>
                  <a:gd name="T16" fmla="*/ 9 w 14"/>
                  <a:gd name="T17" fmla="*/ 13 h 16"/>
                  <a:gd name="T18" fmla="*/ 9 w 14"/>
                  <a:gd name="T19" fmla="*/ 13 h 16"/>
                  <a:gd name="T20" fmla="*/ 14 w 14"/>
                  <a:gd name="T21" fmla="*/ 16 h 16"/>
                  <a:gd name="T22" fmla="*/ 14 w 14"/>
                  <a:gd name="T23" fmla="*/ 16 h 16"/>
                  <a:gd name="T24" fmla="*/ 14 w 14"/>
                  <a:gd name="T25" fmla="*/ 13 h 16"/>
                  <a:gd name="T26" fmla="*/ 13 w 14"/>
                  <a:gd name="T27" fmla="*/ 11 h 16"/>
                  <a:gd name="T28" fmla="*/ 9 w 14"/>
                  <a:gd name="T29" fmla="*/ 6 h 16"/>
                  <a:gd name="T30" fmla="*/ 9 w 14"/>
                  <a:gd name="T31" fmla="*/ 6 h 16"/>
                  <a:gd name="T32" fmla="*/ 5 w 14"/>
                  <a:gd name="T33" fmla="*/ 4 h 16"/>
                  <a:gd name="T34" fmla="*/ 5 w 14"/>
                  <a:gd name="T35" fmla="*/ 4 h 16"/>
                  <a:gd name="T36" fmla="*/ 0 w 14"/>
                  <a:gd name="T37" fmla="*/ 0 h 16"/>
                  <a:gd name="T38" fmla="*/ 0 w 14"/>
                  <a:gd name="T39" fmla="*/ 0 h 16"/>
                  <a:gd name="T40" fmla="*/ 2 w 14"/>
                  <a:gd name="T41" fmla="*/ 6 h 16"/>
                  <a:gd name="T42" fmla="*/ 2 w 14"/>
                  <a:gd name="T43" fmla="*/ 6 h 16"/>
                  <a:gd name="T44" fmla="*/ 2 w 14"/>
                  <a:gd name="T45" fmla="*/ 9 h 16"/>
                  <a:gd name="T46" fmla="*/ 0 w 14"/>
                  <a:gd name="T47"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16">
                    <a:moveTo>
                      <a:pt x="0" y="11"/>
                    </a:moveTo>
                    <a:lnTo>
                      <a:pt x="0" y="11"/>
                    </a:lnTo>
                    <a:lnTo>
                      <a:pt x="0" y="11"/>
                    </a:lnTo>
                    <a:lnTo>
                      <a:pt x="0" y="11"/>
                    </a:lnTo>
                    <a:lnTo>
                      <a:pt x="4" y="9"/>
                    </a:lnTo>
                    <a:lnTo>
                      <a:pt x="5" y="7"/>
                    </a:lnTo>
                    <a:lnTo>
                      <a:pt x="7" y="9"/>
                    </a:lnTo>
                    <a:lnTo>
                      <a:pt x="7" y="9"/>
                    </a:lnTo>
                    <a:lnTo>
                      <a:pt x="9" y="13"/>
                    </a:lnTo>
                    <a:lnTo>
                      <a:pt x="9" y="13"/>
                    </a:lnTo>
                    <a:lnTo>
                      <a:pt x="14" y="16"/>
                    </a:lnTo>
                    <a:lnTo>
                      <a:pt x="14" y="16"/>
                    </a:lnTo>
                    <a:lnTo>
                      <a:pt x="14" y="13"/>
                    </a:lnTo>
                    <a:lnTo>
                      <a:pt x="13" y="11"/>
                    </a:lnTo>
                    <a:lnTo>
                      <a:pt x="9" y="6"/>
                    </a:lnTo>
                    <a:lnTo>
                      <a:pt x="9" y="6"/>
                    </a:lnTo>
                    <a:lnTo>
                      <a:pt x="5" y="4"/>
                    </a:lnTo>
                    <a:lnTo>
                      <a:pt x="5" y="4"/>
                    </a:lnTo>
                    <a:lnTo>
                      <a:pt x="0" y="0"/>
                    </a:lnTo>
                    <a:lnTo>
                      <a:pt x="0" y="0"/>
                    </a:lnTo>
                    <a:lnTo>
                      <a:pt x="2" y="6"/>
                    </a:lnTo>
                    <a:lnTo>
                      <a:pt x="2" y="6"/>
                    </a:lnTo>
                    <a:lnTo>
                      <a:pt x="2" y="9"/>
                    </a:lnTo>
                    <a:lnTo>
                      <a:pt x="0"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46" name="Freeform 2900"/>
              <p:cNvSpPr>
                <a:spLocks/>
              </p:cNvSpPr>
              <p:nvPr/>
            </p:nvSpPr>
            <p:spPr bwMode="auto">
              <a:xfrm>
                <a:off x="4676" y="2509"/>
                <a:ext cx="2" cy="6"/>
              </a:xfrm>
              <a:custGeom>
                <a:avLst/>
                <a:gdLst>
                  <a:gd name="T0" fmla="*/ 0 w 2"/>
                  <a:gd name="T1" fmla="*/ 2 h 6"/>
                  <a:gd name="T2" fmla="*/ 0 w 2"/>
                  <a:gd name="T3" fmla="*/ 2 h 6"/>
                  <a:gd name="T4" fmla="*/ 2 w 2"/>
                  <a:gd name="T5" fmla="*/ 6 h 6"/>
                  <a:gd name="T6" fmla="*/ 2 w 2"/>
                  <a:gd name="T7" fmla="*/ 6 h 6"/>
                  <a:gd name="T8" fmla="*/ 2 w 2"/>
                  <a:gd name="T9" fmla="*/ 2 h 6"/>
                  <a:gd name="T10" fmla="*/ 0 w 2"/>
                  <a:gd name="T11" fmla="*/ 0 h 6"/>
                  <a:gd name="T12" fmla="*/ 0 w 2"/>
                  <a:gd name="T13" fmla="*/ 0 h 6"/>
                  <a:gd name="T14" fmla="*/ 0 w 2"/>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6">
                    <a:moveTo>
                      <a:pt x="0" y="2"/>
                    </a:moveTo>
                    <a:lnTo>
                      <a:pt x="0" y="2"/>
                    </a:lnTo>
                    <a:lnTo>
                      <a:pt x="2" y="6"/>
                    </a:lnTo>
                    <a:lnTo>
                      <a:pt x="2" y="6"/>
                    </a:lnTo>
                    <a:lnTo>
                      <a:pt x="2" y="2"/>
                    </a:lnTo>
                    <a:lnTo>
                      <a:pt x="0" y="0"/>
                    </a:lnTo>
                    <a:lnTo>
                      <a:pt x="0" y="0"/>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47" name="Freeform 2901"/>
              <p:cNvSpPr>
                <a:spLocks/>
              </p:cNvSpPr>
              <p:nvPr/>
            </p:nvSpPr>
            <p:spPr bwMode="auto">
              <a:xfrm>
                <a:off x="4676" y="2509"/>
                <a:ext cx="2" cy="6"/>
              </a:xfrm>
              <a:custGeom>
                <a:avLst/>
                <a:gdLst>
                  <a:gd name="T0" fmla="*/ 0 w 2"/>
                  <a:gd name="T1" fmla="*/ 2 h 6"/>
                  <a:gd name="T2" fmla="*/ 0 w 2"/>
                  <a:gd name="T3" fmla="*/ 2 h 6"/>
                  <a:gd name="T4" fmla="*/ 2 w 2"/>
                  <a:gd name="T5" fmla="*/ 6 h 6"/>
                  <a:gd name="T6" fmla="*/ 2 w 2"/>
                  <a:gd name="T7" fmla="*/ 6 h 6"/>
                  <a:gd name="T8" fmla="*/ 2 w 2"/>
                  <a:gd name="T9" fmla="*/ 2 h 6"/>
                  <a:gd name="T10" fmla="*/ 0 w 2"/>
                  <a:gd name="T11" fmla="*/ 0 h 6"/>
                  <a:gd name="T12" fmla="*/ 0 w 2"/>
                  <a:gd name="T13" fmla="*/ 0 h 6"/>
                  <a:gd name="T14" fmla="*/ 0 w 2"/>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6">
                    <a:moveTo>
                      <a:pt x="0" y="2"/>
                    </a:moveTo>
                    <a:lnTo>
                      <a:pt x="0" y="2"/>
                    </a:lnTo>
                    <a:lnTo>
                      <a:pt x="2" y="6"/>
                    </a:lnTo>
                    <a:lnTo>
                      <a:pt x="2" y="6"/>
                    </a:lnTo>
                    <a:lnTo>
                      <a:pt x="2" y="2"/>
                    </a:lnTo>
                    <a:lnTo>
                      <a:pt x="0" y="0"/>
                    </a:lnTo>
                    <a:lnTo>
                      <a:pt x="0" y="0"/>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48" name="Freeform 2902"/>
              <p:cNvSpPr>
                <a:spLocks/>
              </p:cNvSpPr>
              <p:nvPr/>
            </p:nvSpPr>
            <p:spPr bwMode="auto">
              <a:xfrm>
                <a:off x="4671" y="2532"/>
                <a:ext cx="12" cy="29"/>
              </a:xfrm>
              <a:custGeom>
                <a:avLst/>
                <a:gdLst>
                  <a:gd name="T0" fmla="*/ 2 w 12"/>
                  <a:gd name="T1" fmla="*/ 20 h 29"/>
                  <a:gd name="T2" fmla="*/ 2 w 12"/>
                  <a:gd name="T3" fmla="*/ 20 h 29"/>
                  <a:gd name="T4" fmla="*/ 0 w 12"/>
                  <a:gd name="T5" fmla="*/ 29 h 29"/>
                  <a:gd name="T6" fmla="*/ 0 w 12"/>
                  <a:gd name="T7" fmla="*/ 29 h 29"/>
                  <a:gd name="T8" fmla="*/ 3 w 12"/>
                  <a:gd name="T9" fmla="*/ 27 h 29"/>
                  <a:gd name="T10" fmla="*/ 5 w 12"/>
                  <a:gd name="T11" fmla="*/ 25 h 29"/>
                  <a:gd name="T12" fmla="*/ 7 w 12"/>
                  <a:gd name="T13" fmla="*/ 18 h 29"/>
                  <a:gd name="T14" fmla="*/ 7 w 12"/>
                  <a:gd name="T15" fmla="*/ 18 h 29"/>
                  <a:gd name="T16" fmla="*/ 11 w 12"/>
                  <a:gd name="T17" fmla="*/ 17 h 29"/>
                  <a:gd name="T18" fmla="*/ 12 w 12"/>
                  <a:gd name="T19" fmla="*/ 13 h 29"/>
                  <a:gd name="T20" fmla="*/ 12 w 12"/>
                  <a:gd name="T21" fmla="*/ 13 h 29"/>
                  <a:gd name="T22" fmla="*/ 12 w 12"/>
                  <a:gd name="T23" fmla="*/ 0 h 29"/>
                  <a:gd name="T24" fmla="*/ 12 w 12"/>
                  <a:gd name="T25" fmla="*/ 0 h 29"/>
                  <a:gd name="T26" fmla="*/ 11 w 12"/>
                  <a:gd name="T27" fmla="*/ 2 h 29"/>
                  <a:gd name="T28" fmla="*/ 11 w 12"/>
                  <a:gd name="T29" fmla="*/ 4 h 29"/>
                  <a:gd name="T30" fmla="*/ 9 w 12"/>
                  <a:gd name="T31" fmla="*/ 8 h 29"/>
                  <a:gd name="T32" fmla="*/ 9 w 12"/>
                  <a:gd name="T33" fmla="*/ 8 h 29"/>
                  <a:gd name="T34" fmla="*/ 5 w 12"/>
                  <a:gd name="T35" fmla="*/ 15 h 29"/>
                  <a:gd name="T36" fmla="*/ 2 w 12"/>
                  <a:gd name="T37"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29">
                    <a:moveTo>
                      <a:pt x="2" y="20"/>
                    </a:moveTo>
                    <a:lnTo>
                      <a:pt x="2" y="20"/>
                    </a:lnTo>
                    <a:lnTo>
                      <a:pt x="0" y="29"/>
                    </a:lnTo>
                    <a:lnTo>
                      <a:pt x="0" y="29"/>
                    </a:lnTo>
                    <a:lnTo>
                      <a:pt x="3" y="27"/>
                    </a:lnTo>
                    <a:lnTo>
                      <a:pt x="5" y="25"/>
                    </a:lnTo>
                    <a:lnTo>
                      <a:pt x="7" y="18"/>
                    </a:lnTo>
                    <a:lnTo>
                      <a:pt x="7" y="18"/>
                    </a:lnTo>
                    <a:lnTo>
                      <a:pt x="11" y="17"/>
                    </a:lnTo>
                    <a:lnTo>
                      <a:pt x="12" y="13"/>
                    </a:lnTo>
                    <a:lnTo>
                      <a:pt x="12" y="13"/>
                    </a:lnTo>
                    <a:lnTo>
                      <a:pt x="12" y="0"/>
                    </a:lnTo>
                    <a:lnTo>
                      <a:pt x="12" y="0"/>
                    </a:lnTo>
                    <a:lnTo>
                      <a:pt x="11" y="2"/>
                    </a:lnTo>
                    <a:lnTo>
                      <a:pt x="11" y="4"/>
                    </a:lnTo>
                    <a:lnTo>
                      <a:pt x="9" y="8"/>
                    </a:lnTo>
                    <a:lnTo>
                      <a:pt x="9" y="8"/>
                    </a:lnTo>
                    <a:lnTo>
                      <a:pt x="5" y="15"/>
                    </a:lnTo>
                    <a:lnTo>
                      <a:pt x="2" y="2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49" name="Freeform 2903"/>
              <p:cNvSpPr>
                <a:spLocks/>
              </p:cNvSpPr>
              <p:nvPr/>
            </p:nvSpPr>
            <p:spPr bwMode="auto">
              <a:xfrm>
                <a:off x="4671" y="2532"/>
                <a:ext cx="12" cy="29"/>
              </a:xfrm>
              <a:custGeom>
                <a:avLst/>
                <a:gdLst>
                  <a:gd name="T0" fmla="*/ 2 w 12"/>
                  <a:gd name="T1" fmla="*/ 20 h 29"/>
                  <a:gd name="T2" fmla="*/ 2 w 12"/>
                  <a:gd name="T3" fmla="*/ 20 h 29"/>
                  <a:gd name="T4" fmla="*/ 0 w 12"/>
                  <a:gd name="T5" fmla="*/ 29 h 29"/>
                  <a:gd name="T6" fmla="*/ 0 w 12"/>
                  <a:gd name="T7" fmla="*/ 29 h 29"/>
                  <a:gd name="T8" fmla="*/ 3 w 12"/>
                  <a:gd name="T9" fmla="*/ 27 h 29"/>
                  <a:gd name="T10" fmla="*/ 5 w 12"/>
                  <a:gd name="T11" fmla="*/ 25 h 29"/>
                  <a:gd name="T12" fmla="*/ 7 w 12"/>
                  <a:gd name="T13" fmla="*/ 18 h 29"/>
                  <a:gd name="T14" fmla="*/ 7 w 12"/>
                  <a:gd name="T15" fmla="*/ 18 h 29"/>
                  <a:gd name="T16" fmla="*/ 11 w 12"/>
                  <a:gd name="T17" fmla="*/ 17 h 29"/>
                  <a:gd name="T18" fmla="*/ 12 w 12"/>
                  <a:gd name="T19" fmla="*/ 13 h 29"/>
                  <a:gd name="T20" fmla="*/ 12 w 12"/>
                  <a:gd name="T21" fmla="*/ 13 h 29"/>
                  <a:gd name="T22" fmla="*/ 12 w 12"/>
                  <a:gd name="T23" fmla="*/ 0 h 29"/>
                  <a:gd name="T24" fmla="*/ 12 w 12"/>
                  <a:gd name="T25" fmla="*/ 0 h 29"/>
                  <a:gd name="T26" fmla="*/ 11 w 12"/>
                  <a:gd name="T27" fmla="*/ 2 h 29"/>
                  <a:gd name="T28" fmla="*/ 11 w 12"/>
                  <a:gd name="T29" fmla="*/ 4 h 29"/>
                  <a:gd name="T30" fmla="*/ 9 w 12"/>
                  <a:gd name="T31" fmla="*/ 8 h 29"/>
                  <a:gd name="T32" fmla="*/ 9 w 12"/>
                  <a:gd name="T33" fmla="*/ 8 h 29"/>
                  <a:gd name="T34" fmla="*/ 5 w 12"/>
                  <a:gd name="T35" fmla="*/ 15 h 29"/>
                  <a:gd name="T36" fmla="*/ 2 w 12"/>
                  <a:gd name="T37"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 h="29">
                    <a:moveTo>
                      <a:pt x="2" y="20"/>
                    </a:moveTo>
                    <a:lnTo>
                      <a:pt x="2" y="20"/>
                    </a:lnTo>
                    <a:lnTo>
                      <a:pt x="0" y="29"/>
                    </a:lnTo>
                    <a:lnTo>
                      <a:pt x="0" y="29"/>
                    </a:lnTo>
                    <a:lnTo>
                      <a:pt x="3" y="27"/>
                    </a:lnTo>
                    <a:lnTo>
                      <a:pt x="5" y="25"/>
                    </a:lnTo>
                    <a:lnTo>
                      <a:pt x="7" y="18"/>
                    </a:lnTo>
                    <a:lnTo>
                      <a:pt x="7" y="18"/>
                    </a:lnTo>
                    <a:lnTo>
                      <a:pt x="11" y="17"/>
                    </a:lnTo>
                    <a:lnTo>
                      <a:pt x="12" y="13"/>
                    </a:lnTo>
                    <a:lnTo>
                      <a:pt x="12" y="13"/>
                    </a:lnTo>
                    <a:lnTo>
                      <a:pt x="12" y="0"/>
                    </a:lnTo>
                    <a:lnTo>
                      <a:pt x="12" y="0"/>
                    </a:lnTo>
                    <a:lnTo>
                      <a:pt x="11" y="2"/>
                    </a:lnTo>
                    <a:lnTo>
                      <a:pt x="11" y="4"/>
                    </a:lnTo>
                    <a:lnTo>
                      <a:pt x="9" y="8"/>
                    </a:lnTo>
                    <a:lnTo>
                      <a:pt x="9" y="8"/>
                    </a:lnTo>
                    <a:lnTo>
                      <a:pt x="5" y="15"/>
                    </a:lnTo>
                    <a:lnTo>
                      <a:pt x="2" y="2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50" name="Freeform 2904"/>
              <p:cNvSpPr>
                <a:spLocks/>
              </p:cNvSpPr>
              <p:nvPr/>
            </p:nvSpPr>
            <p:spPr bwMode="auto">
              <a:xfrm>
                <a:off x="4682" y="25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51" name="Freeform 2905"/>
              <p:cNvSpPr>
                <a:spLocks/>
              </p:cNvSpPr>
              <p:nvPr/>
            </p:nvSpPr>
            <p:spPr bwMode="auto">
              <a:xfrm>
                <a:off x="4682" y="2500"/>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52" name="Freeform 2906"/>
              <p:cNvSpPr>
                <a:spLocks/>
              </p:cNvSpPr>
              <p:nvPr/>
            </p:nvSpPr>
            <p:spPr bwMode="auto">
              <a:xfrm>
                <a:off x="4674" y="2563"/>
                <a:ext cx="4" cy="3"/>
              </a:xfrm>
              <a:custGeom>
                <a:avLst/>
                <a:gdLst>
                  <a:gd name="T0" fmla="*/ 2 w 4"/>
                  <a:gd name="T1" fmla="*/ 3 h 3"/>
                  <a:gd name="T2" fmla="*/ 2 w 4"/>
                  <a:gd name="T3" fmla="*/ 3 h 3"/>
                  <a:gd name="T4" fmla="*/ 4 w 4"/>
                  <a:gd name="T5" fmla="*/ 3 h 3"/>
                  <a:gd name="T6" fmla="*/ 4 w 4"/>
                  <a:gd name="T7" fmla="*/ 3 h 3"/>
                  <a:gd name="T8" fmla="*/ 2 w 4"/>
                  <a:gd name="T9" fmla="*/ 0 h 3"/>
                  <a:gd name="T10" fmla="*/ 2 w 4"/>
                  <a:gd name="T11" fmla="*/ 0 h 3"/>
                  <a:gd name="T12" fmla="*/ 0 w 4"/>
                  <a:gd name="T13" fmla="*/ 2 h 3"/>
                  <a:gd name="T14" fmla="*/ 2 w 4"/>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2" y="3"/>
                    </a:moveTo>
                    <a:lnTo>
                      <a:pt x="2" y="3"/>
                    </a:lnTo>
                    <a:lnTo>
                      <a:pt x="4" y="3"/>
                    </a:lnTo>
                    <a:lnTo>
                      <a:pt x="4" y="3"/>
                    </a:lnTo>
                    <a:lnTo>
                      <a:pt x="2" y="0"/>
                    </a:lnTo>
                    <a:lnTo>
                      <a:pt x="2" y="0"/>
                    </a:lnTo>
                    <a:lnTo>
                      <a:pt x="0" y="2"/>
                    </a:lnTo>
                    <a:lnTo>
                      <a:pt x="2"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53" name="Freeform 2907"/>
              <p:cNvSpPr>
                <a:spLocks/>
              </p:cNvSpPr>
              <p:nvPr/>
            </p:nvSpPr>
            <p:spPr bwMode="auto">
              <a:xfrm>
                <a:off x="4674" y="2563"/>
                <a:ext cx="4" cy="3"/>
              </a:xfrm>
              <a:custGeom>
                <a:avLst/>
                <a:gdLst>
                  <a:gd name="T0" fmla="*/ 2 w 4"/>
                  <a:gd name="T1" fmla="*/ 3 h 3"/>
                  <a:gd name="T2" fmla="*/ 2 w 4"/>
                  <a:gd name="T3" fmla="*/ 3 h 3"/>
                  <a:gd name="T4" fmla="*/ 4 w 4"/>
                  <a:gd name="T5" fmla="*/ 3 h 3"/>
                  <a:gd name="T6" fmla="*/ 4 w 4"/>
                  <a:gd name="T7" fmla="*/ 3 h 3"/>
                  <a:gd name="T8" fmla="*/ 2 w 4"/>
                  <a:gd name="T9" fmla="*/ 0 h 3"/>
                  <a:gd name="T10" fmla="*/ 2 w 4"/>
                  <a:gd name="T11" fmla="*/ 0 h 3"/>
                  <a:gd name="T12" fmla="*/ 0 w 4"/>
                  <a:gd name="T13" fmla="*/ 2 h 3"/>
                  <a:gd name="T14" fmla="*/ 2 w 4"/>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2" y="3"/>
                    </a:moveTo>
                    <a:lnTo>
                      <a:pt x="2" y="3"/>
                    </a:lnTo>
                    <a:lnTo>
                      <a:pt x="4" y="3"/>
                    </a:lnTo>
                    <a:lnTo>
                      <a:pt x="4" y="3"/>
                    </a:lnTo>
                    <a:lnTo>
                      <a:pt x="2" y="0"/>
                    </a:lnTo>
                    <a:lnTo>
                      <a:pt x="2" y="0"/>
                    </a:lnTo>
                    <a:lnTo>
                      <a:pt x="0" y="2"/>
                    </a:lnTo>
                    <a:lnTo>
                      <a:pt x="2"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54" name="Freeform 2908"/>
              <p:cNvSpPr>
                <a:spLocks/>
              </p:cNvSpPr>
              <p:nvPr/>
            </p:nvSpPr>
            <p:spPr bwMode="auto">
              <a:xfrm>
                <a:off x="4683" y="2488"/>
                <a:ext cx="4" cy="9"/>
              </a:xfrm>
              <a:custGeom>
                <a:avLst/>
                <a:gdLst>
                  <a:gd name="T0" fmla="*/ 2 w 4"/>
                  <a:gd name="T1" fmla="*/ 9 h 9"/>
                  <a:gd name="T2" fmla="*/ 2 w 4"/>
                  <a:gd name="T3" fmla="*/ 9 h 9"/>
                  <a:gd name="T4" fmla="*/ 4 w 4"/>
                  <a:gd name="T5" fmla="*/ 7 h 9"/>
                  <a:gd name="T6" fmla="*/ 4 w 4"/>
                  <a:gd name="T7" fmla="*/ 3 h 9"/>
                  <a:gd name="T8" fmla="*/ 4 w 4"/>
                  <a:gd name="T9" fmla="*/ 2 h 9"/>
                  <a:gd name="T10" fmla="*/ 0 w 4"/>
                  <a:gd name="T11" fmla="*/ 0 h 9"/>
                  <a:gd name="T12" fmla="*/ 0 w 4"/>
                  <a:gd name="T13" fmla="*/ 0 h 9"/>
                  <a:gd name="T14" fmla="*/ 0 w 4"/>
                  <a:gd name="T15" fmla="*/ 3 h 9"/>
                  <a:gd name="T16" fmla="*/ 2 w 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2" y="9"/>
                    </a:moveTo>
                    <a:lnTo>
                      <a:pt x="2" y="9"/>
                    </a:lnTo>
                    <a:lnTo>
                      <a:pt x="4" y="7"/>
                    </a:lnTo>
                    <a:lnTo>
                      <a:pt x="4" y="3"/>
                    </a:lnTo>
                    <a:lnTo>
                      <a:pt x="4" y="2"/>
                    </a:lnTo>
                    <a:lnTo>
                      <a:pt x="0" y="0"/>
                    </a:lnTo>
                    <a:lnTo>
                      <a:pt x="0" y="0"/>
                    </a:lnTo>
                    <a:lnTo>
                      <a:pt x="0" y="3"/>
                    </a:lnTo>
                    <a:lnTo>
                      <a:pt x="2"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55" name="Freeform 2909"/>
              <p:cNvSpPr>
                <a:spLocks/>
              </p:cNvSpPr>
              <p:nvPr/>
            </p:nvSpPr>
            <p:spPr bwMode="auto">
              <a:xfrm>
                <a:off x="4683" y="2488"/>
                <a:ext cx="4" cy="9"/>
              </a:xfrm>
              <a:custGeom>
                <a:avLst/>
                <a:gdLst>
                  <a:gd name="T0" fmla="*/ 2 w 4"/>
                  <a:gd name="T1" fmla="*/ 9 h 9"/>
                  <a:gd name="T2" fmla="*/ 2 w 4"/>
                  <a:gd name="T3" fmla="*/ 9 h 9"/>
                  <a:gd name="T4" fmla="*/ 4 w 4"/>
                  <a:gd name="T5" fmla="*/ 7 h 9"/>
                  <a:gd name="T6" fmla="*/ 4 w 4"/>
                  <a:gd name="T7" fmla="*/ 3 h 9"/>
                  <a:gd name="T8" fmla="*/ 4 w 4"/>
                  <a:gd name="T9" fmla="*/ 2 h 9"/>
                  <a:gd name="T10" fmla="*/ 0 w 4"/>
                  <a:gd name="T11" fmla="*/ 0 h 9"/>
                  <a:gd name="T12" fmla="*/ 0 w 4"/>
                  <a:gd name="T13" fmla="*/ 0 h 9"/>
                  <a:gd name="T14" fmla="*/ 0 w 4"/>
                  <a:gd name="T15" fmla="*/ 3 h 9"/>
                  <a:gd name="T16" fmla="*/ 2 w 4"/>
                  <a:gd name="T17"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9">
                    <a:moveTo>
                      <a:pt x="2" y="9"/>
                    </a:moveTo>
                    <a:lnTo>
                      <a:pt x="2" y="9"/>
                    </a:lnTo>
                    <a:lnTo>
                      <a:pt x="4" y="7"/>
                    </a:lnTo>
                    <a:lnTo>
                      <a:pt x="4" y="3"/>
                    </a:lnTo>
                    <a:lnTo>
                      <a:pt x="4" y="2"/>
                    </a:lnTo>
                    <a:lnTo>
                      <a:pt x="0" y="0"/>
                    </a:lnTo>
                    <a:lnTo>
                      <a:pt x="0" y="0"/>
                    </a:lnTo>
                    <a:lnTo>
                      <a:pt x="0" y="3"/>
                    </a:lnTo>
                    <a:lnTo>
                      <a:pt x="2"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56" name="Freeform 2910"/>
              <p:cNvSpPr>
                <a:spLocks/>
              </p:cNvSpPr>
              <p:nvPr/>
            </p:nvSpPr>
            <p:spPr bwMode="auto">
              <a:xfrm>
                <a:off x="4683" y="2500"/>
                <a:ext cx="2" cy="2"/>
              </a:xfrm>
              <a:custGeom>
                <a:avLst/>
                <a:gdLst>
                  <a:gd name="T0" fmla="*/ 2 w 2"/>
                  <a:gd name="T1" fmla="*/ 2 h 2"/>
                  <a:gd name="T2" fmla="*/ 2 w 2"/>
                  <a:gd name="T3" fmla="*/ 2 h 2"/>
                  <a:gd name="T4" fmla="*/ 2 w 2"/>
                  <a:gd name="T5" fmla="*/ 0 h 2"/>
                  <a:gd name="T6" fmla="*/ 0 w 2"/>
                  <a:gd name="T7" fmla="*/ 0 h 2"/>
                  <a:gd name="T8" fmla="*/ 0 w 2"/>
                  <a:gd name="T9" fmla="*/ 0 h 2"/>
                  <a:gd name="T10" fmla="*/ 0 w 2"/>
                  <a:gd name="T11" fmla="*/ 2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lnTo>
                      <a:pt x="2" y="2"/>
                    </a:lnTo>
                    <a:lnTo>
                      <a:pt x="2" y="0"/>
                    </a:lnTo>
                    <a:lnTo>
                      <a:pt x="0" y="0"/>
                    </a:lnTo>
                    <a:lnTo>
                      <a:pt x="0" y="0"/>
                    </a:lnTo>
                    <a:lnTo>
                      <a:pt x="0" y="2"/>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57" name="Freeform 2911"/>
              <p:cNvSpPr>
                <a:spLocks/>
              </p:cNvSpPr>
              <p:nvPr/>
            </p:nvSpPr>
            <p:spPr bwMode="auto">
              <a:xfrm>
                <a:off x="4683" y="2500"/>
                <a:ext cx="2" cy="2"/>
              </a:xfrm>
              <a:custGeom>
                <a:avLst/>
                <a:gdLst>
                  <a:gd name="T0" fmla="*/ 2 w 2"/>
                  <a:gd name="T1" fmla="*/ 2 h 2"/>
                  <a:gd name="T2" fmla="*/ 2 w 2"/>
                  <a:gd name="T3" fmla="*/ 2 h 2"/>
                  <a:gd name="T4" fmla="*/ 2 w 2"/>
                  <a:gd name="T5" fmla="*/ 0 h 2"/>
                  <a:gd name="T6" fmla="*/ 0 w 2"/>
                  <a:gd name="T7" fmla="*/ 0 h 2"/>
                  <a:gd name="T8" fmla="*/ 0 w 2"/>
                  <a:gd name="T9" fmla="*/ 0 h 2"/>
                  <a:gd name="T10" fmla="*/ 0 w 2"/>
                  <a:gd name="T11" fmla="*/ 2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lnTo>
                      <a:pt x="2" y="2"/>
                    </a:lnTo>
                    <a:lnTo>
                      <a:pt x="2" y="0"/>
                    </a:lnTo>
                    <a:lnTo>
                      <a:pt x="0" y="0"/>
                    </a:lnTo>
                    <a:lnTo>
                      <a:pt x="0" y="0"/>
                    </a:lnTo>
                    <a:lnTo>
                      <a:pt x="0" y="2"/>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58" name="Freeform 2912"/>
              <p:cNvSpPr>
                <a:spLocks/>
              </p:cNvSpPr>
              <p:nvPr/>
            </p:nvSpPr>
            <p:spPr bwMode="auto">
              <a:xfrm>
                <a:off x="4680" y="2559"/>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59" name="Freeform 2913"/>
              <p:cNvSpPr>
                <a:spLocks/>
              </p:cNvSpPr>
              <p:nvPr/>
            </p:nvSpPr>
            <p:spPr bwMode="auto">
              <a:xfrm>
                <a:off x="4680" y="2559"/>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60" name="Freeform 2914"/>
              <p:cNvSpPr>
                <a:spLocks/>
              </p:cNvSpPr>
              <p:nvPr/>
            </p:nvSpPr>
            <p:spPr bwMode="auto">
              <a:xfrm>
                <a:off x="4680" y="2550"/>
                <a:ext cx="12" cy="9"/>
              </a:xfrm>
              <a:custGeom>
                <a:avLst/>
                <a:gdLst>
                  <a:gd name="T0" fmla="*/ 0 w 12"/>
                  <a:gd name="T1" fmla="*/ 7 h 9"/>
                  <a:gd name="T2" fmla="*/ 0 w 12"/>
                  <a:gd name="T3" fmla="*/ 7 h 9"/>
                  <a:gd name="T4" fmla="*/ 2 w 12"/>
                  <a:gd name="T5" fmla="*/ 9 h 9"/>
                  <a:gd name="T6" fmla="*/ 2 w 12"/>
                  <a:gd name="T7" fmla="*/ 9 h 9"/>
                  <a:gd name="T8" fmla="*/ 5 w 12"/>
                  <a:gd name="T9" fmla="*/ 9 h 9"/>
                  <a:gd name="T10" fmla="*/ 12 w 12"/>
                  <a:gd name="T11" fmla="*/ 7 h 9"/>
                  <a:gd name="T12" fmla="*/ 12 w 12"/>
                  <a:gd name="T13" fmla="*/ 7 h 9"/>
                  <a:gd name="T14" fmla="*/ 10 w 12"/>
                  <a:gd name="T15" fmla="*/ 4 h 9"/>
                  <a:gd name="T16" fmla="*/ 9 w 12"/>
                  <a:gd name="T17" fmla="*/ 2 h 9"/>
                  <a:gd name="T18" fmla="*/ 7 w 12"/>
                  <a:gd name="T19" fmla="*/ 0 h 9"/>
                  <a:gd name="T20" fmla="*/ 7 w 12"/>
                  <a:gd name="T21" fmla="*/ 0 h 9"/>
                  <a:gd name="T22" fmla="*/ 2 w 12"/>
                  <a:gd name="T23" fmla="*/ 4 h 9"/>
                  <a:gd name="T24" fmla="*/ 0 w 12"/>
                  <a:gd name="T25" fmla="*/ 6 h 9"/>
                  <a:gd name="T26" fmla="*/ 0 w 12"/>
                  <a:gd name="T2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0" y="7"/>
                    </a:moveTo>
                    <a:lnTo>
                      <a:pt x="0" y="7"/>
                    </a:lnTo>
                    <a:lnTo>
                      <a:pt x="2" y="9"/>
                    </a:lnTo>
                    <a:lnTo>
                      <a:pt x="2" y="9"/>
                    </a:lnTo>
                    <a:lnTo>
                      <a:pt x="5" y="9"/>
                    </a:lnTo>
                    <a:lnTo>
                      <a:pt x="12" y="7"/>
                    </a:lnTo>
                    <a:lnTo>
                      <a:pt x="12" y="7"/>
                    </a:lnTo>
                    <a:lnTo>
                      <a:pt x="10" y="4"/>
                    </a:lnTo>
                    <a:lnTo>
                      <a:pt x="9" y="2"/>
                    </a:lnTo>
                    <a:lnTo>
                      <a:pt x="7" y="0"/>
                    </a:lnTo>
                    <a:lnTo>
                      <a:pt x="7" y="0"/>
                    </a:lnTo>
                    <a:lnTo>
                      <a:pt x="2" y="4"/>
                    </a:lnTo>
                    <a:lnTo>
                      <a:pt x="0" y="6"/>
                    </a:lnTo>
                    <a:lnTo>
                      <a:pt x="0"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61" name="Freeform 2915"/>
              <p:cNvSpPr>
                <a:spLocks/>
              </p:cNvSpPr>
              <p:nvPr/>
            </p:nvSpPr>
            <p:spPr bwMode="auto">
              <a:xfrm>
                <a:off x="4680" y="2550"/>
                <a:ext cx="12" cy="9"/>
              </a:xfrm>
              <a:custGeom>
                <a:avLst/>
                <a:gdLst>
                  <a:gd name="T0" fmla="*/ 0 w 12"/>
                  <a:gd name="T1" fmla="*/ 7 h 9"/>
                  <a:gd name="T2" fmla="*/ 0 w 12"/>
                  <a:gd name="T3" fmla="*/ 7 h 9"/>
                  <a:gd name="T4" fmla="*/ 2 w 12"/>
                  <a:gd name="T5" fmla="*/ 9 h 9"/>
                  <a:gd name="T6" fmla="*/ 2 w 12"/>
                  <a:gd name="T7" fmla="*/ 9 h 9"/>
                  <a:gd name="T8" fmla="*/ 5 w 12"/>
                  <a:gd name="T9" fmla="*/ 9 h 9"/>
                  <a:gd name="T10" fmla="*/ 12 w 12"/>
                  <a:gd name="T11" fmla="*/ 7 h 9"/>
                  <a:gd name="T12" fmla="*/ 12 w 12"/>
                  <a:gd name="T13" fmla="*/ 7 h 9"/>
                  <a:gd name="T14" fmla="*/ 10 w 12"/>
                  <a:gd name="T15" fmla="*/ 4 h 9"/>
                  <a:gd name="T16" fmla="*/ 9 w 12"/>
                  <a:gd name="T17" fmla="*/ 2 h 9"/>
                  <a:gd name="T18" fmla="*/ 7 w 12"/>
                  <a:gd name="T19" fmla="*/ 0 h 9"/>
                  <a:gd name="T20" fmla="*/ 7 w 12"/>
                  <a:gd name="T21" fmla="*/ 0 h 9"/>
                  <a:gd name="T22" fmla="*/ 2 w 12"/>
                  <a:gd name="T23" fmla="*/ 4 h 9"/>
                  <a:gd name="T24" fmla="*/ 0 w 12"/>
                  <a:gd name="T25" fmla="*/ 6 h 9"/>
                  <a:gd name="T26" fmla="*/ 0 w 12"/>
                  <a:gd name="T27"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9">
                    <a:moveTo>
                      <a:pt x="0" y="7"/>
                    </a:moveTo>
                    <a:lnTo>
                      <a:pt x="0" y="7"/>
                    </a:lnTo>
                    <a:lnTo>
                      <a:pt x="2" y="9"/>
                    </a:lnTo>
                    <a:lnTo>
                      <a:pt x="2" y="9"/>
                    </a:lnTo>
                    <a:lnTo>
                      <a:pt x="5" y="9"/>
                    </a:lnTo>
                    <a:lnTo>
                      <a:pt x="12" y="7"/>
                    </a:lnTo>
                    <a:lnTo>
                      <a:pt x="12" y="7"/>
                    </a:lnTo>
                    <a:lnTo>
                      <a:pt x="10" y="4"/>
                    </a:lnTo>
                    <a:lnTo>
                      <a:pt x="9" y="2"/>
                    </a:lnTo>
                    <a:lnTo>
                      <a:pt x="7" y="0"/>
                    </a:lnTo>
                    <a:lnTo>
                      <a:pt x="7" y="0"/>
                    </a:lnTo>
                    <a:lnTo>
                      <a:pt x="2" y="4"/>
                    </a:lnTo>
                    <a:lnTo>
                      <a:pt x="0" y="6"/>
                    </a:lnTo>
                    <a:lnTo>
                      <a:pt x="0"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62" name="Freeform 2916"/>
              <p:cNvSpPr>
                <a:spLocks/>
              </p:cNvSpPr>
              <p:nvPr/>
            </p:nvSpPr>
            <p:spPr bwMode="auto">
              <a:xfrm>
                <a:off x="4687" y="2513"/>
                <a:ext cx="23" cy="41"/>
              </a:xfrm>
              <a:custGeom>
                <a:avLst/>
                <a:gdLst>
                  <a:gd name="T0" fmla="*/ 0 w 23"/>
                  <a:gd name="T1" fmla="*/ 0 h 41"/>
                  <a:gd name="T2" fmla="*/ 3 w 23"/>
                  <a:gd name="T3" fmla="*/ 7 h 41"/>
                  <a:gd name="T4" fmla="*/ 7 w 23"/>
                  <a:gd name="T5" fmla="*/ 11 h 41"/>
                  <a:gd name="T6" fmla="*/ 12 w 23"/>
                  <a:gd name="T7" fmla="*/ 12 h 41"/>
                  <a:gd name="T8" fmla="*/ 9 w 23"/>
                  <a:gd name="T9" fmla="*/ 16 h 41"/>
                  <a:gd name="T10" fmla="*/ 11 w 23"/>
                  <a:gd name="T11" fmla="*/ 19 h 41"/>
                  <a:gd name="T12" fmla="*/ 9 w 23"/>
                  <a:gd name="T13" fmla="*/ 18 h 41"/>
                  <a:gd name="T14" fmla="*/ 7 w 23"/>
                  <a:gd name="T15" fmla="*/ 19 h 41"/>
                  <a:gd name="T16" fmla="*/ 3 w 23"/>
                  <a:gd name="T17" fmla="*/ 19 h 41"/>
                  <a:gd name="T18" fmla="*/ 2 w 23"/>
                  <a:gd name="T19" fmla="*/ 16 h 41"/>
                  <a:gd name="T20" fmla="*/ 2 w 23"/>
                  <a:gd name="T21" fmla="*/ 21 h 41"/>
                  <a:gd name="T22" fmla="*/ 3 w 23"/>
                  <a:gd name="T23" fmla="*/ 27 h 41"/>
                  <a:gd name="T24" fmla="*/ 5 w 23"/>
                  <a:gd name="T25" fmla="*/ 25 h 41"/>
                  <a:gd name="T26" fmla="*/ 9 w 23"/>
                  <a:gd name="T27" fmla="*/ 30 h 41"/>
                  <a:gd name="T28" fmla="*/ 9 w 23"/>
                  <a:gd name="T29" fmla="*/ 36 h 41"/>
                  <a:gd name="T30" fmla="*/ 12 w 23"/>
                  <a:gd name="T31" fmla="*/ 41 h 41"/>
                  <a:gd name="T32" fmla="*/ 11 w 23"/>
                  <a:gd name="T33" fmla="*/ 37 h 41"/>
                  <a:gd name="T34" fmla="*/ 14 w 23"/>
                  <a:gd name="T35" fmla="*/ 37 h 41"/>
                  <a:gd name="T36" fmla="*/ 16 w 23"/>
                  <a:gd name="T37" fmla="*/ 36 h 41"/>
                  <a:gd name="T38" fmla="*/ 14 w 23"/>
                  <a:gd name="T39" fmla="*/ 30 h 41"/>
                  <a:gd name="T40" fmla="*/ 12 w 23"/>
                  <a:gd name="T41" fmla="*/ 27 h 41"/>
                  <a:gd name="T42" fmla="*/ 12 w 23"/>
                  <a:gd name="T43" fmla="*/ 23 h 41"/>
                  <a:gd name="T44" fmla="*/ 11 w 23"/>
                  <a:gd name="T45" fmla="*/ 21 h 41"/>
                  <a:gd name="T46" fmla="*/ 16 w 23"/>
                  <a:gd name="T47" fmla="*/ 23 h 41"/>
                  <a:gd name="T48" fmla="*/ 20 w 23"/>
                  <a:gd name="T49" fmla="*/ 25 h 41"/>
                  <a:gd name="T50" fmla="*/ 23 w 23"/>
                  <a:gd name="T51" fmla="*/ 27 h 41"/>
                  <a:gd name="T52" fmla="*/ 20 w 23"/>
                  <a:gd name="T53" fmla="*/ 21 h 41"/>
                  <a:gd name="T54" fmla="*/ 21 w 23"/>
                  <a:gd name="T55" fmla="*/ 21 h 41"/>
                  <a:gd name="T56" fmla="*/ 18 w 23"/>
                  <a:gd name="T57" fmla="*/ 14 h 41"/>
                  <a:gd name="T58" fmla="*/ 20 w 23"/>
                  <a:gd name="T59" fmla="*/ 11 h 41"/>
                  <a:gd name="T60" fmla="*/ 18 w 23"/>
                  <a:gd name="T61" fmla="*/ 9 h 41"/>
                  <a:gd name="T62" fmla="*/ 18 w 23"/>
                  <a:gd name="T63" fmla="*/ 5 h 41"/>
                  <a:gd name="T64" fmla="*/ 16 w 23"/>
                  <a:gd name="T65" fmla="*/ 5 h 41"/>
                  <a:gd name="T66" fmla="*/ 16 w 23"/>
                  <a:gd name="T67" fmla="*/ 3 h 41"/>
                  <a:gd name="T68" fmla="*/ 12 w 23"/>
                  <a:gd name="T69" fmla="*/ 0 h 41"/>
                  <a:gd name="T70" fmla="*/ 7 w 23"/>
                  <a:gd name="T71" fmla="*/ 0 h 41"/>
                  <a:gd name="T72" fmla="*/ 3 w 23"/>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 h="41">
                    <a:moveTo>
                      <a:pt x="0" y="0"/>
                    </a:moveTo>
                    <a:lnTo>
                      <a:pt x="0" y="0"/>
                    </a:lnTo>
                    <a:lnTo>
                      <a:pt x="2" y="3"/>
                    </a:lnTo>
                    <a:lnTo>
                      <a:pt x="3" y="7"/>
                    </a:lnTo>
                    <a:lnTo>
                      <a:pt x="3" y="7"/>
                    </a:lnTo>
                    <a:lnTo>
                      <a:pt x="7" y="11"/>
                    </a:lnTo>
                    <a:lnTo>
                      <a:pt x="12" y="12"/>
                    </a:lnTo>
                    <a:lnTo>
                      <a:pt x="12" y="12"/>
                    </a:lnTo>
                    <a:lnTo>
                      <a:pt x="11" y="14"/>
                    </a:lnTo>
                    <a:lnTo>
                      <a:pt x="9" y="16"/>
                    </a:lnTo>
                    <a:lnTo>
                      <a:pt x="9" y="16"/>
                    </a:lnTo>
                    <a:lnTo>
                      <a:pt x="11" y="19"/>
                    </a:lnTo>
                    <a:lnTo>
                      <a:pt x="11" y="19"/>
                    </a:lnTo>
                    <a:lnTo>
                      <a:pt x="9" y="18"/>
                    </a:lnTo>
                    <a:lnTo>
                      <a:pt x="7" y="19"/>
                    </a:lnTo>
                    <a:lnTo>
                      <a:pt x="7" y="19"/>
                    </a:lnTo>
                    <a:lnTo>
                      <a:pt x="5" y="19"/>
                    </a:lnTo>
                    <a:lnTo>
                      <a:pt x="3" y="19"/>
                    </a:lnTo>
                    <a:lnTo>
                      <a:pt x="2" y="16"/>
                    </a:lnTo>
                    <a:lnTo>
                      <a:pt x="2" y="16"/>
                    </a:lnTo>
                    <a:lnTo>
                      <a:pt x="0" y="18"/>
                    </a:lnTo>
                    <a:lnTo>
                      <a:pt x="2" y="21"/>
                    </a:lnTo>
                    <a:lnTo>
                      <a:pt x="2" y="25"/>
                    </a:lnTo>
                    <a:lnTo>
                      <a:pt x="3" y="27"/>
                    </a:lnTo>
                    <a:lnTo>
                      <a:pt x="3" y="27"/>
                    </a:lnTo>
                    <a:lnTo>
                      <a:pt x="5" y="25"/>
                    </a:lnTo>
                    <a:lnTo>
                      <a:pt x="5" y="27"/>
                    </a:lnTo>
                    <a:lnTo>
                      <a:pt x="9" y="30"/>
                    </a:lnTo>
                    <a:lnTo>
                      <a:pt x="9" y="30"/>
                    </a:lnTo>
                    <a:lnTo>
                      <a:pt x="9" y="36"/>
                    </a:lnTo>
                    <a:lnTo>
                      <a:pt x="9" y="39"/>
                    </a:lnTo>
                    <a:lnTo>
                      <a:pt x="12" y="41"/>
                    </a:lnTo>
                    <a:lnTo>
                      <a:pt x="12" y="41"/>
                    </a:lnTo>
                    <a:lnTo>
                      <a:pt x="11" y="37"/>
                    </a:lnTo>
                    <a:lnTo>
                      <a:pt x="11" y="37"/>
                    </a:lnTo>
                    <a:lnTo>
                      <a:pt x="14" y="37"/>
                    </a:lnTo>
                    <a:lnTo>
                      <a:pt x="16" y="36"/>
                    </a:lnTo>
                    <a:lnTo>
                      <a:pt x="16" y="36"/>
                    </a:lnTo>
                    <a:lnTo>
                      <a:pt x="14" y="30"/>
                    </a:lnTo>
                    <a:lnTo>
                      <a:pt x="14" y="30"/>
                    </a:lnTo>
                    <a:lnTo>
                      <a:pt x="12" y="28"/>
                    </a:lnTo>
                    <a:lnTo>
                      <a:pt x="12" y="27"/>
                    </a:lnTo>
                    <a:lnTo>
                      <a:pt x="12" y="27"/>
                    </a:lnTo>
                    <a:lnTo>
                      <a:pt x="12" y="23"/>
                    </a:lnTo>
                    <a:lnTo>
                      <a:pt x="11" y="21"/>
                    </a:lnTo>
                    <a:lnTo>
                      <a:pt x="11" y="21"/>
                    </a:lnTo>
                    <a:lnTo>
                      <a:pt x="14" y="23"/>
                    </a:lnTo>
                    <a:lnTo>
                      <a:pt x="16" y="23"/>
                    </a:lnTo>
                    <a:lnTo>
                      <a:pt x="16" y="23"/>
                    </a:lnTo>
                    <a:lnTo>
                      <a:pt x="20" y="25"/>
                    </a:lnTo>
                    <a:lnTo>
                      <a:pt x="23" y="27"/>
                    </a:lnTo>
                    <a:lnTo>
                      <a:pt x="23" y="27"/>
                    </a:lnTo>
                    <a:lnTo>
                      <a:pt x="23" y="23"/>
                    </a:lnTo>
                    <a:lnTo>
                      <a:pt x="20" y="21"/>
                    </a:lnTo>
                    <a:lnTo>
                      <a:pt x="20" y="21"/>
                    </a:lnTo>
                    <a:lnTo>
                      <a:pt x="21" y="21"/>
                    </a:lnTo>
                    <a:lnTo>
                      <a:pt x="20" y="18"/>
                    </a:lnTo>
                    <a:lnTo>
                      <a:pt x="18" y="14"/>
                    </a:lnTo>
                    <a:lnTo>
                      <a:pt x="18" y="14"/>
                    </a:lnTo>
                    <a:lnTo>
                      <a:pt x="20" y="11"/>
                    </a:lnTo>
                    <a:lnTo>
                      <a:pt x="18" y="9"/>
                    </a:lnTo>
                    <a:lnTo>
                      <a:pt x="18" y="9"/>
                    </a:lnTo>
                    <a:lnTo>
                      <a:pt x="20" y="7"/>
                    </a:lnTo>
                    <a:lnTo>
                      <a:pt x="18" y="5"/>
                    </a:lnTo>
                    <a:lnTo>
                      <a:pt x="18" y="5"/>
                    </a:lnTo>
                    <a:lnTo>
                      <a:pt x="16" y="5"/>
                    </a:lnTo>
                    <a:lnTo>
                      <a:pt x="16" y="3"/>
                    </a:lnTo>
                    <a:lnTo>
                      <a:pt x="16" y="3"/>
                    </a:lnTo>
                    <a:lnTo>
                      <a:pt x="14" y="2"/>
                    </a:lnTo>
                    <a:lnTo>
                      <a:pt x="12" y="0"/>
                    </a:lnTo>
                    <a:lnTo>
                      <a:pt x="12" y="0"/>
                    </a:lnTo>
                    <a:lnTo>
                      <a:pt x="7" y="0"/>
                    </a:lnTo>
                    <a:lnTo>
                      <a:pt x="7" y="0"/>
                    </a:lnTo>
                    <a:lnTo>
                      <a:pt x="3"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63" name="Freeform 2917"/>
              <p:cNvSpPr>
                <a:spLocks/>
              </p:cNvSpPr>
              <p:nvPr/>
            </p:nvSpPr>
            <p:spPr bwMode="auto">
              <a:xfrm>
                <a:off x="4687" y="2513"/>
                <a:ext cx="23" cy="41"/>
              </a:xfrm>
              <a:custGeom>
                <a:avLst/>
                <a:gdLst>
                  <a:gd name="T0" fmla="*/ 0 w 23"/>
                  <a:gd name="T1" fmla="*/ 0 h 41"/>
                  <a:gd name="T2" fmla="*/ 3 w 23"/>
                  <a:gd name="T3" fmla="*/ 7 h 41"/>
                  <a:gd name="T4" fmla="*/ 7 w 23"/>
                  <a:gd name="T5" fmla="*/ 11 h 41"/>
                  <a:gd name="T6" fmla="*/ 12 w 23"/>
                  <a:gd name="T7" fmla="*/ 12 h 41"/>
                  <a:gd name="T8" fmla="*/ 9 w 23"/>
                  <a:gd name="T9" fmla="*/ 16 h 41"/>
                  <a:gd name="T10" fmla="*/ 11 w 23"/>
                  <a:gd name="T11" fmla="*/ 19 h 41"/>
                  <a:gd name="T12" fmla="*/ 9 w 23"/>
                  <a:gd name="T13" fmla="*/ 18 h 41"/>
                  <a:gd name="T14" fmla="*/ 7 w 23"/>
                  <a:gd name="T15" fmla="*/ 19 h 41"/>
                  <a:gd name="T16" fmla="*/ 3 w 23"/>
                  <a:gd name="T17" fmla="*/ 19 h 41"/>
                  <a:gd name="T18" fmla="*/ 2 w 23"/>
                  <a:gd name="T19" fmla="*/ 16 h 41"/>
                  <a:gd name="T20" fmla="*/ 2 w 23"/>
                  <a:gd name="T21" fmla="*/ 21 h 41"/>
                  <a:gd name="T22" fmla="*/ 3 w 23"/>
                  <a:gd name="T23" fmla="*/ 27 h 41"/>
                  <a:gd name="T24" fmla="*/ 5 w 23"/>
                  <a:gd name="T25" fmla="*/ 25 h 41"/>
                  <a:gd name="T26" fmla="*/ 9 w 23"/>
                  <a:gd name="T27" fmla="*/ 30 h 41"/>
                  <a:gd name="T28" fmla="*/ 9 w 23"/>
                  <a:gd name="T29" fmla="*/ 36 h 41"/>
                  <a:gd name="T30" fmla="*/ 12 w 23"/>
                  <a:gd name="T31" fmla="*/ 41 h 41"/>
                  <a:gd name="T32" fmla="*/ 11 w 23"/>
                  <a:gd name="T33" fmla="*/ 37 h 41"/>
                  <a:gd name="T34" fmla="*/ 14 w 23"/>
                  <a:gd name="T35" fmla="*/ 37 h 41"/>
                  <a:gd name="T36" fmla="*/ 16 w 23"/>
                  <a:gd name="T37" fmla="*/ 36 h 41"/>
                  <a:gd name="T38" fmla="*/ 14 w 23"/>
                  <a:gd name="T39" fmla="*/ 30 h 41"/>
                  <a:gd name="T40" fmla="*/ 12 w 23"/>
                  <a:gd name="T41" fmla="*/ 27 h 41"/>
                  <a:gd name="T42" fmla="*/ 12 w 23"/>
                  <a:gd name="T43" fmla="*/ 23 h 41"/>
                  <a:gd name="T44" fmla="*/ 11 w 23"/>
                  <a:gd name="T45" fmla="*/ 21 h 41"/>
                  <a:gd name="T46" fmla="*/ 16 w 23"/>
                  <a:gd name="T47" fmla="*/ 23 h 41"/>
                  <a:gd name="T48" fmla="*/ 20 w 23"/>
                  <a:gd name="T49" fmla="*/ 25 h 41"/>
                  <a:gd name="T50" fmla="*/ 23 w 23"/>
                  <a:gd name="T51" fmla="*/ 27 h 41"/>
                  <a:gd name="T52" fmla="*/ 20 w 23"/>
                  <a:gd name="T53" fmla="*/ 21 h 41"/>
                  <a:gd name="T54" fmla="*/ 21 w 23"/>
                  <a:gd name="T55" fmla="*/ 21 h 41"/>
                  <a:gd name="T56" fmla="*/ 18 w 23"/>
                  <a:gd name="T57" fmla="*/ 14 h 41"/>
                  <a:gd name="T58" fmla="*/ 20 w 23"/>
                  <a:gd name="T59" fmla="*/ 11 h 41"/>
                  <a:gd name="T60" fmla="*/ 18 w 23"/>
                  <a:gd name="T61" fmla="*/ 9 h 41"/>
                  <a:gd name="T62" fmla="*/ 18 w 23"/>
                  <a:gd name="T63" fmla="*/ 5 h 41"/>
                  <a:gd name="T64" fmla="*/ 16 w 23"/>
                  <a:gd name="T65" fmla="*/ 5 h 41"/>
                  <a:gd name="T66" fmla="*/ 16 w 23"/>
                  <a:gd name="T67" fmla="*/ 3 h 41"/>
                  <a:gd name="T68" fmla="*/ 12 w 23"/>
                  <a:gd name="T69" fmla="*/ 0 h 41"/>
                  <a:gd name="T70" fmla="*/ 7 w 23"/>
                  <a:gd name="T71" fmla="*/ 0 h 41"/>
                  <a:gd name="T72" fmla="*/ 3 w 23"/>
                  <a:gd name="T73"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3" h="41">
                    <a:moveTo>
                      <a:pt x="0" y="0"/>
                    </a:moveTo>
                    <a:lnTo>
                      <a:pt x="0" y="0"/>
                    </a:lnTo>
                    <a:lnTo>
                      <a:pt x="2" y="3"/>
                    </a:lnTo>
                    <a:lnTo>
                      <a:pt x="3" y="7"/>
                    </a:lnTo>
                    <a:lnTo>
                      <a:pt x="3" y="7"/>
                    </a:lnTo>
                    <a:lnTo>
                      <a:pt x="7" y="11"/>
                    </a:lnTo>
                    <a:lnTo>
                      <a:pt x="12" y="12"/>
                    </a:lnTo>
                    <a:lnTo>
                      <a:pt x="12" y="12"/>
                    </a:lnTo>
                    <a:lnTo>
                      <a:pt x="11" y="14"/>
                    </a:lnTo>
                    <a:lnTo>
                      <a:pt x="9" y="16"/>
                    </a:lnTo>
                    <a:lnTo>
                      <a:pt x="9" y="16"/>
                    </a:lnTo>
                    <a:lnTo>
                      <a:pt x="11" y="19"/>
                    </a:lnTo>
                    <a:lnTo>
                      <a:pt x="11" y="19"/>
                    </a:lnTo>
                    <a:lnTo>
                      <a:pt x="9" y="18"/>
                    </a:lnTo>
                    <a:lnTo>
                      <a:pt x="7" y="19"/>
                    </a:lnTo>
                    <a:lnTo>
                      <a:pt x="7" y="19"/>
                    </a:lnTo>
                    <a:lnTo>
                      <a:pt x="5" y="19"/>
                    </a:lnTo>
                    <a:lnTo>
                      <a:pt x="3" y="19"/>
                    </a:lnTo>
                    <a:lnTo>
                      <a:pt x="2" y="16"/>
                    </a:lnTo>
                    <a:lnTo>
                      <a:pt x="2" y="16"/>
                    </a:lnTo>
                    <a:lnTo>
                      <a:pt x="0" y="18"/>
                    </a:lnTo>
                    <a:lnTo>
                      <a:pt x="2" y="21"/>
                    </a:lnTo>
                    <a:lnTo>
                      <a:pt x="2" y="25"/>
                    </a:lnTo>
                    <a:lnTo>
                      <a:pt x="3" y="27"/>
                    </a:lnTo>
                    <a:lnTo>
                      <a:pt x="3" y="27"/>
                    </a:lnTo>
                    <a:lnTo>
                      <a:pt x="5" y="25"/>
                    </a:lnTo>
                    <a:lnTo>
                      <a:pt x="5" y="27"/>
                    </a:lnTo>
                    <a:lnTo>
                      <a:pt x="9" y="30"/>
                    </a:lnTo>
                    <a:lnTo>
                      <a:pt x="9" y="30"/>
                    </a:lnTo>
                    <a:lnTo>
                      <a:pt x="9" y="36"/>
                    </a:lnTo>
                    <a:lnTo>
                      <a:pt x="9" y="39"/>
                    </a:lnTo>
                    <a:lnTo>
                      <a:pt x="12" y="41"/>
                    </a:lnTo>
                    <a:lnTo>
                      <a:pt x="12" y="41"/>
                    </a:lnTo>
                    <a:lnTo>
                      <a:pt x="11" y="37"/>
                    </a:lnTo>
                    <a:lnTo>
                      <a:pt x="11" y="37"/>
                    </a:lnTo>
                    <a:lnTo>
                      <a:pt x="14" y="37"/>
                    </a:lnTo>
                    <a:lnTo>
                      <a:pt x="16" y="36"/>
                    </a:lnTo>
                    <a:lnTo>
                      <a:pt x="16" y="36"/>
                    </a:lnTo>
                    <a:lnTo>
                      <a:pt x="14" y="30"/>
                    </a:lnTo>
                    <a:lnTo>
                      <a:pt x="14" y="30"/>
                    </a:lnTo>
                    <a:lnTo>
                      <a:pt x="12" y="28"/>
                    </a:lnTo>
                    <a:lnTo>
                      <a:pt x="12" y="27"/>
                    </a:lnTo>
                    <a:lnTo>
                      <a:pt x="12" y="27"/>
                    </a:lnTo>
                    <a:lnTo>
                      <a:pt x="12" y="23"/>
                    </a:lnTo>
                    <a:lnTo>
                      <a:pt x="11" y="21"/>
                    </a:lnTo>
                    <a:lnTo>
                      <a:pt x="11" y="21"/>
                    </a:lnTo>
                    <a:lnTo>
                      <a:pt x="14" y="23"/>
                    </a:lnTo>
                    <a:lnTo>
                      <a:pt x="16" y="23"/>
                    </a:lnTo>
                    <a:lnTo>
                      <a:pt x="16" y="23"/>
                    </a:lnTo>
                    <a:lnTo>
                      <a:pt x="20" y="25"/>
                    </a:lnTo>
                    <a:lnTo>
                      <a:pt x="23" y="27"/>
                    </a:lnTo>
                    <a:lnTo>
                      <a:pt x="23" y="27"/>
                    </a:lnTo>
                    <a:lnTo>
                      <a:pt x="23" y="23"/>
                    </a:lnTo>
                    <a:lnTo>
                      <a:pt x="20" y="21"/>
                    </a:lnTo>
                    <a:lnTo>
                      <a:pt x="20" y="21"/>
                    </a:lnTo>
                    <a:lnTo>
                      <a:pt x="21" y="21"/>
                    </a:lnTo>
                    <a:lnTo>
                      <a:pt x="20" y="18"/>
                    </a:lnTo>
                    <a:lnTo>
                      <a:pt x="18" y="14"/>
                    </a:lnTo>
                    <a:lnTo>
                      <a:pt x="18" y="14"/>
                    </a:lnTo>
                    <a:lnTo>
                      <a:pt x="20" y="11"/>
                    </a:lnTo>
                    <a:lnTo>
                      <a:pt x="18" y="9"/>
                    </a:lnTo>
                    <a:lnTo>
                      <a:pt x="18" y="9"/>
                    </a:lnTo>
                    <a:lnTo>
                      <a:pt x="20" y="7"/>
                    </a:lnTo>
                    <a:lnTo>
                      <a:pt x="18" y="5"/>
                    </a:lnTo>
                    <a:lnTo>
                      <a:pt x="18" y="5"/>
                    </a:lnTo>
                    <a:lnTo>
                      <a:pt x="16" y="5"/>
                    </a:lnTo>
                    <a:lnTo>
                      <a:pt x="16" y="3"/>
                    </a:lnTo>
                    <a:lnTo>
                      <a:pt x="16" y="3"/>
                    </a:lnTo>
                    <a:lnTo>
                      <a:pt x="14" y="2"/>
                    </a:lnTo>
                    <a:lnTo>
                      <a:pt x="12" y="0"/>
                    </a:lnTo>
                    <a:lnTo>
                      <a:pt x="12" y="0"/>
                    </a:lnTo>
                    <a:lnTo>
                      <a:pt x="7" y="0"/>
                    </a:lnTo>
                    <a:lnTo>
                      <a:pt x="7" y="0"/>
                    </a:lnTo>
                    <a:lnTo>
                      <a:pt x="3"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64" name="Freeform 2918"/>
              <p:cNvSpPr>
                <a:spLocks/>
              </p:cNvSpPr>
              <p:nvPr/>
            </p:nvSpPr>
            <p:spPr bwMode="auto">
              <a:xfrm>
                <a:off x="4689" y="2527"/>
                <a:ext cx="3" cy="4"/>
              </a:xfrm>
              <a:custGeom>
                <a:avLst/>
                <a:gdLst>
                  <a:gd name="T0" fmla="*/ 1 w 3"/>
                  <a:gd name="T1" fmla="*/ 4 h 4"/>
                  <a:gd name="T2" fmla="*/ 1 w 3"/>
                  <a:gd name="T3" fmla="*/ 4 h 4"/>
                  <a:gd name="T4" fmla="*/ 3 w 3"/>
                  <a:gd name="T5" fmla="*/ 2 h 4"/>
                  <a:gd name="T6" fmla="*/ 3 w 3"/>
                  <a:gd name="T7" fmla="*/ 0 h 4"/>
                  <a:gd name="T8" fmla="*/ 1 w 3"/>
                  <a:gd name="T9" fmla="*/ 0 h 4"/>
                  <a:gd name="T10" fmla="*/ 0 w 3"/>
                  <a:gd name="T11" fmla="*/ 0 h 4"/>
                  <a:gd name="T12" fmla="*/ 0 w 3"/>
                  <a:gd name="T13" fmla="*/ 0 h 4"/>
                  <a:gd name="T14" fmla="*/ 0 w 3"/>
                  <a:gd name="T15" fmla="*/ 2 h 4"/>
                  <a:gd name="T16" fmla="*/ 1 w 3"/>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1" y="4"/>
                    </a:moveTo>
                    <a:lnTo>
                      <a:pt x="1" y="4"/>
                    </a:lnTo>
                    <a:lnTo>
                      <a:pt x="3" y="2"/>
                    </a:lnTo>
                    <a:lnTo>
                      <a:pt x="3" y="0"/>
                    </a:lnTo>
                    <a:lnTo>
                      <a:pt x="1" y="0"/>
                    </a:lnTo>
                    <a:lnTo>
                      <a:pt x="0" y="0"/>
                    </a:lnTo>
                    <a:lnTo>
                      <a:pt x="0" y="0"/>
                    </a:lnTo>
                    <a:lnTo>
                      <a:pt x="0" y="2"/>
                    </a:lnTo>
                    <a:lnTo>
                      <a:pt x="1"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65" name="Freeform 2919"/>
              <p:cNvSpPr>
                <a:spLocks/>
              </p:cNvSpPr>
              <p:nvPr/>
            </p:nvSpPr>
            <p:spPr bwMode="auto">
              <a:xfrm>
                <a:off x="4689" y="2527"/>
                <a:ext cx="3" cy="4"/>
              </a:xfrm>
              <a:custGeom>
                <a:avLst/>
                <a:gdLst>
                  <a:gd name="T0" fmla="*/ 1 w 3"/>
                  <a:gd name="T1" fmla="*/ 4 h 4"/>
                  <a:gd name="T2" fmla="*/ 1 w 3"/>
                  <a:gd name="T3" fmla="*/ 4 h 4"/>
                  <a:gd name="T4" fmla="*/ 3 w 3"/>
                  <a:gd name="T5" fmla="*/ 2 h 4"/>
                  <a:gd name="T6" fmla="*/ 3 w 3"/>
                  <a:gd name="T7" fmla="*/ 0 h 4"/>
                  <a:gd name="T8" fmla="*/ 1 w 3"/>
                  <a:gd name="T9" fmla="*/ 0 h 4"/>
                  <a:gd name="T10" fmla="*/ 0 w 3"/>
                  <a:gd name="T11" fmla="*/ 0 h 4"/>
                  <a:gd name="T12" fmla="*/ 0 w 3"/>
                  <a:gd name="T13" fmla="*/ 0 h 4"/>
                  <a:gd name="T14" fmla="*/ 0 w 3"/>
                  <a:gd name="T15" fmla="*/ 2 h 4"/>
                  <a:gd name="T16" fmla="*/ 1 w 3"/>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1" y="4"/>
                    </a:moveTo>
                    <a:lnTo>
                      <a:pt x="1" y="4"/>
                    </a:lnTo>
                    <a:lnTo>
                      <a:pt x="3" y="2"/>
                    </a:lnTo>
                    <a:lnTo>
                      <a:pt x="3" y="0"/>
                    </a:lnTo>
                    <a:lnTo>
                      <a:pt x="1" y="0"/>
                    </a:lnTo>
                    <a:lnTo>
                      <a:pt x="0" y="0"/>
                    </a:lnTo>
                    <a:lnTo>
                      <a:pt x="0" y="0"/>
                    </a:lnTo>
                    <a:lnTo>
                      <a:pt x="0" y="2"/>
                    </a:lnTo>
                    <a:lnTo>
                      <a:pt x="1"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66" name="Freeform 2920"/>
              <p:cNvSpPr>
                <a:spLocks/>
              </p:cNvSpPr>
              <p:nvPr/>
            </p:nvSpPr>
            <p:spPr bwMode="auto">
              <a:xfrm>
                <a:off x="4692" y="2566"/>
                <a:ext cx="4" cy="2"/>
              </a:xfrm>
              <a:custGeom>
                <a:avLst/>
                <a:gdLst>
                  <a:gd name="T0" fmla="*/ 4 w 4"/>
                  <a:gd name="T1" fmla="*/ 2 h 2"/>
                  <a:gd name="T2" fmla="*/ 4 w 4"/>
                  <a:gd name="T3" fmla="*/ 2 h 2"/>
                  <a:gd name="T4" fmla="*/ 4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4" y="0"/>
                    </a:lnTo>
                    <a:lnTo>
                      <a:pt x="2" y="0"/>
                    </a:lnTo>
                    <a:lnTo>
                      <a:pt x="0" y="0"/>
                    </a:lnTo>
                    <a:lnTo>
                      <a:pt x="0" y="0"/>
                    </a:lnTo>
                    <a:lnTo>
                      <a:pt x="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67" name="Freeform 2921"/>
              <p:cNvSpPr>
                <a:spLocks/>
              </p:cNvSpPr>
              <p:nvPr/>
            </p:nvSpPr>
            <p:spPr bwMode="auto">
              <a:xfrm>
                <a:off x="4692" y="2566"/>
                <a:ext cx="4" cy="2"/>
              </a:xfrm>
              <a:custGeom>
                <a:avLst/>
                <a:gdLst>
                  <a:gd name="T0" fmla="*/ 4 w 4"/>
                  <a:gd name="T1" fmla="*/ 2 h 2"/>
                  <a:gd name="T2" fmla="*/ 4 w 4"/>
                  <a:gd name="T3" fmla="*/ 2 h 2"/>
                  <a:gd name="T4" fmla="*/ 4 w 4"/>
                  <a:gd name="T5" fmla="*/ 0 h 2"/>
                  <a:gd name="T6" fmla="*/ 2 w 4"/>
                  <a:gd name="T7" fmla="*/ 0 h 2"/>
                  <a:gd name="T8" fmla="*/ 0 w 4"/>
                  <a:gd name="T9" fmla="*/ 0 h 2"/>
                  <a:gd name="T10" fmla="*/ 0 w 4"/>
                  <a:gd name="T11" fmla="*/ 0 h 2"/>
                  <a:gd name="T12" fmla="*/ 4 w 4"/>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4" h="2">
                    <a:moveTo>
                      <a:pt x="4" y="2"/>
                    </a:moveTo>
                    <a:lnTo>
                      <a:pt x="4" y="2"/>
                    </a:lnTo>
                    <a:lnTo>
                      <a:pt x="4" y="0"/>
                    </a:lnTo>
                    <a:lnTo>
                      <a:pt x="2" y="0"/>
                    </a:lnTo>
                    <a:lnTo>
                      <a:pt x="0" y="0"/>
                    </a:lnTo>
                    <a:lnTo>
                      <a:pt x="0" y="0"/>
                    </a:lnTo>
                    <a:lnTo>
                      <a:pt x="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68" name="Freeform 2922"/>
              <p:cNvSpPr>
                <a:spLocks/>
              </p:cNvSpPr>
              <p:nvPr/>
            </p:nvSpPr>
            <p:spPr bwMode="auto">
              <a:xfrm>
                <a:off x="4701" y="2554"/>
                <a:ext cx="2" cy="2"/>
              </a:xfrm>
              <a:custGeom>
                <a:avLst/>
                <a:gdLst>
                  <a:gd name="T0" fmla="*/ 0 w 2"/>
                  <a:gd name="T1" fmla="*/ 0 h 2"/>
                  <a:gd name="T2" fmla="*/ 0 w 2"/>
                  <a:gd name="T3" fmla="*/ 0 h 2"/>
                  <a:gd name="T4" fmla="*/ 2 w 2"/>
                  <a:gd name="T5" fmla="*/ 2 h 2"/>
                  <a:gd name="T6" fmla="*/ 2 w 2"/>
                  <a:gd name="T7" fmla="*/ 2 h 2"/>
                  <a:gd name="T8" fmla="*/ 2 w 2"/>
                  <a:gd name="T9" fmla="*/ 0 h 2"/>
                  <a:gd name="T10" fmla="*/ 0 w 2"/>
                  <a:gd name="T11" fmla="*/ 0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0" y="0"/>
                    </a:lnTo>
                    <a:lnTo>
                      <a:pt x="2" y="2"/>
                    </a:lnTo>
                    <a:lnTo>
                      <a:pt x="2" y="2"/>
                    </a:lnTo>
                    <a:lnTo>
                      <a:pt x="2" y="0"/>
                    </a:lnTo>
                    <a:lnTo>
                      <a:pt x="0" y="0"/>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69" name="Freeform 2923"/>
              <p:cNvSpPr>
                <a:spLocks/>
              </p:cNvSpPr>
              <p:nvPr/>
            </p:nvSpPr>
            <p:spPr bwMode="auto">
              <a:xfrm>
                <a:off x="4701" y="2554"/>
                <a:ext cx="2" cy="2"/>
              </a:xfrm>
              <a:custGeom>
                <a:avLst/>
                <a:gdLst>
                  <a:gd name="T0" fmla="*/ 0 w 2"/>
                  <a:gd name="T1" fmla="*/ 0 h 2"/>
                  <a:gd name="T2" fmla="*/ 0 w 2"/>
                  <a:gd name="T3" fmla="*/ 0 h 2"/>
                  <a:gd name="T4" fmla="*/ 2 w 2"/>
                  <a:gd name="T5" fmla="*/ 2 h 2"/>
                  <a:gd name="T6" fmla="*/ 2 w 2"/>
                  <a:gd name="T7" fmla="*/ 2 h 2"/>
                  <a:gd name="T8" fmla="*/ 2 w 2"/>
                  <a:gd name="T9" fmla="*/ 0 h 2"/>
                  <a:gd name="T10" fmla="*/ 0 w 2"/>
                  <a:gd name="T11" fmla="*/ 0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0" y="0"/>
                    </a:lnTo>
                    <a:lnTo>
                      <a:pt x="2" y="2"/>
                    </a:lnTo>
                    <a:lnTo>
                      <a:pt x="2" y="2"/>
                    </a:lnTo>
                    <a:lnTo>
                      <a:pt x="2" y="0"/>
                    </a:lnTo>
                    <a:lnTo>
                      <a:pt x="0" y="0"/>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70" name="Freeform 2924"/>
              <p:cNvSpPr>
                <a:spLocks/>
              </p:cNvSpPr>
              <p:nvPr/>
            </p:nvSpPr>
            <p:spPr bwMode="auto">
              <a:xfrm>
                <a:off x="4707" y="2549"/>
                <a:ext cx="3" cy="8"/>
              </a:xfrm>
              <a:custGeom>
                <a:avLst/>
                <a:gdLst>
                  <a:gd name="T0" fmla="*/ 1 w 3"/>
                  <a:gd name="T1" fmla="*/ 7 h 8"/>
                  <a:gd name="T2" fmla="*/ 1 w 3"/>
                  <a:gd name="T3" fmla="*/ 7 h 8"/>
                  <a:gd name="T4" fmla="*/ 1 w 3"/>
                  <a:gd name="T5" fmla="*/ 8 h 8"/>
                  <a:gd name="T6" fmla="*/ 1 w 3"/>
                  <a:gd name="T7" fmla="*/ 8 h 8"/>
                  <a:gd name="T8" fmla="*/ 1 w 3"/>
                  <a:gd name="T9" fmla="*/ 8 h 8"/>
                  <a:gd name="T10" fmla="*/ 3 w 3"/>
                  <a:gd name="T11" fmla="*/ 8 h 8"/>
                  <a:gd name="T12" fmla="*/ 3 w 3"/>
                  <a:gd name="T13" fmla="*/ 8 h 8"/>
                  <a:gd name="T14" fmla="*/ 3 w 3"/>
                  <a:gd name="T15" fmla="*/ 5 h 8"/>
                  <a:gd name="T16" fmla="*/ 3 w 3"/>
                  <a:gd name="T17" fmla="*/ 5 h 8"/>
                  <a:gd name="T18" fmla="*/ 1 w 3"/>
                  <a:gd name="T19" fmla="*/ 1 h 8"/>
                  <a:gd name="T20" fmla="*/ 1 w 3"/>
                  <a:gd name="T21" fmla="*/ 1 h 8"/>
                  <a:gd name="T22" fmla="*/ 3 w 3"/>
                  <a:gd name="T23" fmla="*/ 0 h 8"/>
                  <a:gd name="T24" fmla="*/ 3 w 3"/>
                  <a:gd name="T25" fmla="*/ 0 h 8"/>
                  <a:gd name="T26" fmla="*/ 1 w 3"/>
                  <a:gd name="T27" fmla="*/ 0 h 8"/>
                  <a:gd name="T28" fmla="*/ 1 w 3"/>
                  <a:gd name="T29" fmla="*/ 1 h 8"/>
                  <a:gd name="T30" fmla="*/ 0 w 3"/>
                  <a:gd name="T31" fmla="*/ 5 h 8"/>
                  <a:gd name="T32" fmla="*/ 0 w 3"/>
                  <a:gd name="T33" fmla="*/ 5 h 8"/>
                  <a:gd name="T34" fmla="*/ 1 w 3"/>
                  <a:gd name="T35" fmla="*/ 5 h 8"/>
                  <a:gd name="T36" fmla="*/ 1 w 3"/>
                  <a:gd name="T3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8">
                    <a:moveTo>
                      <a:pt x="1" y="7"/>
                    </a:moveTo>
                    <a:lnTo>
                      <a:pt x="1" y="7"/>
                    </a:lnTo>
                    <a:lnTo>
                      <a:pt x="1" y="8"/>
                    </a:lnTo>
                    <a:lnTo>
                      <a:pt x="1" y="8"/>
                    </a:lnTo>
                    <a:lnTo>
                      <a:pt x="1" y="8"/>
                    </a:lnTo>
                    <a:lnTo>
                      <a:pt x="3" y="8"/>
                    </a:lnTo>
                    <a:lnTo>
                      <a:pt x="3" y="8"/>
                    </a:lnTo>
                    <a:lnTo>
                      <a:pt x="3" y="5"/>
                    </a:lnTo>
                    <a:lnTo>
                      <a:pt x="3" y="5"/>
                    </a:lnTo>
                    <a:lnTo>
                      <a:pt x="1" y="1"/>
                    </a:lnTo>
                    <a:lnTo>
                      <a:pt x="1" y="1"/>
                    </a:lnTo>
                    <a:lnTo>
                      <a:pt x="3" y="0"/>
                    </a:lnTo>
                    <a:lnTo>
                      <a:pt x="3" y="0"/>
                    </a:lnTo>
                    <a:lnTo>
                      <a:pt x="1" y="0"/>
                    </a:lnTo>
                    <a:lnTo>
                      <a:pt x="1" y="1"/>
                    </a:lnTo>
                    <a:lnTo>
                      <a:pt x="0" y="5"/>
                    </a:lnTo>
                    <a:lnTo>
                      <a:pt x="0" y="5"/>
                    </a:lnTo>
                    <a:lnTo>
                      <a:pt x="1" y="5"/>
                    </a:lnTo>
                    <a:lnTo>
                      <a:pt x="1"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71" name="Freeform 2925"/>
              <p:cNvSpPr>
                <a:spLocks/>
              </p:cNvSpPr>
              <p:nvPr/>
            </p:nvSpPr>
            <p:spPr bwMode="auto">
              <a:xfrm>
                <a:off x="4707" y="2549"/>
                <a:ext cx="3" cy="8"/>
              </a:xfrm>
              <a:custGeom>
                <a:avLst/>
                <a:gdLst>
                  <a:gd name="T0" fmla="*/ 1 w 3"/>
                  <a:gd name="T1" fmla="*/ 7 h 8"/>
                  <a:gd name="T2" fmla="*/ 1 w 3"/>
                  <a:gd name="T3" fmla="*/ 7 h 8"/>
                  <a:gd name="T4" fmla="*/ 1 w 3"/>
                  <a:gd name="T5" fmla="*/ 8 h 8"/>
                  <a:gd name="T6" fmla="*/ 1 w 3"/>
                  <a:gd name="T7" fmla="*/ 8 h 8"/>
                  <a:gd name="T8" fmla="*/ 1 w 3"/>
                  <a:gd name="T9" fmla="*/ 8 h 8"/>
                  <a:gd name="T10" fmla="*/ 3 w 3"/>
                  <a:gd name="T11" fmla="*/ 8 h 8"/>
                  <a:gd name="T12" fmla="*/ 3 w 3"/>
                  <a:gd name="T13" fmla="*/ 8 h 8"/>
                  <a:gd name="T14" fmla="*/ 3 w 3"/>
                  <a:gd name="T15" fmla="*/ 5 h 8"/>
                  <a:gd name="T16" fmla="*/ 3 w 3"/>
                  <a:gd name="T17" fmla="*/ 5 h 8"/>
                  <a:gd name="T18" fmla="*/ 1 w 3"/>
                  <a:gd name="T19" fmla="*/ 1 h 8"/>
                  <a:gd name="T20" fmla="*/ 1 w 3"/>
                  <a:gd name="T21" fmla="*/ 1 h 8"/>
                  <a:gd name="T22" fmla="*/ 3 w 3"/>
                  <a:gd name="T23" fmla="*/ 0 h 8"/>
                  <a:gd name="T24" fmla="*/ 3 w 3"/>
                  <a:gd name="T25" fmla="*/ 0 h 8"/>
                  <a:gd name="T26" fmla="*/ 1 w 3"/>
                  <a:gd name="T27" fmla="*/ 0 h 8"/>
                  <a:gd name="T28" fmla="*/ 1 w 3"/>
                  <a:gd name="T29" fmla="*/ 1 h 8"/>
                  <a:gd name="T30" fmla="*/ 0 w 3"/>
                  <a:gd name="T31" fmla="*/ 5 h 8"/>
                  <a:gd name="T32" fmla="*/ 0 w 3"/>
                  <a:gd name="T33" fmla="*/ 5 h 8"/>
                  <a:gd name="T34" fmla="*/ 1 w 3"/>
                  <a:gd name="T35" fmla="*/ 5 h 8"/>
                  <a:gd name="T36" fmla="*/ 1 w 3"/>
                  <a:gd name="T37"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 h="8">
                    <a:moveTo>
                      <a:pt x="1" y="7"/>
                    </a:moveTo>
                    <a:lnTo>
                      <a:pt x="1" y="7"/>
                    </a:lnTo>
                    <a:lnTo>
                      <a:pt x="1" y="8"/>
                    </a:lnTo>
                    <a:lnTo>
                      <a:pt x="1" y="8"/>
                    </a:lnTo>
                    <a:lnTo>
                      <a:pt x="1" y="8"/>
                    </a:lnTo>
                    <a:lnTo>
                      <a:pt x="3" y="8"/>
                    </a:lnTo>
                    <a:lnTo>
                      <a:pt x="3" y="8"/>
                    </a:lnTo>
                    <a:lnTo>
                      <a:pt x="3" y="5"/>
                    </a:lnTo>
                    <a:lnTo>
                      <a:pt x="3" y="5"/>
                    </a:lnTo>
                    <a:lnTo>
                      <a:pt x="1" y="1"/>
                    </a:lnTo>
                    <a:lnTo>
                      <a:pt x="1" y="1"/>
                    </a:lnTo>
                    <a:lnTo>
                      <a:pt x="3" y="0"/>
                    </a:lnTo>
                    <a:lnTo>
                      <a:pt x="3" y="0"/>
                    </a:lnTo>
                    <a:lnTo>
                      <a:pt x="1" y="0"/>
                    </a:lnTo>
                    <a:lnTo>
                      <a:pt x="1" y="1"/>
                    </a:lnTo>
                    <a:lnTo>
                      <a:pt x="0" y="5"/>
                    </a:lnTo>
                    <a:lnTo>
                      <a:pt x="0" y="5"/>
                    </a:lnTo>
                    <a:lnTo>
                      <a:pt x="1" y="5"/>
                    </a:lnTo>
                    <a:lnTo>
                      <a:pt x="1"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72" name="Freeform 2926"/>
              <p:cNvSpPr>
                <a:spLocks/>
              </p:cNvSpPr>
              <p:nvPr/>
            </p:nvSpPr>
            <p:spPr bwMode="auto">
              <a:xfrm>
                <a:off x="4714" y="2559"/>
                <a:ext cx="0" cy="4"/>
              </a:xfrm>
              <a:custGeom>
                <a:avLst/>
                <a:gdLst>
                  <a:gd name="T0" fmla="*/ 4 h 4"/>
                  <a:gd name="T1" fmla="*/ 4 h 4"/>
                  <a:gd name="T2" fmla="*/ 2 h 4"/>
                  <a:gd name="T3" fmla="*/ 0 h 4"/>
                  <a:gd name="T4" fmla="*/ 0 h 4"/>
                  <a:gd name="T5" fmla="*/ 4 h 4"/>
                </a:gdLst>
                <a:ahLst/>
                <a:cxnLst>
                  <a:cxn ang="0">
                    <a:pos x="0" y="T0"/>
                  </a:cxn>
                  <a:cxn ang="0">
                    <a:pos x="0" y="T1"/>
                  </a:cxn>
                  <a:cxn ang="0">
                    <a:pos x="0" y="T2"/>
                  </a:cxn>
                  <a:cxn ang="0">
                    <a:pos x="0" y="T3"/>
                  </a:cxn>
                  <a:cxn ang="0">
                    <a:pos x="0" y="T4"/>
                  </a:cxn>
                  <a:cxn ang="0">
                    <a:pos x="0" y="T5"/>
                  </a:cxn>
                </a:cxnLst>
                <a:rect l="0" t="0" r="r" b="b"/>
                <a:pathLst>
                  <a:path h="4">
                    <a:moveTo>
                      <a:pt x="0" y="4"/>
                    </a:moveTo>
                    <a:lnTo>
                      <a:pt x="0" y="4"/>
                    </a:lnTo>
                    <a:lnTo>
                      <a:pt x="0" y="2"/>
                    </a:lnTo>
                    <a:lnTo>
                      <a:pt x="0" y="0"/>
                    </a:lnTo>
                    <a:lnTo>
                      <a:pt x="0" y="0"/>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73" name="Freeform 2927"/>
              <p:cNvSpPr>
                <a:spLocks/>
              </p:cNvSpPr>
              <p:nvPr/>
            </p:nvSpPr>
            <p:spPr bwMode="auto">
              <a:xfrm>
                <a:off x="4714" y="2559"/>
                <a:ext cx="0" cy="4"/>
              </a:xfrm>
              <a:custGeom>
                <a:avLst/>
                <a:gdLst>
                  <a:gd name="T0" fmla="*/ 4 h 4"/>
                  <a:gd name="T1" fmla="*/ 4 h 4"/>
                  <a:gd name="T2" fmla="*/ 2 h 4"/>
                  <a:gd name="T3" fmla="*/ 0 h 4"/>
                  <a:gd name="T4" fmla="*/ 0 h 4"/>
                  <a:gd name="T5" fmla="*/ 4 h 4"/>
                </a:gdLst>
                <a:ahLst/>
                <a:cxnLst>
                  <a:cxn ang="0">
                    <a:pos x="0" y="T0"/>
                  </a:cxn>
                  <a:cxn ang="0">
                    <a:pos x="0" y="T1"/>
                  </a:cxn>
                  <a:cxn ang="0">
                    <a:pos x="0" y="T2"/>
                  </a:cxn>
                  <a:cxn ang="0">
                    <a:pos x="0" y="T3"/>
                  </a:cxn>
                  <a:cxn ang="0">
                    <a:pos x="0" y="T4"/>
                  </a:cxn>
                  <a:cxn ang="0">
                    <a:pos x="0" y="T5"/>
                  </a:cxn>
                </a:cxnLst>
                <a:rect l="0" t="0" r="r" b="b"/>
                <a:pathLst>
                  <a:path h="4">
                    <a:moveTo>
                      <a:pt x="0" y="4"/>
                    </a:moveTo>
                    <a:lnTo>
                      <a:pt x="0" y="4"/>
                    </a:lnTo>
                    <a:lnTo>
                      <a:pt x="0" y="2"/>
                    </a:lnTo>
                    <a:lnTo>
                      <a:pt x="0" y="0"/>
                    </a:lnTo>
                    <a:lnTo>
                      <a:pt x="0" y="0"/>
                    </a:lnTo>
                    <a:lnTo>
                      <a:pt x="0"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74" name="Freeform 2928"/>
              <p:cNvSpPr>
                <a:spLocks/>
              </p:cNvSpPr>
              <p:nvPr/>
            </p:nvSpPr>
            <p:spPr bwMode="auto">
              <a:xfrm>
                <a:off x="4714" y="2556"/>
                <a:ext cx="3" cy="5"/>
              </a:xfrm>
              <a:custGeom>
                <a:avLst/>
                <a:gdLst>
                  <a:gd name="T0" fmla="*/ 1 w 3"/>
                  <a:gd name="T1" fmla="*/ 0 h 5"/>
                  <a:gd name="T2" fmla="*/ 1 w 3"/>
                  <a:gd name="T3" fmla="*/ 0 h 5"/>
                  <a:gd name="T4" fmla="*/ 0 w 3"/>
                  <a:gd name="T5" fmla="*/ 3 h 5"/>
                  <a:gd name="T6" fmla="*/ 1 w 3"/>
                  <a:gd name="T7" fmla="*/ 3 h 5"/>
                  <a:gd name="T8" fmla="*/ 1 w 3"/>
                  <a:gd name="T9" fmla="*/ 5 h 5"/>
                  <a:gd name="T10" fmla="*/ 1 w 3"/>
                  <a:gd name="T11" fmla="*/ 5 h 5"/>
                  <a:gd name="T12" fmla="*/ 3 w 3"/>
                  <a:gd name="T13" fmla="*/ 3 h 5"/>
                  <a:gd name="T14" fmla="*/ 3 w 3"/>
                  <a:gd name="T15" fmla="*/ 1 h 5"/>
                  <a:gd name="T16" fmla="*/ 1 w 3"/>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1" y="0"/>
                    </a:moveTo>
                    <a:lnTo>
                      <a:pt x="1" y="0"/>
                    </a:lnTo>
                    <a:lnTo>
                      <a:pt x="0" y="3"/>
                    </a:lnTo>
                    <a:lnTo>
                      <a:pt x="1" y="3"/>
                    </a:lnTo>
                    <a:lnTo>
                      <a:pt x="1" y="5"/>
                    </a:lnTo>
                    <a:lnTo>
                      <a:pt x="1" y="5"/>
                    </a:lnTo>
                    <a:lnTo>
                      <a:pt x="3" y="3"/>
                    </a:lnTo>
                    <a:lnTo>
                      <a:pt x="3" y="1"/>
                    </a:lnTo>
                    <a:lnTo>
                      <a:pt x="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75" name="Freeform 2929"/>
              <p:cNvSpPr>
                <a:spLocks/>
              </p:cNvSpPr>
              <p:nvPr/>
            </p:nvSpPr>
            <p:spPr bwMode="auto">
              <a:xfrm>
                <a:off x="4714" y="2556"/>
                <a:ext cx="3" cy="5"/>
              </a:xfrm>
              <a:custGeom>
                <a:avLst/>
                <a:gdLst>
                  <a:gd name="T0" fmla="*/ 1 w 3"/>
                  <a:gd name="T1" fmla="*/ 0 h 5"/>
                  <a:gd name="T2" fmla="*/ 1 w 3"/>
                  <a:gd name="T3" fmla="*/ 0 h 5"/>
                  <a:gd name="T4" fmla="*/ 0 w 3"/>
                  <a:gd name="T5" fmla="*/ 3 h 5"/>
                  <a:gd name="T6" fmla="*/ 1 w 3"/>
                  <a:gd name="T7" fmla="*/ 3 h 5"/>
                  <a:gd name="T8" fmla="*/ 1 w 3"/>
                  <a:gd name="T9" fmla="*/ 5 h 5"/>
                  <a:gd name="T10" fmla="*/ 1 w 3"/>
                  <a:gd name="T11" fmla="*/ 5 h 5"/>
                  <a:gd name="T12" fmla="*/ 3 w 3"/>
                  <a:gd name="T13" fmla="*/ 3 h 5"/>
                  <a:gd name="T14" fmla="*/ 3 w 3"/>
                  <a:gd name="T15" fmla="*/ 1 h 5"/>
                  <a:gd name="T16" fmla="*/ 1 w 3"/>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1" y="0"/>
                    </a:moveTo>
                    <a:lnTo>
                      <a:pt x="1" y="0"/>
                    </a:lnTo>
                    <a:lnTo>
                      <a:pt x="0" y="3"/>
                    </a:lnTo>
                    <a:lnTo>
                      <a:pt x="1" y="3"/>
                    </a:lnTo>
                    <a:lnTo>
                      <a:pt x="1" y="5"/>
                    </a:lnTo>
                    <a:lnTo>
                      <a:pt x="1" y="5"/>
                    </a:lnTo>
                    <a:lnTo>
                      <a:pt x="3" y="3"/>
                    </a:lnTo>
                    <a:lnTo>
                      <a:pt x="3" y="1"/>
                    </a:lnTo>
                    <a:lnTo>
                      <a:pt x="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76" name="Freeform 2930"/>
              <p:cNvSpPr>
                <a:spLocks/>
              </p:cNvSpPr>
              <p:nvPr/>
            </p:nvSpPr>
            <p:spPr bwMode="auto">
              <a:xfrm>
                <a:off x="4687" y="2543"/>
                <a:ext cx="2"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77" name="Freeform 2931"/>
              <p:cNvSpPr>
                <a:spLocks/>
              </p:cNvSpPr>
              <p:nvPr/>
            </p:nvSpPr>
            <p:spPr bwMode="auto">
              <a:xfrm>
                <a:off x="4687" y="2543"/>
                <a:ext cx="2" cy="0"/>
              </a:xfrm>
              <a:custGeom>
                <a:avLst/>
                <a:gdLst>
                  <a:gd name="T0" fmla="*/ 2 w 2"/>
                  <a:gd name="T1" fmla="*/ 2 w 2"/>
                  <a:gd name="T2" fmla="*/ 0 w 2"/>
                  <a:gd name="T3" fmla="*/ 0 w 2"/>
                  <a:gd name="T4" fmla="*/ 2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0" y="0"/>
                    </a:lnTo>
                    <a:lnTo>
                      <a:pt x="0" y="0"/>
                    </a:lnTo>
                    <a:lnTo>
                      <a:pt x="2"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78" name="Freeform 2932"/>
              <p:cNvSpPr>
                <a:spLocks/>
              </p:cNvSpPr>
              <p:nvPr/>
            </p:nvSpPr>
            <p:spPr bwMode="auto">
              <a:xfrm>
                <a:off x="4676" y="2532"/>
                <a:ext cx="4" cy="4"/>
              </a:xfrm>
              <a:custGeom>
                <a:avLst/>
                <a:gdLst>
                  <a:gd name="T0" fmla="*/ 0 w 4"/>
                  <a:gd name="T1" fmla="*/ 4 h 4"/>
                  <a:gd name="T2" fmla="*/ 0 w 4"/>
                  <a:gd name="T3" fmla="*/ 4 h 4"/>
                  <a:gd name="T4" fmla="*/ 0 w 4"/>
                  <a:gd name="T5" fmla="*/ 0 h 4"/>
                  <a:gd name="T6" fmla="*/ 2 w 4"/>
                  <a:gd name="T7" fmla="*/ 0 h 4"/>
                  <a:gd name="T8" fmla="*/ 4 w 4"/>
                  <a:gd name="T9" fmla="*/ 2 h 4"/>
                  <a:gd name="T10" fmla="*/ 0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0" y="4"/>
                    </a:moveTo>
                    <a:lnTo>
                      <a:pt x="0" y="4"/>
                    </a:lnTo>
                    <a:lnTo>
                      <a:pt x="0" y="0"/>
                    </a:lnTo>
                    <a:lnTo>
                      <a:pt x="2" y="0"/>
                    </a:lnTo>
                    <a:lnTo>
                      <a:pt x="4" y="2"/>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79" name="Freeform 2933"/>
              <p:cNvSpPr>
                <a:spLocks/>
              </p:cNvSpPr>
              <p:nvPr/>
            </p:nvSpPr>
            <p:spPr bwMode="auto">
              <a:xfrm>
                <a:off x="4676" y="2532"/>
                <a:ext cx="4" cy="4"/>
              </a:xfrm>
              <a:custGeom>
                <a:avLst/>
                <a:gdLst>
                  <a:gd name="T0" fmla="*/ 0 w 4"/>
                  <a:gd name="T1" fmla="*/ 4 h 4"/>
                  <a:gd name="T2" fmla="*/ 0 w 4"/>
                  <a:gd name="T3" fmla="*/ 4 h 4"/>
                  <a:gd name="T4" fmla="*/ 0 w 4"/>
                  <a:gd name="T5" fmla="*/ 0 h 4"/>
                  <a:gd name="T6" fmla="*/ 2 w 4"/>
                  <a:gd name="T7" fmla="*/ 0 h 4"/>
                  <a:gd name="T8" fmla="*/ 4 w 4"/>
                  <a:gd name="T9" fmla="*/ 2 h 4"/>
                  <a:gd name="T10" fmla="*/ 0 w 4"/>
                  <a:gd name="T11" fmla="*/ 4 h 4"/>
                </a:gdLst>
                <a:ahLst/>
                <a:cxnLst>
                  <a:cxn ang="0">
                    <a:pos x="T0" y="T1"/>
                  </a:cxn>
                  <a:cxn ang="0">
                    <a:pos x="T2" y="T3"/>
                  </a:cxn>
                  <a:cxn ang="0">
                    <a:pos x="T4" y="T5"/>
                  </a:cxn>
                  <a:cxn ang="0">
                    <a:pos x="T6" y="T7"/>
                  </a:cxn>
                  <a:cxn ang="0">
                    <a:pos x="T8" y="T9"/>
                  </a:cxn>
                  <a:cxn ang="0">
                    <a:pos x="T10" y="T11"/>
                  </a:cxn>
                </a:cxnLst>
                <a:rect l="0" t="0" r="r" b="b"/>
                <a:pathLst>
                  <a:path w="4" h="4">
                    <a:moveTo>
                      <a:pt x="0" y="4"/>
                    </a:moveTo>
                    <a:lnTo>
                      <a:pt x="0" y="4"/>
                    </a:lnTo>
                    <a:lnTo>
                      <a:pt x="0" y="0"/>
                    </a:lnTo>
                    <a:lnTo>
                      <a:pt x="2" y="0"/>
                    </a:lnTo>
                    <a:lnTo>
                      <a:pt x="4" y="2"/>
                    </a:lnTo>
                    <a:lnTo>
                      <a:pt x="0"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80" name="Freeform 2934"/>
              <p:cNvSpPr>
                <a:spLocks/>
              </p:cNvSpPr>
              <p:nvPr/>
            </p:nvSpPr>
            <p:spPr bwMode="auto">
              <a:xfrm>
                <a:off x="4698" y="2845"/>
                <a:ext cx="35" cy="18"/>
              </a:xfrm>
              <a:custGeom>
                <a:avLst/>
                <a:gdLst>
                  <a:gd name="T0" fmla="*/ 0 w 35"/>
                  <a:gd name="T1" fmla="*/ 14 h 18"/>
                  <a:gd name="T2" fmla="*/ 0 w 35"/>
                  <a:gd name="T3" fmla="*/ 14 h 18"/>
                  <a:gd name="T4" fmla="*/ 0 w 35"/>
                  <a:gd name="T5" fmla="*/ 18 h 18"/>
                  <a:gd name="T6" fmla="*/ 1 w 35"/>
                  <a:gd name="T7" fmla="*/ 18 h 18"/>
                  <a:gd name="T8" fmla="*/ 5 w 35"/>
                  <a:gd name="T9" fmla="*/ 16 h 18"/>
                  <a:gd name="T10" fmla="*/ 5 w 35"/>
                  <a:gd name="T11" fmla="*/ 16 h 18"/>
                  <a:gd name="T12" fmla="*/ 17 w 35"/>
                  <a:gd name="T13" fmla="*/ 11 h 18"/>
                  <a:gd name="T14" fmla="*/ 17 w 35"/>
                  <a:gd name="T15" fmla="*/ 11 h 18"/>
                  <a:gd name="T16" fmla="*/ 26 w 35"/>
                  <a:gd name="T17" fmla="*/ 7 h 18"/>
                  <a:gd name="T18" fmla="*/ 32 w 35"/>
                  <a:gd name="T19" fmla="*/ 5 h 18"/>
                  <a:gd name="T20" fmla="*/ 35 w 35"/>
                  <a:gd name="T21" fmla="*/ 2 h 18"/>
                  <a:gd name="T22" fmla="*/ 35 w 35"/>
                  <a:gd name="T23" fmla="*/ 2 h 18"/>
                  <a:gd name="T24" fmla="*/ 35 w 35"/>
                  <a:gd name="T25" fmla="*/ 0 h 18"/>
                  <a:gd name="T26" fmla="*/ 34 w 35"/>
                  <a:gd name="T27" fmla="*/ 0 h 18"/>
                  <a:gd name="T28" fmla="*/ 30 w 35"/>
                  <a:gd name="T29" fmla="*/ 0 h 18"/>
                  <a:gd name="T30" fmla="*/ 30 w 35"/>
                  <a:gd name="T31" fmla="*/ 0 h 18"/>
                  <a:gd name="T32" fmla="*/ 19 w 35"/>
                  <a:gd name="T33" fmla="*/ 2 h 18"/>
                  <a:gd name="T34" fmla="*/ 19 w 35"/>
                  <a:gd name="T35" fmla="*/ 2 h 18"/>
                  <a:gd name="T36" fmla="*/ 7 w 35"/>
                  <a:gd name="T37" fmla="*/ 4 h 18"/>
                  <a:gd name="T38" fmla="*/ 7 w 35"/>
                  <a:gd name="T39" fmla="*/ 4 h 18"/>
                  <a:gd name="T40" fmla="*/ 1 w 35"/>
                  <a:gd name="T41" fmla="*/ 5 h 18"/>
                  <a:gd name="T42" fmla="*/ 1 w 35"/>
                  <a:gd name="T43" fmla="*/ 5 h 18"/>
                  <a:gd name="T44" fmla="*/ 0 w 35"/>
                  <a:gd name="T45" fmla="*/ 9 h 18"/>
                  <a:gd name="T46" fmla="*/ 0 w 35"/>
                  <a:gd name="T47" fmla="*/ 9 h 18"/>
                  <a:gd name="T48" fmla="*/ 1 w 35"/>
                  <a:gd name="T49" fmla="*/ 11 h 18"/>
                  <a:gd name="T50" fmla="*/ 0 w 35"/>
                  <a:gd name="T51"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 h="18">
                    <a:moveTo>
                      <a:pt x="0" y="14"/>
                    </a:moveTo>
                    <a:lnTo>
                      <a:pt x="0" y="14"/>
                    </a:lnTo>
                    <a:lnTo>
                      <a:pt x="0" y="18"/>
                    </a:lnTo>
                    <a:lnTo>
                      <a:pt x="1" y="18"/>
                    </a:lnTo>
                    <a:lnTo>
                      <a:pt x="5" y="16"/>
                    </a:lnTo>
                    <a:lnTo>
                      <a:pt x="5" y="16"/>
                    </a:lnTo>
                    <a:lnTo>
                      <a:pt x="17" y="11"/>
                    </a:lnTo>
                    <a:lnTo>
                      <a:pt x="17" y="11"/>
                    </a:lnTo>
                    <a:lnTo>
                      <a:pt x="26" y="7"/>
                    </a:lnTo>
                    <a:lnTo>
                      <a:pt x="32" y="5"/>
                    </a:lnTo>
                    <a:lnTo>
                      <a:pt x="35" y="2"/>
                    </a:lnTo>
                    <a:lnTo>
                      <a:pt x="35" y="2"/>
                    </a:lnTo>
                    <a:lnTo>
                      <a:pt x="35" y="0"/>
                    </a:lnTo>
                    <a:lnTo>
                      <a:pt x="34" y="0"/>
                    </a:lnTo>
                    <a:lnTo>
                      <a:pt x="30" y="0"/>
                    </a:lnTo>
                    <a:lnTo>
                      <a:pt x="30" y="0"/>
                    </a:lnTo>
                    <a:lnTo>
                      <a:pt x="19" y="2"/>
                    </a:lnTo>
                    <a:lnTo>
                      <a:pt x="19" y="2"/>
                    </a:lnTo>
                    <a:lnTo>
                      <a:pt x="7" y="4"/>
                    </a:lnTo>
                    <a:lnTo>
                      <a:pt x="7" y="4"/>
                    </a:lnTo>
                    <a:lnTo>
                      <a:pt x="1" y="5"/>
                    </a:lnTo>
                    <a:lnTo>
                      <a:pt x="1" y="5"/>
                    </a:lnTo>
                    <a:lnTo>
                      <a:pt x="0" y="9"/>
                    </a:lnTo>
                    <a:lnTo>
                      <a:pt x="0" y="9"/>
                    </a:lnTo>
                    <a:lnTo>
                      <a:pt x="1" y="11"/>
                    </a:lnTo>
                    <a:lnTo>
                      <a:pt x="0" y="1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81" name="Freeform 2935"/>
              <p:cNvSpPr>
                <a:spLocks/>
              </p:cNvSpPr>
              <p:nvPr/>
            </p:nvSpPr>
            <p:spPr bwMode="auto">
              <a:xfrm>
                <a:off x="4698" y="2845"/>
                <a:ext cx="35" cy="18"/>
              </a:xfrm>
              <a:custGeom>
                <a:avLst/>
                <a:gdLst>
                  <a:gd name="T0" fmla="*/ 0 w 35"/>
                  <a:gd name="T1" fmla="*/ 14 h 18"/>
                  <a:gd name="T2" fmla="*/ 0 w 35"/>
                  <a:gd name="T3" fmla="*/ 14 h 18"/>
                  <a:gd name="T4" fmla="*/ 0 w 35"/>
                  <a:gd name="T5" fmla="*/ 18 h 18"/>
                  <a:gd name="T6" fmla="*/ 1 w 35"/>
                  <a:gd name="T7" fmla="*/ 18 h 18"/>
                  <a:gd name="T8" fmla="*/ 5 w 35"/>
                  <a:gd name="T9" fmla="*/ 16 h 18"/>
                  <a:gd name="T10" fmla="*/ 5 w 35"/>
                  <a:gd name="T11" fmla="*/ 16 h 18"/>
                  <a:gd name="T12" fmla="*/ 17 w 35"/>
                  <a:gd name="T13" fmla="*/ 11 h 18"/>
                  <a:gd name="T14" fmla="*/ 17 w 35"/>
                  <a:gd name="T15" fmla="*/ 11 h 18"/>
                  <a:gd name="T16" fmla="*/ 26 w 35"/>
                  <a:gd name="T17" fmla="*/ 7 h 18"/>
                  <a:gd name="T18" fmla="*/ 32 w 35"/>
                  <a:gd name="T19" fmla="*/ 5 h 18"/>
                  <a:gd name="T20" fmla="*/ 35 w 35"/>
                  <a:gd name="T21" fmla="*/ 2 h 18"/>
                  <a:gd name="T22" fmla="*/ 35 w 35"/>
                  <a:gd name="T23" fmla="*/ 2 h 18"/>
                  <a:gd name="T24" fmla="*/ 35 w 35"/>
                  <a:gd name="T25" fmla="*/ 0 h 18"/>
                  <a:gd name="T26" fmla="*/ 34 w 35"/>
                  <a:gd name="T27" fmla="*/ 0 h 18"/>
                  <a:gd name="T28" fmla="*/ 30 w 35"/>
                  <a:gd name="T29" fmla="*/ 0 h 18"/>
                  <a:gd name="T30" fmla="*/ 30 w 35"/>
                  <a:gd name="T31" fmla="*/ 0 h 18"/>
                  <a:gd name="T32" fmla="*/ 19 w 35"/>
                  <a:gd name="T33" fmla="*/ 2 h 18"/>
                  <a:gd name="T34" fmla="*/ 19 w 35"/>
                  <a:gd name="T35" fmla="*/ 2 h 18"/>
                  <a:gd name="T36" fmla="*/ 7 w 35"/>
                  <a:gd name="T37" fmla="*/ 4 h 18"/>
                  <a:gd name="T38" fmla="*/ 7 w 35"/>
                  <a:gd name="T39" fmla="*/ 4 h 18"/>
                  <a:gd name="T40" fmla="*/ 1 w 35"/>
                  <a:gd name="T41" fmla="*/ 5 h 18"/>
                  <a:gd name="T42" fmla="*/ 1 w 35"/>
                  <a:gd name="T43" fmla="*/ 5 h 18"/>
                  <a:gd name="T44" fmla="*/ 0 w 35"/>
                  <a:gd name="T45" fmla="*/ 9 h 18"/>
                  <a:gd name="T46" fmla="*/ 0 w 35"/>
                  <a:gd name="T47" fmla="*/ 9 h 18"/>
                  <a:gd name="T48" fmla="*/ 1 w 35"/>
                  <a:gd name="T49" fmla="*/ 11 h 18"/>
                  <a:gd name="T50" fmla="*/ 0 w 35"/>
                  <a:gd name="T51"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5" h="18">
                    <a:moveTo>
                      <a:pt x="0" y="14"/>
                    </a:moveTo>
                    <a:lnTo>
                      <a:pt x="0" y="14"/>
                    </a:lnTo>
                    <a:lnTo>
                      <a:pt x="0" y="18"/>
                    </a:lnTo>
                    <a:lnTo>
                      <a:pt x="1" y="18"/>
                    </a:lnTo>
                    <a:lnTo>
                      <a:pt x="5" y="16"/>
                    </a:lnTo>
                    <a:lnTo>
                      <a:pt x="5" y="16"/>
                    </a:lnTo>
                    <a:lnTo>
                      <a:pt x="17" y="11"/>
                    </a:lnTo>
                    <a:lnTo>
                      <a:pt x="17" y="11"/>
                    </a:lnTo>
                    <a:lnTo>
                      <a:pt x="26" y="7"/>
                    </a:lnTo>
                    <a:lnTo>
                      <a:pt x="32" y="5"/>
                    </a:lnTo>
                    <a:lnTo>
                      <a:pt x="35" y="2"/>
                    </a:lnTo>
                    <a:lnTo>
                      <a:pt x="35" y="2"/>
                    </a:lnTo>
                    <a:lnTo>
                      <a:pt x="35" y="0"/>
                    </a:lnTo>
                    <a:lnTo>
                      <a:pt x="34" y="0"/>
                    </a:lnTo>
                    <a:lnTo>
                      <a:pt x="30" y="0"/>
                    </a:lnTo>
                    <a:lnTo>
                      <a:pt x="30" y="0"/>
                    </a:lnTo>
                    <a:lnTo>
                      <a:pt x="19" y="2"/>
                    </a:lnTo>
                    <a:lnTo>
                      <a:pt x="19" y="2"/>
                    </a:lnTo>
                    <a:lnTo>
                      <a:pt x="7" y="4"/>
                    </a:lnTo>
                    <a:lnTo>
                      <a:pt x="7" y="4"/>
                    </a:lnTo>
                    <a:lnTo>
                      <a:pt x="1" y="5"/>
                    </a:lnTo>
                    <a:lnTo>
                      <a:pt x="1" y="5"/>
                    </a:lnTo>
                    <a:lnTo>
                      <a:pt x="0" y="9"/>
                    </a:lnTo>
                    <a:lnTo>
                      <a:pt x="0" y="9"/>
                    </a:lnTo>
                    <a:lnTo>
                      <a:pt x="1" y="11"/>
                    </a:lnTo>
                    <a:lnTo>
                      <a:pt x="0" y="1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82" name="Freeform 2936"/>
              <p:cNvSpPr>
                <a:spLocks/>
              </p:cNvSpPr>
              <p:nvPr/>
            </p:nvSpPr>
            <p:spPr bwMode="auto">
              <a:xfrm>
                <a:off x="4678" y="2859"/>
                <a:ext cx="11" cy="6"/>
              </a:xfrm>
              <a:custGeom>
                <a:avLst/>
                <a:gdLst>
                  <a:gd name="T0" fmla="*/ 0 w 11"/>
                  <a:gd name="T1" fmla="*/ 4 h 6"/>
                  <a:gd name="T2" fmla="*/ 0 w 11"/>
                  <a:gd name="T3" fmla="*/ 4 h 6"/>
                  <a:gd name="T4" fmla="*/ 5 w 11"/>
                  <a:gd name="T5" fmla="*/ 2 h 6"/>
                  <a:gd name="T6" fmla="*/ 11 w 11"/>
                  <a:gd name="T7" fmla="*/ 0 h 6"/>
                  <a:gd name="T8" fmla="*/ 11 w 11"/>
                  <a:gd name="T9" fmla="*/ 0 h 6"/>
                  <a:gd name="T10" fmla="*/ 9 w 11"/>
                  <a:gd name="T11" fmla="*/ 2 h 6"/>
                  <a:gd name="T12" fmla="*/ 7 w 11"/>
                  <a:gd name="T13" fmla="*/ 6 h 6"/>
                  <a:gd name="T14" fmla="*/ 7 w 11"/>
                  <a:gd name="T15" fmla="*/ 6 h 6"/>
                  <a:gd name="T16" fmla="*/ 5 w 11"/>
                  <a:gd name="T17" fmla="*/ 4 h 6"/>
                  <a:gd name="T18" fmla="*/ 5 w 11"/>
                  <a:gd name="T19" fmla="*/ 4 h 6"/>
                  <a:gd name="T20" fmla="*/ 4 w 11"/>
                  <a:gd name="T21" fmla="*/ 4 h 6"/>
                  <a:gd name="T22" fmla="*/ 0 w 11"/>
                  <a:gd name="T2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6">
                    <a:moveTo>
                      <a:pt x="0" y="4"/>
                    </a:moveTo>
                    <a:lnTo>
                      <a:pt x="0" y="4"/>
                    </a:lnTo>
                    <a:lnTo>
                      <a:pt x="5" y="2"/>
                    </a:lnTo>
                    <a:lnTo>
                      <a:pt x="11" y="0"/>
                    </a:lnTo>
                    <a:lnTo>
                      <a:pt x="11" y="0"/>
                    </a:lnTo>
                    <a:lnTo>
                      <a:pt x="9" y="2"/>
                    </a:lnTo>
                    <a:lnTo>
                      <a:pt x="7" y="6"/>
                    </a:lnTo>
                    <a:lnTo>
                      <a:pt x="7" y="6"/>
                    </a:lnTo>
                    <a:lnTo>
                      <a:pt x="5" y="4"/>
                    </a:lnTo>
                    <a:lnTo>
                      <a:pt x="5" y="4"/>
                    </a:lnTo>
                    <a:lnTo>
                      <a:pt x="4" y="4"/>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83" name="Freeform 2937"/>
              <p:cNvSpPr>
                <a:spLocks/>
              </p:cNvSpPr>
              <p:nvPr/>
            </p:nvSpPr>
            <p:spPr bwMode="auto">
              <a:xfrm>
                <a:off x="4678" y="2859"/>
                <a:ext cx="11" cy="6"/>
              </a:xfrm>
              <a:custGeom>
                <a:avLst/>
                <a:gdLst>
                  <a:gd name="T0" fmla="*/ 0 w 11"/>
                  <a:gd name="T1" fmla="*/ 4 h 6"/>
                  <a:gd name="T2" fmla="*/ 0 w 11"/>
                  <a:gd name="T3" fmla="*/ 4 h 6"/>
                  <a:gd name="T4" fmla="*/ 5 w 11"/>
                  <a:gd name="T5" fmla="*/ 2 h 6"/>
                  <a:gd name="T6" fmla="*/ 11 w 11"/>
                  <a:gd name="T7" fmla="*/ 0 h 6"/>
                  <a:gd name="T8" fmla="*/ 11 w 11"/>
                  <a:gd name="T9" fmla="*/ 0 h 6"/>
                  <a:gd name="T10" fmla="*/ 9 w 11"/>
                  <a:gd name="T11" fmla="*/ 2 h 6"/>
                  <a:gd name="T12" fmla="*/ 7 w 11"/>
                  <a:gd name="T13" fmla="*/ 6 h 6"/>
                  <a:gd name="T14" fmla="*/ 7 w 11"/>
                  <a:gd name="T15" fmla="*/ 6 h 6"/>
                  <a:gd name="T16" fmla="*/ 5 w 11"/>
                  <a:gd name="T17" fmla="*/ 4 h 6"/>
                  <a:gd name="T18" fmla="*/ 5 w 11"/>
                  <a:gd name="T19" fmla="*/ 4 h 6"/>
                  <a:gd name="T20" fmla="*/ 4 w 11"/>
                  <a:gd name="T21" fmla="*/ 4 h 6"/>
                  <a:gd name="T22" fmla="*/ 0 w 11"/>
                  <a:gd name="T23"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6">
                    <a:moveTo>
                      <a:pt x="0" y="4"/>
                    </a:moveTo>
                    <a:lnTo>
                      <a:pt x="0" y="4"/>
                    </a:lnTo>
                    <a:lnTo>
                      <a:pt x="5" y="2"/>
                    </a:lnTo>
                    <a:lnTo>
                      <a:pt x="11" y="0"/>
                    </a:lnTo>
                    <a:lnTo>
                      <a:pt x="11" y="0"/>
                    </a:lnTo>
                    <a:lnTo>
                      <a:pt x="9" y="2"/>
                    </a:lnTo>
                    <a:lnTo>
                      <a:pt x="7" y="6"/>
                    </a:lnTo>
                    <a:lnTo>
                      <a:pt x="7" y="6"/>
                    </a:lnTo>
                    <a:lnTo>
                      <a:pt x="5" y="4"/>
                    </a:lnTo>
                    <a:lnTo>
                      <a:pt x="5" y="4"/>
                    </a:lnTo>
                    <a:lnTo>
                      <a:pt x="4" y="4"/>
                    </a:lnTo>
                    <a:lnTo>
                      <a:pt x="0"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84" name="Freeform 2938"/>
              <p:cNvSpPr>
                <a:spLocks/>
              </p:cNvSpPr>
              <p:nvPr/>
            </p:nvSpPr>
            <p:spPr bwMode="auto">
              <a:xfrm>
                <a:off x="4764" y="2132"/>
                <a:ext cx="1" cy="4"/>
              </a:xfrm>
              <a:custGeom>
                <a:avLst/>
                <a:gdLst>
                  <a:gd name="T0" fmla="*/ 0 w 1"/>
                  <a:gd name="T1" fmla="*/ 0 h 4"/>
                  <a:gd name="T2" fmla="*/ 0 w 1"/>
                  <a:gd name="T3" fmla="*/ 2 h 4"/>
                  <a:gd name="T4" fmla="*/ 0 w 1"/>
                  <a:gd name="T5" fmla="*/ 4 h 4"/>
                  <a:gd name="T6" fmla="*/ 1 w 1"/>
                  <a:gd name="T7" fmla="*/ 2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lnTo>
                      <a:pt x="0" y="2"/>
                    </a:lnTo>
                    <a:lnTo>
                      <a:pt x="0" y="4"/>
                    </a:lnTo>
                    <a:lnTo>
                      <a:pt x="1"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85" name="Freeform 2939"/>
              <p:cNvSpPr>
                <a:spLocks/>
              </p:cNvSpPr>
              <p:nvPr/>
            </p:nvSpPr>
            <p:spPr bwMode="auto">
              <a:xfrm>
                <a:off x="4764" y="2132"/>
                <a:ext cx="1" cy="4"/>
              </a:xfrm>
              <a:custGeom>
                <a:avLst/>
                <a:gdLst>
                  <a:gd name="T0" fmla="*/ 0 w 1"/>
                  <a:gd name="T1" fmla="*/ 0 h 4"/>
                  <a:gd name="T2" fmla="*/ 0 w 1"/>
                  <a:gd name="T3" fmla="*/ 2 h 4"/>
                  <a:gd name="T4" fmla="*/ 0 w 1"/>
                  <a:gd name="T5" fmla="*/ 4 h 4"/>
                  <a:gd name="T6" fmla="*/ 1 w 1"/>
                  <a:gd name="T7" fmla="*/ 2 h 4"/>
                  <a:gd name="T8" fmla="*/ 0 w 1"/>
                  <a:gd name="T9" fmla="*/ 0 h 4"/>
                </a:gdLst>
                <a:ahLst/>
                <a:cxnLst>
                  <a:cxn ang="0">
                    <a:pos x="T0" y="T1"/>
                  </a:cxn>
                  <a:cxn ang="0">
                    <a:pos x="T2" y="T3"/>
                  </a:cxn>
                  <a:cxn ang="0">
                    <a:pos x="T4" y="T5"/>
                  </a:cxn>
                  <a:cxn ang="0">
                    <a:pos x="T6" y="T7"/>
                  </a:cxn>
                  <a:cxn ang="0">
                    <a:pos x="T8" y="T9"/>
                  </a:cxn>
                </a:cxnLst>
                <a:rect l="0" t="0" r="r" b="b"/>
                <a:pathLst>
                  <a:path w="1" h="4">
                    <a:moveTo>
                      <a:pt x="0" y="0"/>
                    </a:moveTo>
                    <a:lnTo>
                      <a:pt x="0" y="2"/>
                    </a:lnTo>
                    <a:lnTo>
                      <a:pt x="0" y="4"/>
                    </a:lnTo>
                    <a:lnTo>
                      <a:pt x="1"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86" name="Freeform 2940"/>
              <p:cNvSpPr>
                <a:spLocks/>
              </p:cNvSpPr>
              <p:nvPr/>
            </p:nvSpPr>
            <p:spPr bwMode="auto">
              <a:xfrm>
                <a:off x="4765" y="2125"/>
                <a:ext cx="2" cy="6"/>
              </a:xfrm>
              <a:custGeom>
                <a:avLst/>
                <a:gdLst>
                  <a:gd name="T0" fmla="*/ 2 w 2"/>
                  <a:gd name="T1" fmla="*/ 0 h 6"/>
                  <a:gd name="T2" fmla="*/ 2 w 2"/>
                  <a:gd name="T3" fmla="*/ 0 h 6"/>
                  <a:gd name="T4" fmla="*/ 2 w 2"/>
                  <a:gd name="T5" fmla="*/ 4 h 6"/>
                  <a:gd name="T6" fmla="*/ 2 w 2"/>
                  <a:gd name="T7" fmla="*/ 6 h 6"/>
                  <a:gd name="T8" fmla="*/ 0 w 2"/>
                  <a:gd name="T9" fmla="*/ 4 h 6"/>
                  <a:gd name="T10" fmla="*/ 0 w 2"/>
                  <a:gd name="T11" fmla="*/ 2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2" y="4"/>
                    </a:lnTo>
                    <a:lnTo>
                      <a:pt x="2" y="6"/>
                    </a:lnTo>
                    <a:lnTo>
                      <a:pt x="0" y="4"/>
                    </a:lnTo>
                    <a:lnTo>
                      <a:pt x="0"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87" name="Freeform 2941"/>
              <p:cNvSpPr>
                <a:spLocks/>
              </p:cNvSpPr>
              <p:nvPr/>
            </p:nvSpPr>
            <p:spPr bwMode="auto">
              <a:xfrm>
                <a:off x="4765" y="2125"/>
                <a:ext cx="2" cy="6"/>
              </a:xfrm>
              <a:custGeom>
                <a:avLst/>
                <a:gdLst>
                  <a:gd name="T0" fmla="*/ 2 w 2"/>
                  <a:gd name="T1" fmla="*/ 0 h 6"/>
                  <a:gd name="T2" fmla="*/ 2 w 2"/>
                  <a:gd name="T3" fmla="*/ 0 h 6"/>
                  <a:gd name="T4" fmla="*/ 2 w 2"/>
                  <a:gd name="T5" fmla="*/ 4 h 6"/>
                  <a:gd name="T6" fmla="*/ 2 w 2"/>
                  <a:gd name="T7" fmla="*/ 6 h 6"/>
                  <a:gd name="T8" fmla="*/ 0 w 2"/>
                  <a:gd name="T9" fmla="*/ 4 h 6"/>
                  <a:gd name="T10" fmla="*/ 0 w 2"/>
                  <a:gd name="T11" fmla="*/ 2 h 6"/>
                  <a:gd name="T12" fmla="*/ 2 w 2"/>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2" h="6">
                    <a:moveTo>
                      <a:pt x="2" y="0"/>
                    </a:moveTo>
                    <a:lnTo>
                      <a:pt x="2" y="0"/>
                    </a:lnTo>
                    <a:lnTo>
                      <a:pt x="2" y="4"/>
                    </a:lnTo>
                    <a:lnTo>
                      <a:pt x="2" y="6"/>
                    </a:lnTo>
                    <a:lnTo>
                      <a:pt x="0" y="4"/>
                    </a:lnTo>
                    <a:lnTo>
                      <a:pt x="0"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888" name="Freeform 2942"/>
              <p:cNvSpPr>
                <a:spLocks/>
              </p:cNvSpPr>
              <p:nvPr/>
            </p:nvSpPr>
            <p:spPr bwMode="auto">
              <a:xfrm>
                <a:off x="4789" y="2068"/>
                <a:ext cx="3" cy="2"/>
              </a:xfrm>
              <a:custGeom>
                <a:avLst/>
                <a:gdLst>
                  <a:gd name="T0" fmla="*/ 1 w 3"/>
                  <a:gd name="T1" fmla="*/ 0 h 2"/>
                  <a:gd name="T2" fmla="*/ 0 w 3"/>
                  <a:gd name="T3" fmla="*/ 0 h 2"/>
                  <a:gd name="T4" fmla="*/ 0 w 3"/>
                  <a:gd name="T5" fmla="*/ 0 h 2"/>
                  <a:gd name="T6" fmla="*/ 1 w 3"/>
                  <a:gd name="T7" fmla="*/ 2 h 2"/>
                  <a:gd name="T8" fmla="*/ 3 w 3"/>
                  <a:gd name="T9" fmla="*/ 0 h 2"/>
                  <a:gd name="T10" fmla="*/ 1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1" y="0"/>
                    </a:moveTo>
                    <a:lnTo>
                      <a:pt x="0" y="0"/>
                    </a:lnTo>
                    <a:lnTo>
                      <a:pt x="0" y="0"/>
                    </a:lnTo>
                    <a:lnTo>
                      <a:pt x="1" y="2"/>
                    </a:lnTo>
                    <a:lnTo>
                      <a:pt x="3" y="0"/>
                    </a:lnTo>
                    <a:lnTo>
                      <a:pt x="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grpSp>
        <p:grpSp>
          <p:nvGrpSpPr>
            <p:cNvPr id="148" name="Group 3144"/>
            <p:cNvGrpSpPr>
              <a:grpSpLocks/>
            </p:cNvGrpSpPr>
            <p:nvPr/>
          </p:nvGrpSpPr>
          <p:grpSpPr bwMode="auto">
            <a:xfrm>
              <a:off x="2451716" y="1409960"/>
              <a:ext cx="7013069" cy="4796129"/>
              <a:chOff x="1386" y="677"/>
              <a:chExt cx="4356" cy="2979"/>
            </a:xfrm>
            <a:solidFill>
              <a:schemeClr val="bg1">
                <a:lumMod val="85000"/>
              </a:schemeClr>
            </a:solidFill>
          </p:grpSpPr>
          <p:sp>
            <p:nvSpPr>
              <p:cNvPr id="489" name="Freeform 2944"/>
              <p:cNvSpPr>
                <a:spLocks/>
              </p:cNvSpPr>
              <p:nvPr/>
            </p:nvSpPr>
            <p:spPr bwMode="auto">
              <a:xfrm>
                <a:off x="4789" y="2068"/>
                <a:ext cx="3" cy="2"/>
              </a:xfrm>
              <a:custGeom>
                <a:avLst/>
                <a:gdLst>
                  <a:gd name="T0" fmla="*/ 1 w 3"/>
                  <a:gd name="T1" fmla="*/ 0 h 2"/>
                  <a:gd name="T2" fmla="*/ 0 w 3"/>
                  <a:gd name="T3" fmla="*/ 0 h 2"/>
                  <a:gd name="T4" fmla="*/ 0 w 3"/>
                  <a:gd name="T5" fmla="*/ 0 h 2"/>
                  <a:gd name="T6" fmla="*/ 1 w 3"/>
                  <a:gd name="T7" fmla="*/ 2 h 2"/>
                  <a:gd name="T8" fmla="*/ 3 w 3"/>
                  <a:gd name="T9" fmla="*/ 0 h 2"/>
                  <a:gd name="T10" fmla="*/ 1 w 3"/>
                  <a:gd name="T11" fmla="*/ 0 h 2"/>
                </a:gdLst>
                <a:ahLst/>
                <a:cxnLst>
                  <a:cxn ang="0">
                    <a:pos x="T0" y="T1"/>
                  </a:cxn>
                  <a:cxn ang="0">
                    <a:pos x="T2" y="T3"/>
                  </a:cxn>
                  <a:cxn ang="0">
                    <a:pos x="T4" y="T5"/>
                  </a:cxn>
                  <a:cxn ang="0">
                    <a:pos x="T6" y="T7"/>
                  </a:cxn>
                  <a:cxn ang="0">
                    <a:pos x="T8" y="T9"/>
                  </a:cxn>
                  <a:cxn ang="0">
                    <a:pos x="T10" y="T11"/>
                  </a:cxn>
                </a:cxnLst>
                <a:rect l="0" t="0" r="r" b="b"/>
                <a:pathLst>
                  <a:path w="3" h="2">
                    <a:moveTo>
                      <a:pt x="1" y="0"/>
                    </a:moveTo>
                    <a:lnTo>
                      <a:pt x="0" y="0"/>
                    </a:lnTo>
                    <a:lnTo>
                      <a:pt x="0" y="0"/>
                    </a:lnTo>
                    <a:lnTo>
                      <a:pt x="1" y="2"/>
                    </a:lnTo>
                    <a:lnTo>
                      <a:pt x="3" y="0"/>
                    </a:lnTo>
                    <a:lnTo>
                      <a:pt x="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90" name="Freeform 2945"/>
              <p:cNvSpPr>
                <a:spLocks/>
              </p:cNvSpPr>
              <p:nvPr/>
            </p:nvSpPr>
            <p:spPr bwMode="auto">
              <a:xfrm>
                <a:off x="4715" y="2147"/>
                <a:ext cx="11" cy="7"/>
              </a:xfrm>
              <a:custGeom>
                <a:avLst/>
                <a:gdLst>
                  <a:gd name="T0" fmla="*/ 2 w 11"/>
                  <a:gd name="T1" fmla="*/ 3 h 7"/>
                  <a:gd name="T2" fmla="*/ 0 w 11"/>
                  <a:gd name="T3" fmla="*/ 5 h 7"/>
                  <a:gd name="T4" fmla="*/ 0 w 11"/>
                  <a:gd name="T5" fmla="*/ 7 h 7"/>
                  <a:gd name="T6" fmla="*/ 8 w 11"/>
                  <a:gd name="T7" fmla="*/ 5 h 7"/>
                  <a:gd name="T8" fmla="*/ 11 w 11"/>
                  <a:gd name="T9" fmla="*/ 3 h 7"/>
                  <a:gd name="T10" fmla="*/ 11 w 11"/>
                  <a:gd name="T11" fmla="*/ 0 h 7"/>
                  <a:gd name="T12" fmla="*/ 8 w 11"/>
                  <a:gd name="T13" fmla="*/ 0 h 7"/>
                  <a:gd name="T14" fmla="*/ 2 w 11"/>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
                    <a:moveTo>
                      <a:pt x="2" y="3"/>
                    </a:moveTo>
                    <a:lnTo>
                      <a:pt x="0" y="5"/>
                    </a:lnTo>
                    <a:lnTo>
                      <a:pt x="0" y="7"/>
                    </a:lnTo>
                    <a:lnTo>
                      <a:pt x="8" y="5"/>
                    </a:lnTo>
                    <a:lnTo>
                      <a:pt x="11" y="3"/>
                    </a:lnTo>
                    <a:lnTo>
                      <a:pt x="11" y="0"/>
                    </a:lnTo>
                    <a:lnTo>
                      <a:pt x="8" y="0"/>
                    </a:lnTo>
                    <a:lnTo>
                      <a:pt x="2"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91" name="Freeform 2946"/>
              <p:cNvSpPr>
                <a:spLocks/>
              </p:cNvSpPr>
              <p:nvPr/>
            </p:nvSpPr>
            <p:spPr bwMode="auto">
              <a:xfrm>
                <a:off x="4715" y="2147"/>
                <a:ext cx="11" cy="7"/>
              </a:xfrm>
              <a:custGeom>
                <a:avLst/>
                <a:gdLst>
                  <a:gd name="T0" fmla="*/ 2 w 11"/>
                  <a:gd name="T1" fmla="*/ 3 h 7"/>
                  <a:gd name="T2" fmla="*/ 0 w 11"/>
                  <a:gd name="T3" fmla="*/ 5 h 7"/>
                  <a:gd name="T4" fmla="*/ 0 w 11"/>
                  <a:gd name="T5" fmla="*/ 7 h 7"/>
                  <a:gd name="T6" fmla="*/ 8 w 11"/>
                  <a:gd name="T7" fmla="*/ 5 h 7"/>
                  <a:gd name="T8" fmla="*/ 11 w 11"/>
                  <a:gd name="T9" fmla="*/ 3 h 7"/>
                  <a:gd name="T10" fmla="*/ 11 w 11"/>
                  <a:gd name="T11" fmla="*/ 0 h 7"/>
                  <a:gd name="T12" fmla="*/ 8 w 11"/>
                  <a:gd name="T13" fmla="*/ 0 h 7"/>
                  <a:gd name="T14" fmla="*/ 2 w 11"/>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
                    <a:moveTo>
                      <a:pt x="2" y="3"/>
                    </a:moveTo>
                    <a:lnTo>
                      <a:pt x="0" y="5"/>
                    </a:lnTo>
                    <a:lnTo>
                      <a:pt x="0" y="7"/>
                    </a:lnTo>
                    <a:lnTo>
                      <a:pt x="8" y="5"/>
                    </a:lnTo>
                    <a:lnTo>
                      <a:pt x="11" y="3"/>
                    </a:lnTo>
                    <a:lnTo>
                      <a:pt x="11" y="0"/>
                    </a:lnTo>
                    <a:lnTo>
                      <a:pt x="8" y="0"/>
                    </a:lnTo>
                    <a:lnTo>
                      <a:pt x="2"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92" name="Freeform 2947"/>
              <p:cNvSpPr>
                <a:spLocks/>
              </p:cNvSpPr>
              <p:nvPr/>
            </p:nvSpPr>
            <p:spPr bwMode="auto">
              <a:xfrm>
                <a:off x="4878" y="2891"/>
                <a:ext cx="4" cy="6"/>
              </a:xfrm>
              <a:custGeom>
                <a:avLst/>
                <a:gdLst>
                  <a:gd name="T0" fmla="*/ 0 w 4"/>
                  <a:gd name="T1" fmla="*/ 6 h 6"/>
                  <a:gd name="T2" fmla="*/ 0 w 4"/>
                  <a:gd name="T3" fmla="*/ 6 h 6"/>
                  <a:gd name="T4" fmla="*/ 0 w 4"/>
                  <a:gd name="T5" fmla="*/ 2 h 6"/>
                  <a:gd name="T6" fmla="*/ 2 w 4"/>
                  <a:gd name="T7" fmla="*/ 0 h 6"/>
                  <a:gd name="T8" fmla="*/ 4 w 4"/>
                  <a:gd name="T9" fmla="*/ 0 h 6"/>
                  <a:gd name="T10" fmla="*/ 4 w 4"/>
                  <a:gd name="T11" fmla="*/ 2 h 6"/>
                  <a:gd name="T12" fmla="*/ 0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6"/>
                    </a:moveTo>
                    <a:lnTo>
                      <a:pt x="0" y="6"/>
                    </a:lnTo>
                    <a:lnTo>
                      <a:pt x="0" y="2"/>
                    </a:lnTo>
                    <a:lnTo>
                      <a:pt x="2" y="0"/>
                    </a:lnTo>
                    <a:lnTo>
                      <a:pt x="4" y="0"/>
                    </a:lnTo>
                    <a:lnTo>
                      <a:pt x="4" y="2"/>
                    </a:lnTo>
                    <a:lnTo>
                      <a:pt x="0"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93" name="Freeform 2948"/>
              <p:cNvSpPr>
                <a:spLocks/>
              </p:cNvSpPr>
              <p:nvPr/>
            </p:nvSpPr>
            <p:spPr bwMode="auto">
              <a:xfrm>
                <a:off x="4878" y="2891"/>
                <a:ext cx="4" cy="6"/>
              </a:xfrm>
              <a:custGeom>
                <a:avLst/>
                <a:gdLst>
                  <a:gd name="T0" fmla="*/ 0 w 4"/>
                  <a:gd name="T1" fmla="*/ 6 h 6"/>
                  <a:gd name="T2" fmla="*/ 0 w 4"/>
                  <a:gd name="T3" fmla="*/ 6 h 6"/>
                  <a:gd name="T4" fmla="*/ 0 w 4"/>
                  <a:gd name="T5" fmla="*/ 2 h 6"/>
                  <a:gd name="T6" fmla="*/ 2 w 4"/>
                  <a:gd name="T7" fmla="*/ 0 h 6"/>
                  <a:gd name="T8" fmla="*/ 4 w 4"/>
                  <a:gd name="T9" fmla="*/ 0 h 6"/>
                  <a:gd name="T10" fmla="*/ 4 w 4"/>
                  <a:gd name="T11" fmla="*/ 2 h 6"/>
                  <a:gd name="T12" fmla="*/ 0 w 4"/>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4" h="6">
                    <a:moveTo>
                      <a:pt x="0" y="6"/>
                    </a:moveTo>
                    <a:lnTo>
                      <a:pt x="0" y="6"/>
                    </a:lnTo>
                    <a:lnTo>
                      <a:pt x="0" y="2"/>
                    </a:lnTo>
                    <a:lnTo>
                      <a:pt x="2" y="0"/>
                    </a:lnTo>
                    <a:lnTo>
                      <a:pt x="4" y="0"/>
                    </a:lnTo>
                    <a:lnTo>
                      <a:pt x="4" y="2"/>
                    </a:lnTo>
                    <a:lnTo>
                      <a:pt x="0"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94" name="Freeform 2949"/>
              <p:cNvSpPr>
                <a:spLocks/>
              </p:cNvSpPr>
              <p:nvPr/>
            </p:nvSpPr>
            <p:spPr bwMode="auto">
              <a:xfrm>
                <a:off x="4878" y="2934"/>
                <a:ext cx="7" cy="9"/>
              </a:xfrm>
              <a:custGeom>
                <a:avLst/>
                <a:gdLst>
                  <a:gd name="T0" fmla="*/ 0 w 7"/>
                  <a:gd name="T1" fmla="*/ 0 h 9"/>
                  <a:gd name="T2" fmla="*/ 2 w 7"/>
                  <a:gd name="T3" fmla="*/ 0 h 9"/>
                  <a:gd name="T4" fmla="*/ 2 w 7"/>
                  <a:gd name="T5" fmla="*/ 2 h 9"/>
                  <a:gd name="T6" fmla="*/ 4 w 7"/>
                  <a:gd name="T7" fmla="*/ 0 h 9"/>
                  <a:gd name="T8" fmla="*/ 4 w 7"/>
                  <a:gd name="T9" fmla="*/ 2 h 9"/>
                  <a:gd name="T10" fmla="*/ 5 w 7"/>
                  <a:gd name="T11" fmla="*/ 0 h 9"/>
                  <a:gd name="T12" fmla="*/ 7 w 7"/>
                  <a:gd name="T13" fmla="*/ 7 h 9"/>
                  <a:gd name="T14" fmla="*/ 7 w 7"/>
                  <a:gd name="T15" fmla="*/ 7 h 9"/>
                  <a:gd name="T16" fmla="*/ 5 w 7"/>
                  <a:gd name="T17" fmla="*/ 9 h 9"/>
                  <a:gd name="T18" fmla="*/ 2 w 7"/>
                  <a:gd name="T19" fmla="*/ 9 h 9"/>
                  <a:gd name="T20" fmla="*/ 0 w 7"/>
                  <a:gd name="T21" fmla="*/ 7 h 9"/>
                  <a:gd name="T22" fmla="*/ 0 w 7"/>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9">
                    <a:moveTo>
                      <a:pt x="0" y="0"/>
                    </a:moveTo>
                    <a:lnTo>
                      <a:pt x="2" y="0"/>
                    </a:lnTo>
                    <a:lnTo>
                      <a:pt x="2" y="2"/>
                    </a:lnTo>
                    <a:lnTo>
                      <a:pt x="4" y="0"/>
                    </a:lnTo>
                    <a:lnTo>
                      <a:pt x="4" y="2"/>
                    </a:lnTo>
                    <a:lnTo>
                      <a:pt x="5" y="0"/>
                    </a:lnTo>
                    <a:lnTo>
                      <a:pt x="7" y="7"/>
                    </a:lnTo>
                    <a:lnTo>
                      <a:pt x="7" y="7"/>
                    </a:lnTo>
                    <a:lnTo>
                      <a:pt x="5" y="9"/>
                    </a:lnTo>
                    <a:lnTo>
                      <a:pt x="2" y="9"/>
                    </a:lnTo>
                    <a:lnTo>
                      <a:pt x="0" y="7"/>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95" name="Freeform 2950"/>
              <p:cNvSpPr>
                <a:spLocks/>
              </p:cNvSpPr>
              <p:nvPr/>
            </p:nvSpPr>
            <p:spPr bwMode="auto">
              <a:xfrm>
                <a:off x="4878" y="2934"/>
                <a:ext cx="7" cy="9"/>
              </a:xfrm>
              <a:custGeom>
                <a:avLst/>
                <a:gdLst>
                  <a:gd name="T0" fmla="*/ 0 w 7"/>
                  <a:gd name="T1" fmla="*/ 0 h 9"/>
                  <a:gd name="T2" fmla="*/ 2 w 7"/>
                  <a:gd name="T3" fmla="*/ 0 h 9"/>
                  <a:gd name="T4" fmla="*/ 2 w 7"/>
                  <a:gd name="T5" fmla="*/ 2 h 9"/>
                  <a:gd name="T6" fmla="*/ 4 w 7"/>
                  <a:gd name="T7" fmla="*/ 0 h 9"/>
                  <a:gd name="T8" fmla="*/ 4 w 7"/>
                  <a:gd name="T9" fmla="*/ 2 h 9"/>
                  <a:gd name="T10" fmla="*/ 5 w 7"/>
                  <a:gd name="T11" fmla="*/ 0 h 9"/>
                  <a:gd name="T12" fmla="*/ 7 w 7"/>
                  <a:gd name="T13" fmla="*/ 7 h 9"/>
                  <a:gd name="T14" fmla="*/ 7 w 7"/>
                  <a:gd name="T15" fmla="*/ 7 h 9"/>
                  <a:gd name="T16" fmla="*/ 5 w 7"/>
                  <a:gd name="T17" fmla="*/ 9 h 9"/>
                  <a:gd name="T18" fmla="*/ 2 w 7"/>
                  <a:gd name="T19" fmla="*/ 9 h 9"/>
                  <a:gd name="T20" fmla="*/ 0 w 7"/>
                  <a:gd name="T21" fmla="*/ 7 h 9"/>
                  <a:gd name="T22" fmla="*/ 0 w 7"/>
                  <a:gd name="T2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9">
                    <a:moveTo>
                      <a:pt x="0" y="0"/>
                    </a:moveTo>
                    <a:lnTo>
                      <a:pt x="2" y="0"/>
                    </a:lnTo>
                    <a:lnTo>
                      <a:pt x="2" y="2"/>
                    </a:lnTo>
                    <a:lnTo>
                      <a:pt x="4" y="0"/>
                    </a:lnTo>
                    <a:lnTo>
                      <a:pt x="4" y="2"/>
                    </a:lnTo>
                    <a:lnTo>
                      <a:pt x="5" y="0"/>
                    </a:lnTo>
                    <a:lnTo>
                      <a:pt x="7" y="7"/>
                    </a:lnTo>
                    <a:lnTo>
                      <a:pt x="7" y="7"/>
                    </a:lnTo>
                    <a:lnTo>
                      <a:pt x="5" y="9"/>
                    </a:lnTo>
                    <a:lnTo>
                      <a:pt x="2" y="9"/>
                    </a:lnTo>
                    <a:lnTo>
                      <a:pt x="0" y="7"/>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96" name="Freeform 2951"/>
              <p:cNvSpPr>
                <a:spLocks/>
              </p:cNvSpPr>
              <p:nvPr/>
            </p:nvSpPr>
            <p:spPr bwMode="auto">
              <a:xfrm>
                <a:off x="4923" y="2977"/>
                <a:ext cx="9" cy="7"/>
              </a:xfrm>
              <a:custGeom>
                <a:avLst/>
                <a:gdLst>
                  <a:gd name="T0" fmla="*/ 7 w 9"/>
                  <a:gd name="T1" fmla="*/ 0 h 7"/>
                  <a:gd name="T2" fmla="*/ 7 w 9"/>
                  <a:gd name="T3" fmla="*/ 2 h 7"/>
                  <a:gd name="T4" fmla="*/ 9 w 9"/>
                  <a:gd name="T5" fmla="*/ 4 h 7"/>
                  <a:gd name="T6" fmla="*/ 9 w 9"/>
                  <a:gd name="T7" fmla="*/ 4 h 7"/>
                  <a:gd name="T8" fmla="*/ 5 w 9"/>
                  <a:gd name="T9" fmla="*/ 4 h 7"/>
                  <a:gd name="T10" fmla="*/ 5 w 9"/>
                  <a:gd name="T11" fmla="*/ 5 h 7"/>
                  <a:gd name="T12" fmla="*/ 5 w 9"/>
                  <a:gd name="T13" fmla="*/ 5 h 7"/>
                  <a:gd name="T14" fmla="*/ 1 w 9"/>
                  <a:gd name="T15" fmla="*/ 7 h 7"/>
                  <a:gd name="T16" fmla="*/ 0 w 9"/>
                  <a:gd name="T17" fmla="*/ 4 h 7"/>
                  <a:gd name="T18" fmla="*/ 1 w 9"/>
                  <a:gd name="T19" fmla="*/ 2 h 7"/>
                  <a:gd name="T20" fmla="*/ 3 w 9"/>
                  <a:gd name="T21" fmla="*/ 2 h 7"/>
                  <a:gd name="T22" fmla="*/ 5 w 9"/>
                  <a:gd name="T23" fmla="*/ 0 h 7"/>
                  <a:gd name="T24" fmla="*/ 7 w 9"/>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7">
                    <a:moveTo>
                      <a:pt x="7" y="0"/>
                    </a:moveTo>
                    <a:lnTo>
                      <a:pt x="7" y="2"/>
                    </a:lnTo>
                    <a:lnTo>
                      <a:pt x="9" y="4"/>
                    </a:lnTo>
                    <a:lnTo>
                      <a:pt x="9" y="4"/>
                    </a:lnTo>
                    <a:lnTo>
                      <a:pt x="5" y="4"/>
                    </a:lnTo>
                    <a:lnTo>
                      <a:pt x="5" y="5"/>
                    </a:lnTo>
                    <a:lnTo>
                      <a:pt x="5" y="5"/>
                    </a:lnTo>
                    <a:lnTo>
                      <a:pt x="1" y="7"/>
                    </a:lnTo>
                    <a:lnTo>
                      <a:pt x="0" y="4"/>
                    </a:lnTo>
                    <a:lnTo>
                      <a:pt x="1" y="2"/>
                    </a:lnTo>
                    <a:lnTo>
                      <a:pt x="3" y="2"/>
                    </a:lnTo>
                    <a:lnTo>
                      <a:pt x="5" y="0"/>
                    </a:lnTo>
                    <a:lnTo>
                      <a:pt x="7"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97" name="Freeform 2952"/>
              <p:cNvSpPr>
                <a:spLocks/>
              </p:cNvSpPr>
              <p:nvPr/>
            </p:nvSpPr>
            <p:spPr bwMode="auto">
              <a:xfrm>
                <a:off x="4923" y="2977"/>
                <a:ext cx="9" cy="7"/>
              </a:xfrm>
              <a:custGeom>
                <a:avLst/>
                <a:gdLst>
                  <a:gd name="T0" fmla="*/ 7 w 9"/>
                  <a:gd name="T1" fmla="*/ 0 h 7"/>
                  <a:gd name="T2" fmla="*/ 7 w 9"/>
                  <a:gd name="T3" fmla="*/ 2 h 7"/>
                  <a:gd name="T4" fmla="*/ 9 w 9"/>
                  <a:gd name="T5" fmla="*/ 4 h 7"/>
                  <a:gd name="T6" fmla="*/ 9 w 9"/>
                  <a:gd name="T7" fmla="*/ 4 h 7"/>
                  <a:gd name="T8" fmla="*/ 5 w 9"/>
                  <a:gd name="T9" fmla="*/ 4 h 7"/>
                  <a:gd name="T10" fmla="*/ 5 w 9"/>
                  <a:gd name="T11" fmla="*/ 5 h 7"/>
                  <a:gd name="T12" fmla="*/ 5 w 9"/>
                  <a:gd name="T13" fmla="*/ 5 h 7"/>
                  <a:gd name="T14" fmla="*/ 1 w 9"/>
                  <a:gd name="T15" fmla="*/ 7 h 7"/>
                  <a:gd name="T16" fmla="*/ 0 w 9"/>
                  <a:gd name="T17" fmla="*/ 4 h 7"/>
                  <a:gd name="T18" fmla="*/ 1 w 9"/>
                  <a:gd name="T19" fmla="*/ 2 h 7"/>
                  <a:gd name="T20" fmla="*/ 3 w 9"/>
                  <a:gd name="T21" fmla="*/ 2 h 7"/>
                  <a:gd name="T22" fmla="*/ 5 w 9"/>
                  <a:gd name="T23" fmla="*/ 0 h 7"/>
                  <a:gd name="T24" fmla="*/ 7 w 9"/>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7">
                    <a:moveTo>
                      <a:pt x="7" y="0"/>
                    </a:moveTo>
                    <a:lnTo>
                      <a:pt x="7" y="2"/>
                    </a:lnTo>
                    <a:lnTo>
                      <a:pt x="9" y="4"/>
                    </a:lnTo>
                    <a:lnTo>
                      <a:pt x="9" y="4"/>
                    </a:lnTo>
                    <a:lnTo>
                      <a:pt x="5" y="4"/>
                    </a:lnTo>
                    <a:lnTo>
                      <a:pt x="5" y="5"/>
                    </a:lnTo>
                    <a:lnTo>
                      <a:pt x="5" y="5"/>
                    </a:lnTo>
                    <a:lnTo>
                      <a:pt x="1" y="7"/>
                    </a:lnTo>
                    <a:lnTo>
                      <a:pt x="0" y="4"/>
                    </a:lnTo>
                    <a:lnTo>
                      <a:pt x="1" y="2"/>
                    </a:lnTo>
                    <a:lnTo>
                      <a:pt x="3" y="2"/>
                    </a:lnTo>
                    <a:lnTo>
                      <a:pt x="5" y="0"/>
                    </a:lnTo>
                    <a:lnTo>
                      <a:pt x="7"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98" name="Freeform 2953"/>
              <p:cNvSpPr>
                <a:spLocks/>
              </p:cNvSpPr>
              <p:nvPr/>
            </p:nvSpPr>
            <p:spPr bwMode="auto">
              <a:xfrm>
                <a:off x="5144" y="3118"/>
                <a:ext cx="4" cy="18"/>
              </a:xfrm>
              <a:custGeom>
                <a:avLst/>
                <a:gdLst>
                  <a:gd name="T0" fmla="*/ 2 w 4"/>
                  <a:gd name="T1" fmla="*/ 2 h 18"/>
                  <a:gd name="T2" fmla="*/ 2 w 4"/>
                  <a:gd name="T3" fmla="*/ 0 h 18"/>
                  <a:gd name="T4" fmla="*/ 4 w 4"/>
                  <a:gd name="T5" fmla="*/ 6 h 18"/>
                  <a:gd name="T6" fmla="*/ 4 w 4"/>
                  <a:gd name="T7" fmla="*/ 9 h 18"/>
                  <a:gd name="T8" fmla="*/ 2 w 4"/>
                  <a:gd name="T9" fmla="*/ 18 h 18"/>
                  <a:gd name="T10" fmla="*/ 0 w 4"/>
                  <a:gd name="T11" fmla="*/ 18 h 18"/>
                  <a:gd name="T12" fmla="*/ 0 w 4"/>
                  <a:gd name="T13" fmla="*/ 9 h 18"/>
                  <a:gd name="T14" fmla="*/ 2 w 4"/>
                  <a:gd name="T15" fmla="*/ 4 h 18"/>
                  <a:gd name="T16" fmla="*/ 2 w 4"/>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8">
                    <a:moveTo>
                      <a:pt x="2" y="2"/>
                    </a:moveTo>
                    <a:lnTo>
                      <a:pt x="2" y="0"/>
                    </a:lnTo>
                    <a:lnTo>
                      <a:pt x="4" y="6"/>
                    </a:lnTo>
                    <a:lnTo>
                      <a:pt x="4" y="9"/>
                    </a:lnTo>
                    <a:lnTo>
                      <a:pt x="2" y="18"/>
                    </a:lnTo>
                    <a:lnTo>
                      <a:pt x="0" y="18"/>
                    </a:lnTo>
                    <a:lnTo>
                      <a:pt x="0" y="9"/>
                    </a:lnTo>
                    <a:lnTo>
                      <a:pt x="2" y="4"/>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99" name="Freeform 2954"/>
              <p:cNvSpPr>
                <a:spLocks/>
              </p:cNvSpPr>
              <p:nvPr/>
            </p:nvSpPr>
            <p:spPr bwMode="auto">
              <a:xfrm>
                <a:off x="5144" y="3118"/>
                <a:ext cx="4" cy="18"/>
              </a:xfrm>
              <a:custGeom>
                <a:avLst/>
                <a:gdLst>
                  <a:gd name="T0" fmla="*/ 2 w 4"/>
                  <a:gd name="T1" fmla="*/ 2 h 18"/>
                  <a:gd name="T2" fmla="*/ 2 w 4"/>
                  <a:gd name="T3" fmla="*/ 0 h 18"/>
                  <a:gd name="T4" fmla="*/ 4 w 4"/>
                  <a:gd name="T5" fmla="*/ 6 h 18"/>
                  <a:gd name="T6" fmla="*/ 4 w 4"/>
                  <a:gd name="T7" fmla="*/ 9 h 18"/>
                  <a:gd name="T8" fmla="*/ 2 w 4"/>
                  <a:gd name="T9" fmla="*/ 18 h 18"/>
                  <a:gd name="T10" fmla="*/ 0 w 4"/>
                  <a:gd name="T11" fmla="*/ 18 h 18"/>
                  <a:gd name="T12" fmla="*/ 0 w 4"/>
                  <a:gd name="T13" fmla="*/ 9 h 18"/>
                  <a:gd name="T14" fmla="*/ 2 w 4"/>
                  <a:gd name="T15" fmla="*/ 4 h 18"/>
                  <a:gd name="T16" fmla="*/ 2 w 4"/>
                  <a:gd name="T17"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8">
                    <a:moveTo>
                      <a:pt x="2" y="2"/>
                    </a:moveTo>
                    <a:lnTo>
                      <a:pt x="2" y="0"/>
                    </a:lnTo>
                    <a:lnTo>
                      <a:pt x="4" y="6"/>
                    </a:lnTo>
                    <a:lnTo>
                      <a:pt x="4" y="9"/>
                    </a:lnTo>
                    <a:lnTo>
                      <a:pt x="2" y="18"/>
                    </a:lnTo>
                    <a:lnTo>
                      <a:pt x="0" y="18"/>
                    </a:lnTo>
                    <a:lnTo>
                      <a:pt x="0" y="9"/>
                    </a:lnTo>
                    <a:lnTo>
                      <a:pt x="2" y="4"/>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00" name="Freeform 2955"/>
              <p:cNvSpPr>
                <a:spLocks/>
              </p:cNvSpPr>
              <p:nvPr/>
            </p:nvSpPr>
            <p:spPr bwMode="auto">
              <a:xfrm>
                <a:off x="4880" y="3320"/>
                <a:ext cx="25" cy="9"/>
              </a:xfrm>
              <a:custGeom>
                <a:avLst/>
                <a:gdLst>
                  <a:gd name="T0" fmla="*/ 2 w 25"/>
                  <a:gd name="T1" fmla="*/ 4 h 9"/>
                  <a:gd name="T2" fmla="*/ 2 w 25"/>
                  <a:gd name="T3" fmla="*/ 4 h 9"/>
                  <a:gd name="T4" fmla="*/ 12 w 25"/>
                  <a:gd name="T5" fmla="*/ 0 h 9"/>
                  <a:gd name="T6" fmla="*/ 18 w 25"/>
                  <a:gd name="T7" fmla="*/ 0 h 9"/>
                  <a:gd name="T8" fmla="*/ 18 w 25"/>
                  <a:gd name="T9" fmla="*/ 2 h 9"/>
                  <a:gd name="T10" fmla="*/ 23 w 25"/>
                  <a:gd name="T11" fmla="*/ 4 h 9"/>
                  <a:gd name="T12" fmla="*/ 25 w 25"/>
                  <a:gd name="T13" fmla="*/ 5 h 9"/>
                  <a:gd name="T14" fmla="*/ 18 w 25"/>
                  <a:gd name="T15" fmla="*/ 5 h 9"/>
                  <a:gd name="T16" fmla="*/ 18 w 25"/>
                  <a:gd name="T17" fmla="*/ 7 h 9"/>
                  <a:gd name="T18" fmla="*/ 16 w 25"/>
                  <a:gd name="T19" fmla="*/ 9 h 9"/>
                  <a:gd name="T20" fmla="*/ 12 w 25"/>
                  <a:gd name="T21" fmla="*/ 9 h 9"/>
                  <a:gd name="T22" fmla="*/ 2 w 25"/>
                  <a:gd name="T23" fmla="*/ 7 h 9"/>
                  <a:gd name="T24" fmla="*/ 0 w 25"/>
                  <a:gd name="T25" fmla="*/ 5 h 9"/>
                  <a:gd name="T26" fmla="*/ 2 w 25"/>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9">
                    <a:moveTo>
                      <a:pt x="2" y="4"/>
                    </a:moveTo>
                    <a:lnTo>
                      <a:pt x="2" y="4"/>
                    </a:lnTo>
                    <a:lnTo>
                      <a:pt x="12" y="0"/>
                    </a:lnTo>
                    <a:lnTo>
                      <a:pt x="18" y="0"/>
                    </a:lnTo>
                    <a:lnTo>
                      <a:pt x="18" y="2"/>
                    </a:lnTo>
                    <a:lnTo>
                      <a:pt x="23" y="4"/>
                    </a:lnTo>
                    <a:lnTo>
                      <a:pt x="25" y="5"/>
                    </a:lnTo>
                    <a:lnTo>
                      <a:pt x="18" y="5"/>
                    </a:lnTo>
                    <a:lnTo>
                      <a:pt x="18" y="7"/>
                    </a:lnTo>
                    <a:lnTo>
                      <a:pt x="16" y="9"/>
                    </a:lnTo>
                    <a:lnTo>
                      <a:pt x="12" y="9"/>
                    </a:lnTo>
                    <a:lnTo>
                      <a:pt x="2" y="7"/>
                    </a:lnTo>
                    <a:lnTo>
                      <a:pt x="0" y="5"/>
                    </a:lnTo>
                    <a:lnTo>
                      <a:pt x="2"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01" name="Freeform 2956"/>
              <p:cNvSpPr>
                <a:spLocks/>
              </p:cNvSpPr>
              <p:nvPr/>
            </p:nvSpPr>
            <p:spPr bwMode="auto">
              <a:xfrm>
                <a:off x="4880" y="3320"/>
                <a:ext cx="25" cy="9"/>
              </a:xfrm>
              <a:custGeom>
                <a:avLst/>
                <a:gdLst>
                  <a:gd name="T0" fmla="*/ 2 w 25"/>
                  <a:gd name="T1" fmla="*/ 4 h 9"/>
                  <a:gd name="T2" fmla="*/ 2 w 25"/>
                  <a:gd name="T3" fmla="*/ 4 h 9"/>
                  <a:gd name="T4" fmla="*/ 12 w 25"/>
                  <a:gd name="T5" fmla="*/ 0 h 9"/>
                  <a:gd name="T6" fmla="*/ 18 w 25"/>
                  <a:gd name="T7" fmla="*/ 0 h 9"/>
                  <a:gd name="T8" fmla="*/ 18 w 25"/>
                  <a:gd name="T9" fmla="*/ 2 h 9"/>
                  <a:gd name="T10" fmla="*/ 23 w 25"/>
                  <a:gd name="T11" fmla="*/ 4 h 9"/>
                  <a:gd name="T12" fmla="*/ 25 w 25"/>
                  <a:gd name="T13" fmla="*/ 5 h 9"/>
                  <a:gd name="T14" fmla="*/ 18 w 25"/>
                  <a:gd name="T15" fmla="*/ 5 h 9"/>
                  <a:gd name="T16" fmla="*/ 18 w 25"/>
                  <a:gd name="T17" fmla="*/ 7 h 9"/>
                  <a:gd name="T18" fmla="*/ 16 w 25"/>
                  <a:gd name="T19" fmla="*/ 9 h 9"/>
                  <a:gd name="T20" fmla="*/ 12 w 25"/>
                  <a:gd name="T21" fmla="*/ 9 h 9"/>
                  <a:gd name="T22" fmla="*/ 2 w 25"/>
                  <a:gd name="T23" fmla="*/ 7 h 9"/>
                  <a:gd name="T24" fmla="*/ 0 w 25"/>
                  <a:gd name="T25" fmla="*/ 5 h 9"/>
                  <a:gd name="T26" fmla="*/ 2 w 25"/>
                  <a:gd name="T27"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9">
                    <a:moveTo>
                      <a:pt x="2" y="4"/>
                    </a:moveTo>
                    <a:lnTo>
                      <a:pt x="2" y="4"/>
                    </a:lnTo>
                    <a:lnTo>
                      <a:pt x="12" y="0"/>
                    </a:lnTo>
                    <a:lnTo>
                      <a:pt x="18" y="0"/>
                    </a:lnTo>
                    <a:lnTo>
                      <a:pt x="18" y="2"/>
                    </a:lnTo>
                    <a:lnTo>
                      <a:pt x="23" y="4"/>
                    </a:lnTo>
                    <a:lnTo>
                      <a:pt x="25" y="5"/>
                    </a:lnTo>
                    <a:lnTo>
                      <a:pt x="18" y="5"/>
                    </a:lnTo>
                    <a:lnTo>
                      <a:pt x="18" y="7"/>
                    </a:lnTo>
                    <a:lnTo>
                      <a:pt x="16" y="9"/>
                    </a:lnTo>
                    <a:lnTo>
                      <a:pt x="12" y="9"/>
                    </a:lnTo>
                    <a:lnTo>
                      <a:pt x="2" y="7"/>
                    </a:lnTo>
                    <a:lnTo>
                      <a:pt x="0" y="5"/>
                    </a:lnTo>
                    <a:lnTo>
                      <a:pt x="2"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02" name="Freeform 2957"/>
              <p:cNvSpPr>
                <a:spLocks/>
              </p:cNvSpPr>
              <p:nvPr/>
            </p:nvSpPr>
            <p:spPr bwMode="auto">
              <a:xfrm>
                <a:off x="5062" y="3404"/>
                <a:ext cx="7" cy="11"/>
              </a:xfrm>
              <a:custGeom>
                <a:avLst/>
                <a:gdLst>
                  <a:gd name="T0" fmla="*/ 0 w 7"/>
                  <a:gd name="T1" fmla="*/ 0 h 11"/>
                  <a:gd name="T2" fmla="*/ 2 w 7"/>
                  <a:gd name="T3" fmla="*/ 0 h 11"/>
                  <a:gd name="T4" fmla="*/ 7 w 7"/>
                  <a:gd name="T5" fmla="*/ 3 h 11"/>
                  <a:gd name="T6" fmla="*/ 7 w 7"/>
                  <a:gd name="T7" fmla="*/ 7 h 11"/>
                  <a:gd name="T8" fmla="*/ 7 w 7"/>
                  <a:gd name="T9" fmla="*/ 9 h 11"/>
                  <a:gd name="T10" fmla="*/ 3 w 7"/>
                  <a:gd name="T11" fmla="*/ 11 h 11"/>
                  <a:gd name="T12" fmla="*/ 3 w 7"/>
                  <a:gd name="T13" fmla="*/ 7 h 11"/>
                  <a:gd name="T14" fmla="*/ 2 w 7"/>
                  <a:gd name="T15" fmla="*/ 3 h 11"/>
                  <a:gd name="T16" fmla="*/ 0 w 7"/>
                  <a:gd name="T17" fmla="*/ 2 h 11"/>
                  <a:gd name="T18" fmla="*/ 0 w 7"/>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1">
                    <a:moveTo>
                      <a:pt x="0" y="0"/>
                    </a:moveTo>
                    <a:lnTo>
                      <a:pt x="2" y="0"/>
                    </a:lnTo>
                    <a:lnTo>
                      <a:pt x="7" y="3"/>
                    </a:lnTo>
                    <a:lnTo>
                      <a:pt x="7" y="7"/>
                    </a:lnTo>
                    <a:lnTo>
                      <a:pt x="7" y="9"/>
                    </a:lnTo>
                    <a:lnTo>
                      <a:pt x="3" y="11"/>
                    </a:lnTo>
                    <a:lnTo>
                      <a:pt x="3" y="7"/>
                    </a:lnTo>
                    <a:lnTo>
                      <a:pt x="2" y="3"/>
                    </a:lnTo>
                    <a:lnTo>
                      <a:pt x="0"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03" name="Freeform 2958"/>
              <p:cNvSpPr>
                <a:spLocks/>
              </p:cNvSpPr>
              <p:nvPr/>
            </p:nvSpPr>
            <p:spPr bwMode="auto">
              <a:xfrm>
                <a:off x="5062" y="3404"/>
                <a:ext cx="7" cy="11"/>
              </a:xfrm>
              <a:custGeom>
                <a:avLst/>
                <a:gdLst>
                  <a:gd name="T0" fmla="*/ 0 w 7"/>
                  <a:gd name="T1" fmla="*/ 0 h 11"/>
                  <a:gd name="T2" fmla="*/ 2 w 7"/>
                  <a:gd name="T3" fmla="*/ 0 h 11"/>
                  <a:gd name="T4" fmla="*/ 7 w 7"/>
                  <a:gd name="T5" fmla="*/ 3 h 11"/>
                  <a:gd name="T6" fmla="*/ 7 w 7"/>
                  <a:gd name="T7" fmla="*/ 7 h 11"/>
                  <a:gd name="T8" fmla="*/ 7 w 7"/>
                  <a:gd name="T9" fmla="*/ 9 h 11"/>
                  <a:gd name="T10" fmla="*/ 3 w 7"/>
                  <a:gd name="T11" fmla="*/ 11 h 11"/>
                  <a:gd name="T12" fmla="*/ 3 w 7"/>
                  <a:gd name="T13" fmla="*/ 7 h 11"/>
                  <a:gd name="T14" fmla="*/ 2 w 7"/>
                  <a:gd name="T15" fmla="*/ 3 h 11"/>
                  <a:gd name="T16" fmla="*/ 0 w 7"/>
                  <a:gd name="T17" fmla="*/ 2 h 11"/>
                  <a:gd name="T18" fmla="*/ 0 w 7"/>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1">
                    <a:moveTo>
                      <a:pt x="0" y="0"/>
                    </a:moveTo>
                    <a:lnTo>
                      <a:pt x="2" y="0"/>
                    </a:lnTo>
                    <a:lnTo>
                      <a:pt x="7" y="3"/>
                    </a:lnTo>
                    <a:lnTo>
                      <a:pt x="7" y="7"/>
                    </a:lnTo>
                    <a:lnTo>
                      <a:pt x="7" y="9"/>
                    </a:lnTo>
                    <a:lnTo>
                      <a:pt x="3" y="11"/>
                    </a:lnTo>
                    <a:lnTo>
                      <a:pt x="3" y="7"/>
                    </a:lnTo>
                    <a:lnTo>
                      <a:pt x="2" y="3"/>
                    </a:lnTo>
                    <a:lnTo>
                      <a:pt x="0"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04" name="Freeform 2959"/>
              <p:cNvSpPr>
                <a:spLocks/>
              </p:cNvSpPr>
              <p:nvPr/>
            </p:nvSpPr>
            <p:spPr bwMode="auto">
              <a:xfrm>
                <a:off x="5012" y="3422"/>
                <a:ext cx="59" cy="64"/>
              </a:xfrm>
              <a:custGeom>
                <a:avLst/>
                <a:gdLst>
                  <a:gd name="T0" fmla="*/ 0 w 59"/>
                  <a:gd name="T1" fmla="*/ 0 h 64"/>
                  <a:gd name="T2" fmla="*/ 2 w 59"/>
                  <a:gd name="T3" fmla="*/ 2 h 64"/>
                  <a:gd name="T4" fmla="*/ 5 w 59"/>
                  <a:gd name="T5" fmla="*/ 3 h 64"/>
                  <a:gd name="T6" fmla="*/ 7 w 59"/>
                  <a:gd name="T7" fmla="*/ 3 h 64"/>
                  <a:gd name="T8" fmla="*/ 9 w 59"/>
                  <a:gd name="T9" fmla="*/ 3 h 64"/>
                  <a:gd name="T10" fmla="*/ 20 w 59"/>
                  <a:gd name="T11" fmla="*/ 10 h 64"/>
                  <a:gd name="T12" fmla="*/ 30 w 59"/>
                  <a:gd name="T13" fmla="*/ 10 h 64"/>
                  <a:gd name="T14" fmla="*/ 37 w 59"/>
                  <a:gd name="T15" fmla="*/ 7 h 64"/>
                  <a:gd name="T16" fmla="*/ 43 w 59"/>
                  <a:gd name="T17" fmla="*/ 7 h 64"/>
                  <a:gd name="T18" fmla="*/ 46 w 59"/>
                  <a:gd name="T19" fmla="*/ 3 h 64"/>
                  <a:gd name="T20" fmla="*/ 50 w 59"/>
                  <a:gd name="T21" fmla="*/ 5 h 64"/>
                  <a:gd name="T22" fmla="*/ 52 w 59"/>
                  <a:gd name="T23" fmla="*/ 3 h 64"/>
                  <a:gd name="T24" fmla="*/ 53 w 59"/>
                  <a:gd name="T25" fmla="*/ 3 h 64"/>
                  <a:gd name="T26" fmla="*/ 57 w 59"/>
                  <a:gd name="T27" fmla="*/ 7 h 64"/>
                  <a:gd name="T28" fmla="*/ 57 w 59"/>
                  <a:gd name="T29" fmla="*/ 30 h 64"/>
                  <a:gd name="T30" fmla="*/ 59 w 59"/>
                  <a:gd name="T31" fmla="*/ 32 h 64"/>
                  <a:gd name="T32" fmla="*/ 59 w 59"/>
                  <a:gd name="T33" fmla="*/ 35 h 64"/>
                  <a:gd name="T34" fmla="*/ 57 w 59"/>
                  <a:gd name="T35" fmla="*/ 30 h 64"/>
                  <a:gd name="T36" fmla="*/ 57 w 59"/>
                  <a:gd name="T37" fmla="*/ 28 h 64"/>
                  <a:gd name="T38" fmla="*/ 53 w 59"/>
                  <a:gd name="T39" fmla="*/ 35 h 64"/>
                  <a:gd name="T40" fmla="*/ 53 w 59"/>
                  <a:gd name="T41" fmla="*/ 39 h 64"/>
                  <a:gd name="T42" fmla="*/ 52 w 59"/>
                  <a:gd name="T43" fmla="*/ 39 h 64"/>
                  <a:gd name="T44" fmla="*/ 52 w 59"/>
                  <a:gd name="T45" fmla="*/ 46 h 64"/>
                  <a:gd name="T46" fmla="*/ 50 w 59"/>
                  <a:gd name="T47" fmla="*/ 46 h 64"/>
                  <a:gd name="T48" fmla="*/ 48 w 59"/>
                  <a:gd name="T49" fmla="*/ 46 h 64"/>
                  <a:gd name="T50" fmla="*/ 46 w 59"/>
                  <a:gd name="T51" fmla="*/ 46 h 64"/>
                  <a:gd name="T52" fmla="*/ 45 w 59"/>
                  <a:gd name="T53" fmla="*/ 46 h 64"/>
                  <a:gd name="T54" fmla="*/ 45 w 59"/>
                  <a:gd name="T55" fmla="*/ 50 h 64"/>
                  <a:gd name="T56" fmla="*/ 45 w 59"/>
                  <a:gd name="T57" fmla="*/ 52 h 64"/>
                  <a:gd name="T58" fmla="*/ 43 w 59"/>
                  <a:gd name="T59" fmla="*/ 53 h 64"/>
                  <a:gd name="T60" fmla="*/ 41 w 59"/>
                  <a:gd name="T61" fmla="*/ 55 h 64"/>
                  <a:gd name="T62" fmla="*/ 39 w 59"/>
                  <a:gd name="T63" fmla="*/ 53 h 64"/>
                  <a:gd name="T64" fmla="*/ 37 w 59"/>
                  <a:gd name="T65" fmla="*/ 53 h 64"/>
                  <a:gd name="T66" fmla="*/ 37 w 59"/>
                  <a:gd name="T67" fmla="*/ 55 h 64"/>
                  <a:gd name="T68" fmla="*/ 36 w 59"/>
                  <a:gd name="T69" fmla="*/ 60 h 64"/>
                  <a:gd name="T70" fmla="*/ 34 w 59"/>
                  <a:gd name="T71" fmla="*/ 64 h 64"/>
                  <a:gd name="T72" fmla="*/ 32 w 59"/>
                  <a:gd name="T73" fmla="*/ 64 h 64"/>
                  <a:gd name="T74" fmla="*/ 30 w 59"/>
                  <a:gd name="T75" fmla="*/ 62 h 64"/>
                  <a:gd name="T76" fmla="*/ 28 w 59"/>
                  <a:gd name="T77" fmla="*/ 62 h 64"/>
                  <a:gd name="T78" fmla="*/ 27 w 59"/>
                  <a:gd name="T79" fmla="*/ 62 h 64"/>
                  <a:gd name="T80" fmla="*/ 25 w 59"/>
                  <a:gd name="T81" fmla="*/ 60 h 64"/>
                  <a:gd name="T82" fmla="*/ 21 w 59"/>
                  <a:gd name="T83" fmla="*/ 60 h 64"/>
                  <a:gd name="T84" fmla="*/ 20 w 59"/>
                  <a:gd name="T85" fmla="*/ 59 h 64"/>
                  <a:gd name="T86" fmla="*/ 23 w 59"/>
                  <a:gd name="T87" fmla="*/ 59 h 64"/>
                  <a:gd name="T88" fmla="*/ 23 w 59"/>
                  <a:gd name="T89" fmla="*/ 57 h 64"/>
                  <a:gd name="T90" fmla="*/ 21 w 59"/>
                  <a:gd name="T91" fmla="*/ 57 h 64"/>
                  <a:gd name="T92" fmla="*/ 18 w 59"/>
                  <a:gd name="T93" fmla="*/ 55 h 64"/>
                  <a:gd name="T94" fmla="*/ 11 w 59"/>
                  <a:gd name="T95" fmla="*/ 44 h 64"/>
                  <a:gd name="T96" fmla="*/ 7 w 59"/>
                  <a:gd name="T97" fmla="*/ 32 h 64"/>
                  <a:gd name="T98" fmla="*/ 11 w 59"/>
                  <a:gd name="T99" fmla="*/ 37 h 64"/>
                  <a:gd name="T100" fmla="*/ 12 w 59"/>
                  <a:gd name="T101" fmla="*/ 35 h 64"/>
                  <a:gd name="T102" fmla="*/ 11 w 59"/>
                  <a:gd name="T103" fmla="*/ 34 h 64"/>
                  <a:gd name="T104" fmla="*/ 0 w 59"/>
                  <a:gd name="T105" fmla="*/ 12 h 64"/>
                  <a:gd name="T106" fmla="*/ 0 w 59"/>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 h="64">
                    <a:moveTo>
                      <a:pt x="0" y="0"/>
                    </a:moveTo>
                    <a:lnTo>
                      <a:pt x="2" y="2"/>
                    </a:lnTo>
                    <a:lnTo>
                      <a:pt x="5" y="3"/>
                    </a:lnTo>
                    <a:lnTo>
                      <a:pt x="7" y="3"/>
                    </a:lnTo>
                    <a:lnTo>
                      <a:pt x="9" y="3"/>
                    </a:lnTo>
                    <a:lnTo>
                      <a:pt x="20" y="10"/>
                    </a:lnTo>
                    <a:lnTo>
                      <a:pt x="30" y="10"/>
                    </a:lnTo>
                    <a:lnTo>
                      <a:pt x="37" y="7"/>
                    </a:lnTo>
                    <a:lnTo>
                      <a:pt x="43" y="7"/>
                    </a:lnTo>
                    <a:lnTo>
                      <a:pt x="46" y="3"/>
                    </a:lnTo>
                    <a:lnTo>
                      <a:pt x="50" y="5"/>
                    </a:lnTo>
                    <a:lnTo>
                      <a:pt x="52" y="3"/>
                    </a:lnTo>
                    <a:lnTo>
                      <a:pt x="53" y="3"/>
                    </a:lnTo>
                    <a:lnTo>
                      <a:pt x="57" y="7"/>
                    </a:lnTo>
                    <a:lnTo>
                      <a:pt x="57" y="30"/>
                    </a:lnTo>
                    <a:lnTo>
                      <a:pt x="59" y="32"/>
                    </a:lnTo>
                    <a:lnTo>
                      <a:pt x="59" y="35"/>
                    </a:lnTo>
                    <a:lnTo>
                      <a:pt x="57" y="30"/>
                    </a:lnTo>
                    <a:lnTo>
                      <a:pt x="57" y="28"/>
                    </a:lnTo>
                    <a:lnTo>
                      <a:pt x="53" y="35"/>
                    </a:lnTo>
                    <a:lnTo>
                      <a:pt x="53" y="39"/>
                    </a:lnTo>
                    <a:lnTo>
                      <a:pt x="52" y="39"/>
                    </a:lnTo>
                    <a:lnTo>
                      <a:pt x="52" y="46"/>
                    </a:lnTo>
                    <a:lnTo>
                      <a:pt x="50" y="46"/>
                    </a:lnTo>
                    <a:lnTo>
                      <a:pt x="48" y="46"/>
                    </a:lnTo>
                    <a:lnTo>
                      <a:pt x="46" y="46"/>
                    </a:lnTo>
                    <a:lnTo>
                      <a:pt x="45" y="46"/>
                    </a:lnTo>
                    <a:lnTo>
                      <a:pt x="45" y="50"/>
                    </a:lnTo>
                    <a:lnTo>
                      <a:pt x="45" y="52"/>
                    </a:lnTo>
                    <a:lnTo>
                      <a:pt x="43" y="53"/>
                    </a:lnTo>
                    <a:lnTo>
                      <a:pt x="41" y="55"/>
                    </a:lnTo>
                    <a:lnTo>
                      <a:pt x="39" y="53"/>
                    </a:lnTo>
                    <a:lnTo>
                      <a:pt x="37" y="53"/>
                    </a:lnTo>
                    <a:lnTo>
                      <a:pt x="37" y="55"/>
                    </a:lnTo>
                    <a:lnTo>
                      <a:pt x="36" y="60"/>
                    </a:lnTo>
                    <a:lnTo>
                      <a:pt x="34" y="64"/>
                    </a:lnTo>
                    <a:lnTo>
                      <a:pt x="32" y="64"/>
                    </a:lnTo>
                    <a:lnTo>
                      <a:pt x="30" y="62"/>
                    </a:lnTo>
                    <a:lnTo>
                      <a:pt x="28" y="62"/>
                    </a:lnTo>
                    <a:lnTo>
                      <a:pt x="27" y="62"/>
                    </a:lnTo>
                    <a:lnTo>
                      <a:pt x="25" y="60"/>
                    </a:lnTo>
                    <a:lnTo>
                      <a:pt x="21" y="60"/>
                    </a:lnTo>
                    <a:lnTo>
                      <a:pt x="20" y="59"/>
                    </a:lnTo>
                    <a:lnTo>
                      <a:pt x="23" y="59"/>
                    </a:lnTo>
                    <a:lnTo>
                      <a:pt x="23" y="57"/>
                    </a:lnTo>
                    <a:lnTo>
                      <a:pt x="21" y="57"/>
                    </a:lnTo>
                    <a:lnTo>
                      <a:pt x="18" y="55"/>
                    </a:lnTo>
                    <a:lnTo>
                      <a:pt x="11" y="44"/>
                    </a:lnTo>
                    <a:lnTo>
                      <a:pt x="7" y="32"/>
                    </a:lnTo>
                    <a:lnTo>
                      <a:pt x="11" y="37"/>
                    </a:lnTo>
                    <a:lnTo>
                      <a:pt x="12" y="35"/>
                    </a:lnTo>
                    <a:lnTo>
                      <a:pt x="11" y="34"/>
                    </a:lnTo>
                    <a:lnTo>
                      <a:pt x="0" y="1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05" name="Freeform 2960"/>
              <p:cNvSpPr>
                <a:spLocks/>
              </p:cNvSpPr>
              <p:nvPr/>
            </p:nvSpPr>
            <p:spPr bwMode="auto">
              <a:xfrm>
                <a:off x="5012" y="3422"/>
                <a:ext cx="59" cy="64"/>
              </a:xfrm>
              <a:custGeom>
                <a:avLst/>
                <a:gdLst>
                  <a:gd name="T0" fmla="*/ 0 w 59"/>
                  <a:gd name="T1" fmla="*/ 0 h 64"/>
                  <a:gd name="T2" fmla="*/ 2 w 59"/>
                  <a:gd name="T3" fmla="*/ 2 h 64"/>
                  <a:gd name="T4" fmla="*/ 5 w 59"/>
                  <a:gd name="T5" fmla="*/ 3 h 64"/>
                  <a:gd name="T6" fmla="*/ 7 w 59"/>
                  <a:gd name="T7" fmla="*/ 3 h 64"/>
                  <a:gd name="T8" fmla="*/ 9 w 59"/>
                  <a:gd name="T9" fmla="*/ 3 h 64"/>
                  <a:gd name="T10" fmla="*/ 20 w 59"/>
                  <a:gd name="T11" fmla="*/ 10 h 64"/>
                  <a:gd name="T12" fmla="*/ 30 w 59"/>
                  <a:gd name="T13" fmla="*/ 10 h 64"/>
                  <a:gd name="T14" fmla="*/ 37 w 59"/>
                  <a:gd name="T15" fmla="*/ 7 h 64"/>
                  <a:gd name="T16" fmla="*/ 43 w 59"/>
                  <a:gd name="T17" fmla="*/ 7 h 64"/>
                  <a:gd name="T18" fmla="*/ 46 w 59"/>
                  <a:gd name="T19" fmla="*/ 3 h 64"/>
                  <a:gd name="T20" fmla="*/ 50 w 59"/>
                  <a:gd name="T21" fmla="*/ 5 h 64"/>
                  <a:gd name="T22" fmla="*/ 52 w 59"/>
                  <a:gd name="T23" fmla="*/ 3 h 64"/>
                  <a:gd name="T24" fmla="*/ 53 w 59"/>
                  <a:gd name="T25" fmla="*/ 3 h 64"/>
                  <a:gd name="T26" fmla="*/ 57 w 59"/>
                  <a:gd name="T27" fmla="*/ 7 h 64"/>
                  <a:gd name="T28" fmla="*/ 57 w 59"/>
                  <a:gd name="T29" fmla="*/ 30 h 64"/>
                  <a:gd name="T30" fmla="*/ 59 w 59"/>
                  <a:gd name="T31" fmla="*/ 32 h 64"/>
                  <a:gd name="T32" fmla="*/ 59 w 59"/>
                  <a:gd name="T33" fmla="*/ 35 h 64"/>
                  <a:gd name="T34" fmla="*/ 57 w 59"/>
                  <a:gd name="T35" fmla="*/ 30 h 64"/>
                  <a:gd name="T36" fmla="*/ 57 w 59"/>
                  <a:gd name="T37" fmla="*/ 28 h 64"/>
                  <a:gd name="T38" fmla="*/ 53 w 59"/>
                  <a:gd name="T39" fmla="*/ 35 h 64"/>
                  <a:gd name="T40" fmla="*/ 53 w 59"/>
                  <a:gd name="T41" fmla="*/ 39 h 64"/>
                  <a:gd name="T42" fmla="*/ 52 w 59"/>
                  <a:gd name="T43" fmla="*/ 39 h 64"/>
                  <a:gd name="T44" fmla="*/ 52 w 59"/>
                  <a:gd name="T45" fmla="*/ 46 h 64"/>
                  <a:gd name="T46" fmla="*/ 50 w 59"/>
                  <a:gd name="T47" fmla="*/ 46 h 64"/>
                  <a:gd name="T48" fmla="*/ 48 w 59"/>
                  <a:gd name="T49" fmla="*/ 46 h 64"/>
                  <a:gd name="T50" fmla="*/ 46 w 59"/>
                  <a:gd name="T51" fmla="*/ 46 h 64"/>
                  <a:gd name="T52" fmla="*/ 45 w 59"/>
                  <a:gd name="T53" fmla="*/ 46 h 64"/>
                  <a:gd name="T54" fmla="*/ 45 w 59"/>
                  <a:gd name="T55" fmla="*/ 50 h 64"/>
                  <a:gd name="T56" fmla="*/ 45 w 59"/>
                  <a:gd name="T57" fmla="*/ 52 h 64"/>
                  <a:gd name="T58" fmla="*/ 43 w 59"/>
                  <a:gd name="T59" fmla="*/ 53 h 64"/>
                  <a:gd name="T60" fmla="*/ 41 w 59"/>
                  <a:gd name="T61" fmla="*/ 55 h 64"/>
                  <a:gd name="T62" fmla="*/ 39 w 59"/>
                  <a:gd name="T63" fmla="*/ 53 h 64"/>
                  <a:gd name="T64" fmla="*/ 37 w 59"/>
                  <a:gd name="T65" fmla="*/ 53 h 64"/>
                  <a:gd name="T66" fmla="*/ 37 w 59"/>
                  <a:gd name="T67" fmla="*/ 55 h 64"/>
                  <a:gd name="T68" fmla="*/ 36 w 59"/>
                  <a:gd name="T69" fmla="*/ 60 h 64"/>
                  <a:gd name="T70" fmla="*/ 34 w 59"/>
                  <a:gd name="T71" fmla="*/ 64 h 64"/>
                  <a:gd name="T72" fmla="*/ 32 w 59"/>
                  <a:gd name="T73" fmla="*/ 64 h 64"/>
                  <a:gd name="T74" fmla="*/ 30 w 59"/>
                  <a:gd name="T75" fmla="*/ 62 h 64"/>
                  <a:gd name="T76" fmla="*/ 28 w 59"/>
                  <a:gd name="T77" fmla="*/ 62 h 64"/>
                  <a:gd name="T78" fmla="*/ 27 w 59"/>
                  <a:gd name="T79" fmla="*/ 62 h 64"/>
                  <a:gd name="T80" fmla="*/ 25 w 59"/>
                  <a:gd name="T81" fmla="*/ 60 h 64"/>
                  <a:gd name="T82" fmla="*/ 21 w 59"/>
                  <a:gd name="T83" fmla="*/ 60 h 64"/>
                  <a:gd name="T84" fmla="*/ 20 w 59"/>
                  <a:gd name="T85" fmla="*/ 59 h 64"/>
                  <a:gd name="T86" fmla="*/ 23 w 59"/>
                  <a:gd name="T87" fmla="*/ 59 h 64"/>
                  <a:gd name="T88" fmla="*/ 23 w 59"/>
                  <a:gd name="T89" fmla="*/ 57 h 64"/>
                  <a:gd name="T90" fmla="*/ 21 w 59"/>
                  <a:gd name="T91" fmla="*/ 57 h 64"/>
                  <a:gd name="T92" fmla="*/ 18 w 59"/>
                  <a:gd name="T93" fmla="*/ 55 h 64"/>
                  <a:gd name="T94" fmla="*/ 11 w 59"/>
                  <a:gd name="T95" fmla="*/ 44 h 64"/>
                  <a:gd name="T96" fmla="*/ 7 w 59"/>
                  <a:gd name="T97" fmla="*/ 32 h 64"/>
                  <a:gd name="T98" fmla="*/ 11 w 59"/>
                  <a:gd name="T99" fmla="*/ 37 h 64"/>
                  <a:gd name="T100" fmla="*/ 12 w 59"/>
                  <a:gd name="T101" fmla="*/ 35 h 64"/>
                  <a:gd name="T102" fmla="*/ 11 w 59"/>
                  <a:gd name="T103" fmla="*/ 34 h 64"/>
                  <a:gd name="T104" fmla="*/ 0 w 59"/>
                  <a:gd name="T105" fmla="*/ 12 h 64"/>
                  <a:gd name="T106" fmla="*/ 0 w 59"/>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 h="64">
                    <a:moveTo>
                      <a:pt x="0" y="0"/>
                    </a:moveTo>
                    <a:lnTo>
                      <a:pt x="2" y="2"/>
                    </a:lnTo>
                    <a:lnTo>
                      <a:pt x="5" y="3"/>
                    </a:lnTo>
                    <a:lnTo>
                      <a:pt x="7" y="3"/>
                    </a:lnTo>
                    <a:lnTo>
                      <a:pt x="9" y="3"/>
                    </a:lnTo>
                    <a:lnTo>
                      <a:pt x="20" y="10"/>
                    </a:lnTo>
                    <a:lnTo>
                      <a:pt x="30" y="10"/>
                    </a:lnTo>
                    <a:lnTo>
                      <a:pt x="37" y="7"/>
                    </a:lnTo>
                    <a:lnTo>
                      <a:pt x="43" y="7"/>
                    </a:lnTo>
                    <a:lnTo>
                      <a:pt x="46" y="3"/>
                    </a:lnTo>
                    <a:lnTo>
                      <a:pt x="50" y="5"/>
                    </a:lnTo>
                    <a:lnTo>
                      <a:pt x="52" y="3"/>
                    </a:lnTo>
                    <a:lnTo>
                      <a:pt x="53" y="3"/>
                    </a:lnTo>
                    <a:lnTo>
                      <a:pt x="57" y="7"/>
                    </a:lnTo>
                    <a:lnTo>
                      <a:pt x="57" y="30"/>
                    </a:lnTo>
                    <a:lnTo>
                      <a:pt x="59" y="32"/>
                    </a:lnTo>
                    <a:lnTo>
                      <a:pt x="59" y="35"/>
                    </a:lnTo>
                    <a:lnTo>
                      <a:pt x="57" y="30"/>
                    </a:lnTo>
                    <a:lnTo>
                      <a:pt x="57" y="28"/>
                    </a:lnTo>
                    <a:lnTo>
                      <a:pt x="53" y="35"/>
                    </a:lnTo>
                    <a:lnTo>
                      <a:pt x="53" y="39"/>
                    </a:lnTo>
                    <a:lnTo>
                      <a:pt x="52" y="39"/>
                    </a:lnTo>
                    <a:lnTo>
                      <a:pt x="52" y="46"/>
                    </a:lnTo>
                    <a:lnTo>
                      <a:pt x="50" y="46"/>
                    </a:lnTo>
                    <a:lnTo>
                      <a:pt x="48" y="46"/>
                    </a:lnTo>
                    <a:lnTo>
                      <a:pt x="46" y="46"/>
                    </a:lnTo>
                    <a:lnTo>
                      <a:pt x="45" y="46"/>
                    </a:lnTo>
                    <a:lnTo>
                      <a:pt x="45" y="50"/>
                    </a:lnTo>
                    <a:lnTo>
                      <a:pt x="45" y="52"/>
                    </a:lnTo>
                    <a:lnTo>
                      <a:pt x="43" y="53"/>
                    </a:lnTo>
                    <a:lnTo>
                      <a:pt x="41" y="55"/>
                    </a:lnTo>
                    <a:lnTo>
                      <a:pt x="39" y="53"/>
                    </a:lnTo>
                    <a:lnTo>
                      <a:pt x="37" y="53"/>
                    </a:lnTo>
                    <a:lnTo>
                      <a:pt x="37" y="55"/>
                    </a:lnTo>
                    <a:lnTo>
                      <a:pt x="36" y="60"/>
                    </a:lnTo>
                    <a:lnTo>
                      <a:pt x="34" y="64"/>
                    </a:lnTo>
                    <a:lnTo>
                      <a:pt x="32" y="64"/>
                    </a:lnTo>
                    <a:lnTo>
                      <a:pt x="30" y="62"/>
                    </a:lnTo>
                    <a:lnTo>
                      <a:pt x="28" y="62"/>
                    </a:lnTo>
                    <a:lnTo>
                      <a:pt x="27" y="62"/>
                    </a:lnTo>
                    <a:lnTo>
                      <a:pt x="25" y="60"/>
                    </a:lnTo>
                    <a:lnTo>
                      <a:pt x="21" y="60"/>
                    </a:lnTo>
                    <a:lnTo>
                      <a:pt x="20" y="59"/>
                    </a:lnTo>
                    <a:lnTo>
                      <a:pt x="23" y="59"/>
                    </a:lnTo>
                    <a:lnTo>
                      <a:pt x="23" y="57"/>
                    </a:lnTo>
                    <a:lnTo>
                      <a:pt x="21" y="57"/>
                    </a:lnTo>
                    <a:lnTo>
                      <a:pt x="18" y="55"/>
                    </a:lnTo>
                    <a:lnTo>
                      <a:pt x="11" y="44"/>
                    </a:lnTo>
                    <a:lnTo>
                      <a:pt x="7" y="32"/>
                    </a:lnTo>
                    <a:lnTo>
                      <a:pt x="11" y="37"/>
                    </a:lnTo>
                    <a:lnTo>
                      <a:pt x="12" y="35"/>
                    </a:lnTo>
                    <a:lnTo>
                      <a:pt x="11" y="34"/>
                    </a:lnTo>
                    <a:lnTo>
                      <a:pt x="0" y="1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06" name="Freeform 2961"/>
              <p:cNvSpPr>
                <a:spLocks/>
              </p:cNvSpPr>
              <p:nvPr/>
            </p:nvSpPr>
            <p:spPr bwMode="auto">
              <a:xfrm>
                <a:off x="4507" y="2884"/>
                <a:ext cx="646" cy="507"/>
              </a:xfrm>
              <a:custGeom>
                <a:avLst/>
                <a:gdLst>
                  <a:gd name="T0" fmla="*/ 26 w 646"/>
                  <a:gd name="T1" fmla="*/ 182 h 507"/>
                  <a:gd name="T2" fmla="*/ 73 w 646"/>
                  <a:gd name="T3" fmla="*/ 165 h 507"/>
                  <a:gd name="T4" fmla="*/ 135 w 646"/>
                  <a:gd name="T5" fmla="*/ 129 h 507"/>
                  <a:gd name="T6" fmla="*/ 151 w 646"/>
                  <a:gd name="T7" fmla="*/ 98 h 507"/>
                  <a:gd name="T8" fmla="*/ 167 w 646"/>
                  <a:gd name="T9" fmla="*/ 102 h 507"/>
                  <a:gd name="T10" fmla="*/ 176 w 646"/>
                  <a:gd name="T11" fmla="*/ 93 h 507"/>
                  <a:gd name="T12" fmla="*/ 187 w 646"/>
                  <a:gd name="T13" fmla="*/ 72 h 507"/>
                  <a:gd name="T14" fmla="*/ 203 w 646"/>
                  <a:gd name="T15" fmla="*/ 56 h 507"/>
                  <a:gd name="T16" fmla="*/ 216 w 646"/>
                  <a:gd name="T17" fmla="*/ 52 h 507"/>
                  <a:gd name="T18" fmla="*/ 239 w 646"/>
                  <a:gd name="T19" fmla="*/ 73 h 507"/>
                  <a:gd name="T20" fmla="*/ 260 w 646"/>
                  <a:gd name="T21" fmla="*/ 73 h 507"/>
                  <a:gd name="T22" fmla="*/ 266 w 646"/>
                  <a:gd name="T23" fmla="*/ 47 h 507"/>
                  <a:gd name="T24" fmla="*/ 282 w 646"/>
                  <a:gd name="T25" fmla="*/ 32 h 507"/>
                  <a:gd name="T26" fmla="*/ 307 w 646"/>
                  <a:gd name="T27" fmla="*/ 15 h 507"/>
                  <a:gd name="T28" fmla="*/ 301 w 646"/>
                  <a:gd name="T29" fmla="*/ 13 h 507"/>
                  <a:gd name="T30" fmla="*/ 316 w 646"/>
                  <a:gd name="T31" fmla="*/ 15 h 507"/>
                  <a:gd name="T32" fmla="*/ 337 w 646"/>
                  <a:gd name="T33" fmla="*/ 22 h 507"/>
                  <a:gd name="T34" fmla="*/ 362 w 646"/>
                  <a:gd name="T35" fmla="*/ 22 h 507"/>
                  <a:gd name="T36" fmla="*/ 367 w 646"/>
                  <a:gd name="T37" fmla="*/ 23 h 507"/>
                  <a:gd name="T38" fmla="*/ 371 w 646"/>
                  <a:gd name="T39" fmla="*/ 36 h 507"/>
                  <a:gd name="T40" fmla="*/ 362 w 646"/>
                  <a:gd name="T41" fmla="*/ 50 h 507"/>
                  <a:gd name="T42" fmla="*/ 371 w 646"/>
                  <a:gd name="T43" fmla="*/ 82 h 507"/>
                  <a:gd name="T44" fmla="*/ 430 w 646"/>
                  <a:gd name="T45" fmla="*/ 116 h 507"/>
                  <a:gd name="T46" fmla="*/ 458 w 646"/>
                  <a:gd name="T47" fmla="*/ 22 h 507"/>
                  <a:gd name="T48" fmla="*/ 473 w 646"/>
                  <a:gd name="T49" fmla="*/ 6 h 507"/>
                  <a:gd name="T50" fmla="*/ 485 w 646"/>
                  <a:gd name="T51" fmla="*/ 45 h 507"/>
                  <a:gd name="T52" fmla="*/ 510 w 646"/>
                  <a:gd name="T53" fmla="*/ 68 h 507"/>
                  <a:gd name="T54" fmla="*/ 526 w 646"/>
                  <a:gd name="T55" fmla="*/ 120 h 507"/>
                  <a:gd name="T56" fmla="*/ 532 w 646"/>
                  <a:gd name="T57" fmla="*/ 138 h 507"/>
                  <a:gd name="T58" fmla="*/ 562 w 646"/>
                  <a:gd name="T59" fmla="*/ 156 h 507"/>
                  <a:gd name="T60" fmla="*/ 582 w 646"/>
                  <a:gd name="T61" fmla="*/ 190 h 507"/>
                  <a:gd name="T62" fmla="*/ 598 w 646"/>
                  <a:gd name="T63" fmla="*/ 193 h 507"/>
                  <a:gd name="T64" fmla="*/ 626 w 646"/>
                  <a:gd name="T65" fmla="*/ 234 h 507"/>
                  <a:gd name="T66" fmla="*/ 639 w 646"/>
                  <a:gd name="T67" fmla="*/ 275 h 507"/>
                  <a:gd name="T68" fmla="*/ 637 w 646"/>
                  <a:gd name="T69" fmla="*/ 354 h 507"/>
                  <a:gd name="T70" fmla="*/ 610 w 646"/>
                  <a:gd name="T71" fmla="*/ 397 h 507"/>
                  <a:gd name="T72" fmla="*/ 598 w 646"/>
                  <a:gd name="T73" fmla="*/ 432 h 507"/>
                  <a:gd name="T74" fmla="*/ 585 w 646"/>
                  <a:gd name="T75" fmla="*/ 473 h 507"/>
                  <a:gd name="T76" fmla="*/ 530 w 646"/>
                  <a:gd name="T77" fmla="*/ 498 h 507"/>
                  <a:gd name="T78" fmla="*/ 523 w 646"/>
                  <a:gd name="T79" fmla="*/ 497 h 507"/>
                  <a:gd name="T80" fmla="*/ 510 w 646"/>
                  <a:gd name="T81" fmla="*/ 486 h 507"/>
                  <a:gd name="T82" fmla="*/ 482 w 646"/>
                  <a:gd name="T83" fmla="*/ 498 h 507"/>
                  <a:gd name="T84" fmla="*/ 425 w 646"/>
                  <a:gd name="T85" fmla="*/ 463 h 507"/>
                  <a:gd name="T86" fmla="*/ 400 w 646"/>
                  <a:gd name="T87" fmla="*/ 436 h 507"/>
                  <a:gd name="T88" fmla="*/ 383 w 646"/>
                  <a:gd name="T89" fmla="*/ 429 h 507"/>
                  <a:gd name="T90" fmla="*/ 394 w 646"/>
                  <a:gd name="T91" fmla="*/ 395 h 507"/>
                  <a:gd name="T92" fmla="*/ 385 w 646"/>
                  <a:gd name="T93" fmla="*/ 395 h 507"/>
                  <a:gd name="T94" fmla="*/ 362 w 646"/>
                  <a:gd name="T95" fmla="*/ 420 h 507"/>
                  <a:gd name="T96" fmla="*/ 355 w 646"/>
                  <a:gd name="T97" fmla="*/ 415 h 507"/>
                  <a:gd name="T98" fmla="*/ 333 w 646"/>
                  <a:gd name="T99" fmla="*/ 381 h 507"/>
                  <a:gd name="T100" fmla="*/ 307 w 646"/>
                  <a:gd name="T101" fmla="*/ 368 h 507"/>
                  <a:gd name="T102" fmla="*/ 191 w 646"/>
                  <a:gd name="T103" fmla="*/ 379 h 507"/>
                  <a:gd name="T104" fmla="*/ 141 w 646"/>
                  <a:gd name="T105" fmla="*/ 400 h 507"/>
                  <a:gd name="T106" fmla="*/ 91 w 646"/>
                  <a:gd name="T107" fmla="*/ 413 h 507"/>
                  <a:gd name="T108" fmla="*/ 53 w 646"/>
                  <a:gd name="T109" fmla="*/ 422 h 507"/>
                  <a:gd name="T110" fmla="*/ 41 w 646"/>
                  <a:gd name="T111" fmla="*/ 384 h 507"/>
                  <a:gd name="T112" fmla="*/ 14 w 646"/>
                  <a:gd name="T113" fmla="*/ 288 h 507"/>
                  <a:gd name="T114" fmla="*/ 3 w 646"/>
                  <a:gd name="T115" fmla="*/ 265 h 507"/>
                  <a:gd name="T116" fmla="*/ 7 w 646"/>
                  <a:gd name="T117" fmla="*/ 261 h 507"/>
                  <a:gd name="T118" fmla="*/ 1 w 646"/>
                  <a:gd name="T119" fmla="*/ 231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6" h="507">
                    <a:moveTo>
                      <a:pt x="12" y="186"/>
                    </a:moveTo>
                    <a:lnTo>
                      <a:pt x="14" y="184"/>
                    </a:lnTo>
                    <a:lnTo>
                      <a:pt x="14" y="190"/>
                    </a:lnTo>
                    <a:lnTo>
                      <a:pt x="12" y="190"/>
                    </a:lnTo>
                    <a:lnTo>
                      <a:pt x="12" y="191"/>
                    </a:lnTo>
                    <a:lnTo>
                      <a:pt x="14" y="193"/>
                    </a:lnTo>
                    <a:lnTo>
                      <a:pt x="12" y="197"/>
                    </a:lnTo>
                    <a:lnTo>
                      <a:pt x="14" y="197"/>
                    </a:lnTo>
                    <a:lnTo>
                      <a:pt x="16" y="195"/>
                    </a:lnTo>
                    <a:lnTo>
                      <a:pt x="21" y="186"/>
                    </a:lnTo>
                    <a:lnTo>
                      <a:pt x="26" y="182"/>
                    </a:lnTo>
                    <a:lnTo>
                      <a:pt x="28" y="181"/>
                    </a:lnTo>
                    <a:lnTo>
                      <a:pt x="34" y="181"/>
                    </a:lnTo>
                    <a:lnTo>
                      <a:pt x="37" y="175"/>
                    </a:lnTo>
                    <a:lnTo>
                      <a:pt x="41" y="173"/>
                    </a:lnTo>
                    <a:lnTo>
                      <a:pt x="42" y="172"/>
                    </a:lnTo>
                    <a:lnTo>
                      <a:pt x="57" y="163"/>
                    </a:lnTo>
                    <a:lnTo>
                      <a:pt x="57" y="163"/>
                    </a:lnTo>
                    <a:lnTo>
                      <a:pt x="62" y="165"/>
                    </a:lnTo>
                    <a:lnTo>
                      <a:pt x="64" y="165"/>
                    </a:lnTo>
                    <a:lnTo>
                      <a:pt x="67" y="165"/>
                    </a:lnTo>
                    <a:lnTo>
                      <a:pt x="73" y="165"/>
                    </a:lnTo>
                    <a:lnTo>
                      <a:pt x="78" y="159"/>
                    </a:lnTo>
                    <a:lnTo>
                      <a:pt x="87" y="159"/>
                    </a:lnTo>
                    <a:lnTo>
                      <a:pt x="92" y="152"/>
                    </a:lnTo>
                    <a:lnTo>
                      <a:pt x="98" y="152"/>
                    </a:lnTo>
                    <a:lnTo>
                      <a:pt x="100" y="154"/>
                    </a:lnTo>
                    <a:lnTo>
                      <a:pt x="123" y="147"/>
                    </a:lnTo>
                    <a:lnTo>
                      <a:pt x="132" y="140"/>
                    </a:lnTo>
                    <a:lnTo>
                      <a:pt x="133" y="138"/>
                    </a:lnTo>
                    <a:lnTo>
                      <a:pt x="133" y="134"/>
                    </a:lnTo>
                    <a:lnTo>
                      <a:pt x="135" y="131"/>
                    </a:lnTo>
                    <a:lnTo>
                      <a:pt x="135" y="129"/>
                    </a:lnTo>
                    <a:lnTo>
                      <a:pt x="139" y="129"/>
                    </a:lnTo>
                    <a:lnTo>
                      <a:pt x="144" y="122"/>
                    </a:lnTo>
                    <a:lnTo>
                      <a:pt x="144" y="120"/>
                    </a:lnTo>
                    <a:lnTo>
                      <a:pt x="144" y="120"/>
                    </a:lnTo>
                    <a:lnTo>
                      <a:pt x="142" y="111"/>
                    </a:lnTo>
                    <a:lnTo>
                      <a:pt x="142" y="107"/>
                    </a:lnTo>
                    <a:lnTo>
                      <a:pt x="144" y="104"/>
                    </a:lnTo>
                    <a:lnTo>
                      <a:pt x="146" y="104"/>
                    </a:lnTo>
                    <a:lnTo>
                      <a:pt x="148" y="104"/>
                    </a:lnTo>
                    <a:lnTo>
                      <a:pt x="148" y="100"/>
                    </a:lnTo>
                    <a:lnTo>
                      <a:pt x="151" y="98"/>
                    </a:lnTo>
                    <a:lnTo>
                      <a:pt x="151" y="98"/>
                    </a:lnTo>
                    <a:lnTo>
                      <a:pt x="151" y="97"/>
                    </a:lnTo>
                    <a:lnTo>
                      <a:pt x="153" y="95"/>
                    </a:lnTo>
                    <a:lnTo>
                      <a:pt x="153" y="93"/>
                    </a:lnTo>
                    <a:lnTo>
                      <a:pt x="162" y="111"/>
                    </a:lnTo>
                    <a:lnTo>
                      <a:pt x="164" y="113"/>
                    </a:lnTo>
                    <a:lnTo>
                      <a:pt x="166" y="109"/>
                    </a:lnTo>
                    <a:lnTo>
                      <a:pt x="166" y="106"/>
                    </a:lnTo>
                    <a:lnTo>
                      <a:pt x="166" y="106"/>
                    </a:lnTo>
                    <a:lnTo>
                      <a:pt x="167" y="106"/>
                    </a:lnTo>
                    <a:lnTo>
                      <a:pt x="167" y="102"/>
                    </a:lnTo>
                    <a:lnTo>
                      <a:pt x="166" y="98"/>
                    </a:lnTo>
                    <a:lnTo>
                      <a:pt x="164" y="97"/>
                    </a:lnTo>
                    <a:lnTo>
                      <a:pt x="164" y="95"/>
                    </a:lnTo>
                    <a:lnTo>
                      <a:pt x="164" y="91"/>
                    </a:lnTo>
                    <a:lnTo>
                      <a:pt x="166" y="90"/>
                    </a:lnTo>
                    <a:lnTo>
                      <a:pt x="169" y="91"/>
                    </a:lnTo>
                    <a:lnTo>
                      <a:pt x="171" y="90"/>
                    </a:lnTo>
                    <a:lnTo>
                      <a:pt x="175" y="95"/>
                    </a:lnTo>
                    <a:lnTo>
                      <a:pt x="180" y="95"/>
                    </a:lnTo>
                    <a:lnTo>
                      <a:pt x="180" y="93"/>
                    </a:lnTo>
                    <a:lnTo>
                      <a:pt x="176" y="93"/>
                    </a:lnTo>
                    <a:lnTo>
                      <a:pt x="178" y="90"/>
                    </a:lnTo>
                    <a:lnTo>
                      <a:pt x="180" y="86"/>
                    </a:lnTo>
                    <a:lnTo>
                      <a:pt x="182" y="84"/>
                    </a:lnTo>
                    <a:lnTo>
                      <a:pt x="180" y="79"/>
                    </a:lnTo>
                    <a:lnTo>
                      <a:pt x="182" y="77"/>
                    </a:lnTo>
                    <a:lnTo>
                      <a:pt x="183" y="77"/>
                    </a:lnTo>
                    <a:lnTo>
                      <a:pt x="187" y="79"/>
                    </a:lnTo>
                    <a:lnTo>
                      <a:pt x="187" y="77"/>
                    </a:lnTo>
                    <a:lnTo>
                      <a:pt x="187" y="73"/>
                    </a:lnTo>
                    <a:lnTo>
                      <a:pt x="187" y="72"/>
                    </a:lnTo>
                    <a:lnTo>
                      <a:pt x="187" y="72"/>
                    </a:lnTo>
                    <a:lnTo>
                      <a:pt x="192" y="73"/>
                    </a:lnTo>
                    <a:lnTo>
                      <a:pt x="192" y="72"/>
                    </a:lnTo>
                    <a:lnTo>
                      <a:pt x="191" y="68"/>
                    </a:lnTo>
                    <a:lnTo>
                      <a:pt x="191" y="65"/>
                    </a:lnTo>
                    <a:lnTo>
                      <a:pt x="196" y="63"/>
                    </a:lnTo>
                    <a:lnTo>
                      <a:pt x="200" y="63"/>
                    </a:lnTo>
                    <a:lnTo>
                      <a:pt x="200" y="65"/>
                    </a:lnTo>
                    <a:lnTo>
                      <a:pt x="203" y="63"/>
                    </a:lnTo>
                    <a:lnTo>
                      <a:pt x="205" y="59"/>
                    </a:lnTo>
                    <a:lnTo>
                      <a:pt x="205" y="57"/>
                    </a:lnTo>
                    <a:lnTo>
                      <a:pt x="203" y="56"/>
                    </a:lnTo>
                    <a:lnTo>
                      <a:pt x="203" y="54"/>
                    </a:lnTo>
                    <a:lnTo>
                      <a:pt x="205" y="56"/>
                    </a:lnTo>
                    <a:lnTo>
                      <a:pt x="207" y="57"/>
                    </a:lnTo>
                    <a:lnTo>
                      <a:pt x="208" y="57"/>
                    </a:lnTo>
                    <a:lnTo>
                      <a:pt x="208" y="56"/>
                    </a:lnTo>
                    <a:lnTo>
                      <a:pt x="210" y="56"/>
                    </a:lnTo>
                    <a:lnTo>
                      <a:pt x="210" y="57"/>
                    </a:lnTo>
                    <a:lnTo>
                      <a:pt x="212" y="56"/>
                    </a:lnTo>
                    <a:lnTo>
                      <a:pt x="216" y="54"/>
                    </a:lnTo>
                    <a:lnTo>
                      <a:pt x="216" y="54"/>
                    </a:lnTo>
                    <a:lnTo>
                      <a:pt x="216" y="52"/>
                    </a:lnTo>
                    <a:lnTo>
                      <a:pt x="217" y="50"/>
                    </a:lnTo>
                    <a:lnTo>
                      <a:pt x="219" y="52"/>
                    </a:lnTo>
                    <a:lnTo>
                      <a:pt x="221" y="52"/>
                    </a:lnTo>
                    <a:lnTo>
                      <a:pt x="225" y="52"/>
                    </a:lnTo>
                    <a:lnTo>
                      <a:pt x="230" y="56"/>
                    </a:lnTo>
                    <a:lnTo>
                      <a:pt x="233" y="63"/>
                    </a:lnTo>
                    <a:lnTo>
                      <a:pt x="237" y="66"/>
                    </a:lnTo>
                    <a:lnTo>
                      <a:pt x="237" y="73"/>
                    </a:lnTo>
                    <a:lnTo>
                      <a:pt x="237" y="75"/>
                    </a:lnTo>
                    <a:lnTo>
                      <a:pt x="237" y="75"/>
                    </a:lnTo>
                    <a:lnTo>
                      <a:pt x="239" y="73"/>
                    </a:lnTo>
                    <a:lnTo>
                      <a:pt x="239" y="72"/>
                    </a:lnTo>
                    <a:lnTo>
                      <a:pt x="239" y="72"/>
                    </a:lnTo>
                    <a:lnTo>
                      <a:pt x="241" y="70"/>
                    </a:lnTo>
                    <a:lnTo>
                      <a:pt x="241" y="70"/>
                    </a:lnTo>
                    <a:lnTo>
                      <a:pt x="241" y="70"/>
                    </a:lnTo>
                    <a:lnTo>
                      <a:pt x="242" y="70"/>
                    </a:lnTo>
                    <a:lnTo>
                      <a:pt x="242" y="68"/>
                    </a:lnTo>
                    <a:lnTo>
                      <a:pt x="244" y="68"/>
                    </a:lnTo>
                    <a:lnTo>
                      <a:pt x="248" y="68"/>
                    </a:lnTo>
                    <a:lnTo>
                      <a:pt x="253" y="68"/>
                    </a:lnTo>
                    <a:lnTo>
                      <a:pt x="260" y="73"/>
                    </a:lnTo>
                    <a:lnTo>
                      <a:pt x="262" y="73"/>
                    </a:lnTo>
                    <a:lnTo>
                      <a:pt x="262" y="70"/>
                    </a:lnTo>
                    <a:lnTo>
                      <a:pt x="264" y="68"/>
                    </a:lnTo>
                    <a:lnTo>
                      <a:pt x="264" y="68"/>
                    </a:lnTo>
                    <a:lnTo>
                      <a:pt x="257" y="59"/>
                    </a:lnTo>
                    <a:lnTo>
                      <a:pt x="258" y="56"/>
                    </a:lnTo>
                    <a:lnTo>
                      <a:pt x="260" y="56"/>
                    </a:lnTo>
                    <a:lnTo>
                      <a:pt x="262" y="56"/>
                    </a:lnTo>
                    <a:lnTo>
                      <a:pt x="264" y="50"/>
                    </a:lnTo>
                    <a:lnTo>
                      <a:pt x="264" y="48"/>
                    </a:lnTo>
                    <a:lnTo>
                      <a:pt x="266" y="47"/>
                    </a:lnTo>
                    <a:lnTo>
                      <a:pt x="271" y="47"/>
                    </a:lnTo>
                    <a:lnTo>
                      <a:pt x="273" y="45"/>
                    </a:lnTo>
                    <a:lnTo>
                      <a:pt x="273" y="41"/>
                    </a:lnTo>
                    <a:lnTo>
                      <a:pt x="269" y="41"/>
                    </a:lnTo>
                    <a:lnTo>
                      <a:pt x="271" y="40"/>
                    </a:lnTo>
                    <a:lnTo>
                      <a:pt x="271" y="38"/>
                    </a:lnTo>
                    <a:lnTo>
                      <a:pt x="273" y="34"/>
                    </a:lnTo>
                    <a:lnTo>
                      <a:pt x="276" y="32"/>
                    </a:lnTo>
                    <a:lnTo>
                      <a:pt x="278" y="31"/>
                    </a:lnTo>
                    <a:lnTo>
                      <a:pt x="280" y="31"/>
                    </a:lnTo>
                    <a:lnTo>
                      <a:pt x="282" y="32"/>
                    </a:lnTo>
                    <a:lnTo>
                      <a:pt x="283" y="34"/>
                    </a:lnTo>
                    <a:lnTo>
                      <a:pt x="283" y="32"/>
                    </a:lnTo>
                    <a:lnTo>
                      <a:pt x="282" y="29"/>
                    </a:lnTo>
                    <a:lnTo>
                      <a:pt x="283" y="29"/>
                    </a:lnTo>
                    <a:lnTo>
                      <a:pt x="283" y="25"/>
                    </a:lnTo>
                    <a:lnTo>
                      <a:pt x="289" y="27"/>
                    </a:lnTo>
                    <a:lnTo>
                      <a:pt x="289" y="25"/>
                    </a:lnTo>
                    <a:lnTo>
                      <a:pt x="301" y="27"/>
                    </a:lnTo>
                    <a:lnTo>
                      <a:pt x="308" y="23"/>
                    </a:lnTo>
                    <a:lnTo>
                      <a:pt x="308" y="16"/>
                    </a:lnTo>
                    <a:lnTo>
                      <a:pt x="307" y="15"/>
                    </a:lnTo>
                    <a:lnTo>
                      <a:pt x="305" y="15"/>
                    </a:lnTo>
                    <a:lnTo>
                      <a:pt x="301" y="15"/>
                    </a:lnTo>
                    <a:lnTo>
                      <a:pt x="298" y="11"/>
                    </a:lnTo>
                    <a:lnTo>
                      <a:pt x="296" y="11"/>
                    </a:lnTo>
                    <a:lnTo>
                      <a:pt x="296" y="9"/>
                    </a:lnTo>
                    <a:lnTo>
                      <a:pt x="296" y="9"/>
                    </a:lnTo>
                    <a:lnTo>
                      <a:pt x="298" y="11"/>
                    </a:lnTo>
                    <a:lnTo>
                      <a:pt x="298" y="9"/>
                    </a:lnTo>
                    <a:lnTo>
                      <a:pt x="300" y="7"/>
                    </a:lnTo>
                    <a:lnTo>
                      <a:pt x="300" y="9"/>
                    </a:lnTo>
                    <a:lnTo>
                      <a:pt x="301" y="13"/>
                    </a:lnTo>
                    <a:lnTo>
                      <a:pt x="303" y="11"/>
                    </a:lnTo>
                    <a:lnTo>
                      <a:pt x="303" y="9"/>
                    </a:lnTo>
                    <a:lnTo>
                      <a:pt x="303" y="9"/>
                    </a:lnTo>
                    <a:lnTo>
                      <a:pt x="305" y="9"/>
                    </a:lnTo>
                    <a:lnTo>
                      <a:pt x="307" y="9"/>
                    </a:lnTo>
                    <a:lnTo>
                      <a:pt x="308" y="13"/>
                    </a:lnTo>
                    <a:lnTo>
                      <a:pt x="310" y="15"/>
                    </a:lnTo>
                    <a:lnTo>
                      <a:pt x="312" y="13"/>
                    </a:lnTo>
                    <a:lnTo>
                      <a:pt x="312" y="13"/>
                    </a:lnTo>
                    <a:lnTo>
                      <a:pt x="314" y="13"/>
                    </a:lnTo>
                    <a:lnTo>
                      <a:pt x="316" y="15"/>
                    </a:lnTo>
                    <a:lnTo>
                      <a:pt x="317" y="16"/>
                    </a:lnTo>
                    <a:lnTo>
                      <a:pt x="321" y="18"/>
                    </a:lnTo>
                    <a:lnTo>
                      <a:pt x="323" y="18"/>
                    </a:lnTo>
                    <a:lnTo>
                      <a:pt x="325" y="18"/>
                    </a:lnTo>
                    <a:lnTo>
                      <a:pt x="325" y="20"/>
                    </a:lnTo>
                    <a:lnTo>
                      <a:pt x="328" y="18"/>
                    </a:lnTo>
                    <a:lnTo>
                      <a:pt x="328" y="20"/>
                    </a:lnTo>
                    <a:lnTo>
                      <a:pt x="330" y="20"/>
                    </a:lnTo>
                    <a:lnTo>
                      <a:pt x="332" y="20"/>
                    </a:lnTo>
                    <a:lnTo>
                      <a:pt x="335" y="22"/>
                    </a:lnTo>
                    <a:lnTo>
                      <a:pt x="337" y="22"/>
                    </a:lnTo>
                    <a:lnTo>
                      <a:pt x="339" y="23"/>
                    </a:lnTo>
                    <a:lnTo>
                      <a:pt x="342" y="22"/>
                    </a:lnTo>
                    <a:lnTo>
                      <a:pt x="342" y="22"/>
                    </a:lnTo>
                    <a:lnTo>
                      <a:pt x="344" y="23"/>
                    </a:lnTo>
                    <a:lnTo>
                      <a:pt x="348" y="23"/>
                    </a:lnTo>
                    <a:lnTo>
                      <a:pt x="350" y="25"/>
                    </a:lnTo>
                    <a:lnTo>
                      <a:pt x="351" y="27"/>
                    </a:lnTo>
                    <a:lnTo>
                      <a:pt x="353" y="23"/>
                    </a:lnTo>
                    <a:lnTo>
                      <a:pt x="357" y="22"/>
                    </a:lnTo>
                    <a:lnTo>
                      <a:pt x="358" y="22"/>
                    </a:lnTo>
                    <a:lnTo>
                      <a:pt x="362" y="22"/>
                    </a:lnTo>
                    <a:lnTo>
                      <a:pt x="360" y="23"/>
                    </a:lnTo>
                    <a:lnTo>
                      <a:pt x="360" y="25"/>
                    </a:lnTo>
                    <a:lnTo>
                      <a:pt x="362" y="25"/>
                    </a:lnTo>
                    <a:lnTo>
                      <a:pt x="364" y="23"/>
                    </a:lnTo>
                    <a:lnTo>
                      <a:pt x="364" y="25"/>
                    </a:lnTo>
                    <a:lnTo>
                      <a:pt x="364" y="31"/>
                    </a:lnTo>
                    <a:lnTo>
                      <a:pt x="364" y="31"/>
                    </a:lnTo>
                    <a:lnTo>
                      <a:pt x="366" y="31"/>
                    </a:lnTo>
                    <a:lnTo>
                      <a:pt x="367" y="27"/>
                    </a:lnTo>
                    <a:lnTo>
                      <a:pt x="367" y="25"/>
                    </a:lnTo>
                    <a:lnTo>
                      <a:pt x="367" y="23"/>
                    </a:lnTo>
                    <a:lnTo>
                      <a:pt x="371" y="20"/>
                    </a:lnTo>
                    <a:lnTo>
                      <a:pt x="371" y="22"/>
                    </a:lnTo>
                    <a:lnTo>
                      <a:pt x="373" y="23"/>
                    </a:lnTo>
                    <a:lnTo>
                      <a:pt x="373" y="27"/>
                    </a:lnTo>
                    <a:lnTo>
                      <a:pt x="375" y="25"/>
                    </a:lnTo>
                    <a:lnTo>
                      <a:pt x="376" y="25"/>
                    </a:lnTo>
                    <a:lnTo>
                      <a:pt x="378" y="27"/>
                    </a:lnTo>
                    <a:lnTo>
                      <a:pt x="375" y="34"/>
                    </a:lnTo>
                    <a:lnTo>
                      <a:pt x="373" y="34"/>
                    </a:lnTo>
                    <a:lnTo>
                      <a:pt x="373" y="34"/>
                    </a:lnTo>
                    <a:lnTo>
                      <a:pt x="371" y="36"/>
                    </a:lnTo>
                    <a:lnTo>
                      <a:pt x="373" y="38"/>
                    </a:lnTo>
                    <a:lnTo>
                      <a:pt x="371" y="41"/>
                    </a:lnTo>
                    <a:lnTo>
                      <a:pt x="371" y="41"/>
                    </a:lnTo>
                    <a:lnTo>
                      <a:pt x="367" y="41"/>
                    </a:lnTo>
                    <a:lnTo>
                      <a:pt x="367" y="40"/>
                    </a:lnTo>
                    <a:lnTo>
                      <a:pt x="366" y="41"/>
                    </a:lnTo>
                    <a:lnTo>
                      <a:pt x="367" y="45"/>
                    </a:lnTo>
                    <a:lnTo>
                      <a:pt x="366" y="45"/>
                    </a:lnTo>
                    <a:lnTo>
                      <a:pt x="364" y="43"/>
                    </a:lnTo>
                    <a:lnTo>
                      <a:pt x="364" y="41"/>
                    </a:lnTo>
                    <a:lnTo>
                      <a:pt x="362" y="50"/>
                    </a:lnTo>
                    <a:lnTo>
                      <a:pt x="364" y="48"/>
                    </a:lnTo>
                    <a:lnTo>
                      <a:pt x="364" y="54"/>
                    </a:lnTo>
                    <a:lnTo>
                      <a:pt x="364" y="56"/>
                    </a:lnTo>
                    <a:lnTo>
                      <a:pt x="357" y="68"/>
                    </a:lnTo>
                    <a:lnTo>
                      <a:pt x="357" y="70"/>
                    </a:lnTo>
                    <a:lnTo>
                      <a:pt x="358" y="72"/>
                    </a:lnTo>
                    <a:lnTo>
                      <a:pt x="360" y="73"/>
                    </a:lnTo>
                    <a:lnTo>
                      <a:pt x="362" y="73"/>
                    </a:lnTo>
                    <a:lnTo>
                      <a:pt x="366" y="75"/>
                    </a:lnTo>
                    <a:lnTo>
                      <a:pt x="369" y="77"/>
                    </a:lnTo>
                    <a:lnTo>
                      <a:pt x="371" y="82"/>
                    </a:lnTo>
                    <a:lnTo>
                      <a:pt x="371" y="86"/>
                    </a:lnTo>
                    <a:lnTo>
                      <a:pt x="375" y="84"/>
                    </a:lnTo>
                    <a:lnTo>
                      <a:pt x="380" y="86"/>
                    </a:lnTo>
                    <a:lnTo>
                      <a:pt x="383" y="86"/>
                    </a:lnTo>
                    <a:lnTo>
                      <a:pt x="385" y="88"/>
                    </a:lnTo>
                    <a:lnTo>
                      <a:pt x="394" y="93"/>
                    </a:lnTo>
                    <a:lnTo>
                      <a:pt x="398" y="98"/>
                    </a:lnTo>
                    <a:lnTo>
                      <a:pt x="410" y="102"/>
                    </a:lnTo>
                    <a:lnTo>
                      <a:pt x="414" y="104"/>
                    </a:lnTo>
                    <a:lnTo>
                      <a:pt x="416" y="109"/>
                    </a:lnTo>
                    <a:lnTo>
                      <a:pt x="430" y="116"/>
                    </a:lnTo>
                    <a:lnTo>
                      <a:pt x="441" y="113"/>
                    </a:lnTo>
                    <a:lnTo>
                      <a:pt x="442" y="111"/>
                    </a:lnTo>
                    <a:lnTo>
                      <a:pt x="455" y="72"/>
                    </a:lnTo>
                    <a:lnTo>
                      <a:pt x="451" y="48"/>
                    </a:lnTo>
                    <a:lnTo>
                      <a:pt x="455" y="43"/>
                    </a:lnTo>
                    <a:lnTo>
                      <a:pt x="455" y="38"/>
                    </a:lnTo>
                    <a:lnTo>
                      <a:pt x="455" y="34"/>
                    </a:lnTo>
                    <a:lnTo>
                      <a:pt x="457" y="32"/>
                    </a:lnTo>
                    <a:lnTo>
                      <a:pt x="453" y="31"/>
                    </a:lnTo>
                    <a:lnTo>
                      <a:pt x="455" y="22"/>
                    </a:lnTo>
                    <a:lnTo>
                      <a:pt x="458" y="22"/>
                    </a:lnTo>
                    <a:lnTo>
                      <a:pt x="460" y="13"/>
                    </a:lnTo>
                    <a:lnTo>
                      <a:pt x="464" y="9"/>
                    </a:lnTo>
                    <a:lnTo>
                      <a:pt x="464" y="4"/>
                    </a:lnTo>
                    <a:lnTo>
                      <a:pt x="466" y="4"/>
                    </a:lnTo>
                    <a:lnTo>
                      <a:pt x="467" y="4"/>
                    </a:lnTo>
                    <a:lnTo>
                      <a:pt x="469" y="2"/>
                    </a:lnTo>
                    <a:lnTo>
                      <a:pt x="471" y="0"/>
                    </a:lnTo>
                    <a:lnTo>
                      <a:pt x="473" y="0"/>
                    </a:lnTo>
                    <a:lnTo>
                      <a:pt x="473" y="2"/>
                    </a:lnTo>
                    <a:lnTo>
                      <a:pt x="473" y="4"/>
                    </a:lnTo>
                    <a:lnTo>
                      <a:pt x="473" y="6"/>
                    </a:lnTo>
                    <a:lnTo>
                      <a:pt x="473" y="6"/>
                    </a:lnTo>
                    <a:lnTo>
                      <a:pt x="475" y="20"/>
                    </a:lnTo>
                    <a:lnTo>
                      <a:pt x="478" y="20"/>
                    </a:lnTo>
                    <a:lnTo>
                      <a:pt x="478" y="22"/>
                    </a:lnTo>
                    <a:lnTo>
                      <a:pt x="478" y="25"/>
                    </a:lnTo>
                    <a:lnTo>
                      <a:pt x="480" y="27"/>
                    </a:lnTo>
                    <a:lnTo>
                      <a:pt x="480" y="31"/>
                    </a:lnTo>
                    <a:lnTo>
                      <a:pt x="482" y="31"/>
                    </a:lnTo>
                    <a:lnTo>
                      <a:pt x="482" y="36"/>
                    </a:lnTo>
                    <a:lnTo>
                      <a:pt x="483" y="36"/>
                    </a:lnTo>
                    <a:lnTo>
                      <a:pt x="485" y="45"/>
                    </a:lnTo>
                    <a:lnTo>
                      <a:pt x="485" y="50"/>
                    </a:lnTo>
                    <a:lnTo>
                      <a:pt x="489" y="59"/>
                    </a:lnTo>
                    <a:lnTo>
                      <a:pt x="491" y="61"/>
                    </a:lnTo>
                    <a:lnTo>
                      <a:pt x="492" y="61"/>
                    </a:lnTo>
                    <a:lnTo>
                      <a:pt x="496" y="59"/>
                    </a:lnTo>
                    <a:lnTo>
                      <a:pt x="500" y="57"/>
                    </a:lnTo>
                    <a:lnTo>
                      <a:pt x="501" y="57"/>
                    </a:lnTo>
                    <a:lnTo>
                      <a:pt x="503" y="63"/>
                    </a:lnTo>
                    <a:lnTo>
                      <a:pt x="507" y="65"/>
                    </a:lnTo>
                    <a:lnTo>
                      <a:pt x="508" y="66"/>
                    </a:lnTo>
                    <a:lnTo>
                      <a:pt x="510" y="68"/>
                    </a:lnTo>
                    <a:lnTo>
                      <a:pt x="514" y="70"/>
                    </a:lnTo>
                    <a:lnTo>
                      <a:pt x="514" y="73"/>
                    </a:lnTo>
                    <a:lnTo>
                      <a:pt x="514" y="75"/>
                    </a:lnTo>
                    <a:lnTo>
                      <a:pt x="514" y="81"/>
                    </a:lnTo>
                    <a:lnTo>
                      <a:pt x="514" y="84"/>
                    </a:lnTo>
                    <a:lnTo>
                      <a:pt x="514" y="86"/>
                    </a:lnTo>
                    <a:lnTo>
                      <a:pt x="516" y="90"/>
                    </a:lnTo>
                    <a:lnTo>
                      <a:pt x="517" y="97"/>
                    </a:lnTo>
                    <a:lnTo>
                      <a:pt x="521" y="102"/>
                    </a:lnTo>
                    <a:lnTo>
                      <a:pt x="523" y="102"/>
                    </a:lnTo>
                    <a:lnTo>
                      <a:pt x="526" y="120"/>
                    </a:lnTo>
                    <a:lnTo>
                      <a:pt x="526" y="125"/>
                    </a:lnTo>
                    <a:lnTo>
                      <a:pt x="526" y="127"/>
                    </a:lnTo>
                    <a:lnTo>
                      <a:pt x="528" y="129"/>
                    </a:lnTo>
                    <a:lnTo>
                      <a:pt x="530" y="131"/>
                    </a:lnTo>
                    <a:lnTo>
                      <a:pt x="530" y="131"/>
                    </a:lnTo>
                    <a:lnTo>
                      <a:pt x="530" y="131"/>
                    </a:lnTo>
                    <a:lnTo>
                      <a:pt x="530" y="131"/>
                    </a:lnTo>
                    <a:lnTo>
                      <a:pt x="530" y="132"/>
                    </a:lnTo>
                    <a:lnTo>
                      <a:pt x="530" y="132"/>
                    </a:lnTo>
                    <a:lnTo>
                      <a:pt x="530" y="134"/>
                    </a:lnTo>
                    <a:lnTo>
                      <a:pt x="532" y="138"/>
                    </a:lnTo>
                    <a:lnTo>
                      <a:pt x="535" y="140"/>
                    </a:lnTo>
                    <a:lnTo>
                      <a:pt x="537" y="141"/>
                    </a:lnTo>
                    <a:lnTo>
                      <a:pt x="544" y="143"/>
                    </a:lnTo>
                    <a:lnTo>
                      <a:pt x="546" y="143"/>
                    </a:lnTo>
                    <a:lnTo>
                      <a:pt x="548" y="141"/>
                    </a:lnTo>
                    <a:lnTo>
                      <a:pt x="550" y="148"/>
                    </a:lnTo>
                    <a:lnTo>
                      <a:pt x="551" y="150"/>
                    </a:lnTo>
                    <a:lnTo>
                      <a:pt x="555" y="150"/>
                    </a:lnTo>
                    <a:lnTo>
                      <a:pt x="557" y="150"/>
                    </a:lnTo>
                    <a:lnTo>
                      <a:pt x="558" y="152"/>
                    </a:lnTo>
                    <a:lnTo>
                      <a:pt x="562" y="156"/>
                    </a:lnTo>
                    <a:lnTo>
                      <a:pt x="564" y="154"/>
                    </a:lnTo>
                    <a:lnTo>
                      <a:pt x="571" y="159"/>
                    </a:lnTo>
                    <a:lnTo>
                      <a:pt x="571" y="163"/>
                    </a:lnTo>
                    <a:lnTo>
                      <a:pt x="569" y="163"/>
                    </a:lnTo>
                    <a:lnTo>
                      <a:pt x="569" y="166"/>
                    </a:lnTo>
                    <a:lnTo>
                      <a:pt x="571" y="168"/>
                    </a:lnTo>
                    <a:lnTo>
                      <a:pt x="573" y="168"/>
                    </a:lnTo>
                    <a:lnTo>
                      <a:pt x="578" y="179"/>
                    </a:lnTo>
                    <a:lnTo>
                      <a:pt x="580" y="179"/>
                    </a:lnTo>
                    <a:lnTo>
                      <a:pt x="582" y="188"/>
                    </a:lnTo>
                    <a:lnTo>
                      <a:pt x="582" y="190"/>
                    </a:lnTo>
                    <a:lnTo>
                      <a:pt x="582" y="193"/>
                    </a:lnTo>
                    <a:lnTo>
                      <a:pt x="583" y="193"/>
                    </a:lnTo>
                    <a:lnTo>
                      <a:pt x="583" y="197"/>
                    </a:lnTo>
                    <a:lnTo>
                      <a:pt x="585" y="197"/>
                    </a:lnTo>
                    <a:lnTo>
                      <a:pt x="585" y="195"/>
                    </a:lnTo>
                    <a:lnTo>
                      <a:pt x="587" y="195"/>
                    </a:lnTo>
                    <a:lnTo>
                      <a:pt x="587" y="191"/>
                    </a:lnTo>
                    <a:lnTo>
                      <a:pt x="589" y="190"/>
                    </a:lnTo>
                    <a:lnTo>
                      <a:pt x="591" y="193"/>
                    </a:lnTo>
                    <a:lnTo>
                      <a:pt x="598" y="197"/>
                    </a:lnTo>
                    <a:lnTo>
                      <a:pt x="598" y="193"/>
                    </a:lnTo>
                    <a:lnTo>
                      <a:pt x="600" y="195"/>
                    </a:lnTo>
                    <a:lnTo>
                      <a:pt x="600" y="197"/>
                    </a:lnTo>
                    <a:lnTo>
                      <a:pt x="600" y="197"/>
                    </a:lnTo>
                    <a:lnTo>
                      <a:pt x="603" y="215"/>
                    </a:lnTo>
                    <a:lnTo>
                      <a:pt x="610" y="222"/>
                    </a:lnTo>
                    <a:lnTo>
                      <a:pt x="616" y="222"/>
                    </a:lnTo>
                    <a:lnTo>
                      <a:pt x="617" y="223"/>
                    </a:lnTo>
                    <a:lnTo>
                      <a:pt x="621" y="229"/>
                    </a:lnTo>
                    <a:lnTo>
                      <a:pt x="621" y="231"/>
                    </a:lnTo>
                    <a:lnTo>
                      <a:pt x="625" y="234"/>
                    </a:lnTo>
                    <a:lnTo>
                      <a:pt x="626" y="234"/>
                    </a:lnTo>
                    <a:lnTo>
                      <a:pt x="626" y="236"/>
                    </a:lnTo>
                    <a:lnTo>
                      <a:pt x="630" y="241"/>
                    </a:lnTo>
                    <a:lnTo>
                      <a:pt x="630" y="243"/>
                    </a:lnTo>
                    <a:lnTo>
                      <a:pt x="633" y="243"/>
                    </a:lnTo>
                    <a:lnTo>
                      <a:pt x="635" y="252"/>
                    </a:lnTo>
                    <a:lnTo>
                      <a:pt x="637" y="256"/>
                    </a:lnTo>
                    <a:lnTo>
                      <a:pt x="639" y="254"/>
                    </a:lnTo>
                    <a:lnTo>
                      <a:pt x="639" y="259"/>
                    </a:lnTo>
                    <a:lnTo>
                      <a:pt x="637" y="263"/>
                    </a:lnTo>
                    <a:lnTo>
                      <a:pt x="641" y="277"/>
                    </a:lnTo>
                    <a:lnTo>
                      <a:pt x="639" y="275"/>
                    </a:lnTo>
                    <a:lnTo>
                      <a:pt x="639" y="279"/>
                    </a:lnTo>
                    <a:lnTo>
                      <a:pt x="639" y="279"/>
                    </a:lnTo>
                    <a:lnTo>
                      <a:pt x="639" y="281"/>
                    </a:lnTo>
                    <a:lnTo>
                      <a:pt x="641" y="282"/>
                    </a:lnTo>
                    <a:lnTo>
                      <a:pt x="646" y="298"/>
                    </a:lnTo>
                    <a:lnTo>
                      <a:pt x="641" y="334"/>
                    </a:lnTo>
                    <a:lnTo>
                      <a:pt x="641" y="334"/>
                    </a:lnTo>
                    <a:lnTo>
                      <a:pt x="637" y="340"/>
                    </a:lnTo>
                    <a:lnTo>
                      <a:pt x="639" y="350"/>
                    </a:lnTo>
                    <a:lnTo>
                      <a:pt x="637" y="352"/>
                    </a:lnTo>
                    <a:lnTo>
                      <a:pt x="637" y="354"/>
                    </a:lnTo>
                    <a:lnTo>
                      <a:pt x="630" y="370"/>
                    </a:lnTo>
                    <a:lnTo>
                      <a:pt x="628" y="372"/>
                    </a:lnTo>
                    <a:lnTo>
                      <a:pt x="628" y="373"/>
                    </a:lnTo>
                    <a:lnTo>
                      <a:pt x="628" y="375"/>
                    </a:lnTo>
                    <a:lnTo>
                      <a:pt x="625" y="381"/>
                    </a:lnTo>
                    <a:lnTo>
                      <a:pt x="623" y="381"/>
                    </a:lnTo>
                    <a:lnTo>
                      <a:pt x="623" y="381"/>
                    </a:lnTo>
                    <a:lnTo>
                      <a:pt x="625" y="382"/>
                    </a:lnTo>
                    <a:lnTo>
                      <a:pt x="619" y="384"/>
                    </a:lnTo>
                    <a:lnTo>
                      <a:pt x="612" y="397"/>
                    </a:lnTo>
                    <a:lnTo>
                      <a:pt x="610" y="397"/>
                    </a:lnTo>
                    <a:lnTo>
                      <a:pt x="608" y="397"/>
                    </a:lnTo>
                    <a:lnTo>
                      <a:pt x="608" y="398"/>
                    </a:lnTo>
                    <a:lnTo>
                      <a:pt x="610" y="398"/>
                    </a:lnTo>
                    <a:lnTo>
                      <a:pt x="610" y="402"/>
                    </a:lnTo>
                    <a:lnTo>
                      <a:pt x="608" y="406"/>
                    </a:lnTo>
                    <a:lnTo>
                      <a:pt x="608" y="406"/>
                    </a:lnTo>
                    <a:lnTo>
                      <a:pt x="608" y="409"/>
                    </a:lnTo>
                    <a:lnTo>
                      <a:pt x="605" y="413"/>
                    </a:lnTo>
                    <a:lnTo>
                      <a:pt x="601" y="429"/>
                    </a:lnTo>
                    <a:lnTo>
                      <a:pt x="600" y="427"/>
                    </a:lnTo>
                    <a:lnTo>
                      <a:pt x="598" y="432"/>
                    </a:lnTo>
                    <a:lnTo>
                      <a:pt x="596" y="434"/>
                    </a:lnTo>
                    <a:lnTo>
                      <a:pt x="594" y="438"/>
                    </a:lnTo>
                    <a:lnTo>
                      <a:pt x="594" y="438"/>
                    </a:lnTo>
                    <a:lnTo>
                      <a:pt x="592" y="440"/>
                    </a:lnTo>
                    <a:lnTo>
                      <a:pt x="591" y="448"/>
                    </a:lnTo>
                    <a:lnTo>
                      <a:pt x="592" y="452"/>
                    </a:lnTo>
                    <a:lnTo>
                      <a:pt x="589" y="463"/>
                    </a:lnTo>
                    <a:lnTo>
                      <a:pt x="591" y="472"/>
                    </a:lnTo>
                    <a:lnTo>
                      <a:pt x="589" y="475"/>
                    </a:lnTo>
                    <a:lnTo>
                      <a:pt x="587" y="473"/>
                    </a:lnTo>
                    <a:lnTo>
                      <a:pt x="585" y="473"/>
                    </a:lnTo>
                    <a:lnTo>
                      <a:pt x="585" y="479"/>
                    </a:lnTo>
                    <a:lnTo>
                      <a:pt x="564" y="481"/>
                    </a:lnTo>
                    <a:lnTo>
                      <a:pt x="546" y="490"/>
                    </a:lnTo>
                    <a:lnTo>
                      <a:pt x="544" y="491"/>
                    </a:lnTo>
                    <a:lnTo>
                      <a:pt x="544" y="493"/>
                    </a:lnTo>
                    <a:lnTo>
                      <a:pt x="541" y="497"/>
                    </a:lnTo>
                    <a:lnTo>
                      <a:pt x="539" y="498"/>
                    </a:lnTo>
                    <a:lnTo>
                      <a:pt x="537" y="497"/>
                    </a:lnTo>
                    <a:lnTo>
                      <a:pt x="533" y="498"/>
                    </a:lnTo>
                    <a:lnTo>
                      <a:pt x="532" y="498"/>
                    </a:lnTo>
                    <a:lnTo>
                      <a:pt x="530" y="498"/>
                    </a:lnTo>
                    <a:lnTo>
                      <a:pt x="530" y="500"/>
                    </a:lnTo>
                    <a:lnTo>
                      <a:pt x="530" y="502"/>
                    </a:lnTo>
                    <a:lnTo>
                      <a:pt x="532" y="500"/>
                    </a:lnTo>
                    <a:lnTo>
                      <a:pt x="533" y="498"/>
                    </a:lnTo>
                    <a:lnTo>
                      <a:pt x="535" y="498"/>
                    </a:lnTo>
                    <a:lnTo>
                      <a:pt x="533" y="506"/>
                    </a:lnTo>
                    <a:lnTo>
                      <a:pt x="532" y="507"/>
                    </a:lnTo>
                    <a:lnTo>
                      <a:pt x="528" y="502"/>
                    </a:lnTo>
                    <a:lnTo>
                      <a:pt x="526" y="502"/>
                    </a:lnTo>
                    <a:lnTo>
                      <a:pt x="525" y="500"/>
                    </a:lnTo>
                    <a:lnTo>
                      <a:pt x="523" y="497"/>
                    </a:lnTo>
                    <a:lnTo>
                      <a:pt x="519" y="497"/>
                    </a:lnTo>
                    <a:lnTo>
                      <a:pt x="517" y="495"/>
                    </a:lnTo>
                    <a:lnTo>
                      <a:pt x="517" y="493"/>
                    </a:lnTo>
                    <a:lnTo>
                      <a:pt x="517" y="490"/>
                    </a:lnTo>
                    <a:lnTo>
                      <a:pt x="516" y="488"/>
                    </a:lnTo>
                    <a:lnTo>
                      <a:pt x="512" y="491"/>
                    </a:lnTo>
                    <a:lnTo>
                      <a:pt x="510" y="491"/>
                    </a:lnTo>
                    <a:lnTo>
                      <a:pt x="507" y="491"/>
                    </a:lnTo>
                    <a:lnTo>
                      <a:pt x="505" y="490"/>
                    </a:lnTo>
                    <a:lnTo>
                      <a:pt x="508" y="490"/>
                    </a:lnTo>
                    <a:lnTo>
                      <a:pt x="510" y="486"/>
                    </a:lnTo>
                    <a:lnTo>
                      <a:pt x="510" y="482"/>
                    </a:lnTo>
                    <a:lnTo>
                      <a:pt x="507" y="481"/>
                    </a:lnTo>
                    <a:lnTo>
                      <a:pt x="503" y="484"/>
                    </a:lnTo>
                    <a:lnTo>
                      <a:pt x="500" y="484"/>
                    </a:lnTo>
                    <a:lnTo>
                      <a:pt x="503" y="488"/>
                    </a:lnTo>
                    <a:lnTo>
                      <a:pt x="503" y="488"/>
                    </a:lnTo>
                    <a:lnTo>
                      <a:pt x="498" y="490"/>
                    </a:lnTo>
                    <a:lnTo>
                      <a:pt x="494" y="493"/>
                    </a:lnTo>
                    <a:lnTo>
                      <a:pt x="492" y="497"/>
                    </a:lnTo>
                    <a:lnTo>
                      <a:pt x="483" y="500"/>
                    </a:lnTo>
                    <a:lnTo>
                      <a:pt x="482" y="498"/>
                    </a:lnTo>
                    <a:lnTo>
                      <a:pt x="458" y="490"/>
                    </a:lnTo>
                    <a:lnTo>
                      <a:pt x="455" y="490"/>
                    </a:lnTo>
                    <a:lnTo>
                      <a:pt x="453" y="491"/>
                    </a:lnTo>
                    <a:lnTo>
                      <a:pt x="451" y="488"/>
                    </a:lnTo>
                    <a:lnTo>
                      <a:pt x="446" y="484"/>
                    </a:lnTo>
                    <a:lnTo>
                      <a:pt x="441" y="484"/>
                    </a:lnTo>
                    <a:lnTo>
                      <a:pt x="435" y="481"/>
                    </a:lnTo>
                    <a:lnTo>
                      <a:pt x="433" y="479"/>
                    </a:lnTo>
                    <a:lnTo>
                      <a:pt x="432" y="475"/>
                    </a:lnTo>
                    <a:lnTo>
                      <a:pt x="428" y="472"/>
                    </a:lnTo>
                    <a:lnTo>
                      <a:pt x="425" y="463"/>
                    </a:lnTo>
                    <a:lnTo>
                      <a:pt x="425" y="463"/>
                    </a:lnTo>
                    <a:lnTo>
                      <a:pt x="426" y="459"/>
                    </a:lnTo>
                    <a:lnTo>
                      <a:pt x="426" y="456"/>
                    </a:lnTo>
                    <a:lnTo>
                      <a:pt x="423" y="447"/>
                    </a:lnTo>
                    <a:lnTo>
                      <a:pt x="416" y="438"/>
                    </a:lnTo>
                    <a:lnTo>
                      <a:pt x="419" y="432"/>
                    </a:lnTo>
                    <a:lnTo>
                      <a:pt x="417" y="432"/>
                    </a:lnTo>
                    <a:lnTo>
                      <a:pt x="414" y="432"/>
                    </a:lnTo>
                    <a:lnTo>
                      <a:pt x="405" y="436"/>
                    </a:lnTo>
                    <a:lnTo>
                      <a:pt x="401" y="438"/>
                    </a:lnTo>
                    <a:lnTo>
                      <a:pt x="400" y="436"/>
                    </a:lnTo>
                    <a:lnTo>
                      <a:pt x="403" y="429"/>
                    </a:lnTo>
                    <a:lnTo>
                      <a:pt x="405" y="423"/>
                    </a:lnTo>
                    <a:lnTo>
                      <a:pt x="405" y="420"/>
                    </a:lnTo>
                    <a:lnTo>
                      <a:pt x="403" y="415"/>
                    </a:lnTo>
                    <a:lnTo>
                      <a:pt x="398" y="409"/>
                    </a:lnTo>
                    <a:lnTo>
                      <a:pt x="394" y="416"/>
                    </a:lnTo>
                    <a:lnTo>
                      <a:pt x="392" y="427"/>
                    </a:lnTo>
                    <a:lnTo>
                      <a:pt x="392" y="427"/>
                    </a:lnTo>
                    <a:lnTo>
                      <a:pt x="391" y="427"/>
                    </a:lnTo>
                    <a:lnTo>
                      <a:pt x="387" y="429"/>
                    </a:lnTo>
                    <a:lnTo>
                      <a:pt x="383" y="429"/>
                    </a:lnTo>
                    <a:lnTo>
                      <a:pt x="380" y="431"/>
                    </a:lnTo>
                    <a:lnTo>
                      <a:pt x="378" y="429"/>
                    </a:lnTo>
                    <a:lnTo>
                      <a:pt x="380" y="423"/>
                    </a:lnTo>
                    <a:lnTo>
                      <a:pt x="383" y="423"/>
                    </a:lnTo>
                    <a:lnTo>
                      <a:pt x="387" y="422"/>
                    </a:lnTo>
                    <a:lnTo>
                      <a:pt x="389" y="413"/>
                    </a:lnTo>
                    <a:lnTo>
                      <a:pt x="389" y="413"/>
                    </a:lnTo>
                    <a:lnTo>
                      <a:pt x="389" y="407"/>
                    </a:lnTo>
                    <a:lnTo>
                      <a:pt x="392" y="400"/>
                    </a:lnTo>
                    <a:lnTo>
                      <a:pt x="394" y="398"/>
                    </a:lnTo>
                    <a:lnTo>
                      <a:pt x="394" y="395"/>
                    </a:lnTo>
                    <a:lnTo>
                      <a:pt x="396" y="388"/>
                    </a:lnTo>
                    <a:lnTo>
                      <a:pt x="396" y="390"/>
                    </a:lnTo>
                    <a:lnTo>
                      <a:pt x="396" y="384"/>
                    </a:lnTo>
                    <a:lnTo>
                      <a:pt x="396" y="382"/>
                    </a:lnTo>
                    <a:lnTo>
                      <a:pt x="394" y="381"/>
                    </a:lnTo>
                    <a:lnTo>
                      <a:pt x="394" y="377"/>
                    </a:lnTo>
                    <a:lnTo>
                      <a:pt x="392" y="377"/>
                    </a:lnTo>
                    <a:lnTo>
                      <a:pt x="392" y="379"/>
                    </a:lnTo>
                    <a:lnTo>
                      <a:pt x="392" y="384"/>
                    </a:lnTo>
                    <a:lnTo>
                      <a:pt x="391" y="384"/>
                    </a:lnTo>
                    <a:lnTo>
                      <a:pt x="385" y="395"/>
                    </a:lnTo>
                    <a:lnTo>
                      <a:pt x="385" y="397"/>
                    </a:lnTo>
                    <a:lnTo>
                      <a:pt x="383" y="400"/>
                    </a:lnTo>
                    <a:lnTo>
                      <a:pt x="380" y="398"/>
                    </a:lnTo>
                    <a:lnTo>
                      <a:pt x="380" y="400"/>
                    </a:lnTo>
                    <a:lnTo>
                      <a:pt x="378" y="402"/>
                    </a:lnTo>
                    <a:lnTo>
                      <a:pt x="375" y="404"/>
                    </a:lnTo>
                    <a:lnTo>
                      <a:pt x="373" y="406"/>
                    </a:lnTo>
                    <a:lnTo>
                      <a:pt x="371" y="406"/>
                    </a:lnTo>
                    <a:lnTo>
                      <a:pt x="369" y="411"/>
                    </a:lnTo>
                    <a:lnTo>
                      <a:pt x="364" y="416"/>
                    </a:lnTo>
                    <a:lnTo>
                      <a:pt x="362" y="420"/>
                    </a:lnTo>
                    <a:lnTo>
                      <a:pt x="364" y="420"/>
                    </a:lnTo>
                    <a:lnTo>
                      <a:pt x="364" y="425"/>
                    </a:lnTo>
                    <a:lnTo>
                      <a:pt x="362" y="423"/>
                    </a:lnTo>
                    <a:lnTo>
                      <a:pt x="360" y="423"/>
                    </a:lnTo>
                    <a:lnTo>
                      <a:pt x="358" y="420"/>
                    </a:lnTo>
                    <a:lnTo>
                      <a:pt x="355" y="418"/>
                    </a:lnTo>
                    <a:lnTo>
                      <a:pt x="353" y="416"/>
                    </a:lnTo>
                    <a:lnTo>
                      <a:pt x="351" y="416"/>
                    </a:lnTo>
                    <a:lnTo>
                      <a:pt x="351" y="413"/>
                    </a:lnTo>
                    <a:lnTo>
                      <a:pt x="355" y="416"/>
                    </a:lnTo>
                    <a:lnTo>
                      <a:pt x="355" y="415"/>
                    </a:lnTo>
                    <a:lnTo>
                      <a:pt x="355" y="411"/>
                    </a:lnTo>
                    <a:lnTo>
                      <a:pt x="353" y="407"/>
                    </a:lnTo>
                    <a:lnTo>
                      <a:pt x="353" y="404"/>
                    </a:lnTo>
                    <a:lnTo>
                      <a:pt x="350" y="400"/>
                    </a:lnTo>
                    <a:lnTo>
                      <a:pt x="348" y="398"/>
                    </a:lnTo>
                    <a:lnTo>
                      <a:pt x="346" y="393"/>
                    </a:lnTo>
                    <a:lnTo>
                      <a:pt x="344" y="390"/>
                    </a:lnTo>
                    <a:lnTo>
                      <a:pt x="342" y="390"/>
                    </a:lnTo>
                    <a:lnTo>
                      <a:pt x="337" y="386"/>
                    </a:lnTo>
                    <a:lnTo>
                      <a:pt x="333" y="384"/>
                    </a:lnTo>
                    <a:lnTo>
                      <a:pt x="333" y="381"/>
                    </a:lnTo>
                    <a:lnTo>
                      <a:pt x="335" y="381"/>
                    </a:lnTo>
                    <a:lnTo>
                      <a:pt x="337" y="377"/>
                    </a:lnTo>
                    <a:lnTo>
                      <a:pt x="330" y="375"/>
                    </a:lnTo>
                    <a:lnTo>
                      <a:pt x="325" y="370"/>
                    </a:lnTo>
                    <a:lnTo>
                      <a:pt x="323" y="368"/>
                    </a:lnTo>
                    <a:lnTo>
                      <a:pt x="323" y="372"/>
                    </a:lnTo>
                    <a:lnTo>
                      <a:pt x="321" y="370"/>
                    </a:lnTo>
                    <a:lnTo>
                      <a:pt x="310" y="366"/>
                    </a:lnTo>
                    <a:lnTo>
                      <a:pt x="308" y="366"/>
                    </a:lnTo>
                    <a:lnTo>
                      <a:pt x="307" y="368"/>
                    </a:lnTo>
                    <a:lnTo>
                      <a:pt x="307" y="368"/>
                    </a:lnTo>
                    <a:lnTo>
                      <a:pt x="305" y="366"/>
                    </a:lnTo>
                    <a:lnTo>
                      <a:pt x="296" y="359"/>
                    </a:lnTo>
                    <a:lnTo>
                      <a:pt x="289" y="357"/>
                    </a:lnTo>
                    <a:lnTo>
                      <a:pt x="257" y="359"/>
                    </a:lnTo>
                    <a:lnTo>
                      <a:pt x="239" y="368"/>
                    </a:lnTo>
                    <a:lnTo>
                      <a:pt x="232" y="368"/>
                    </a:lnTo>
                    <a:lnTo>
                      <a:pt x="226" y="372"/>
                    </a:lnTo>
                    <a:lnTo>
                      <a:pt x="210" y="372"/>
                    </a:lnTo>
                    <a:lnTo>
                      <a:pt x="207" y="370"/>
                    </a:lnTo>
                    <a:lnTo>
                      <a:pt x="201" y="372"/>
                    </a:lnTo>
                    <a:lnTo>
                      <a:pt x="191" y="379"/>
                    </a:lnTo>
                    <a:lnTo>
                      <a:pt x="187" y="381"/>
                    </a:lnTo>
                    <a:lnTo>
                      <a:pt x="182" y="382"/>
                    </a:lnTo>
                    <a:lnTo>
                      <a:pt x="178" y="384"/>
                    </a:lnTo>
                    <a:lnTo>
                      <a:pt x="175" y="386"/>
                    </a:lnTo>
                    <a:lnTo>
                      <a:pt x="167" y="400"/>
                    </a:lnTo>
                    <a:lnTo>
                      <a:pt x="162" y="402"/>
                    </a:lnTo>
                    <a:lnTo>
                      <a:pt x="158" y="402"/>
                    </a:lnTo>
                    <a:lnTo>
                      <a:pt x="157" y="400"/>
                    </a:lnTo>
                    <a:lnTo>
                      <a:pt x="144" y="404"/>
                    </a:lnTo>
                    <a:lnTo>
                      <a:pt x="142" y="402"/>
                    </a:lnTo>
                    <a:lnTo>
                      <a:pt x="141" y="400"/>
                    </a:lnTo>
                    <a:lnTo>
                      <a:pt x="135" y="402"/>
                    </a:lnTo>
                    <a:lnTo>
                      <a:pt x="126" y="400"/>
                    </a:lnTo>
                    <a:lnTo>
                      <a:pt x="121" y="402"/>
                    </a:lnTo>
                    <a:lnTo>
                      <a:pt x="108" y="402"/>
                    </a:lnTo>
                    <a:lnTo>
                      <a:pt x="105" y="404"/>
                    </a:lnTo>
                    <a:lnTo>
                      <a:pt x="103" y="406"/>
                    </a:lnTo>
                    <a:lnTo>
                      <a:pt x="101" y="409"/>
                    </a:lnTo>
                    <a:lnTo>
                      <a:pt x="101" y="409"/>
                    </a:lnTo>
                    <a:lnTo>
                      <a:pt x="101" y="411"/>
                    </a:lnTo>
                    <a:lnTo>
                      <a:pt x="100" y="413"/>
                    </a:lnTo>
                    <a:lnTo>
                      <a:pt x="91" y="413"/>
                    </a:lnTo>
                    <a:lnTo>
                      <a:pt x="84" y="420"/>
                    </a:lnTo>
                    <a:lnTo>
                      <a:pt x="84" y="422"/>
                    </a:lnTo>
                    <a:lnTo>
                      <a:pt x="80" y="423"/>
                    </a:lnTo>
                    <a:lnTo>
                      <a:pt x="78" y="423"/>
                    </a:lnTo>
                    <a:lnTo>
                      <a:pt x="76" y="422"/>
                    </a:lnTo>
                    <a:lnTo>
                      <a:pt x="75" y="425"/>
                    </a:lnTo>
                    <a:lnTo>
                      <a:pt x="73" y="425"/>
                    </a:lnTo>
                    <a:lnTo>
                      <a:pt x="71" y="425"/>
                    </a:lnTo>
                    <a:lnTo>
                      <a:pt x="69" y="423"/>
                    </a:lnTo>
                    <a:lnTo>
                      <a:pt x="55" y="423"/>
                    </a:lnTo>
                    <a:lnTo>
                      <a:pt x="53" y="422"/>
                    </a:lnTo>
                    <a:lnTo>
                      <a:pt x="50" y="420"/>
                    </a:lnTo>
                    <a:lnTo>
                      <a:pt x="50" y="420"/>
                    </a:lnTo>
                    <a:lnTo>
                      <a:pt x="46" y="420"/>
                    </a:lnTo>
                    <a:lnTo>
                      <a:pt x="37" y="411"/>
                    </a:lnTo>
                    <a:lnTo>
                      <a:pt x="30" y="409"/>
                    </a:lnTo>
                    <a:lnTo>
                      <a:pt x="30" y="397"/>
                    </a:lnTo>
                    <a:lnTo>
                      <a:pt x="30" y="397"/>
                    </a:lnTo>
                    <a:lnTo>
                      <a:pt x="34" y="397"/>
                    </a:lnTo>
                    <a:lnTo>
                      <a:pt x="35" y="397"/>
                    </a:lnTo>
                    <a:lnTo>
                      <a:pt x="41" y="388"/>
                    </a:lnTo>
                    <a:lnTo>
                      <a:pt x="41" y="384"/>
                    </a:lnTo>
                    <a:lnTo>
                      <a:pt x="39" y="381"/>
                    </a:lnTo>
                    <a:lnTo>
                      <a:pt x="39" y="377"/>
                    </a:lnTo>
                    <a:lnTo>
                      <a:pt x="39" y="379"/>
                    </a:lnTo>
                    <a:lnTo>
                      <a:pt x="41" y="375"/>
                    </a:lnTo>
                    <a:lnTo>
                      <a:pt x="41" y="361"/>
                    </a:lnTo>
                    <a:lnTo>
                      <a:pt x="32" y="341"/>
                    </a:lnTo>
                    <a:lnTo>
                      <a:pt x="28" y="318"/>
                    </a:lnTo>
                    <a:lnTo>
                      <a:pt x="23" y="307"/>
                    </a:lnTo>
                    <a:lnTo>
                      <a:pt x="21" y="304"/>
                    </a:lnTo>
                    <a:lnTo>
                      <a:pt x="16" y="293"/>
                    </a:lnTo>
                    <a:lnTo>
                      <a:pt x="14" y="288"/>
                    </a:lnTo>
                    <a:lnTo>
                      <a:pt x="10" y="275"/>
                    </a:lnTo>
                    <a:lnTo>
                      <a:pt x="7" y="273"/>
                    </a:lnTo>
                    <a:lnTo>
                      <a:pt x="3" y="268"/>
                    </a:lnTo>
                    <a:lnTo>
                      <a:pt x="1" y="266"/>
                    </a:lnTo>
                    <a:lnTo>
                      <a:pt x="1" y="265"/>
                    </a:lnTo>
                    <a:lnTo>
                      <a:pt x="0" y="261"/>
                    </a:lnTo>
                    <a:lnTo>
                      <a:pt x="0" y="259"/>
                    </a:lnTo>
                    <a:lnTo>
                      <a:pt x="0" y="261"/>
                    </a:lnTo>
                    <a:lnTo>
                      <a:pt x="1" y="261"/>
                    </a:lnTo>
                    <a:lnTo>
                      <a:pt x="3" y="263"/>
                    </a:lnTo>
                    <a:lnTo>
                      <a:pt x="3" y="265"/>
                    </a:lnTo>
                    <a:lnTo>
                      <a:pt x="3" y="266"/>
                    </a:lnTo>
                    <a:lnTo>
                      <a:pt x="5" y="266"/>
                    </a:lnTo>
                    <a:lnTo>
                      <a:pt x="5" y="268"/>
                    </a:lnTo>
                    <a:lnTo>
                      <a:pt x="9" y="268"/>
                    </a:lnTo>
                    <a:lnTo>
                      <a:pt x="10" y="266"/>
                    </a:lnTo>
                    <a:lnTo>
                      <a:pt x="9" y="265"/>
                    </a:lnTo>
                    <a:lnTo>
                      <a:pt x="7" y="261"/>
                    </a:lnTo>
                    <a:lnTo>
                      <a:pt x="3" y="254"/>
                    </a:lnTo>
                    <a:lnTo>
                      <a:pt x="3" y="250"/>
                    </a:lnTo>
                    <a:lnTo>
                      <a:pt x="5" y="250"/>
                    </a:lnTo>
                    <a:lnTo>
                      <a:pt x="7" y="261"/>
                    </a:lnTo>
                    <a:lnTo>
                      <a:pt x="10" y="257"/>
                    </a:lnTo>
                    <a:lnTo>
                      <a:pt x="10" y="265"/>
                    </a:lnTo>
                    <a:lnTo>
                      <a:pt x="12" y="265"/>
                    </a:lnTo>
                    <a:lnTo>
                      <a:pt x="14" y="263"/>
                    </a:lnTo>
                    <a:lnTo>
                      <a:pt x="16" y="259"/>
                    </a:lnTo>
                    <a:lnTo>
                      <a:pt x="14" y="254"/>
                    </a:lnTo>
                    <a:lnTo>
                      <a:pt x="12" y="252"/>
                    </a:lnTo>
                    <a:lnTo>
                      <a:pt x="10" y="248"/>
                    </a:lnTo>
                    <a:lnTo>
                      <a:pt x="10" y="248"/>
                    </a:lnTo>
                    <a:lnTo>
                      <a:pt x="10" y="247"/>
                    </a:lnTo>
                    <a:lnTo>
                      <a:pt x="1" y="231"/>
                    </a:lnTo>
                    <a:lnTo>
                      <a:pt x="1" y="222"/>
                    </a:lnTo>
                    <a:lnTo>
                      <a:pt x="3" y="218"/>
                    </a:lnTo>
                    <a:lnTo>
                      <a:pt x="7" y="215"/>
                    </a:lnTo>
                    <a:lnTo>
                      <a:pt x="9" y="204"/>
                    </a:lnTo>
                    <a:lnTo>
                      <a:pt x="5" y="200"/>
                    </a:lnTo>
                    <a:lnTo>
                      <a:pt x="10" y="186"/>
                    </a:lnTo>
                    <a:lnTo>
                      <a:pt x="12" y="18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07" name="Freeform 2962"/>
              <p:cNvSpPr>
                <a:spLocks/>
              </p:cNvSpPr>
              <p:nvPr/>
            </p:nvSpPr>
            <p:spPr bwMode="auto">
              <a:xfrm>
                <a:off x="4507" y="2884"/>
                <a:ext cx="646" cy="507"/>
              </a:xfrm>
              <a:custGeom>
                <a:avLst/>
                <a:gdLst>
                  <a:gd name="T0" fmla="*/ 26 w 646"/>
                  <a:gd name="T1" fmla="*/ 182 h 507"/>
                  <a:gd name="T2" fmla="*/ 73 w 646"/>
                  <a:gd name="T3" fmla="*/ 165 h 507"/>
                  <a:gd name="T4" fmla="*/ 135 w 646"/>
                  <a:gd name="T5" fmla="*/ 129 h 507"/>
                  <a:gd name="T6" fmla="*/ 151 w 646"/>
                  <a:gd name="T7" fmla="*/ 98 h 507"/>
                  <a:gd name="T8" fmla="*/ 167 w 646"/>
                  <a:gd name="T9" fmla="*/ 102 h 507"/>
                  <a:gd name="T10" fmla="*/ 176 w 646"/>
                  <a:gd name="T11" fmla="*/ 93 h 507"/>
                  <a:gd name="T12" fmla="*/ 187 w 646"/>
                  <a:gd name="T13" fmla="*/ 72 h 507"/>
                  <a:gd name="T14" fmla="*/ 203 w 646"/>
                  <a:gd name="T15" fmla="*/ 56 h 507"/>
                  <a:gd name="T16" fmla="*/ 216 w 646"/>
                  <a:gd name="T17" fmla="*/ 52 h 507"/>
                  <a:gd name="T18" fmla="*/ 239 w 646"/>
                  <a:gd name="T19" fmla="*/ 73 h 507"/>
                  <a:gd name="T20" fmla="*/ 260 w 646"/>
                  <a:gd name="T21" fmla="*/ 73 h 507"/>
                  <a:gd name="T22" fmla="*/ 266 w 646"/>
                  <a:gd name="T23" fmla="*/ 47 h 507"/>
                  <a:gd name="T24" fmla="*/ 282 w 646"/>
                  <a:gd name="T25" fmla="*/ 32 h 507"/>
                  <a:gd name="T26" fmla="*/ 307 w 646"/>
                  <a:gd name="T27" fmla="*/ 15 h 507"/>
                  <a:gd name="T28" fmla="*/ 301 w 646"/>
                  <a:gd name="T29" fmla="*/ 13 h 507"/>
                  <a:gd name="T30" fmla="*/ 316 w 646"/>
                  <a:gd name="T31" fmla="*/ 15 h 507"/>
                  <a:gd name="T32" fmla="*/ 337 w 646"/>
                  <a:gd name="T33" fmla="*/ 22 h 507"/>
                  <a:gd name="T34" fmla="*/ 362 w 646"/>
                  <a:gd name="T35" fmla="*/ 22 h 507"/>
                  <a:gd name="T36" fmla="*/ 367 w 646"/>
                  <a:gd name="T37" fmla="*/ 23 h 507"/>
                  <a:gd name="T38" fmla="*/ 371 w 646"/>
                  <a:gd name="T39" fmla="*/ 36 h 507"/>
                  <a:gd name="T40" fmla="*/ 362 w 646"/>
                  <a:gd name="T41" fmla="*/ 50 h 507"/>
                  <a:gd name="T42" fmla="*/ 371 w 646"/>
                  <a:gd name="T43" fmla="*/ 82 h 507"/>
                  <a:gd name="T44" fmla="*/ 430 w 646"/>
                  <a:gd name="T45" fmla="*/ 116 h 507"/>
                  <a:gd name="T46" fmla="*/ 458 w 646"/>
                  <a:gd name="T47" fmla="*/ 22 h 507"/>
                  <a:gd name="T48" fmla="*/ 473 w 646"/>
                  <a:gd name="T49" fmla="*/ 6 h 507"/>
                  <a:gd name="T50" fmla="*/ 485 w 646"/>
                  <a:gd name="T51" fmla="*/ 45 h 507"/>
                  <a:gd name="T52" fmla="*/ 510 w 646"/>
                  <a:gd name="T53" fmla="*/ 68 h 507"/>
                  <a:gd name="T54" fmla="*/ 526 w 646"/>
                  <a:gd name="T55" fmla="*/ 120 h 507"/>
                  <a:gd name="T56" fmla="*/ 532 w 646"/>
                  <a:gd name="T57" fmla="*/ 138 h 507"/>
                  <a:gd name="T58" fmla="*/ 562 w 646"/>
                  <a:gd name="T59" fmla="*/ 156 h 507"/>
                  <a:gd name="T60" fmla="*/ 582 w 646"/>
                  <a:gd name="T61" fmla="*/ 190 h 507"/>
                  <a:gd name="T62" fmla="*/ 598 w 646"/>
                  <a:gd name="T63" fmla="*/ 193 h 507"/>
                  <a:gd name="T64" fmla="*/ 626 w 646"/>
                  <a:gd name="T65" fmla="*/ 234 h 507"/>
                  <a:gd name="T66" fmla="*/ 639 w 646"/>
                  <a:gd name="T67" fmla="*/ 275 h 507"/>
                  <a:gd name="T68" fmla="*/ 637 w 646"/>
                  <a:gd name="T69" fmla="*/ 354 h 507"/>
                  <a:gd name="T70" fmla="*/ 610 w 646"/>
                  <a:gd name="T71" fmla="*/ 397 h 507"/>
                  <a:gd name="T72" fmla="*/ 598 w 646"/>
                  <a:gd name="T73" fmla="*/ 432 h 507"/>
                  <a:gd name="T74" fmla="*/ 585 w 646"/>
                  <a:gd name="T75" fmla="*/ 473 h 507"/>
                  <a:gd name="T76" fmla="*/ 530 w 646"/>
                  <a:gd name="T77" fmla="*/ 498 h 507"/>
                  <a:gd name="T78" fmla="*/ 523 w 646"/>
                  <a:gd name="T79" fmla="*/ 497 h 507"/>
                  <a:gd name="T80" fmla="*/ 510 w 646"/>
                  <a:gd name="T81" fmla="*/ 486 h 507"/>
                  <a:gd name="T82" fmla="*/ 482 w 646"/>
                  <a:gd name="T83" fmla="*/ 498 h 507"/>
                  <a:gd name="T84" fmla="*/ 425 w 646"/>
                  <a:gd name="T85" fmla="*/ 463 h 507"/>
                  <a:gd name="T86" fmla="*/ 400 w 646"/>
                  <a:gd name="T87" fmla="*/ 436 h 507"/>
                  <a:gd name="T88" fmla="*/ 383 w 646"/>
                  <a:gd name="T89" fmla="*/ 429 h 507"/>
                  <a:gd name="T90" fmla="*/ 394 w 646"/>
                  <a:gd name="T91" fmla="*/ 395 h 507"/>
                  <a:gd name="T92" fmla="*/ 385 w 646"/>
                  <a:gd name="T93" fmla="*/ 395 h 507"/>
                  <a:gd name="T94" fmla="*/ 362 w 646"/>
                  <a:gd name="T95" fmla="*/ 420 h 507"/>
                  <a:gd name="T96" fmla="*/ 355 w 646"/>
                  <a:gd name="T97" fmla="*/ 415 h 507"/>
                  <a:gd name="T98" fmla="*/ 333 w 646"/>
                  <a:gd name="T99" fmla="*/ 381 h 507"/>
                  <a:gd name="T100" fmla="*/ 307 w 646"/>
                  <a:gd name="T101" fmla="*/ 368 h 507"/>
                  <a:gd name="T102" fmla="*/ 191 w 646"/>
                  <a:gd name="T103" fmla="*/ 379 h 507"/>
                  <a:gd name="T104" fmla="*/ 141 w 646"/>
                  <a:gd name="T105" fmla="*/ 400 h 507"/>
                  <a:gd name="T106" fmla="*/ 91 w 646"/>
                  <a:gd name="T107" fmla="*/ 413 h 507"/>
                  <a:gd name="T108" fmla="*/ 53 w 646"/>
                  <a:gd name="T109" fmla="*/ 422 h 507"/>
                  <a:gd name="T110" fmla="*/ 41 w 646"/>
                  <a:gd name="T111" fmla="*/ 384 h 507"/>
                  <a:gd name="T112" fmla="*/ 14 w 646"/>
                  <a:gd name="T113" fmla="*/ 288 h 507"/>
                  <a:gd name="T114" fmla="*/ 3 w 646"/>
                  <a:gd name="T115" fmla="*/ 265 h 507"/>
                  <a:gd name="T116" fmla="*/ 7 w 646"/>
                  <a:gd name="T117" fmla="*/ 261 h 507"/>
                  <a:gd name="T118" fmla="*/ 1 w 646"/>
                  <a:gd name="T119" fmla="*/ 231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6" h="507">
                    <a:moveTo>
                      <a:pt x="12" y="186"/>
                    </a:moveTo>
                    <a:lnTo>
                      <a:pt x="14" y="184"/>
                    </a:lnTo>
                    <a:lnTo>
                      <a:pt x="14" y="190"/>
                    </a:lnTo>
                    <a:lnTo>
                      <a:pt x="12" y="190"/>
                    </a:lnTo>
                    <a:lnTo>
                      <a:pt x="12" y="191"/>
                    </a:lnTo>
                    <a:lnTo>
                      <a:pt x="14" y="193"/>
                    </a:lnTo>
                    <a:lnTo>
                      <a:pt x="12" y="197"/>
                    </a:lnTo>
                    <a:lnTo>
                      <a:pt x="14" y="197"/>
                    </a:lnTo>
                    <a:lnTo>
                      <a:pt x="16" y="195"/>
                    </a:lnTo>
                    <a:lnTo>
                      <a:pt x="21" y="186"/>
                    </a:lnTo>
                    <a:lnTo>
                      <a:pt x="26" y="182"/>
                    </a:lnTo>
                    <a:lnTo>
                      <a:pt x="28" y="181"/>
                    </a:lnTo>
                    <a:lnTo>
                      <a:pt x="34" y="181"/>
                    </a:lnTo>
                    <a:lnTo>
                      <a:pt x="37" y="175"/>
                    </a:lnTo>
                    <a:lnTo>
                      <a:pt x="41" y="173"/>
                    </a:lnTo>
                    <a:lnTo>
                      <a:pt x="42" y="172"/>
                    </a:lnTo>
                    <a:lnTo>
                      <a:pt x="57" y="163"/>
                    </a:lnTo>
                    <a:lnTo>
                      <a:pt x="57" y="163"/>
                    </a:lnTo>
                    <a:lnTo>
                      <a:pt x="62" y="165"/>
                    </a:lnTo>
                    <a:lnTo>
                      <a:pt x="64" y="165"/>
                    </a:lnTo>
                    <a:lnTo>
                      <a:pt x="67" y="165"/>
                    </a:lnTo>
                    <a:lnTo>
                      <a:pt x="73" y="165"/>
                    </a:lnTo>
                    <a:lnTo>
                      <a:pt x="78" y="159"/>
                    </a:lnTo>
                    <a:lnTo>
                      <a:pt x="87" y="159"/>
                    </a:lnTo>
                    <a:lnTo>
                      <a:pt x="92" y="152"/>
                    </a:lnTo>
                    <a:lnTo>
                      <a:pt x="98" y="152"/>
                    </a:lnTo>
                    <a:lnTo>
                      <a:pt x="100" y="154"/>
                    </a:lnTo>
                    <a:lnTo>
                      <a:pt x="123" y="147"/>
                    </a:lnTo>
                    <a:lnTo>
                      <a:pt x="132" y="140"/>
                    </a:lnTo>
                    <a:lnTo>
                      <a:pt x="133" y="138"/>
                    </a:lnTo>
                    <a:lnTo>
                      <a:pt x="133" y="134"/>
                    </a:lnTo>
                    <a:lnTo>
                      <a:pt x="135" y="131"/>
                    </a:lnTo>
                    <a:lnTo>
                      <a:pt x="135" y="129"/>
                    </a:lnTo>
                    <a:lnTo>
                      <a:pt x="139" y="129"/>
                    </a:lnTo>
                    <a:lnTo>
                      <a:pt x="144" y="122"/>
                    </a:lnTo>
                    <a:lnTo>
                      <a:pt x="144" y="120"/>
                    </a:lnTo>
                    <a:lnTo>
                      <a:pt x="144" y="120"/>
                    </a:lnTo>
                    <a:lnTo>
                      <a:pt x="142" y="111"/>
                    </a:lnTo>
                    <a:lnTo>
                      <a:pt x="142" y="107"/>
                    </a:lnTo>
                    <a:lnTo>
                      <a:pt x="144" y="104"/>
                    </a:lnTo>
                    <a:lnTo>
                      <a:pt x="146" y="104"/>
                    </a:lnTo>
                    <a:lnTo>
                      <a:pt x="148" y="104"/>
                    </a:lnTo>
                    <a:lnTo>
                      <a:pt x="148" y="100"/>
                    </a:lnTo>
                    <a:lnTo>
                      <a:pt x="151" y="98"/>
                    </a:lnTo>
                    <a:lnTo>
                      <a:pt x="151" y="98"/>
                    </a:lnTo>
                    <a:lnTo>
                      <a:pt x="151" y="97"/>
                    </a:lnTo>
                    <a:lnTo>
                      <a:pt x="153" y="95"/>
                    </a:lnTo>
                    <a:lnTo>
                      <a:pt x="153" y="93"/>
                    </a:lnTo>
                    <a:lnTo>
                      <a:pt x="162" y="111"/>
                    </a:lnTo>
                    <a:lnTo>
                      <a:pt x="164" y="113"/>
                    </a:lnTo>
                    <a:lnTo>
                      <a:pt x="166" y="109"/>
                    </a:lnTo>
                    <a:lnTo>
                      <a:pt x="166" y="106"/>
                    </a:lnTo>
                    <a:lnTo>
                      <a:pt x="166" y="106"/>
                    </a:lnTo>
                    <a:lnTo>
                      <a:pt x="167" y="106"/>
                    </a:lnTo>
                    <a:lnTo>
                      <a:pt x="167" y="102"/>
                    </a:lnTo>
                    <a:lnTo>
                      <a:pt x="166" y="98"/>
                    </a:lnTo>
                    <a:lnTo>
                      <a:pt x="164" y="97"/>
                    </a:lnTo>
                    <a:lnTo>
                      <a:pt x="164" y="95"/>
                    </a:lnTo>
                    <a:lnTo>
                      <a:pt x="164" y="91"/>
                    </a:lnTo>
                    <a:lnTo>
                      <a:pt x="166" y="90"/>
                    </a:lnTo>
                    <a:lnTo>
                      <a:pt x="169" y="91"/>
                    </a:lnTo>
                    <a:lnTo>
                      <a:pt x="171" y="90"/>
                    </a:lnTo>
                    <a:lnTo>
                      <a:pt x="175" y="95"/>
                    </a:lnTo>
                    <a:lnTo>
                      <a:pt x="180" y="95"/>
                    </a:lnTo>
                    <a:lnTo>
                      <a:pt x="180" y="93"/>
                    </a:lnTo>
                    <a:lnTo>
                      <a:pt x="176" y="93"/>
                    </a:lnTo>
                    <a:lnTo>
                      <a:pt x="178" y="90"/>
                    </a:lnTo>
                    <a:lnTo>
                      <a:pt x="180" y="86"/>
                    </a:lnTo>
                    <a:lnTo>
                      <a:pt x="182" y="84"/>
                    </a:lnTo>
                    <a:lnTo>
                      <a:pt x="180" y="79"/>
                    </a:lnTo>
                    <a:lnTo>
                      <a:pt x="182" y="77"/>
                    </a:lnTo>
                    <a:lnTo>
                      <a:pt x="183" y="77"/>
                    </a:lnTo>
                    <a:lnTo>
                      <a:pt x="187" y="79"/>
                    </a:lnTo>
                    <a:lnTo>
                      <a:pt x="187" y="77"/>
                    </a:lnTo>
                    <a:lnTo>
                      <a:pt x="187" y="73"/>
                    </a:lnTo>
                    <a:lnTo>
                      <a:pt x="187" y="72"/>
                    </a:lnTo>
                    <a:lnTo>
                      <a:pt x="187" y="72"/>
                    </a:lnTo>
                    <a:lnTo>
                      <a:pt x="192" y="73"/>
                    </a:lnTo>
                    <a:lnTo>
                      <a:pt x="192" y="72"/>
                    </a:lnTo>
                    <a:lnTo>
                      <a:pt x="191" y="68"/>
                    </a:lnTo>
                    <a:lnTo>
                      <a:pt x="191" y="65"/>
                    </a:lnTo>
                    <a:lnTo>
                      <a:pt x="196" y="63"/>
                    </a:lnTo>
                    <a:lnTo>
                      <a:pt x="200" y="63"/>
                    </a:lnTo>
                    <a:lnTo>
                      <a:pt x="200" y="65"/>
                    </a:lnTo>
                    <a:lnTo>
                      <a:pt x="203" y="63"/>
                    </a:lnTo>
                    <a:lnTo>
                      <a:pt x="205" y="59"/>
                    </a:lnTo>
                    <a:lnTo>
                      <a:pt x="205" y="57"/>
                    </a:lnTo>
                    <a:lnTo>
                      <a:pt x="203" y="56"/>
                    </a:lnTo>
                    <a:lnTo>
                      <a:pt x="203" y="54"/>
                    </a:lnTo>
                    <a:lnTo>
                      <a:pt x="205" y="56"/>
                    </a:lnTo>
                    <a:lnTo>
                      <a:pt x="207" y="57"/>
                    </a:lnTo>
                    <a:lnTo>
                      <a:pt x="208" y="57"/>
                    </a:lnTo>
                    <a:lnTo>
                      <a:pt x="208" y="56"/>
                    </a:lnTo>
                    <a:lnTo>
                      <a:pt x="210" y="56"/>
                    </a:lnTo>
                    <a:lnTo>
                      <a:pt x="210" y="57"/>
                    </a:lnTo>
                    <a:lnTo>
                      <a:pt x="212" y="56"/>
                    </a:lnTo>
                    <a:lnTo>
                      <a:pt x="216" y="54"/>
                    </a:lnTo>
                    <a:lnTo>
                      <a:pt x="216" y="54"/>
                    </a:lnTo>
                    <a:lnTo>
                      <a:pt x="216" y="52"/>
                    </a:lnTo>
                    <a:lnTo>
                      <a:pt x="217" y="50"/>
                    </a:lnTo>
                    <a:lnTo>
                      <a:pt x="219" y="52"/>
                    </a:lnTo>
                    <a:lnTo>
                      <a:pt x="221" y="52"/>
                    </a:lnTo>
                    <a:lnTo>
                      <a:pt x="225" y="52"/>
                    </a:lnTo>
                    <a:lnTo>
                      <a:pt x="230" y="56"/>
                    </a:lnTo>
                    <a:lnTo>
                      <a:pt x="233" y="63"/>
                    </a:lnTo>
                    <a:lnTo>
                      <a:pt x="237" y="66"/>
                    </a:lnTo>
                    <a:lnTo>
                      <a:pt x="237" y="73"/>
                    </a:lnTo>
                    <a:lnTo>
                      <a:pt x="237" y="75"/>
                    </a:lnTo>
                    <a:lnTo>
                      <a:pt x="237" y="75"/>
                    </a:lnTo>
                    <a:lnTo>
                      <a:pt x="239" y="73"/>
                    </a:lnTo>
                    <a:lnTo>
                      <a:pt x="239" y="72"/>
                    </a:lnTo>
                    <a:lnTo>
                      <a:pt x="239" y="72"/>
                    </a:lnTo>
                    <a:lnTo>
                      <a:pt x="241" y="70"/>
                    </a:lnTo>
                    <a:lnTo>
                      <a:pt x="241" y="70"/>
                    </a:lnTo>
                    <a:lnTo>
                      <a:pt x="241" y="70"/>
                    </a:lnTo>
                    <a:lnTo>
                      <a:pt x="242" y="70"/>
                    </a:lnTo>
                    <a:lnTo>
                      <a:pt x="242" y="68"/>
                    </a:lnTo>
                    <a:lnTo>
                      <a:pt x="244" y="68"/>
                    </a:lnTo>
                    <a:lnTo>
                      <a:pt x="248" y="68"/>
                    </a:lnTo>
                    <a:lnTo>
                      <a:pt x="253" y="68"/>
                    </a:lnTo>
                    <a:lnTo>
                      <a:pt x="260" y="73"/>
                    </a:lnTo>
                    <a:lnTo>
                      <a:pt x="262" y="73"/>
                    </a:lnTo>
                    <a:lnTo>
                      <a:pt x="262" y="70"/>
                    </a:lnTo>
                    <a:lnTo>
                      <a:pt x="264" y="68"/>
                    </a:lnTo>
                    <a:lnTo>
                      <a:pt x="264" y="68"/>
                    </a:lnTo>
                    <a:lnTo>
                      <a:pt x="257" y="59"/>
                    </a:lnTo>
                    <a:lnTo>
                      <a:pt x="258" y="56"/>
                    </a:lnTo>
                    <a:lnTo>
                      <a:pt x="260" y="56"/>
                    </a:lnTo>
                    <a:lnTo>
                      <a:pt x="262" y="56"/>
                    </a:lnTo>
                    <a:lnTo>
                      <a:pt x="264" y="50"/>
                    </a:lnTo>
                    <a:lnTo>
                      <a:pt x="264" y="48"/>
                    </a:lnTo>
                    <a:lnTo>
                      <a:pt x="266" y="47"/>
                    </a:lnTo>
                    <a:lnTo>
                      <a:pt x="271" y="47"/>
                    </a:lnTo>
                    <a:lnTo>
                      <a:pt x="273" y="45"/>
                    </a:lnTo>
                    <a:lnTo>
                      <a:pt x="273" y="41"/>
                    </a:lnTo>
                    <a:lnTo>
                      <a:pt x="269" y="41"/>
                    </a:lnTo>
                    <a:lnTo>
                      <a:pt x="271" y="40"/>
                    </a:lnTo>
                    <a:lnTo>
                      <a:pt x="271" y="38"/>
                    </a:lnTo>
                    <a:lnTo>
                      <a:pt x="273" y="34"/>
                    </a:lnTo>
                    <a:lnTo>
                      <a:pt x="276" y="32"/>
                    </a:lnTo>
                    <a:lnTo>
                      <a:pt x="278" y="31"/>
                    </a:lnTo>
                    <a:lnTo>
                      <a:pt x="280" y="31"/>
                    </a:lnTo>
                    <a:lnTo>
                      <a:pt x="282" y="32"/>
                    </a:lnTo>
                    <a:lnTo>
                      <a:pt x="283" y="34"/>
                    </a:lnTo>
                    <a:lnTo>
                      <a:pt x="283" y="32"/>
                    </a:lnTo>
                    <a:lnTo>
                      <a:pt x="282" y="29"/>
                    </a:lnTo>
                    <a:lnTo>
                      <a:pt x="283" y="29"/>
                    </a:lnTo>
                    <a:lnTo>
                      <a:pt x="283" y="25"/>
                    </a:lnTo>
                    <a:lnTo>
                      <a:pt x="289" y="27"/>
                    </a:lnTo>
                    <a:lnTo>
                      <a:pt x="289" y="25"/>
                    </a:lnTo>
                    <a:lnTo>
                      <a:pt x="301" y="27"/>
                    </a:lnTo>
                    <a:lnTo>
                      <a:pt x="308" y="23"/>
                    </a:lnTo>
                    <a:lnTo>
                      <a:pt x="308" y="16"/>
                    </a:lnTo>
                    <a:lnTo>
                      <a:pt x="307" y="15"/>
                    </a:lnTo>
                    <a:lnTo>
                      <a:pt x="305" y="15"/>
                    </a:lnTo>
                    <a:lnTo>
                      <a:pt x="301" y="15"/>
                    </a:lnTo>
                    <a:lnTo>
                      <a:pt x="298" y="11"/>
                    </a:lnTo>
                    <a:lnTo>
                      <a:pt x="296" y="11"/>
                    </a:lnTo>
                    <a:lnTo>
                      <a:pt x="296" y="9"/>
                    </a:lnTo>
                    <a:lnTo>
                      <a:pt x="296" y="9"/>
                    </a:lnTo>
                    <a:lnTo>
                      <a:pt x="298" y="11"/>
                    </a:lnTo>
                    <a:lnTo>
                      <a:pt x="298" y="9"/>
                    </a:lnTo>
                    <a:lnTo>
                      <a:pt x="300" y="7"/>
                    </a:lnTo>
                    <a:lnTo>
                      <a:pt x="300" y="9"/>
                    </a:lnTo>
                    <a:lnTo>
                      <a:pt x="301" y="13"/>
                    </a:lnTo>
                    <a:lnTo>
                      <a:pt x="303" y="11"/>
                    </a:lnTo>
                    <a:lnTo>
                      <a:pt x="303" y="9"/>
                    </a:lnTo>
                    <a:lnTo>
                      <a:pt x="303" y="9"/>
                    </a:lnTo>
                    <a:lnTo>
                      <a:pt x="305" y="9"/>
                    </a:lnTo>
                    <a:lnTo>
                      <a:pt x="307" y="9"/>
                    </a:lnTo>
                    <a:lnTo>
                      <a:pt x="308" y="13"/>
                    </a:lnTo>
                    <a:lnTo>
                      <a:pt x="310" y="15"/>
                    </a:lnTo>
                    <a:lnTo>
                      <a:pt x="312" y="13"/>
                    </a:lnTo>
                    <a:lnTo>
                      <a:pt x="312" y="13"/>
                    </a:lnTo>
                    <a:lnTo>
                      <a:pt x="314" y="13"/>
                    </a:lnTo>
                    <a:lnTo>
                      <a:pt x="316" y="15"/>
                    </a:lnTo>
                    <a:lnTo>
                      <a:pt x="317" y="16"/>
                    </a:lnTo>
                    <a:lnTo>
                      <a:pt x="321" y="18"/>
                    </a:lnTo>
                    <a:lnTo>
                      <a:pt x="323" y="18"/>
                    </a:lnTo>
                    <a:lnTo>
                      <a:pt x="325" y="18"/>
                    </a:lnTo>
                    <a:lnTo>
                      <a:pt x="325" y="20"/>
                    </a:lnTo>
                    <a:lnTo>
                      <a:pt x="328" y="18"/>
                    </a:lnTo>
                    <a:lnTo>
                      <a:pt x="328" y="20"/>
                    </a:lnTo>
                    <a:lnTo>
                      <a:pt x="330" y="20"/>
                    </a:lnTo>
                    <a:lnTo>
                      <a:pt x="332" y="20"/>
                    </a:lnTo>
                    <a:lnTo>
                      <a:pt x="335" y="22"/>
                    </a:lnTo>
                    <a:lnTo>
                      <a:pt x="337" y="22"/>
                    </a:lnTo>
                    <a:lnTo>
                      <a:pt x="339" y="23"/>
                    </a:lnTo>
                    <a:lnTo>
                      <a:pt x="342" y="22"/>
                    </a:lnTo>
                    <a:lnTo>
                      <a:pt x="342" y="22"/>
                    </a:lnTo>
                    <a:lnTo>
                      <a:pt x="344" y="23"/>
                    </a:lnTo>
                    <a:lnTo>
                      <a:pt x="348" y="23"/>
                    </a:lnTo>
                    <a:lnTo>
                      <a:pt x="350" y="25"/>
                    </a:lnTo>
                    <a:lnTo>
                      <a:pt x="351" y="27"/>
                    </a:lnTo>
                    <a:lnTo>
                      <a:pt x="353" y="23"/>
                    </a:lnTo>
                    <a:lnTo>
                      <a:pt x="357" y="22"/>
                    </a:lnTo>
                    <a:lnTo>
                      <a:pt x="358" y="22"/>
                    </a:lnTo>
                    <a:lnTo>
                      <a:pt x="362" y="22"/>
                    </a:lnTo>
                    <a:lnTo>
                      <a:pt x="360" y="23"/>
                    </a:lnTo>
                    <a:lnTo>
                      <a:pt x="360" y="25"/>
                    </a:lnTo>
                    <a:lnTo>
                      <a:pt x="362" y="25"/>
                    </a:lnTo>
                    <a:lnTo>
                      <a:pt x="364" y="23"/>
                    </a:lnTo>
                    <a:lnTo>
                      <a:pt x="364" y="25"/>
                    </a:lnTo>
                    <a:lnTo>
                      <a:pt x="364" y="31"/>
                    </a:lnTo>
                    <a:lnTo>
                      <a:pt x="364" y="31"/>
                    </a:lnTo>
                    <a:lnTo>
                      <a:pt x="366" y="31"/>
                    </a:lnTo>
                    <a:lnTo>
                      <a:pt x="367" y="27"/>
                    </a:lnTo>
                    <a:lnTo>
                      <a:pt x="367" y="25"/>
                    </a:lnTo>
                    <a:lnTo>
                      <a:pt x="367" y="23"/>
                    </a:lnTo>
                    <a:lnTo>
                      <a:pt x="371" y="20"/>
                    </a:lnTo>
                    <a:lnTo>
                      <a:pt x="371" y="22"/>
                    </a:lnTo>
                    <a:lnTo>
                      <a:pt x="373" y="23"/>
                    </a:lnTo>
                    <a:lnTo>
                      <a:pt x="373" y="27"/>
                    </a:lnTo>
                    <a:lnTo>
                      <a:pt x="375" y="25"/>
                    </a:lnTo>
                    <a:lnTo>
                      <a:pt x="376" y="25"/>
                    </a:lnTo>
                    <a:lnTo>
                      <a:pt x="378" y="27"/>
                    </a:lnTo>
                    <a:lnTo>
                      <a:pt x="375" y="34"/>
                    </a:lnTo>
                    <a:lnTo>
                      <a:pt x="373" y="34"/>
                    </a:lnTo>
                    <a:lnTo>
                      <a:pt x="373" y="34"/>
                    </a:lnTo>
                    <a:lnTo>
                      <a:pt x="371" y="36"/>
                    </a:lnTo>
                    <a:lnTo>
                      <a:pt x="373" y="38"/>
                    </a:lnTo>
                    <a:lnTo>
                      <a:pt x="371" y="41"/>
                    </a:lnTo>
                    <a:lnTo>
                      <a:pt x="371" y="41"/>
                    </a:lnTo>
                    <a:lnTo>
                      <a:pt x="367" y="41"/>
                    </a:lnTo>
                    <a:lnTo>
                      <a:pt x="367" y="40"/>
                    </a:lnTo>
                    <a:lnTo>
                      <a:pt x="366" y="41"/>
                    </a:lnTo>
                    <a:lnTo>
                      <a:pt x="367" y="45"/>
                    </a:lnTo>
                    <a:lnTo>
                      <a:pt x="366" y="45"/>
                    </a:lnTo>
                    <a:lnTo>
                      <a:pt x="364" y="43"/>
                    </a:lnTo>
                    <a:lnTo>
                      <a:pt x="364" y="41"/>
                    </a:lnTo>
                    <a:lnTo>
                      <a:pt x="362" y="50"/>
                    </a:lnTo>
                    <a:lnTo>
                      <a:pt x="364" y="48"/>
                    </a:lnTo>
                    <a:lnTo>
                      <a:pt x="364" y="54"/>
                    </a:lnTo>
                    <a:lnTo>
                      <a:pt x="364" y="56"/>
                    </a:lnTo>
                    <a:lnTo>
                      <a:pt x="357" y="68"/>
                    </a:lnTo>
                    <a:lnTo>
                      <a:pt x="357" y="70"/>
                    </a:lnTo>
                    <a:lnTo>
                      <a:pt x="358" y="72"/>
                    </a:lnTo>
                    <a:lnTo>
                      <a:pt x="360" y="73"/>
                    </a:lnTo>
                    <a:lnTo>
                      <a:pt x="362" y="73"/>
                    </a:lnTo>
                    <a:lnTo>
                      <a:pt x="366" y="75"/>
                    </a:lnTo>
                    <a:lnTo>
                      <a:pt x="369" y="77"/>
                    </a:lnTo>
                    <a:lnTo>
                      <a:pt x="371" y="82"/>
                    </a:lnTo>
                    <a:lnTo>
                      <a:pt x="371" y="86"/>
                    </a:lnTo>
                    <a:lnTo>
                      <a:pt x="375" y="84"/>
                    </a:lnTo>
                    <a:lnTo>
                      <a:pt x="380" y="86"/>
                    </a:lnTo>
                    <a:lnTo>
                      <a:pt x="383" y="86"/>
                    </a:lnTo>
                    <a:lnTo>
                      <a:pt x="385" y="88"/>
                    </a:lnTo>
                    <a:lnTo>
                      <a:pt x="394" y="93"/>
                    </a:lnTo>
                    <a:lnTo>
                      <a:pt x="398" y="98"/>
                    </a:lnTo>
                    <a:lnTo>
                      <a:pt x="410" y="102"/>
                    </a:lnTo>
                    <a:lnTo>
                      <a:pt x="414" y="104"/>
                    </a:lnTo>
                    <a:lnTo>
                      <a:pt x="416" y="109"/>
                    </a:lnTo>
                    <a:lnTo>
                      <a:pt x="430" y="116"/>
                    </a:lnTo>
                    <a:lnTo>
                      <a:pt x="441" y="113"/>
                    </a:lnTo>
                    <a:lnTo>
                      <a:pt x="442" y="111"/>
                    </a:lnTo>
                    <a:lnTo>
                      <a:pt x="455" y="72"/>
                    </a:lnTo>
                    <a:lnTo>
                      <a:pt x="451" y="48"/>
                    </a:lnTo>
                    <a:lnTo>
                      <a:pt x="455" y="43"/>
                    </a:lnTo>
                    <a:lnTo>
                      <a:pt x="455" y="38"/>
                    </a:lnTo>
                    <a:lnTo>
                      <a:pt x="455" y="34"/>
                    </a:lnTo>
                    <a:lnTo>
                      <a:pt x="457" y="32"/>
                    </a:lnTo>
                    <a:lnTo>
                      <a:pt x="453" y="31"/>
                    </a:lnTo>
                    <a:lnTo>
                      <a:pt x="455" y="22"/>
                    </a:lnTo>
                    <a:lnTo>
                      <a:pt x="458" y="22"/>
                    </a:lnTo>
                    <a:lnTo>
                      <a:pt x="460" y="13"/>
                    </a:lnTo>
                    <a:lnTo>
                      <a:pt x="464" y="9"/>
                    </a:lnTo>
                    <a:lnTo>
                      <a:pt x="464" y="4"/>
                    </a:lnTo>
                    <a:lnTo>
                      <a:pt x="466" y="4"/>
                    </a:lnTo>
                    <a:lnTo>
                      <a:pt x="467" y="4"/>
                    </a:lnTo>
                    <a:lnTo>
                      <a:pt x="469" y="2"/>
                    </a:lnTo>
                    <a:lnTo>
                      <a:pt x="471" y="0"/>
                    </a:lnTo>
                    <a:lnTo>
                      <a:pt x="473" y="0"/>
                    </a:lnTo>
                    <a:lnTo>
                      <a:pt x="473" y="2"/>
                    </a:lnTo>
                    <a:lnTo>
                      <a:pt x="473" y="4"/>
                    </a:lnTo>
                    <a:lnTo>
                      <a:pt x="473" y="6"/>
                    </a:lnTo>
                    <a:lnTo>
                      <a:pt x="473" y="6"/>
                    </a:lnTo>
                    <a:lnTo>
                      <a:pt x="475" y="20"/>
                    </a:lnTo>
                    <a:lnTo>
                      <a:pt x="478" y="20"/>
                    </a:lnTo>
                    <a:lnTo>
                      <a:pt x="478" y="22"/>
                    </a:lnTo>
                    <a:lnTo>
                      <a:pt x="478" y="25"/>
                    </a:lnTo>
                    <a:lnTo>
                      <a:pt x="480" y="27"/>
                    </a:lnTo>
                    <a:lnTo>
                      <a:pt x="480" y="31"/>
                    </a:lnTo>
                    <a:lnTo>
                      <a:pt x="482" y="31"/>
                    </a:lnTo>
                    <a:lnTo>
                      <a:pt x="482" y="36"/>
                    </a:lnTo>
                    <a:lnTo>
                      <a:pt x="483" y="36"/>
                    </a:lnTo>
                    <a:lnTo>
                      <a:pt x="485" y="45"/>
                    </a:lnTo>
                    <a:lnTo>
                      <a:pt x="485" y="50"/>
                    </a:lnTo>
                    <a:lnTo>
                      <a:pt x="489" y="59"/>
                    </a:lnTo>
                    <a:lnTo>
                      <a:pt x="491" y="61"/>
                    </a:lnTo>
                    <a:lnTo>
                      <a:pt x="492" y="61"/>
                    </a:lnTo>
                    <a:lnTo>
                      <a:pt x="496" y="59"/>
                    </a:lnTo>
                    <a:lnTo>
                      <a:pt x="500" y="57"/>
                    </a:lnTo>
                    <a:lnTo>
                      <a:pt x="501" y="57"/>
                    </a:lnTo>
                    <a:lnTo>
                      <a:pt x="503" y="63"/>
                    </a:lnTo>
                    <a:lnTo>
                      <a:pt x="507" y="65"/>
                    </a:lnTo>
                    <a:lnTo>
                      <a:pt x="508" y="66"/>
                    </a:lnTo>
                    <a:lnTo>
                      <a:pt x="510" y="68"/>
                    </a:lnTo>
                    <a:lnTo>
                      <a:pt x="514" y="70"/>
                    </a:lnTo>
                    <a:lnTo>
                      <a:pt x="514" y="73"/>
                    </a:lnTo>
                    <a:lnTo>
                      <a:pt x="514" y="75"/>
                    </a:lnTo>
                    <a:lnTo>
                      <a:pt x="514" y="81"/>
                    </a:lnTo>
                    <a:lnTo>
                      <a:pt x="514" y="84"/>
                    </a:lnTo>
                    <a:lnTo>
                      <a:pt x="514" y="86"/>
                    </a:lnTo>
                    <a:lnTo>
                      <a:pt x="516" y="90"/>
                    </a:lnTo>
                    <a:lnTo>
                      <a:pt x="517" y="97"/>
                    </a:lnTo>
                    <a:lnTo>
                      <a:pt x="521" y="102"/>
                    </a:lnTo>
                    <a:lnTo>
                      <a:pt x="523" y="102"/>
                    </a:lnTo>
                    <a:lnTo>
                      <a:pt x="526" y="120"/>
                    </a:lnTo>
                    <a:lnTo>
                      <a:pt x="526" y="125"/>
                    </a:lnTo>
                    <a:lnTo>
                      <a:pt x="526" y="127"/>
                    </a:lnTo>
                    <a:lnTo>
                      <a:pt x="528" y="129"/>
                    </a:lnTo>
                    <a:lnTo>
                      <a:pt x="530" y="131"/>
                    </a:lnTo>
                    <a:lnTo>
                      <a:pt x="530" y="131"/>
                    </a:lnTo>
                    <a:lnTo>
                      <a:pt x="530" y="131"/>
                    </a:lnTo>
                    <a:lnTo>
                      <a:pt x="530" y="131"/>
                    </a:lnTo>
                    <a:lnTo>
                      <a:pt x="530" y="132"/>
                    </a:lnTo>
                    <a:lnTo>
                      <a:pt x="530" y="132"/>
                    </a:lnTo>
                    <a:lnTo>
                      <a:pt x="530" y="134"/>
                    </a:lnTo>
                    <a:lnTo>
                      <a:pt x="532" y="138"/>
                    </a:lnTo>
                    <a:lnTo>
                      <a:pt x="535" y="140"/>
                    </a:lnTo>
                    <a:lnTo>
                      <a:pt x="537" y="141"/>
                    </a:lnTo>
                    <a:lnTo>
                      <a:pt x="544" y="143"/>
                    </a:lnTo>
                    <a:lnTo>
                      <a:pt x="546" y="143"/>
                    </a:lnTo>
                    <a:lnTo>
                      <a:pt x="548" y="141"/>
                    </a:lnTo>
                    <a:lnTo>
                      <a:pt x="550" y="148"/>
                    </a:lnTo>
                    <a:lnTo>
                      <a:pt x="551" y="150"/>
                    </a:lnTo>
                    <a:lnTo>
                      <a:pt x="555" y="150"/>
                    </a:lnTo>
                    <a:lnTo>
                      <a:pt x="557" y="150"/>
                    </a:lnTo>
                    <a:lnTo>
                      <a:pt x="558" y="152"/>
                    </a:lnTo>
                    <a:lnTo>
                      <a:pt x="562" y="156"/>
                    </a:lnTo>
                    <a:lnTo>
                      <a:pt x="564" y="154"/>
                    </a:lnTo>
                    <a:lnTo>
                      <a:pt x="571" y="159"/>
                    </a:lnTo>
                    <a:lnTo>
                      <a:pt x="571" y="163"/>
                    </a:lnTo>
                    <a:lnTo>
                      <a:pt x="569" y="163"/>
                    </a:lnTo>
                    <a:lnTo>
                      <a:pt x="569" y="166"/>
                    </a:lnTo>
                    <a:lnTo>
                      <a:pt x="571" y="168"/>
                    </a:lnTo>
                    <a:lnTo>
                      <a:pt x="573" y="168"/>
                    </a:lnTo>
                    <a:lnTo>
                      <a:pt x="578" y="179"/>
                    </a:lnTo>
                    <a:lnTo>
                      <a:pt x="580" y="179"/>
                    </a:lnTo>
                    <a:lnTo>
                      <a:pt x="582" y="188"/>
                    </a:lnTo>
                    <a:lnTo>
                      <a:pt x="582" y="190"/>
                    </a:lnTo>
                    <a:lnTo>
                      <a:pt x="582" y="193"/>
                    </a:lnTo>
                    <a:lnTo>
                      <a:pt x="583" y="193"/>
                    </a:lnTo>
                    <a:lnTo>
                      <a:pt x="583" y="197"/>
                    </a:lnTo>
                    <a:lnTo>
                      <a:pt x="585" y="197"/>
                    </a:lnTo>
                    <a:lnTo>
                      <a:pt x="585" y="195"/>
                    </a:lnTo>
                    <a:lnTo>
                      <a:pt x="587" y="195"/>
                    </a:lnTo>
                    <a:lnTo>
                      <a:pt x="587" y="191"/>
                    </a:lnTo>
                    <a:lnTo>
                      <a:pt x="589" y="190"/>
                    </a:lnTo>
                    <a:lnTo>
                      <a:pt x="591" y="193"/>
                    </a:lnTo>
                    <a:lnTo>
                      <a:pt x="598" y="197"/>
                    </a:lnTo>
                    <a:lnTo>
                      <a:pt x="598" y="193"/>
                    </a:lnTo>
                    <a:lnTo>
                      <a:pt x="600" y="195"/>
                    </a:lnTo>
                    <a:lnTo>
                      <a:pt x="600" y="197"/>
                    </a:lnTo>
                    <a:lnTo>
                      <a:pt x="600" y="197"/>
                    </a:lnTo>
                    <a:lnTo>
                      <a:pt x="603" y="215"/>
                    </a:lnTo>
                    <a:lnTo>
                      <a:pt x="610" y="222"/>
                    </a:lnTo>
                    <a:lnTo>
                      <a:pt x="616" y="222"/>
                    </a:lnTo>
                    <a:lnTo>
                      <a:pt x="617" y="223"/>
                    </a:lnTo>
                    <a:lnTo>
                      <a:pt x="621" y="229"/>
                    </a:lnTo>
                    <a:lnTo>
                      <a:pt x="621" y="231"/>
                    </a:lnTo>
                    <a:lnTo>
                      <a:pt x="625" y="234"/>
                    </a:lnTo>
                    <a:lnTo>
                      <a:pt x="626" y="234"/>
                    </a:lnTo>
                    <a:lnTo>
                      <a:pt x="626" y="236"/>
                    </a:lnTo>
                    <a:lnTo>
                      <a:pt x="630" y="241"/>
                    </a:lnTo>
                    <a:lnTo>
                      <a:pt x="630" y="243"/>
                    </a:lnTo>
                    <a:lnTo>
                      <a:pt x="633" y="243"/>
                    </a:lnTo>
                    <a:lnTo>
                      <a:pt x="635" y="252"/>
                    </a:lnTo>
                    <a:lnTo>
                      <a:pt x="637" y="256"/>
                    </a:lnTo>
                    <a:lnTo>
                      <a:pt x="639" y="254"/>
                    </a:lnTo>
                    <a:lnTo>
                      <a:pt x="639" y="259"/>
                    </a:lnTo>
                    <a:lnTo>
                      <a:pt x="637" y="263"/>
                    </a:lnTo>
                    <a:lnTo>
                      <a:pt x="641" y="277"/>
                    </a:lnTo>
                    <a:lnTo>
                      <a:pt x="639" y="275"/>
                    </a:lnTo>
                    <a:lnTo>
                      <a:pt x="639" y="279"/>
                    </a:lnTo>
                    <a:lnTo>
                      <a:pt x="639" y="279"/>
                    </a:lnTo>
                    <a:lnTo>
                      <a:pt x="639" y="281"/>
                    </a:lnTo>
                    <a:lnTo>
                      <a:pt x="641" y="282"/>
                    </a:lnTo>
                    <a:lnTo>
                      <a:pt x="646" y="298"/>
                    </a:lnTo>
                    <a:lnTo>
                      <a:pt x="641" y="334"/>
                    </a:lnTo>
                    <a:lnTo>
                      <a:pt x="641" y="334"/>
                    </a:lnTo>
                    <a:lnTo>
                      <a:pt x="637" y="340"/>
                    </a:lnTo>
                    <a:lnTo>
                      <a:pt x="639" y="350"/>
                    </a:lnTo>
                    <a:lnTo>
                      <a:pt x="637" y="352"/>
                    </a:lnTo>
                    <a:lnTo>
                      <a:pt x="637" y="354"/>
                    </a:lnTo>
                    <a:lnTo>
                      <a:pt x="630" y="370"/>
                    </a:lnTo>
                    <a:lnTo>
                      <a:pt x="628" y="372"/>
                    </a:lnTo>
                    <a:lnTo>
                      <a:pt x="628" y="373"/>
                    </a:lnTo>
                    <a:lnTo>
                      <a:pt x="628" y="375"/>
                    </a:lnTo>
                    <a:lnTo>
                      <a:pt x="625" y="381"/>
                    </a:lnTo>
                    <a:lnTo>
                      <a:pt x="623" y="381"/>
                    </a:lnTo>
                    <a:lnTo>
                      <a:pt x="623" y="381"/>
                    </a:lnTo>
                    <a:lnTo>
                      <a:pt x="625" y="382"/>
                    </a:lnTo>
                    <a:lnTo>
                      <a:pt x="619" y="384"/>
                    </a:lnTo>
                    <a:lnTo>
                      <a:pt x="612" y="397"/>
                    </a:lnTo>
                    <a:lnTo>
                      <a:pt x="610" y="397"/>
                    </a:lnTo>
                    <a:lnTo>
                      <a:pt x="608" y="397"/>
                    </a:lnTo>
                    <a:lnTo>
                      <a:pt x="608" y="398"/>
                    </a:lnTo>
                    <a:lnTo>
                      <a:pt x="610" y="398"/>
                    </a:lnTo>
                    <a:lnTo>
                      <a:pt x="610" y="402"/>
                    </a:lnTo>
                    <a:lnTo>
                      <a:pt x="608" y="406"/>
                    </a:lnTo>
                    <a:lnTo>
                      <a:pt x="608" y="406"/>
                    </a:lnTo>
                    <a:lnTo>
                      <a:pt x="608" y="409"/>
                    </a:lnTo>
                    <a:lnTo>
                      <a:pt x="605" y="413"/>
                    </a:lnTo>
                    <a:lnTo>
                      <a:pt x="601" y="429"/>
                    </a:lnTo>
                    <a:lnTo>
                      <a:pt x="600" y="427"/>
                    </a:lnTo>
                    <a:lnTo>
                      <a:pt x="598" y="432"/>
                    </a:lnTo>
                    <a:lnTo>
                      <a:pt x="596" y="434"/>
                    </a:lnTo>
                    <a:lnTo>
                      <a:pt x="594" y="438"/>
                    </a:lnTo>
                    <a:lnTo>
                      <a:pt x="594" y="438"/>
                    </a:lnTo>
                    <a:lnTo>
                      <a:pt x="592" y="440"/>
                    </a:lnTo>
                    <a:lnTo>
                      <a:pt x="591" y="448"/>
                    </a:lnTo>
                    <a:lnTo>
                      <a:pt x="592" y="452"/>
                    </a:lnTo>
                    <a:lnTo>
                      <a:pt x="589" y="463"/>
                    </a:lnTo>
                    <a:lnTo>
                      <a:pt x="591" y="472"/>
                    </a:lnTo>
                    <a:lnTo>
                      <a:pt x="589" y="475"/>
                    </a:lnTo>
                    <a:lnTo>
                      <a:pt x="587" y="473"/>
                    </a:lnTo>
                    <a:lnTo>
                      <a:pt x="585" y="473"/>
                    </a:lnTo>
                    <a:lnTo>
                      <a:pt x="585" y="479"/>
                    </a:lnTo>
                    <a:lnTo>
                      <a:pt x="564" y="481"/>
                    </a:lnTo>
                    <a:lnTo>
                      <a:pt x="546" y="490"/>
                    </a:lnTo>
                    <a:lnTo>
                      <a:pt x="544" y="491"/>
                    </a:lnTo>
                    <a:lnTo>
                      <a:pt x="544" y="493"/>
                    </a:lnTo>
                    <a:lnTo>
                      <a:pt x="541" y="497"/>
                    </a:lnTo>
                    <a:lnTo>
                      <a:pt x="539" y="498"/>
                    </a:lnTo>
                    <a:lnTo>
                      <a:pt x="537" y="497"/>
                    </a:lnTo>
                    <a:lnTo>
                      <a:pt x="533" y="498"/>
                    </a:lnTo>
                    <a:lnTo>
                      <a:pt x="532" y="498"/>
                    </a:lnTo>
                    <a:lnTo>
                      <a:pt x="530" y="498"/>
                    </a:lnTo>
                    <a:lnTo>
                      <a:pt x="530" y="500"/>
                    </a:lnTo>
                    <a:lnTo>
                      <a:pt x="530" y="502"/>
                    </a:lnTo>
                    <a:lnTo>
                      <a:pt x="532" y="500"/>
                    </a:lnTo>
                    <a:lnTo>
                      <a:pt x="533" y="498"/>
                    </a:lnTo>
                    <a:lnTo>
                      <a:pt x="535" y="498"/>
                    </a:lnTo>
                    <a:lnTo>
                      <a:pt x="533" y="506"/>
                    </a:lnTo>
                    <a:lnTo>
                      <a:pt x="532" y="507"/>
                    </a:lnTo>
                    <a:lnTo>
                      <a:pt x="528" y="502"/>
                    </a:lnTo>
                    <a:lnTo>
                      <a:pt x="526" y="502"/>
                    </a:lnTo>
                    <a:lnTo>
                      <a:pt x="525" y="500"/>
                    </a:lnTo>
                    <a:lnTo>
                      <a:pt x="523" y="497"/>
                    </a:lnTo>
                    <a:lnTo>
                      <a:pt x="519" y="497"/>
                    </a:lnTo>
                    <a:lnTo>
                      <a:pt x="517" y="495"/>
                    </a:lnTo>
                    <a:lnTo>
                      <a:pt x="517" y="493"/>
                    </a:lnTo>
                    <a:lnTo>
                      <a:pt x="517" y="490"/>
                    </a:lnTo>
                    <a:lnTo>
                      <a:pt x="516" y="488"/>
                    </a:lnTo>
                    <a:lnTo>
                      <a:pt x="512" y="491"/>
                    </a:lnTo>
                    <a:lnTo>
                      <a:pt x="510" y="491"/>
                    </a:lnTo>
                    <a:lnTo>
                      <a:pt x="507" y="491"/>
                    </a:lnTo>
                    <a:lnTo>
                      <a:pt x="505" y="490"/>
                    </a:lnTo>
                    <a:lnTo>
                      <a:pt x="508" y="490"/>
                    </a:lnTo>
                    <a:lnTo>
                      <a:pt x="510" y="486"/>
                    </a:lnTo>
                    <a:lnTo>
                      <a:pt x="510" y="482"/>
                    </a:lnTo>
                    <a:lnTo>
                      <a:pt x="507" y="481"/>
                    </a:lnTo>
                    <a:lnTo>
                      <a:pt x="503" y="484"/>
                    </a:lnTo>
                    <a:lnTo>
                      <a:pt x="500" y="484"/>
                    </a:lnTo>
                    <a:lnTo>
                      <a:pt x="503" y="488"/>
                    </a:lnTo>
                    <a:lnTo>
                      <a:pt x="503" y="488"/>
                    </a:lnTo>
                    <a:lnTo>
                      <a:pt x="498" y="490"/>
                    </a:lnTo>
                    <a:lnTo>
                      <a:pt x="494" y="493"/>
                    </a:lnTo>
                    <a:lnTo>
                      <a:pt x="492" y="497"/>
                    </a:lnTo>
                    <a:lnTo>
                      <a:pt x="483" y="500"/>
                    </a:lnTo>
                    <a:lnTo>
                      <a:pt x="482" y="498"/>
                    </a:lnTo>
                    <a:lnTo>
                      <a:pt x="458" y="490"/>
                    </a:lnTo>
                    <a:lnTo>
                      <a:pt x="455" y="490"/>
                    </a:lnTo>
                    <a:lnTo>
                      <a:pt x="453" y="491"/>
                    </a:lnTo>
                    <a:lnTo>
                      <a:pt x="451" y="488"/>
                    </a:lnTo>
                    <a:lnTo>
                      <a:pt x="446" y="484"/>
                    </a:lnTo>
                    <a:lnTo>
                      <a:pt x="441" y="484"/>
                    </a:lnTo>
                    <a:lnTo>
                      <a:pt x="435" y="481"/>
                    </a:lnTo>
                    <a:lnTo>
                      <a:pt x="433" y="479"/>
                    </a:lnTo>
                    <a:lnTo>
                      <a:pt x="432" y="475"/>
                    </a:lnTo>
                    <a:lnTo>
                      <a:pt x="428" y="472"/>
                    </a:lnTo>
                    <a:lnTo>
                      <a:pt x="425" y="463"/>
                    </a:lnTo>
                    <a:lnTo>
                      <a:pt x="425" y="463"/>
                    </a:lnTo>
                    <a:lnTo>
                      <a:pt x="426" y="459"/>
                    </a:lnTo>
                    <a:lnTo>
                      <a:pt x="426" y="456"/>
                    </a:lnTo>
                    <a:lnTo>
                      <a:pt x="423" y="447"/>
                    </a:lnTo>
                    <a:lnTo>
                      <a:pt x="416" y="438"/>
                    </a:lnTo>
                    <a:lnTo>
                      <a:pt x="419" y="432"/>
                    </a:lnTo>
                    <a:lnTo>
                      <a:pt x="417" y="432"/>
                    </a:lnTo>
                    <a:lnTo>
                      <a:pt x="414" y="432"/>
                    </a:lnTo>
                    <a:lnTo>
                      <a:pt x="405" y="436"/>
                    </a:lnTo>
                    <a:lnTo>
                      <a:pt x="401" y="438"/>
                    </a:lnTo>
                    <a:lnTo>
                      <a:pt x="400" y="436"/>
                    </a:lnTo>
                    <a:lnTo>
                      <a:pt x="403" y="429"/>
                    </a:lnTo>
                    <a:lnTo>
                      <a:pt x="405" y="423"/>
                    </a:lnTo>
                    <a:lnTo>
                      <a:pt x="405" y="420"/>
                    </a:lnTo>
                    <a:lnTo>
                      <a:pt x="403" y="415"/>
                    </a:lnTo>
                    <a:lnTo>
                      <a:pt x="398" y="409"/>
                    </a:lnTo>
                    <a:lnTo>
                      <a:pt x="394" y="416"/>
                    </a:lnTo>
                    <a:lnTo>
                      <a:pt x="392" y="427"/>
                    </a:lnTo>
                    <a:lnTo>
                      <a:pt x="392" y="427"/>
                    </a:lnTo>
                    <a:lnTo>
                      <a:pt x="391" y="427"/>
                    </a:lnTo>
                    <a:lnTo>
                      <a:pt x="387" y="429"/>
                    </a:lnTo>
                    <a:lnTo>
                      <a:pt x="383" y="429"/>
                    </a:lnTo>
                    <a:lnTo>
                      <a:pt x="380" y="431"/>
                    </a:lnTo>
                    <a:lnTo>
                      <a:pt x="378" y="429"/>
                    </a:lnTo>
                    <a:lnTo>
                      <a:pt x="380" y="423"/>
                    </a:lnTo>
                    <a:lnTo>
                      <a:pt x="383" y="423"/>
                    </a:lnTo>
                    <a:lnTo>
                      <a:pt x="387" y="422"/>
                    </a:lnTo>
                    <a:lnTo>
                      <a:pt x="389" y="413"/>
                    </a:lnTo>
                    <a:lnTo>
                      <a:pt x="389" y="413"/>
                    </a:lnTo>
                    <a:lnTo>
                      <a:pt x="389" y="407"/>
                    </a:lnTo>
                    <a:lnTo>
                      <a:pt x="392" y="400"/>
                    </a:lnTo>
                    <a:lnTo>
                      <a:pt x="394" y="398"/>
                    </a:lnTo>
                    <a:lnTo>
                      <a:pt x="394" y="395"/>
                    </a:lnTo>
                    <a:lnTo>
                      <a:pt x="396" y="388"/>
                    </a:lnTo>
                    <a:lnTo>
                      <a:pt x="396" y="390"/>
                    </a:lnTo>
                    <a:lnTo>
                      <a:pt x="396" y="384"/>
                    </a:lnTo>
                    <a:lnTo>
                      <a:pt x="396" y="382"/>
                    </a:lnTo>
                    <a:lnTo>
                      <a:pt x="394" y="381"/>
                    </a:lnTo>
                    <a:lnTo>
                      <a:pt x="394" y="377"/>
                    </a:lnTo>
                    <a:lnTo>
                      <a:pt x="392" y="377"/>
                    </a:lnTo>
                    <a:lnTo>
                      <a:pt x="392" y="379"/>
                    </a:lnTo>
                    <a:lnTo>
                      <a:pt x="392" y="384"/>
                    </a:lnTo>
                    <a:lnTo>
                      <a:pt x="391" y="384"/>
                    </a:lnTo>
                    <a:lnTo>
                      <a:pt x="385" y="395"/>
                    </a:lnTo>
                    <a:lnTo>
                      <a:pt x="385" y="397"/>
                    </a:lnTo>
                    <a:lnTo>
                      <a:pt x="383" y="400"/>
                    </a:lnTo>
                    <a:lnTo>
                      <a:pt x="380" y="398"/>
                    </a:lnTo>
                    <a:lnTo>
                      <a:pt x="380" y="400"/>
                    </a:lnTo>
                    <a:lnTo>
                      <a:pt x="378" y="402"/>
                    </a:lnTo>
                    <a:lnTo>
                      <a:pt x="375" y="404"/>
                    </a:lnTo>
                    <a:lnTo>
                      <a:pt x="373" y="406"/>
                    </a:lnTo>
                    <a:lnTo>
                      <a:pt x="371" y="406"/>
                    </a:lnTo>
                    <a:lnTo>
                      <a:pt x="369" y="411"/>
                    </a:lnTo>
                    <a:lnTo>
                      <a:pt x="364" y="416"/>
                    </a:lnTo>
                    <a:lnTo>
                      <a:pt x="362" y="420"/>
                    </a:lnTo>
                    <a:lnTo>
                      <a:pt x="364" y="420"/>
                    </a:lnTo>
                    <a:lnTo>
                      <a:pt x="364" y="425"/>
                    </a:lnTo>
                    <a:lnTo>
                      <a:pt x="362" y="423"/>
                    </a:lnTo>
                    <a:lnTo>
                      <a:pt x="360" y="423"/>
                    </a:lnTo>
                    <a:lnTo>
                      <a:pt x="358" y="420"/>
                    </a:lnTo>
                    <a:lnTo>
                      <a:pt x="355" y="418"/>
                    </a:lnTo>
                    <a:lnTo>
                      <a:pt x="353" y="416"/>
                    </a:lnTo>
                    <a:lnTo>
                      <a:pt x="351" y="416"/>
                    </a:lnTo>
                    <a:lnTo>
                      <a:pt x="351" y="413"/>
                    </a:lnTo>
                    <a:lnTo>
                      <a:pt x="355" y="416"/>
                    </a:lnTo>
                    <a:lnTo>
                      <a:pt x="355" y="415"/>
                    </a:lnTo>
                    <a:lnTo>
                      <a:pt x="355" y="411"/>
                    </a:lnTo>
                    <a:lnTo>
                      <a:pt x="353" y="407"/>
                    </a:lnTo>
                    <a:lnTo>
                      <a:pt x="353" y="404"/>
                    </a:lnTo>
                    <a:lnTo>
                      <a:pt x="350" y="400"/>
                    </a:lnTo>
                    <a:lnTo>
                      <a:pt x="348" y="398"/>
                    </a:lnTo>
                    <a:lnTo>
                      <a:pt x="346" y="393"/>
                    </a:lnTo>
                    <a:lnTo>
                      <a:pt x="344" y="390"/>
                    </a:lnTo>
                    <a:lnTo>
                      <a:pt x="342" y="390"/>
                    </a:lnTo>
                    <a:lnTo>
                      <a:pt x="337" y="386"/>
                    </a:lnTo>
                    <a:lnTo>
                      <a:pt x="333" y="384"/>
                    </a:lnTo>
                    <a:lnTo>
                      <a:pt x="333" y="381"/>
                    </a:lnTo>
                    <a:lnTo>
                      <a:pt x="335" y="381"/>
                    </a:lnTo>
                    <a:lnTo>
                      <a:pt x="337" y="377"/>
                    </a:lnTo>
                    <a:lnTo>
                      <a:pt x="330" y="375"/>
                    </a:lnTo>
                    <a:lnTo>
                      <a:pt x="325" y="370"/>
                    </a:lnTo>
                    <a:lnTo>
                      <a:pt x="323" y="368"/>
                    </a:lnTo>
                    <a:lnTo>
                      <a:pt x="323" y="372"/>
                    </a:lnTo>
                    <a:lnTo>
                      <a:pt x="321" y="370"/>
                    </a:lnTo>
                    <a:lnTo>
                      <a:pt x="310" y="366"/>
                    </a:lnTo>
                    <a:lnTo>
                      <a:pt x="308" y="366"/>
                    </a:lnTo>
                    <a:lnTo>
                      <a:pt x="307" y="368"/>
                    </a:lnTo>
                    <a:lnTo>
                      <a:pt x="307" y="368"/>
                    </a:lnTo>
                    <a:lnTo>
                      <a:pt x="305" y="366"/>
                    </a:lnTo>
                    <a:lnTo>
                      <a:pt x="296" y="359"/>
                    </a:lnTo>
                    <a:lnTo>
                      <a:pt x="289" y="357"/>
                    </a:lnTo>
                    <a:lnTo>
                      <a:pt x="257" y="359"/>
                    </a:lnTo>
                    <a:lnTo>
                      <a:pt x="239" y="368"/>
                    </a:lnTo>
                    <a:lnTo>
                      <a:pt x="232" y="368"/>
                    </a:lnTo>
                    <a:lnTo>
                      <a:pt x="226" y="372"/>
                    </a:lnTo>
                    <a:lnTo>
                      <a:pt x="210" y="372"/>
                    </a:lnTo>
                    <a:lnTo>
                      <a:pt x="207" y="370"/>
                    </a:lnTo>
                    <a:lnTo>
                      <a:pt x="201" y="372"/>
                    </a:lnTo>
                    <a:lnTo>
                      <a:pt x="191" y="379"/>
                    </a:lnTo>
                    <a:lnTo>
                      <a:pt x="187" y="381"/>
                    </a:lnTo>
                    <a:lnTo>
                      <a:pt x="182" y="382"/>
                    </a:lnTo>
                    <a:lnTo>
                      <a:pt x="178" y="384"/>
                    </a:lnTo>
                    <a:lnTo>
                      <a:pt x="175" y="386"/>
                    </a:lnTo>
                    <a:lnTo>
                      <a:pt x="167" y="400"/>
                    </a:lnTo>
                    <a:lnTo>
                      <a:pt x="162" y="402"/>
                    </a:lnTo>
                    <a:lnTo>
                      <a:pt x="158" y="402"/>
                    </a:lnTo>
                    <a:lnTo>
                      <a:pt x="157" y="400"/>
                    </a:lnTo>
                    <a:lnTo>
                      <a:pt x="144" y="404"/>
                    </a:lnTo>
                    <a:lnTo>
                      <a:pt x="142" y="402"/>
                    </a:lnTo>
                    <a:lnTo>
                      <a:pt x="141" y="400"/>
                    </a:lnTo>
                    <a:lnTo>
                      <a:pt x="135" y="402"/>
                    </a:lnTo>
                    <a:lnTo>
                      <a:pt x="126" y="400"/>
                    </a:lnTo>
                    <a:lnTo>
                      <a:pt x="121" y="402"/>
                    </a:lnTo>
                    <a:lnTo>
                      <a:pt x="108" y="402"/>
                    </a:lnTo>
                    <a:lnTo>
                      <a:pt x="105" y="404"/>
                    </a:lnTo>
                    <a:lnTo>
                      <a:pt x="103" y="406"/>
                    </a:lnTo>
                    <a:lnTo>
                      <a:pt x="101" y="409"/>
                    </a:lnTo>
                    <a:lnTo>
                      <a:pt x="101" y="409"/>
                    </a:lnTo>
                    <a:lnTo>
                      <a:pt x="101" y="411"/>
                    </a:lnTo>
                    <a:lnTo>
                      <a:pt x="100" y="413"/>
                    </a:lnTo>
                    <a:lnTo>
                      <a:pt x="91" y="413"/>
                    </a:lnTo>
                    <a:lnTo>
                      <a:pt x="84" y="420"/>
                    </a:lnTo>
                    <a:lnTo>
                      <a:pt x="84" y="422"/>
                    </a:lnTo>
                    <a:lnTo>
                      <a:pt x="80" y="423"/>
                    </a:lnTo>
                    <a:lnTo>
                      <a:pt x="78" y="423"/>
                    </a:lnTo>
                    <a:lnTo>
                      <a:pt x="76" y="422"/>
                    </a:lnTo>
                    <a:lnTo>
                      <a:pt x="75" y="425"/>
                    </a:lnTo>
                    <a:lnTo>
                      <a:pt x="73" y="425"/>
                    </a:lnTo>
                    <a:lnTo>
                      <a:pt x="71" y="425"/>
                    </a:lnTo>
                    <a:lnTo>
                      <a:pt x="69" y="423"/>
                    </a:lnTo>
                    <a:lnTo>
                      <a:pt x="55" y="423"/>
                    </a:lnTo>
                    <a:lnTo>
                      <a:pt x="53" y="422"/>
                    </a:lnTo>
                    <a:lnTo>
                      <a:pt x="50" y="420"/>
                    </a:lnTo>
                    <a:lnTo>
                      <a:pt x="50" y="420"/>
                    </a:lnTo>
                    <a:lnTo>
                      <a:pt x="46" y="420"/>
                    </a:lnTo>
                    <a:lnTo>
                      <a:pt x="37" y="411"/>
                    </a:lnTo>
                    <a:lnTo>
                      <a:pt x="30" y="409"/>
                    </a:lnTo>
                    <a:lnTo>
                      <a:pt x="30" y="397"/>
                    </a:lnTo>
                    <a:lnTo>
                      <a:pt x="30" y="397"/>
                    </a:lnTo>
                    <a:lnTo>
                      <a:pt x="34" y="397"/>
                    </a:lnTo>
                    <a:lnTo>
                      <a:pt x="35" y="397"/>
                    </a:lnTo>
                    <a:lnTo>
                      <a:pt x="41" y="388"/>
                    </a:lnTo>
                    <a:lnTo>
                      <a:pt x="41" y="384"/>
                    </a:lnTo>
                    <a:lnTo>
                      <a:pt x="39" y="381"/>
                    </a:lnTo>
                    <a:lnTo>
                      <a:pt x="39" y="377"/>
                    </a:lnTo>
                    <a:lnTo>
                      <a:pt x="39" y="379"/>
                    </a:lnTo>
                    <a:lnTo>
                      <a:pt x="41" y="375"/>
                    </a:lnTo>
                    <a:lnTo>
                      <a:pt x="41" y="361"/>
                    </a:lnTo>
                    <a:lnTo>
                      <a:pt x="32" y="341"/>
                    </a:lnTo>
                    <a:lnTo>
                      <a:pt x="28" y="318"/>
                    </a:lnTo>
                    <a:lnTo>
                      <a:pt x="23" y="307"/>
                    </a:lnTo>
                    <a:lnTo>
                      <a:pt x="21" y="304"/>
                    </a:lnTo>
                    <a:lnTo>
                      <a:pt x="16" y="293"/>
                    </a:lnTo>
                    <a:lnTo>
                      <a:pt x="14" y="288"/>
                    </a:lnTo>
                    <a:lnTo>
                      <a:pt x="10" y="275"/>
                    </a:lnTo>
                    <a:lnTo>
                      <a:pt x="7" y="273"/>
                    </a:lnTo>
                    <a:lnTo>
                      <a:pt x="3" y="268"/>
                    </a:lnTo>
                    <a:lnTo>
                      <a:pt x="1" y="266"/>
                    </a:lnTo>
                    <a:lnTo>
                      <a:pt x="1" y="265"/>
                    </a:lnTo>
                    <a:lnTo>
                      <a:pt x="0" y="261"/>
                    </a:lnTo>
                    <a:lnTo>
                      <a:pt x="0" y="259"/>
                    </a:lnTo>
                    <a:lnTo>
                      <a:pt x="0" y="261"/>
                    </a:lnTo>
                    <a:lnTo>
                      <a:pt x="1" y="261"/>
                    </a:lnTo>
                    <a:lnTo>
                      <a:pt x="3" y="263"/>
                    </a:lnTo>
                    <a:lnTo>
                      <a:pt x="3" y="265"/>
                    </a:lnTo>
                    <a:lnTo>
                      <a:pt x="3" y="266"/>
                    </a:lnTo>
                    <a:lnTo>
                      <a:pt x="5" y="266"/>
                    </a:lnTo>
                    <a:lnTo>
                      <a:pt x="5" y="268"/>
                    </a:lnTo>
                    <a:lnTo>
                      <a:pt x="9" y="268"/>
                    </a:lnTo>
                    <a:lnTo>
                      <a:pt x="10" y="266"/>
                    </a:lnTo>
                    <a:lnTo>
                      <a:pt x="9" y="265"/>
                    </a:lnTo>
                    <a:lnTo>
                      <a:pt x="7" y="261"/>
                    </a:lnTo>
                    <a:lnTo>
                      <a:pt x="3" y="254"/>
                    </a:lnTo>
                    <a:lnTo>
                      <a:pt x="3" y="250"/>
                    </a:lnTo>
                    <a:lnTo>
                      <a:pt x="5" y="250"/>
                    </a:lnTo>
                    <a:lnTo>
                      <a:pt x="7" y="261"/>
                    </a:lnTo>
                    <a:lnTo>
                      <a:pt x="10" y="257"/>
                    </a:lnTo>
                    <a:lnTo>
                      <a:pt x="10" y="265"/>
                    </a:lnTo>
                    <a:lnTo>
                      <a:pt x="12" y="265"/>
                    </a:lnTo>
                    <a:lnTo>
                      <a:pt x="14" y="263"/>
                    </a:lnTo>
                    <a:lnTo>
                      <a:pt x="16" y="259"/>
                    </a:lnTo>
                    <a:lnTo>
                      <a:pt x="14" y="254"/>
                    </a:lnTo>
                    <a:lnTo>
                      <a:pt x="12" y="252"/>
                    </a:lnTo>
                    <a:lnTo>
                      <a:pt x="10" y="248"/>
                    </a:lnTo>
                    <a:lnTo>
                      <a:pt x="10" y="248"/>
                    </a:lnTo>
                    <a:lnTo>
                      <a:pt x="10" y="247"/>
                    </a:lnTo>
                    <a:lnTo>
                      <a:pt x="1" y="231"/>
                    </a:lnTo>
                    <a:lnTo>
                      <a:pt x="1" y="222"/>
                    </a:lnTo>
                    <a:lnTo>
                      <a:pt x="3" y="218"/>
                    </a:lnTo>
                    <a:lnTo>
                      <a:pt x="7" y="215"/>
                    </a:lnTo>
                    <a:lnTo>
                      <a:pt x="9" y="204"/>
                    </a:lnTo>
                    <a:lnTo>
                      <a:pt x="5" y="200"/>
                    </a:lnTo>
                    <a:lnTo>
                      <a:pt x="10" y="186"/>
                    </a:lnTo>
                    <a:lnTo>
                      <a:pt x="12" y="18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08" name="Freeform 2963"/>
              <p:cNvSpPr>
                <a:spLocks/>
              </p:cNvSpPr>
              <p:nvPr/>
            </p:nvSpPr>
            <p:spPr bwMode="auto">
              <a:xfrm>
                <a:off x="4714" y="2049"/>
                <a:ext cx="55" cy="82"/>
              </a:xfrm>
              <a:custGeom>
                <a:avLst/>
                <a:gdLst>
                  <a:gd name="T0" fmla="*/ 53 w 55"/>
                  <a:gd name="T1" fmla="*/ 26 h 82"/>
                  <a:gd name="T2" fmla="*/ 55 w 55"/>
                  <a:gd name="T3" fmla="*/ 50 h 82"/>
                  <a:gd name="T4" fmla="*/ 48 w 55"/>
                  <a:gd name="T5" fmla="*/ 66 h 82"/>
                  <a:gd name="T6" fmla="*/ 39 w 55"/>
                  <a:gd name="T7" fmla="*/ 66 h 82"/>
                  <a:gd name="T8" fmla="*/ 35 w 55"/>
                  <a:gd name="T9" fmla="*/ 71 h 82"/>
                  <a:gd name="T10" fmla="*/ 30 w 55"/>
                  <a:gd name="T11" fmla="*/ 69 h 82"/>
                  <a:gd name="T12" fmla="*/ 26 w 55"/>
                  <a:gd name="T13" fmla="*/ 73 h 82"/>
                  <a:gd name="T14" fmla="*/ 23 w 55"/>
                  <a:gd name="T15" fmla="*/ 76 h 82"/>
                  <a:gd name="T16" fmla="*/ 21 w 55"/>
                  <a:gd name="T17" fmla="*/ 73 h 82"/>
                  <a:gd name="T18" fmla="*/ 19 w 55"/>
                  <a:gd name="T19" fmla="*/ 78 h 82"/>
                  <a:gd name="T20" fmla="*/ 18 w 55"/>
                  <a:gd name="T21" fmla="*/ 78 h 82"/>
                  <a:gd name="T22" fmla="*/ 19 w 55"/>
                  <a:gd name="T23" fmla="*/ 75 h 82"/>
                  <a:gd name="T24" fmla="*/ 12 w 55"/>
                  <a:gd name="T25" fmla="*/ 80 h 82"/>
                  <a:gd name="T26" fmla="*/ 10 w 55"/>
                  <a:gd name="T27" fmla="*/ 78 h 82"/>
                  <a:gd name="T28" fmla="*/ 7 w 55"/>
                  <a:gd name="T29" fmla="*/ 80 h 82"/>
                  <a:gd name="T30" fmla="*/ 3 w 55"/>
                  <a:gd name="T31" fmla="*/ 82 h 82"/>
                  <a:gd name="T32" fmla="*/ 3 w 55"/>
                  <a:gd name="T33" fmla="*/ 76 h 82"/>
                  <a:gd name="T34" fmla="*/ 7 w 55"/>
                  <a:gd name="T35" fmla="*/ 75 h 82"/>
                  <a:gd name="T36" fmla="*/ 5 w 55"/>
                  <a:gd name="T37" fmla="*/ 71 h 82"/>
                  <a:gd name="T38" fmla="*/ 3 w 55"/>
                  <a:gd name="T39" fmla="*/ 71 h 82"/>
                  <a:gd name="T40" fmla="*/ 5 w 55"/>
                  <a:gd name="T41" fmla="*/ 64 h 82"/>
                  <a:gd name="T42" fmla="*/ 7 w 55"/>
                  <a:gd name="T43" fmla="*/ 57 h 82"/>
                  <a:gd name="T44" fmla="*/ 10 w 55"/>
                  <a:gd name="T45" fmla="*/ 53 h 82"/>
                  <a:gd name="T46" fmla="*/ 9 w 55"/>
                  <a:gd name="T47" fmla="*/ 50 h 82"/>
                  <a:gd name="T48" fmla="*/ 5 w 55"/>
                  <a:gd name="T49" fmla="*/ 37 h 82"/>
                  <a:gd name="T50" fmla="*/ 5 w 55"/>
                  <a:gd name="T51" fmla="*/ 39 h 82"/>
                  <a:gd name="T52" fmla="*/ 1 w 55"/>
                  <a:gd name="T53" fmla="*/ 37 h 82"/>
                  <a:gd name="T54" fmla="*/ 1 w 55"/>
                  <a:gd name="T55" fmla="*/ 35 h 82"/>
                  <a:gd name="T56" fmla="*/ 9 w 55"/>
                  <a:gd name="T57" fmla="*/ 32 h 82"/>
                  <a:gd name="T58" fmla="*/ 12 w 55"/>
                  <a:gd name="T59" fmla="*/ 33 h 82"/>
                  <a:gd name="T60" fmla="*/ 12 w 55"/>
                  <a:gd name="T61" fmla="*/ 28 h 82"/>
                  <a:gd name="T62" fmla="*/ 10 w 55"/>
                  <a:gd name="T63" fmla="*/ 25 h 82"/>
                  <a:gd name="T64" fmla="*/ 10 w 55"/>
                  <a:gd name="T65" fmla="*/ 23 h 82"/>
                  <a:gd name="T66" fmla="*/ 7 w 55"/>
                  <a:gd name="T67" fmla="*/ 21 h 82"/>
                  <a:gd name="T68" fmla="*/ 9 w 55"/>
                  <a:gd name="T69" fmla="*/ 19 h 82"/>
                  <a:gd name="T70" fmla="*/ 7 w 55"/>
                  <a:gd name="T71" fmla="*/ 16 h 82"/>
                  <a:gd name="T72" fmla="*/ 7 w 55"/>
                  <a:gd name="T73" fmla="*/ 16 h 82"/>
                  <a:gd name="T74" fmla="*/ 28 w 55"/>
                  <a:gd name="T75" fmla="*/ 5 h 82"/>
                  <a:gd name="T76" fmla="*/ 37 w 55"/>
                  <a:gd name="T7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82">
                    <a:moveTo>
                      <a:pt x="37" y="0"/>
                    </a:moveTo>
                    <a:lnTo>
                      <a:pt x="53" y="26"/>
                    </a:lnTo>
                    <a:lnTo>
                      <a:pt x="53" y="48"/>
                    </a:lnTo>
                    <a:lnTo>
                      <a:pt x="55" y="50"/>
                    </a:lnTo>
                    <a:lnTo>
                      <a:pt x="51" y="62"/>
                    </a:lnTo>
                    <a:lnTo>
                      <a:pt x="48" y="66"/>
                    </a:lnTo>
                    <a:lnTo>
                      <a:pt x="43" y="67"/>
                    </a:lnTo>
                    <a:lnTo>
                      <a:pt x="39" y="66"/>
                    </a:lnTo>
                    <a:lnTo>
                      <a:pt x="35" y="73"/>
                    </a:lnTo>
                    <a:lnTo>
                      <a:pt x="35" y="71"/>
                    </a:lnTo>
                    <a:lnTo>
                      <a:pt x="34" y="71"/>
                    </a:lnTo>
                    <a:lnTo>
                      <a:pt x="30" y="69"/>
                    </a:lnTo>
                    <a:lnTo>
                      <a:pt x="25" y="71"/>
                    </a:lnTo>
                    <a:lnTo>
                      <a:pt x="26" y="73"/>
                    </a:lnTo>
                    <a:lnTo>
                      <a:pt x="25" y="75"/>
                    </a:lnTo>
                    <a:lnTo>
                      <a:pt x="23" y="76"/>
                    </a:lnTo>
                    <a:lnTo>
                      <a:pt x="23" y="73"/>
                    </a:lnTo>
                    <a:lnTo>
                      <a:pt x="21" y="73"/>
                    </a:lnTo>
                    <a:lnTo>
                      <a:pt x="21" y="76"/>
                    </a:lnTo>
                    <a:lnTo>
                      <a:pt x="19" y="78"/>
                    </a:lnTo>
                    <a:lnTo>
                      <a:pt x="18" y="78"/>
                    </a:lnTo>
                    <a:lnTo>
                      <a:pt x="18" y="78"/>
                    </a:lnTo>
                    <a:lnTo>
                      <a:pt x="19" y="76"/>
                    </a:lnTo>
                    <a:lnTo>
                      <a:pt x="19" y="75"/>
                    </a:lnTo>
                    <a:lnTo>
                      <a:pt x="16" y="76"/>
                    </a:lnTo>
                    <a:lnTo>
                      <a:pt x="12" y="80"/>
                    </a:lnTo>
                    <a:lnTo>
                      <a:pt x="12" y="80"/>
                    </a:lnTo>
                    <a:lnTo>
                      <a:pt x="10" y="78"/>
                    </a:lnTo>
                    <a:lnTo>
                      <a:pt x="7" y="82"/>
                    </a:lnTo>
                    <a:lnTo>
                      <a:pt x="7" y="80"/>
                    </a:lnTo>
                    <a:lnTo>
                      <a:pt x="3" y="80"/>
                    </a:lnTo>
                    <a:lnTo>
                      <a:pt x="3" y="82"/>
                    </a:lnTo>
                    <a:lnTo>
                      <a:pt x="1" y="82"/>
                    </a:lnTo>
                    <a:lnTo>
                      <a:pt x="3" y="76"/>
                    </a:lnTo>
                    <a:lnTo>
                      <a:pt x="7" y="76"/>
                    </a:lnTo>
                    <a:lnTo>
                      <a:pt x="7" y="75"/>
                    </a:lnTo>
                    <a:lnTo>
                      <a:pt x="7" y="73"/>
                    </a:lnTo>
                    <a:lnTo>
                      <a:pt x="5" y="71"/>
                    </a:lnTo>
                    <a:lnTo>
                      <a:pt x="5" y="73"/>
                    </a:lnTo>
                    <a:lnTo>
                      <a:pt x="3" y="71"/>
                    </a:lnTo>
                    <a:lnTo>
                      <a:pt x="5" y="67"/>
                    </a:lnTo>
                    <a:lnTo>
                      <a:pt x="5" y="64"/>
                    </a:lnTo>
                    <a:lnTo>
                      <a:pt x="9" y="58"/>
                    </a:lnTo>
                    <a:lnTo>
                      <a:pt x="7" y="57"/>
                    </a:lnTo>
                    <a:lnTo>
                      <a:pt x="10" y="55"/>
                    </a:lnTo>
                    <a:lnTo>
                      <a:pt x="10" y="53"/>
                    </a:lnTo>
                    <a:lnTo>
                      <a:pt x="9" y="51"/>
                    </a:lnTo>
                    <a:lnTo>
                      <a:pt x="9" y="50"/>
                    </a:lnTo>
                    <a:lnTo>
                      <a:pt x="7" y="48"/>
                    </a:lnTo>
                    <a:lnTo>
                      <a:pt x="5" y="37"/>
                    </a:lnTo>
                    <a:lnTo>
                      <a:pt x="3" y="35"/>
                    </a:lnTo>
                    <a:lnTo>
                      <a:pt x="5" y="39"/>
                    </a:lnTo>
                    <a:lnTo>
                      <a:pt x="3" y="41"/>
                    </a:lnTo>
                    <a:lnTo>
                      <a:pt x="1" y="37"/>
                    </a:lnTo>
                    <a:lnTo>
                      <a:pt x="0" y="37"/>
                    </a:lnTo>
                    <a:lnTo>
                      <a:pt x="1" y="35"/>
                    </a:lnTo>
                    <a:lnTo>
                      <a:pt x="3" y="32"/>
                    </a:lnTo>
                    <a:lnTo>
                      <a:pt x="9" y="32"/>
                    </a:lnTo>
                    <a:lnTo>
                      <a:pt x="12" y="33"/>
                    </a:lnTo>
                    <a:lnTo>
                      <a:pt x="12" y="33"/>
                    </a:lnTo>
                    <a:lnTo>
                      <a:pt x="12" y="30"/>
                    </a:lnTo>
                    <a:lnTo>
                      <a:pt x="12" y="28"/>
                    </a:lnTo>
                    <a:lnTo>
                      <a:pt x="10" y="26"/>
                    </a:lnTo>
                    <a:lnTo>
                      <a:pt x="10" y="25"/>
                    </a:lnTo>
                    <a:lnTo>
                      <a:pt x="12" y="25"/>
                    </a:lnTo>
                    <a:lnTo>
                      <a:pt x="10" y="23"/>
                    </a:lnTo>
                    <a:lnTo>
                      <a:pt x="9" y="23"/>
                    </a:lnTo>
                    <a:lnTo>
                      <a:pt x="7" y="21"/>
                    </a:lnTo>
                    <a:lnTo>
                      <a:pt x="7" y="19"/>
                    </a:lnTo>
                    <a:lnTo>
                      <a:pt x="9" y="19"/>
                    </a:lnTo>
                    <a:lnTo>
                      <a:pt x="7" y="17"/>
                    </a:lnTo>
                    <a:lnTo>
                      <a:pt x="7" y="16"/>
                    </a:lnTo>
                    <a:lnTo>
                      <a:pt x="7" y="14"/>
                    </a:lnTo>
                    <a:lnTo>
                      <a:pt x="7" y="16"/>
                    </a:lnTo>
                    <a:lnTo>
                      <a:pt x="18" y="5"/>
                    </a:lnTo>
                    <a:lnTo>
                      <a:pt x="28" y="5"/>
                    </a:lnTo>
                    <a:lnTo>
                      <a:pt x="32" y="3"/>
                    </a:lnTo>
                    <a:lnTo>
                      <a:pt x="37"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09" name="Freeform 2964"/>
              <p:cNvSpPr>
                <a:spLocks/>
              </p:cNvSpPr>
              <p:nvPr/>
            </p:nvSpPr>
            <p:spPr bwMode="auto">
              <a:xfrm>
                <a:off x="4714" y="2049"/>
                <a:ext cx="55" cy="82"/>
              </a:xfrm>
              <a:custGeom>
                <a:avLst/>
                <a:gdLst>
                  <a:gd name="T0" fmla="*/ 53 w 55"/>
                  <a:gd name="T1" fmla="*/ 26 h 82"/>
                  <a:gd name="T2" fmla="*/ 55 w 55"/>
                  <a:gd name="T3" fmla="*/ 50 h 82"/>
                  <a:gd name="T4" fmla="*/ 48 w 55"/>
                  <a:gd name="T5" fmla="*/ 66 h 82"/>
                  <a:gd name="T6" fmla="*/ 39 w 55"/>
                  <a:gd name="T7" fmla="*/ 66 h 82"/>
                  <a:gd name="T8" fmla="*/ 35 w 55"/>
                  <a:gd name="T9" fmla="*/ 71 h 82"/>
                  <a:gd name="T10" fmla="*/ 30 w 55"/>
                  <a:gd name="T11" fmla="*/ 69 h 82"/>
                  <a:gd name="T12" fmla="*/ 26 w 55"/>
                  <a:gd name="T13" fmla="*/ 73 h 82"/>
                  <a:gd name="T14" fmla="*/ 23 w 55"/>
                  <a:gd name="T15" fmla="*/ 76 h 82"/>
                  <a:gd name="T16" fmla="*/ 21 w 55"/>
                  <a:gd name="T17" fmla="*/ 73 h 82"/>
                  <a:gd name="T18" fmla="*/ 19 w 55"/>
                  <a:gd name="T19" fmla="*/ 78 h 82"/>
                  <a:gd name="T20" fmla="*/ 18 w 55"/>
                  <a:gd name="T21" fmla="*/ 78 h 82"/>
                  <a:gd name="T22" fmla="*/ 19 w 55"/>
                  <a:gd name="T23" fmla="*/ 75 h 82"/>
                  <a:gd name="T24" fmla="*/ 12 w 55"/>
                  <a:gd name="T25" fmla="*/ 80 h 82"/>
                  <a:gd name="T26" fmla="*/ 10 w 55"/>
                  <a:gd name="T27" fmla="*/ 78 h 82"/>
                  <a:gd name="T28" fmla="*/ 7 w 55"/>
                  <a:gd name="T29" fmla="*/ 80 h 82"/>
                  <a:gd name="T30" fmla="*/ 3 w 55"/>
                  <a:gd name="T31" fmla="*/ 82 h 82"/>
                  <a:gd name="T32" fmla="*/ 3 w 55"/>
                  <a:gd name="T33" fmla="*/ 76 h 82"/>
                  <a:gd name="T34" fmla="*/ 7 w 55"/>
                  <a:gd name="T35" fmla="*/ 75 h 82"/>
                  <a:gd name="T36" fmla="*/ 5 w 55"/>
                  <a:gd name="T37" fmla="*/ 71 h 82"/>
                  <a:gd name="T38" fmla="*/ 3 w 55"/>
                  <a:gd name="T39" fmla="*/ 71 h 82"/>
                  <a:gd name="T40" fmla="*/ 5 w 55"/>
                  <a:gd name="T41" fmla="*/ 64 h 82"/>
                  <a:gd name="T42" fmla="*/ 7 w 55"/>
                  <a:gd name="T43" fmla="*/ 57 h 82"/>
                  <a:gd name="T44" fmla="*/ 10 w 55"/>
                  <a:gd name="T45" fmla="*/ 53 h 82"/>
                  <a:gd name="T46" fmla="*/ 9 w 55"/>
                  <a:gd name="T47" fmla="*/ 50 h 82"/>
                  <a:gd name="T48" fmla="*/ 5 w 55"/>
                  <a:gd name="T49" fmla="*/ 37 h 82"/>
                  <a:gd name="T50" fmla="*/ 5 w 55"/>
                  <a:gd name="T51" fmla="*/ 39 h 82"/>
                  <a:gd name="T52" fmla="*/ 1 w 55"/>
                  <a:gd name="T53" fmla="*/ 37 h 82"/>
                  <a:gd name="T54" fmla="*/ 1 w 55"/>
                  <a:gd name="T55" fmla="*/ 35 h 82"/>
                  <a:gd name="T56" fmla="*/ 9 w 55"/>
                  <a:gd name="T57" fmla="*/ 32 h 82"/>
                  <a:gd name="T58" fmla="*/ 12 w 55"/>
                  <a:gd name="T59" fmla="*/ 33 h 82"/>
                  <a:gd name="T60" fmla="*/ 12 w 55"/>
                  <a:gd name="T61" fmla="*/ 28 h 82"/>
                  <a:gd name="T62" fmla="*/ 10 w 55"/>
                  <a:gd name="T63" fmla="*/ 25 h 82"/>
                  <a:gd name="T64" fmla="*/ 10 w 55"/>
                  <a:gd name="T65" fmla="*/ 23 h 82"/>
                  <a:gd name="T66" fmla="*/ 7 w 55"/>
                  <a:gd name="T67" fmla="*/ 21 h 82"/>
                  <a:gd name="T68" fmla="*/ 9 w 55"/>
                  <a:gd name="T69" fmla="*/ 19 h 82"/>
                  <a:gd name="T70" fmla="*/ 7 w 55"/>
                  <a:gd name="T71" fmla="*/ 16 h 82"/>
                  <a:gd name="T72" fmla="*/ 7 w 55"/>
                  <a:gd name="T73" fmla="*/ 16 h 82"/>
                  <a:gd name="T74" fmla="*/ 28 w 55"/>
                  <a:gd name="T75" fmla="*/ 5 h 82"/>
                  <a:gd name="T76" fmla="*/ 37 w 55"/>
                  <a:gd name="T7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82">
                    <a:moveTo>
                      <a:pt x="37" y="0"/>
                    </a:moveTo>
                    <a:lnTo>
                      <a:pt x="53" y="26"/>
                    </a:lnTo>
                    <a:lnTo>
                      <a:pt x="53" y="48"/>
                    </a:lnTo>
                    <a:lnTo>
                      <a:pt x="55" y="50"/>
                    </a:lnTo>
                    <a:lnTo>
                      <a:pt x="51" y="62"/>
                    </a:lnTo>
                    <a:lnTo>
                      <a:pt x="48" y="66"/>
                    </a:lnTo>
                    <a:lnTo>
                      <a:pt x="43" y="67"/>
                    </a:lnTo>
                    <a:lnTo>
                      <a:pt x="39" y="66"/>
                    </a:lnTo>
                    <a:lnTo>
                      <a:pt x="35" y="73"/>
                    </a:lnTo>
                    <a:lnTo>
                      <a:pt x="35" y="71"/>
                    </a:lnTo>
                    <a:lnTo>
                      <a:pt x="34" y="71"/>
                    </a:lnTo>
                    <a:lnTo>
                      <a:pt x="30" y="69"/>
                    </a:lnTo>
                    <a:lnTo>
                      <a:pt x="25" y="71"/>
                    </a:lnTo>
                    <a:lnTo>
                      <a:pt x="26" y="73"/>
                    </a:lnTo>
                    <a:lnTo>
                      <a:pt x="25" y="75"/>
                    </a:lnTo>
                    <a:lnTo>
                      <a:pt x="23" y="76"/>
                    </a:lnTo>
                    <a:lnTo>
                      <a:pt x="23" y="73"/>
                    </a:lnTo>
                    <a:lnTo>
                      <a:pt x="21" y="73"/>
                    </a:lnTo>
                    <a:lnTo>
                      <a:pt x="21" y="76"/>
                    </a:lnTo>
                    <a:lnTo>
                      <a:pt x="19" y="78"/>
                    </a:lnTo>
                    <a:lnTo>
                      <a:pt x="18" y="78"/>
                    </a:lnTo>
                    <a:lnTo>
                      <a:pt x="18" y="78"/>
                    </a:lnTo>
                    <a:lnTo>
                      <a:pt x="19" y="76"/>
                    </a:lnTo>
                    <a:lnTo>
                      <a:pt x="19" y="75"/>
                    </a:lnTo>
                    <a:lnTo>
                      <a:pt x="16" y="76"/>
                    </a:lnTo>
                    <a:lnTo>
                      <a:pt x="12" y="80"/>
                    </a:lnTo>
                    <a:lnTo>
                      <a:pt x="12" y="80"/>
                    </a:lnTo>
                    <a:lnTo>
                      <a:pt x="10" y="78"/>
                    </a:lnTo>
                    <a:lnTo>
                      <a:pt x="7" y="82"/>
                    </a:lnTo>
                    <a:lnTo>
                      <a:pt x="7" y="80"/>
                    </a:lnTo>
                    <a:lnTo>
                      <a:pt x="3" y="80"/>
                    </a:lnTo>
                    <a:lnTo>
                      <a:pt x="3" y="82"/>
                    </a:lnTo>
                    <a:lnTo>
                      <a:pt x="1" y="82"/>
                    </a:lnTo>
                    <a:lnTo>
                      <a:pt x="3" y="76"/>
                    </a:lnTo>
                    <a:lnTo>
                      <a:pt x="7" y="76"/>
                    </a:lnTo>
                    <a:lnTo>
                      <a:pt x="7" y="75"/>
                    </a:lnTo>
                    <a:lnTo>
                      <a:pt x="7" y="73"/>
                    </a:lnTo>
                    <a:lnTo>
                      <a:pt x="5" y="71"/>
                    </a:lnTo>
                    <a:lnTo>
                      <a:pt x="5" y="73"/>
                    </a:lnTo>
                    <a:lnTo>
                      <a:pt x="3" y="71"/>
                    </a:lnTo>
                    <a:lnTo>
                      <a:pt x="5" y="67"/>
                    </a:lnTo>
                    <a:lnTo>
                      <a:pt x="5" y="64"/>
                    </a:lnTo>
                    <a:lnTo>
                      <a:pt x="9" y="58"/>
                    </a:lnTo>
                    <a:lnTo>
                      <a:pt x="7" y="57"/>
                    </a:lnTo>
                    <a:lnTo>
                      <a:pt x="10" y="55"/>
                    </a:lnTo>
                    <a:lnTo>
                      <a:pt x="10" y="53"/>
                    </a:lnTo>
                    <a:lnTo>
                      <a:pt x="9" y="51"/>
                    </a:lnTo>
                    <a:lnTo>
                      <a:pt x="9" y="50"/>
                    </a:lnTo>
                    <a:lnTo>
                      <a:pt x="7" y="48"/>
                    </a:lnTo>
                    <a:lnTo>
                      <a:pt x="5" y="37"/>
                    </a:lnTo>
                    <a:lnTo>
                      <a:pt x="3" y="35"/>
                    </a:lnTo>
                    <a:lnTo>
                      <a:pt x="5" y="39"/>
                    </a:lnTo>
                    <a:lnTo>
                      <a:pt x="3" y="41"/>
                    </a:lnTo>
                    <a:lnTo>
                      <a:pt x="1" y="37"/>
                    </a:lnTo>
                    <a:lnTo>
                      <a:pt x="0" y="37"/>
                    </a:lnTo>
                    <a:lnTo>
                      <a:pt x="1" y="35"/>
                    </a:lnTo>
                    <a:lnTo>
                      <a:pt x="3" y="32"/>
                    </a:lnTo>
                    <a:lnTo>
                      <a:pt x="9" y="32"/>
                    </a:lnTo>
                    <a:lnTo>
                      <a:pt x="12" y="33"/>
                    </a:lnTo>
                    <a:lnTo>
                      <a:pt x="12" y="33"/>
                    </a:lnTo>
                    <a:lnTo>
                      <a:pt x="12" y="30"/>
                    </a:lnTo>
                    <a:lnTo>
                      <a:pt x="12" y="28"/>
                    </a:lnTo>
                    <a:lnTo>
                      <a:pt x="10" y="26"/>
                    </a:lnTo>
                    <a:lnTo>
                      <a:pt x="10" y="25"/>
                    </a:lnTo>
                    <a:lnTo>
                      <a:pt x="12" y="25"/>
                    </a:lnTo>
                    <a:lnTo>
                      <a:pt x="10" y="23"/>
                    </a:lnTo>
                    <a:lnTo>
                      <a:pt x="9" y="23"/>
                    </a:lnTo>
                    <a:lnTo>
                      <a:pt x="7" y="21"/>
                    </a:lnTo>
                    <a:lnTo>
                      <a:pt x="7" y="19"/>
                    </a:lnTo>
                    <a:lnTo>
                      <a:pt x="9" y="19"/>
                    </a:lnTo>
                    <a:lnTo>
                      <a:pt x="7" y="17"/>
                    </a:lnTo>
                    <a:lnTo>
                      <a:pt x="7" y="16"/>
                    </a:lnTo>
                    <a:lnTo>
                      <a:pt x="7" y="14"/>
                    </a:lnTo>
                    <a:lnTo>
                      <a:pt x="7" y="16"/>
                    </a:lnTo>
                    <a:lnTo>
                      <a:pt x="18" y="5"/>
                    </a:lnTo>
                    <a:lnTo>
                      <a:pt x="28" y="5"/>
                    </a:lnTo>
                    <a:lnTo>
                      <a:pt x="32" y="3"/>
                    </a:lnTo>
                    <a:lnTo>
                      <a:pt x="37"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10" name="Freeform 2965"/>
              <p:cNvSpPr>
                <a:spLocks/>
              </p:cNvSpPr>
              <p:nvPr/>
            </p:nvSpPr>
            <p:spPr bwMode="auto">
              <a:xfrm>
                <a:off x="5376" y="3556"/>
                <a:ext cx="9" cy="14"/>
              </a:xfrm>
              <a:custGeom>
                <a:avLst/>
                <a:gdLst>
                  <a:gd name="T0" fmla="*/ 5 w 9"/>
                  <a:gd name="T1" fmla="*/ 1 h 14"/>
                  <a:gd name="T2" fmla="*/ 7 w 9"/>
                  <a:gd name="T3" fmla="*/ 0 h 14"/>
                  <a:gd name="T4" fmla="*/ 7 w 9"/>
                  <a:gd name="T5" fmla="*/ 1 h 14"/>
                  <a:gd name="T6" fmla="*/ 9 w 9"/>
                  <a:gd name="T7" fmla="*/ 3 h 14"/>
                  <a:gd name="T8" fmla="*/ 9 w 9"/>
                  <a:gd name="T9" fmla="*/ 5 h 14"/>
                  <a:gd name="T10" fmla="*/ 7 w 9"/>
                  <a:gd name="T11" fmla="*/ 5 h 14"/>
                  <a:gd name="T12" fmla="*/ 9 w 9"/>
                  <a:gd name="T13" fmla="*/ 7 h 14"/>
                  <a:gd name="T14" fmla="*/ 9 w 9"/>
                  <a:gd name="T15" fmla="*/ 9 h 14"/>
                  <a:gd name="T16" fmla="*/ 7 w 9"/>
                  <a:gd name="T17" fmla="*/ 9 h 14"/>
                  <a:gd name="T18" fmla="*/ 7 w 9"/>
                  <a:gd name="T19" fmla="*/ 10 h 14"/>
                  <a:gd name="T20" fmla="*/ 5 w 9"/>
                  <a:gd name="T21" fmla="*/ 10 h 14"/>
                  <a:gd name="T22" fmla="*/ 4 w 9"/>
                  <a:gd name="T23" fmla="*/ 10 h 14"/>
                  <a:gd name="T24" fmla="*/ 2 w 9"/>
                  <a:gd name="T25" fmla="*/ 10 h 14"/>
                  <a:gd name="T26" fmla="*/ 2 w 9"/>
                  <a:gd name="T27" fmla="*/ 14 h 14"/>
                  <a:gd name="T28" fmla="*/ 0 w 9"/>
                  <a:gd name="T29" fmla="*/ 14 h 14"/>
                  <a:gd name="T30" fmla="*/ 0 w 9"/>
                  <a:gd name="T31" fmla="*/ 12 h 14"/>
                  <a:gd name="T32" fmla="*/ 0 w 9"/>
                  <a:gd name="T33" fmla="*/ 9 h 14"/>
                  <a:gd name="T34" fmla="*/ 4 w 9"/>
                  <a:gd name="T35" fmla="*/ 3 h 14"/>
                  <a:gd name="T36" fmla="*/ 4 w 9"/>
                  <a:gd name="T37" fmla="*/ 0 h 14"/>
                  <a:gd name="T38" fmla="*/ 4 w 9"/>
                  <a:gd name="T39" fmla="*/ 0 h 14"/>
                  <a:gd name="T40" fmla="*/ 5 w 9"/>
                  <a:gd name="T4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14">
                    <a:moveTo>
                      <a:pt x="5" y="1"/>
                    </a:moveTo>
                    <a:lnTo>
                      <a:pt x="7" y="0"/>
                    </a:lnTo>
                    <a:lnTo>
                      <a:pt x="7" y="1"/>
                    </a:lnTo>
                    <a:lnTo>
                      <a:pt x="9" y="3"/>
                    </a:lnTo>
                    <a:lnTo>
                      <a:pt x="9" y="5"/>
                    </a:lnTo>
                    <a:lnTo>
                      <a:pt x="7" y="5"/>
                    </a:lnTo>
                    <a:lnTo>
                      <a:pt x="9" y="7"/>
                    </a:lnTo>
                    <a:lnTo>
                      <a:pt x="9" y="9"/>
                    </a:lnTo>
                    <a:lnTo>
                      <a:pt x="7" y="9"/>
                    </a:lnTo>
                    <a:lnTo>
                      <a:pt x="7" y="10"/>
                    </a:lnTo>
                    <a:lnTo>
                      <a:pt x="5" y="10"/>
                    </a:lnTo>
                    <a:lnTo>
                      <a:pt x="4" y="10"/>
                    </a:lnTo>
                    <a:lnTo>
                      <a:pt x="2" y="10"/>
                    </a:lnTo>
                    <a:lnTo>
                      <a:pt x="2" y="14"/>
                    </a:lnTo>
                    <a:lnTo>
                      <a:pt x="0" y="14"/>
                    </a:lnTo>
                    <a:lnTo>
                      <a:pt x="0" y="12"/>
                    </a:lnTo>
                    <a:lnTo>
                      <a:pt x="0" y="9"/>
                    </a:lnTo>
                    <a:lnTo>
                      <a:pt x="4" y="3"/>
                    </a:lnTo>
                    <a:lnTo>
                      <a:pt x="4" y="0"/>
                    </a:lnTo>
                    <a:lnTo>
                      <a:pt x="4" y="0"/>
                    </a:lnTo>
                    <a:lnTo>
                      <a:pt x="5"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11" name="Freeform 2966"/>
              <p:cNvSpPr>
                <a:spLocks/>
              </p:cNvSpPr>
              <p:nvPr/>
            </p:nvSpPr>
            <p:spPr bwMode="auto">
              <a:xfrm>
                <a:off x="5376" y="3556"/>
                <a:ext cx="9" cy="14"/>
              </a:xfrm>
              <a:custGeom>
                <a:avLst/>
                <a:gdLst>
                  <a:gd name="T0" fmla="*/ 5 w 9"/>
                  <a:gd name="T1" fmla="*/ 1 h 14"/>
                  <a:gd name="T2" fmla="*/ 7 w 9"/>
                  <a:gd name="T3" fmla="*/ 0 h 14"/>
                  <a:gd name="T4" fmla="*/ 7 w 9"/>
                  <a:gd name="T5" fmla="*/ 1 h 14"/>
                  <a:gd name="T6" fmla="*/ 9 w 9"/>
                  <a:gd name="T7" fmla="*/ 3 h 14"/>
                  <a:gd name="T8" fmla="*/ 9 w 9"/>
                  <a:gd name="T9" fmla="*/ 5 h 14"/>
                  <a:gd name="T10" fmla="*/ 7 w 9"/>
                  <a:gd name="T11" fmla="*/ 5 h 14"/>
                  <a:gd name="T12" fmla="*/ 9 w 9"/>
                  <a:gd name="T13" fmla="*/ 7 h 14"/>
                  <a:gd name="T14" fmla="*/ 9 w 9"/>
                  <a:gd name="T15" fmla="*/ 9 h 14"/>
                  <a:gd name="T16" fmla="*/ 7 w 9"/>
                  <a:gd name="T17" fmla="*/ 9 h 14"/>
                  <a:gd name="T18" fmla="*/ 7 w 9"/>
                  <a:gd name="T19" fmla="*/ 10 h 14"/>
                  <a:gd name="T20" fmla="*/ 5 w 9"/>
                  <a:gd name="T21" fmla="*/ 10 h 14"/>
                  <a:gd name="T22" fmla="*/ 4 w 9"/>
                  <a:gd name="T23" fmla="*/ 10 h 14"/>
                  <a:gd name="T24" fmla="*/ 2 w 9"/>
                  <a:gd name="T25" fmla="*/ 10 h 14"/>
                  <a:gd name="T26" fmla="*/ 2 w 9"/>
                  <a:gd name="T27" fmla="*/ 14 h 14"/>
                  <a:gd name="T28" fmla="*/ 0 w 9"/>
                  <a:gd name="T29" fmla="*/ 14 h 14"/>
                  <a:gd name="T30" fmla="*/ 0 w 9"/>
                  <a:gd name="T31" fmla="*/ 12 h 14"/>
                  <a:gd name="T32" fmla="*/ 0 w 9"/>
                  <a:gd name="T33" fmla="*/ 9 h 14"/>
                  <a:gd name="T34" fmla="*/ 4 w 9"/>
                  <a:gd name="T35" fmla="*/ 3 h 14"/>
                  <a:gd name="T36" fmla="*/ 4 w 9"/>
                  <a:gd name="T37" fmla="*/ 0 h 14"/>
                  <a:gd name="T38" fmla="*/ 4 w 9"/>
                  <a:gd name="T39" fmla="*/ 0 h 14"/>
                  <a:gd name="T40" fmla="*/ 5 w 9"/>
                  <a:gd name="T4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14">
                    <a:moveTo>
                      <a:pt x="5" y="1"/>
                    </a:moveTo>
                    <a:lnTo>
                      <a:pt x="7" y="0"/>
                    </a:lnTo>
                    <a:lnTo>
                      <a:pt x="7" y="1"/>
                    </a:lnTo>
                    <a:lnTo>
                      <a:pt x="9" y="3"/>
                    </a:lnTo>
                    <a:lnTo>
                      <a:pt x="9" y="5"/>
                    </a:lnTo>
                    <a:lnTo>
                      <a:pt x="7" y="5"/>
                    </a:lnTo>
                    <a:lnTo>
                      <a:pt x="9" y="7"/>
                    </a:lnTo>
                    <a:lnTo>
                      <a:pt x="9" y="9"/>
                    </a:lnTo>
                    <a:lnTo>
                      <a:pt x="7" y="9"/>
                    </a:lnTo>
                    <a:lnTo>
                      <a:pt x="7" y="10"/>
                    </a:lnTo>
                    <a:lnTo>
                      <a:pt x="5" y="10"/>
                    </a:lnTo>
                    <a:lnTo>
                      <a:pt x="4" y="10"/>
                    </a:lnTo>
                    <a:lnTo>
                      <a:pt x="2" y="10"/>
                    </a:lnTo>
                    <a:lnTo>
                      <a:pt x="2" y="14"/>
                    </a:lnTo>
                    <a:lnTo>
                      <a:pt x="0" y="14"/>
                    </a:lnTo>
                    <a:lnTo>
                      <a:pt x="0" y="12"/>
                    </a:lnTo>
                    <a:lnTo>
                      <a:pt x="0" y="9"/>
                    </a:lnTo>
                    <a:lnTo>
                      <a:pt x="4" y="3"/>
                    </a:lnTo>
                    <a:lnTo>
                      <a:pt x="4" y="0"/>
                    </a:lnTo>
                    <a:lnTo>
                      <a:pt x="4" y="0"/>
                    </a:lnTo>
                    <a:lnTo>
                      <a:pt x="5"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12" name="Freeform 2967"/>
              <p:cNvSpPr>
                <a:spLocks/>
              </p:cNvSpPr>
              <p:nvPr/>
            </p:nvSpPr>
            <p:spPr bwMode="auto">
              <a:xfrm>
                <a:off x="5358" y="3420"/>
                <a:ext cx="125" cy="136"/>
              </a:xfrm>
              <a:custGeom>
                <a:avLst/>
                <a:gdLst>
                  <a:gd name="T0" fmla="*/ 91 w 125"/>
                  <a:gd name="T1" fmla="*/ 7 h 136"/>
                  <a:gd name="T2" fmla="*/ 98 w 125"/>
                  <a:gd name="T3" fmla="*/ 2 h 136"/>
                  <a:gd name="T4" fmla="*/ 100 w 125"/>
                  <a:gd name="T5" fmla="*/ 2 h 136"/>
                  <a:gd name="T6" fmla="*/ 102 w 125"/>
                  <a:gd name="T7" fmla="*/ 7 h 136"/>
                  <a:gd name="T8" fmla="*/ 106 w 125"/>
                  <a:gd name="T9" fmla="*/ 14 h 136"/>
                  <a:gd name="T10" fmla="*/ 113 w 125"/>
                  <a:gd name="T11" fmla="*/ 12 h 136"/>
                  <a:gd name="T12" fmla="*/ 118 w 125"/>
                  <a:gd name="T13" fmla="*/ 9 h 136"/>
                  <a:gd name="T14" fmla="*/ 118 w 125"/>
                  <a:gd name="T15" fmla="*/ 11 h 136"/>
                  <a:gd name="T16" fmla="*/ 118 w 125"/>
                  <a:gd name="T17" fmla="*/ 16 h 136"/>
                  <a:gd name="T18" fmla="*/ 122 w 125"/>
                  <a:gd name="T19" fmla="*/ 11 h 136"/>
                  <a:gd name="T20" fmla="*/ 122 w 125"/>
                  <a:gd name="T21" fmla="*/ 16 h 136"/>
                  <a:gd name="T22" fmla="*/ 123 w 125"/>
                  <a:gd name="T23" fmla="*/ 21 h 136"/>
                  <a:gd name="T24" fmla="*/ 122 w 125"/>
                  <a:gd name="T25" fmla="*/ 34 h 136"/>
                  <a:gd name="T26" fmla="*/ 116 w 125"/>
                  <a:gd name="T27" fmla="*/ 37 h 136"/>
                  <a:gd name="T28" fmla="*/ 109 w 125"/>
                  <a:gd name="T29" fmla="*/ 52 h 136"/>
                  <a:gd name="T30" fmla="*/ 102 w 125"/>
                  <a:gd name="T31" fmla="*/ 55 h 136"/>
                  <a:gd name="T32" fmla="*/ 106 w 125"/>
                  <a:gd name="T33" fmla="*/ 70 h 136"/>
                  <a:gd name="T34" fmla="*/ 104 w 125"/>
                  <a:gd name="T35" fmla="*/ 71 h 136"/>
                  <a:gd name="T36" fmla="*/ 95 w 125"/>
                  <a:gd name="T37" fmla="*/ 70 h 136"/>
                  <a:gd name="T38" fmla="*/ 93 w 125"/>
                  <a:gd name="T39" fmla="*/ 71 h 136"/>
                  <a:gd name="T40" fmla="*/ 84 w 125"/>
                  <a:gd name="T41" fmla="*/ 77 h 136"/>
                  <a:gd name="T42" fmla="*/ 81 w 125"/>
                  <a:gd name="T43" fmla="*/ 75 h 136"/>
                  <a:gd name="T44" fmla="*/ 77 w 125"/>
                  <a:gd name="T45" fmla="*/ 95 h 136"/>
                  <a:gd name="T46" fmla="*/ 73 w 125"/>
                  <a:gd name="T47" fmla="*/ 102 h 136"/>
                  <a:gd name="T48" fmla="*/ 68 w 125"/>
                  <a:gd name="T49" fmla="*/ 112 h 136"/>
                  <a:gd name="T50" fmla="*/ 68 w 125"/>
                  <a:gd name="T51" fmla="*/ 118 h 136"/>
                  <a:gd name="T52" fmla="*/ 66 w 125"/>
                  <a:gd name="T53" fmla="*/ 120 h 136"/>
                  <a:gd name="T54" fmla="*/ 56 w 125"/>
                  <a:gd name="T55" fmla="*/ 129 h 136"/>
                  <a:gd name="T56" fmla="*/ 52 w 125"/>
                  <a:gd name="T57" fmla="*/ 132 h 136"/>
                  <a:gd name="T58" fmla="*/ 45 w 125"/>
                  <a:gd name="T59" fmla="*/ 134 h 136"/>
                  <a:gd name="T60" fmla="*/ 40 w 125"/>
                  <a:gd name="T61" fmla="*/ 132 h 136"/>
                  <a:gd name="T62" fmla="*/ 34 w 125"/>
                  <a:gd name="T63" fmla="*/ 134 h 136"/>
                  <a:gd name="T64" fmla="*/ 31 w 125"/>
                  <a:gd name="T65" fmla="*/ 134 h 136"/>
                  <a:gd name="T66" fmla="*/ 29 w 125"/>
                  <a:gd name="T67" fmla="*/ 130 h 136"/>
                  <a:gd name="T68" fmla="*/ 22 w 125"/>
                  <a:gd name="T69" fmla="*/ 125 h 136"/>
                  <a:gd name="T70" fmla="*/ 15 w 125"/>
                  <a:gd name="T71" fmla="*/ 125 h 136"/>
                  <a:gd name="T72" fmla="*/ 4 w 125"/>
                  <a:gd name="T73" fmla="*/ 123 h 136"/>
                  <a:gd name="T74" fmla="*/ 7 w 125"/>
                  <a:gd name="T75" fmla="*/ 118 h 136"/>
                  <a:gd name="T76" fmla="*/ 6 w 125"/>
                  <a:gd name="T77" fmla="*/ 118 h 136"/>
                  <a:gd name="T78" fmla="*/ 2 w 125"/>
                  <a:gd name="T79" fmla="*/ 120 h 136"/>
                  <a:gd name="T80" fmla="*/ 6 w 125"/>
                  <a:gd name="T81" fmla="*/ 114 h 136"/>
                  <a:gd name="T82" fmla="*/ 7 w 125"/>
                  <a:gd name="T83" fmla="*/ 112 h 136"/>
                  <a:gd name="T84" fmla="*/ 7 w 125"/>
                  <a:gd name="T85" fmla="*/ 109 h 136"/>
                  <a:gd name="T86" fmla="*/ 7 w 125"/>
                  <a:gd name="T87" fmla="*/ 107 h 136"/>
                  <a:gd name="T88" fmla="*/ 7 w 125"/>
                  <a:gd name="T89" fmla="*/ 104 h 136"/>
                  <a:gd name="T90" fmla="*/ 11 w 125"/>
                  <a:gd name="T91" fmla="*/ 104 h 136"/>
                  <a:gd name="T92" fmla="*/ 13 w 125"/>
                  <a:gd name="T93" fmla="*/ 104 h 136"/>
                  <a:gd name="T94" fmla="*/ 11 w 125"/>
                  <a:gd name="T95" fmla="*/ 96 h 136"/>
                  <a:gd name="T96" fmla="*/ 15 w 125"/>
                  <a:gd name="T97" fmla="*/ 95 h 136"/>
                  <a:gd name="T98" fmla="*/ 16 w 125"/>
                  <a:gd name="T99" fmla="*/ 98 h 136"/>
                  <a:gd name="T100" fmla="*/ 16 w 125"/>
                  <a:gd name="T101" fmla="*/ 93 h 136"/>
                  <a:gd name="T102" fmla="*/ 22 w 125"/>
                  <a:gd name="T103" fmla="*/ 89 h 136"/>
                  <a:gd name="T104" fmla="*/ 25 w 125"/>
                  <a:gd name="T105" fmla="*/ 82 h 136"/>
                  <a:gd name="T106" fmla="*/ 29 w 125"/>
                  <a:gd name="T107" fmla="*/ 77 h 136"/>
                  <a:gd name="T108" fmla="*/ 34 w 125"/>
                  <a:gd name="T109" fmla="*/ 73 h 136"/>
                  <a:gd name="T110" fmla="*/ 59 w 125"/>
                  <a:gd name="T111" fmla="*/ 57 h 136"/>
                  <a:gd name="T112" fmla="*/ 72 w 125"/>
                  <a:gd name="T113" fmla="*/ 48 h 136"/>
                  <a:gd name="T114" fmla="*/ 84 w 125"/>
                  <a:gd name="T115" fmla="*/ 23 h 136"/>
                  <a:gd name="T116" fmla="*/ 91 w 125"/>
                  <a:gd name="T117" fmla="*/ 1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5" h="136">
                    <a:moveTo>
                      <a:pt x="91" y="11"/>
                    </a:moveTo>
                    <a:lnTo>
                      <a:pt x="91" y="11"/>
                    </a:lnTo>
                    <a:lnTo>
                      <a:pt x="91" y="7"/>
                    </a:lnTo>
                    <a:lnTo>
                      <a:pt x="95" y="5"/>
                    </a:lnTo>
                    <a:lnTo>
                      <a:pt x="97" y="2"/>
                    </a:lnTo>
                    <a:lnTo>
                      <a:pt x="98" y="2"/>
                    </a:lnTo>
                    <a:lnTo>
                      <a:pt x="98" y="2"/>
                    </a:lnTo>
                    <a:lnTo>
                      <a:pt x="100" y="0"/>
                    </a:lnTo>
                    <a:lnTo>
                      <a:pt x="100" y="2"/>
                    </a:lnTo>
                    <a:lnTo>
                      <a:pt x="100" y="5"/>
                    </a:lnTo>
                    <a:lnTo>
                      <a:pt x="100" y="7"/>
                    </a:lnTo>
                    <a:lnTo>
                      <a:pt x="102" y="7"/>
                    </a:lnTo>
                    <a:lnTo>
                      <a:pt x="104" y="7"/>
                    </a:lnTo>
                    <a:lnTo>
                      <a:pt x="106" y="9"/>
                    </a:lnTo>
                    <a:lnTo>
                      <a:pt x="106" y="14"/>
                    </a:lnTo>
                    <a:lnTo>
                      <a:pt x="106" y="16"/>
                    </a:lnTo>
                    <a:lnTo>
                      <a:pt x="109" y="16"/>
                    </a:lnTo>
                    <a:lnTo>
                      <a:pt x="113" y="12"/>
                    </a:lnTo>
                    <a:lnTo>
                      <a:pt x="115" y="12"/>
                    </a:lnTo>
                    <a:lnTo>
                      <a:pt x="115" y="11"/>
                    </a:lnTo>
                    <a:lnTo>
                      <a:pt x="118" y="9"/>
                    </a:lnTo>
                    <a:lnTo>
                      <a:pt x="120" y="9"/>
                    </a:lnTo>
                    <a:lnTo>
                      <a:pt x="120" y="9"/>
                    </a:lnTo>
                    <a:lnTo>
                      <a:pt x="118" y="11"/>
                    </a:lnTo>
                    <a:lnTo>
                      <a:pt x="118" y="11"/>
                    </a:lnTo>
                    <a:lnTo>
                      <a:pt x="118" y="12"/>
                    </a:lnTo>
                    <a:lnTo>
                      <a:pt x="118" y="16"/>
                    </a:lnTo>
                    <a:lnTo>
                      <a:pt x="122" y="14"/>
                    </a:lnTo>
                    <a:lnTo>
                      <a:pt x="120" y="12"/>
                    </a:lnTo>
                    <a:lnTo>
                      <a:pt x="122" y="11"/>
                    </a:lnTo>
                    <a:lnTo>
                      <a:pt x="123" y="11"/>
                    </a:lnTo>
                    <a:lnTo>
                      <a:pt x="123" y="12"/>
                    </a:lnTo>
                    <a:lnTo>
                      <a:pt x="122" y="16"/>
                    </a:lnTo>
                    <a:lnTo>
                      <a:pt x="123" y="16"/>
                    </a:lnTo>
                    <a:lnTo>
                      <a:pt x="123" y="18"/>
                    </a:lnTo>
                    <a:lnTo>
                      <a:pt x="123" y="21"/>
                    </a:lnTo>
                    <a:lnTo>
                      <a:pt x="125" y="25"/>
                    </a:lnTo>
                    <a:lnTo>
                      <a:pt x="122" y="32"/>
                    </a:lnTo>
                    <a:lnTo>
                      <a:pt x="122" y="34"/>
                    </a:lnTo>
                    <a:lnTo>
                      <a:pt x="120" y="36"/>
                    </a:lnTo>
                    <a:lnTo>
                      <a:pt x="118" y="37"/>
                    </a:lnTo>
                    <a:lnTo>
                      <a:pt x="116" y="37"/>
                    </a:lnTo>
                    <a:lnTo>
                      <a:pt x="115" y="41"/>
                    </a:lnTo>
                    <a:lnTo>
                      <a:pt x="111" y="50"/>
                    </a:lnTo>
                    <a:lnTo>
                      <a:pt x="109" y="52"/>
                    </a:lnTo>
                    <a:lnTo>
                      <a:pt x="107" y="52"/>
                    </a:lnTo>
                    <a:lnTo>
                      <a:pt x="106" y="54"/>
                    </a:lnTo>
                    <a:lnTo>
                      <a:pt x="102" y="55"/>
                    </a:lnTo>
                    <a:lnTo>
                      <a:pt x="102" y="57"/>
                    </a:lnTo>
                    <a:lnTo>
                      <a:pt x="100" y="68"/>
                    </a:lnTo>
                    <a:lnTo>
                      <a:pt x="106" y="70"/>
                    </a:lnTo>
                    <a:lnTo>
                      <a:pt x="106" y="71"/>
                    </a:lnTo>
                    <a:lnTo>
                      <a:pt x="106" y="73"/>
                    </a:lnTo>
                    <a:lnTo>
                      <a:pt x="104" y="71"/>
                    </a:lnTo>
                    <a:lnTo>
                      <a:pt x="104" y="73"/>
                    </a:lnTo>
                    <a:lnTo>
                      <a:pt x="97" y="70"/>
                    </a:lnTo>
                    <a:lnTo>
                      <a:pt x="95" y="70"/>
                    </a:lnTo>
                    <a:lnTo>
                      <a:pt x="95" y="71"/>
                    </a:lnTo>
                    <a:lnTo>
                      <a:pt x="95" y="73"/>
                    </a:lnTo>
                    <a:lnTo>
                      <a:pt x="93" y="71"/>
                    </a:lnTo>
                    <a:lnTo>
                      <a:pt x="91" y="71"/>
                    </a:lnTo>
                    <a:lnTo>
                      <a:pt x="91" y="73"/>
                    </a:lnTo>
                    <a:lnTo>
                      <a:pt x="84" y="77"/>
                    </a:lnTo>
                    <a:lnTo>
                      <a:pt x="82" y="77"/>
                    </a:lnTo>
                    <a:lnTo>
                      <a:pt x="82" y="75"/>
                    </a:lnTo>
                    <a:lnTo>
                      <a:pt x="81" y="75"/>
                    </a:lnTo>
                    <a:lnTo>
                      <a:pt x="81" y="82"/>
                    </a:lnTo>
                    <a:lnTo>
                      <a:pt x="79" y="86"/>
                    </a:lnTo>
                    <a:lnTo>
                      <a:pt x="77" y="95"/>
                    </a:lnTo>
                    <a:lnTo>
                      <a:pt x="75" y="95"/>
                    </a:lnTo>
                    <a:lnTo>
                      <a:pt x="75" y="98"/>
                    </a:lnTo>
                    <a:lnTo>
                      <a:pt x="73" y="102"/>
                    </a:lnTo>
                    <a:lnTo>
                      <a:pt x="72" y="109"/>
                    </a:lnTo>
                    <a:lnTo>
                      <a:pt x="70" y="111"/>
                    </a:lnTo>
                    <a:lnTo>
                      <a:pt x="68" y="112"/>
                    </a:lnTo>
                    <a:lnTo>
                      <a:pt x="68" y="114"/>
                    </a:lnTo>
                    <a:lnTo>
                      <a:pt x="68" y="116"/>
                    </a:lnTo>
                    <a:lnTo>
                      <a:pt x="68" y="118"/>
                    </a:lnTo>
                    <a:lnTo>
                      <a:pt x="68" y="118"/>
                    </a:lnTo>
                    <a:lnTo>
                      <a:pt x="68" y="120"/>
                    </a:lnTo>
                    <a:lnTo>
                      <a:pt x="66" y="120"/>
                    </a:lnTo>
                    <a:lnTo>
                      <a:pt x="63" y="121"/>
                    </a:lnTo>
                    <a:lnTo>
                      <a:pt x="61" y="125"/>
                    </a:lnTo>
                    <a:lnTo>
                      <a:pt x="56" y="129"/>
                    </a:lnTo>
                    <a:lnTo>
                      <a:pt x="54" y="129"/>
                    </a:lnTo>
                    <a:lnTo>
                      <a:pt x="54" y="130"/>
                    </a:lnTo>
                    <a:lnTo>
                      <a:pt x="52" y="132"/>
                    </a:lnTo>
                    <a:lnTo>
                      <a:pt x="52" y="132"/>
                    </a:lnTo>
                    <a:lnTo>
                      <a:pt x="45" y="134"/>
                    </a:lnTo>
                    <a:lnTo>
                      <a:pt x="45" y="134"/>
                    </a:lnTo>
                    <a:lnTo>
                      <a:pt x="41" y="136"/>
                    </a:lnTo>
                    <a:lnTo>
                      <a:pt x="40" y="134"/>
                    </a:lnTo>
                    <a:lnTo>
                      <a:pt x="40" y="132"/>
                    </a:lnTo>
                    <a:lnTo>
                      <a:pt x="38" y="132"/>
                    </a:lnTo>
                    <a:lnTo>
                      <a:pt x="36" y="134"/>
                    </a:lnTo>
                    <a:lnTo>
                      <a:pt x="34" y="134"/>
                    </a:lnTo>
                    <a:lnTo>
                      <a:pt x="32" y="134"/>
                    </a:lnTo>
                    <a:lnTo>
                      <a:pt x="32" y="132"/>
                    </a:lnTo>
                    <a:lnTo>
                      <a:pt x="31" y="134"/>
                    </a:lnTo>
                    <a:lnTo>
                      <a:pt x="31" y="132"/>
                    </a:lnTo>
                    <a:lnTo>
                      <a:pt x="31" y="130"/>
                    </a:lnTo>
                    <a:lnTo>
                      <a:pt x="29" y="130"/>
                    </a:lnTo>
                    <a:lnTo>
                      <a:pt x="27" y="129"/>
                    </a:lnTo>
                    <a:lnTo>
                      <a:pt x="22" y="129"/>
                    </a:lnTo>
                    <a:lnTo>
                      <a:pt x="22" y="125"/>
                    </a:lnTo>
                    <a:lnTo>
                      <a:pt x="20" y="123"/>
                    </a:lnTo>
                    <a:lnTo>
                      <a:pt x="16" y="123"/>
                    </a:lnTo>
                    <a:lnTo>
                      <a:pt x="15" y="125"/>
                    </a:lnTo>
                    <a:lnTo>
                      <a:pt x="13" y="127"/>
                    </a:lnTo>
                    <a:lnTo>
                      <a:pt x="6" y="125"/>
                    </a:lnTo>
                    <a:lnTo>
                      <a:pt x="4" y="123"/>
                    </a:lnTo>
                    <a:lnTo>
                      <a:pt x="6" y="121"/>
                    </a:lnTo>
                    <a:lnTo>
                      <a:pt x="7" y="120"/>
                    </a:lnTo>
                    <a:lnTo>
                      <a:pt x="7" y="118"/>
                    </a:lnTo>
                    <a:lnTo>
                      <a:pt x="4" y="121"/>
                    </a:lnTo>
                    <a:lnTo>
                      <a:pt x="4" y="121"/>
                    </a:lnTo>
                    <a:lnTo>
                      <a:pt x="6" y="118"/>
                    </a:lnTo>
                    <a:lnTo>
                      <a:pt x="6" y="118"/>
                    </a:lnTo>
                    <a:lnTo>
                      <a:pt x="4" y="118"/>
                    </a:lnTo>
                    <a:lnTo>
                      <a:pt x="2" y="120"/>
                    </a:lnTo>
                    <a:lnTo>
                      <a:pt x="0" y="118"/>
                    </a:lnTo>
                    <a:lnTo>
                      <a:pt x="2" y="116"/>
                    </a:lnTo>
                    <a:lnTo>
                      <a:pt x="6" y="114"/>
                    </a:lnTo>
                    <a:lnTo>
                      <a:pt x="7" y="112"/>
                    </a:lnTo>
                    <a:lnTo>
                      <a:pt x="7" y="112"/>
                    </a:lnTo>
                    <a:lnTo>
                      <a:pt x="7" y="112"/>
                    </a:lnTo>
                    <a:lnTo>
                      <a:pt x="7" y="111"/>
                    </a:lnTo>
                    <a:lnTo>
                      <a:pt x="9" y="109"/>
                    </a:lnTo>
                    <a:lnTo>
                      <a:pt x="7" y="109"/>
                    </a:lnTo>
                    <a:lnTo>
                      <a:pt x="6" y="109"/>
                    </a:lnTo>
                    <a:lnTo>
                      <a:pt x="6" y="107"/>
                    </a:lnTo>
                    <a:lnTo>
                      <a:pt x="7" y="107"/>
                    </a:lnTo>
                    <a:lnTo>
                      <a:pt x="7" y="105"/>
                    </a:lnTo>
                    <a:lnTo>
                      <a:pt x="7" y="105"/>
                    </a:lnTo>
                    <a:lnTo>
                      <a:pt x="7" y="104"/>
                    </a:lnTo>
                    <a:lnTo>
                      <a:pt x="9" y="104"/>
                    </a:lnTo>
                    <a:lnTo>
                      <a:pt x="9" y="105"/>
                    </a:lnTo>
                    <a:lnTo>
                      <a:pt x="11" y="104"/>
                    </a:lnTo>
                    <a:lnTo>
                      <a:pt x="11" y="104"/>
                    </a:lnTo>
                    <a:lnTo>
                      <a:pt x="13" y="104"/>
                    </a:lnTo>
                    <a:lnTo>
                      <a:pt x="13" y="104"/>
                    </a:lnTo>
                    <a:lnTo>
                      <a:pt x="11" y="104"/>
                    </a:lnTo>
                    <a:lnTo>
                      <a:pt x="9" y="102"/>
                    </a:lnTo>
                    <a:lnTo>
                      <a:pt x="11" y="96"/>
                    </a:lnTo>
                    <a:lnTo>
                      <a:pt x="13" y="95"/>
                    </a:lnTo>
                    <a:lnTo>
                      <a:pt x="15" y="95"/>
                    </a:lnTo>
                    <a:lnTo>
                      <a:pt x="15" y="95"/>
                    </a:lnTo>
                    <a:lnTo>
                      <a:pt x="15" y="96"/>
                    </a:lnTo>
                    <a:lnTo>
                      <a:pt x="16" y="98"/>
                    </a:lnTo>
                    <a:lnTo>
                      <a:pt x="16" y="98"/>
                    </a:lnTo>
                    <a:lnTo>
                      <a:pt x="16" y="96"/>
                    </a:lnTo>
                    <a:lnTo>
                      <a:pt x="16" y="95"/>
                    </a:lnTo>
                    <a:lnTo>
                      <a:pt x="16" y="93"/>
                    </a:lnTo>
                    <a:lnTo>
                      <a:pt x="18" y="93"/>
                    </a:lnTo>
                    <a:lnTo>
                      <a:pt x="18" y="89"/>
                    </a:lnTo>
                    <a:lnTo>
                      <a:pt x="22" y="89"/>
                    </a:lnTo>
                    <a:lnTo>
                      <a:pt x="23" y="87"/>
                    </a:lnTo>
                    <a:lnTo>
                      <a:pt x="23" y="84"/>
                    </a:lnTo>
                    <a:lnTo>
                      <a:pt x="25" y="82"/>
                    </a:lnTo>
                    <a:lnTo>
                      <a:pt x="27" y="80"/>
                    </a:lnTo>
                    <a:lnTo>
                      <a:pt x="27" y="77"/>
                    </a:lnTo>
                    <a:lnTo>
                      <a:pt x="29" y="77"/>
                    </a:lnTo>
                    <a:lnTo>
                      <a:pt x="31" y="75"/>
                    </a:lnTo>
                    <a:lnTo>
                      <a:pt x="32" y="75"/>
                    </a:lnTo>
                    <a:lnTo>
                      <a:pt x="34" y="73"/>
                    </a:lnTo>
                    <a:lnTo>
                      <a:pt x="40" y="73"/>
                    </a:lnTo>
                    <a:lnTo>
                      <a:pt x="59" y="59"/>
                    </a:lnTo>
                    <a:lnTo>
                      <a:pt x="59" y="57"/>
                    </a:lnTo>
                    <a:lnTo>
                      <a:pt x="65" y="52"/>
                    </a:lnTo>
                    <a:lnTo>
                      <a:pt x="66" y="52"/>
                    </a:lnTo>
                    <a:lnTo>
                      <a:pt x="72" y="48"/>
                    </a:lnTo>
                    <a:lnTo>
                      <a:pt x="75" y="43"/>
                    </a:lnTo>
                    <a:lnTo>
                      <a:pt x="81" y="27"/>
                    </a:lnTo>
                    <a:lnTo>
                      <a:pt x="84" y="23"/>
                    </a:lnTo>
                    <a:lnTo>
                      <a:pt x="86" y="23"/>
                    </a:lnTo>
                    <a:lnTo>
                      <a:pt x="90" y="18"/>
                    </a:lnTo>
                    <a:lnTo>
                      <a:pt x="91"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13" name="Freeform 2968"/>
              <p:cNvSpPr>
                <a:spLocks/>
              </p:cNvSpPr>
              <p:nvPr/>
            </p:nvSpPr>
            <p:spPr bwMode="auto">
              <a:xfrm>
                <a:off x="5358" y="3420"/>
                <a:ext cx="125" cy="136"/>
              </a:xfrm>
              <a:custGeom>
                <a:avLst/>
                <a:gdLst>
                  <a:gd name="T0" fmla="*/ 91 w 125"/>
                  <a:gd name="T1" fmla="*/ 7 h 136"/>
                  <a:gd name="T2" fmla="*/ 98 w 125"/>
                  <a:gd name="T3" fmla="*/ 2 h 136"/>
                  <a:gd name="T4" fmla="*/ 100 w 125"/>
                  <a:gd name="T5" fmla="*/ 2 h 136"/>
                  <a:gd name="T6" fmla="*/ 102 w 125"/>
                  <a:gd name="T7" fmla="*/ 7 h 136"/>
                  <a:gd name="T8" fmla="*/ 106 w 125"/>
                  <a:gd name="T9" fmla="*/ 14 h 136"/>
                  <a:gd name="T10" fmla="*/ 113 w 125"/>
                  <a:gd name="T11" fmla="*/ 12 h 136"/>
                  <a:gd name="T12" fmla="*/ 118 w 125"/>
                  <a:gd name="T13" fmla="*/ 9 h 136"/>
                  <a:gd name="T14" fmla="*/ 118 w 125"/>
                  <a:gd name="T15" fmla="*/ 11 h 136"/>
                  <a:gd name="T16" fmla="*/ 118 w 125"/>
                  <a:gd name="T17" fmla="*/ 16 h 136"/>
                  <a:gd name="T18" fmla="*/ 122 w 125"/>
                  <a:gd name="T19" fmla="*/ 11 h 136"/>
                  <a:gd name="T20" fmla="*/ 122 w 125"/>
                  <a:gd name="T21" fmla="*/ 16 h 136"/>
                  <a:gd name="T22" fmla="*/ 123 w 125"/>
                  <a:gd name="T23" fmla="*/ 21 h 136"/>
                  <a:gd name="T24" fmla="*/ 122 w 125"/>
                  <a:gd name="T25" fmla="*/ 34 h 136"/>
                  <a:gd name="T26" fmla="*/ 116 w 125"/>
                  <a:gd name="T27" fmla="*/ 37 h 136"/>
                  <a:gd name="T28" fmla="*/ 109 w 125"/>
                  <a:gd name="T29" fmla="*/ 52 h 136"/>
                  <a:gd name="T30" fmla="*/ 102 w 125"/>
                  <a:gd name="T31" fmla="*/ 55 h 136"/>
                  <a:gd name="T32" fmla="*/ 106 w 125"/>
                  <a:gd name="T33" fmla="*/ 70 h 136"/>
                  <a:gd name="T34" fmla="*/ 104 w 125"/>
                  <a:gd name="T35" fmla="*/ 71 h 136"/>
                  <a:gd name="T36" fmla="*/ 95 w 125"/>
                  <a:gd name="T37" fmla="*/ 70 h 136"/>
                  <a:gd name="T38" fmla="*/ 93 w 125"/>
                  <a:gd name="T39" fmla="*/ 71 h 136"/>
                  <a:gd name="T40" fmla="*/ 84 w 125"/>
                  <a:gd name="T41" fmla="*/ 77 h 136"/>
                  <a:gd name="T42" fmla="*/ 81 w 125"/>
                  <a:gd name="T43" fmla="*/ 75 h 136"/>
                  <a:gd name="T44" fmla="*/ 77 w 125"/>
                  <a:gd name="T45" fmla="*/ 95 h 136"/>
                  <a:gd name="T46" fmla="*/ 73 w 125"/>
                  <a:gd name="T47" fmla="*/ 102 h 136"/>
                  <a:gd name="T48" fmla="*/ 68 w 125"/>
                  <a:gd name="T49" fmla="*/ 112 h 136"/>
                  <a:gd name="T50" fmla="*/ 68 w 125"/>
                  <a:gd name="T51" fmla="*/ 118 h 136"/>
                  <a:gd name="T52" fmla="*/ 66 w 125"/>
                  <a:gd name="T53" fmla="*/ 120 h 136"/>
                  <a:gd name="T54" fmla="*/ 56 w 125"/>
                  <a:gd name="T55" fmla="*/ 129 h 136"/>
                  <a:gd name="T56" fmla="*/ 52 w 125"/>
                  <a:gd name="T57" fmla="*/ 132 h 136"/>
                  <a:gd name="T58" fmla="*/ 45 w 125"/>
                  <a:gd name="T59" fmla="*/ 134 h 136"/>
                  <a:gd name="T60" fmla="*/ 40 w 125"/>
                  <a:gd name="T61" fmla="*/ 132 h 136"/>
                  <a:gd name="T62" fmla="*/ 34 w 125"/>
                  <a:gd name="T63" fmla="*/ 134 h 136"/>
                  <a:gd name="T64" fmla="*/ 31 w 125"/>
                  <a:gd name="T65" fmla="*/ 134 h 136"/>
                  <a:gd name="T66" fmla="*/ 29 w 125"/>
                  <a:gd name="T67" fmla="*/ 130 h 136"/>
                  <a:gd name="T68" fmla="*/ 22 w 125"/>
                  <a:gd name="T69" fmla="*/ 125 h 136"/>
                  <a:gd name="T70" fmla="*/ 15 w 125"/>
                  <a:gd name="T71" fmla="*/ 125 h 136"/>
                  <a:gd name="T72" fmla="*/ 4 w 125"/>
                  <a:gd name="T73" fmla="*/ 123 h 136"/>
                  <a:gd name="T74" fmla="*/ 7 w 125"/>
                  <a:gd name="T75" fmla="*/ 118 h 136"/>
                  <a:gd name="T76" fmla="*/ 6 w 125"/>
                  <a:gd name="T77" fmla="*/ 118 h 136"/>
                  <a:gd name="T78" fmla="*/ 2 w 125"/>
                  <a:gd name="T79" fmla="*/ 120 h 136"/>
                  <a:gd name="T80" fmla="*/ 6 w 125"/>
                  <a:gd name="T81" fmla="*/ 114 h 136"/>
                  <a:gd name="T82" fmla="*/ 7 w 125"/>
                  <a:gd name="T83" fmla="*/ 112 h 136"/>
                  <a:gd name="T84" fmla="*/ 7 w 125"/>
                  <a:gd name="T85" fmla="*/ 109 h 136"/>
                  <a:gd name="T86" fmla="*/ 7 w 125"/>
                  <a:gd name="T87" fmla="*/ 107 h 136"/>
                  <a:gd name="T88" fmla="*/ 7 w 125"/>
                  <a:gd name="T89" fmla="*/ 104 h 136"/>
                  <a:gd name="T90" fmla="*/ 11 w 125"/>
                  <a:gd name="T91" fmla="*/ 104 h 136"/>
                  <a:gd name="T92" fmla="*/ 13 w 125"/>
                  <a:gd name="T93" fmla="*/ 104 h 136"/>
                  <a:gd name="T94" fmla="*/ 11 w 125"/>
                  <a:gd name="T95" fmla="*/ 96 h 136"/>
                  <a:gd name="T96" fmla="*/ 15 w 125"/>
                  <a:gd name="T97" fmla="*/ 95 h 136"/>
                  <a:gd name="T98" fmla="*/ 16 w 125"/>
                  <a:gd name="T99" fmla="*/ 98 h 136"/>
                  <a:gd name="T100" fmla="*/ 16 w 125"/>
                  <a:gd name="T101" fmla="*/ 93 h 136"/>
                  <a:gd name="T102" fmla="*/ 22 w 125"/>
                  <a:gd name="T103" fmla="*/ 89 h 136"/>
                  <a:gd name="T104" fmla="*/ 25 w 125"/>
                  <a:gd name="T105" fmla="*/ 82 h 136"/>
                  <a:gd name="T106" fmla="*/ 29 w 125"/>
                  <a:gd name="T107" fmla="*/ 77 h 136"/>
                  <a:gd name="T108" fmla="*/ 34 w 125"/>
                  <a:gd name="T109" fmla="*/ 73 h 136"/>
                  <a:gd name="T110" fmla="*/ 59 w 125"/>
                  <a:gd name="T111" fmla="*/ 57 h 136"/>
                  <a:gd name="T112" fmla="*/ 72 w 125"/>
                  <a:gd name="T113" fmla="*/ 48 h 136"/>
                  <a:gd name="T114" fmla="*/ 84 w 125"/>
                  <a:gd name="T115" fmla="*/ 23 h 136"/>
                  <a:gd name="T116" fmla="*/ 91 w 125"/>
                  <a:gd name="T117" fmla="*/ 11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5" h="136">
                    <a:moveTo>
                      <a:pt x="91" y="11"/>
                    </a:moveTo>
                    <a:lnTo>
                      <a:pt x="91" y="11"/>
                    </a:lnTo>
                    <a:lnTo>
                      <a:pt x="91" y="7"/>
                    </a:lnTo>
                    <a:lnTo>
                      <a:pt x="95" y="5"/>
                    </a:lnTo>
                    <a:lnTo>
                      <a:pt x="97" y="2"/>
                    </a:lnTo>
                    <a:lnTo>
                      <a:pt x="98" y="2"/>
                    </a:lnTo>
                    <a:lnTo>
                      <a:pt x="98" y="2"/>
                    </a:lnTo>
                    <a:lnTo>
                      <a:pt x="100" y="0"/>
                    </a:lnTo>
                    <a:lnTo>
                      <a:pt x="100" y="2"/>
                    </a:lnTo>
                    <a:lnTo>
                      <a:pt x="100" y="5"/>
                    </a:lnTo>
                    <a:lnTo>
                      <a:pt x="100" y="7"/>
                    </a:lnTo>
                    <a:lnTo>
                      <a:pt x="102" y="7"/>
                    </a:lnTo>
                    <a:lnTo>
                      <a:pt x="104" y="7"/>
                    </a:lnTo>
                    <a:lnTo>
                      <a:pt x="106" y="9"/>
                    </a:lnTo>
                    <a:lnTo>
                      <a:pt x="106" y="14"/>
                    </a:lnTo>
                    <a:lnTo>
                      <a:pt x="106" y="16"/>
                    </a:lnTo>
                    <a:lnTo>
                      <a:pt x="109" y="16"/>
                    </a:lnTo>
                    <a:lnTo>
                      <a:pt x="113" y="12"/>
                    </a:lnTo>
                    <a:lnTo>
                      <a:pt x="115" y="12"/>
                    </a:lnTo>
                    <a:lnTo>
                      <a:pt x="115" y="11"/>
                    </a:lnTo>
                    <a:lnTo>
                      <a:pt x="118" y="9"/>
                    </a:lnTo>
                    <a:lnTo>
                      <a:pt x="120" y="9"/>
                    </a:lnTo>
                    <a:lnTo>
                      <a:pt x="120" y="9"/>
                    </a:lnTo>
                    <a:lnTo>
                      <a:pt x="118" y="11"/>
                    </a:lnTo>
                    <a:lnTo>
                      <a:pt x="118" y="11"/>
                    </a:lnTo>
                    <a:lnTo>
                      <a:pt x="118" y="12"/>
                    </a:lnTo>
                    <a:lnTo>
                      <a:pt x="118" y="16"/>
                    </a:lnTo>
                    <a:lnTo>
                      <a:pt x="122" y="14"/>
                    </a:lnTo>
                    <a:lnTo>
                      <a:pt x="120" y="12"/>
                    </a:lnTo>
                    <a:lnTo>
                      <a:pt x="122" y="11"/>
                    </a:lnTo>
                    <a:lnTo>
                      <a:pt x="123" y="11"/>
                    </a:lnTo>
                    <a:lnTo>
                      <a:pt x="123" y="12"/>
                    </a:lnTo>
                    <a:lnTo>
                      <a:pt x="122" y="16"/>
                    </a:lnTo>
                    <a:lnTo>
                      <a:pt x="123" y="16"/>
                    </a:lnTo>
                    <a:lnTo>
                      <a:pt x="123" y="18"/>
                    </a:lnTo>
                    <a:lnTo>
                      <a:pt x="123" y="21"/>
                    </a:lnTo>
                    <a:lnTo>
                      <a:pt x="125" y="25"/>
                    </a:lnTo>
                    <a:lnTo>
                      <a:pt x="122" y="32"/>
                    </a:lnTo>
                    <a:lnTo>
                      <a:pt x="122" y="34"/>
                    </a:lnTo>
                    <a:lnTo>
                      <a:pt x="120" y="36"/>
                    </a:lnTo>
                    <a:lnTo>
                      <a:pt x="118" y="37"/>
                    </a:lnTo>
                    <a:lnTo>
                      <a:pt x="116" y="37"/>
                    </a:lnTo>
                    <a:lnTo>
                      <a:pt x="115" y="41"/>
                    </a:lnTo>
                    <a:lnTo>
                      <a:pt x="111" y="50"/>
                    </a:lnTo>
                    <a:lnTo>
                      <a:pt x="109" y="52"/>
                    </a:lnTo>
                    <a:lnTo>
                      <a:pt x="107" y="52"/>
                    </a:lnTo>
                    <a:lnTo>
                      <a:pt x="106" y="54"/>
                    </a:lnTo>
                    <a:lnTo>
                      <a:pt x="102" y="55"/>
                    </a:lnTo>
                    <a:lnTo>
                      <a:pt x="102" y="57"/>
                    </a:lnTo>
                    <a:lnTo>
                      <a:pt x="100" y="68"/>
                    </a:lnTo>
                    <a:lnTo>
                      <a:pt x="106" y="70"/>
                    </a:lnTo>
                    <a:lnTo>
                      <a:pt x="106" y="71"/>
                    </a:lnTo>
                    <a:lnTo>
                      <a:pt x="106" y="73"/>
                    </a:lnTo>
                    <a:lnTo>
                      <a:pt x="104" y="71"/>
                    </a:lnTo>
                    <a:lnTo>
                      <a:pt x="104" y="73"/>
                    </a:lnTo>
                    <a:lnTo>
                      <a:pt x="97" y="70"/>
                    </a:lnTo>
                    <a:lnTo>
                      <a:pt x="95" y="70"/>
                    </a:lnTo>
                    <a:lnTo>
                      <a:pt x="95" y="71"/>
                    </a:lnTo>
                    <a:lnTo>
                      <a:pt x="95" y="73"/>
                    </a:lnTo>
                    <a:lnTo>
                      <a:pt x="93" y="71"/>
                    </a:lnTo>
                    <a:lnTo>
                      <a:pt x="91" y="71"/>
                    </a:lnTo>
                    <a:lnTo>
                      <a:pt x="91" y="73"/>
                    </a:lnTo>
                    <a:lnTo>
                      <a:pt x="84" y="77"/>
                    </a:lnTo>
                    <a:lnTo>
                      <a:pt x="82" y="77"/>
                    </a:lnTo>
                    <a:lnTo>
                      <a:pt x="82" y="75"/>
                    </a:lnTo>
                    <a:lnTo>
                      <a:pt x="81" y="75"/>
                    </a:lnTo>
                    <a:lnTo>
                      <a:pt x="81" y="82"/>
                    </a:lnTo>
                    <a:lnTo>
                      <a:pt x="79" y="86"/>
                    </a:lnTo>
                    <a:lnTo>
                      <a:pt x="77" y="95"/>
                    </a:lnTo>
                    <a:lnTo>
                      <a:pt x="75" y="95"/>
                    </a:lnTo>
                    <a:lnTo>
                      <a:pt x="75" y="98"/>
                    </a:lnTo>
                    <a:lnTo>
                      <a:pt x="73" y="102"/>
                    </a:lnTo>
                    <a:lnTo>
                      <a:pt x="72" y="109"/>
                    </a:lnTo>
                    <a:lnTo>
                      <a:pt x="70" y="111"/>
                    </a:lnTo>
                    <a:lnTo>
                      <a:pt x="68" y="112"/>
                    </a:lnTo>
                    <a:lnTo>
                      <a:pt x="68" y="114"/>
                    </a:lnTo>
                    <a:lnTo>
                      <a:pt x="68" y="116"/>
                    </a:lnTo>
                    <a:lnTo>
                      <a:pt x="68" y="118"/>
                    </a:lnTo>
                    <a:lnTo>
                      <a:pt x="68" y="118"/>
                    </a:lnTo>
                    <a:lnTo>
                      <a:pt x="68" y="120"/>
                    </a:lnTo>
                    <a:lnTo>
                      <a:pt x="66" y="120"/>
                    </a:lnTo>
                    <a:lnTo>
                      <a:pt x="63" y="121"/>
                    </a:lnTo>
                    <a:lnTo>
                      <a:pt x="61" y="125"/>
                    </a:lnTo>
                    <a:lnTo>
                      <a:pt x="56" y="129"/>
                    </a:lnTo>
                    <a:lnTo>
                      <a:pt x="54" y="129"/>
                    </a:lnTo>
                    <a:lnTo>
                      <a:pt x="54" y="130"/>
                    </a:lnTo>
                    <a:lnTo>
                      <a:pt x="52" y="132"/>
                    </a:lnTo>
                    <a:lnTo>
                      <a:pt x="52" y="132"/>
                    </a:lnTo>
                    <a:lnTo>
                      <a:pt x="45" y="134"/>
                    </a:lnTo>
                    <a:lnTo>
                      <a:pt x="45" y="134"/>
                    </a:lnTo>
                    <a:lnTo>
                      <a:pt x="41" y="136"/>
                    </a:lnTo>
                    <a:lnTo>
                      <a:pt x="40" y="134"/>
                    </a:lnTo>
                    <a:lnTo>
                      <a:pt x="40" y="132"/>
                    </a:lnTo>
                    <a:lnTo>
                      <a:pt x="38" y="132"/>
                    </a:lnTo>
                    <a:lnTo>
                      <a:pt x="36" y="134"/>
                    </a:lnTo>
                    <a:lnTo>
                      <a:pt x="34" y="134"/>
                    </a:lnTo>
                    <a:lnTo>
                      <a:pt x="32" y="134"/>
                    </a:lnTo>
                    <a:lnTo>
                      <a:pt x="32" y="132"/>
                    </a:lnTo>
                    <a:lnTo>
                      <a:pt x="31" y="134"/>
                    </a:lnTo>
                    <a:lnTo>
                      <a:pt x="31" y="132"/>
                    </a:lnTo>
                    <a:lnTo>
                      <a:pt x="31" y="130"/>
                    </a:lnTo>
                    <a:lnTo>
                      <a:pt x="29" y="130"/>
                    </a:lnTo>
                    <a:lnTo>
                      <a:pt x="27" y="129"/>
                    </a:lnTo>
                    <a:lnTo>
                      <a:pt x="22" y="129"/>
                    </a:lnTo>
                    <a:lnTo>
                      <a:pt x="22" y="125"/>
                    </a:lnTo>
                    <a:lnTo>
                      <a:pt x="20" y="123"/>
                    </a:lnTo>
                    <a:lnTo>
                      <a:pt x="16" y="123"/>
                    </a:lnTo>
                    <a:lnTo>
                      <a:pt x="15" y="125"/>
                    </a:lnTo>
                    <a:lnTo>
                      <a:pt x="13" y="127"/>
                    </a:lnTo>
                    <a:lnTo>
                      <a:pt x="6" y="125"/>
                    </a:lnTo>
                    <a:lnTo>
                      <a:pt x="4" y="123"/>
                    </a:lnTo>
                    <a:lnTo>
                      <a:pt x="6" y="121"/>
                    </a:lnTo>
                    <a:lnTo>
                      <a:pt x="7" y="120"/>
                    </a:lnTo>
                    <a:lnTo>
                      <a:pt x="7" y="118"/>
                    </a:lnTo>
                    <a:lnTo>
                      <a:pt x="4" y="121"/>
                    </a:lnTo>
                    <a:lnTo>
                      <a:pt x="4" y="121"/>
                    </a:lnTo>
                    <a:lnTo>
                      <a:pt x="6" y="118"/>
                    </a:lnTo>
                    <a:lnTo>
                      <a:pt x="6" y="118"/>
                    </a:lnTo>
                    <a:lnTo>
                      <a:pt x="4" y="118"/>
                    </a:lnTo>
                    <a:lnTo>
                      <a:pt x="2" y="120"/>
                    </a:lnTo>
                    <a:lnTo>
                      <a:pt x="0" y="118"/>
                    </a:lnTo>
                    <a:lnTo>
                      <a:pt x="2" y="116"/>
                    </a:lnTo>
                    <a:lnTo>
                      <a:pt x="6" y="114"/>
                    </a:lnTo>
                    <a:lnTo>
                      <a:pt x="7" y="112"/>
                    </a:lnTo>
                    <a:lnTo>
                      <a:pt x="7" y="112"/>
                    </a:lnTo>
                    <a:lnTo>
                      <a:pt x="7" y="112"/>
                    </a:lnTo>
                    <a:lnTo>
                      <a:pt x="7" y="111"/>
                    </a:lnTo>
                    <a:lnTo>
                      <a:pt x="9" y="109"/>
                    </a:lnTo>
                    <a:lnTo>
                      <a:pt x="7" y="109"/>
                    </a:lnTo>
                    <a:lnTo>
                      <a:pt x="6" y="109"/>
                    </a:lnTo>
                    <a:lnTo>
                      <a:pt x="6" y="107"/>
                    </a:lnTo>
                    <a:lnTo>
                      <a:pt x="7" y="107"/>
                    </a:lnTo>
                    <a:lnTo>
                      <a:pt x="7" y="105"/>
                    </a:lnTo>
                    <a:lnTo>
                      <a:pt x="7" y="105"/>
                    </a:lnTo>
                    <a:lnTo>
                      <a:pt x="7" y="104"/>
                    </a:lnTo>
                    <a:lnTo>
                      <a:pt x="9" y="104"/>
                    </a:lnTo>
                    <a:lnTo>
                      <a:pt x="9" y="105"/>
                    </a:lnTo>
                    <a:lnTo>
                      <a:pt x="11" y="104"/>
                    </a:lnTo>
                    <a:lnTo>
                      <a:pt x="11" y="104"/>
                    </a:lnTo>
                    <a:lnTo>
                      <a:pt x="13" y="104"/>
                    </a:lnTo>
                    <a:lnTo>
                      <a:pt x="13" y="104"/>
                    </a:lnTo>
                    <a:lnTo>
                      <a:pt x="11" y="104"/>
                    </a:lnTo>
                    <a:lnTo>
                      <a:pt x="9" y="102"/>
                    </a:lnTo>
                    <a:lnTo>
                      <a:pt x="11" y="96"/>
                    </a:lnTo>
                    <a:lnTo>
                      <a:pt x="13" y="95"/>
                    </a:lnTo>
                    <a:lnTo>
                      <a:pt x="15" y="95"/>
                    </a:lnTo>
                    <a:lnTo>
                      <a:pt x="15" y="95"/>
                    </a:lnTo>
                    <a:lnTo>
                      <a:pt x="15" y="96"/>
                    </a:lnTo>
                    <a:lnTo>
                      <a:pt x="16" y="98"/>
                    </a:lnTo>
                    <a:lnTo>
                      <a:pt x="16" y="98"/>
                    </a:lnTo>
                    <a:lnTo>
                      <a:pt x="16" y="96"/>
                    </a:lnTo>
                    <a:lnTo>
                      <a:pt x="16" y="95"/>
                    </a:lnTo>
                    <a:lnTo>
                      <a:pt x="16" y="93"/>
                    </a:lnTo>
                    <a:lnTo>
                      <a:pt x="18" y="93"/>
                    </a:lnTo>
                    <a:lnTo>
                      <a:pt x="18" y="89"/>
                    </a:lnTo>
                    <a:lnTo>
                      <a:pt x="22" y="89"/>
                    </a:lnTo>
                    <a:lnTo>
                      <a:pt x="23" y="87"/>
                    </a:lnTo>
                    <a:lnTo>
                      <a:pt x="23" y="84"/>
                    </a:lnTo>
                    <a:lnTo>
                      <a:pt x="25" y="82"/>
                    </a:lnTo>
                    <a:lnTo>
                      <a:pt x="27" y="80"/>
                    </a:lnTo>
                    <a:lnTo>
                      <a:pt x="27" y="77"/>
                    </a:lnTo>
                    <a:lnTo>
                      <a:pt x="29" y="77"/>
                    </a:lnTo>
                    <a:lnTo>
                      <a:pt x="31" y="75"/>
                    </a:lnTo>
                    <a:lnTo>
                      <a:pt x="32" y="75"/>
                    </a:lnTo>
                    <a:lnTo>
                      <a:pt x="34" y="73"/>
                    </a:lnTo>
                    <a:lnTo>
                      <a:pt x="40" y="73"/>
                    </a:lnTo>
                    <a:lnTo>
                      <a:pt x="59" y="59"/>
                    </a:lnTo>
                    <a:lnTo>
                      <a:pt x="59" y="57"/>
                    </a:lnTo>
                    <a:lnTo>
                      <a:pt x="65" y="52"/>
                    </a:lnTo>
                    <a:lnTo>
                      <a:pt x="66" y="52"/>
                    </a:lnTo>
                    <a:lnTo>
                      <a:pt x="72" y="48"/>
                    </a:lnTo>
                    <a:lnTo>
                      <a:pt x="75" y="43"/>
                    </a:lnTo>
                    <a:lnTo>
                      <a:pt x="81" y="27"/>
                    </a:lnTo>
                    <a:lnTo>
                      <a:pt x="84" y="23"/>
                    </a:lnTo>
                    <a:lnTo>
                      <a:pt x="86" y="23"/>
                    </a:lnTo>
                    <a:lnTo>
                      <a:pt x="90" y="18"/>
                    </a:lnTo>
                    <a:lnTo>
                      <a:pt x="91"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14" name="Freeform 2969"/>
              <p:cNvSpPr>
                <a:spLocks/>
              </p:cNvSpPr>
              <p:nvPr/>
            </p:nvSpPr>
            <p:spPr bwMode="auto">
              <a:xfrm>
                <a:off x="5458" y="3297"/>
                <a:ext cx="91" cy="144"/>
              </a:xfrm>
              <a:custGeom>
                <a:avLst/>
                <a:gdLst>
                  <a:gd name="T0" fmla="*/ 41 w 91"/>
                  <a:gd name="T1" fmla="*/ 119 h 144"/>
                  <a:gd name="T2" fmla="*/ 32 w 91"/>
                  <a:gd name="T3" fmla="*/ 109 h 144"/>
                  <a:gd name="T4" fmla="*/ 18 w 91"/>
                  <a:gd name="T5" fmla="*/ 98 h 144"/>
                  <a:gd name="T6" fmla="*/ 27 w 91"/>
                  <a:gd name="T7" fmla="*/ 89 h 144"/>
                  <a:gd name="T8" fmla="*/ 34 w 91"/>
                  <a:gd name="T9" fmla="*/ 73 h 144"/>
                  <a:gd name="T10" fmla="*/ 36 w 91"/>
                  <a:gd name="T11" fmla="*/ 66 h 144"/>
                  <a:gd name="T12" fmla="*/ 34 w 91"/>
                  <a:gd name="T13" fmla="*/ 57 h 144"/>
                  <a:gd name="T14" fmla="*/ 31 w 91"/>
                  <a:gd name="T15" fmla="*/ 53 h 144"/>
                  <a:gd name="T16" fmla="*/ 32 w 91"/>
                  <a:gd name="T17" fmla="*/ 52 h 144"/>
                  <a:gd name="T18" fmla="*/ 29 w 91"/>
                  <a:gd name="T19" fmla="*/ 50 h 144"/>
                  <a:gd name="T20" fmla="*/ 27 w 91"/>
                  <a:gd name="T21" fmla="*/ 43 h 144"/>
                  <a:gd name="T22" fmla="*/ 25 w 91"/>
                  <a:gd name="T23" fmla="*/ 39 h 144"/>
                  <a:gd name="T24" fmla="*/ 23 w 91"/>
                  <a:gd name="T25" fmla="*/ 34 h 144"/>
                  <a:gd name="T26" fmla="*/ 22 w 91"/>
                  <a:gd name="T27" fmla="*/ 35 h 144"/>
                  <a:gd name="T28" fmla="*/ 11 w 91"/>
                  <a:gd name="T29" fmla="*/ 21 h 144"/>
                  <a:gd name="T30" fmla="*/ 13 w 91"/>
                  <a:gd name="T31" fmla="*/ 18 h 144"/>
                  <a:gd name="T32" fmla="*/ 7 w 91"/>
                  <a:gd name="T33" fmla="*/ 14 h 144"/>
                  <a:gd name="T34" fmla="*/ 0 w 91"/>
                  <a:gd name="T35" fmla="*/ 2 h 144"/>
                  <a:gd name="T36" fmla="*/ 4 w 91"/>
                  <a:gd name="T37" fmla="*/ 0 h 144"/>
                  <a:gd name="T38" fmla="*/ 6 w 91"/>
                  <a:gd name="T39" fmla="*/ 9 h 144"/>
                  <a:gd name="T40" fmla="*/ 11 w 91"/>
                  <a:gd name="T41" fmla="*/ 9 h 144"/>
                  <a:gd name="T42" fmla="*/ 15 w 91"/>
                  <a:gd name="T43" fmla="*/ 10 h 144"/>
                  <a:gd name="T44" fmla="*/ 20 w 91"/>
                  <a:gd name="T45" fmla="*/ 12 h 144"/>
                  <a:gd name="T46" fmla="*/ 23 w 91"/>
                  <a:gd name="T47" fmla="*/ 18 h 144"/>
                  <a:gd name="T48" fmla="*/ 25 w 91"/>
                  <a:gd name="T49" fmla="*/ 19 h 144"/>
                  <a:gd name="T50" fmla="*/ 29 w 91"/>
                  <a:gd name="T51" fmla="*/ 25 h 144"/>
                  <a:gd name="T52" fmla="*/ 29 w 91"/>
                  <a:gd name="T53" fmla="*/ 28 h 144"/>
                  <a:gd name="T54" fmla="*/ 25 w 91"/>
                  <a:gd name="T55" fmla="*/ 28 h 144"/>
                  <a:gd name="T56" fmla="*/ 27 w 91"/>
                  <a:gd name="T57" fmla="*/ 30 h 144"/>
                  <a:gd name="T58" fmla="*/ 32 w 91"/>
                  <a:gd name="T59" fmla="*/ 41 h 144"/>
                  <a:gd name="T60" fmla="*/ 34 w 91"/>
                  <a:gd name="T61" fmla="*/ 46 h 144"/>
                  <a:gd name="T62" fmla="*/ 32 w 91"/>
                  <a:gd name="T63" fmla="*/ 48 h 144"/>
                  <a:gd name="T64" fmla="*/ 36 w 91"/>
                  <a:gd name="T65" fmla="*/ 50 h 144"/>
                  <a:gd name="T66" fmla="*/ 40 w 91"/>
                  <a:gd name="T67" fmla="*/ 50 h 144"/>
                  <a:gd name="T68" fmla="*/ 45 w 91"/>
                  <a:gd name="T69" fmla="*/ 53 h 144"/>
                  <a:gd name="T70" fmla="*/ 43 w 91"/>
                  <a:gd name="T71" fmla="*/ 41 h 144"/>
                  <a:gd name="T72" fmla="*/ 48 w 91"/>
                  <a:gd name="T73" fmla="*/ 48 h 144"/>
                  <a:gd name="T74" fmla="*/ 50 w 91"/>
                  <a:gd name="T75" fmla="*/ 57 h 144"/>
                  <a:gd name="T76" fmla="*/ 57 w 91"/>
                  <a:gd name="T77" fmla="*/ 64 h 144"/>
                  <a:gd name="T78" fmla="*/ 70 w 91"/>
                  <a:gd name="T79" fmla="*/ 71 h 144"/>
                  <a:gd name="T80" fmla="*/ 75 w 91"/>
                  <a:gd name="T81" fmla="*/ 69 h 144"/>
                  <a:gd name="T82" fmla="*/ 86 w 91"/>
                  <a:gd name="T83" fmla="*/ 60 h 144"/>
                  <a:gd name="T84" fmla="*/ 90 w 91"/>
                  <a:gd name="T85" fmla="*/ 82 h 144"/>
                  <a:gd name="T86" fmla="*/ 82 w 91"/>
                  <a:gd name="T87" fmla="*/ 91 h 144"/>
                  <a:gd name="T88" fmla="*/ 84 w 91"/>
                  <a:gd name="T89" fmla="*/ 94 h 144"/>
                  <a:gd name="T90" fmla="*/ 81 w 91"/>
                  <a:gd name="T91" fmla="*/ 93 h 144"/>
                  <a:gd name="T92" fmla="*/ 66 w 91"/>
                  <a:gd name="T93" fmla="*/ 102 h 144"/>
                  <a:gd name="T94" fmla="*/ 68 w 91"/>
                  <a:gd name="T95" fmla="*/ 105 h 144"/>
                  <a:gd name="T96" fmla="*/ 43 w 91"/>
                  <a:gd name="T97" fmla="*/ 144 h 144"/>
                  <a:gd name="T98" fmla="*/ 32 w 91"/>
                  <a:gd name="T99" fmla="*/ 1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 h="144">
                    <a:moveTo>
                      <a:pt x="32" y="137"/>
                    </a:moveTo>
                    <a:lnTo>
                      <a:pt x="38" y="128"/>
                    </a:lnTo>
                    <a:lnTo>
                      <a:pt x="41" y="119"/>
                    </a:lnTo>
                    <a:lnTo>
                      <a:pt x="41" y="116"/>
                    </a:lnTo>
                    <a:lnTo>
                      <a:pt x="36" y="110"/>
                    </a:lnTo>
                    <a:lnTo>
                      <a:pt x="32" y="109"/>
                    </a:lnTo>
                    <a:lnTo>
                      <a:pt x="23" y="103"/>
                    </a:lnTo>
                    <a:lnTo>
                      <a:pt x="20" y="102"/>
                    </a:lnTo>
                    <a:lnTo>
                      <a:pt x="18" y="98"/>
                    </a:lnTo>
                    <a:lnTo>
                      <a:pt x="18" y="94"/>
                    </a:lnTo>
                    <a:lnTo>
                      <a:pt x="20" y="93"/>
                    </a:lnTo>
                    <a:lnTo>
                      <a:pt x="27" y="89"/>
                    </a:lnTo>
                    <a:lnTo>
                      <a:pt x="29" y="87"/>
                    </a:lnTo>
                    <a:lnTo>
                      <a:pt x="32" y="73"/>
                    </a:lnTo>
                    <a:lnTo>
                      <a:pt x="34" y="73"/>
                    </a:lnTo>
                    <a:lnTo>
                      <a:pt x="34" y="73"/>
                    </a:lnTo>
                    <a:lnTo>
                      <a:pt x="34" y="68"/>
                    </a:lnTo>
                    <a:lnTo>
                      <a:pt x="36" y="66"/>
                    </a:lnTo>
                    <a:lnTo>
                      <a:pt x="34" y="64"/>
                    </a:lnTo>
                    <a:lnTo>
                      <a:pt x="34" y="60"/>
                    </a:lnTo>
                    <a:lnTo>
                      <a:pt x="34" y="57"/>
                    </a:lnTo>
                    <a:lnTo>
                      <a:pt x="34" y="59"/>
                    </a:lnTo>
                    <a:lnTo>
                      <a:pt x="31" y="55"/>
                    </a:lnTo>
                    <a:lnTo>
                      <a:pt x="31" y="53"/>
                    </a:lnTo>
                    <a:lnTo>
                      <a:pt x="32" y="53"/>
                    </a:lnTo>
                    <a:lnTo>
                      <a:pt x="32" y="52"/>
                    </a:lnTo>
                    <a:lnTo>
                      <a:pt x="32" y="52"/>
                    </a:lnTo>
                    <a:lnTo>
                      <a:pt x="32" y="50"/>
                    </a:lnTo>
                    <a:lnTo>
                      <a:pt x="32" y="50"/>
                    </a:lnTo>
                    <a:lnTo>
                      <a:pt x="29" y="50"/>
                    </a:lnTo>
                    <a:lnTo>
                      <a:pt x="23" y="41"/>
                    </a:lnTo>
                    <a:lnTo>
                      <a:pt x="25" y="44"/>
                    </a:lnTo>
                    <a:lnTo>
                      <a:pt x="27" y="43"/>
                    </a:lnTo>
                    <a:lnTo>
                      <a:pt x="27" y="39"/>
                    </a:lnTo>
                    <a:lnTo>
                      <a:pt x="25" y="39"/>
                    </a:lnTo>
                    <a:lnTo>
                      <a:pt x="25" y="39"/>
                    </a:lnTo>
                    <a:lnTo>
                      <a:pt x="25" y="37"/>
                    </a:lnTo>
                    <a:lnTo>
                      <a:pt x="25" y="34"/>
                    </a:lnTo>
                    <a:lnTo>
                      <a:pt x="23" y="34"/>
                    </a:lnTo>
                    <a:lnTo>
                      <a:pt x="23" y="35"/>
                    </a:lnTo>
                    <a:lnTo>
                      <a:pt x="22" y="34"/>
                    </a:lnTo>
                    <a:lnTo>
                      <a:pt x="22" y="35"/>
                    </a:lnTo>
                    <a:lnTo>
                      <a:pt x="22" y="37"/>
                    </a:lnTo>
                    <a:lnTo>
                      <a:pt x="11" y="23"/>
                    </a:lnTo>
                    <a:lnTo>
                      <a:pt x="11" y="21"/>
                    </a:lnTo>
                    <a:lnTo>
                      <a:pt x="13" y="18"/>
                    </a:lnTo>
                    <a:lnTo>
                      <a:pt x="13" y="18"/>
                    </a:lnTo>
                    <a:lnTo>
                      <a:pt x="13" y="18"/>
                    </a:lnTo>
                    <a:lnTo>
                      <a:pt x="11" y="19"/>
                    </a:lnTo>
                    <a:lnTo>
                      <a:pt x="7" y="18"/>
                    </a:lnTo>
                    <a:lnTo>
                      <a:pt x="7" y="14"/>
                    </a:lnTo>
                    <a:lnTo>
                      <a:pt x="7" y="14"/>
                    </a:lnTo>
                    <a:lnTo>
                      <a:pt x="6" y="10"/>
                    </a:lnTo>
                    <a:lnTo>
                      <a:pt x="0" y="2"/>
                    </a:lnTo>
                    <a:lnTo>
                      <a:pt x="2" y="0"/>
                    </a:lnTo>
                    <a:lnTo>
                      <a:pt x="4" y="0"/>
                    </a:lnTo>
                    <a:lnTo>
                      <a:pt x="4" y="0"/>
                    </a:lnTo>
                    <a:lnTo>
                      <a:pt x="4" y="3"/>
                    </a:lnTo>
                    <a:lnTo>
                      <a:pt x="6" y="7"/>
                    </a:lnTo>
                    <a:lnTo>
                      <a:pt x="6" y="9"/>
                    </a:lnTo>
                    <a:lnTo>
                      <a:pt x="7" y="10"/>
                    </a:lnTo>
                    <a:lnTo>
                      <a:pt x="9" y="10"/>
                    </a:lnTo>
                    <a:lnTo>
                      <a:pt x="11" y="9"/>
                    </a:lnTo>
                    <a:lnTo>
                      <a:pt x="11" y="9"/>
                    </a:lnTo>
                    <a:lnTo>
                      <a:pt x="11" y="10"/>
                    </a:lnTo>
                    <a:lnTo>
                      <a:pt x="15" y="10"/>
                    </a:lnTo>
                    <a:lnTo>
                      <a:pt x="16" y="12"/>
                    </a:lnTo>
                    <a:lnTo>
                      <a:pt x="18" y="12"/>
                    </a:lnTo>
                    <a:lnTo>
                      <a:pt x="20" y="12"/>
                    </a:lnTo>
                    <a:lnTo>
                      <a:pt x="22" y="14"/>
                    </a:lnTo>
                    <a:lnTo>
                      <a:pt x="20" y="16"/>
                    </a:lnTo>
                    <a:lnTo>
                      <a:pt x="23" y="18"/>
                    </a:lnTo>
                    <a:lnTo>
                      <a:pt x="23" y="16"/>
                    </a:lnTo>
                    <a:lnTo>
                      <a:pt x="25" y="18"/>
                    </a:lnTo>
                    <a:lnTo>
                      <a:pt x="25" y="19"/>
                    </a:lnTo>
                    <a:lnTo>
                      <a:pt x="25" y="21"/>
                    </a:lnTo>
                    <a:lnTo>
                      <a:pt x="29" y="23"/>
                    </a:lnTo>
                    <a:lnTo>
                      <a:pt x="29" y="25"/>
                    </a:lnTo>
                    <a:lnTo>
                      <a:pt x="29" y="27"/>
                    </a:lnTo>
                    <a:lnTo>
                      <a:pt x="29" y="28"/>
                    </a:lnTo>
                    <a:lnTo>
                      <a:pt x="29" y="28"/>
                    </a:lnTo>
                    <a:lnTo>
                      <a:pt x="27" y="27"/>
                    </a:lnTo>
                    <a:lnTo>
                      <a:pt x="25" y="27"/>
                    </a:lnTo>
                    <a:lnTo>
                      <a:pt x="25" y="28"/>
                    </a:lnTo>
                    <a:lnTo>
                      <a:pt x="25" y="28"/>
                    </a:lnTo>
                    <a:lnTo>
                      <a:pt x="27" y="28"/>
                    </a:lnTo>
                    <a:lnTo>
                      <a:pt x="27" y="30"/>
                    </a:lnTo>
                    <a:lnTo>
                      <a:pt x="29" y="32"/>
                    </a:lnTo>
                    <a:lnTo>
                      <a:pt x="34" y="39"/>
                    </a:lnTo>
                    <a:lnTo>
                      <a:pt x="32" y="41"/>
                    </a:lnTo>
                    <a:lnTo>
                      <a:pt x="32" y="44"/>
                    </a:lnTo>
                    <a:lnTo>
                      <a:pt x="34" y="44"/>
                    </a:lnTo>
                    <a:lnTo>
                      <a:pt x="34" y="46"/>
                    </a:lnTo>
                    <a:lnTo>
                      <a:pt x="32" y="46"/>
                    </a:lnTo>
                    <a:lnTo>
                      <a:pt x="31" y="48"/>
                    </a:lnTo>
                    <a:lnTo>
                      <a:pt x="32" y="48"/>
                    </a:lnTo>
                    <a:lnTo>
                      <a:pt x="32" y="48"/>
                    </a:lnTo>
                    <a:lnTo>
                      <a:pt x="34" y="50"/>
                    </a:lnTo>
                    <a:lnTo>
                      <a:pt x="36" y="50"/>
                    </a:lnTo>
                    <a:lnTo>
                      <a:pt x="38" y="50"/>
                    </a:lnTo>
                    <a:lnTo>
                      <a:pt x="40" y="50"/>
                    </a:lnTo>
                    <a:lnTo>
                      <a:pt x="40" y="50"/>
                    </a:lnTo>
                    <a:lnTo>
                      <a:pt x="41" y="55"/>
                    </a:lnTo>
                    <a:lnTo>
                      <a:pt x="43" y="55"/>
                    </a:lnTo>
                    <a:lnTo>
                      <a:pt x="45" y="53"/>
                    </a:lnTo>
                    <a:lnTo>
                      <a:pt x="43" y="44"/>
                    </a:lnTo>
                    <a:lnTo>
                      <a:pt x="41" y="41"/>
                    </a:lnTo>
                    <a:lnTo>
                      <a:pt x="43" y="41"/>
                    </a:lnTo>
                    <a:lnTo>
                      <a:pt x="45" y="43"/>
                    </a:lnTo>
                    <a:lnTo>
                      <a:pt x="48" y="44"/>
                    </a:lnTo>
                    <a:lnTo>
                      <a:pt x="48" y="48"/>
                    </a:lnTo>
                    <a:lnTo>
                      <a:pt x="48" y="48"/>
                    </a:lnTo>
                    <a:lnTo>
                      <a:pt x="50" y="57"/>
                    </a:lnTo>
                    <a:lnTo>
                      <a:pt x="50" y="57"/>
                    </a:lnTo>
                    <a:lnTo>
                      <a:pt x="52" y="62"/>
                    </a:lnTo>
                    <a:lnTo>
                      <a:pt x="54" y="64"/>
                    </a:lnTo>
                    <a:lnTo>
                      <a:pt x="57" y="64"/>
                    </a:lnTo>
                    <a:lnTo>
                      <a:pt x="61" y="68"/>
                    </a:lnTo>
                    <a:lnTo>
                      <a:pt x="68" y="69"/>
                    </a:lnTo>
                    <a:lnTo>
                      <a:pt x="70" y="71"/>
                    </a:lnTo>
                    <a:lnTo>
                      <a:pt x="73" y="71"/>
                    </a:lnTo>
                    <a:lnTo>
                      <a:pt x="75" y="69"/>
                    </a:lnTo>
                    <a:lnTo>
                      <a:pt x="75" y="69"/>
                    </a:lnTo>
                    <a:lnTo>
                      <a:pt x="79" y="66"/>
                    </a:lnTo>
                    <a:lnTo>
                      <a:pt x="84" y="62"/>
                    </a:lnTo>
                    <a:lnTo>
                      <a:pt x="86" y="60"/>
                    </a:lnTo>
                    <a:lnTo>
                      <a:pt x="88" y="62"/>
                    </a:lnTo>
                    <a:lnTo>
                      <a:pt x="91" y="64"/>
                    </a:lnTo>
                    <a:lnTo>
                      <a:pt x="90" y="82"/>
                    </a:lnTo>
                    <a:lnTo>
                      <a:pt x="84" y="85"/>
                    </a:lnTo>
                    <a:lnTo>
                      <a:pt x="84" y="89"/>
                    </a:lnTo>
                    <a:lnTo>
                      <a:pt x="82" y="91"/>
                    </a:lnTo>
                    <a:lnTo>
                      <a:pt x="84" y="93"/>
                    </a:lnTo>
                    <a:lnTo>
                      <a:pt x="84" y="93"/>
                    </a:lnTo>
                    <a:lnTo>
                      <a:pt x="84" y="94"/>
                    </a:lnTo>
                    <a:lnTo>
                      <a:pt x="82" y="96"/>
                    </a:lnTo>
                    <a:lnTo>
                      <a:pt x="82" y="93"/>
                    </a:lnTo>
                    <a:lnTo>
                      <a:pt x="81" y="93"/>
                    </a:lnTo>
                    <a:lnTo>
                      <a:pt x="73" y="93"/>
                    </a:lnTo>
                    <a:lnTo>
                      <a:pt x="72" y="93"/>
                    </a:lnTo>
                    <a:lnTo>
                      <a:pt x="66" y="102"/>
                    </a:lnTo>
                    <a:lnTo>
                      <a:pt x="66" y="102"/>
                    </a:lnTo>
                    <a:lnTo>
                      <a:pt x="66" y="102"/>
                    </a:lnTo>
                    <a:lnTo>
                      <a:pt x="68" y="105"/>
                    </a:lnTo>
                    <a:lnTo>
                      <a:pt x="70" y="105"/>
                    </a:lnTo>
                    <a:lnTo>
                      <a:pt x="50" y="141"/>
                    </a:lnTo>
                    <a:lnTo>
                      <a:pt x="43" y="144"/>
                    </a:lnTo>
                    <a:lnTo>
                      <a:pt x="40" y="141"/>
                    </a:lnTo>
                    <a:lnTo>
                      <a:pt x="32" y="141"/>
                    </a:lnTo>
                    <a:lnTo>
                      <a:pt x="32" y="139"/>
                    </a:lnTo>
                    <a:lnTo>
                      <a:pt x="32" y="13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15" name="Freeform 2970"/>
              <p:cNvSpPr>
                <a:spLocks/>
              </p:cNvSpPr>
              <p:nvPr/>
            </p:nvSpPr>
            <p:spPr bwMode="auto">
              <a:xfrm>
                <a:off x="5458" y="3297"/>
                <a:ext cx="91" cy="144"/>
              </a:xfrm>
              <a:custGeom>
                <a:avLst/>
                <a:gdLst>
                  <a:gd name="T0" fmla="*/ 41 w 91"/>
                  <a:gd name="T1" fmla="*/ 119 h 144"/>
                  <a:gd name="T2" fmla="*/ 32 w 91"/>
                  <a:gd name="T3" fmla="*/ 109 h 144"/>
                  <a:gd name="T4" fmla="*/ 18 w 91"/>
                  <a:gd name="T5" fmla="*/ 98 h 144"/>
                  <a:gd name="T6" fmla="*/ 27 w 91"/>
                  <a:gd name="T7" fmla="*/ 89 h 144"/>
                  <a:gd name="T8" fmla="*/ 34 w 91"/>
                  <a:gd name="T9" fmla="*/ 73 h 144"/>
                  <a:gd name="T10" fmla="*/ 36 w 91"/>
                  <a:gd name="T11" fmla="*/ 66 h 144"/>
                  <a:gd name="T12" fmla="*/ 34 w 91"/>
                  <a:gd name="T13" fmla="*/ 57 h 144"/>
                  <a:gd name="T14" fmla="*/ 31 w 91"/>
                  <a:gd name="T15" fmla="*/ 53 h 144"/>
                  <a:gd name="T16" fmla="*/ 32 w 91"/>
                  <a:gd name="T17" fmla="*/ 52 h 144"/>
                  <a:gd name="T18" fmla="*/ 29 w 91"/>
                  <a:gd name="T19" fmla="*/ 50 h 144"/>
                  <a:gd name="T20" fmla="*/ 27 w 91"/>
                  <a:gd name="T21" fmla="*/ 43 h 144"/>
                  <a:gd name="T22" fmla="*/ 25 w 91"/>
                  <a:gd name="T23" fmla="*/ 39 h 144"/>
                  <a:gd name="T24" fmla="*/ 23 w 91"/>
                  <a:gd name="T25" fmla="*/ 34 h 144"/>
                  <a:gd name="T26" fmla="*/ 22 w 91"/>
                  <a:gd name="T27" fmla="*/ 35 h 144"/>
                  <a:gd name="T28" fmla="*/ 11 w 91"/>
                  <a:gd name="T29" fmla="*/ 21 h 144"/>
                  <a:gd name="T30" fmla="*/ 13 w 91"/>
                  <a:gd name="T31" fmla="*/ 18 h 144"/>
                  <a:gd name="T32" fmla="*/ 7 w 91"/>
                  <a:gd name="T33" fmla="*/ 14 h 144"/>
                  <a:gd name="T34" fmla="*/ 0 w 91"/>
                  <a:gd name="T35" fmla="*/ 2 h 144"/>
                  <a:gd name="T36" fmla="*/ 4 w 91"/>
                  <a:gd name="T37" fmla="*/ 0 h 144"/>
                  <a:gd name="T38" fmla="*/ 6 w 91"/>
                  <a:gd name="T39" fmla="*/ 9 h 144"/>
                  <a:gd name="T40" fmla="*/ 11 w 91"/>
                  <a:gd name="T41" fmla="*/ 9 h 144"/>
                  <a:gd name="T42" fmla="*/ 15 w 91"/>
                  <a:gd name="T43" fmla="*/ 10 h 144"/>
                  <a:gd name="T44" fmla="*/ 20 w 91"/>
                  <a:gd name="T45" fmla="*/ 12 h 144"/>
                  <a:gd name="T46" fmla="*/ 23 w 91"/>
                  <a:gd name="T47" fmla="*/ 18 h 144"/>
                  <a:gd name="T48" fmla="*/ 25 w 91"/>
                  <a:gd name="T49" fmla="*/ 19 h 144"/>
                  <a:gd name="T50" fmla="*/ 29 w 91"/>
                  <a:gd name="T51" fmla="*/ 25 h 144"/>
                  <a:gd name="T52" fmla="*/ 29 w 91"/>
                  <a:gd name="T53" fmla="*/ 28 h 144"/>
                  <a:gd name="T54" fmla="*/ 25 w 91"/>
                  <a:gd name="T55" fmla="*/ 28 h 144"/>
                  <a:gd name="T56" fmla="*/ 27 w 91"/>
                  <a:gd name="T57" fmla="*/ 30 h 144"/>
                  <a:gd name="T58" fmla="*/ 32 w 91"/>
                  <a:gd name="T59" fmla="*/ 41 h 144"/>
                  <a:gd name="T60" fmla="*/ 34 w 91"/>
                  <a:gd name="T61" fmla="*/ 46 h 144"/>
                  <a:gd name="T62" fmla="*/ 32 w 91"/>
                  <a:gd name="T63" fmla="*/ 48 h 144"/>
                  <a:gd name="T64" fmla="*/ 36 w 91"/>
                  <a:gd name="T65" fmla="*/ 50 h 144"/>
                  <a:gd name="T66" fmla="*/ 40 w 91"/>
                  <a:gd name="T67" fmla="*/ 50 h 144"/>
                  <a:gd name="T68" fmla="*/ 45 w 91"/>
                  <a:gd name="T69" fmla="*/ 53 h 144"/>
                  <a:gd name="T70" fmla="*/ 43 w 91"/>
                  <a:gd name="T71" fmla="*/ 41 h 144"/>
                  <a:gd name="T72" fmla="*/ 48 w 91"/>
                  <a:gd name="T73" fmla="*/ 48 h 144"/>
                  <a:gd name="T74" fmla="*/ 50 w 91"/>
                  <a:gd name="T75" fmla="*/ 57 h 144"/>
                  <a:gd name="T76" fmla="*/ 57 w 91"/>
                  <a:gd name="T77" fmla="*/ 64 h 144"/>
                  <a:gd name="T78" fmla="*/ 70 w 91"/>
                  <a:gd name="T79" fmla="*/ 71 h 144"/>
                  <a:gd name="T80" fmla="*/ 75 w 91"/>
                  <a:gd name="T81" fmla="*/ 69 h 144"/>
                  <a:gd name="T82" fmla="*/ 86 w 91"/>
                  <a:gd name="T83" fmla="*/ 60 h 144"/>
                  <a:gd name="T84" fmla="*/ 90 w 91"/>
                  <a:gd name="T85" fmla="*/ 82 h 144"/>
                  <a:gd name="T86" fmla="*/ 82 w 91"/>
                  <a:gd name="T87" fmla="*/ 91 h 144"/>
                  <a:gd name="T88" fmla="*/ 84 w 91"/>
                  <a:gd name="T89" fmla="*/ 94 h 144"/>
                  <a:gd name="T90" fmla="*/ 81 w 91"/>
                  <a:gd name="T91" fmla="*/ 93 h 144"/>
                  <a:gd name="T92" fmla="*/ 66 w 91"/>
                  <a:gd name="T93" fmla="*/ 102 h 144"/>
                  <a:gd name="T94" fmla="*/ 68 w 91"/>
                  <a:gd name="T95" fmla="*/ 105 h 144"/>
                  <a:gd name="T96" fmla="*/ 43 w 91"/>
                  <a:gd name="T97" fmla="*/ 144 h 144"/>
                  <a:gd name="T98" fmla="*/ 32 w 91"/>
                  <a:gd name="T99" fmla="*/ 13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1" h="144">
                    <a:moveTo>
                      <a:pt x="32" y="137"/>
                    </a:moveTo>
                    <a:lnTo>
                      <a:pt x="38" y="128"/>
                    </a:lnTo>
                    <a:lnTo>
                      <a:pt x="41" y="119"/>
                    </a:lnTo>
                    <a:lnTo>
                      <a:pt x="41" y="116"/>
                    </a:lnTo>
                    <a:lnTo>
                      <a:pt x="36" y="110"/>
                    </a:lnTo>
                    <a:lnTo>
                      <a:pt x="32" y="109"/>
                    </a:lnTo>
                    <a:lnTo>
                      <a:pt x="23" y="103"/>
                    </a:lnTo>
                    <a:lnTo>
                      <a:pt x="20" y="102"/>
                    </a:lnTo>
                    <a:lnTo>
                      <a:pt x="18" y="98"/>
                    </a:lnTo>
                    <a:lnTo>
                      <a:pt x="18" y="94"/>
                    </a:lnTo>
                    <a:lnTo>
                      <a:pt x="20" y="93"/>
                    </a:lnTo>
                    <a:lnTo>
                      <a:pt x="27" y="89"/>
                    </a:lnTo>
                    <a:lnTo>
                      <a:pt x="29" y="87"/>
                    </a:lnTo>
                    <a:lnTo>
                      <a:pt x="32" y="73"/>
                    </a:lnTo>
                    <a:lnTo>
                      <a:pt x="34" y="73"/>
                    </a:lnTo>
                    <a:lnTo>
                      <a:pt x="34" y="73"/>
                    </a:lnTo>
                    <a:lnTo>
                      <a:pt x="34" y="68"/>
                    </a:lnTo>
                    <a:lnTo>
                      <a:pt x="36" y="66"/>
                    </a:lnTo>
                    <a:lnTo>
                      <a:pt x="34" y="64"/>
                    </a:lnTo>
                    <a:lnTo>
                      <a:pt x="34" y="60"/>
                    </a:lnTo>
                    <a:lnTo>
                      <a:pt x="34" y="57"/>
                    </a:lnTo>
                    <a:lnTo>
                      <a:pt x="34" y="59"/>
                    </a:lnTo>
                    <a:lnTo>
                      <a:pt x="31" y="55"/>
                    </a:lnTo>
                    <a:lnTo>
                      <a:pt x="31" y="53"/>
                    </a:lnTo>
                    <a:lnTo>
                      <a:pt x="32" y="53"/>
                    </a:lnTo>
                    <a:lnTo>
                      <a:pt x="32" y="52"/>
                    </a:lnTo>
                    <a:lnTo>
                      <a:pt x="32" y="52"/>
                    </a:lnTo>
                    <a:lnTo>
                      <a:pt x="32" y="50"/>
                    </a:lnTo>
                    <a:lnTo>
                      <a:pt x="32" y="50"/>
                    </a:lnTo>
                    <a:lnTo>
                      <a:pt x="29" y="50"/>
                    </a:lnTo>
                    <a:lnTo>
                      <a:pt x="23" y="41"/>
                    </a:lnTo>
                    <a:lnTo>
                      <a:pt x="25" y="44"/>
                    </a:lnTo>
                    <a:lnTo>
                      <a:pt x="27" y="43"/>
                    </a:lnTo>
                    <a:lnTo>
                      <a:pt x="27" y="39"/>
                    </a:lnTo>
                    <a:lnTo>
                      <a:pt x="25" y="39"/>
                    </a:lnTo>
                    <a:lnTo>
                      <a:pt x="25" y="39"/>
                    </a:lnTo>
                    <a:lnTo>
                      <a:pt x="25" y="37"/>
                    </a:lnTo>
                    <a:lnTo>
                      <a:pt x="25" y="34"/>
                    </a:lnTo>
                    <a:lnTo>
                      <a:pt x="23" y="34"/>
                    </a:lnTo>
                    <a:lnTo>
                      <a:pt x="23" y="35"/>
                    </a:lnTo>
                    <a:lnTo>
                      <a:pt x="22" y="34"/>
                    </a:lnTo>
                    <a:lnTo>
                      <a:pt x="22" y="35"/>
                    </a:lnTo>
                    <a:lnTo>
                      <a:pt x="22" y="37"/>
                    </a:lnTo>
                    <a:lnTo>
                      <a:pt x="11" y="23"/>
                    </a:lnTo>
                    <a:lnTo>
                      <a:pt x="11" y="21"/>
                    </a:lnTo>
                    <a:lnTo>
                      <a:pt x="13" y="18"/>
                    </a:lnTo>
                    <a:lnTo>
                      <a:pt x="13" y="18"/>
                    </a:lnTo>
                    <a:lnTo>
                      <a:pt x="13" y="18"/>
                    </a:lnTo>
                    <a:lnTo>
                      <a:pt x="11" y="19"/>
                    </a:lnTo>
                    <a:lnTo>
                      <a:pt x="7" y="18"/>
                    </a:lnTo>
                    <a:lnTo>
                      <a:pt x="7" y="14"/>
                    </a:lnTo>
                    <a:lnTo>
                      <a:pt x="7" y="14"/>
                    </a:lnTo>
                    <a:lnTo>
                      <a:pt x="6" y="10"/>
                    </a:lnTo>
                    <a:lnTo>
                      <a:pt x="0" y="2"/>
                    </a:lnTo>
                    <a:lnTo>
                      <a:pt x="2" y="0"/>
                    </a:lnTo>
                    <a:lnTo>
                      <a:pt x="4" y="0"/>
                    </a:lnTo>
                    <a:lnTo>
                      <a:pt x="4" y="0"/>
                    </a:lnTo>
                    <a:lnTo>
                      <a:pt x="4" y="3"/>
                    </a:lnTo>
                    <a:lnTo>
                      <a:pt x="6" y="7"/>
                    </a:lnTo>
                    <a:lnTo>
                      <a:pt x="6" y="9"/>
                    </a:lnTo>
                    <a:lnTo>
                      <a:pt x="7" y="10"/>
                    </a:lnTo>
                    <a:lnTo>
                      <a:pt x="9" y="10"/>
                    </a:lnTo>
                    <a:lnTo>
                      <a:pt x="11" y="9"/>
                    </a:lnTo>
                    <a:lnTo>
                      <a:pt x="11" y="9"/>
                    </a:lnTo>
                    <a:lnTo>
                      <a:pt x="11" y="10"/>
                    </a:lnTo>
                    <a:lnTo>
                      <a:pt x="15" y="10"/>
                    </a:lnTo>
                    <a:lnTo>
                      <a:pt x="16" y="12"/>
                    </a:lnTo>
                    <a:lnTo>
                      <a:pt x="18" y="12"/>
                    </a:lnTo>
                    <a:lnTo>
                      <a:pt x="20" y="12"/>
                    </a:lnTo>
                    <a:lnTo>
                      <a:pt x="22" y="14"/>
                    </a:lnTo>
                    <a:lnTo>
                      <a:pt x="20" y="16"/>
                    </a:lnTo>
                    <a:lnTo>
                      <a:pt x="23" y="18"/>
                    </a:lnTo>
                    <a:lnTo>
                      <a:pt x="23" y="16"/>
                    </a:lnTo>
                    <a:lnTo>
                      <a:pt x="25" y="18"/>
                    </a:lnTo>
                    <a:lnTo>
                      <a:pt x="25" y="19"/>
                    </a:lnTo>
                    <a:lnTo>
                      <a:pt x="25" y="21"/>
                    </a:lnTo>
                    <a:lnTo>
                      <a:pt x="29" y="23"/>
                    </a:lnTo>
                    <a:lnTo>
                      <a:pt x="29" y="25"/>
                    </a:lnTo>
                    <a:lnTo>
                      <a:pt x="29" y="27"/>
                    </a:lnTo>
                    <a:lnTo>
                      <a:pt x="29" y="28"/>
                    </a:lnTo>
                    <a:lnTo>
                      <a:pt x="29" y="28"/>
                    </a:lnTo>
                    <a:lnTo>
                      <a:pt x="27" y="27"/>
                    </a:lnTo>
                    <a:lnTo>
                      <a:pt x="25" y="27"/>
                    </a:lnTo>
                    <a:lnTo>
                      <a:pt x="25" y="28"/>
                    </a:lnTo>
                    <a:lnTo>
                      <a:pt x="25" y="28"/>
                    </a:lnTo>
                    <a:lnTo>
                      <a:pt x="27" y="28"/>
                    </a:lnTo>
                    <a:lnTo>
                      <a:pt x="27" y="30"/>
                    </a:lnTo>
                    <a:lnTo>
                      <a:pt x="29" y="32"/>
                    </a:lnTo>
                    <a:lnTo>
                      <a:pt x="34" y="39"/>
                    </a:lnTo>
                    <a:lnTo>
                      <a:pt x="32" y="41"/>
                    </a:lnTo>
                    <a:lnTo>
                      <a:pt x="32" y="44"/>
                    </a:lnTo>
                    <a:lnTo>
                      <a:pt x="34" y="44"/>
                    </a:lnTo>
                    <a:lnTo>
                      <a:pt x="34" y="46"/>
                    </a:lnTo>
                    <a:lnTo>
                      <a:pt x="32" y="46"/>
                    </a:lnTo>
                    <a:lnTo>
                      <a:pt x="31" y="48"/>
                    </a:lnTo>
                    <a:lnTo>
                      <a:pt x="32" y="48"/>
                    </a:lnTo>
                    <a:lnTo>
                      <a:pt x="32" y="48"/>
                    </a:lnTo>
                    <a:lnTo>
                      <a:pt x="34" y="50"/>
                    </a:lnTo>
                    <a:lnTo>
                      <a:pt x="36" y="50"/>
                    </a:lnTo>
                    <a:lnTo>
                      <a:pt x="38" y="50"/>
                    </a:lnTo>
                    <a:lnTo>
                      <a:pt x="40" y="50"/>
                    </a:lnTo>
                    <a:lnTo>
                      <a:pt x="40" y="50"/>
                    </a:lnTo>
                    <a:lnTo>
                      <a:pt x="41" y="55"/>
                    </a:lnTo>
                    <a:lnTo>
                      <a:pt x="43" y="55"/>
                    </a:lnTo>
                    <a:lnTo>
                      <a:pt x="45" y="53"/>
                    </a:lnTo>
                    <a:lnTo>
                      <a:pt x="43" y="44"/>
                    </a:lnTo>
                    <a:lnTo>
                      <a:pt x="41" y="41"/>
                    </a:lnTo>
                    <a:lnTo>
                      <a:pt x="43" y="41"/>
                    </a:lnTo>
                    <a:lnTo>
                      <a:pt x="45" y="43"/>
                    </a:lnTo>
                    <a:lnTo>
                      <a:pt x="48" y="44"/>
                    </a:lnTo>
                    <a:lnTo>
                      <a:pt x="48" y="48"/>
                    </a:lnTo>
                    <a:lnTo>
                      <a:pt x="48" y="48"/>
                    </a:lnTo>
                    <a:lnTo>
                      <a:pt x="50" y="57"/>
                    </a:lnTo>
                    <a:lnTo>
                      <a:pt x="50" y="57"/>
                    </a:lnTo>
                    <a:lnTo>
                      <a:pt x="52" y="62"/>
                    </a:lnTo>
                    <a:lnTo>
                      <a:pt x="54" y="64"/>
                    </a:lnTo>
                    <a:lnTo>
                      <a:pt x="57" y="64"/>
                    </a:lnTo>
                    <a:lnTo>
                      <a:pt x="61" y="68"/>
                    </a:lnTo>
                    <a:lnTo>
                      <a:pt x="68" y="69"/>
                    </a:lnTo>
                    <a:lnTo>
                      <a:pt x="70" y="71"/>
                    </a:lnTo>
                    <a:lnTo>
                      <a:pt x="73" y="71"/>
                    </a:lnTo>
                    <a:lnTo>
                      <a:pt x="75" y="69"/>
                    </a:lnTo>
                    <a:lnTo>
                      <a:pt x="75" y="69"/>
                    </a:lnTo>
                    <a:lnTo>
                      <a:pt x="79" y="66"/>
                    </a:lnTo>
                    <a:lnTo>
                      <a:pt x="84" y="62"/>
                    </a:lnTo>
                    <a:lnTo>
                      <a:pt x="86" y="60"/>
                    </a:lnTo>
                    <a:lnTo>
                      <a:pt x="88" y="62"/>
                    </a:lnTo>
                    <a:lnTo>
                      <a:pt x="91" y="64"/>
                    </a:lnTo>
                    <a:lnTo>
                      <a:pt x="90" y="82"/>
                    </a:lnTo>
                    <a:lnTo>
                      <a:pt x="84" y="85"/>
                    </a:lnTo>
                    <a:lnTo>
                      <a:pt x="84" y="89"/>
                    </a:lnTo>
                    <a:lnTo>
                      <a:pt x="82" y="91"/>
                    </a:lnTo>
                    <a:lnTo>
                      <a:pt x="84" y="93"/>
                    </a:lnTo>
                    <a:lnTo>
                      <a:pt x="84" y="93"/>
                    </a:lnTo>
                    <a:lnTo>
                      <a:pt x="84" y="94"/>
                    </a:lnTo>
                    <a:lnTo>
                      <a:pt x="82" y="96"/>
                    </a:lnTo>
                    <a:lnTo>
                      <a:pt x="82" y="93"/>
                    </a:lnTo>
                    <a:lnTo>
                      <a:pt x="81" y="93"/>
                    </a:lnTo>
                    <a:lnTo>
                      <a:pt x="73" y="93"/>
                    </a:lnTo>
                    <a:lnTo>
                      <a:pt x="72" y="93"/>
                    </a:lnTo>
                    <a:lnTo>
                      <a:pt x="66" y="102"/>
                    </a:lnTo>
                    <a:lnTo>
                      <a:pt x="66" y="102"/>
                    </a:lnTo>
                    <a:lnTo>
                      <a:pt x="66" y="102"/>
                    </a:lnTo>
                    <a:lnTo>
                      <a:pt x="68" y="105"/>
                    </a:lnTo>
                    <a:lnTo>
                      <a:pt x="70" y="105"/>
                    </a:lnTo>
                    <a:lnTo>
                      <a:pt x="50" y="141"/>
                    </a:lnTo>
                    <a:lnTo>
                      <a:pt x="43" y="144"/>
                    </a:lnTo>
                    <a:lnTo>
                      <a:pt x="40" y="141"/>
                    </a:lnTo>
                    <a:lnTo>
                      <a:pt x="32" y="141"/>
                    </a:lnTo>
                    <a:lnTo>
                      <a:pt x="32" y="139"/>
                    </a:lnTo>
                    <a:lnTo>
                      <a:pt x="32" y="13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16" name="Freeform 2971"/>
              <p:cNvSpPr>
                <a:spLocks/>
              </p:cNvSpPr>
              <p:nvPr/>
            </p:nvSpPr>
            <p:spPr bwMode="auto">
              <a:xfrm>
                <a:off x="4964" y="1677"/>
                <a:ext cx="48" cy="211"/>
              </a:xfrm>
              <a:custGeom>
                <a:avLst/>
                <a:gdLst>
                  <a:gd name="T0" fmla="*/ 14 w 48"/>
                  <a:gd name="T1" fmla="*/ 0 h 211"/>
                  <a:gd name="T2" fmla="*/ 16 w 48"/>
                  <a:gd name="T3" fmla="*/ 0 h 211"/>
                  <a:gd name="T4" fmla="*/ 18 w 48"/>
                  <a:gd name="T5" fmla="*/ 2 h 211"/>
                  <a:gd name="T6" fmla="*/ 26 w 48"/>
                  <a:gd name="T7" fmla="*/ 41 h 211"/>
                  <a:gd name="T8" fmla="*/ 25 w 48"/>
                  <a:gd name="T9" fmla="*/ 54 h 211"/>
                  <a:gd name="T10" fmla="*/ 23 w 48"/>
                  <a:gd name="T11" fmla="*/ 55 h 211"/>
                  <a:gd name="T12" fmla="*/ 25 w 48"/>
                  <a:gd name="T13" fmla="*/ 75 h 211"/>
                  <a:gd name="T14" fmla="*/ 26 w 48"/>
                  <a:gd name="T15" fmla="*/ 75 h 211"/>
                  <a:gd name="T16" fmla="*/ 43 w 48"/>
                  <a:gd name="T17" fmla="*/ 134 h 211"/>
                  <a:gd name="T18" fmla="*/ 48 w 48"/>
                  <a:gd name="T19" fmla="*/ 141 h 211"/>
                  <a:gd name="T20" fmla="*/ 48 w 48"/>
                  <a:gd name="T21" fmla="*/ 145 h 211"/>
                  <a:gd name="T22" fmla="*/ 43 w 48"/>
                  <a:gd name="T23" fmla="*/ 136 h 211"/>
                  <a:gd name="T24" fmla="*/ 34 w 48"/>
                  <a:gd name="T25" fmla="*/ 130 h 211"/>
                  <a:gd name="T26" fmla="*/ 30 w 48"/>
                  <a:gd name="T27" fmla="*/ 130 h 211"/>
                  <a:gd name="T28" fmla="*/ 26 w 48"/>
                  <a:gd name="T29" fmla="*/ 130 h 211"/>
                  <a:gd name="T30" fmla="*/ 23 w 48"/>
                  <a:gd name="T31" fmla="*/ 134 h 211"/>
                  <a:gd name="T32" fmla="*/ 14 w 48"/>
                  <a:gd name="T33" fmla="*/ 172 h 211"/>
                  <a:gd name="T34" fmla="*/ 21 w 48"/>
                  <a:gd name="T35" fmla="*/ 182 h 211"/>
                  <a:gd name="T36" fmla="*/ 23 w 48"/>
                  <a:gd name="T37" fmla="*/ 188 h 211"/>
                  <a:gd name="T38" fmla="*/ 26 w 48"/>
                  <a:gd name="T39" fmla="*/ 191 h 211"/>
                  <a:gd name="T40" fmla="*/ 28 w 48"/>
                  <a:gd name="T41" fmla="*/ 191 h 211"/>
                  <a:gd name="T42" fmla="*/ 28 w 48"/>
                  <a:gd name="T43" fmla="*/ 191 h 211"/>
                  <a:gd name="T44" fmla="*/ 30 w 48"/>
                  <a:gd name="T45" fmla="*/ 200 h 211"/>
                  <a:gd name="T46" fmla="*/ 30 w 48"/>
                  <a:gd name="T47" fmla="*/ 204 h 211"/>
                  <a:gd name="T48" fmla="*/ 28 w 48"/>
                  <a:gd name="T49" fmla="*/ 207 h 211"/>
                  <a:gd name="T50" fmla="*/ 26 w 48"/>
                  <a:gd name="T51" fmla="*/ 197 h 211"/>
                  <a:gd name="T52" fmla="*/ 19 w 48"/>
                  <a:gd name="T53" fmla="*/ 193 h 211"/>
                  <a:gd name="T54" fmla="*/ 16 w 48"/>
                  <a:gd name="T55" fmla="*/ 193 h 211"/>
                  <a:gd name="T56" fmla="*/ 12 w 48"/>
                  <a:gd name="T57" fmla="*/ 197 h 211"/>
                  <a:gd name="T58" fmla="*/ 9 w 48"/>
                  <a:gd name="T59" fmla="*/ 211 h 211"/>
                  <a:gd name="T60" fmla="*/ 5 w 48"/>
                  <a:gd name="T61" fmla="*/ 209 h 211"/>
                  <a:gd name="T62" fmla="*/ 7 w 48"/>
                  <a:gd name="T63" fmla="*/ 164 h 211"/>
                  <a:gd name="T64" fmla="*/ 9 w 48"/>
                  <a:gd name="T65" fmla="*/ 161 h 211"/>
                  <a:gd name="T66" fmla="*/ 3 w 48"/>
                  <a:gd name="T67" fmla="*/ 145 h 211"/>
                  <a:gd name="T68" fmla="*/ 7 w 48"/>
                  <a:gd name="T69" fmla="*/ 114 h 211"/>
                  <a:gd name="T70" fmla="*/ 9 w 48"/>
                  <a:gd name="T71" fmla="*/ 114 h 211"/>
                  <a:gd name="T72" fmla="*/ 7 w 48"/>
                  <a:gd name="T73" fmla="*/ 113 h 211"/>
                  <a:gd name="T74" fmla="*/ 7 w 48"/>
                  <a:gd name="T75" fmla="*/ 105 h 211"/>
                  <a:gd name="T76" fmla="*/ 7 w 48"/>
                  <a:gd name="T77" fmla="*/ 102 h 211"/>
                  <a:gd name="T78" fmla="*/ 9 w 48"/>
                  <a:gd name="T79" fmla="*/ 82 h 211"/>
                  <a:gd name="T80" fmla="*/ 5 w 48"/>
                  <a:gd name="T81" fmla="*/ 77 h 211"/>
                  <a:gd name="T82" fmla="*/ 0 w 48"/>
                  <a:gd name="T83" fmla="*/ 72 h 211"/>
                  <a:gd name="T84" fmla="*/ 1 w 48"/>
                  <a:gd name="T85" fmla="*/ 70 h 211"/>
                  <a:gd name="T86" fmla="*/ 0 w 48"/>
                  <a:gd name="T87" fmla="*/ 55 h 211"/>
                  <a:gd name="T88" fmla="*/ 3 w 48"/>
                  <a:gd name="T89" fmla="*/ 36 h 211"/>
                  <a:gd name="T90" fmla="*/ 1 w 48"/>
                  <a:gd name="T91" fmla="*/ 29 h 211"/>
                  <a:gd name="T92" fmla="*/ 3 w 48"/>
                  <a:gd name="T93" fmla="*/ 25 h 211"/>
                  <a:gd name="T94" fmla="*/ 7 w 48"/>
                  <a:gd name="T95" fmla="*/ 23 h 211"/>
                  <a:gd name="T96" fmla="*/ 9 w 48"/>
                  <a:gd name="T97" fmla="*/ 23 h 211"/>
                  <a:gd name="T98" fmla="*/ 10 w 48"/>
                  <a:gd name="T99" fmla="*/ 25 h 211"/>
                  <a:gd name="T100" fmla="*/ 14 w 48"/>
                  <a:gd name="T101" fmla="*/ 25 h 211"/>
                  <a:gd name="T102" fmla="*/ 14 w 48"/>
                  <a:gd name="T103" fmla="*/ 23 h 211"/>
                  <a:gd name="T104" fmla="*/ 14 w 48"/>
                  <a:gd name="T105" fmla="*/ 22 h 211"/>
                  <a:gd name="T106" fmla="*/ 14 w 48"/>
                  <a:gd name="T107" fmla="*/ 20 h 211"/>
                  <a:gd name="T108" fmla="*/ 16 w 48"/>
                  <a:gd name="T109" fmla="*/ 20 h 211"/>
                  <a:gd name="T110" fmla="*/ 16 w 48"/>
                  <a:gd name="T111" fmla="*/ 18 h 211"/>
                  <a:gd name="T112" fmla="*/ 10 w 48"/>
                  <a:gd name="T113" fmla="*/ 2 h 211"/>
                  <a:gd name="T114" fmla="*/ 10 w 48"/>
                  <a:gd name="T115" fmla="*/ 2 h 211"/>
                  <a:gd name="T116" fmla="*/ 12 w 48"/>
                  <a:gd name="T117" fmla="*/ 2 h 211"/>
                  <a:gd name="T118" fmla="*/ 14 w 48"/>
                  <a:gd name="T1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 h="211">
                    <a:moveTo>
                      <a:pt x="14" y="0"/>
                    </a:moveTo>
                    <a:lnTo>
                      <a:pt x="16" y="0"/>
                    </a:lnTo>
                    <a:lnTo>
                      <a:pt x="18" y="2"/>
                    </a:lnTo>
                    <a:lnTo>
                      <a:pt x="26" y="41"/>
                    </a:lnTo>
                    <a:lnTo>
                      <a:pt x="25" y="54"/>
                    </a:lnTo>
                    <a:lnTo>
                      <a:pt x="23" y="55"/>
                    </a:lnTo>
                    <a:lnTo>
                      <a:pt x="25" y="75"/>
                    </a:lnTo>
                    <a:lnTo>
                      <a:pt x="26" y="75"/>
                    </a:lnTo>
                    <a:lnTo>
                      <a:pt x="43" y="134"/>
                    </a:lnTo>
                    <a:lnTo>
                      <a:pt x="48" y="141"/>
                    </a:lnTo>
                    <a:lnTo>
                      <a:pt x="48" y="145"/>
                    </a:lnTo>
                    <a:lnTo>
                      <a:pt x="43" y="136"/>
                    </a:lnTo>
                    <a:lnTo>
                      <a:pt x="34" y="130"/>
                    </a:lnTo>
                    <a:lnTo>
                      <a:pt x="30" y="130"/>
                    </a:lnTo>
                    <a:lnTo>
                      <a:pt x="26" y="130"/>
                    </a:lnTo>
                    <a:lnTo>
                      <a:pt x="23" y="134"/>
                    </a:lnTo>
                    <a:lnTo>
                      <a:pt x="14" y="172"/>
                    </a:lnTo>
                    <a:lnTo>
                      <a:pt x="21" y="182"/>
                    </a:lnTo>
                    <a:lnTo>
                      <a:pt x="23" y="188"/>
                    </a:lnTo>
                    <a:lnTo>
                      <a:pt x="26" y="191"/>
                    </a:lnTo>
                    <a:lnTo>
                      <a:pt x="28" y="191"/>
                    </a:lnTo>
                    <a:lnTo>
                      <a:pt x="28" y="191"/>
                    </a:lnTo>
                    <a:lnTo>
                      <a:pt x="30" y="200"/>
                    </a:lnTo>
                    <a:lnTo>
                      <a:pt x="30" y="204"/>
                    </a:lnTo>
                    <a:lnTo>
                      <a:pt x="28" y="207"/>
                    </a:lnTo>
                    <a:lnTo>
                      <a:pt x="26" y="197"/>
                    </a:lnTo>
                    <a:lnTo>
                      <a:pt x="19" y="193"/>
                    </a:lnTo>
                    <a:lnTo>
                      <a:pt x="16" y="193"/>
                    </a:lnTo>
                    <a:lnTo>
                      <a:pt x="12" y="197"/>
                    </a:lnTo>
                    <a:lnTo>
                      <a:pt x="9" y="211"/>
                    </a:lnTo>
                    <a:lnTo>
                      <a:pt x="5" y="209"/>
                    </a:lnTo>
                    <a:lnTo>
                      <a:pt x="7" y="164"/>
                    </a:lnTo>
                    <a:lnTo>
                      <a:pt x="9" y="161"/>
                    </a:lnTo>
                    <a:lnTo>
                      <a:pt x="3" y="145"/>
                    </a:lnTo>
                    <a:lnTo>
                      <a:pt x="7" y="114"/>
                    </a:lnTo>
                    <a:lnTo>
                      <a:pt x="9" y="114"/>
                    </a:lnTo>
                    <a:lnTo>
                      <a:pt x="7" y="113"/>
                    </a:lnTo>
                    <a:lnTo>
                      <a:pt x="7" y="105"/>
                    </a:lnTo>
                    <a:lnTo>
                      <a:pt x="7" y="102"/>
                    </a:lnTo>
                    <a:lnTo>
                      <a:pt x="9" y="82"/>
                    </a:lnTo>
                    <a:lnTo>
                      <a:pt x="5" y="77"/>
                    </a:lnTo>
                    <a:lnTo>
                      <a:pt x="0" y="72"/>
                    </a:lnTo>
                    <a:lnTo>
                      <a:pt x="1" y="70"/>
                    </a:lnTo>
                    <a:lnTo>
                      <a:pt x="0" y="55"/>
                    </a:lnTo>
                    <a:lnTo>
                      <a:pt x="3" y="36"/>
                    </a:lnTo>
                    <a:lnTo>
                      <a:pt x="1" y="29"/>
                    </a:lnTo>
                    <a:lnTo>
                      <a:pt x="3" y="25"/>
                    </a:lnTo>
                    <a:lnTo>
                      <a:pt x="7" y="23"/>
                    </a:lnTo>
                    <a:lnTo>
                      <a:pt x="9" y="23"/>
                    </a:lnTo>
                    <a:lnTo>
                      <a:pt x="10" y="25"/>
                    </a:lnTo>
                    <a:lnTo>
                      <a:pt x="14" y="25"/>
                    </a:lnTo>
                    <a:lnTo>
                      <a:pt x="14" y="23"/>
                    </a:lnTo>
                    <a:lnTo>
                      <a:pt x="14" y="22"/>
                    </a:lnTo>
                    <a:lnTo>
                      <a:pt x="14" y="20"/>
                    </a:lnTo>
                    <a:lnTo>
                      <a:pt x="16" y="20"/>
                    </a:lnTo>
                    <a:lnTo>
                      <a:pt x="16" y="18"/>
                    </a:lnTo>
                    <a:lnTo>
                      <a:pt x="10" y="2"/>
                    </a:lnTo>
                    <a:lnTo>
                      <a:pt x="10" y="2"/>
                    </a:lnTo>
                    <a:lnTo>
                      <a:pt x="12" y="2"/>
                    </a:lnTo>
                    <a:lnTo>
                      <a:pt x="1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17" name="Freeform 2972"/>
              <p:cNvSpPr>
                <a:spLocks/>
              </p:cNvSpPr>
              <p:nvPr/>
            </p:nvSpPr>
            <p:spPr bwMode="auto">
              <a:xfrm>
                <a:off x="4964" y="1677"/>
                <a:ext cx="48" cy="211"/>
              </a:xfrm>
              <a:custGeom>
                <a:avLst/>
                <a:gdLst>
                  <a:gd name="T0" fmla="*/ 14 w 48"/>
                  <a:gd name="T1" fmla="*/ 0 h 211"/>
                  <a:gd name="T2" fmla="*/ 16 w 48"/>
                  <a:gd name="T3" fmla="*/ 0 h 211"/>
                  <a:gd name="T4" fmla="*/ 18 w 48"/>
                  <a:gd name="T5" fmla="*/ 2 h 211"/>
                  <a:gd name="T6" fmla="*/ 26 w 48"/>
                  <a:gd name="T7" fmla="*/ 41 h 211"/>
                  <a:gd name="T8" fmla="*/ 25 w 48"/>
                  <a:gd name="T9" fmla="*/ 54 h 211"/>
                  <a:gd name="T10" fmla="*/ 23 w 48"/>
                  <a:gd name="T11" fmla="*/ 55 h 211"/>
                  <a:gd name="T12" fmla="*/ 25 w 48"/>
                  <a:gd name="T13" fmla="*/ 75 h 211"/>
                  <a:gd name="T14" fmla="*/ 26 w 48"/>
                  <a:gd name="T15" fmla="*/ 75 h 211"/>
                  <a:gd name="T16" fmla="*/ 43 w 48"/>
                  <a:gd name="T17" fmla="*/ 134 h 211"/>
                  <a:gd name="T18" fmla="*/ 48 w 48"/>
                  <a:gd name="T19" fmla="*/ 141 h 211"/>
                  <a:gd name="T20" fmla="*/ 48 w 48"/>
                  <a:gd name="T21" fmla="*/ 145 h 211"/>
                  <a:gd name="T22" fmla="*/ 43 w 48"/>
                  <a:gd name="T23" fmla="*/ 136 h 211"/>
                  <a:gd name="T24" fmla="*/ 34 w 48"/>
                  <a:gd name="T25" fmla="*/ 130 h 211"/>
                  <a:gd name="T26" fmla="*/ 30 w 48"/>
                  <a:gd name="T27" fmla="*/ 130 h 211"/>
                  <a:gd name="T28" fmla="*/ 26 w 48"/>
                  <a:gd name="T29" fmla="*/ 130 h 211"/>
                  <a:gd name="T30" fmla="*/ 23 w 48"/>
                  <a:gd name="T31" fmla="*/ 134 h 211"/>
                  <a:gd name="T32" fmla="*/ 14 w 48"/>
                  <a:gd name="T33" fmla="*/ 172 h 211"/>
                  <a:gd name="T34" fmla="*/ 21 w 48"/>
                  <a:gd name="T35" fmla="*/ 182 h 211"/>
                  <a:gd name="T36" fmla="*/ 23 w 48"/>
                  <a:gd name="T37" fmla="*/ 188 h 211"/>
                  <a:gd name="T38" fmla="*/ 26 w 48"/>
                  <a:gd name="T39" fmla="*/ 191 h 211"/>
                  <a:gd name="T40" fmla="*/ 28 w 48"/>
                  <a:gd name="T41" fmla="*/ 191 h 211"/>
                  <a:gd name="T42" fmla="*/ 28 w 48"/>
                  <a:gd name="T43" fmla="*/ 191 h 211"/>
                  <a:gd name="T44" fmla="*/ 30 w 48"/>
                  <a:gd name="T45" fmla="*/ 200 h 211"/>
                  <a:gd name="T46" fmla="*/ 30 w 48"/>
                  <a:gd name="T47" fmla="*/ 204 h 211"/>
                  <a:gd name="T48" fmla="*/ 28 w 48"/>
                  <a:gd name="T49" fmla="*/ 207 h 211"/>
                  <a:gd name="T50" fmla="*/ 26 w 48"/>
                  <a:gd name="T51" fmla="*/ 197 h 211"/>
                  <a:gd name="T52" fmla="*/ 19 w 48"/>
                  <a:gd name="T53" fmla="*/ 193 h 211"/>
                  <a:gd name="T54" fmla="*/ 16 w 48"/>
                  <a:gd name="T55" fmla="*/ 193 h 211"/>
                  <a:gd name="T56" fmla="*/ 12 w 48"/>
                  <a:gd name="T57" fmla="*/ 197 h 211"/>
                  <a:gd name="T58" fmla="*/ 9 w 48"/>
                  <a:gd name="T59" fmla="*/ 211 h 211"/>
                  <a:gd name="T60" fmla="*/ 5 w 48"/>
                  <a:gd name="T61" fmla="*/ 209 h 211"/>
                  <a:gd name="T62" fmla="*/ 7 w 48"/>
                  <a:gd name="T63" fmla="*/ 164 h 211"/>
                  <a:gd name="T64" fmla="*/ 9 w 48"/>
                  <a:gd name="T65" fmla="*/ 161 h 211"/>
                  <a:gd name="T66" fmla="*/ 3 w 48"/>
                  <a:gd name="T67" fmla="*/ 145 h 211"/>
                  <a:gd name="T68" fmla="*/ 7 w 48"/>
                  <a:gd name="T69" fmla="*/ 114 h 211"/>
                  <a:gd name="T70" fmla="*/ 9 w 48"/>
                  <a:gd name="T71" fmla="*/ 114 h 211"/>
                  <a:gd name="T72" fmla="*/ 7 w 48"/>
                  <a:gd name="T73" fmla="*/ 113 h 211"/>
                  <a:gd name="T74" fmla="*/ 7 w 48"/>
                  <a:gd name="T75" fmla="*/ 105 h 211"/>
                  <a:gd name="T76" fmla="*/ 7 w 48"/>
                  <a:gd name="T77" fmla="*/ 102 h 211"/>
                  <a:gd name="T78" fmla="*/ 9 w 48"/>
                  <a:gd name="T79" fmla="*/ 82 h 211"/>
                  <a:gd name="T80" fmla="*/ 5 w 48"/>
                  <a:gd name="T81" fmla="*/ 77 h 211"/>
                  <a:gd name="T82" fmla="*/ 0 w 48"/>
                  <a:gd name="T83" fmla="*/ 72 h 211"/>
                  <a:gd name="T84" fmla="*/ 1 w 48"/>
                  <a:gd name="T85" fmla="*/ 70 h 211"/>
                  <a:gd name="T86" fmla="*/ 0 w 48"/>
                  <a:gd name="T87" fmla="*/ 55 h 211"/>
                  <a:gd name="T88" fmla="*/ 3 w 48"/>
                  <a:gd name="T89" fmla="*/ 36 h 211"/>
                  <a:gd name="T90" fmla="*/ 1 w 48"/>
                  <a:gd name="T91" fmla="*/ 29 h 211"/>
                  <a:gd name="T92" fmla="*/ 3 w 48"/>
                  <a:gd name="T93" fmla="*/ 25 h 211"/>
                  <a:gd name="T94" fmla="*/ 7 w 48"/>
                  <a:gd name="T95" fmla="*/ 23 h 211"/>
                  <a:gd name="T96" fmla="*/ 9 w 48"/>
                  <a:gd name="T97" fmla="*/ 23 h 211"/>
                  <a:gd name="T98" fmla="*/ 10 w 48"/>
                  <a:gd name="T99" fmla="*/ 25 h 211"/>
                  <a:gd name="T100" fmla="*/ 14 w 48"/>
                  <a:gd name="T101" fmla="*/ 25 h 211"/>
                  <a:gd name="T102" fmla="*/ 14 w 48"/>
                  <a:gd name="T103" fmla="*/ 23 h 211"/>
                  <a:gd name="T104" fmla="*/ 14 w 48"/>
                  <a:gd name="T105" fmla="*/ 22 h 211"/>
                  <a:gd name="T106" fmla="*/ 14 w 48"/>
                  <a:gd name="T107" fmla="*/ 20 h 211"/>
                  <a:gd name="T108" fmla="*/ 16 w 48"/>
                  <a:gd name="T109" fmla="*/ 20 h 211"/>
                  <a:gd name="T110" fmla="*/ 16 w 48"/>
                  <a:gd name="T111" fmla="*/ 18 h 211"/>
                  <a:gd name="T112" fmla="*/ 10 w 48"/>
                  <a:gd name="T113" fmla="*/ 2 h 211"/>
                  <a:gd name="T114" fmla="*/ 10 w 48"/>
                  <a:gd name="T115" fmla="*/ 2 h 211"/>
                  <a:gd name="T116" fmla="*/ 12 w 48"/>
                  <a:gd name="T117" fmla="*/ 2 h 211"/>
                  <a:gd name="T118" fmla="*/ 14 w 48"/>
                  <a:gd name="T119"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8" h="211">
                    <a:moveTo>
                      <a:pt x="14" y="0"/>
                    </a:moveTo>
                    <a:lnTo>
                      <a:pt x="16" y="0"/>
                    </a:lnTo>
                    <a:lnTo>
                      <a:pt x="18" y="2"/>
                    </a:lnTo>
                    <a:lnTo>
                      <a:pt x="26" y="41"/>
                    </a:lnTo>
                    <a:lnTo>
                      <a:pt x="25" y="54"/>
                    </a:lnTo>
                    <a:lnTo>
                      <a:pt x="23" y="55"/>
                    </a:lnTo>
                    <a:lnTo>
                      <a:pt x="25" y="75"/>
                    </a:lnTo>
                    <a:lnTo>
                      <a:pt x="26" y="75"/>
                    </a:lnTo>
                    <a:lnTo>
                      <a:pt x="43" y="134"/>
                    </a:lnTo>
                    <a:lnTo>
                      <a:pt x="48" y="141"/>
                    </a:lnTo>
                    <a:lnTo>
                      <a:pt x="48" y="145"/>
                    </a:lnTo>
                    <a:lnTo>
                      <a:pt x="43" y="136"/>
                    </a:lnTo>
                    <a:lnTo>
                      <a:pt x="34" y="130"/>
                    </a:lnTo>
                    <a:lnTo>
                      <a:pt x="30" y="130"/>
                    </a:lnTo>
                    <a:lnTo>
                      <a:pt x="26" y="130"/>
                    </a:lnTo>
                    <a:lnTo>
                      <a:pt x="23" y="134"/>
                    </a:lnTo>
                    <a:lnTo>
                      <a:pt x="14" y="172"/>
                    </a:lnTo>
                    <a:lnTo>
                      <a:pt x="21" y="182"/>
                    </a:lnTo>
                    <a:lnTo>
                      <a:pt x="23" y="188"/>
                    </a:lnTo>
                    <a:lnTo>
                      <a:pt x="26" y="191"/>
                    </a:lnTo>
                    <a:lnTo>
                      <a:pt x="28" y="191"/>
                    </a:lnTo>
                    <a:lnTo>
                      <a:pt x="28" y="191"/>
                    </a:lnTo>
                    <a:lnTo>
                      <a:pt x="30" y="200"/>
                    </a:lnTo>
                    <a:lnTo>
                      <a:pt x="30" y="204"/>
                    </a:lnTo>
                    <a:lnTo>
                      <a:pt x="28" y="207"/>
                    </a:lnTo>
                    <a:lnTo>
                      <a:pt x="26" y="197"/>
                    </a:lnTo>
                    <a:lnTo>
                      <a:pt x="19" y="193"/>
                    </a:lnTo>
                    <a:lnTo>
                      <a:pt x="16" y="193"/>
                    </a:lnTo>
                    <a:lnTo>
                      <a:pt x="12" y="197"/>
                    </a:lnTo>
                    <a:lnTo>
                      <a:pt x="9" y="211"/>
                    </a:lnTo>
                    <a:lnTo>
                      <a:pt x="5" y="209"/>
                    </a:lnTo>
                    <a:lnTo>
                      <a:pt x="7" y="164"/>
                    </a:lnTo>
                    <a:lnTo>
                      <a:pt x="9" y="161"/>
                    </a:lnTo>
                    <a:lnTo>
                      <a:pt x="3" y="145"/>
                    </a:lnTo>
                    <a:lnTo>
                      <a:pt x="7" y="114"/>
                    </a:lnTo>
                    <a:lnTo>
                      <a:pt x="9" y="114"/>
                    </a:lnTo>
                    <a:lnTo>
                      <a:pt x="7" y="113"/>
                    </a:lnTo>
                    <a:lnTo>
                      <a:pt x="7" y="105"/>
                    </a:lnTo>
                    <a:lnTo>
                      <a:pt x="7" y="102"/>
                    </a:lnTo>
                    <a:lnTo>
                      <a:pt x="9" y="82"/>
                    </a:lnTo>
                    <a:lnTo>
                      <a:pt x="5" y="77"/>
                    </a:lnTo>
                    <a:lnTo>
                      <a:pt x="0" y="72"/>
                    </a:lnTo>
                    <a:lnTo>
                      <a:pt x="1" y="70"/>
                    </a:lnTo>
                    <a:lnTo>
                      <a:pt x="0" y="55"/>
                    </a:lnTo>
                    <a:lnTo>
                      <a:pt x="3" y="36"/>
                    </a:lnTo>
                    <a:lnTo>
                      <a:pt x="1" y="29"/>
                    </a:lnTo>
                    <a:lnTo>
                      <a:pt x="3" y="25"/>
                    </a:lnTo>
                    <a:lnTo>
                      <a:pt x="7" y="23"/>
                    </a:lnTo>
                    <a:lnTo>
                      <a:pt x="9" y="23"/>
                    </a:lnTo>
                    <a:lnTo>
                      <a:pt x="10" y="25"/>
                    </a:lnTo>
                    <a:lnTo>
                      <a:pt x="14" y="25"/>
                    </a:lnTo>
                    <a:lnTo>
                      <a:pt x="14" y="23"/>
                    </a:lnTo>
                    <a:lnTo>
                      <a:pt x="14" y="22"/>
                    </a:lnTo>
                    <a:lnTo>
                      <a:pt x="14" y="20"/>
                    </a:lnTo>
                    <a:lnTo>
                      <a:pt x="16" y="20"/>
                    </a:lnTo>
                    <a:lnTo>
                      <a:pt x="16" y="18"/>
                    </a:lnTo>
                    <a:lnTo>
                      <a:pt x="10" y="2"/>
                    </a:lnTo>
                    <a:lnTo>
                      <a:pt x="10" y="2"/>
                    </a:lnTo>
                    <a:lnTo>
                      <a:pt x="12" y="2"/>
                    </a:lnTo>
                    <a:lnTo>
                      <a:pt x="1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18" name="Freeform 2973"/>
              <p:cNvSpPr>
                <a:spLocks/>
              </p:cNvSpPr>
              <p:nvPr/>
            </p:nvSpPr>
            <p:spPr bwMode="auto">
              <a:xfrm>
                <a:off x="5182" y="1774"/>
                <a:ext cx="14" cy="16"/>
              </a:xfrm>
              <a:custGeom>
                <a:avLst/>
                <a:gdLst>
                  <a:gd name="T0" fmla="*/ 12 w 14"/>
                  <a:gd name="T1" fmla="*/ 0 h 16"/>
                  <a:gd name="T2" fmla="*/ 5 w 14"/>
                  <a:gd name="T3" fmla="*/ 8 h 16"/>
                  <a:gd name="T4" fmla="*/ 3 w 14"/>
                  <a:gd name="T5" fmla="*/ 8 h 16"/>
                  <a:gd name="T6" fmla="*/ 1 w 14"/>
                  <a:gd name="T7" fmla="*/ 10 h 16"/>
                  <a:gd name="T8" fmla="*/ 0 w 14"/>
                  <a:gd name="T9" fmla="*/ 10 h 16"/>
                  <a:gd name="T10" fmla="*/ 0 w 14"/>
                  <a:gd name="T11" fmla="*/ 12 h 16"/>
                  <a:gd name="T12" fmla="*/ 0 w 14"/>
                  <a:gd name="T13" fmla="*/ 16 h 16"/>
                  <a:gd name="T14" fmla="*/ 0 w 14"/>
                  <a:gd name="T15" fmla="*/ 16 h 16"/>
                  <a:gd name="T16" fmla="*/ 5 w 14"/>
                  <a:gd name="T17" fmla="*/ 12 h 16"/>
                  <a:gd name="T18" fmla="*/ 8 w 14"/>
                  <a:gd name="T19" fmla="*/ 12 h 16"/>
                  <a:gd name="T20" fmla="*/ 14 w 14"/>
                  <a:gd name="T21" fmla="*/ 5 h 16"/>
                  <a:gd name="T22" fmla="*/ 14 w 14"/>
                  <a:gd name="T23" fmla="*/ 1 h 16"/>
                  <a:gd name="T24" fmla="*/ 12 w 14"/>
                  <a:gd name="T25" fmla="*/ 0 h 16"/>
                  <a:gd name="T26" fmla="*/ 12 w 14"/>
                  <a:gd name="T2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6">
                    <a:moveTo>
                      <a:pt x="12" y="0"/>
                    </a:moveTo>
                    <a:lnTo>
                      <a:pt x="5" y="8"/>
                    </a:lnTo>
                    <a:lnTo>
                      <a:pt x="3" y="8"/>
                    </a:lnTo>
                    <a:lnTo>
                      <a:pt x="1" y="10"/>
                    </a:lnTo>
                    <a:lnTo>
                      <a:pt x="0" y="10"/>
                    </a:lnTo>
                    <a:lnTo>
                      <a:pt x="0" y="12"/>
                    </a:lnTo>
                    <a:lnTo>
                      <a:pt x="0" y="16"/>
                    </a:lnTo>
                    <a:lnTo>
                      <a:pt x="0" y="16"/>
                    </a:lnTo>
                    <a:lnTo>
                      <a:pt x="5" y="12"/>
                    </a:lnTo>
                    <a:lnTo>
                      <a:pt x="8" y="12"/>
                    </a:lnTo>
                    <a:lnTo>
                      <a:pt x="14" y="5"/>
                    </a:lnTo>
                    <a:lnTo>
                      <a:pt x="14" y="1"/>
                    </a:lnTo>
                    <a:lnTo>
                      <a:pt x="12" y="0"/>
                    </a:lnTo>
                    <a:lnTo>
                      <a:pt x="1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19" name="Freeform 2974"/>
              <p:cNvSpPr>
                <a:spLocks/>
              </p:cNvSpPr>
              <p:nvPr/>
            </p:nvSpPr>
            <p:spPr bwMode="auto">
              <a:xfrm>
                <a:off x="5182" y="1774"/>
                <a:ext cx="14" cy="16"/>
              </a:xfrm>
              <a:custGeom>
                <a:avLst/>
                <a:gdLst>
                  <a:gd name="T0" fmla="*/ 12 w 14"/>
                  <a:gd name="T1" fmla="*/ 0 h 16"/>
                  <a:gd name="T2" fmla="*/ 5 w 14"/>
                  <a:gd name="T3" fmla="*/ 8 h 16"/>
                  <a:gd name="T4" fmla="*/ 3 w 14"/>
                  <a:gd name="T5" fmla="*/ 8 h 16"/>
                  <a:gd name="T6" fmla="*/ 1 w 14"/>
                  <a:gd name="T7" fmla="*/ 10 h 16"/>
                  <a:gd name="T8" fmla="*/ 0 w 14"/>
                  <a:gd name="T9" fmla="*/ 10 h 16"/>
                  <a:gd name="T10" fmla="*/ 0 w 14"/>
                  <a:gd name="T11" fmla="*/ 12 h 16"/>
                  <a:gd name="T12" fmla="*/ 0 w 14"/>
                  <a:gd name="T13" fmla="*/ 16 h 16"/>
                  <a:gd name="T14" fmla="*/ 0 w 14"/>
                  <a:gd name="T15" fmla="*/ 16 h 16"/>
                  <a:gd name="T16" fmla="*/ 5 w 14"/>
                  <a:gd name="T17" fmla="*/ 12 h 16"/>
                  <a:gd name="T18" fmla="*/ 8 w 14"/>
                  <a:gd name="T19" fmla="*/ 12 h 16"/>
                  <a:gd name="T20" fmla="*/ 14 w 14"/>
                  <a:gd name="T21" fmla="*/ 5 h 16"/>
                  <a:gd name="T22" fmla="*/ 14 w 14"/>
                  <a:gd name="T23" fmla="*/ 1 h 16"/>
                  <a:gd name="T24" fmla="*/ 12 w 14"/>
                  <a:gd name="T25" fmla="*/ 0 h 16"/>
                  <a:gd name="T26" fmla="*/ 12 w 14"/>
                  <a:gd name="T2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6">
                    <a:moveTo>
                      <a:pt x="12" y="0"/>
                    </a:moveTo>
                    <a:lnTo>
                      <a:pt x="5" y="8"/>
                    </a:lnTo>
                    <a:lnTo>
                      <a:pt x="3" y="8"/>
                    </a:lnTo>
                    <a:lnTo>
                      <a:pt x="1" y="10"/>
                    </a:lnTo>
                    <a:lnTo>
                      <a:pt x="0" y="10"/>
                    </a:lnTo>
                    <a:lnTo>
                      <a:pt x="0" y="12"/>
                    </a:lnTo>
                    <a:lnTo>
                      <a:pt x="0" y="16"/>
                    </a:lnTo>
                    <a:lnTo>
                      <a:pt x="0" y="16"/>
                    </a:lnTo>
                    <a:lnTo>
                      <a:pt x="5" y="12"/>
                    </a:lnTo>
                    <a:lnTo>
                      <a:pt x="8" y="12"/>
                    </a:lnTo>
                    <a:lnTo>
                      <a:pt x="14" y="5"/>
                    </a:lnTo>
                    <a:lnTo>
                      <a:pt x="14" y="1"/>
                    </a:lnTo>
                    <a:lnTo>
                      <a:pt x="12" y="0"/>
                    </a:lnTo>
                    <a:lnTo>
                      <a:pt x="1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20" name="Freeform 2975"/>
              <p:cNvSpPr>
                <a:spLocks/>
              </p:cNvSpPr>
              <p:nvPr/>
            </p:nvSpPr>
            <p:spPr bwMode="auto">
              <a:xfrm>
                <a:off x="5169" y="1800"/>
                <a:ext cx="4" cy="7"/>
              </a:xfrm>
              <a:custGeom>
                <a:avLst/>
                <a:gdLst>
                  <a:gd name="T0" fmla="*/ 4 w 4"/>
                  <a:gd name="T1" fmla="*/ 0 h 7"/>
                  <a:gd name="T2" fmla="*/ 0 w 4"/>
                  <a:gd name="T3" fmla="*/ 7 h 7"/>
                  <a:gd name="T4" fmla="*/ 4 w 4"/>
                  <a:gd name="T5" fmla="*/ 7 h 7"/>
                  <a:gd name="T6" fmla="*/ 4 w 4"/>
                  <a:gd name="T7" fmla="*/ 0 h 7"/>
                </a:gdLst>
                <a:ahLst/>
                <a:cxnLst>
                  <a:cxn ang="0">
                    <a:pos x="T0" y="T1"/>
                  </a:cxn>
                  <a:cxn ang="0">
                    <a:pos x="T2" y="T3"/>
                  </a:cxn>
                  <a:cxn ang="0">
                    <a:pos x="T4" y="T5"/>
                  </a:cxn>
                  <a:cxn ang="0">
                    <a:pos x="T6" y="T7"/>
                  </a:cxn>
                </a:cxnLst>
                <a:rect l="0" t="0" r="r" b="b"/>
                <a:pathLst>
                  <a:path w="4" h="7">
                    <a:moveTo>
                      <a:pt x="4" y="0"/>
                    </a:moveTo>
                    <a:lnTo>
                      <a:pt x="0" y="7"/>
                    </a:lnTo>
                    <a:lnTo>
                      <a:pt x="4" y="7"/>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21" name="Freeform 2976"/>
              <p:cNvSpPr>
                <a:spLocks/>
              </p:cNvSpPr>
              <p:nvPr/>
            </p:nvSpPr>
            <p:spPr bwMode="auto">
              <a:xfrm>
                <a:off x="5169" y="1800"/>
                <a:ext cx="4" cy="7"/>
              </a:xfrm>
              <a:custGeom>
                <a:avLst/>
                <a:gdLst>
                  <a:gd name="T0" fmla="*/ 4 w 4"/>
                  <a:gd name="T1" fmla="*/ 0 h 7"/>
                  <a:gd name="T2" fmla="*/ 0 w 4"/>
                  <a:gd name="T3" fmla="*/ 7 h 7"/>
                  <a:gd name="T4" fmla="*/ 4 w 4"/>
                  <a:gd name="T5" fmla="*/ 7 h 7"/>
                  <a:gd name="T6" fmla="*/ 4 w 4"/>
                  <a:gd name="T7" fmla="*/ 0 h 7"/>
                </a:gdLst>
                <a:ahLst/>
                <a:cxnLst>
                  <a:cxn ang="0">
                    <a:pos x="T0" y="T1"/>
                  </a:cxn>
                  <a:cxn ang="0">
                    <a:pos x="T2" y="T3"/>
                  </a:cxn>
                  <a:cxn ang="0">
                    <a:pos x="T4" y="T5"/>
                  </a:cxn>
                  <a:cxn ang="0">
                    <a:pos x="T6" y="T7"/>
                  </a:cxn>
                </a:cxnLst>
                <a:rect l="0" t="0" r="r" b="b"/>
                <a:pathLst>
                  <a:path w="4" h="7">
                    <a:moveTo>
                      <a:pt x="4" y="0"/>
                    </a:moveTo>
                    <a:lnTo>
                      <a:pt x="0" y="7"/>
                    </a:lnTo>
                    <a:lnTo>
                      <a:pt x="4" y="7"/>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22" name="Freeform 2977"/>
              <p:cNvSpPr>
                <a:spLocks/>
              </p:cNvSpPr>
              <p:nvPr/>
            </p:nvSpPr>
            <p:spPr bwMode="auto">
              <a:xfrm>
                <a:off x="5162" y="1818"/>
                <a:ext cx="2" cy="4"/>
              </a:xfrm>
              <a:custGeom>
                <a:avLst/>
                <a:gdLst>
                  <a:gd name="T0" fmla="*/ 2 w 2"/>
                  <a:gd name="T1" fmla="*/ 0 h 4"/>
                  <a:gd name="T2" fmla="*/ 0 w 2"/>
                  <a:gd name="T3" fmla="*/ 4 h 4"/>
                  <a:gd name="T4" fmla="*/ 2 w 2"/>
                  <a:gd name="T5" fmla="*/ 2 h 4"/>
                  <a:gd name="T6" fmla="*/ 2 w 2"/>
                  <a:gd name="T7" fmla="*/ 0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4"/>
                    </a:lnTo>
                    <a:lnTo>
                      <a:pt x="2" y="2"/>
                    </a:lnTo>
                    <a:lnTo>
                      <a:pt x="2"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23" name="Freeform 2978"/>
              <p:cNvSpPr>
                <a:spLocks/>
              </p:cNvSpPr>
              <p:nvPr/>
            </p:nvSpPr>
            <p:spPr bwMode="auto">
              <a:xfrm>
                <a:off x="5162" y="1818"/>
                <a:ext cx="2" cy="4"/>
              </a:xfrm>
              <a:custGeom>
                <a:avLst/>
                <a:gdLst>
                  <a:gd name="T0" fmla="*/ 2 w 2"/>
                  <a:gd name="T1" fmla="*/ 0 h 4"/>
                  <a:gd name="T2" fmla="*/ 0 w 2"/>
                  <a:gd name="T3" fmla="*/ 4 h 4"/>
                  <a:gd name="T4" fmla="*/ 2 w 2"/>
                  <a:gd name="T5" fmla="*/ 2 h 4"/>
                  <a:gd name="T6" fmla="*/ 2 w 2"/>
                  <a:gd name="T7" fmla="*/ 0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0" y="4"/>
                    </a:lnTo>
                    <a:lnTo>
                      <a:pt x="2" y="2"/>
                    </a:lnTo>
                    <a:lnTo>
                      <a:pt x="2"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24" name="Freeform 2979"/>
              <p:cNvSpPr>
                <a:spLocks/>
              </p:cNvSpPr>
              <p:nvPr/>
            </p:nvSpPr>
            <p:spPr bwMode="auto">
              <a:xfrm>
                <a:off x="5124" y="1859"/>
                <a:ext cx="9" cy="9"/>
              </a:xfrm>
              <a:custGeom>
                <a:avLst/>
                <a:gdLst>
                  <a:gd name="T0" fmla="*/ 9 w 9"/>
                  <a:gd name="T1" fmla="*/ 0 h 9"/>
                  <a:gd name="T2" fmla="*/ 9 w 9"/>
                  <a:gd name="T3" fmla="*/ 4 h 9"/>
                  <a:gd name="T4" fmla="*/ 2 w 9"/>
                  <a:gd name="T5" fmla="*/ 9 h 9"/>
                  <a:gd name="T6" fmla="*/ 0 w 9"/>
                  <a:gd name="T7" fmla="*/ 9 h 9"/>
                  <a:gd name="T8" fmla="*/ 2 w 9"/>
                  <a:gd name="T9" fmla="*/ 6 h 9"/>
                  <a:gd name="T10" fmla="*/ 6 w 9"/>
                  <a:gd name="T11" fmla="*/ 4 h 9"/>
                  <a:gd name="T12" fmla="*/ 8 w 9"/>
                  <a:gd name="T13" fmla="*/ 0 h 9"/>
                  <a:gd name="T14" fmla="*/ 9 w 9"/>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9">
                    <a:moveTo>
                      <a:pt x="9" y="0"/>
                    </a:moveTo>
                    <a:lnTo>
                      <a:pt x="9" y="4"/>
                    </a:lnTo>
                    <a:lnTo>
                      <a:pt x="2" y="9"/>
                    </a:lnTo>
                    <a:lnTo>
                      <a:pt x="0" y="9"/>
                    </a:lnTo>
                    <a:lnTo>
                      <a:pt x="2" y="6"/>
                    </a:lnTo>
                    <a:lnTo>
                      <a:pt x="6" y="4"/>
                    </a:lnTo>
                    <a:lnTo>
                      <a:pt x="8" y="0"/>
                    </a:lnTo>
                    <a:lnTo>
                      <a:pt x="9"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25" name="Freeform 2980"/>
              <p:cNvSpPr>
                <a:spLocks/>
              </p:cNvSpPr>
              <p:nvPr/>
            </p:nvSpPr>
            <p:spPr bwMode="auto">
              <a:xfrm>
                <a:off x="5124" y="1859"/>
                <a:ext cx="9" cy="9"/>
              </a:xfrm>
              <a:custGeom>
                <a:avLst/>
                <a:gdLst>
                  <a:gd name="T0" fmla="*/ 9 w 9"/>
                  <a:gd name="T1" fmla="*/ 0 h 9"/>
                  <a:gd name="T2" fmla="*/ 9 w 9"/>
                  <a:gd name="T3" fmla="*/ 4 h 9"/>
                  <a:gd name="T4" fmla="*/ 2 w 9"/>
                  <a:gd name="T5" fmla="*/ 9 h 9"/>
                  <a:gd name="T6" fmla="*/ 0 w 9"/>
                  <a:gd name="T7" fmla="*/ 9 h 9"/>
                  <a:gd name="T8" fmla="*/ 2 w 9"/>
                  <a:gd name="T9" fmla="*/ 6 h 9"/>
                  <a:gd name="T10" fmla="*/ 6 w 9"/>
                  <a:gd name="T11" fmla="*/ 4 h 9"/>
                  <a:gd name="T12" fmla="*/ 8 w 9"/>
                  <a:gd name="T13" fmla="*/ 0 h 9"/>
                  <a:gd name="T14" fmla="*/ 9 w 9"/>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9">
                    <a:moveTo>
                      <a:pt x="9" y="0"/>
                    </a:moveTo>
                    <a:lnTo>
                      <a:pt x="9" y="4"/>
                    </a:lnTo>
                    <a:lnTo>
                      <a:pt x="2" y="9"/>
                    </a:lnTo>
                    <a:lnTo>
                      <a:pt x="0" y="9"/>
                    </a:lnTo>
                    <a:lnTo>
                      <a:pt x="2" y="6"/>
                    </a:lnTo>
                    <a:lnTo>
                      <a:pt x="6" y="4"/>
                    </a:lnTo>
                    <a:lnTo>
                      <a:pt x="8" y="0"/>
                    </a:lnTo>
                    <a:lnTo>
                      <a:pt x="9"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26" name="Freeform 2981"/>
              <p:cNvSpPr>
                <a:spLocks/>
              </p:cNvSpPr>
              <p:nvPr/>
            </p:nvSpPr>
            <p:spPr bwMode="auto">
              <a:xfrm>
                <a:off x="5090" y="1881"/>
                <a:ext cx="15" cy="14"/>
              </a:xfrm>
              <a:custGeom>
                <a:avLst/>
                <a:gdLst>
                  <a:gd name="T0" fmla="*/ 15 w 15"/>
                  <a:gd name="T1" fmla="*/ 1 h 14"/>
                  <a:gd name="T2" fmla="*/ 15 w 15"/>
                  <a:gd name="T3" fmla="*/ 3 h 14"/>
                  <a:gd name="T4" fmla="*/ 2 w 15"/>
                  <a:gd name="T5" fmla="*/ 14 h 14"/>
                  <a:gd name="T6" fmla="*/ 0 w 15"/>
                  <a:gd name="T7" fmla="*/ 14 h 14"/>
                  <a:gd name="T8" fmla="*/ 0 w 15"/>
                  <a:gd name="T9" fmla="*/ 10 h 14"/>
                  <a:gd name="T10" fmla="*/ 13 w 15"/>
                  <a:gd name="T11" fmla="*/ 0 h 14"/>
                  <a:gd name="T12" fmla="*/ 15 w 15"/>
                  <a:gd name="T13" fmla="*/ 0 h 14"/>
                  <a:gd name="T14" fmla="*/ 15 w 15"/>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4">
                    <a:moveTo>
                      <a:pt x="15" y="1"/>
                    </a:moveTo>
                    <a:lnTo>
                      <a:pt x="15" y="3"/>
                    </a:lnTo>
                    <a:lnTo>
                      <a:pt x="2" y="14"/>
                    </a:lnTo>
                    <a:lnTo>
                      <a:pt x="0" y="14"/>
                    </a:lnTo>
                    <a:lnTo>
                      <a:pt x="0" y="10"/>
                    </a:lnTo>
                    <a:lnTo>
                      <a:pt x="13" y="0"/>
                    </a:lnTo>
                    <a:lnTo>
                      <a:pt x="15" y="0"/>
                    </a:lnTo>
                    <a:lnTo>
                      <a:pt x="15"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27" name="Freeform 2982"/>
              <p:cNvSpPr>
                <a:spLocks/>
              </p:cNvSpPr>
              <p:nvPr/>
            </p:nvSpPr>
            <p:spPr bwMode="auto">
              <a:xfrm>
                <a:off x="5090" y="1881"/>
                <a:ext cx="15" cy="14"/>
              </a:xfrm>
              <a:custGeom>
                <a:avLst/>
                <a:gdLst>
                  <a:gd name="T0" fmla="*/ 15 w 15"/>
                  <a:gd name="T1" fmla="*/ 1 h 14"/>
                  <a:gd name="T2" fmla="*/ 15 w 15"/>
                  <a:gd name="T3" fmla="*/ 3 h 14"/>
                  <a:gd name="T4" fmla="*/ 2 w 15"/>
                  <a:gd name="T5" fmla="*/ 14 h 14"/>
                  <a:gd name="T6" fmla="*/ 0 w 15"/>
                  <a:gd name="T7" fmla="*/ 14 h 14"/>
                  <a:gd name="T8" fmla="*/ 0 w 15"/>
                  <a:gd name="T9" fmla="*/ 10 h 14"/>
                  <a:gd name="T10" fmla="*/ 13 w 15"/>
                  <a:gd name="T11" fmla="*/ 0 h 14"/>
                  <a:gd name="T12" fmla="*/ 15 w 15"/>
                  <a:gd name="T13" fmla="*/ 0 h 14"/>
                  <a:gd name="T14" fmla="*/ 15 w 15"/>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4">
                    <a:moveTo>
                      <a:pt x="15" y="1"/>
                    </a:moveTo>
                    <a:lnTo>
                      <a:pt x="15" y="3"/>
                    </a:lnTo>
                    <a:lnTo>
                      <a:pt x="2" y="14"/>
                    </a:lnTo>
                    <a:lnTo>
                      <a:pt x="0" y="14"/>
                    </a:lnTo>
                    <a:lnTo>
                      <a:pt x="0" y="10"/>
                    </a:lnTo>
                    <a:lnTo>
                      <a:pt x="13" y="0"/>
                    </a:lnTo>
                    <a:lnTo>
                      <a:pt x="15" y="0"/>
                    </a:lnTo>
                    <a:lnTo>
                      <a:pt x="15"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28" name="Freeform 2983"/>
              <p:cNvSpPr>
                <a:spLocks/>
              </p:cNvSpPr>
              <p:nvPr/>
            </p:nvSpPr>
            <p:spPr bwMode="auto">
              <a:xfrm>
                <a:off x="5049" y="1897"/>
                <a:ext cx="31" cy="25"/>
              </a:xfrm>
              <a:custGeom>
                <a:avLst/>
                <a:gdLst>
                  <a:gd name="T0" fmla="*/ 31 w 31"/>
                  <a:gd name="T1" fmla="*/ 3 h 25"/>
                  <a:gd name="T2" fmla="*/ 31 w 31"/>
                  <a:gd name="T3" fmla="*/ 2 h 25"/>
                  <a:gd name="T4" fmla="*/ 31 w 31"/>
                  <a:gd name="T5" fmla="*/ 3 h 25"/>
                  <a:gd name="T6" fmla="*/ 15 w 31"/>
                  <a:gd name="T7" fmla="*/ 14 h 25"/>
                  <a:gd name="T8" fmla="*/ 13 w 31"/>
                  <a:gd name="T9" fmla="*/ 14 h 25"/>
                  <a:gd name="T10" fmla="*/ 11 w 31"/>
                  <a:gd name="T11" fmla="*/ 14 h 25"/>
                  <a:gd name="T12" fmla="*/ 9 w 31"/>
                  <a:gd name="T13" fmla="*/ 18 h 25"/>
                  <a:gd name="T14" fmla="*/ 2 w 31"/>
                  <a:gd name="T15" fmla="*/ 25 h 25"/>
                  <a:gd name="T16" fmla="*/ 0 w 31"/>
                  <a:gd name="T17" fmla="*/ 25 h 25"/>
                  <a:gd name="T18" fmla="*/ 4 w 31"/>
                  <a:gd name="T19" fmla="*/ 18 h 25"/>
                  <a:gd name="T20" fmla="*/ 6 w 31"/>
                  <a:gd name="T21" fmla="*/ 16 h 25"/>
                  <a:gd name="T22" fmla="*/ 11 w 31"/>
                  <a:gd name="T23" fmla="*/ 9 h 25"/>
                  <a:gd name="T24" fmla="*/ 13 w 31"/>
                  <a:gd name="T25" fmla="*/ 9 h 25"/>
                  <a:gd name="T26" fmla="*/ 15 w 31"/>
                  <a:gd name="T27" fmla="*/ 5 h 25"/>
                  <a:gd name="T28" fmla="*/ 16 w 31"/>
                  <a:gd name="T29" fmla="*/ 5 h 25"/>
                  <a:gd name="T30" fmla="*/ 18 w 31"/>
                  <a:gd name="T31" fmla="*/ 5 h 25"/>
                  <a:gd name="T32" fmla="*/ 18 w 31"/>
                  <a:gd name="T33" fmla="*/ 7 h 25"/>
                  <a:gd name="T34" fmla="*/ 20 w 31"/>
                  <a:gd name="T35" fmla="*/ 7 h 25"/>
                  <a:gd name="T36" fmla="*/ 25 w 31"/>
                  <a:gd name="T37" fmla="*/ 2 h 25"/>
                  <a:gd name="T38" fmla="*/ 29 w 31"/>
                  <a:gd name="T39" fmla="*/ 0 h 25"/>
                  <a:gd name="T40" fmla="*/ 31 w 31"/>
                  <a:gd name="T41" fmla="*/ 2 h 25"/>
                  <a:gd name="T42" fmla="*/ 31 w 31"/>
                  <a:gd name="T43"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25">
                    <a:moveTo>
                      <a:pt x="31" y="3"/>
                    </a:moveTo>
                    <a:lnTo>
                      <a:pt x="31" y="2"/>
                    </a:lnTo>
                    <a:lnTo>
                      <a:pt x="31" y="3"/>
                    </a:lnTo>
                    <a:lnTo>
                      <a:pt x="15" y="14"/>
                    </a:lnTo>
                    <a:lnTo>
                      <a:pt x="13" y="14"/>
                    </a:lnTo>
                    <a:lnTo>
                      <a:pt x="11" y="14"/>
                    </a:lnTo>
                    <a:lnTo>
                      <a:pt x="9" y="18"/>
                    </a:lnTo>
                    <a:lnTo>
                      <a:pt x="2" y="25"/>
                    </a:lnTo>
                    <a:lnTo>
                      <a:pt x="0" y="25"/>
                    </a:lnTo>
                    <a:lnTo>
                      <a:pt x="4" y="18"/>
                    </a:lnTo>
                    <a:lnTo>
                      <a:pt x="6" y="16"/>
                    </a:lnTo>
                    <a:lnTo>
                      <a:pt x="11" y="9"/>
                    </a:lnTo>
                    <a:lnTo>
                      <a:pt x="13" y="9"/>
                    </a:lnTo>
                    <a:lnTo>
                      <a:pt x="15" y="5"/>
                    </a:lnTo>
                    <a:lnTo>
                      <a:pt x="16" y="5"/>
                    </a:lnTo>
                    <a:lnTo>
                      <a:pt x="18" y="5"/>
                    </a:lnTo>
                    <a:lnTo>
                      <a:pt x="18" y="7"/>
                    </a:lnTo>
                    <a:lnTo>
                      <a:pt x="20" y="7"/>
                    </a:lnTo>
                    <a:lnTo>
                      <a:pt x="25" y="2"/>
                    </a:lnTo>
                    <a:lnTo>
                      <a:pt x="29" y="0"/>
                    </a:lnTo>
                    <a:lnTo>
                      <a:pt x="31" y="2"/>
                    </a:lnTo>
                    <a:lnTo>
                      <a:pt x="31"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29" name="Freeform 2984"/>
              <p:cNvSpPr>
                <a:spLocks/>
              </p:cNvSpPr>
              <p:nvPr/>
            </p:nvSpPr>
            <p:spPr bwMode="auto">
              <a:xfrm>
                <a:off x="5049" y="1897"/>
                <a:ext cx="31" cy="25"/>
              </a:xfrm>
              <a:custGeom>
                <a:avLst/>
                <a:gdLst>
                  <a:gd name="T0" fmla="*/ 31 w 31"/>
                  <a:gd name="T1" fmla="*/ 3 h 25"/>
                  <a:gd name="T2" fmla="*/ 31 w 31"/>
                  <a:gd name="T3" fmla="*/ 2 h 25"/>
                  <a:gd name="T4" fmla="*/ 31 w 31"/>
                  <a:gd name="T5" fmla="*/ 3 h 25"/>
                  <a:gd name="T6" fmla="*/ 15 w 31"/>
                  <a:gd name="T7" fmla="*/ 14 h 25"/>
                  <a:gd name="T8" fmla="*/ 13 w 31"/>
                  <a:gd name="T9" fmla="*/ 14 h 25"/>
                  <a:gd name="T10" fmla="*/ 11 w 31"/>
                  <a:gd name="T11" fmla="*/ 14 h 25"/>
                  <a:gd name="T12" fmla="*/ 9 w 31"/>
                  <a:gd name="T13" fmla="*/ 18 h 25"/>
                  <a:gd name="T14" fmla="*/ 2 w 31"/>
                  <a:gd name="T15" fmla="*/ 25 h 25"/>
                  <a:gd name="T16" fmla="*/ 0 w 31"/>
                  <a:gd name="T17" fmla="*/ 25 h 25"/>
                  <a:gd name="T18" fmla="*/ 4 w 31"/>
                  <a:gd name="T19" fmla="*/ 18 h 25"/>
                  <a:gd name="T20" fmla="*/ 6 w 31"/>
                  <a:gd name="T21" fmla="*/ 16 h 25"/>
                  <a:gd name="T22" fmla="*/ 11 w 31"/>
                  <a:gd name="T23" fmla="*/ 9 h 25"/>
                  <a:gd name="T24" fmla="*/ 13 w 31"/>
                  <a:gd name="T25" fmla="*/ 9 h 25"/>
                  <a:gd name="T26" fmla="*/ 15 w 31"/>
                  <a:gd name="T27" fmla="*/ 5 h 25"/>
                  <a:gd name="T28" fmla="*/ 16 w 31"/>
                  <a:gd name="T29" fmla="*/ 5 h 25"/>
                  <a:gd name="T30" fmla="*/ 18 w 31"/>
                  <a:gd name="T31" fmla="*/ 5 h 25"/>
                  <a:gd name="T32" fmla="*/ 18 w 31"/>
                  <a:gd name="T33" fmla="*/ 7 h 25"/>
                  <a:gd name="T34" fmla="*/ 20 w 31"/>
                  <a:gd name="T35" fmla="*/ 7 h 25"/>
                  <a:gd name="T36" fmla="*/ 25 w 31"/>
                  <a:gd name="T37" fmla="*/ 2 h 25"/>
                  <a:gd name="T38" fmla="*/ 29 w 31"/>
                  <a:gd name="T39" fmla="*/ 0 h 25"/>
                  <a:gd name="T40" fmla="*/ 31 w 31"/>
                  <a:gd name="T41" fmla="*/ 2 h 25"/>
                  <a:gd name="T42" fmla="*/ 31 w 31"/>
                  <a:gd name="T43"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25">
                    <a:moveTo>
                      <a:pt x="31" y="3"/>
                    </a:moveTo>
                    <a:lnTo>
                      <a:pt x="31" y="2"/>
                    </a:lnTo>
                    <a:lnTo>
                      <a:pt x="31" y="3"/>
                    </a:lnTo>
                    <a:lnTo>
                      <a:pt x="15" y="14"/>
                    </a:lnTo>
                    <a:lnTo>
                      <a:pt x="13" y="14"/>
                    </a:lnTo>
                    <a:lnTo>
                      <a:pt x="11" y="14"/>
                    </a:lnTo>
                    <a:lnTo>
                      <a:pt x="9" y="18"/>
                    </a:lnTo>
                    <a:lnTo>
                      <a:pt x="2" y="25"/>
                    </a:lnTo>
                    <a:lnTo>
                      <a:pt x="0" y="25"/>
                    </a:lnTo>
                    <a:lnTo>
                      <a:pt x="4" y="18"/>
                    </a:lnTo>
                    <a:lnTo>
                      <a:pt x="6" y="16"/>
                    </a:lnTo>
                    <a:lnTo>
                      <a:pt x="11" y="9"/>
                    </a:lnTo>
                    <a:lnTo>
                      <a:pt x="13" y="9"/>
                    </a:lnTo>
                    <a:lnTo>
                      <a:pt x="15" y="5"/>
                    </a:lnTo>
                    <a:lnTo>
                      <a:pt x="16" y="5"/>
                    </a:lnTo>
                    <a:lnTo>
                      <a:pt x="18" y="5"/>
                    </a:lnTo>
                    <a:lnTo>
                      <a:pt x="18" y="7"/>
                    </a:lnTo>
                    <a:lnTo>
                      <a:pt x="20" y="7"/>
                    </a:lnTo>
                    <a:lnTo>
                      <a:pt x="25" y="2"/>
                    </a:lnTo>
                    <a:lnTo>
                      <a:pt x="29" y="0"/>
                    </a:lnTo>
                    <a:lnTo>
                      <a:pt x="31" y="2"/>
                    </a:lnTo>
                    <a:lnTo>
                      <a:pt x="31"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30" name="Freeform 2985"/>
              <p:cNvSpPr>
                <a:spLocks/>
              </p:cNvSpPr>
              <p:nvPr/>
            </p:nvSpPr>
            <p:spPr bwMode="auto">
              <a:xfrm>
                <a:off x="5042" y="1934"/>
                <a:ext cx="6" cy="4"/>
              </a:xfrm>
              <a:custGeom>
                <a:avLst/>
                <a:gdLst>
                  <a:gd name="T0" fmla="*/ 6 w 6"/>
                  <a:gd name="T1" fmla="*/ 0 h 4"/>
                  <a:gd name="T2" fmla="*/ 6 w 6"/>
                  <a:gd name="T3" fmla="*/ 2 h 4"/>
                  <a:gd name="T4" fmla="*/ 6 w 6"/>
                  <a:gd name="T5" fmla="*/ 2 h 4"/>
                  <a:gd name="T6" fmla="*/ 2 w 6"/>
                  <a:gd name="T7" fmla="*/ 4 h 4"/>
                  <a:gd name="T8" fmla="*/ 0 w 6"/>
                  <a:gd name="T9" fmla="*/ 4 h 4"/>
                  <a:gd name="T10" fmla="*/ 2 w 6"/>
                  <a:gd name="T11" fmla="*/ 2 h 4"/>
                  <a:gd name="T12" fmla="*/ 6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6" y="0"/>
                    </a:moveTo>
                    <a:lnTo>
                      <a:pt x="6" y="2"/>
                    </a:lnTo>
                    <a:lnTo>
                      <a:pt x="6" y="2"/>
                    </a:lnTo>
                    <a:lnTo>
                      <a:pt x="2" y="4"/>
                    </a:lnTo>
                    <a:lnTo>
                      <a:pt x="0" y="4"/>
                    </a:lnTo>
                    <a:lnTo>
                      <a:pt x="2" y="2"/>
                    </a:lnTo>
                    <a:lnTo>
                      <a:pt x="6"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31" name="Freeform 2986"/>
              <p:cNvSpPr>
                <a:spLocks/>
              </p:cNvSpPr>
              <p:nvPr/>
            </p:nvSpPr>
            <p:spPr bwMode="auto">
              <a:xfrm>
                <a:off x="5042" y="1934"/>
                <a:ext cx="6" cy="4"/>
              </a:xfrm>
              <a:custGeom>
                <a:avLst/>
                <a:gdLst>
                  <a:gd name="T0" fmla="*/ 6 w 6"/>
                  <a:gd name="T1" fmla="*/ 0 h 4"/>
                  <a:gd name="T2" fmla="*/ 6 w 6"/>
                  <a:gd name="T3" fmla="*/ 2 h 4"/>
                  <a:gd name="T4" fmla="*/ 6 w 6"/>
                  <a:gd name="T5" fmla="*/ 2 h 4"/>
                  <a:gd name="T6" fmla="*/ 2 w 6"/>
                  <a:gd name="T7" fmla="*/ 4 h 4"/>
                  <a:gd name="T8" fmla="*/ 0 w 6"/>
                  <a:gd name="T9" fmla="*/ 4 h 4"/>
                  <a:gd name="T10" fmla="*/ 2 w 6"/>
                  <a:gd name="T11" fmla="*/ 2 h 4"/>
                  <a:gd name="T12" fmla="*/ 6 w 6"/>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6" y="0"/>
                    </a:moveTo>
                    <a:lnTo>
                      <a:pt x="6" y="2"/>
                    </a:lnTo>
                    <a:lnTo>
                      <a:pt x="6" y="2"/>
                    </a:lnTo>
                    <a:lnTo>
                      <a:pt x="2" y="4"/>
                    </a:lnTo>
                    <a:lnTo>
                      <a:pt x="0" y="4"/>
                    </a:lnTo>
                    <a:lnTo>
                      <a:pt x="2" y="2"/>
                    </a:lnTo>
                    <a:lnTo>
                      <a:pt x="6"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32" name="Freeform 2987"/>
              <p:cNvSpPr>
                <a:spLocks/>
              </p:cNvSpPr>
              <p:nvPr/>
            </p:nvSpPr>
            <p:spPr bwMode="auto">
              <a:xfrm>
                <a:off x="5024" y="1920"/>
                <a:ext cx="15" cy="20"/>
              </a:xfrm>
              <a:custGeom>
                <a:avLst/>
                <a:gdLst>
                  <a:gd name="T0" fmla="*/ 11 w 15"/>
                  <a:gd name="T1" fmla="*/ 2 h 20"/>
                  <a:gd name="T2" fmla="*/ 11 w 15"/>
                  <a:gd name="T3" fmla="*/ 0 h 20"/>
                  <a:gd name="T4" fmla="*/ 15 w 15"/>
                  <a:gd name="T5" fmla="*/ 2 h 20"/>
                  <a:gd name="T6" fmla="*/ 15 w 15"/>
                  <a:gd name="T7" fmla="*/ 5 h 20"/>
                  <a:gd name="T8" fmla="*/ 2 w 15"/>
                  <a:gd name="T9" fmla="*/ 20 h 20"/>
                  <a:gd name="T10" fmla="*/ 0 w 15"/>
                  <a:gd name="T11" fmla="*/ 16 h 20"/>
                  <a:gd name="T12" fmla="*/ 9 w 15"/>
                  <a:gd name="T13" fmla="*/ 5 h 20"/>
                  <a:gd name="T14" fmla="*/ 11 w 15"/>
                  <a:gd name="T15" fmla="*/ 2 h 20"/>
                  <a:gd name="T16" fmla="*/ 11 w 15"/>
                  <a:gd name="T1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0">
                    <a:moveTo>
                      <a:pt x="11" y="2"/>
                    </a:moveTo>
                    <a:lnTo>
                      <a:pt x="11" y="0"/>
                    </a:lnTo>
                    <a:lnTo>
                      <a:pt x="15" y="2"/>
                    </a:lnTo>
                    <a:lnTo>
                      <a:pt x="15" y="5"/>
                    </a:lnTo>
                    <a:lnTo>
                      <a:pt x="2" y="20"/>
                    </a:lnTo>
                    <a:lnTo>
                      <a:pt x="0" y="16"/>
                    </a:lnTo>
                    <a:lnTo>
                      <a:pt x="9" y="5"/>
                    </a:lnTo>
                    <a:lnTo>
                      <a:pt x="11" y="2"/>
                    </a:lnTo>
                    <a:lnTo>
                      <a:pt x="11"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33" name="Freeform 2988"/>
              <p:cNvSpPr>
                <a:spLocks/>
              </p:cNvSpPr>
              <p:nvPr/>
            </p:nvSpPr>
            <p:spPr bwMode="auto">
              <a:xfrm>
                <a:off x="5024" y="1920"/>
                <a:ext cx="15" cy="20"/>
              </a:xfrm>
              <a:custGeom>
                <a:avLst/>
                <a:gdLst>
                  <a:gd name="T0" fmla="*/ 11 w 15"/>
                  <a:gd name="T1" fmla="*/ 2 h 20"/>
                  <a:gd name="T2" fmla="*/ 11 w 15"/>
                  <a:gd name="T3" fmla="*/ 0 h 20"/>
                  <a:gd name="T4" fmla="*/ 15 w 15"/>
                  <a:gd name="T5" fmla="*/ 2 h 20"/>
                  <a:gd name="T6" fmla="*/ 15 w 15"/>
                  <a:gd name="T7" fmla="*/ 5 h 20"/>
                  <a:gd name="T8" fmla="*/ 2 w 15"/>
                  <a:gd name="T9" fmla="*/ 20 h 20"/>
                  <a:gd name="T10" fmla="*/ 0 w 15"/>
                  <a:gd name="T11" fmla="*/ 16 h 20"/>
                  <a:gd name="T12" fmla="*/ 9 w 15"/>
                  <a:gd name="T13" fmla="*/ 5 h 20"/>
                  <a:gd name="T14" fmla="*/ 11 w 15"/>
                  <a:gd name="T15" fmla="*/ 2 h 20"/>
                  <a:gd name="T16" fmla="*/ 11 w 15"/>
                  <a:gd name="T1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0">
                    <a:moveTo>
                      <a:pt x="11" y="2"/>
                    </a:moveTo>
                    <a:lnTo>
                      <a:pt x="11" y="0"/>
                    </a:lnTo>
                    <a:lnTo>
                      <a:pt x="15" y="2"/>
                    </a:lnTo>
                    <a:lnTo>
                      <a:pt x="15" y="5"/>
                    </a:lnTo>
                    <a:lnTo>
                      <a:pt x="2" y="20"/>
                    </a:lnTo>
                    <a:lnTo>
                      <a:pt x="0" y="16"/>
                    </a:lnTo>
                    <a:lnTo>
                      <a:pt x="9" y="5"/>
                    </a:lnTo>
                    <a:lnTo>
                      <a:pt x="11" y="2"/>
                    </a:lnTo>
                    <a:lnTo>
                      <a:pt x="11"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34" name="Freeform 2989"/>
              <p:cNvSpPr>
                <a:spLocks/>
              </p:cNvSpPr>
              <p:nvPr/>
            </p:nvSpPr>
            <p:spPr bwMode="auto">
              <a:xfrm>
                <a:off x="4173" y="2243"/>
                <a:ext cx="143" cy="307"/>
              </a:xfrm>
              <a:custGeom>
                <a:avLst/>
                <a:gdLst>
                  <a:gd name="T0" fmla="*/ 35 w 143"/>
                  <a:gd name="T1" fmla="*/ 177 h 307"/>
                  <a:gd name="T2" fmla="*/ 26 w 143"/>
                  <a:gd name="T3" fmla="*/ 159 h 307"/>
                  <a:gd name="T4" fmla="*/ 19 w 143"/>
                  <a:gd name="T5" fmla="*/ 157 h 307"/>
                  <a:gd name="T6" fmla="*/ 23 w 143"/>
                  <a:gd name="T7" fmla="*/ 156 h 307"/>
                  <a:gd name="T8" fmla="*/ 23 w 143"/>
                  <a:gd name="T9" fmla="*/ 150 h 307"/>
                  <a:gd name="T10" fmla="*/ 7 w 143"/>
                  <a:gd name="T11" fmla="*/ 141 h 307"/>
                  <a:gd name="T12" fmla="*/ 3 w 143"/>
                  <a:gd name="T13" fmla="*/ 138 h 307"/>
                  <a:gd name="T14" fmla="*/ 1 w 143"/>
                  <a:gd name="T15" fmla="*/ 122 h 307"/>
                  <a:gd name="T16" fmla="*/ 5 w 143"/>
                  <a:gd name="T17" fmla="*/ 113 h 307"/>
                  <a:gd name="T18" fmla="*/ 10 w 143"/>
                  <a:gd name="T19" fmla="*/ 111 h 307"/>
                  <a:gd name="T20" fmla="*/ 12 w 143"/>
                  <a:gd name="T21" fmla="*/ 107 h 307"/>
                  <a:gd name="T22" fmla="*/ 12 w 143"/>
                  <a:gd name="T23" fmla="*/ 97 h 307"/>
                  <a:gd name="T24" fmla="*/ 16 w 143"/>
                  <a:gd name="T25" fmla="*/ 81 h 307"/>
                  <a:gd name="T26" fmla="*/ 28 w 143"/>
                  <a:gd name="T27" fmla="*/ 79 h 307"/>
                  <a:gd name="T28" fmla="*/ 37 w 143"/>
                  <a:gd name="T29" fmla="*/ 56 h 307"/>
                  <a:gd name="T30" fmla="*/ 46 w 143"/>
                  <a:gd name="T31" fmla="*/ 45 h 307"/>
                  <a:gd name="T32" fmla="*/ 51 w 143"/>
                  <a:gd name="T33" fmla="*/ 29 h 307"/>
                  <a:gd name="T34" fmla="*/ 68 w 143"/>
                  <a:gd name="T35" fmla="*/ 20 h 307"/>
                  <a:gd name="T36" fmla="*/ 76 w 143"/>
                  <a:gd name="T37" fmla="*/ 18 h 307"/>
                  <a:gd name="T38" fmla="*/ 80 w 143"/>
                  <a:gd name="T39" fmla="*/ 9 h 307"/>
                  <a:gd name="T40" fmla="*/ 84 w 143"/>
                  <a:gd name="T41" fmla="*/ 2 h 307"/>
                  <a:gd name="T42" fmla="*/ 89 w 143"/>
                  <a:gd name="T43" fmla="*/ 2 h 307"/>
                  <a:gd name="T44" fmla="*/ 96 w 143"/>
                  <a:gd name="T45" fmla="*/ 14 h 307"/>
                  <a:gd name="T46" fmla="*/ 96 w 143"/>
                  <a:gd name="T47" fmla="*/ 52 h 307"/>
                  <a:gd name="T48" fmla="*/ 91 w 143"/>
                  <a:gd name="T49" fmla="*/ 59 h 307"/>
                  <a:gd name="T50" fmla="*/ 87 w 143"/>
                  <a:gd name="T51" fmla="*/ 75 h 307"/>
                  <a:gd name="T52" fmla="*/ 94 w 143"/>
                  <a:gd name="T53" fmla="*/ 75 h 307"/>
                  <a:gd name="T54" fmla="*/ 107 w 143"/>
                  <a:gd name="T55" fmla="*/ 82 h 307"/>
                  <a:gd name="T56" fmla="*/ 112 w 143"/>
                  <a:gd name="T57" fmla="*/ 107 h 307"/>
                  <a:gd name="T58" fmla="*/ 128 w 143"/>
                  <a:gd name="T59" fmla="*/ 118 h 307"/>
                  <a:gd name="T60" fmla="*/ 141 w 143"/>
                  <a:gd name="T61" fmla="*/ 114 h 307"/>
                  <a:gd name="T62" fmla="*/ 141 w 143"/>
                  <a:gd name="T63" fmla="*/ 120 h 307"/>
                  <a:gd name="T64" fmla="*/ 130 w 143"/>
                  <a:gd name="T65" fmla="*/ 131 h 307"/>
                  <a:gd name="T66" fmla="*/ 125 w 143"/>
                  <a:gd name="T67" fmla="*/ 134 h 307"/>
                  <a:gd name="T68" fmla="*/ 105 w 143"/>
                  <a:gd name="T69" fmla="*/ 150 h 307"/>
                  <a:gd name="T70" fmla="*/ 87 w 143"/>
                  <a:gd name="T71" fmla="*/ 170 h 307"/>
                  <a:gd name="T72" fmla="*/ 98 w 143"/>
                  <a:gd name="T73" fmla="*/ 191 h 307"/>
                  <a:gd name="T74" fmla="*/ 103 w 143"/>
                  <a:gd name="T75" fmla="*/ 207 h 307"/>
                  <a:gd name="T76" fmla="*/ 100 w 143"/>
                  <a:gd name="T77" fmla="*/ 218 h 307"/>
                  <a:gd name="T78" fmla="*/ 96 w 143"/>
                  <a:gd name="T79" fmla="*/ 227 h 307"/>
                  <a:gd name="T80" fmla="*/ 109 w 143"/>
                  <a:gd name="T81" fmla="*/ 245 h 307"/>
                  <a:gd name="T82" fmla="*/ 118 w 143"/>
                  <a:gd name="T83" fmla="*/ 279 h 307"/>
                  <a:gd name="T84" fmla="*/ 109 w 143"/>
                  <a:gd name="T85" fmla="*/ 293 h 307"/>
                  <a:gd name="T86" fmla="*/ 105 w 143"/>
                  <a:gd name="T87" fmla="*/ 282 h 307"/>
                  <a:gd name="T88" fmla="*/ 103 w 143"/>
                  <a:gd name="T89" fmla="*/ 277 h 307"/>
                  <a:gd name="T90" fmla="*/ 96 w 143"/>
                  <a:gd name="T91" fmla="*/ 248 h 307"/>
                  <a:gd name="T92" fmla="*/ 87 w 143"/>
                  <a:gd name="T93" fmla="*/ 204 h 307"/>
                  <a:gd name="T94" fmla="*/ 73 w 143"/>
                  <a:gd name="T95" fmla="*/ 197 h 307"/>
                  <a:gd name="T96" fmla="*/ 50 w 143"/>
                  <a:gd name="T97" fmla="*/ 216 h 307"/>
                  <a:gd name="T98" fmla="*/ 44 w 143"/>
                  <a:gd name="T99" fmla="*/ 213 h 307"/>
                  <a:gd name="T100" fmla="*/ 35 w 143"/>
                  <a:gd name="T101" fmla="*/ 213 h 307"/>
                  <a:gd name="T102" fmla="*/ 32 w 143"/>
                  <a:gd name="T103" fmla="*/ 21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3" h="307">
                    <a:moveTo>
                      <a:pt x="32" y="206"/>
                    </a:moveTo>
                    <a:lnTo>
                      <a:pt x="35" y="193"/>
                    </a:lnTo>
                    <a:lnTo>
                      <a:pt x="35" y="177"/>
                    </a:lnTo>
                    <a:lnTo>
                      <a:pt x="34" y="175"/>
                    </a:lnTo>
                    <a:lnTo>
                      <a:pt x="34" y="173"/>
                    </a:lnTo>
                    <a:lnTo>
                      <a:pt x="26" y="159"/>
                    </a:lnTo>
                    <a:lnTo>
                      <a:pt x="25" y="164"/>
                    </a:lnTo>
                    <a:lnTo>
                      <a:pt x="23" y="163"/>
                    </a:lnTo>
                    <a:lnTo>
                      <a:pt x="19" y="157"/>
                    </a:lnTo>
                    <a:lnTo>
                      <a:pt x="21" y="156"/>
                    </a:lnTo>
                    <a:lnTo>
                      <a:pt x="25" y="157"/>
                    </a:lnTo>
                    <a:lnTo>
                      <a:pt x="23" y="156"/>
                    </a:lnTo>
                    <a:lnTo>
                      <a:pt x="21" y="154"/>
                    </a:lnTo>
                    <a:lnTo>
                      <a:pt x="23" y="152"/>
                    </a:lnTo>
                    <a:lnTo>
                      <a:pt x="23" y="150"/>
                    </a:lnTo>
                    <a:lnTo>
                      <a:pt x="10" y="145"/>
                    </a:lnTo>
                    <a:lnTo>
                      <a:pt x="10" y="141"/>
                    </a:lnTo>
                    <a:lnTo>
                      <a:pt x="7" y="141"/>
                    </a:lnTo>
                    <a:lnTo>
                      <a:pt x="5" y="138"/>
                    </a:lnTo>
                    <a:lnTo>
                      <a:pt x="5" y="139"/>
                    </a:lnTo>
                    <a:lnTo>
                      <a:pt x="3" y="138"/>
                    </a:lnTo>
                    <a:lnTo>
                      <a:pt x="0" y="131"/>
                    </a:lnTo>
                    <a:lnTo>
                      <a:pt x="0" y="122"/>
                    </a:lnTo>
                    <a:lnTo>
                      <a:pt x="1" y="122"/>
                    </a:lnTo>
                    <a:lnTo>
                      <a:pt x="5" y="122"/>
                    </a:lnTo>
                    <a:lnTo>
                      <a:pt x="5" y="114"/>
                    </a:lnTo>
                    <a:lnTo>
                      <a:pt x="5" y="113"/>
                    </a:lnTo>
                    <a:lnTo>
                      <a:pt x="5" y="113"/>
                    </a:lnTo>
                    <a:lnTo>
                      <a:pt x="7" y="111"/>
                    </a:lnTo>
                    <a:lnTo>
                      <a:pt x="10" y="111"/>
                    </a:lnTo>
                    <a:lnTo>
                      <a:pt x="10" y="111"/>
                    </a:lnTo>
                    <a:lnTo>
                      <a:pt x="12" y="109"/>
                    </a:lnTo>
                    <a:lnTo>
                      <a:pt x="12" y="107"/>
                    </a:lnTo>
                    <a:lnTo>
                      <a:pt x="12" y="107"/>
                    </a:lnTo>
                    <a:lnTo>
                      <a:pt x="12" y="104"/>
                    </a:lnTo>
                    <a:lnTo>
                      <a:pt x="12" y="97"/>
                    </a:lnTo>
                    <a:lnTo>
                      <a:pt x="16" y="97"/>
                    </a:lnTo>
                    <a:lnTo>
                      <a:pt x="16" y="95"/>
                    </a:lnTo>
                    <a:lnTo>
                      <a:pt x="16" y="81"/>
                    </a:lnTo>
                    <a:lnTo>
                      <a:pt x="19" y="79"/>
                    </a:lnTo>
                    <a:lnTo>
                      <a:pt x="23" y="79"/>
                    </a:lnTo>
                    <a:lnTo>
                      <a:pt x="28" y="79"/>
                    </a:lnTo>
                    <a:lnTo>
                      <a:pt x="30" y="77"/>
                    </a:lnTo>
                    <a:lnTo>
                      <a:pt x="39" y="57"/>
                    </a:lnTo>
                    <a:lnTo>
                      <a:pt x="37" y="56"/>
                    </a:lnTo>
                    <a:lnTo>
                      <a:pt x="39" y="52"/>
                    </a:lnTo>
                    <a:lnTo>
                      <a:pt x="44" y="50"/>
                    </a:lnTo>
                    <a:lnTo>
                      <a:pt x="46" y="45"/>
                    </a:lnTo>
                    <a:lnTo>
                      <a:pt x="46" y="38"/>
                    </a:lnTo>
                    <a:lnTo>
                      <a:pt x="48" y="32"/>
                    </a:lnTo>
                    <a:lnTo>
                      <a:pt x="51" y="29"/>
                    </a:lnTo>
                    <a:lnTo>
                      <a:pt x="57" y="27"/>
                    </a:lnTo>
                    <a:lnTo>
                      <a:pt x="60" y="22"/>
                    </a:lnTo>
                    <a:lnTo>
                      <a:pt x="68" y="20"/>
                    </a:lnTo>
                    <a:lnTo>
                      <a:pt x="69" y="18"/>
                    </a:lnTo>
                    <a:lnTo>
                      <a:pt x="75" y="20"/>
                    </a:lnTo>
                    <a:lnTo>
                      <a:pt x="76" y="18"/>
                    </a:lnTo>
                    <a:lnTo>
                      <a:pt x="75" y="14"/>
                    </a:lnTo>
                    <a:lnTo>
                      <a:pt x="76" y="11"/>
                    </a:lnTo>
                    <a:lnTo>
                      <a:pt x="80" y="9"/>
                    </a:lnTo>
                    <a:lnTo>
                      <a:pt x="82" y="7"/>
                    </a:lnTo>
                    <a:lnTo>
                      <a:pt x="82" y="4"/>
                    </a:lnTo>
                    <a:lnTo>
                      <a:pt x="84" y="2"/>
                    </a:lnTo>
                    <a:lnTo>
                      <a:pt x="85" y="0"/>
                    </a:lnTo>
                    <a:lnTo>
                      <a:pt x="85" y="0"/>
                    </a:lnTo>
                    <a:lnTo>
                      <a:pt x="89" y="2"/>
                    </a:lnTo>
                    <a:lnTo>
                      <a:pt x="93" y="6"/>
                    </a:lnTo>
                    <a:lnTo>
                      <a:pt x="94" y="11"/>
                    </a:lnTo>
                    <a:lnTo>
                      <a:pt x="96" y="14"/>
                    </a:lnTo>
                    <a:lnTo>
                      <a:pt x="100" y="14"/>
                    </a:lnTo>
                    <a:lnTo>
                      <a:pt x="101" y="41"/>
                    </a:lnTo>
                    <a:lnTo>
                      <a:pt x="96" y="52"/>
                    </a:lnTo>
                    <a:lnTo>
                      <a:pt x="94" y="52"/>
                    </a:lnTo>
                    <a:lnTo>
                      <a:pt x="93" y="56"/>
                    </a:lnTo>
                    <a:lnTo>
                      <a:pt x="91" y="59"/>
                    </a:lnTo>
                    <a:lnTo>
                      <a:pt x="87" y="68"/>
                    </a:lnTo>
                    <a:lnTo>
                      <a:pt x="89" y="73"/>
                    </a:lnTo>
                    <a:lnTo>
                      <a:pt x="87" y="75"/>
                    </a:lnTo>
                    <a:lnTo>
                      <a:pt x="85" y="81"/>
                    </a:lnTo>
                    <a:lnTo>
                      <a:pt x="87" y="82"/>
                    </a:lnTo>
                    <a:lnTo>
                      <a:pt x="94" y="75"/>
                    </a:lnTo>
                    <a:lnTo>
                      <a:pt x="105" y="75"/>
                    </a:lnTo>
                    <a:lnTo>
                      <a:pt x="105" y="79"/>
                    </a:lnTo>
                    <a:lnTo>
                      <a:pt x="107" y="82"/>
                    </a:lnTo>
                    <a:lnTo>
                      <a:pt x="107" y="89"/>
                    </a:lnTo>
                    <a:lnTo>
                      <a:pt x="116" y="95"/>
                    </a:lnTo>
                    <a:lnTo>
                      <a:pt x="112" y="107"/>
                    </a:lnTo>
                    <a:lnTo>
                      <a:pt x="121" y="111"/>
                    </a:lnTo>
                    <a:lnTo>
                      <a:pt x="123" y="113"/>
                    </a:lnTo>
                    <a:lnTo>
                      <a:pt x="128" y="118"/>
                    </a:lnTo>
                    <a:lnTo>
                      <a:pt x="134" y="118"/>
                    </a:lnTo>
                    <a:lnTo>
                      <a:pt x="139" y="114"/>
                    </a:lnTo>
                    <a:lnTo>
                      <a:pt x="141" y="114"/>
                    </a:lnTo>
                    <a:lnTo>
                      <a:pt x="143" y="116"/>
                    </a:lnTo>
                    <a:lnTo>
                      <a:pt x="141" y="118"/>
                    </a:lnTo>
                    <a:lnTo>
                      <a:pt x="141" y="120"/>
                    </a:lnTo>
                    <a:lnTo>
                      <a:pt x="132" y="125"/>
                    </a:lnTo>
                    <a:lnTo>
                      <a:pt x="134" y="129"/>
                    </a:lnTo>
                    <a:lnTo>
                      <a:pt x="130" y="131"/>
                    </a:lnTo>
                    <a:lnTo>
                      <a:pt x="128" y="131"/>
                    </a:lnTo>
                    <a:lnTo>
                      <a:pt x="126" y="132"/>
                    </a:lnTo>
                    <a:lnTo>
                      <a:pt x="125" y="134"/>
                    </a:lnTo>
                    <a:lnTo>
                      <a:pt x="123" y="139"/>
                    </a:lnTo>
                    <a:lnTo>
                      <a:pt x="118" y="141"/>
                    </a:lnTo>
                    <a:lnTo>
                      <a:pt x="105" y="150"/>
                    </a:lnTo>
                    <a:lnTo>
                      <a:pt x="93" y="152"/>
                    </a:lnTo>
                    <a:lnTo>
                      <a:pt x="87" y="168"/>
                    </a:lnTo>
                    <a:lnTo>
                      <a:pt x="87" y="170"/>
                    </a:lnTo>
                    <a:lnTo>
                      <a:pt x="85" y="172"/>
                    </a:lnTo>
                    <a:lnTo>
                      <a:pt x="91" y="186"/>
                    </a:lnTo>
                    <a:lnTo>
                      <a:pt x="98" y="191"/>
                    </a:lnTo>
                    <a:lnTo>
                      <a:pt x="100" y="193"/>
                    </a:lnTo>
                    <a:lnTo>
                      <a:pt x="100" y="207"/>
                    </a:lnTo>
                    <a:lnTo>
                      <a:pt x="103" y="207"/>
                    </a:lnTo>
                    <a:lnTo>
                      <a:pt x="105" y="209"/>
                    </a:lnTo>
                    <a:lnTo>
                      <a:pt x="103" y="211"/>
                    </a:lnTo>
                    <a:lnTo>
                      <a:pt x="100" y="218"/>
                    </a:lnTo>
                    <a:lnTo>
                      <a:pt x="100" y="222"/>
                    </a:lnTo>
                    <a:lnTo>
                      <a:pt x="96" y="225"/>
                    </a:lnTo>
                    <a:lnTo>
                      <a:pt x="96" y="227"/>
                    </a:lnTo>
                    <a:lnTo>
                      <a:pt x="94" y="231"/>
                    </a:lnTo>
                    <a:lnTo>
                      <a:pt x="96" y="236"/>
                    </a:lnTo>
                    <a:lnTo>
                      <a:pt x="109" y="245"/>
                    </a:lnTo>
                    <a:lnTo>
                      <a:pt x="112" y="264"/>
                    </a:lnTo>
                    <a:lnTo>
                      <a:pt x="112" y="264"/>
                    </a:lnTo>
                    <a:lnTo>
                      <a:pt x="118" y="279"/>
                    </a:lnTo>
                    <a:lnTo>
                      <a:pt x="118" y="282"/>
                    </a:lnTo>
                    <a:lnTo>
                      <a:pt x="112" y="289"/>
                    </a:lnTo>
                    <a:lnTo>
                      <a:pt x="109" y="293"/>
                    </a:lnTo>
                    <a:lnTo>
                      <a:pt x="103" y="307"/>
                    </a:lnTo>
                    <a:lnTo>
                      <a:pt x="100" y="306"/>
                    </a:lnTo>
                    <a:lnTo>
                      <a:pt x="105" y="282"/>
                    </a:lnTo>
                    <a:lnTo>
                      <a:pt x="100" y="279"/>
                    </a:lnTo>
                    <a:lnTo>
                      <a:pt x="100" y="277"/>
                    </a:lnTo>
                    <a:lnTo>
                      <a:pt x="103" y="277"/>
                    </a:lnTo>
                    <a:lnTo>
                      <a:pt x="101" y="273"/>
                    </a:lnTo>
                    <a:lnTo>
                      <a:pt x="103" y="270"/>
                    </a:lnTo>
                    <a:lnTo>
                      <a:pt x="96" y="248"/>
                    </a:lnTo>
                    <a:lnTo>
                      <a:pt x="96" y="250"/>
                    </a:lnTo>
                    <a:lnTo>
                      <a:pt x="94" y="252"/>
                    </a:lnTo>
                    <a:lnTo>
                      <a:pt x="87" y="204"/>
                    </a:lnTo>
                    <a:lnTo>
                      <a:pt x="84" y="204"/>
                    </a:lnTo>
                    <a:lnTo>
                      <a:pt x="76" y="197"/>
                    </a:lnTo>
                    <a:lnTo>
                      <a:pt x="73" y="197"/>
                    </a:lnTo>
                    <a:lnTo>
                      <a:pt x="71" y="188"/>
                    </a:lnTo>
                    <a:lnTo>
                      <a:pt x="69" y="200"/>
                    </a:lnTo>
                    <a:lnTo>
                      <a:pt x="50" y="216"/>
                    </a:lnTo>
                    <a:lnTo>
                      <a:pt x="48" y="214"/>
                    </a:lnTo>
                    <a:lnTo>
                      <a:pt x="46" y="214"/>
                    </a:lnTo>
                    <a:lnTo>
                      <a:pt x="44" y="213"/>
                    </a:lnTo>
                    <a:lnTo>
                      <a:pt x="43" y="216"/>
                    </a:lnTo>
                    <a:lnTo>
                      <a:pt x="37" y="214"/>
                    </a:lnTo>
                    <a:lnTo>
                      <a:pt x="35" y="213"/>
                    </a:lnTo>
                    <a:lnTo>
                      <a:pt x="35" y="209"/>
                    </a:lnTo>
                    <a:lnTo>
                      <a:pt x="34" y="213"/>
                    </a:lnTo>
                    <a:lnTo>
                      <a:pt x="32" y="211"/>
                    </a:lnTo>
                    <a:lnTo>
                      <a:pt x="32" y="20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35" name="Freeform 2990"/>
              <p:cNvSpPr>
                <a:spLocks/>
              </p:cNvSpPr>
              <p:nvPr/>
            </p:nvSpPr>
            <p:spPr bwMode="auto">
              <a:xfrm>
                <a:off x="4173" y="2243"/>
                <a:ext cx="143" cy="307"/>
              </a:xfrm>
              <a:custGeom>
                <a:avLst/>
                <a:gdLst>
                  <a:gd name="T0" fmla="*/ 35 w 143"/>
                  <a:gd name="T1" fmla="*/ 177 h 307"/>
                  <a:gd name="T2" fmla="*/ 26 w 143"/>
                  <a:gd name="T3" fmla="*/ 159 h 307"/>
                  <a:gd name="T4" fmla="*/ 19 w 143"/>
                  <a:gd name="T5" fmla="*/ 157 h 307"/>
                  <a:gd name="T6" fmla="*/ 23 w 143"/>
                  <a:gd name="T7" fmla="*/ 156 h 307"/>
                  <a:gd name="T8" fmla="*/ 23 w 143"/>
                  <a:gd name="T9" fmla="*/ 150 h 307"/>
                  <a:gd name="T10" fmla="*/ 7 w 143"/>
                  <a:gd name="T11" fmla="*/ 141 h 307"/>
                  <a:gd name="T12" fmla="*/ 3 w 143"/>
                  <a:gd name="T13" fmla="*/ 138 h 307"/>
                  <a:gd name="T14" fmla="*/ 1 w 143"/>
                  <a:gd name="T15" fmla="*/ 122 h 307"/>
                  <a:gd name="T16" fmla="*/ 5 w 143"/>
                  <a:gd name="T17" fmla="*/ 113 h 307"/>
                  <a:gd name="T18" fmla="*/ 10 w 143"/>
                  <a:gd name="T19" fmla="*/ 111 h 307"/>
                  <a:gd name="T20" fmla="*/ 12 w 143"/>
                  <a:gd name="T21" fmla="*/ 107 h 307"/>
                  <a:gd name="T22" fmla="*/ 12 w 143"/>
                  <a:gd name="T23" fmla="*/ 97 h 307"/>
                  <a:gd name="T24" fmla="*/ 16 w 143"/>
                  <a:gd name="T25" fmla="*/ 81 h 307"/>
                  <a:gd name="T26" fmla="*/ 28 w 143"/>
                  <a:gd name="T27" fmla="*/ 79 h 307"/>
                  <a:gd name="T28" fmla="*/ 37 w 143"/>
                  <a:gd name="T29" fmla="*/ 56 h 307"/>
                  <a:gd name="T30" fmla="*/ 46 w 143"/>
                  <a:gd name="T31" fmla="*/ 45 h 307"/>
                  <a:gd name="T32" fmla="*/ 51 w 143"/>
                  <a:gd name="T33" fmla="*/ 29 h 307"/>
                  <a:gd name="T34" fmla="*/ 68 w 143"/>
                  <a:gd name="T35" fmla="*/ 20 h 307"/>
                  <a:gd name="T36" fmla="*/ 76 w 143"/>
                  <a:gd name="T37" fmla="*/ 18 h 307"/>
                  <a:gd name="T38" fmla="*/ 80 w 143"/>
                  <a:gd name="T39" fmla="*/ 9 h 307"/>
                  <a:gd name="T40" fmla="*/ 84 w 143"/>
                  <a:gd name="T41" fmla="*/ 2 h 307"/>
                  <a:gd name="T42" fmla="*/ 89 w 143"/>
                  <a:gd name="T43" fmla="*/ 2 h 307"/>
                  <a:gd name="T44" fmla="*/ 96 w 143"/>
                  <a:gd name="T45" fmla="*/ 14 h 307"/>
                  <a:gd name="T46" fmla="*/ 96 w 143"/>
                  <a:gd name="T47" fmla="*/ 52 h 307"/>
                  <a:gd name="T48" fmla="*/ 91 w 143"/>
                  <a:gd name="T49" fmla="*/ 59 h 307"/>
                  <a:gd name="T50" fmla="*/ 87 w 143"/>
                  <a:gd name="T51" fmla="*/ 75 h 307"/>
                  <a:gd name="T52" fmla="*/ 94 w 143"/>
                  <a:gd name="T53" fmla="*/ 75 h 307"/>
                  <a:gd name="T54" fmla="*/ 107 w 143"/>
                  <a:gd name="T55" fmla="*/ 82 h 307"/>
                  <a:gd name="T56" fmla="*/ 112 w 143"/>
                  <a:gd name="T57" fmla="*/ 107 h 307"/>
                  <a:gd name="T58" fmla="*/ 128 w 143"/>
                  <a:gd name="T59" fmla="*/ 118 h 307"/>
                  <a:gd name="T60" fmla="*/ 141 w 143"/>
                  <a:gd name="T61" fmla="*/ 114 h 307"/>
                  <a:gd name="T62" fmla="*/ 141 w 143"/>
                  <a:gd name="T63" fmla="*/ 120 h 307"/>
                  <a:gd name="T64" fmla="*/ 130 w 143"/>
                  <a:gd name="T65" fmla="*/ 131 h 307"/>
                  <a:gd name="T66" fmla="*/ 125 w 143"/>
                  <a:gd name="T67" fmla="*/ 134 h 307"/>
                  <a:gd name="T68" fmla="*/ 105 w 143"/>
                  <a:gd name="T69" fmla="*/ 150 h 307"/>
                  <a:gd name="T70" fmla="*/ 87 w 143"/>
                  <a:gd name="T71" fmla="*/ 170 h 307"/>
                  <a:gd name="T72" fmla="*/ 98 w 143"/>
                  <a:gd name="T73" fmla="*/ 191 h 307"/>
                  <a:gd name="T74" fmla="*/ 103 w 143"/>
                  <a:gd name="T75" fmla="*/ 207 h 307"/>
                  <a:gd name="T76" fmla="*/ 100 w 143"/>
                  <a:gd name="T77" fmla="*/ 218 h 307"/>
                  <a:gd name="T78" fmla="*/ 96 w 143"/>
                  <a:gd name="T79" fmla="*/ 227 h 307"/>
                  <a:gd name="T80" fmla="*/ 109 w 143"/>
                  <a:gd name="T81" fmla="*/ 245 h 307"/>
                  <a:gd name="T82" fmla="*/ 118 w 143"/>
                  <a:gd name="T83" fmla="*/ 279 h 307"/>
                  <a:gd name="T84" fmla="*/ 109 w 143"/>
                  <a:gd name="T85" fmla="*/ 293 h 307"/>
                  <a:gd name="T86" fmla="*/ 105 w 143"/>
                  <a:gd name="T87" fmla="*/ 282 h 307"/>
                  <a:gd name="T88" fmla="*/ 103 w 143"/>
                  <a:gd name="T89" fmla="*/ 277 h 307"/>
                  <a:gd name="T90" fmla="*/ 96 w 143"/>
                  <a:gd name="T91" fmla="*/ 248 h 307"/>
                  <a:gd name="T92" fmla="*/ 87 w 143"/>
                  <a:gd name="T93" fmla="*/ 204 h 307"/>
                  <a:gd name="T94" fmla="*/ 73 w 143"/>
                  <a:gd name="T95" fmla="*/ 197 h 307"/>
                  <a:gd name="T96" fmla="*/ 50 w 143"/>
                  <a:gd name="T97" fmla="*/ 216 h 307"/>
                  <a:gd name="T98" fmla="*/ 44 w 143"/>
                  <a:gd name="T99" fmla="*/ 213 h 307"/>
                  <a:gd name="T100" fmla="*/ 35 w 143"/>
                  <a:gd name="T101" fmla="*/ 213 h 307"/>
                  <a:gd name="T102" fmla="*/ 32 w 143"/>
                  <a:gd name="T103" fmla="*/ 211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3" h="307">
                    <a:moveTo>
                      <a:pt x="32" y="206"/>
                    </a:moveTo>
                    <a:lnTo>
                      <a:pt x="35" y="193"/>
                    </a:lnTo>
                    <a:lnTo>
                      <a:pt x="35" y="177"/>
                    </a:lnTo>
                    <a:lnTo>
                      <a:pt x="34" y="175"/>
                    </a:lnTo>
                    <a:lnTo>
                      <a:pt x="34" y="173"/>
                    </a:lnTo>
                    <a:lnTo>
                      <a:pt x="26" y="159"/>
                    </a:lnTo>
                    <a:lnTo>
                      <a:pt x="25" y="164"/>
                    </a:lnTo>
                    <a:lnTo>
                      <a:pt x="23" y="163"/>
                    </a:lnTo>
                    <a:lnTo>
                      <a:pt x="19" y="157"/>
                    </a:lnTo>
                    <a:lnTo>
                      <a:pt x="21" y="156"/>
                    </a:lnTo>
                    <a:lnTo>
                      <a:pt x="25" y="157"/>
                    </a:lnTo>
                    <a:lnTo>
                      <a:pt x="23" y="156"/>
                    </a:lnTo>
                    <a:lnTo>
                      <a:pt x="21" y="154"/>
                    </a:lnTo>
                    <a:lnTo>
                      <a:pt x="23" y="152"/>
                    </a:lnTo>
                    <a:lnTo>
                      <a:pt x="23" y="150"/>
                    </a:lnTo>
                    <a:lnTo>
                      <a:pt x="10" y="145"/>
                    </a:lnTo>
                    <a:lnTo>
                      <a:pt x="10" y="141"/>
                    </a:lnTo>
                    <a:lnTo>
                      <a:pt x="7" y="141"/>
                    </a:lnTo>
                    <a:lnTo>
                      <a:pt x="5" y="138"/>
                    </a:lnTo>
                    <a:lnTo>
                      <a:pt x="5" y="139"/>
                    </a:lnTo>
                    <a:lnTo>
                      <a:pt x="3" y="138"/>
                    </a:lnTo>
                    <a:lnTo>
                      <a:pt x="0" y="131"/>
                    </a:lnTo>
                    <a:lnTo>
                      <a:pt x="0" y="122"/>
                    </a:lnTo>
                    <a:lnTo>
                      <a:pt x="1" y="122"/>
                    </a:lnTo>
                    <a:lnTo>
                      <a:pt x="5" y="122"/>
                    </a:lnTo>
                    <a:lnTo>
                      <a:pt x="5" y="114"/>
                    </a:lnTo>
                    <a:lnTo>
                      <a:pt x="5" y="113"/>
                    </a:lnTo>
                    <a:lnTo>
                      <a:pt x="5" y="113"/>
                    </a:lnTo>
                    <a:lnTo>
                      <a:pt x="7" y="111"/>
                    </a:lnTo>
                    <a:lnTo>
                      <a:pt x="10" y="111"/>
                    </a:lnTo>
                    <a:lnTo>
                      <a:pt x="10" y="111"/>
                    </a:lnTo>
                    <a:lnTo>
                      <a:pt x="12" y="109"/>
                    </a:lnTo>
                    <a:lnTo>
                      <a:pt x="12" y="107"/>
                    </a:lnTo>
                    <a:lnTo>
                      <a:pt x="12" y="107"/>
                    </a:lnTo>
                    <a:lnTo>
                      <a:pt x="12" y="104"/>
                    </a:lnTo>
                    <a:lnTo>
                      <a:pt x="12" y="97"/>
                    </a:lnTo>
                    <a:lnTo>
                      <a:pt x="16" y="97"/>
                    </a:lnTo>
                    <a:lnTo>
                      <a:pt x="16" y="95"/>
                    </a:lnTo>
                    <a:lnTo>
                      <a:pt x="16" y="81"/>
                    </a:lnTo>
                    <a:lnTo>
                      <a:pt x="19" y="79"/>
                    </a:lnTo>
                    <a:lnTo>
                      <a:pt x="23" y="79"/>
                    </a:lnTo>
                    <a:lnTo>
                      <a:pt x="28" y="79"/>
                    </a:lnTo>
                    <a:lnTo>
                      <a:pt x="30" y="77"/>
                    </a:lnTo>
                    <a:lnTo>
                      <a:pt x="39" y="57"/>
                    </a:lnTo>
                    <a:lnTo>
                      <a:pt x="37" y="56"/>
                    </a:lnTo>
                    <a:lnTo>
                      <a:pt x="39" y="52"/>
                    </a:lnTo>
                    <a:lnTo>
                      <a:pt x="44" y="50"/>
                    </a:lnTo>
                    <a:lnTo>
                      <a:pt x="46" y="45"/>
                    </a:lnTo>
                    <a:lnTo>
                      <a:pt x="46" y="38"/>
                    </a:lnTo>
                    <a:lnTo>
                      <a:pt x="48" y="32"/>
                    </a:lnTo>
                    <a:lnTo>
                      <a:pt x="51" y="29"/>
                    </a:lnTo>
                    <a:lnTo>
                      <a:pt x="57" y="27"/>
                    </a:lnTo>
                    <a:lnTo>
                      <a:pt x="60" y="22"/>
                    </a:lnTo>
                    <a:lnTo>
                      <a:pt x="68" y="20"/>
                    </a:lnTo>
                    <a:lnTo>
                      <a:pt x="69" y="18"/>
                    </a:lnTo>
                    <a:lnTo>
                      <a:pt x="75" y="20"/>
                    </a:lnTo>
                    <a:lnTo>
                      <a:pt x="76" y="18"/>
                    </a:lnTo>
                    <a:lnTo>
                      <a:pt x="75" y="14"/>
                    </a:lnTo>
                    <a:lnTo>
                      <a:pt x="76" y="11"/>
                    </a:lnTo>
                    <a:lnTo>
                      <a:pt x="80" y="9"/>
                    </a:lnTo>
                    <a:lnTo>
                      <a:pt x="82" y="7"/>
                    </a:lnTo>
                    <a:lnTo>
                      <a:pt x="82" y="4"/>
                    </a:lnTo>
                    <a:lnTo>
                      <a:pt x="84" y="2"/>
                    </a:lnTo>
                    <a:lnTo>
                      <a:pt x="85" y="0"/>
                    </a:lnTo>
                    <a:lnTo>
                      <a:pt x="85" y="0"/>
                    </a:lnTo>
                    <a:lnTo>
                      <a:pt x="89" y="2"/>
                    </a:lnTo>
                    <a:lnTo>
                      <a:pt x="93" y="6"/>
                    </a:lnTo>
                    <a:lnTo>
                      <a:pt x="94" y="11"/>
                    </a:lnTo>
                    <a:lnTo>
                      <a:pt x="96" y="14"/>
                    </a:lnTo>
                    <a:lnTo>
                      <a:pt x="100" y="14"/>
                    </a:lnTo>
                    <a:lnTo>
                      <a:pt x="101" y="41"/>
                    </a:lnTo>
                    <a:lnTo>
                      <a:pt x="96" y="52"/>
                    </a:lnTo>
                    <a:lnTo>
                      <a:pt x="94" y="52"/>
                    </a:lnTo>
                    <a:lnTo>
                      <a:pt x="93" y="56"/>
                    </a:lnTo>
                    <a:lnTo>
                      <a:pt x="91" y="59"/>
                    </a:lnTo>
                    <a:lnTo>
                      <a:pt x="87" y="68"/>
                    </a:lnTo>
                    <a:lnTo>
                      <a:pt x="89" y="73"/>
                    </a:lnTo>
                    <a:lnTo>
                      <a:pt x="87" y="75"/>
                    </a:lnTo>
                    <a:lnTo>
                      <a:pt x="85" y="81"/>
                    </a:lnTo>
                    <a:lnTo>
                      <a:pt x="87" y="82"/>
                    </a:lnTo>
                    <a:lnTo>
                      <a:pt x="94" y="75"/>
                    </a:lnTo>
                    <a:lnTo>
                      <a:pt x="105" y="75"/>
                    </a:lnTo>
                    <a:lnTo>
                      <a:pt x="105" y="79"/>
                    </a:lnTo>
                    <a:lnTo>
                      <a:pt x="107" y="82"/>
                    </a:lnTo>
                    <a:lnTo>
                      <a:pt x="107" y="89"/>
                    </a:lnTo>
                    <a:lnTo>
                      <a:pt x="116" y="95"/>
                    </a:lnTo>
                    <a:lnTo>
                      <a:pt x="112" y="107"/>
                    </a:lnTo>
                    <a:lnTo>
                      <a:pt x="121" y="111"/>
                    </a:lnTo>
                    <a:lnTo>
                      <a:pt x="123" y="113"/>
                    </a:lnTo>
                    <a:lnTo>
                      <a:pt x="128" y="118"/>
                    </a:lnTo>
                    <a:lnTo>
                      <a:pt x="134" y="118"/>
                    </a:lnTo>
                    <a:lnTo>
                      <a:pt x="139" y="114"/>
                    </a:lnTo>
                    <a:lnTo>
                      <a:pt x="141" y="114"/>
                    </a:lnTo>
                    <a:lnTo>
                      <a:pt x="143" y="116"/>
                    </a:lnTo>
                    <a:lnTo>
                      <a:pt x="141" y="118"/>
                    </a:lnTo>
                    <a:lnTo>
                      <a:pt x="141" y="120"/>
                    </a:lnTo>
                    <a:lnTo>
                      <a:pt x="132" y="125"/>
                    </a:lnTo>
                    <a:lnTo>
                      <a:pt x="134" y="129"/>
                    </a:lnTo>
                    <a:lnTo>
                      <a:pt x="130" y="131"/>
                    </a:lnTo>
                    <a:lnTo>
                      <a:pt x="128" y="131"/>
                    </a:lnTo>
                    <a:lnTo>
                      <a:pt x="126" y="132"/>
                    </a:lnTo>
                    <a:lnTo>
                      <a:pt x="125" y="134"/>
                    </a:lnTo>
                    <a:lnTo>
                      <a:pt x="123" y="139"/>
                    </a:lnTo>
                    <a:lnTo>
                      <a:pt x="118" y="141"/>
                    </a:lnTo>
                    <a:lnTo>
                      <a:pt x="105" y="150"/>
                    </a:lnTo>
                    <a:lnTo>
                      <a:pt x="93" y="152"/>
                    </a:lnTo>
                    <a:lnTo>
                      <a:pt x="87" y="168"/>
                    </a:lnTo>
                    <a:lnTo>
                      <a:pt x="87" y="170"/>
                    </a:lnTo>
                    <a:lnTo>
                      <a:pt x="85" y="172"/>
                    </a:lnTo>
                    <a:lnTo>
                      <a:pt x="91" y="186"/>
                    </a:lnTo>
                    <a:lnTo>
                      <a:pt x="98" y="191"/>
                    </a:lnTo>
                    <a:lnTo>
                      <a:pt x="100" y="193"/>
                    </a:lnTo>
                    <a:lnTo>
                      <a:pt x="100" y="207"/>
                    </a:lnTo>
                    <a:lnTo>
                      <a:pt x="103" y="207"/>
                    </a:lnTo>
                    <a:lnTo>
                      <a:pt x="105" y="209"/>
                    </a:lnTo>
                    <a:lnTo>
                      <a:pt x="103" y="211"/>
                    </a:lnTo>
                    <a:lnTo>
                      <a:pt x="100" y="218"/>
                    </a:lnTo>
                    <a:lnTo>
                      <a:pt x="100" y="222"/>
                    </a:lnTo>
                    <a:lnTo>
                      <a:pt x="96" y="225"/>
                    </a:lnTo>
                    <a:lnTo>
                      <a:pt x="96" y="227"/>
                    </a:lnTo>
                    <a:lnTo>
                      <a:pt x="94" y="231"/>
                    </a:lnTo>
                    <a:lnTo>
                      <a:pt x="96" y="236"/>
                    </a:lnTo>
                    <a:lnTo>
                      <a:pt x="109" y="245"/>
                    </a:lnTo>
                    <a:lnTo>
                      <a:pt x="112" y="264"/>
                    </a:lnTo>
                    <a:lnTo>
                      <a:pt x="112" y="264"/>
                    </a:lnTo>
                    <a:lnTo>
                      <a:pt x="118" y="279"/>
                    </a:lnTo>
                    <a:lnTo>
                      <a:pt x="118" y="282"/>
                    </a:lnTo>
                    <a:lnTo>
                      <a:pt x="112" y="289"/>
                    </a:lnTo>
                    <a:lnTo>
                      <a:pt x="109" y="293"/>
                    </a:lnTo>
                    <a:lnTo>
                      <a:pt x="103" y="307"/>
                    </a:lnTo>
                    <a:lnTo>
                      <a:pt x="100" y="306"/>
                    </a:lnTo>
                    <a:lnTo>
                      <a:pt x="105" y="282"/>
                    </a:lnTo>
                    <a:lnTo>
                      <a:pt x="100" y="279"/>
                    </a:lnTo>
                    <a:lnTo>
                      <a:pt x="100" y="277"/>
                    </a:lnTo>
                    <a:lnTo>
                      <a:pt x="103" y="277"/>
                    </a:lnTo>
                    <a:lnTo>
                      <a:pt x="101" y="273"/>
                    </a:lnTo>
                    <a:lnTo>
                      <a:pt x="103" y="270"/>
                    </a:lnTo>
                    <a:lnTo>
                      <a:pt x="96" y="248"/>
                    </a:lnTo>
                    <a:lnTo>
                      <a:pt x="96" y="250"/>
                    </a:lnTo>
                    <a:lnTo>
                      <a:pt x="94" y="252"/>
                    </a:lnTo>
                    <a:lnTo>
                      <a:pt x="87" y="204"/>
                    </a:lnTo>
                    <a:lnTo>
                      <a:pt x="84" y="204"/>
                    </a:lnTo>
                    <a:lnTo>
                      <a:pt x="76" y="197"/>
                    </a:lnTo>
                    <a:lnTo>
                      <a:pt x="73" y="197"/>
                    </a:lnTo>
                    <a:lnTo>
                      <a:pt x="71" y="188"/>
                    </a:lnTo>
                    <a:lnTo>
                      <a:pt x="69" y="200"/>
                    </a:lnTo>
                    <a:lnTo>
                      <a:pt x="50" y="216"/>
                    </a:lnTo>
                    <a:lnTo>
                      <a:pt x="48" y="214"/>
                    </a:lnTo>
                    <a:lnTo>
                      <a:pt x="46" y="214"/>
                    </a:lnTo>
                    <a:lnTo>
                      <a:pt x="44" y="213"/>
                    </a:lnTo>
                    <a:lnTo>
                      <a:pt x="43" y="216"/>
                    </a:lnTo>
                    <a:lnTo>
                      <a:pt x="37" y="214"/>
                    </a:lnTo>
                    <a:lnTo>
                      <a:pt x="35" y="213"/>
                    </a:lnTo>
                    <a:lnTo>
                      <a:pt x="35" y="209"/>
                    </a:lnTo>
                    <a:lnTo>
                      <a:pt x="34" y="213"/>
                    </a:lnTo>
                    <a:lnTo>
                      <a:pt x="32" y="211"/>
                    </a:lnTo>
                    <a:lnTo>
                      <a:pt x="32" y="20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36" name="Freeform 2991"/>
              <p:cNvSpPr>
                <a:spLocks/>
              </p:cNvSpPr>
              <p:nvPr/>
            </p:nvSpPr>
            <p:spPr bwMode="auto">
              <a:xfrm>
                <a:off x="4116" y="2243"/>
                <a:ext cx="55" cy="29"/>
              </a:xfrm>
              <a:custGeom>
                <a:avLst/>
                <a:gdLst>
                  <a:gd name="T0" fmla="*/ 48 w 55"/>
                  <a:gd name="T1" fmla="*/ 9 h 29"/>
                  <a:gd name="T2" fmla="*/ 48 w 55"/>
                  <a:gd name="T3" fmla="*/ 9 h 29"/>
                  <a:gd name="T4" fmla="*/ 44 w 55"/>
                  <a:gd name="T5" fmla="*/ 7 h 29"/>
                  <a:gd name="T6" fmla="*/ 42 w 55"/>
                  <a:gd name="T7" fmla="*/ 6 h 29"/>
                  <a:gd name="T8" fmla="*/ 42 w 55"/>
                  <a:gd name="T9" fmla="*/ 6 h 29"/>
                  <a:gd name="T10" fmla="*/ 39 w 55"/>
                  <a:gd name="T11" fmla="*/ 7 h 29"/>
                  <a:gd name="T12" fmla="*/ 28 w 55"/>
                  <a:gd name="T13" fmla="*/ 6 h 29"/>
                  <a:gd name="T14" fmla="*/ 26 w 55"/>
                  <a:gd name="T15" fmla="*/ 4 h 29"/>
                  <a:gd name="T16" fmla="*/ 26 w 55"/>
                  <a:gd name="T17" fmla="*/ 2 h 29"/>
                  <a:gd name="T18" fmla="*/ 25 w 55"/>
                  <a:gd name="T19" fmla="*/ 2 h 29"/>
                  <a:gd name="T20" fmla="*/ 23 w 55"/>
                  <a:gd name="T21" fmla="*/ 0 h 29"/>
                  <a:gd name="T22" fmla="*/ 19 w 55"/>
                  <a:gd name="T23" fmla="*/ 0 h 29"/>
                  <a:gd name="T24" fmla="*/ 16 w 55"/>
                  <a:gd name="T25" fmla="*/ 2 h 29"/>
                  <a:gd name="T26" fmla="*/ 12 w 55"/>
                  <a:gd name="T27" fmla="*/ 6 h 29"/>
                  <a:gd name="T28" fmla="*/ 10 w 55"/>
                  <a:gd name="T29" fmla="*/ 11 h 29"/>
                  <a:gd name="T30" fmla="*/ 3 w 55"/>
                  <a:gd name="T31" fmla="*/ 16 h 29"/>
                  <a:gd name="T32" fmla="*/ 3 w 55"/>
                  <a:gd name="T33" fmla="*/ 18 h 29"/>
                  <a:gd name="T34" fmla="*/ 0 w 55"/>
                  <a:gd name="T35" fmla="*/ 22 h 29"/>
                  <a:gd name="T36" fmla="*/ 0 w 55"/>
                  <a:gd name="T37" fmla="*/ 23 h 29"/>
                  <a:gd name="T38" fmla="*/ 1 w 55"/>
                  <a:gd name="T39" fmla="*/ 23 h 29"/>
                  <a:gd name="T40" fmla="*/ 1 w 55"/>
                  <a:gd name="T41" fmla="*/ 23 h 29"/>
                  <a:gd name="T42" fmla="*/ 1 w 55"/>
                  <a:gd name="T43" fmla="*/ 25 h 29"/>
                  <a:gd name="T44" fmla="*/ 3 w 55"/>
                  <a:gd name="T45" fmla="*/ 27 h 29"/>
                  <a:gd name="T46" fmla="*/ 3 w 55"/>
                  <a:gd name="T47" fmla="*/ 27 h 29"/>
                  <a:gd name="T48" fmla="*/ 5 w 55"/>
                  <a:gd name="T49" fmla="*/ 27 h 29"/>
                  <a:gd name="T50" fmla="*/ 19 w 55"/>
                  <a:gd name="T51" fmla="*/ 29 h 29"/>
                  <a:gd name="T52" fmla="*/ 26 w 55"/>
                  <a:gd name="T53" fmla="*/ 27 h 29"/>
                  <a:gd name="T54" fmla="*/ 33 w 55"/>
                  <a:gd name="T55" fmla="*/ 29 h 29"/>
                  <a:gd name="T56" fmla="*/ 51 w 55"/>
                  <a:gd name="T57" fmla="*/ 25 h 29"/>
                  <a:gd name="T58" fmla="*/ 55 w 55"/>
                  <a:gd name="T59" fmla="*/ 23 h 29"/>
                  <a:gd name="T60" fmla="*/ 55 w 55"/>
                  <a:gd name="T61" fmla="*/ 23 h 29"/>
                  <a:gd name="T62" fmla="*/ 55 w 55"/>
                  <a:gd name="T63" fmla="*/ 22 h 29"/>
                  <a:gd name="T64" fmla="*/ 55 w 55"/>
                  <a:gd name="T65" fmla="*/ 18 h 29"/>
                  <a:gd name="T66" fmla="*/ 53 w 55"/>
                  <a:gd name="T67" fmla="*/ 16 h 29"/>
                  <a:gd name="T68" fmla="*/ 48 w 55"/>
                  <a:gd name="T69" fmla="*/ 14 h 29"/>
                  <a:gd name="T70" fmla="*/ 48 w 55"/>
                  <a:gd name="T71" fmla="*/ 13 h 29"/>
                  <a:gd name="T72" fmla="*/ 48 w 55"/>
                  <a:gd name="T73" fmla="*/ 13 h 29"/>
                  <a:gd name="T74" fmla="*/ 48 w 55"/>
                  <a:gd name="T75" fmla="*/ 11 h 29"/>
                  <a:gd name="T76" fmla="*/ 48 w 55"/>
                  <a:gd name="T77" fmla="*/ 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9">
                    <a:moveTo>
                      <a:pt x="48" y="9"/>
                    </a:moveTo>
                    <a:lnTo>
                      <a:pt x="48" y="9"/>
                    </a:lnTo>
                    <a:lnTo>
                      <a:pt x="44" y="7"/>
                    </a:lnTo>
                    <a:lnTo>
                      <a:pt x="42" y="6"/>
                    </a:lnTo>
                    <a:lnTo>
                      <a:pt x="42" y="6"/>
                    </a:lnTo>
                    <a:lnTo>
                      <a:pt x="39" y="7"/>
                    </a:lnTo>
                    <a:lnTo>
                      <a:pt x="28" y="6"/>
                    </a:lnTo>
                    <a:lnTo>
                      <a:pt x="26" y="4"/>
                    </a:lnTo>
                    <a:lnTo>
                      <a:pt x="26" y="2"/>
                    </a:lnTo>
                    <a:lnTo>
                      <a:pt x="25" y="2"/>
                    </a:lnTo>
                    <a:lnTo>
                      <a:pt x="23" y="0"/>
                    </a:lnTo>
                    <a:lnTo>
                      <a:pt x="19" y="0"/>
                    </a:lnTo>
                    <a:lnTo>
                      <a:pt x="16" y="2"/>
                    </a:lnTo>
                    <a:lnTo>
                      <a:pt x="12" y="6"/>
                    </a:lnTo>
                    <a:lnTo>
                      <a:pt x="10" y="11"/>
                    </a:lnTo>
                    <a:lnTo>
                      <a:pt x="3" y="16"/>
                    </a:lnTo>
                    <a:lnTo>
                      <a:pt x="3" y="18"/>
                    </a:lnTo>
                    <a:lnTo>
                      <a:pt x="0" y="22"/>
                    </a:lnTo>
                    <a:lnTo>
                      <a:pt x="0" y="23"/>
                    </a:lnTo>
                    <a:lnTo>
                      <a:pt x="1" y="23"/>
                    </a:lnTo>
                    <a:lnTo>
                      <a:pt x="1" y="23"/>
                    </a:lnTo>
                    <a:lnTo>
                      <a:pt x="1" y="25"/>
                    </a:lnTo>
                    <a:lnTo>
                      <a:pt x="3" y="27"/>
                    </a:lnTo>
                    <a:lnTo>
                      <a:pt x="3" y="27"/>
                    </a:lnTo>
                    <a:lnTo>
                      <a:pt x="5" y="27"/>
                    </a:lnTo>
                    <a:lnTo>
                      <a:pt x="19" y="29"/>
                    </a:lnTo>
                    <a:lnTo>
                      <a:pt x="26" y="27"/>
                    </a:lnTo>
                    <a:lnTo>
                      <a:pt x="33" y="29"/>
                    </a:lnTo>
                    <a:lnTo>
                      <a:pt x="51" y="25"/>
                    </a:lnTo>
                    <a:lnTo>
                      <a:pt x="55" y="23"/>
                    </a:lnTo>
                    <a:lnTo>
                      <a:pt x="55" y="23"/>
                    </a:lnTo>
                    <a:lnTo>
                      <a:pt x="55" y="22"/>
                    </a:lnTo>
                    <a:lnTo>
                      <a:pt x="55" y="18"/>
                    </a:lnTo>
                    <a:lnTo>
                      <a:pt x="53" y="16"/>
                    </a:lnTo>
                    <a:lnTo>
                      <a:pt x="48" y="14"/>
                    </a:lnTo>
                    <a:lnTo>
                      <a:pt x="48" y="13"/>
                    </a:lnTo>
                    <a:lnTo>
                      <a:pt x="48" y="13"/>
                    </a:lnTo>
                    <a:lnTo>
                      <a:pt x="48" y="11"/>
                    </a:lnTo>
                    <a:lnTo>
                      <a:pt x="48"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37" name="Freeform 2992"/>
              <p:cNvSpPr>
                <a:spLocks/>
              </p:cNvSpPr>
              <p:nvPr/>
            </p:nvSpPr>
            <p:spPr bwMode="auto">
              <a:xfrm>
                <a:off x="4116" y="2243"/>
                <a:ext cx="55" cy="29"/>
              </a:xfrm>
              <a:custGeom>
                <a:avLst/>
                <a:gdLst>
                  <a:gd name="T0" fmla="*/ 48 w 55"/>
                  <a:gd name="T1" fmla="*/ 9 h 29"/>
                  <a:gd name="T2" fmla="*/ 48 w 55"/>
                  <a:gd name="T3" fmla="*/ 9 h 29"/>
                  <a:gd name="T4" fmla="*/ 44 w 55"/>
                  <a:gd name="T5" fmla="*/ 7 h 29"/>
                  <a:gd name="T6" fmla="*/ 42 w 55"/>
                  <a:gd name="T7" fmla="*/ 6 h 29"/>
                  <a:gd name="T8" fmla="*/ 42 w 55"/>
                  <a:gd name="T9" fmla="*/ 6 h 29"/>
                  <a:gd name="T10" fmla="*/ 39 w 55"/>
                  <a:gd name="T11" fmla="*/ 7 h 29"/>
                  <a:gd name="T12" fmla="*/ 28 w 55"/>
                  <a:gd name="T13" fmla="*/ 6 h 29"/>
                  <a:gd name="T14" fmla="*/ 26 w 55"/>
                  <a:gd name="T15" fmla="*/ 4 h 29"/>
                  <a:gd name="T16" fmla="*/ 26 w 55"/>
                  <a:gd name="T17" fmla="*/ 2 h 29"/>
                  <a:gd name="T18" fmla="*/ 25 w 55"/>
                  <a:gd name="T19" fmla="*/ 2 h 29"/>
                  <a:gd name="T20" fmla="*/ 23 w 55"/>
                  <a:gd name="T21" fmla="*/ 0 h 29"/>
                  <a:gd name="T22" fmla="*/ 19 w 55"/>
                  <a:gd name="T23" fmla="*/ 0 h 29"/>
                  <a:gd name="T24" fmla="*/ 16 w 55"/>
                  <a:gd name="T25" fmla="*/ 2 h 29"/>
                  <a:gd name="T26" fmla="*/ 12 w 55"/>
                  <a:gd name="T27" fmla="*/ 6 h 29"/>
                  <a:gd name="T28" fmla="*/ 10 w 55"/>
                  <a:gd name="T29" fmla="*/ 11 h 29"/>
                  <a:gd name="T30" fmla="*/ 3 w 55"/>
                  <a:gd name="T31" fmla="*/ 16 h 29"/>
                  <a:gd name="T32" fmla="*/ 3 w 55"/>
                  <a:gd name="T33" fmla="*/ 18 h 29"/>
                  <a:gd name="T34" fmla="*/ 0 w 55"/>
                  <a:gd name="T35" fmla="*/ 22 h 29"/>
                  <a:gd name="T36" fmla="*/ 0 w 55"/>
                  <a:gd name="T37" fmla="*/ 23 h 29"/>
                  <a:gd name="T38" fmla="*/ 1 w 55"/>
                  <a:gd name="T39" fmla="*/ 23 h 29"/>
                  <a:gd name="T40" fmla="*/ 1 w 55"/>
                  <a:gd name="T41" fmla="*/ 23 h 29"/>
                  <a:gd name="T42" fmla="*/ 1 w 55"/>
                  <a:gd name="T43" fmla="*/ 25 h 29"/>
                  <a:gd name="T44" fmla="*/ 3 w 55"/>
                  <a:gd name="T45" fmla="*/ 27 h 29"/>
                  <a:gd name="T46" fmla="*/ 3 w 55"/>
                  <a:gd name="T47" fmla="*/ 27 h 29"/>
                  <a:gd name="T48" fmla="*/ 5 w 55"/>
                  <a:gd name="T49" fmla="*/ 27 h 29"/>
                  <a:gd name="T50" fmla="*/ 19 w 55"/>
                  <a:gd name="T51" fmla="*/ 29 h 29"/>
                  <a:gd name="T52" fmla="*/ 26 w 55"/>
                  <a:gd name="T53" fmla="*/ 27 h 29"/>
                  <a:gd name="T54" fmla="*/ 33 w 55"/>
                  <a:gd name="T55" fmla="*/ 29 h 29"/>
                  <a:gd name="T56" fmla="*/ 51 w 55"/>
                  <a:gd name="T57" fmla="*/ 25 h 29"/>
                  <a:gd name="T58" fmla="*/ 55 w 55"/>
                  <a:gd name="T59" fmla="*/ 23 h 29"/>
                  <a:gd name="T60" fmla="*/ 55 w 55"/>
                  <a:gd name="T61" fmla="*/ 23 h 29"/>
                  <a:gd name="T62" fmla="*/ 55 w 55"/>
                  <a:gd name="T63" fmla="*/ 22 h 29"/>
                  <a:gd name="T64" fmla="*/ 55 w 55"/>
                  <a:gd name="T65" fmla="*/ 18 h 29"/>
                  <a:gd name="T66" fmla="*/ 53 w 55"/>
                  <a:gd name="T67" fmla="*/ 16 h 29"/>
                  <a:gd name="T68" fmla="*/ 48 w 55"/>
                  <a:gd name="T69" fmla="*/ 14 h 29"/>
                  <a:gd name="T70" fmla="*/ 48 w 55"/>
                  <a:gd name="T71" fmla="*/ 13 h 29"/>
                  <a:gd name="T72" fmla="*/ 48 w 55"/>
                  <a:gd name="T73" fmla="*/ 13 h 29"/>
                  <a:gd name="T74" fmla="*/ 48 w 55"/>
                  <a:gd name="T75" fmla="*/ 11 h 29"/>
                  <a:gd name="T76" fmla="*/ 48 w 55"/>
                  <a:gd name="T77" fmla="*/ 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9">
                    <a:moveTo>
                      <a:pt x="48" y="9"/>
                    </a:moveTo>
                    <a:lnTo>
                      <a:pt x="48" y="9"/>
                    </a:lnTo>
                    <a:lnTo>
                      <a:pt x="44" y="7"/>
                    </a:lnTo>
                    <a:lnTo>
                      <a:pt x="42" y="6"/>
                    </a:lnTo>
                    <a:lnTo>
                      <a:pt x="42" y="6"/>
                    </a:lnTo>
                    <a:lnTo>
                      <a:pt x="39" y="7"/>
                    </a:lnTo>
                    <a:lnTo>
                      <a:pt x="28" y="6"/>
                    </a:lnTo>
                    <a:lnTo>
                      <a:pt x="26" y="4"/>
                    </a:lnTo>
                    <a:lnTo>
                      <a:pt x="26" y="2"/>
                    </a:lnTo>
                    <a:lnTo>
                      <a:pt x="25" y="2"/>
                    </a:lnTo>
                    <a:lnTo>
                      <a:pt x="23" y="0"/>
                    </a:lnTo>
                    <a:lnTo>
                      <a:pt x="19" y="0"/>
                    </a:lnTo>
                    <a:lnTo>
                      <a:pt x="16" y="2"/>
                    </a:lnTo>
                    <a:lnTo>
                      <a:pt x="12" y="6"/>
                    </a:lnTo>
                    <a:lnTo>
                      <a:pt x="10" y="11"/>
                    </a:lnTo>
                    <a:lnTo>
                      <a:pt x="3" y="16"/>
                    </a:lnTo>
                    <a:lnTo>
                      <a:pt x="3" y="18"/>
                    </a:lnTo>
                    <a:lnTo>
                      <a:pt x="0" y="22"/>
                    </a:lnTo>
                    <a:lnTo>
                      <a:pt x="0" y="23"/>
                    </a:lnTo>
                    <a:lnTo>
                      <a:pt x="1" y="23"/>
                    </a:lnTo>
                    <a:lnTo>
                      <a:pt x="1" y="23"/>
                    </a:lnTo>
                    <a:lnTo>
                      <a:pt x="1" y="25"/>
                    </a:lnTo>
                    <a:lnTo>
                      <a:pt x="3" y="27"/>
                    </a:lnTo>
                    <a:lnTo>
                      <a:pt x="3" y="27"/>
                    </a:lnTo>
                    <a:lnTo>
                      <a:pt x="5" y="27"/>
                    </a:lnTo>
                    <a:lnTo>
                      <a:pt x="19" y="29"/>
                    </a:lnTo>
                    <a:lnTo>
                      <a:pt x="26" y="27"/>
                    </a:lnTo>
                    <a:lnTo>
                      <a:pt x="33" y="29"/>
                    </a:lnTo>
                    <a:lnTo>
                      <a:pt x="51" y="25"/>
                    </a:lnTo>
                    <a:lnTo>
                      <a:pt x="55" y="23"/>
                    </a:lnTo>
                    <a:lnTo>
                      <a:pt x="55" y="23"/>
                    </a:lnTo>
                    <a:lnTo>
                      <a:pt x="55" y="22"/>
                    </a:lnTo>
                    <a:lnTo>
                      <a:pt x="55" y="18"/>
                    </a:lnTo>
                    <a:lnTo>
                      <a:pt x="53" y="16"/>
                    </a:lnTo>
                    <a:lnTo>
                      <a:pt x="48" y="14"/>
                    </a:lnTo>
                    <a:lnTo>
                      <a:pt x="48" y="13"/>
                    </a:lnTo>
                    <a:lnTo>
                      <a:pt x="48" y="13"/>
                    </a:lnTo>
                    <a:lnTo>
                      <a:pt x="48" y="11"/>
                    </a:lnTo>
                    <a:lnTo>
                      <a:pt x="48"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38" name="Freeform 2993"/>
              <p:cNvSpPr>
                <a:spLocks/>
              </p:cNvSpPr>
              <p:nvPr/>
            </p:nvSpPr>
            <p:spPr bwMode="auto">
              <a:xfrm>
                <a:off x="4933" y="1899"/>
                <a:ext cx="97" cy="89"/>
              </a:xfrm>
              <a:custGeom>
                <a:avLst/>
                <a:gdLst>
                  <a:gd name="T0" fmla="*/ 90 w 97"/>
                  <a:gd name="T1" fmla="*/ 26 h 89"/>
                  <a:gd name="T2" fmla="*/ 86 w 97"/>
                  <a:gd name="T3" fmla="*/ 37 h 89"/>
                  <a:gd name="T4" fmla="*/ 90 w 97"/>
                  <a:gd name="T5" fmla="*/ 42 h 89"/>
                  <a:gd name="T6" fmla="*/ 93 w 97"/>
                  <a:gd name="T7" fmla="*/ 48 h 89"/>
                  <a:gd name="T8" fmla="*/ 97 w 97"/>
                  <a:gd name="T9" fmla="*/ 50 h 89"/>
                  <a:gd name="T10" fmla="*/ 84 w 97"/>
                  <a:gd name="T11" fmla="*/ 55 h 89"/>
                  <a:gd name="T12" fmla="*/ 81 w 97"/>
                  <a:gd name="T13" fmla="*/ 57 h 89"/>
                  <a:gd name="T14" fmla="*/ 70 w 97"/>
                  <a:gd name="T15" fmla="*/ 57 h 89"/>
                  <a:gd name="T16" fmla="*/ 59 w 97"/>
                  <a:gd name="T17" fmla="*/ 69 h 89"/>
                  <a:gd name="T18" fmla="*/ 56 w 97"/>
                  <a:gd name="T19" fmla="*/ 78 h 89"/>
                  <a:gd name="T20" fmla="*/ 29 w 97"/>
                  <a:gd name="T21" fmla="*/ 64 h 89"/>
                  <a:gd name="T22" fmla="*/ 24 w 97"/>
                  <a:gd name="T23" fmla="*/ 67 h 89"/>
                  <a:gd name="T24" fmla="*/ 16 w 97"/>
                  <a:gd name="T25" fmla="*/ 66 h 89"/>
                  <a:gd name="T26" fmla="*/ 9 w 97"/>
                  <a:gd name="T27" fmla="*/ 69 h 89"/>
                  <a:gd name="T28" fmla="*/ 18 w 97"/>
                  <a:gd name="T29" fmla="*/ 76 h 89"/>
                  <a:gd name="T30" fmla="*/ 22 w 97"/>
                  <a:gd name="T31" fmla="*/ 82 h 89"/>
                  <a:gd name="T32" fmla="*/ 13 w 97"/>
                  <a:gd name="T33" fmla="*/ 83 h 89"/>
                  <a:gd name="T34" fmla="*/ 7 w 97"/>
                  <a:gd name="T35" fmla="*/ 89 h 89"/>
                  <a:gd name="T36" fmla="*/ 4 w 97"/>
                  <a:gd name="T37" fmla="*/ 85 h 89"/>
                  <a:gd name="T38" fmla="*/ 0 w 97"/>
                  <a:gd name="T39" fmla="*/ 71 h 89"/>
                  <a:gd name="T40" fmla="*/ 4 w 97"/>
                  <a:gd name="T41" fmla="*/ 62 h 89"/>
                  <a:gd name="T42" fmla="*/ 11 w 97"/>
                  <a:gd name="T43" fmla="*/ 57 h 89"/>
                  <a:gd name="T44" fmla="*/ 11 w 97"/>
                  <a:gd name="T45" fmla="*/ 51 h 89"/>
                  <a:gd name="T46" fmla="*/ 18 w 97"/>
                  <a:gd name="T47" fmla="*/ 51 h 89"/>
                  <a:gd name="T48" fmla="*/ 27 w 97"/>
                  <a:gd name="T49" fmla="*/ 46 h 89"/>
                  <a:gd name="T50" fmla="*/ 29 w 97"/>
                  <a:gd name="T51" fmla="*/ 37 h 89"/>
                  <a:gd name="T52" fmla="*/ 31 w 97"/>
                  <a:gd name="T53" fmla="*/ 7 h 89"/>
                  <a:gd name="T54" fmla="*/ 34 w 97"/>
                  <a:gd name="T55" fmla="*/ 0 h 89"/>
                  <a:gd name="T56" fmla="*/ 38 w 97"/>
                  <a:gd name="T57" fmla="*/ 1 h 89"/>
                  <a:gd name="T58" fmla="*/ 54 w 97"/>
                  <a:gd name="T59" fmla="*/ 21 h 89"/>
                  <a:gd name="T60" fmla="*/ 72 w 97"/>
                  <a:gd name="T61" fmla="*/ 32 h 89"/>
                  <a:gd name="T62" fmla="*/ 77 w 97"/>
                  <a:gd name="T63" fmla="*/ 35 h 89"/>
                  <a:gd name="T64" fmla="*/ 84 w 97"/>
                  <a:gd name="T65" fmla="*/ 3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7" h="89">
                    <a:moveTo>
                      <a:pt x="84" y="32"/>
                    </a:moveTo>
                    <a:lnTo>
                      <a:pt x="90" y="26"/>
                    </a:lnTo>
                    <a:lnTo>
                      <a:pt x="90" y="28"/>
                    </a:lnTo>
                    <a:lnTo>
                      <a:pt x="86" y="37"/>
                    </a:lnTo>
                    <a:lnTo>
                      <a:pt x="86" y="41"/>
                    </a:lnTo>
                    <a:lnTo>
                      <a:pt x="90" y="42"/>
                    </a:lnTo>
                    <a:lnTo>
                      <a:pt x="90" y="48"/>
                    </a:lnTo>
                    <a:lnTo>
                      <a:pt x="93" y="48"/>
                    </a:lnTo>
                    <a:lnTo>
                      <a:pt x="97" y="46"/>
                    </a:lnTo>
                    <a:lnTo>
                      <a:pt x="97" y="50"/>
                    </a:lnTo>
                    <a:lnTo>
                      <a:pt x="86" y="55"/>
                    </a:lnTo>
                    <a:lnTo>
                      <a:pt x="84" y="55"/>
                    </a:lnTo>
                    <a:lnTo>
                      <a:pt x="82" y="55"/>
                    </a:lnTo>
                    <a:lnTo>
                      <a:pt x="81" y="57"/>
                    </a:lnTo>
                    <a:lnTo>
                      <a:pt x="75" y="57"/>
                    </a:lnTo>
                    <a:lnTo>
                      <a:pt x="70" y="57"/>
                    </a:lnTo>
                    <a:lnTo>
                      <a:pt x="66" y="58"/>
                    </a:lnTo>
                    <a:lnTo>
                      <a:pt x="59" y="69"/>
                    </a:lnTo>
                    <a:lnTo>
                      <a:pt x="57" y="75"/>
                    </a:lnTo>
                    <a:lnTo>
                      <a:pt x="56" y="78"/>
                    </a:lnTo>
                    <a:lnTo>
                      <a:pt x="34" y="64"/>
                    </a:lnTo>
                    <a:lnTo>
                      <a:pt x="29" y="64"/>
                    </a:lnTo>
                    <a:lnTo>
                      <a:pt x="25" y="66"/>
                    </a:lnTo>
                    <a:lnTo>
                      <a:pt x="24" y="67"/>
                    </a:lnTo>
                    <a:lnTo>
                      <a:pt x="20" y="67"/>
                    </a:lnTo>
                    <a:lnTo>
                      <a:pt x="16" y="66"/>
                    </a:lnTo>
                    <a:lnTo>
                      <a:pt x="11" y="66"/>
                    </a:lnTo>
                    <a:lnTo>
                      <a:pt x="9" y="69"/>
                    </a:lnTo>
                    <a:lnTo>
                      <a:pt x="11" y="73"/>
                    </a:lnTo>
                    <a:lnTo>
                      <a:pt x="18" y="76"/>
                    </a:lnTo>
                    <a:lnTo>
                      <a:pt x="24" y="80"/>
                    </a:lnTo>
                    <a:lnTo>
                      <a:pt x="22" y="82"/>
                    </a:lnTo>
                    <a:lnTo>
                      <a:pt x="16" y="82"/>
                    </a:lnTo>
                    <a:lnTo>
                      <a:pt x="13" y="83"/>
                    </a:lnTo>
                    <a:lnTo>
                      <a:pt x="11" y="87"/>
                    </a:lnTo>
                    <a:lnTo>
                      <a:pt x="7" y="89"/>
                    </a:lnTo>
                    <a:lnTo>
                      <a:pt x="6" y="89"/>
                    </a:lnTo>
                    <a:lnTo>
                      <a:pt x="4" y="85"/>
                    </a:lnTo>
                    <a:lnTo>
                      <a:pt x="6" y="76"/>
                    </a:lnTo>
                    <a:lnTo>
                      <a:pt x="0" y="71"/>
                    </a:lnTo>
                    <a:lnTo>
                      <a:pt x="2" y="66"/>
                    </a:lnTo>
                    <a:lnTo>
                      <a:pt x="4" y="62"/>
                    </a:lnTo>
                    <a:lnTo>
                      <a:pt x="7" y="60"/>
                    </a:lnTo>
                    <a:lnTo>
                      <a:pt x="11" y="57"/>
                    </a:lnTo>
                    <a:lnTo>
                      <a:pt x="13" y="53"/>
                    </a:lnTo>
                    <a:lnTo>
                      <a:pt x="11" y="51"/>
                    </a:lnTo>
                    <a:lnTo>
                      <a:pt x="11" y="48"/>
                    </a:lnTo>
                    <a:lnTo>
                      <a:pt x="18" y="51"/>
                    </a:lnTo>
                    <a:lnTo>
                      <a:pt x="25" y="50"/>
                    </a:lnTo>
                    <a:lnTo>
                      <a:pt x="27" y="46"/>
                    </a:lnTo>
                    <a:lnTo>
                      <a:pt x="27" y="39"/>
                    </a:lnTo>
                    <a:lnTo>
                      <a:pt x="29" y="37"/>
                    </a:lnTo>
                    <a:lnTo>
                      <a:pt x="32" y="16"/>
                    </a:lnTo>
                    <a:lnTo>
                      <a:pt x="31" y="7"/>
                    </a:lnTo>
                    <a:lnTo>
                      <a:pt x="31" y="3"/>
                    </a:lnTo>
                    <a:lnTo>
                      <a:pt x="34" y="0"/>
                    </a:lnTo>
                    <a:lnTo>
                      <a:pt x="34" y="0"/>
                    </a:lnTo>
                    <a:lnTo>
                      <a:pt x="38" y="1"/>
                    </a:lnTo>
                    <a:lnTo>
                      <a:pt x="38" y="3"/>
                    </a:lnTo>
                    <a:lnTo>
                      <a:pt x="54" y="21"/>
                    </a:lnTo>
                    <a:lnTo>
                      <a:pt x="66" y="30"/>
                    </a:lnTo>
                    <a:lnTo>
                      <a:pt x="72" y="32"/>
                    </a:lnTo>
                    <a:lnTo>
                      <a:pt x="74" y="33"/>
                    </a:lnTo>
                    <a:lnTo>
                      <a:pt x="77" y="35"/>
                    </a:lnTo>
                    <a:lnTo>
                      <a:pt x="81" y="33"/>
                    </a:lnTo>
                    <a:lnTo>
                      <a:pt x="84" y="3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39" name="Freeform 2994"/>
              <p:cNvSpPr>
                <a:spLocks/>
              </p:cNvSpPr>
              <p:nvPr/>
            </p:nvSpPr>
            <p:spPr bwMode="auto">
              <a:xfrm>
                <a:off x="4933" y="1899"/>
                <a:ext cx="97" cy="89"/>
              </a:xfrm>
              <a:custGeom>
                <a:avLst/>
                <a:gdLst>
                  <a:gd name="T0" fmla="*/ 90 w 97"/>
                  <a:gd name="T1" fmla="*/ 26 h 89"/>
                  <a:gd name="T2" fmla="*/ 86 w 97"/>
                  <a:gd name="T3" fmla="*/ 37 h 89"/>
                  <a:gd name="T4" fmla="*/ 90 w 97"/>
                  <a:gd name="T5" fmla="*/ 42 h 89"/>
                  <a:gd name="T6" fmla="*/ 93 w 97"/>
                  <a:gd name="T7" fmla="*/ 48 h 89"/>
                  <a:gd name="T8" fmla="*/ 97 w 97"/>
                  <a:gd name="T9" fmla="*/ 50 h 89"/>
                  <a:gd name="T10" fmla="*/ 84 w 97"/>
                  <a:gd name="T11" fmla="*/ 55 h 89"/>
                  <a:gd name="T12" fmla="*/ 81 w 97"/>
                  <a:gd name="T13" fmla="*/ 57 h 89"/>
                  <a:gd name="T14" fmla="*/ 70 w 97"/>
                  <a:gd name="T15" fmla="*/ 57 h 89"/>
                  <a:gd name="T16" fmla="*/ 59 w 97"/>
                  <a:gd name="T17" fmla="*/ 69 h 89"/>
                  <a:gd name="T18" fmla="*/ 56 w 97"/>
                  <a:gd name="T19" fmla="*/ 78 h 89"/>
                  <a:gd name="T20" fmla="*/ 29 w 97"/>
                  <a:gd name="T21" fmla="*/ 64 h 89"/>
                  <a:gd name="T22" fmla="*/ 24 w 97"/>
                  <a:gd name="T23" fmla="*/ 67 h 89"/>
                  <a:gd name="T24" fmla="*/ 16 w 97"/>
                  <a:gd name="T25" fmla="*/ 66 h 89"/>
                  <a:gd name="T26" fmla="*/ 9 w 97"/>
                  <a:gd name="T27" fmla="*/ 69 h 89"/>
                  <a:gd name="T28" fmla="*/ 18 w 97"/>
                  <a:gd name="T29" fmla="*/ 76 h 89"/>
                  <a:gd name="T30" fmla="*/ 22 w 97"/>
                  <a:gd name="T31" fmla="*/ 82 h 89"/>
                  <a:gd name="T32" fmla="*/ 13 w 97"/>
                  <a:gd name="T33" fmla="*/ 83 h 89"/>
                  <a:gd name="T34" fmla="*/ 7 w 97"/>
                  <a:gd name="T35" fmla="*/ 89 h 89"/>
                  <a:gd name="T36" fmla="*/ 4 w 97"/>
                  <a:gd name="T37" fmla="*/ 85 h 89"/>
                  <a:gd name="T38" fmla="*/ 0 w 97"/>
                  <a:gd name="T39" fmla="*/ 71 h 89"/>
                  <a:gd name="T40" fmla="*/ 4 w 97"/>
                  <a:gd name="T41" fmla="*/ 62 h 89"/>
                  <a:gd name="T42" fmla="*/ 11 w 97"/>
                  <a:gd name="T43" fmla="*/ 57 h 89"/>
                  <a:gd name="T44" fmla="*/ 11 w 97"/>
                  <a:gd name="T45" fmla="*/ 51 h 89"/>
                  <a:gd name="T46" fmla="*/ 18 w 97"/>
                  <a:gd name="T47" fmla="*/ 51 h 89"/>
                  <a:gd name="T48" fmla="*/ 27 w 97"/>
                  <a:gd name="T49" fmla="*/ 46 h 89"/>
                  <a:gd name="T50" fmla="*/ 29 w 97"/>
                  <a:gd name="T51" fmla="*/ 37 h 89"/>
                  <a:gd name="T52" fmla="*/ 31 w 97"/>
                  <a:gd name="T53" fmla="*/ 7 h 89"/>
                  <a:gd name="T54" fmla="*/ 34 w 97"/>
                  <a:gd name="T55" fmla="*/ 0 h 89"/>
                  <a:gd name="T56" fmla="*/ 38 w 97"/>
                  <a:gd name="T57" fmla="*/ 1 h 89"/>
                  <a:gd name="T58" fmla="*/ 54 w 97"/>
                  <a:gd name="T59" fmla="*/ 21 h 89"/>
                  <a:gd name="T60" fmla="*/ 72 w 97"/>
                  <a:gd name="T61" fmla="*/ 32 h 89"/>
                  <a:gd name="T62" fmla="*/ 77 w 97"/>
                  <a:gd name="T63" fmla="*/ 35 h 89"/>
                  <a:gd name="T64" fmla="*/ 84 w 97"/>
                  <a:gd name="T65" fmla="*/ 3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7" h="89">
                    <a:moveTo>
                      <a:pt x="84" y="32"/>
                    </a:moveTo>
                    <a:lnTo>
                      <a:pt x="90" y="26"/>
                    </a:lnTo>
                    <a:lnTo>
                      <a:pt x="90" y="28"/>
                    </a:lnTo>
                    <a:lnTo>
                      <a:pt x="86" y="37"/>
                    </a:lnTo>
                    <a:lnTo>
                      <a:pt x="86" y="41"/>
                    </a:lnTo>
                    <a:lnTo>
                      <a:pt x="90" y="42"/>
                    </a:lnTo>
                    <a:lnTo>
                      <a:pt x="90" y="48"/>
                    </a:lnTo>
                    <a:lnTo>
                      <a:pt x="93" y="48"/>
                    </a:lnTo>
                    <a:lnTo>
                      <a:pt x="97" y="46"/>
                    </a:lnTo>
                    <a:lnTo>
                      <a:pt x="97" y="50"/>
                    </a:lnTo>
                    <a:lnTo>
                      <a:pt x="86" y="55"/>
                    </a:lnTo>
                    <a:lnTo>
                      <a:pt x="84" y="55"/>
                    </a:lnTo>
                    <a:lnTo>
                      <a:pt x="82" y="55"/>
                    </a:lnTo>
                    <a:lnTo>
                      <a:pt x="81" y="57"/>
                    </a:lnTo>
                    <a:lnTo>
                      <a:pt x="75" y="57"/>
                    </a:lnTo>
                    <a:lnTo>
                      <a:pt x="70" y="57"/>
                    </a:lnTo>
                    <a:lnTo>
                      <a:pt x="66" y="58"/>
                    </a:lnTo>
                    <a:lnTo>
                      <a:pt x="59" y="69"/>
                    </a:lnTo>
                    <a:lnTo>
                      <a:pt x="57" y="75"/>
                    </a:lnTo>
                    <a:lnTo>
                      <a:pt x="56" y="78"/>
                    </a:lnTo>
                    <a:lnTo>
                      <a:pt x="34" y="64"/>
                    </a:lnTo>
                    <a:lnTo>
                      <a:pt x="29" y="64"/>
                    </a:lnTo>
                    <a:lnTo>
                      <a:pt x="25" y="66"/>
                    </a:lnTo>
                    <a:lnTo>
                      <a:pt x="24" y="67"/>
                    </a:lnTo>
                    <a:lnTo>
                      <a:pt x="20" y="67"/>
                    </a:lnTo>
                    <a:lnTo>
                      <a:pt x="16" y="66"/>
                    </a:lnTo>
                    <a:lnTo>
                      <a:pt x="11" y="66"/>
                    </a:lnTo>
                    <a:lnTo>
                      <a:pt x="9" y="69"/>
                    </a:lnTo>
                    <a:lnTo>
                      <a:pt x="11" y="73"/>
                    </a:lnTo>
                    <a:lnTo>
                      <a:pt x="18" y="76"/>
                    </a:lnTo>
                    <a:lnTo>
                      <a:pt x="24" y="80"/>
                    </a:lnTo>
                    <a:lnTo>
                      <a:pt x="22" y="82"/>
                    </a:lnTo>
                    <a:lnTo>
                      <a:pt x="16" y="82"/>
                    </a:lnTo>
                    <a:lnTo>
                      <a:pt x="13" y="83"/>
                    </a:lnTo>
                    <a:lnTo>
                      <a:pt x="11" y="87"/>
                    </a:lnTo>
                    <a:lnTo>
                      <a:pt x="7" y="89"/>
                    </a:lnTo>
                    <a:lnTo>
                      <a:pt x="6" y="89"/>
                    </a:lnTo>
                    <a:lnTo>
                      <a:pt x="4" y="85"/>
                    </a:lnTo>
                    <a:lnTo>
                      <a:pt x="6" y="76"/>
                    </a:lnTo>
                    <a:lnTo>
                      <a:pt x="0" y="71"/>
                    </a:lnTo>
                    <a:lnTo>
                      <a:pt x="2" y="66"/>
                    </a:lnTo>
                    <a:lnTo>
                      <a:pt x="4" y="62"/>
                    </a:lnTo>
                    <a:lnTo>
                      <a:pt x="7" y="60"/>
                    </a:lnTo>
                    <a:lnTo>
                      <a:pt x="11" y="57"/>
                    </a:lnTo>
                    <a:lnTo>
                      <a:pt x="13" y="53"/>
                    </a:lnTo>
                    <a:lnTo>
                      <a:pt x="11" y="51"/>
                    </a:lnTo>
                    <a:lnTo>
                      <a:pt x="11" y="48"/>
                    </a:lnTo>
                    <a:lnTo>
                      <a:pt x="18" y="51"/>
                    </a:lnTo>
                    <a:lnTo>
                      <a:pt x="25" y="50"/>
                    </a:lnTo>
                    <a:lnTo>
                      <a:pt x="27" y="46"/>
                    </a:lnTo>
                    <a:lnTo>
                      <a:pt x="27" y="39"/>
                    </a:lnTo>
                    <a:lnTo>
                      <a:pt x="29" y="37"/>
                    </a:lnTo>
                    <a:lnTo>
                      <a:pt x="32" y="16"/>
                    </a:lnTo>
                    <a:lnTo>
                      <a:pt x="31" y="7"/>
                    </a:lnTo>
                    <a:lnTo>
                      <a:pt x="31" y="3"/>
                    </a:lnTo>
                    <a:lnTo>
                      <a:pt x="34" y="0"/>
                    </a:lnTo>
                    <a:lnTo>
                      <a:pt x="34" y="0"/>
                    </a:lnTo>
                    <a:lnTo>
                      <a:pt x="38" y="1"/>
                    </a:lnTo>
                    <a:lnTo>
                      <a:pt x="38" y="3"/>
                    </a:lnTo>
                    <a:lnTo>
                      <a:pt x="54" y="21"/>
                    </a:lnTo>
                    <a:lnTo>
                      <a:pt x="66" y="30"/>
                    </a:lnTo>
                    <a:lnTo>
                      <a:pt x="72" y="32"/>
                    </a:lnTo>
                    <a:lnTo>
                      <a:pt x="74" y="33"/>
                    </a:lnTo>
                    <a:lnTo>
                      <a:pt x="77" y="35"/>
                    </a:lnTo>
                    <a:lnTo>
                      <a:pt x="81" y="33"/>
                    </a:lnTo>
                    <a:lnTo>
                      <a:pt x="84" y="3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40" name="Freeform 2995"/>
              <p:cNvSpPr>
                <a:spLocks/>
              </p:cNvSpPr>
              <p:nvPr/>
            </p:nvSpPr>
            <p:spPr bwMode="auto">
              <a:xfrm>
                <a:off x="4792" y="1986"/>
                <a:ext cx="179" cy="161"/>
              </a:xfrm>
              <a:custGeom>
                <a:avLst/>
                <a:gdLst>
                  <a:gd name="T0" fmla="*/ 168 w 179"/>
                  <a:gd name="T1" fmla="*/ 4 h 161"/>
                  <a:gd name="T2" fmla="*/ 173 w 179"/>
                  <a:gd name="T3" fmla="*/ 25 h 161"/>
                  <a:gd name="T4" fmla="*/ 177 w 179"/>
                  <a:gd name="T5" fmla="*/ 46 h 161"/>
                  <a:gd name="T6" fmla="*/ 173 w 179"/>
                  <a:gd name="T7" fmla="*/ 54 h 161"/>
                  <a:gd name="T8" fmla="*/ 166 w 179"/>
                  <a:gd name="T9" fmla="*/ 66 h 161"/>
                  <a:gd name="T10" fmla="*/ 163 w 179"/>
                  <a:gd name="T11" fmla="*/ 93 h 161"/>
                  <a:gd name="T12" fmla="*/ 156 w 179"/>
                  <a:gd name="T13" fmla="*/ 113 h 161"/>
                  <a:gd name="T14" fmla="*/ 156 w 179"/>
                  <a:gd name="T15" fmla="*/ 120 h 161"/>
                  <a:gd name="T16" fmla="*/ 143 w 179"/>
                  <a:gd name="T17" fmla="*/ 132 h 161"/>
                  <a:gd name="T18" fmla="*/ 147 w 179"/>
                  <a:gd name="T19" fmla="*/ 120 h 161"/>
                  <a:gd name="T20" fmla="*/ 141 w 179"/>
                  <a:gd name="T21" fmla="*/ 129 h 161"/>
                  <a:gd name="T22" fmla="*/ 132 w 179"/>
                  <a:gd name="T23" fmla="*/ 130 h 161"/>
                  <a:gd name="T24" fmla="*/ 127 w 179"/>
                  <a:gd name="T25" fmla="*/ 139 h 161"/>
                  <a:gd name="T26" fmla="*/ 125 w 179"/>
                  <a:gd name="T27" fmla="*/ 130 h 161"/>
                  <a:gd name="T28" fmla="*/ 98 w 179"/>
                  <a:gd name="T29" fmla="*/ 141 h 161"/>
                  <a:gd name="T30" fmla="*/ 98 w 179"/>
                  <a:gd name="T31" fmla="*/ 138 h 161"/>
                  <a:gd name="T32" fmla="*/ 95 w 179"/>
                  <a:gd name="T33" fmla="*/ 136 h 161"/>
                  <a:gd name="T34" fmla="*/ 90 w 179"/>
                  <a:gd name="T35" fmla="*/ 139 h 161"/>
                  <a:gd name="T36" fmla="*/ 93 w 179"/>
                  <a:gd name="T37" fmla="*/ 146 h 161"/>
                  <a:gd name="T38" fmla="*/ 88 w 179"/>
                  <a:gd name="T39" fmla="*/ 148 h 161"/>
                  <a:gd name="T40" fmla="*/ 73 w 179"/>
                  <a:gd name="T41" fmla="*/ 159 h 161"/>
                  <a:gd name="T42" fmla="*/ 68 w 179"/>
                  <a:gd name="T43" fmla="*/ 152 h 161"/>
                  <a:gd name="T44" fmla="*/ 72 w 179"/>
                  <a:gd name="T45" fmla="*/ 139 h 161"/>
                  <a:gd name="T46" fmla="*/ 59 w 179"/>
                  <a:gd name="T47" fmla="*/ 138 h 161"/>
                  <a:gd name="T48" fmla="*/ 45 w 179"/>
                  <a:gd name="T49" fmla="*/ 141 h 161"/>
                  <a:gd name="T50" fmla="*/ 23 w 179"/>
                  <a:gd name="T51" fmla="*/ 146 h 161"/>
                  <a:gd name="T52" fmla="*/ 13 w 179"/>
                  <a:gd name="T53" fmla="*/ 152 h 161"/>
                  <a:gd name="T54" fmla="*/ 6 w 179"/>
                  <a:gd name="T55" fmla="*/ 154 h 161"/>
                  <a:gd name="T56" fmla="*/ 7 w 179"/>
                  <a:gd name="T57" fmla="*/ 143 h 161"/>
                  <a:gd name="T58" fmla="*/ 25 w 179"/>
                  <a:gd name="T59" fmla="*/ 129 h 161"/>
                  <a:gd name="T60" fmla="*/ 40 w 179"/>
                  <a:gd name="T61" fmla="*/ 123 h 161"/>
                  <a:gd name="T62" fmla="*/ 75 w 179"/>
                  <a:gd name="T63" fmla="*/ 123 h 161"/>
                  <a:gd name="T64" fmla="*/ 82 w 179"/>
                  <a:gd name="T65" fmla="*/ 109 h 161"/>
                  <a:gd name="T66" fmla="*/ 95 w 179"/>
                  <a:gd name="T67" fmla="*/ 86 h 161"/>
                  <a:gd name="T68" fmla="*/ 102 w 179"/>
                  <a:gd name="T69" fmla="*/ 86 h 161"/>
                  <a:gd name="T70" fmla="*/ 97 w 179"/>
                  <a:gd name="T71" fmla="*/ 91 h 161"/>
                  <a:gd name="T72" fmla="*/ 104 w 179"/>
                  <a:gd name="T73" fmla="*/ 96 h 161"/>
                  <a:gd name="T74" fmla="*/ 123 w 179"/>
                  <a:gd name="T75" fmla="*/ 84 h 161"/>
                  <a:gd name="T76" fmla="*/ 134 w 179"/>
                  <a:gd name="T77" fmla="*/ 73 h 161"/>
                  <a:gd name="T78" fmla="*/ 145 w 179"/>
                  <a:gd name="T79" fmla="*/ 34 h 161"/>
                  <a:gd name="T80" fmla="*/ 145 w 179"/>
                  <a:gd name="T81" fmla="*/ 18 h 161"/>
                  <a:gd name="T82" fmla="*/ 150 w 179"/>
                  <a:gd name="T83" fmla="*/ 11 h 161"/>
                  <a:gd name="T84" fmla="*/ 154 w 179"/>
                  <a:gd name="T85" fmla="*/ 9 h 161"/>
                  <a:gd name="T86" fmla="*/ 159 w 179"/>
                  <a:gd name="T87" fmla="*/ 13 h 161"/>
                  <a:gd name="T88" fmla="*/ 165 w 179"/>
                  <a:gd name="T89" fmla="*/ 9 h 161"/>
                  <a:gd name="T90" fmla="*/ 159 w 179"/>
                  <a:gd name="T91" fmla="*/ 9 h 161"/>
                  <a:gd name="T92" fmla="*/ 161 w 179"/>
                  <a:gd name="T9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9" h="161">
                    <a:moveTo>
                      <a:pt x="163" y="2"/>
                    </a:moveTo>
                    <a:lnTo>
                      <a:pt x="168" y="2"/>
                    </a:lnTo>
                    <a:lnTo>
                      <a:pt x="168" y="4"/>
                    </a:lnTo>
                    <a:lnTo>
                      <a:pt x="168" y="16"/>
                    </a:lnTo>
                    <a:lnTo>
                      <a:pt x="170" y="21"/>
                    </a:lnTo>
                    <a:lnTo>
                      <a:pt x="173" y="25"/>
                    </a:lnTo>
                    <a:lnTo>
                      <a:pt x="179" y="43"/>
                    </a:lnTo>
                    <a:lnTo>
                      <a:pt x="179" y="45"/>
                    </a:lnTo>
                    <a:lnTo>
                      <a:pt x="177" y="46"/>
                    </a:lnTo>
                    <a:lnTo>
                      <a:pt x="177" y="50"/>
                    </a:lnTo>
                    <a:lnTo>
                      <a:pt x="175" y="54"/>
                    </a:lnTo>
                    <a:lnTo>
                      <a:pt x="173" y="54"/>
                    </a:lnTo>
                    <a:lnTo>
                      <a:pt x="170" y="61"/>
                    </a:lnTo>
                    <a:lnTo>
                      <a:pt x="170" y="66"/>
                    </a:lnTo>
                    <a:lnTo>
                      <a:pt x="166" y="66"/>
                    </a:lnTo>
                    <a:lnTo>
                      <a:pt x="163" y="68"/>
                    </a:lnTo>
                    <a:lnTo>
                      <a:pt x="161" y="73"/>
                    </a:lnTo>
                    <a:lnTo>
                      <a:pt x="163" y="93"/>
                    </a:lnTo>
                    <a:lnTo>
                      <a:pt x="159" y="96"/>
                    </a:lnTo>
                    <a:lnTo>
                      <a:pt x="157" y="102"/>
                    </a:lnTo>
                    <a:lnTo>
                      <a:pt x="156" y="113"/>
                    </a:lnTo>
                    <a:lnTo>
                      <a:pt x="157" y="116"/>
                    </a:lnTo>
                    <a:lnTo>
                      <a:pt x="159" y="118"/>
                    </a:lnTo>
                    <a:lnTo>
                      <a:pt x="156" y="120"/>
                    </a:lnTo>
                    <a:lnTo>
                      <a:pt x="152" y="129"/>
                    </a:lnTo>
                    <a:lnTo>
                      <a:pt x="143" y="134"/>
                    </a:lnTo>
                    <a:lnTo>
                      <a:pt x="143" y="132"/>
                    </a:lnTo>
                    <a:lnTo>
                      <a:pt x="145" y="125"/>
                    </a:lnTo>
                    <a:lnTo>
                      <a:pt x="147" y="121"/>
                    </a:lnTo>
                    <a:lnTo>
                      <a:pt x="147" y="120"/>
                    </a:lnTo>
                    <a:lnTo>
                      <a:pt x="143" y="120"/>
                    </a:lnTo>
                    <a:lnTo>
                      <a:pt x="141" y="125"/>
                    </a:lnTo>
                    <a:lnTo>
                      <a:pt x="141" y="129"/>
                    </a:lnTo>
                    <a:lnTo>
                      <a:pt x="138" y="127"/>
                    </a:lnTo>
                    <a:lnTo>
                      <a:pt x="134" y="127"/>
                    </a:lnTo>
                    <a:lnTo>
                      <a:pt x="132" y="130"/>
                    </a:lnTo>
                    <a:lnTo>
                      <a:pt x="131" y="138"/>
                    </a:lnTo>
                    <a:lnTo>
                      <a:pt x="129" y="139"/>
                    </a:lnTo>
                    <a:lnTo>
                      <a:pt x="127" y="139"/>
                    </a:lnTo>
                    <a:lnTo>
                      <a:pt x="127" y="134"/>
                    </a:lnTo>
                    <a:lnTo>
                      <a:pt x="127" y="130"/>
                    </a:lnTo>
                    <a:lnTo>
                      <a:pt x="125" y="130"/>
                    </a:lnTo>
                    <a:lnTo>
                      <a:pt x="116" y="141"/>
                    </a:lnTo>
                    <a:lnTo>
                      <a:pt x="104" y="139"/>
                    </a:lnTo>
                    <a:lnTo>
                      <a:pt x="98" y="141"/>
                    </a:lnTo>
                    <a:lnTo>
                      <a:pt x="100" y="139"/>
                    </a:lnTo>
                    <a:lnTo>
                      <a:pt x="102" y="138"/>
                    </a:lnTo>
                    <a:lnTo>
                      <a:pt x="98" y="138"/>
                    </a:lnTo>
                    <a:lnTo>
                      <a:pt x="98" y="136"/>
                    </a:lnTo>
                    <a:lnTo>
                      <a:pt x="97" y="138"/>
                    </a:lnTo>
                    <a:lnTo>
                      <a:pt x="95" y="136"/>
                    </a:lnTo>
                    <a:lnTo>
                      <a:pt x="95" y="132"/>
                    </a:lnTo>
                    <a:lnTo>
                      <a:pt x="93" y="132"/>
                    </a:lnTo>
                    <a:lnTo>
                      <a:pt x="90" y="139"/>
                    </a:lnTo>
                    <a:lnTo>
                      <a:pt x="95" y="143"/>
                    </a:lnTo>
                    <a:lnTo>
                      <a:pt x="95" y="148"/>
                    </a:lnTo>
                    <a:lnTo>
                      <a:pt x="93" y="146"/>
                    </a:lnTo>
                    <a:lnTo>
                      <a:pt x="91" y="146"/>
                    </a:lnTo>
                    <a:lnTo>
                      <a:pt x="90" y="146"/>
                    </a:lnTo>
                    <a:lnTo>
                      <a:pt x="88" y="148"/>
                    </a:lnTo>
                    <a:lnTo>
                      <a:pt x="81" y="159"/>
                    </a:lnTo>
                    <a:lnTo>
                      <a:pt x="77" y="161"/>
                    </a:lnTo>
                    <a:lnTo>
                      <a:pt x="73" y="159"/>
                    </a:lnTo>
                    <a:lnTo>
                      <a:pt x="72" y="157"/>
                    </a:lnTo>
                    <a:lnTo>
                      <a:pt x="68" y="155"/>
                    </a:lnTo>
                    <a:lnTo>
                      <a:pt x="68" y="152"/>
                    </a:lnTo>
                    <a:lnTo>
                      <a:pt x="68" y="146"/>
                    </a:lnTo>
                    <a:lnTo>
                      <a:pt x="72" y="141"/>
                    </a:lnTo>
                    <a:lnTo>
                      <a:pt x="72" y="139"/>
                    </a:lnTo>
                    <a:lnTo>
                      <a:pt x="72" y="138"/>
                    </a:lnTo>
                    <a:lnTo>
                      <a:pt x="66" y="139"/>
                    </a:lnTo>
                    <a:lnTo>
                      <a:pt x="59" y="138"/>
                    </a:lnTo>
                    <a:lnTo>
                      <a:pt x="56" y="138"/>
                    </a:lnTo>
                    <a:lnTo>
                      <a:pt x="47" y="143"/>
                    </a:lnTo>
                    <a:lnTo>
                      <a:pt x="45" y="141"/>
                    </a:lnTo>
                    <a:lnTo>
                      <a:pt x="27" y="146"/>
                    </a:lnTo>
                    <a:lnTo>
                      <a:pt x="25" y="145"/>
                    </a:lnTo>
                    <a:lnTo>
                      <a:pt x="23" y="146"/>
                    </a:lnTo>
                    <a:lnTo>
                      <a:pt x="20" y="154"/>
                    </a:lnTo>
                    <a:lnTo>
                      <a:pt x="18" y="154"/>
                    </a:lnTo>
                    <a:lnTo>
                      <a:pt x="13" y="152"/>
                    </a:lnTo>
                    <a:lnTo>
                      <a:pt x="9" y="152"/>
                    </a:lnTo>
                    <a:lnTo>
                      <a:pt x="7" y="152"/>
                    </a:lnTo>
                    <a:lnTo>
                      <a:pt x="6" y="154"/>
                    </a:lnTo>
                    <a:lnTo>
                      <a:pt x="0" y="152"/>
                    </a:lnTo>
                    <a:lnTo>
                      <a:pt x="0" y="145"/>
                    </a:lnTo>
                    <a:lnTo>
                      <a:pt x="7" y="143"/>
                    </a:lnTo>
                    <a:lnTo>
                      <a:pt x="18" y="136"/>
                    </a:lnTo>
                    <a:lnTo>
                      <a:pt x="22" y="130"/>
                    </a:lnTo>
                    <a:lnTo>
                      <a:pt x="25" y="129"/>
                    </a:lnTo>
                    <a:lnTo>
                      <a:pt x="27" y="125"/>
                    </a:lnTo>
                    <a:lnTo>
                      <a:pt x="34" y="121"/>
                    </a:lnTo>
                    <a:lnTo>
                      <a:pt x="40" y="123"/>
                    </a:lnTo>
                    <a:lnTo>
                      <a:pt x="70" y="118"/>
                    </a:lnTo>
                    <a:lnTo>
                      <a:pt x="70" y="121"/>
                    </a:lnTo>
                    <a:lnTo>
                      <a:pt x="75" y="123"/>
                    </a:lnTo>
                    <a:lnTo>
                      <a:pt x="77" y="121"/>
                    </a:lnTo>
                    <a:lnTo>
                      <a:pt x="82" y="118"/>
                    </a:lnTo>
                    <a:lnTo>
                      <a:pt x="82" y="109"/>
                    </a:lnTo>
                    <a:lnTo>
                      <a:pt x="91" y="100"/>
                    </a:lnTo>
                    <a:lnTo>
                      <a:pt x="93" y="95"/>
                    </a:lnTo>
                    <a:lnTo>
                      <a:pt x="95" y="86"/>
                    </a:lnTo>
                    <a:lnTo>
                      <a:pt x="100" y="82"/>
                    </a:lnTo>
                    <a:lnTo>
                      <a:pt x="102" y="84"/>
                    </a:lnTo>
                    <a:lnTo>
                      <a:pt x="102" y="86"/>
                    </a:lnTo>
                    <a:lnTo>
                      <a:pt x="98" y="88"/>
                    </a:lnTo>
                    <a:lnTo>
                      <a:pt x="97" y="89"/>
                    </a:lnTo>
                    <a:lnTo>
                      <a:pt x="97" y="91"/>
                    </a:lnTo>
                    <a:lnTo>
                      <a:pt x="98" y="95"/>
                    </a:lnTo>
                    <a:lnTo>
                      <a:pt x="98" y="98"/>
                    </a:lnTo>
                    <a:lnTo>
                      <a:pt x="104" y="96"/>
                    </a:lnTo>
                    <a:lnTo>
                      <a:pt x="106" y="95"/>
                    </a:lnTo>
                    <a:lnTo>
                      <a:pt x="115" y="91"/>
                    </a:lnTo>
                    <a:lnTo>
                      <a:pt x="123" y="84"/>
                    </a:lnTo>
                    <a:lnTo>
                      <a:pt x="129" y="75"/>
                    </a:lnTo>
                    <a:lnTo>
                      <a:pt x="132" y="73"/>
                    </a:lnTo>
                    <a:lnTo>
                      <a:pt x="134" y="73"/>
                    </a:lnTo>
                    <a:lnTo>
                      <a:pt x="136" y="70"/>
                    </a:lnTo>
                    <a:lnTo>
                      <a:pt x="147" y="36"/>
                    </a:lnTo>
                    <a:lnTo>
                      <a:pt x="145" y="34"/>
                    </a:lnTo>
                    <a:lnTo>
                      <a:pt x="141" y="34"/>
                    </a:lnTo>
                    <a:lnTo>
                      <a:pt x="145" y="27"/>
                    </a:lnTo>
                    <a:lnTo>
                      <a:pt x="145" y="18"/>
                    </a:lnTo>
                    <a:lnTo>
                      <a:pt x="147" y="16"/>
                    </a:lnTo>
                    <a:lnTo>
                      <a:pt x="148" y="14"/>
                    </a:lnTo>
                    <a:lnTo>
                      <a:pt x="150" y="11"/>
                    </a:lnTo>
                    <a:lnTo>
                      <a:pt x="150" y="7"/>
                    </a:lnTo>
                    <a:lnTo>
                      <a:pt x="152" y="7"/>
                    </a:lnTo>
                    <a:lnTo>
                      <a:pt x="154" y="9"/>
                    </a:lnTo>
                    <a:lnTo>
                      <a:pt x="156" y="13"/>
                    </a:lnTo>
                    <a:lnTo>
                      <a:pt x="157" y="14"/>
                    </a:lnTo>
                    <a:lnTo>
                      <a:pt x="159" y="13"/>
                    </a:lnTo>
                    <a:lnTo>
                      <a:pt x="161" y="13"/>
                    </a:lnTo>
                    <a:lnTo>
                      <a:pt x="163" y="13"/>
                    </a:lnTo>
                    <a:lnTo>
                      <a:pt x="165" y="9"/>
                    </a:lnTo>
                    <a:lnTo>
                      <a:pt x="165" y="5"/>
                    </a:lnTo>
                    <a:lnTo>
                      <a:pt x="163" y="7"/>
                    </a:lnTo>
                    <a:lnTo>
                      <a:pt x="159" y="9"/>
                    </a:lnTo>
                    <a:lnTo>
                      <a:pt x="157" y="5"/>
                    </a:lnTo>
                    <a:lnTo>
                      <a:pt x="159" y="2"/>
                    </a:lnTo>
                    <a:lnTo>
                      <a:pt x="161" y="0"/>
                    </a:lnTo>
                    <a:lnTo>
                      <a:pt x="163"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41" name="Freeform 2996"/>
              <p:cNvSpPr>
                <a:spLocks/>
              </p:cNvSpPr>
              <p:nvPr/>
            </p:nvSpPr>
            <p:spPr bwMode="auto">
              <a:xfrm>
                <a:off x="4792" y="1986"/>
                <a:ext cx="179" cy="161"/>
              </a:xfrm>
              <a:custGeom>
                <a:avLst/>
                <a:gdLst>
                  <a:gd name="T0" fmla="*/ 168 w 179"/>
                  <a:gd name="T1" fmla="*/ 4 h 161"/>
                  <a:gd name="T2" fmla="*/ 173 w 179"/>
                  <a:gd name="T3" fmla="*/ 25 h 161"/>
                  <a:gd name="T4" fmla="*/ 177 w 179"/>
                  <a:gd name="T5" fmla="*/ 46 h 161"/>
                  <a:gd name="T6" fmla="*/ 173 w 179"/>
                  <a:gd name="T7" fmla="*/ 54 h 161"/>
                  <a:gd name="T8" fmla="*/ 166 w 179"/>
                  <a:gd name="T9" fmla="*/ 66 h 161"/>
                  <a:gd name="T10" fmla="*/ 163 w 179"/>
                  <a:gd name="T11" fmla="*/ 93 h 161"/>
                  <a:gd name="T12" fmla="*/ 156 w 179"/>
                  <a:gd name="T13" fmla="*/ 113 h 161"/>
                  <a:gd name="T14" fmla="*/ 156 w 179"/>
                  <a:gd name="T15" fmla="*/ 120 h 161"/>
                  <a:gd name="T16" fmla="*/ 143 w 179"/>
                  <a:gd name="T17" fmla="*/ 132 h 161"/>
                  <a:gd name="T18" fmla="*/ 147 w 179"/>
                  <a:gd name="T19" fmla="*/ 120 h 161"/>
                  <a:gd name="T20" fmla="*/ 141 w 179"/>
                  <a:gd name="T21" fmla="*/ 129 h 161"/>
                  <a:gd name="T22" fmla="*/ 132 w 179"/>
                  <a:gd name="T23" fmla="*/ 130 h 161"/>
                  <a:gd name="T24" fmla="*/ 127 w 179"/>
                  <a:gd name="T25" fmla="*/ 139 h 161"/>
                  <a:gd name="T26" fmla="*/ 125 w 179"/>
                  <a:gd name="T27" fmla="*/ 130 h 161"/>
                  <a:gd name="T28" fmla="*/ 98 w 179"/>
                  <a:gd name="T29" fmla="*/ 141 h 161"/>
                  <a:gd name="T30" fmla="*/ 98 w 179"/>
                  <a:gd name="T31" fmla="*/ 138 h 161"/>
                  <a:gd name="T32" fmla="*/ 95 w 179"/>
                  <a:gd name="T33" fmla="*/ 136 h 161"/>
                  <a:gd name="T34" fmla="*/ 90 w 179"/>
                  <a:gd name="T35" fmla="*/ 139 h 161"/>
                  <a:gd name="T36" fmla="*/ 93 w 179"/>
                  <a:gd name="T37" fmla="*/ 146 h 161"/>
                  <a:gd name="T38" fmla="*/ 88 w 179"/>
                  <a:gd name="T39" fmla="*/ 148 h 161"/>
                  <a:gd name="T40" fmla="*/ 73 w 179"/>
                  <a:gd name="T41" fmla="*/ 159 h 161"/>
                  <a:gd name="T42" fmla="*/ 68 w 179"/>
                  <a:gd name="T43" fmla="*/ 152 h 161"/>
                  <a:gd name="T44" fmla="*/ 72 w 179"/>
                  <a:gd name="T45" fmla="*/ 139 h 161"/>
                  <a:gd name="T46" fmla="*/ 59 w 179"/>
                  <a:gd name="T47" fmla="*/ 138 h 161"/>
                  <a:gd name="T48" fmla="*/ 45 w 179"/>
                  <a:gd name="T49" fmla="*/ 141 h 161"/>
                  <a:gd name="T50" fmla="*/ 23 w 179"/>
                  <a:gd name="T51" fmla="*/ 146 h 161"/>
                  <a:gd name="T52" fmla="*/ 13 w 179"/>
                  <a:gd name="T53" fmla="*/ 152 h 161"/>
                  <a:gd name="T54" fmla="*/ 6 w 179"/>
                  <a:gd name="T55" fmla="*/ 154 h 161"/>
                  <a:gd name="T56" fmla="*/ 7 w 179"/>
                  <a:gd name="T57" fmla="*/ 143 h 161"/>
                  <a:gd name="T58" fmla="*/ 25 w 179"/>
                  <a:gd name="T59" fmla="*/ 129 h 161"/>
                  <a:gd name="T60" fmla="*/ 40 w 179"/>
                  <a:gd name="T61" fmla="*/ 123 h 161"/>
                  <a:gd name="T62" fmla="*/ 75 w 179"/>
                  <a:gd name="T63" fmla="*/ 123 h 161"/>
                  <a:gd name="T64" fmla="*/ 82 w 179"/>
                  <a:gd name="T65" fmla="*/ 109 h 161"/>
                  <a:gd name="T66" fmla="*/ 95 w 179"/>
                  <a:gd name="T67" fmla="*/ 86 h 161"/>
                  <a:gd name="T68" fmla="*/ 102 w 179"/>
                  <a:gd name="T69" fmla="*/ 86 h 161"/>
                  <a:gd name="T70" fmla="*/ 97 w 179"/>
                  <a:gd name="T71" fmla="*/ 91 h 161"/>
                  <a:gd name="T72" fmla="*/ 104 w 179"/>
                  <a:gd name="T73" fmla="*/ 96 h 161"/>
                  <a:gd name="T74" fmla="*/ 123 w 179"/>
                  <a:gd name="T75" fmla="*/ 84 h 161"/>
                  <a:gd name="T76" fmla="*/ 134 w 179"/>
                  <a:gd name="T77" fmla="*/ 73 h 161"/>
                  <a:gd name="T78" fmla="*/ 145 w 179"/>
                  <a:gd name="T79" fmla="*/ 34 h 161"/>
                  <a:gd name="T80" fmla="*/ 145 w 179"/>
                  <a:gd name="T81" fmla="*/ 18 h 161"/>
                  <a:gd name="T82" fmla="*/ 150 w 179"/>
                  <a:gd name="T83" fmla="*/ 11 h 161"/>
                  <a:gd name="T84" fmla="*/ 154 w 179"/>
                  <a:gd name="T85" fmla="*/ 9 h 161"/>
                  <a:gd name="T86" fmla="*/ 159 w 179"/>
                  <a:gd name="T87" fmla="*/ 13 h 161"/>
                  <a:gd name="T88" fmla="*/ 165 w 179"/>
                  <a:gd name="T89" fmla="*/ 9 h 161"/>
                  <a:gd name="T90" fmla="*/ 159 w 179"/>
                  <a:gd name="T91" fmla="*/ 9 h 161"/>
                  <a:gd name="T92" fmla="*/ 161 w 179"/>
                  <a:gd name="T93"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79" h="161">
                    <a:moveTo>
                      <a:pt x="163" y="2"/>
                    </a:moveTo>
                    <a:lnTo>
                      <a:pt x="168" y="2"/>
                    </a:lnTo>
                    <a:lnTo>
                      <a:pt x="168" y="4"/>
                    </a:lnTo>
                    <a:lnTo>
                      <a:pt x="168" y="16"/>
                    </a:lnTo>
                    <a:lnTo>
                      <a:pt x="170" y="21"/>
                    </a:lnTo>
                    <a:lnTo>
                      <a:pt x="173" y="25"/>
                    </a:lnTo>
                    <a:lnTo>
                      <a:pt x="179" y="43"/>
                    </a:lnTo>
                    <a:lnTo>
                      <a:pt x="179" y="45"/>
                    </a:lnTo>
                    <a:lnTo>
                      <a:pt x="177" y="46"/>
                    </a:lnTo>
                    <a:lnTo>
                      <a:pt x="177" y="50"/>
                    </a:lnTo>
                    <a:lnTo>
                      <a:pt x="175" y="54"/>
                    </a:lnTo>
                    <a:lnTo>
                      <a:pt x="173" y="54"/>
                    </a:lnTo>
                    <a:lnTo>
                      <a:pt x="170" y="61"/>
                    </a:lnTo>
                    <a:lnTo>
                      <a:pt x="170" y="66"/>
                    </a:lnTo>
                    <a:lnTo>
                      <a:pt x="166" y="66"/>
                    </a:lnTo>
                    <a:lnTo>
                      <a:pt x="163" y="68"/>
                    </a:lnTo>
                    <a:lnTo>
                      <a:pt x="161" y="73"/>
                    </a:lnTo>
                    <a:lnTo>
                      <a:pt x="163" y="93"/>
                    </a:lnTo>
                    <a:lnTo>
                      <a:pt x="159" y="96"/>
                    </a:lnTo>
                    <a:lnTo>
                      <a:pt x="157" y="102"/>
                    </a:lnTo>
                    <a:lnTo>
                      <a:pt x="156" y="113"/>
                    </a:lnTo>
                    <a:lnTo>
                      <a:pt x="157" y="116"/>
                    </a:lnTo>
                    <a:lnTo>
                      <a:pt x="159" y="118"/>
                    </a:lnTo>
                    <a:lnTo>
                      <a:pt x="156" y="120"/>
                    </a:lnTo>
                    <a:lnTo>
                      <a:pt x="152" y="129"/>
                    </a:lnTo>
                    <a:lnTo>
                      <a:pt x="143" y="134"/>
                    </a:lnTo>
                    <a:lnTo>
                      <a:pt x="143" y="132"/>
                    </a:lnTo>
                    <a:lnTo>
                      <a:pt x="145" y="125"/>
                    </a:lnTo>
                    <a:lnTo>
                      <a:pt x="147" y="121"/>
                    </a:lnTo>
                    <a:lnTo>
                      <a:pt x="147" y="120"/>
                    </a:lnTo>
                    <a:lnTo>
                      <a:pt x="143" y="120"/>
                    </a:lnTo>
                    <a:lnTo>
                      <a:pt x="141" y="125"/>
                    </a:lnTo>
                    <a:lnTo>
                      <a:pt x="141" y="129"/>
                    </a:lnTo>
                    <a:lnTo>
                      <a:pt x="138" y="127"/>
                    </a:lnTo>
                    <a:lnTo>
                      <a:pt x="134" y="127"/>
                    </a:lnTo>
                    <a:lnTo>
                      <a:pt x="132" y="130"/>
                    </a:lnTo>
                    <a:lnTo>
                      <a:pt x="131" y="138"/>
                    </a:lnTo>
                    <a:lnTo>
                      <a:pt x="129" y="139"/>
                    </a:lnTo>
                    <a:lnTo>
                      <a:pt x="127" y="139"/>
                    </a:lnTo>
                    <a:lnTo>
                      <a:pt x="127" y="134"/>
                    </a:lnTo>
                    <a:lnTo>
                      <a:pt x="127" y="130"/>
                    </a:lnTo>
                    <a:lnTo>
                      <a:pt x="125" y="130"/>
                    </a:lnTo>
                    <a:lnTo>
                      <a:pt x="116" y="141"/>
                    </a:lnTo>
                    <a:lnTo>
                      <a:pt x="104" y="139"/>
                    </a:lnTo>
                    <a:lnTo>
                      <a:pt x="98" y="141"/>
                    </a:lnTo>
                    <a:lnTo>
                      <a:pt x="100" y="139"/>
                    </a:lnTo>
                    <a:lnTo>
                      <a:pt x="102" y="138"/>
                    </a:lnTo>
                    <a:lnTo>
                      <a:pt x="98" y="138"/>
                    </a:lnTo>
                    <a:lnTo>
                      <a:pt x="98" y="136"/>
                    </a:lnTo>
                    <a:lnTo>
                      <a:pt x="97" y="138"/>
                    </a:lnTo>
                    <a:lnTo>
                      <a:pt x="95" y="136"/>
                    </a:lnTo>
                    <a:lnTo>
                      <a:pt x="95" y="132"/>
                    </a:lnTo>
                    <a:lnTo>
                      <a:pt x="93" y="132"/>
                    </a:lnTo>
                    <a:lnTo>
                      <a:pt x="90" y="139"/>
                    </a:lnTo>
                    <a:lnTo>
                      <a:pt x="95" y="143"/>
                    </a:lnTo>
                    <a:lnTo>
                      <a:pt x="95" y="148"/>
                    </a:lnTo>
                    <a:lnTo>
                      <a:pt x="93" y="146"/>
                    </a:lnTo>
                    <a:lnTo>
                      <a:pt x="91" y="146"/>
                    </a:lnTo>
                    <a:lnTo>
                      <a:pt x="90" y="146"/>
                    </a:lnTo>
                    <a:lnTo>
                      <a:pt x="88" y="148"/>
                    </a:lnTo>
                    <a:lnTo>
                      <a:pt x="81" y="159"/>
                    </a:lnTo>
                    <a:lnTo>
                      <a:pt x="77" y="161"/>
                    </a:lnTo>
                    <a:lnTo>
                      <a:pt x="73" y="159"/>
                    </a:lnTo>
                    <a:lnTo>
                      <a:pt x="72" y="157"/>
                    </a:lnTo>
                    <a:lnTo>
                      <a:pt x="68" y="155"/>
                    </a:lnTo>
                    <a:lnTo>
                      <a:pt x="68" y="152"/>
                    </a:lnTo>
                    <a:lnTo>
                      <a:pt x="68" y="146"/>
                    </a:lnTo>
                    <a:lnTo>
                      <a:pt x="72" y="141"/>
                    </a:lnTo>
                    <a:lnTo>
                      <a:pt x="72" y="139"/>
                    </a:lnTo>
                    <a:lnTo>
                      <a:pt x="72" y="138"/>
                    </a:lnTo>
                    <a:lnTo>
                      <a:pt x="66" y="139"/>
                    </a:lnTo>
                    <a:lnTo>
                      <a:pt x="59" y="138"/>
                    </a:lnTo>
                    <a:lnTo>
                      <a:pt x="56" y="138"/>
                    </a:lnTo>
                    <a:lnTo>
                      <a:pt x="47" y="143"/>
                    </a:lnTo>
                    <a:lnTo>
                      <a:pt x="45" y="141"/>
                    </a:lnTo>
                    <a:lnTo>
                      <a:pt x="27" y="146"/>
                    </a:lnTo>
                    <a:lnTo>
                      <a:pt x="25" y="145"/>
                    </a:lnTo>
                    <a:lnTo>
                      <a:pt x="23" y="146"/>
                    </a:lnTo>
                    <a:lnTo>
                      <a:pt x="20" y="154"/>
                    </a:lnTo>
                    <a:lnTo>
                      <a:pt x="18" y="154"/>
                    </a:lnTo>
                    <a:lnTo>
                      <a:pt x="13" y="152"/>
                    </a:lnTo>
                    <a:lnTo>
                      <a:pt x="9" y="152"/>
                    </a:lnTo>
                    <a:lnTo>
                      <a:pt x="7" y="152"/>
                    </a:lnTo>
                    <a:lnTo>
                      <a:pt x="6" y="154"/>
                    </a:lnTo>
                    <a:lnTo>
                      <a:pt x="0" y="152"/>
                    </a:lnTo>
                    <a:lnTo>
                      <a:pt x="0" y="145"/>
                    </a:lnTo>
                    <a:lnTo>
                      <a:pt x="7" y="143"/>
                    </a:lnTo>
                    <a:lnTo>
                      <a:pt x="18" y="136"/>
                    </a:lnTo>
                    <a:lnTo>
                      <a:pt x="22" y="130"/>
                    </a:lnTo>
                    <a:lnTo>
                      <a:pt x="25" y="129"/>
                    </a:lnTo>
                    <a:lnTo>
                      <a:pt x="27" y="125"/>
                    </a:lnTo>
                    <a:lnTo>
                      <a:pt x="34" y="121"/>
                    </a:lnTo>
                    <a:lnTo>
                      <a:pt x="40" y="123"/>
                    </a:lnTo>
                    <a:lnTo>
                      <a:pt x="70" y="118"/>
                    </a:lnTo>
                    <a:lnTo>
                      <a:pt x="70" y="121"/>
                    </a:lnTo>
                    <a:lnTo>
                      <a:pt x="75" y="123"/>
                    </a:lnTo>
                    <a:lnTo>
                      <a:pt x="77" y="121"/>
                    </a:lnTo>
                    <a:lnTo>
                      <a:pt x="82" y="118"/>
                    </a:lnTo>
                    <a:lnTo>
                      <a:pt x="82" y="109"/>
                    </a:lnTo>
                    <a:lnTo>
                      <a:pt x="91" y="100"/>
                    </a:lnTo>
                    <a:lnTo>
                      <a:pt x="93" y="95"/>
                    </a:lnTo>
                    <a:lnTo>
                      <a:pt x="95" y="86"/>
                    </a:lnTo>
                    <a:lnTo>
                      <a:pt x="100" y="82"/>
                    </a:lnTo>
                    <a:lnTo>
                      <a:pt x="102" y="84"/>
                    </a:lnTo>
                    <a:lnTo>
                      <a:pt x="102" y="86"/>
                    </a:lnTo>
                    <a:lnTo>
                      <a:pt x="98" y="88"/>
                    </a:lnTo>
                    <a:lnTo>
                      <a:pt x="97" y="89"/>
                    </a:lnTo>
                    <a:lnTo>
                      <a:pt x="97" y="91"/>
                    </a:lnTo>
                    <a:lnTo>
                      <a:pt x="98" y="95"/>
                    </a:lnTo>
                    <a:lnTo>
                      <a:pt x="98" y="98"/>
                    </a:lnTo>
                    <a:lnTo>
                      <a:pt x="104" y="96"/>
                    </a:lnTo>
                    <a:lnTo>
                      <a:pt x="106" y="95"/>
                    </a:lnTo>
                    <a:lnTo>
                      <a:pt x="115" y="91"/>
                    </a:lnTo>
                    <a:lnTo>
                      <a:pt x="123" y="84"/>
                    </a:lnTo>
                    <a:lnTo>
                      <a:pt x="129" y="75"/>
                    </a:lnTo>
                    <a:lnTo>
                      <a:pt x="132" y="73"/>
                    </a:lnTo>
                    <a:lnTo>
                      <a:pt x="134" y="73"/>
                    </a:lnTo>
                    <a:lnTo>
                      <a:pt x="136" y="70"/>
                    </a:lnTo>
                    <a:lnTo>
                      <a:pt x="147" y="36"/>
                    </a:lnTo>
                    <a:lnTo>
                      <a:pt x="145" y="34"/>
                    </a:lnTo>
                    <a:lnTo>
                      <a:pt x="141" y="34"/>
                    </a:lnTo>
                    <a:lnTo>
                      <a:pt x="145" y="27"/>
                    </a:lnTo>
                    <a:lnTo>
                      <a:pt x="145" y="18"/>
                    </a:lnTo>
                    <a:lnTo>
                      <a:pt x="147" y="16"/>
                    </a:lnTo>
                    <a:lnTo>
                      <a:pt x="148" y="14"/>
                    </a:lnTo>
                    <a:lnTo>
                      <a:pt x="150" y="11"/>
                    </a:lnTo>
                    <a:lnTo>
                      <a:pt x="150" y="7"/>
                    </a:lnTo>
                    <a:lnTo>
                      <a:pt x="152" y="7"/>
                    </a:lnTo>
                    <a:lnTo>
                      <a:pt x="154" y="9"/>
                    </a:lnTo>
                    <a:lnTo>
                      <a:pt x="156" y="13"/>
                    </a:lnTo>
                    <a:lnTo>
                      <a:pt x="157" y="14"/>
                    </a:lnTo>
                    <a:lnTo>
                      <a:pt x="159" y="13"/>
                    </a:lnTo>
                    <a:lnTo>
                      <a:pt x="161" y="13"/>
                    </a:lnTo>
                    <a:lnTo>
                      <a:pt x="163" y="13"/>
                    </a:lnTo>
                    <a:lnTo>
                      <a:pt x="165" y="9"/>
                    </a:lnTo>
                    <a:lnTo>
                      <a:pt x="165" y="5"/>
                    </a:lnTo>
                    <a:lnTo>
                      <a:pt x="163" y="7"/>
                    </a:lnTo>
                    <a:lnTo>
                      <a:pt x="159" y="9"/>
                    </a:lnTo>
                    <a:lnTo>
                      <a:pt x="157" y="5"/>
                    </a:lnTo>
                    <a:lnTo>
                      <a:pt x="159" y="2"/>
                    </a:lnTo>
                    <a:lnTo>
                      <a:pt x="161" y="0"/>
                    </a:lnTo>
                    <a:lnTo>
                      <a:pt x="163"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42" name="Freeform 2997"/>
              <p:cNvSpPr>
                <a:spLocks/>
              </p:cNvSpPr>
              <p:nvPr/>
            </p:nvSpPr>
            <p:spPr bwMode="auto">
              <a:xfrm>
                <a:off x="4908" y="2052"/>
                <a:ext cx="6" cy="11"/>
              </a:xfrm>
              <a:custGeom>
                <a:avLst/>
                <a:gdLst>
                  <a:gd name="T0" fmla="*/ 6 w 6"/>
                  <a:gd name="T1" fmla="*/ 0 h 11"/>
                  <a:gd name="T2" fmla="*/ 6 w 6"/>
                  <a:gd name="T3" fmla="*/ 4 h 11"/>
                  <a:gd name="T4" fmla="*/ 6 w 6"/>
                  <a:gd name="T5" fmla="*/ 5 h 11"/>
                  <a:gd name="T6" fmla="*/ 4 w 6"/>
                  <a:gd name="T7" fmla="*/ 11 h 11"/>
                  <a:gd name="T8" fmla="*/ 2 w 6"/>
                  <a:gd name="T9" fmla="*/ 11 h 11"/>
                  <a:gd name="T10" fmla="*/ 0 w 6"/>
                  <a:gd name="T11" fmla="*/ 7 h 11"/>
                  <a:gd name="T12" fmla="*/ 4 w 6"/>
                  <a:gd name="T13" fmla="*/ 2 h 11"/>
                  <a:gd name="T14" fmla="*/ 6 w 6"/>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1">
                    <a:moveTo>
                      <a:pt x="6" y="0"/>
                    </a:moveTo>
                    <a:lnTo>
                      <a:pt x="6" y="4"/>
                    </a:lnTo>
                    <a:lnTo>
                      <a:pt x="6" y="5"/>
                    </a:lnTo>
                    <a:lnTo>
                      <a:pt x="4" y="11"/>
                    </a:lnTo>
                    <a:lnTo>
                      <a:pt x="2" y="11"/>
                    </a:lnTo>
                    <a:lnTo>
                      <a:pt x="0" y="7"/>
                    </a:lnTo>
                    <a:lnTo>
                      <a:pt x="4" y="2"/>
                    </a:lnTo>
                    <a:lnTo>
                      <a:pt x="6"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43" name="Freeform 2998"/>
              <p:cNvSpPr>
                <a:spLocks/>
              </p:cNvSpPr>
              <p:nvPr/>
            </p:nvSpPr>
            <p:spPr bwMode="auto">
              <a:xfrm>
                <a:off x="4908" y="2052"/>
                <a:ext cx="6" cy="11"/>
              </a:xfrm>
              <a:custGeom>
                <a:avLst/>
                <a:gdLst>
                  <a:gd name="T0" fmla="*/ 6 w 6"/>
                  <a:gd name="T1" fmla="*/ 0 h 11"/>
                  <a:gd name="T2" fmla="*/ 6 w 6"/>
                  <a:gd name="T3" fmla="*/ 4 h 11"/>
                  <a:gd name="T4" fmla="*/ 6 w 6"/>
                  <a:gd name="T5" fmla="*/ 5 h 11"/>
                  <a:gd name="T6" fmla="*/ 4 w 6"/>
                  <a:gd name="T7" fmla="*/ 11 h 11"/>
                  <a:gd name="T8" fmla="*/ 2 w 6"/>
                  <a:gd name="T9" fmla="*/ 11 h 11"/>
                  <a:gd name="T10" fmla="*/ 0 w 6"/>
                  <a:gd name="T11" fmla="*/ 7 h 11"/>
                  <a:gd name="T12" fmla="*/ 4 w 6"/>
                  <a:gd name="T13" fmla="*/ 2 h 11"/>
                  <a:gd name="T14" fmla="*/ 6 w 6"/>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1">
                    <a:moveTo>
                      <a:pt x="6" y="0"/>
                    </a:moveTo>
                    <a:lnTo>
                      <a:pt x="6" y="4"/>
                    </a:lnTo>
                    <a:lnTo>
                      <a:pt x="6" y="5"/>
                    </a:lnTo>
                    <a:lnTo>
                      <a:pt x="4" y="11"/>
                    </a:lnTo>
                    <a:lnTo>
                      <a:pt x="2" y="11"/>
                    </a:lnTo>
                    <a:lnTo>
                      <a:pt x="0" y="7"/>
                    </a:lnTo>
                    <a:lnTo>
                      <a:pt x="4" y="2"/>
                    </a:lnTo>
                    <a:lnTo>
                      <a:pt x="6"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44" name="Freeform 2999"/>
              <p:cNvSpPr>
                <a:spLocks/>
              </p:cNvSpPr>
              <p:nvPr/>
            </p:nvSpPr>
            <p:spPr bwMode="auto">
              <a:xfrm>
                <a:off x="4812" y="2131"/>
                <a:ext cx="41" cy="32"/>
              </a:xfrm>
              <a:custGeom>
                <a:avLst/>
                <a:gdLst>
                  <a:gd name="T0" fmla="*/ 32 w 41"/>
                  <a:gd name="T1" fmla="*/ 19 h 32"/>
                  <a:gd name="T2" fmla="*/ 25 w 41"/>
                  <a:gd name="T3" fmla="*/ 16 h 32"/>
                  <a:gd name="T4" fmla="*/ 21 w 41"/>
                  <a:gd name="T5" fmla="*/ 18 h 32"/>
                  <a:gd name="T6" fmla="*/ 18 w 41"/>
                  <a:gd name="T7" fmla="*/ 19 h 32"/>
                  <a:gd name="T8" fmla="*/ 14 w 41"/>
                  <a:gd name="T9" fmla="*/ 28 h 32"/>
                  <a:gd name="T10" fmla="*/ 14 w 41"/>
                  <a:gd name="T11" fmla="*/ 30 h 32"/>
                  <a:gd name="T12" fmla="*/ 11 w 41"/>
                  <a:gd name="T13" fmla="*/ 32 h 32"/>
                  <a:gd name="T14" fmla="*/ 7 w 41"/>
                  <a:gd name="T15" fmla="*/ 28 h 32"/>
                  <a:gd name="T16" fmla="*/ 5 w 41"/>
                  <a:gd name="T17" fmla="*/ 23 h 32"/>
                  <a:gd name="T18" fmla="*/ 5 w 41"/>
                  <a:gd name="T19" fmla="*/ 23 h 32"/>
                  <a:gd name="T20" fmla="*/ 3 w 41"/>
                  <a:gd name="T21" fmla="*/ 19 h 32"/>
                  <a:gd name="T22" fmla="*/ 2 w 41"/>
                  <a:gd name="T23" fmla="*/ 19 h 32"/>
                  <a:gd name="T24" fmla="*/ 0 w 41"/>
                  <a:gd name="T25" fmla="*/ 19 h 32"/>
                  <a:gd name="T26" fmla="*/ 11 w 41"/>
                  <a:gd name="T27" fmla="*/ 7 h 32"/>
                  <a:gd name="T28" fmla="*/ 16 w 41"/>
                  <a:gd name="T29" fmla="*/ 9 h 32"/>
                  <a:gd name="T30" fmla="*/ 20 w 41"/>
                  <a:gd name="T31" fmla="*/ 7 h 32"/>
                  <a:gd name="T32" fmla="*/ 21 w 41"/>
                  <a:gd name="T33" fmla="*/ 7 h 32"/>
                  <a:gd name="T34" fmla="*/ 23 w 41"/>
                  <a:gd name="T35" fmla="*/ 3 h 32"/>
                  <a:gd name="T36" fmla="*/ 27 w 41"/>
                  <a:gd name="T37" fmla="*/ 0 h 32"/>
                  <a:gd name="T38" fmla="*/ 28 w 41"/>
                  <a:gd name="T39" fmla="*/ 0 h 32"/>
                  <a:gd name="T40" fmla="*/ 32 w 41"/>
                  <a:gd name="T41" fmla="*/ 1 h 32"/>
                  <a:gd name="T42" fmla="*/ 36 w 41"/>
                  <a:gd name="T43" fmla="*/ 1 h 32"/>
                  <a:gd name="T44" fmla="*/ 37 w 41"/>
                  <a:gd name="T45" fmla="*/ 3 h 32"/>
                  <a:gd name="T46" fmla="*/ 39 w 41"/>
                  <a:gd name="T47" fmla="*/ 10 h 32"/>
                  <a:gd name="T48" fmla="*/ 41 w 41"/>
                  <a:gd name="T49" fmla="*/ 10 h 32"/>
                  <a:gd name="T50" fmla="*/ 39 w 41"/>
                  <a:gd name="T51" fmla="*/ 12 h 32"/>
                  <a:gd name="T52" fmla="*/ 37 w 41"/>
                  <a:gd name="T53" fmla="*/ 14 h 32"/>
                  <a:gd name="T54" fmla="*/ 32 w 41"/>
                  <a:gd name="T55"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 h="32">
                    <a:moveTo>
                      <a:pt x="32" y="19"/>
                    </a:moveTo>
                    <a:lnTo>
                      <a:pt x="25" y="16"/>
                    </a:lnTo>
                    <a:lnTo>
                      <a:pt x="21" y="18"/>
                    </a:lnTo>
                    <a:lnTo>
                      <a:pt x="18" y="19"/>
                    </a:lnTo>
                    <a:lnTo>
                      <a:pt x="14" y="28"/>
                    </a:lnTo>
                    <a:lnTo>
                      <a:pt x="14" y="30"/>
                    </a:lnTo>
                    <a:lnTo>
                      <a:pt x="11" y="32"/>
                    </a:lnTo>
                    <a:lnTo>
                      <a:pt x="7" y="28"/>
                    </a:lnTo>
                    <a:lnTo>
                      <a:pt x="5" y="23"/>
                    </a:lnTo>
                    <a:lnTo>
                      <a:pt x="5" y="23"/>
                    </a:lnTo>
                    <a:lnTo>
                      <a:pt x="3" y="19"/>
                    </a:lnTo>
                    <a:lnTo>
                      <a:pt x="2" y="19"/>
                    </a:lnTo>
                    <a:lnTo>
                      <a:pt x="0" y="19"/>
                    </a:lnTo>
                    <a:lnTo>
                      <a:pt x="11" y="7"/>
                    </a:lnTo>
                    <a:lnTo>
                      <a:pt x="16" y="9"/>
                    </a:lnTo>
                    <a:lnTo>
                      <a:pt x="20" y="7"/>
                    </a:lnTo>
                    <a:lnTo>
                      <a:pt x="21" y="7"/>
                    </a:lnTo>
                    <a:lnTo>
                      <a:pt x="23" y="3"/>
                    </a:lnTo>
                    <a:lnTo>
                      <a:pt x="27" y="0"/>
                    </a:lnTo>
                    <a:lnTo>
                      <a:pt x="28" y="0"/>
                    </a:lnTo>
                    <a:lnTo>
                      <a:pt x="32" y="1"/>
                    </a:lnTo>
                    <a:lnTo>
                      <a:pt x="36" y="1"/>
                    </a:lnTo>
                    <a:lnTo>
                      <a:pt x="37" y="3"/>
                    </a:lnTo>
                    <a:lnTo>
                      <a:pt x="39" y="10"/>
                    </a:lnTo>
                    <a:lnTo>
                      <a:pt x="41" y="10"/>
                    </a:lnTo>
                    <a:lnTo>
                      <a:pt x="39" y="12"/>
                    </a:lnTo>
                    <a:lnTo>
                      <a:pt x="37" y="14"/>
                    </a:lnTo>
                    <a:lnTo>
                      <a:pt x="32" y="1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45" name="Freeform 3000"/>
              <p:cNvSpPr>
                <a:spLocks/>
              </p:cNvSpPr>
              <p:nvPr/>
            </p:nvSpPr>
            <p:spPr bwMode="auto">
              <a:xfrm>
                <a:off x="4812" y="2131"/>
                <a:ext cx="41" cy="32"/>
              </a:xfrm>
              <a:custGeom>
                <a:avLst/>
                <a:gdLst>
                  <a:gd name="T0" fmla="*/ 32 w 41"/>
                  <a:gd name="T1" fmla="*/ 19 h 32"/>
                  <a:gd name="T2" fmla="*/ 25 w 41"/>
                  <a:gd name="T3" fmla="*/ 16 h 32"/>
                  <a:gd name="T4" fmla="*/ 21 w 41"/>
                  <a:gd name="T5" fmla="*/ 18 h 32"/>
                  <a:gd name="T6" fmla="*/ 18 w 41"/>
                  <a:gd name="T7" fmla="*/ 19 h 32"/>
                  <a:gd name="T8" fmla="*/ 14 w 41"/>
                  <a:gd name="T9" fmla="*/ 28 h 32"/>
                  <a:gd name="T10" fmla="*/ 14 w 41"/>
                  <a:gd name="T11" fmla="*/ 30 h 32"/>
                  <a:gd name="T12" fmla="*/ 11 w 41"/>
                  <a:gd name="T13" fmla="*/ 32 h 32"/>
                  <a:gd name="T14" fmla="*/ 7 w 41"/>
                  <a:gd name="T15" fmla="*/ 28 h 32"/>
                  <a:gd name="T16" fmla="*/ 5 w 41"/>
                  <a:gd name="T17" fmla="*/ 23 h 32"/>
                  <a:gd name="T18" fmla="*/ 5 w 41"/>
                  <a:gd name="T19" fmla="*/ 23 h 32"/>
                  <a:gd name="T20" fmla="*/ 3 w 41"/>
                  <a:gd name="T21" fmla="*/ 19 h 32"/>
                  <a:gd name="T22" fmla="*/ 2 w 41"/>
                  <a:gd name="T23" fmla="*/ 19 h 32"/>
                  <a:gd name="T24" fmla="*/ 0 w 41"/>
                  <a:gd name="T25" fmla="*/ 19 h 32"/>
                  <a:gd name="T26" fmla="*/ 11 w 41"/>
                  <a:gd name="T27" fmla="*/ 7 h 32"/>
                  <a:gd name="T28" fmla="*/ 16 w 41"/>
                  <a:gd name="T29" fmla="*/ 9 h 32"/>
                  <a:gd name="T30" fmla="*/ 20 w 41"/>
                  <a:gd name="T31" fmla="*/ 7 h 32"/>
                  <a:gd name="T32" fmla="*/ 21 w 41"/>
                  <a:gd name="T33" fmla="*/ 7 h 32"/>
                  <a:gd name="T34" fmla="*/ 23 w 41"/>
                  <a:gd name="T35" fmla="*/ 3 h 32"/>
                  <a:gd name="T36" fmla="*/ 27 w 41"/>
                  <a:gd name="T37" fmla="*/ 0 h 32"/>
                  <a:gd name="T38" fmla="*/ 28 w 41"/>
                  <a:gd name="T39" fmla="*/ 0 h 32"/>
                  <a:gd name="T40" fmla="*/ 32 w 41"/>
                  <a:gd name="T41" fmla="*/ 1 h 32"/>
                  <a:gd name="T42" fmla="*/ 36 w 41"/>
                  <a:gd name="T43" fmla="*/ 1 h 32"/>
                  <a:gd name="T44" fmla="*/ 37 w 41"/>
                  <a:gd name="T45" fmla="*/ 3 h 32"/>
                  <a:gd name="T46" fmla="*/ 39 w 41"/>
                  <a:gd name="T47" fmla="*/ 10 h 32"/>
                  <a:gd name="T48" fmla="*/ 41 w 41"/>
                  <a:gd name="T49" fmla="*/ 10 h 32"/>
                  <a:gd name="T50" fmla="*/ 39 w 41"/>
                  <a:gd name="T51" fmla="*/ 12 h 32"/>
                  <a:gd name="T52" fmla="*/ 37 w 41"/>
                  <a:gd name="T53" fmla="*/ 14 h 32"/>
                  <a:gd name="T54" fmla="*/ 32 w 41"/>
                  <a:gd name="T55"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1" h="32">
                    <a:moveTo>
                      <a:pt x="32" y="19"/>
                    </a:moveTo>
                    <a:lnTo>
                      <a:pt x="25" y="16"/>
                    </a:lnTo>
                    <a:lnTo>
                      <a:pt x="21" y="18"/>
                    </a:lnTo>
                    <a:lnTo>
                      <a:pt x="18" y="19"/>
                    </a:lnTo>
                    <a:lnTo>
                      <a:pt x="14" y="28"/>
                    </a:lnTo>
                    <a:lnTo>
                      <a:pt x="14" y="30"/>
                    </a:lnTo>
                    <a:lnTo>
                      <a:pt x="11" y="32"/>
                    </a:lnTo>
                    <a:lnTo>
                      <a:pt x="7" y="28"/>
                    </a:lnTo>
                    <a:lnTo>
                      <a:pt x="5" y="23"/>
                    </a:lnTo>
                    <a:lnTo>
                      <a:pt x="5" y="23"/>
                    </a:lnTo>
                    <a:lnTo>
                      <a:pt x="3" y="19"/>
                    </a:lnTo>
                    <a:lnTo>
                      <a:pt x="2" y="19"/>
                    </a:lnTo>
                    <a:lnTo>
                      <a:pt x="0" y="19"/>
                    </a:lnTo>
                    <a:lnTo>
                      <a:pt x="11" y="7"/>
                    </a:lnTo>
                    <a:lnTo>
                      <a:pt x="16" y="9"/>
                    </a:lnTo>
                    <a:lnTo>
                      <a:pt x="20" y="7"/>
                    </a:lnTo>
                    <a:lnTo>
                      <a:pt x="21" y="7"/>
                    </a:lnTo>
                    <a:lnTo>
                      <a:pt x="23" y="3"/>
                    </a:lnTo>
                    <a:lnTo>
                      <a:pt x="27" y="0"/>
                    </a:lnTo>
                    <a:lnTo>
                      <a:pt x="28" y="0"/>
                    </a:lnTo>
                    <a:lnTo>
                      <a:pt x="32" y="1"/>
                    </a:lnTo>
                    <a:lnTo>
                      <a:pt x="36" y="1"/>
                    </a:lnTo>
                    <a:lnTo>
                      <a:pt x="37" y="3"/>
                    </a:lnTo>
                    <a:lnTo>
                      <a:pt x="39" y="10"/>
                    </a:lnTo>
                    <a:lnTo>
                      <a:pt x="41" y="10"/>
                    </a:lnTo>
                    <a:lnTo>
                      <a:pt x="39" y="12"/>
                    </a:lnTo>
                    <a:lnTo>
                      <a:pt x="37" y="14"/>
                    </a:lnTo>
                    <a:lnTo>
                      <a:pt x="32" y="1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46" name="Freeform 3001"/>
              <p:cNvSpPr>
                <a:spLocks/>
              </p:cNvSpPr>
              <p:nvPr/>
            </p:nvSpPr>
            <p:spPr bwMode="auto">
              <a:xfrm>
                <a:off x="4853" y="2125"/>
                <a:ext cx="4" cy="9"/>
              </a:xfrm>
              <a:custGeom>
                <a:avLst/>
                <a:gdLst>
                  <a:gd name="T0" fmla="*/ 4 w 4"/>
                  <a:gd name="T1" fmla="*/ 0 h 9"/>
                  <a:gd name="T2" fmla="*/ 0 w 4"/>
                  <a:gd name="T3" fmla="*/ 7 h 9"/>
                  <a:gd name="T4" fmla="*/ 2 w 4"/>
                  <a:gd name="T5" fmla="*/ 9 h 9"/>
                  <a:gd name="T6" fmla="*/ 4 w 4"/>
                  <a:gd name="T7" fmla="*/ 7 h 9"/>
                  <a:gd name="T8" fmla="*/ 4 w 4"/>
                  <a:gd name="T9" fmla="*/ 0 h 9"/>
                </a:gdLst>
                <a:ahLst/>
                <a:cxnLst>
                  <a:cxn ang="0">
                    <a:pos x="T0" y="T1"/>
                  </a:cxn>
                  <a:cxn ang="0">
                    <a:pos x="T2" y="T3"/>
                  </a:cxn>
                  <a:cxn ang="0">
                    <a:pos x="T4" y="T5"/>
                  </a:cxn>
                  <a:cxn ang="0">
                    <a:pos x="T6" y="T7"/>
                  </a:cxn>
                  <a:cxn ang="0">
                    <a:pos x="T8" y="T9"/>
                  </a:cxn>
                </a:cxnLst>
                <a:rect l="0" t="0" r="r" b="b"/>
                <a:pathLst>
                  <a:path w="4" h="9">
                    <a:moveTo>
                      <a:pt x="4" y="0"/>
                    </a:moveTo>
                    <a:lnTo>
                      <a:pt x="0" y="7"/>
                    </a:lnTo>
                    <a:lnTo>
                      <a:pt x="2" y="9"/>
                    </a:lnTo>
                    <a:lnTo>
                      <a:pt x="4" y="7"/>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47" name="Freeform 3002"/>
              <p:cNvSpPr>
                <a:spLocks/>
              </p:cNvSpPr>
              <p:nvPr/>
            </p:nvSpPr>
            <p:spPr bwMode="auto">
              <a:xfrm>
                <a:off x="4853" y="2125"/>
                <a:ext cx="4" cy="9"/>
              </a:xfrm>
              <a:custGeom>
                <a:avLst/>
                <a:gdLst>
                  <a:gd name="T0" fmla="*/ 4 w 4"/>
                  <a:gd name="T1" fmla="*/ 0 h 9"/>
                  <a:gd name="T2" fmla="*/ 0 w 4"/>
                  <a:gd name="T3" fmla="*/ 7 h 9"/>
                  <a:gd name="T4" fmla="*/ 2 w 4"/>
                  <a:gd name="T5" fmla="*/ 9 h 9"/>
                  <a:gd name="T6" fmla="*/ 4 w 4"/>
                  <a:gd name="T7" fmla="*/ 7 h 9"/>
                  <a:gd name="T8" fmla="*/ 4 w 4"/>
                  <a:gd name="T9" fmla="*/ 0 h 9"/>
                </a:gdLst>
                <a:ahLst/>
                <a:cxnLst>
                  <a:cxn ang="0">
                    <a:pos x="T0" y="T1"/>
                  </a:cxn>
                  <a:cxn ang="0">
                    <a:pos x="T2" y="T3"/>
                  </a:cxn>
                  <a:cxn ang="0">
                    <a:pos x="T4" y="T5"/>
                  </a:cxn>
                  <a:cxn ang="0">
                    <a:pos x="T6" y="T7"/>
                  </a:cxn>
                  <a:cxn ang="0">
                    <a:pos x="T8" y="T9"/>
                  </a:cxn>
                </a:cxnLst>
                <a:rect l="0" t="0" r="r" b="b"/>
                <a:pathLst>
                  <a:path w="4" h="9">
                    <a:moveTo>
                      <a:pt x="4" y="0"/>
                    </a:moveTo>
                    <a:lnTo>
                      <a:pt x="0" y="7"/>
                    </a:lnTo>
                    <a:lnTo>
                      <a:pt x="2" y="9"/>
                    </a:lnTo>
                    <a:lnTo>
                      <a:pt x="4" y="7"/>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48" name="Freeform 3003"/>
              <p:cNvSpPr>
                <a:spLocks/>
              </p:cNvSpPr>
              <p:nvPr/>
            </p:nvSpPr>
            <p:spPr bwMode="auto">
              <a:xfrm>
                <a:off x="4771" y="2140"/>
                <a:ext cx="37" cy="53"/>
              </a:xfrm>
              <a:custGeom>
                <a:avLst/>
                <a:gdLst>
                  <a:gd name="T0" fmla="*/ 19 w 37"/>
                  <a:gd name="T1" fmla="*/ 0 h 53"/>
                  <a:gd name="T2" fmla="*/ 19 w 37"/>
                  <a:gd name="T3" fmla="*/ 0 h 53"/>
                  <a:gd name="T4" fmla="*/ 18 w 37"/>
                  <a:gd name="T5" fmla="*/ 0 h 53"/>
                  <a:gd name="T6" fmla="*/ 16 w 37"/>
                  <a:gd name="T7" fmla="*/ 0 h 53"/>
                  <a:gd name="T8" fmla="*/ 14 w 37"/>
                  <a:gd name="T9" fmla="*/ 3 h 53"/>
                  <a:gd name="T10" fmla="*/ 12 w 37"/>
                  <a:gd name="T11" fmla="*/ 5 h 53"/>
                  <a:gd name="T12" fmla="*/ 9 w 37"/>
                  <a:gd name="T13" fmla="*/ 5 h 53"/>
                  <a:gd name="T14" fmla="*/ 7 w 37"/>
                  <a:gd name="T15" fmla="*/ 7 h 53"/>
                  <a:gd name="T16" fmla="*/ 5 w 37"/>
                  <a:gd name="T17" fmla="*/ 9 h 53"/>
                  <a:gd name="T18" fmla="*/ 5 w 37"/>
                  <a:gd name="T19" fmla="*/ 7 h 53"/>
                  <a:gd name="T20" fmla="*/ 3 w 37"/>
                  <a:gd name="T21" fmla="*/ 9 h 53"/>
                  <a:gd name="T22" fmla="*/ 0 w 37"/>
                  <a:gd name="T23" fmla="*/ 12 h 53"/>
                  <a:gd name="T24" fmla="*/ 3 w 37"/>
                  <a:gd name="T25" fmla="*/ 17 h 53"/>
                  <a:gd name="T26" fmla="*/ 5 w 37"/>
                  <a:gd name="T27" fmla="*/ 19 h 53"/>
                  <a:gd name="T28" fmla="*/ 3 w 37"/>
                  <a:gd name="T29" fmla="*/ 17 h 53"/>
                  <a:gd name="T30" fmla="*/ 2 w 37"/>
                  <a:gd name="T31" fmla="*/ 17 h 53"/>
                  <a:gd name="T32" fmla="*/ 2 w 37"/>
                  <a:gd name="T33" fmla="*/ 25 h 53"/>
                  <a:gd name="T34" fmla="*/ 3 w 37"/>
                  <a:gd name="T35" fmla="*/ 23 h 53"/>
                  <a:gd name="T36" fmla="*/ 7 w 37"/>
                  <a:gd name="T37" fmla="*/ 21 h 53"/>
                  <a:gd name="T38" fmla="*/ 11 w 37"/>
                  <a:gd name="T39" fmla="*/ 23 h 53"/>
                  <a:gd name="T40" fmla="*/ 12 w 37"/>
                  <a:gd name="T41" fmla="*/ 21 h 53"/>
                  <a:gd name="T42" fmla="*/ 9 w 37"/>
                  <a:gd name="T43" fmla="*/ 19 h 53"/>
                  <a:gd name="T44" fmla="*/ 9 w 37"/>
                  <a:gd name="T45" fmla="*/ 17 h 53"/>
                  <a:gd name="T46" fmla="*/ 9 w 37"/>
                  <a:gd name="T47" fmla="*/ 14 h 53"/>
                  <a:gd name="T48" fmla="*/ 11 w 37"/>
                  <a:gd name="T49" fmla="*/ 14 h 53"/>
                  <a:gd name="T50" fmla="*/ 14 w 37"/>
                  <a:gd name="T51" fmla="*/ 21 h 53"/>
                  <a:gd name="T52" fmla="*/ 14 w 37"/>
                  <a:gd name="T53" fmla="*/ 25 h 53"/>
                  <a:gd name="T54" fmla="*/ 16 w 37"/>
                  <a:gd name="T55" fmla="*/ 25 h 53"/>
                  <a:gd name="T56" fmla="*/ 14 w 37"/>
                  <a:gd name="T57" fmla="*/ 28 h 53"/>
                  <a:gd name="T58" fmla="*/ 14 w 37"/>
                  <a:gd name="T59" fmla="*/ 32 h 53"/>
                  <a:gd name="T60" fmla="*/ 11 w 37"/>
                  <a:gd name="T61" fmla="*/ 34 h 53"/>
                  <a:gd name="T62" fmla="*/ 11 w 37"/>
                  <a:gd name="T63" fmla="*/ 37 h 53"/>
                  <a:gd name="T64" fmla="*/ 11 w 37"/>
                  <a:gd name="T65" fmla="*/ 46 h 53"/>
                  <a:gd name="T66" fmla="*/ 9 w 37"/>
                  <a:gd name="T67" fmla="*/ 48 h 53"/>
                  <a:gd name="T68" fmla="*/ 11 w 37"/>
                  <a:gd name="T69" fmla="*/ 50 h 53"/>
                  <a:gd name="T70" fmla="*/ 16 w 37"/>
                  <a:gd name="T71" fmla="*/ 51 h 53"/>
                  <a:gd name="T72" fmla="*/ 16 w 37"/>
                  <a:gd name="T73" fmla="*/ 48 h 53"/>
                  <a:gd name="T74" fmla="*/ 16 w 37"/>
                  <a:gd name="T75" fmla="*/ 44 h 53"/>
                  <a:gd name="T76" fmla="*/ 16 w 37"/>
                  <a:gd name="T77" fmla="*/ 41 h 53"/>
                  <a:gd name="T78" fmla="*/ 19 w 37"/>
                  <a:gd name="T79" fmla="*/ 42 h 53"/>
                  <a:gd name="T80" fmla="*/ 18 w 37"/>
                  <a:gd name="T81" fmla="*/ 42 h 53"/>
                  <a:gd name="T82" fmla="*/ 18 w 37"/>
                  <a:gd name="T83" fmla="*/ 46 h 53"/>
                  <a:gd name="T84" fmla="*/ 18 w 37"/>
                  <a:gd name="T85" fmla="*/ 53 h 53"/>
                  <a:gd name="T86" fmla="*/ 19 w 37"/>
                  <a:gd name="T87" fmla="*/ 53 h 53"/>
                  <a:gd name="T88" fmla="*/ 23 w 37"/>
                  <a:gd name="T89" fmla="*/ 51 h 53"/>
                  <a:gd name="T90" fmla="*/ 23 w 37"/>
                  <a:gd name="T91" fmla="*/ 48 h 53"/>
                  <a:gd name="T92" fmla="*/ 25 w 37"/>
                  <a:gd name="T93" fmla="*/ 46 h 53"/>
                  <a:gd name="T94" fmla="*/ 27 w 37"/>
                  <a:gd name="T95" fmla="*/ 46 h 53"/>
                  <a:gd name="T96" fmla="*/ 37 w 37"/>
                  <a:gd name="T97" fmla="*/ 19 h 53"/>
                  <a:gd name="T98" fmla="*/ 37 w 37"/>
                  <a:gd name="T99" fmla="*/ 16 h 53"/>
                  <a:gd name="T100" fmla="*/ 36 w 37"/>
                  <a:gd name="T101" fmla="*/ 12 h 53"/>
                  <a:gd name="T102" fmla="*/ 32 w 37"/>
                  <a:gd name="T103" fmla="*/ 12 h 53"/>
                  <a:gd name="T104" fmla="*/ 32 w 37"/>
                  <a:gd name="T105" fmla="*/ 10 h 53"/>
                  <a:gd name="T106" fmla="*/ 34 w 37"/>
                  <a:gd name="T107" fmla="*/ 7 h 53"/>
                  <a:gd name="T108" fmla="*/ 32 w 37"/>
                  <a:gd name="T109" fmla="*/ 5 h 53"/>
                  <a:gd name="T110" fmla="*/ 30 w 37"/>
                  <a:gd name="T111" fmla="*/ 5 h 53"/>
                  <a:gd name="T112" fmla="*/ 25 w 37"/>
                  <a:gd name="T113" fmla="*/ 5 h 53"/>
                  <a:gd name="T114" fmla="*/ 21 w 37"/>
                  <a:gd name="T115" fmla="*/ 1 h 53"/>
                  <a:gd name="T116" fmla="*/ 21 w 37"/>
                  <a:gd name="T117" fmla="*/ 0 h 53"/>
                  <a:gd name="T118" fmla="*/ 19 w 37"/>
                  <a:gd name="T1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 h="53">
                    <a:moveTo>
                      <a:pt x="19" y="0"/>
                    </a:moveTo>
                    <a:lnTo>
                      <a:pt x="19" y="0"/>
                    </a:lnTo>
                    <a:lnTo>
                      <a:pt x="18" y="0"/>
                    </a:lnTo>
                    <a:lnTo>
                      <a:pt x="16" y="0"/>
                    </a:lnTo>
                    <a:lnTo>
                      <a:pt x="14" y="3"/>
                    </a:lnTo>
                    <a:lnTo>
                      <a:pt x="12" y="5"/>
                    </a:lnTo>
                    <a:lnTo>
                      <a:pt x="9" y="5"/>
                    </a:lnTo>
                    <a:lnTo>
                      <a:pt x="7" y="7"/>
                    </a:lnTo>
                    <a:lnTo>
                      <a:pt x="5" y="9"/>
                    </a:lnTo>
                    <a:lnTo>
                      <a:pt x="5" y="7"/>
                    </a:lnTo>
                    <a:lnTo>
                      <a:pt x="3" y="9"/>
                    </a:lnTo>
                    <a:lnTo>
                      <a:pt x="0" y="12"/>
                    </a:lnTo>
                    <a:lnTo>
                      <a:pt x="3" y="17"/>
                    </a:lnTo>
                    <a:lnTo>
                      <a:pt x="5" y="19"/>
                    </a:lnTo>
                    <a:lnTo>
                      <a:pt x="3" y="17"/>
                    </a:lnTo>
                    <a:lnTo>
                      <a:pt x="2" y="17"/>
                    </a:lnTo>
                    <a:lnTo>
                      <a:pt x="2" y="25"/>
                    </a:lnTo>
                    <a:lnTo>
                      <a:pt x="3" y="23"/>
                    </a:lnTo>
                    <a:lnTo>
                      <a:pt x="7" y="21"/>
                    </a:lnTo>
                    <a:lnTo>
                      <a:pt x="11" y="23"/>
                    </a:lnTo>
                    <a:lnTo>
                      <a:pt x="12" y="21"/>
                    </a:lnTo>
                    <a:lnTo>
                      <a:pt x="9" y="19"/>
                    </a:lnTo>
                    <a:lnTo>
                      <a:pt x="9" y="17"/>
                    </a:lnTo>
                    <a:lnTo>
                      <a:pt x="9" y="14"/>
                    </a:lnTo>
                    <a:lnTo>
                      <a:pt x="11" y="14"/>
                    </a:lnTo>
                    <a:lnTo>
                      <a:pt x="14" y="21"/>
                    </a:lnTo>
                    <a:lnTo>
                      <a:pt x="14" y="25"/>
                    </a:lnTo>
                    <a:lnTo>
                      <a:pt x="16" y="25"/>
                    </a:lnTo>
                    <a:lnTo>
                      <a:pt x="14" y="28"/>
                    </a:lnTo>
                    <a:lnTo>
                      <a:pt x="14" y="32"/>
                    </a:lnTo>
                    <a:lnTo>
                      <a:pt x="11" y="34"/>
                    </a:lnTo>
                    <a:lnTo>
                      <a:pt x="11" y="37"/>
                    </a:lnTo>
                    <a:lnTo>
                      <a:pt x="11" y="46"/>
                    </a:lnTo>
                    <a:lnTo>
                      <a:pt x="9" y="48"/>
                    </a:lnTo>
                    <a:lnTo>
                      <a:pt x="11" y="50"/>
                    </a:lnTo>
                    <a:lnTo>
                      <a:pt x="16" y="51"/>
                    </a:lnTo>
                    <a:lnTo>
                      <a:pt x="16" y="48"/>
                    </a:lnTo>
                    <a:lnTo>
                      <a:pt x="16" y="44"/>
                    </a:lnTo>
                    <a:lnTo>
                      <a:pt x="16" y="41"/>
                    </a:lnTo>
                    <a:lnTo>
                      <a:pt x="19" y="42"/>
                    </a:lnTo>
                    <a:lnTo>
                      <a:pt x="18" y="42"/>
                    </a:lnTo>
                    <a:lnTo>
                      <a:pt x="18" y="46"/>
                    </a:lnTo>
                    <a:lnTo>
                      <a:pt x="18" y="53"/>
                    </a:lnTo>
                    <a:lnTo>
                      <a:pt x="19" y="53"/>
                    </a:lnTo>
                    <a:lnTo>
                      <a:pt x="23" y="51"/>
                    </a:lnTo>
                    <a:lnTo>
                      <a:pt x="23" y="48"/>
                    </a:lnTo>
                    <a:lnTo>
                      <a:pt x="25" y="46"/>
                    </a:lnTo>
                    <a:lnTo>
                      <a:pt x="27" y="46"/>
                    </a:lnTo>
                    <a:lnTo>
                      <a:pt x="37" y="19"/>
                    </a:lnTo>
                    <a:lnTo>
                      <a:pt x="37" y="16"/>
                    </a:lnTo>
                    <a:lnTo>
                      <a:pt x="36" y="12"/>
                    </a:lnTo>
                    <a:lnTo>
                      <a:pt x="32" y="12"/>
                    </a:lnTo>
                    <a:lnTo>
                      <a:pt x="32" y="10"/>
                    </a:lnTo>
                    <a:lnTo>
                      <a:pt x="34" y="7"/>
                    </a:lnTo>
                    <a:lnTo>
                      <a:pt x="32" y="5"/>
                    </a:lnTo>
                    <a:lnTo>
                      <a:pt x="30" y="5"/>
                    </a:lnTo>
                    <a:lnTo>
                      <a:pt x="25" y="5"/>
                    </a:lnTo>
                    <a:lnTo>
                      <a:pt x="21" y="1"/>
                    </a:lnTo>
                    <a:lnTo>
                      <a:pt x="21" y="0"/>
                    </a:lnTo>
                    <a:lnTo>
                      <a:pt x="19"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49" name="Freeform 3004"/>
              <p:cNvSpPr>
                <a:spLocks/>
              </p:cNvSpPr>
              <p:nvPr/>
            </p:nvSpPr>
            <p:spPr bwMode="auto">
              <a:xfrm>
                <a:off x="4771" y="2140"/>
                <a:ext cx="37" cy="53"/>
              </a:xfrm>
              <a:custGeom>
                <a:avLst/>
                <a:gdLst>
                  <a:gd name="T0" fmla="*/ 19 w 37"/>
                  <a:gd name="T1" fmla="*/ 0 h 53"/>
                  <a:gd name="T2" fmla="*/ 19 w 37"/>
                  <a:gd name="T3" fmla="*/ 0 h 53"/>
                  <a:gd name="T4" fmla="*/ 18 w 37"/>
                  <a:gd name="T5" fmla="*/ 0 h 53"/>
                  <a:gd name="T6" fmla="*/ 16 w 37"/>
                  <a:gd name="T7" fmla="*/ 0 h 53"/>
                  <a:gd name="T8" fmla="*/ 14 w 37"/>
                  <a:gd name="T9" fmla="*/ 3 h 53"/>
                  <a:gd name="T10" fmla="*/ 12 w 37"/>
                  <a:gd name="T11" fmla="*/ 5 h 53"/>
                  <a:gd name="T12" fmla="*/ 9 w 37"/>
                  <a:gd name="T13" fmla="*/ 5 h 53"/>
                  <a:gd name="T14" fmla="*/ 7 w 37"/>
                  <a:gd name="T15" fmla="*/ 7 h 53"/>
                  <a:gd name="T16" fmla="*/ 5 w 37"/>
                  <a:gd name="T17" fmla="*/ 9 h 53"/>
                  <a:gd name="T18" fmla="*/ 5 w 37"/>
                  <a:gd name="T19" fmla="*/ 7 h 53"/>
                  <a:gd name="T20" fmla="*/ 3 w 37"/>
                  <a:gd name="T21" fmla="*/ 9 h 53"/>
                  <a:gd name="T22" fmla="*/ 0 w 37"/>
                  <a:gd name="T23" fmla="*/ 12 h 53"/>
                  <a:gd name="T24" fmla="*/ 3 w 37"/>
                  <a:gd name="T25" fmla="*/ 17 h 53"/>
                  <a:gd name="T26" fmla="*/ 5 w 37"/>
                  <a:gd name="T27" fmla="*/ 19 h 53"/>
                  <a:gd name="T28" fmla="*/ 3 w 37"/>
                  <a:gd name="T29" fmla="*/ 17 h 53"/>
                  <a:gd name="T30" fmla="*/ 2 w 37"/>
                  <a:gd name="T31" fmla="*/ 17 h 53"/>
                  <a:gd name="T32" fmla="*/ 2 w 37"/>
                  <a:gd name="T33" fmla="*/ 25 h 53"/>
                  <a:gd name="T34" fmla="*/ 3 w 37"/>
                  <a:gd name="T35" fmla="*/ 23 h 53"/>
                  <a:gd name="T36" fmla="*/ 7 w 37"/>
                  <a:gd name="T37" fmla="*/ 21 h 53"/>
                  <a:gd name="T38" fmla="*/ 11 w 37"/>
                  <a:gd name="T39" fmla="*/ 23 h 53"/>
                  <a:gd name="T40" fmla="*/ 12 w 37"/>
                  <a:gd name="T41" fmla="*/ 21 h 53"/>
                  <a:gd name="T42" fmla="*/ 9 w 37"/>
                  <a:gd name="T43" fmla="*/ 19 h 53"/>
                  <a:gd name="T44" fmla="*/ 9 w 37"/>
                  <a:gd name="T45" fmla="*/ 17 h 53"/>
                  <a:gd name="T46" fmla="*/ 9 w 37"/>
                  <a:gd name="T47" fmla="*/ 14 h 53"/>
                  <a:gd name="T48" fmla="*/ 11 w 37"/>
                  <a:gd name="T49" fmla="*/ 14 h 53"/>
                  <a:gd name="T50" fmla="*/ 14 w 37"/>
                  <a:gd name="T51" fmla="*/ 21 h 53"/>
                  <a:gd name="T52" fmla="*/ 14 w 37"/>
                  <a:gd name="T53" fmla="*/ 25 h 53"/>
                  <a:gd name="T54" fmla="*/ 16 w 37"/>
                  <a:gd name="T55" fmla="*/ 25 h 53"/>
                  <a:gd name="T56" fmla="*/ 14 w 37"/>
                  <a:gd name="T57" fmla="*/ 28 h 53"/>
                  <a:gd name="T58" fmla="*/ 14 w 37"/>
                  <a:gd name="T59" fmla="*/ 32 h 53"/>
                  <a:gd name="T60" fmla="*/ 11 w 37"/>
                  <a:gd name="T61" fmla="*/ 34 h 53"/>
                  <a:gd name="T62" fmla="*/ 11 w 37"/>
                  <a:gd name="T63" fmla="*/ 37 h 53"/>
                  <a:gd name="T64" fmla="*/ 11 w 37"/>
                  <a:gd name="T65" fmla="*/ 46 h 53"/>
                  <a:gd name="T66" fmla="*/ 9 w 37"/>
                  <a:gd name="T67" fmla="*/ 48 h 53"/>
                  <a:gd name="T68" fmla="*/ 11 w 37"/>
                  <a:gd name="T69" fmla="*/ 50 h 53"/>
                  <a:gd name="T70" fmla="*/ 16 w 37"/>
                  <a:gd name="T71" fmla="*/ 51 h 53"/>
                  <a:gd name="T72" fmla="*/ 16 w 37"/>
                  <a:gd name="T73" fmla="*/ 48 h 53"/>
                  <a:gd name="T74" fmla="*/ 16 w 37"/>
                  <a:gd name="T75" fmla="*/ 44 h 53"/>
                  <a:gd name="T76" fmla="*/ 16 w 37"/>
                  <a:gd name="T77" fmla="*/ 41 h 53"/>
                  <a:gd name="T78" fmla="*/ 19 w 37"/>
                  <a:gd name="T79" fmla="*/ 42 h 53"/>
                  <a:gd name="T80" fmla="*/ 18 w 37"/>
                  <a:gd name="T81" fmla="*/ 42 h 53"/>
                  <a:gd name="T82" fmla="*/ 18 w 37"/>
                  <a:gd name="T83" fmla="*/ 46 h 53"/>
                  <a:gd name="T84" fmla="*/ 18 w 37"/>
                  <a:gd name="T85" fmla="*/ 53 h 53"/>
                  <a:gd name="T86" fmla="*/ 19 w 37"/>
                  <a:gd name="T87" fmla="*/ 53 h 53"/>
                  <a:gd name="T88" fmla="*/ 23 w 37"/>
                  <a:gd name="T89" fmla="*/ 51 h 53"/>
                  <a:gd name="T90" fmla="*/ 23 w 37"/>
                  <a:gd name="T91" fmla="*/ 48 h 53"/>
                  <a:gd name="T92" fmla="*/ 25 w 37"/>
                  <a:gd name="T93" fmla="*/ 46 h 53"/>
                  <a:gd name="T94" fmla="*/ 27 w 37"/>
                  <a:gd name="T95" fmla="*/ 46 h 53"/>
                  <a:gd name="T96" fmla="*/ 37 w 37"/>
                  <a:gd name="T97" fmla="*/ 19 h 53"/>
                  <a:gd name="T98" fmla="*/ 37 w 37"/>
                  <a:gd name="T99" fmla="*/ 16 h 53"/>
                  <a:gd name="T100" fmla="*/ 36 w 37"/>
                  <a:gd name="T101" fmla="*/ 12 h 53"/>
                  <a:gd name="T102" fmla="*/ 32 w 37"/>
                  <a:gd name="T103" fmla="*/ 12 h 53"/>
                  <a:gd name="T104" fmla="*/ 32 w 37"/>
                  <a:gd name="T105" fmla="*/ 10 h 53"/>
                  <a:gd name="T106" fmla="*/ 34 w 37"/>
                  <a:gd name="T107" fmla="*/ 7 h 53"/>
                  <a:gd name="T108" fmla="*/ 32 w 37"/>
                  <a:gd name="T109" fmla="*/ 5 h 53"/>
                  <a:gd name="T110" fmla="*/ 30 w 37"/>
                  <a:gd name="T111" fmla="*/ 5 h 53"/>
                  <a:gd name="T112" fmla="*/ 25 w 37"/>
                  <a:gd name="T113" fmla="*/ 5 h 53"/>
                  <a:gd name="T114" fmla="*/ 21 w 37"/>
                  <a:gd name="T115" fmla="*/ 1 h 53"/>
                  <a:gd name="T116" fmla="*/ 21 w 37"/>
                  <a:gd name="T117" fmla="*/ 0 h 53"/>
                  <a:gd name="T118" fmla="*/ 19 w 37"/>
                  <a:gd name="T11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 h="53">
                    <a:moveTo>
                      <a:pt x="19" y="0"/>
                    </a:moveTo>
                    <a:lnTo>
                      <a:pt x="19" y="0"/>
                    </a:lnTo>
                    <a:lnTo>
                      <a:pt x="18" y="0"/>
                    </a:lnTo>
                    <a:lnTo>
                      <a:pt x="16" y="0"/>
                    </a:lnTo>
                    <a:lnTo>
                      <a:pt x="14" y="3"/>
                    </a:lnTo>
                    <a:lnTo>
                      <a:pt x="12" y="5"/>
                    </a:lnTo>
                    <a:lnTo>
                      <a:pt x="9" y="5"/>
                    </a:lnTo>
                    <a:lnTo>
                      <a:pt x="7" y="7"/>
                    </a:lnTo>
                    <a:lnTo>
                      <a:pt x="5" y="9"/>
                    </a:lnTo>
                    <a:lnTo>
                      <a:pt x="5" y="7"/>
                    </a:lnTo>
                    <a:lnTo>
                      <a:pt x="3" y="9"/>
                    </a:lnTo>
                    <a:lnTo>
                      <a:pt x="0" y="12"/>
                    </a:lnTo>
                    <a:lnTo>
                      <a:pt x="3" y="17"/>
                    </a:lnTo>
                    <a:lnTo>
                      <a:pt x="5" y="19"/>
                    </a:lnTo>
                    <a:lnTo>
                      <a:pt x="3" y="17"/>
                    </a:lnTo>
                    <a:lnTo>
                      <a:pt x="2" y="17"/>
                    </a:lnTo>
                    <a:lnTo>
                      <a:pt x="2" y="25"/>
                    </a:lnTo>
                    <a:lnTo>
                      <a:pt x="3" y="23"/>
                    </a:lnTo>
                    <a:lnTo>
                      <a:pt x="7" y="21"/>
                    </a:lnTo>
                    <a:lnTo>
                      <a:pt x="11" y="23"/>
                    </a:lnTo>
                    <a:lnTo>
                      <a:pt x="12" y="21"/>
                    </a:lnTo>
                    <a:lnTo>
                      <a:pt x="9" y="19"/>
                    </a:lnTo>
                    <a:lnTo>
                      <a:pt x="9" y="17"/>
                    </a:lnTo>
                    <a:lnTo>
                      <a:pt x="9" y="14"/>
                    </a:lnTo>
                    <a:lnTo>
                      <a:pt x="11" y="14"/>
                    </a:lnTo>
                    <a:lnTo>
                      <a:pt x="14" y="21"/>
                    </a:lnTo>
                    <a:lnTo>
                      <a:pt x="14" y="25"/>
                    </a:lnTo>
                    <a:lnTo>
                      <a:pt x="16" y="25"/>
                    </a:lnTo>
                    <a:lnTo>
                      <a:pt x="14" y="28"/>
                    </a:lnTo>
                    <a:lnTo>
                      <a:pt x="14" y="32"/>
                    </a:lnTo>
                    <a:lnTo>
                      <a:pt x="11" y="34"/>
                    </a:lnTo>
                    <a:lnTo>
                      <a:pt x="11" y="37"/>
                    </a:lnTo>
                    <a:lnTo>
                      <a:pt x="11" y="46"/>
                    </a:lnTo>
                    <a:lnTo>
                      <a:pt x="9" y="48"/>
                    </a:lnTo>
                    <a:lnTo>
                      <a:pt x="11" y="50"/>
                    </a:lnTo>
                    <a:lnTo>
                      <a:pt x="16" y="51"/>
                    </a:lnTo>
                    <a:lnTo>
                      <a:pt x="16" y="48"/>
                    </a:lnTo>
                    <a:lnTo>
                      <a:pt x="16" y="44"/>
                    </a:lnTo>
                    <a:lnTo>
                      <a:pt x="16" y="41"/>
                    </a:lnTo>
                    <a:lnTo>
                      <a:pt x="19" y="42"/>
                    </a:lnTo>
                    <a:lnTo>
                      <a:pt x="18" y="42"/>
                    </a:lnTo>
                    <a:lnTo>
                      <a:pt x="18" y="46"/>
                    </a:lnTo>
                    <a:lnTo>
                      <a:pt x="18" y="53"/>
                    </a:lnTo>
                    <a:lnTo>
                      <a:pt x="19" y="53"/>
                    </a:lnTo>
                    <a:lnTo>
                      <a:pt x="23" y="51"/>
                    </a:lnTo>
                    <a:lnTo>
                      <a:pt x="23" y="48"/>
                    </a:lnTo>
                    <a:lnTo>
                      <a:pt x="25" y="46"/>
                    </a:lnTo>
                    <a:lnTo>
                      <a:pt x="27" y="46"/>
                    </a:lnTo>
                    <a:lnTo>
                      <a:pt x="37" y="19"/>
                    </a:lnTo>
                    <a:lnTo>
                      <a:pt x="37" y="16"/>
                    </a:lnTo>
                    <a:lnTo>
                      <a:pt x="36" y="12"/>
                    </a:lnTo>
                    <a:lnTo>
                      <a:pt x="32" y="12"/>
                    </a:lnTo>
                    <a:lnTo>
                      <a:pt x="32" y="10"/>
                    </a:lnTo>
                    <a:lnTo>
                      <a:pt x="34" y="7"/>
                    </a:lnTo>
                    <a:lnTo>
                      <a:pt x="32" y="5"/>
                    </a:lnTo>
                    <a:lnTo>
                      <a:pt x="30" y="5"/>
                    </a:lnTo>
                    <a:lnTo>
                      <a:pt x="25" y="5"/>
                    </a:lnTo>
                    <a:lnTo>
                      <a:pt x="21" y="1"/>
                    </a:lnTo>
                    <a:lnTo>
                      <a:pt x="21" y="0"/>
                    </a:lnTo>
                    <a:lnTo>
                      <a:pt x="19"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50" name="Freeform 3005"/>
              <p:cNvSpPr>
                <a:spLocks/>
              </p:cNvSpPr>
              <p:nvPr/>
            </p:nvSpPr>
            <p:spPr bwMode="auto">
              <a:xfrm>
                <a:off x="4778" y="2166"/>
                <a:ext cx="2" cy="6"/>
              </a:xfrm>
              <a:custGeom>
                <a:avLst/>
                <a:gdLst>
                  <a:gd name="T0" fmla="*/ 0 w 2"/>
                  <a:gd name="T1" fmla="*/ 0 h 6"/>
                  <a:gd name="T2" fmla="*/ 0 w 2"/>
                  <a:gd name="T3" fmla="*/ 2 h 6"/>
                  <a:gd name="T4" fmla="*/ 0 w 2"/>
                  <a:gd name="T5" fmla="*/ 6 h 6"/>
                  <a:gd name="T6" fmla="*/ 0 w 2"/>
                  <a:gd name="T7" fmla="*/ 6 h 6"/>
                  <a:gd name="T8" fmla="*/ 2 w 2"/>
                  <a:gd name="T9" fmla="*/ 0 h 6"/>
                  <a:gd name="T10" fmla="*/ 0 w 2"/>
                  <a:gd name="T11" fmla="*/ 0 h 6"/>
                </a:gdLst>
                <a:ahLst/>
                <a:cxnLst>
                  <a:cxn ang="0">
                    <a:pos x="T0" y="T1"/>
                  </a:cxn>
                  <a:cxn ang="0">
                    <a:pos x="T2" y="T3"/>
                  </a:cxn>
                  <a:cxn ang="0">
                    <a:pos x="T4" y="T5"/>
                  </a:cxn>
                  <a:cxn ang="0">
                    <a:pos x="T6" y="T7"/>
                  </a:cxn>
                  <a:cxn ang="0">
                    <a:pos x="T8" y="T9"/>
                  </a:cxn>
                  <a:cxn ang="0">
                    <a:pos x="T10" y="T11"/>
                  </a:cxn>
                </a:cxnLst>
                <a:rect l="0" t="0" r="r" b="b"/>
                <a:pathLst>
                  <a:path w="2" h="6">
                    <a:moveTo>
                      <a:pt x="0" y="0"/>
                    </a:moveTo>
                    <a:lnTo>
                      <a:pt x="0" y="2"/>
                    </a:lnTo>
                    <a:lnTo>
                      <a:pt x="0" y="6"/>
                    </a:lnTo>
                    <a:lnTo>
                      <a:pt x="0" y="6"/>
                    </a:lnTo>
                    <a:lnTo>
                      <a:pt x="2"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51" name="Freeform 3006"/>
              <p:cNvSpPr>
                <a:spLocks/>
              </p:cNvSpPr>
              <p:nvPr/>
            </p:nvSpPr>
            <p:spPr bwMode="auto">
              <a:xfrm>
                <a:off x="4778" y="2166"/>
                <a:ext cx="2" cy="6"/>
              </a:xfrm>
              <a:custGeom>
                <a:avLst/>
                <a:gdLst>
                  <a:gd name="T0" fmla="*/ 0 w 2"/>
                  <a:gd name="T1" fmla="*/ 0 h 6"/>
                  <a:gd name="T2" fmla="*/ 0 w 2"/>
                  <a:gd name="T3" fmla="*/ 2 h 6"/>
                  <a:gd name="T4" fmla="*/ 0 w 2"/>
                  <a:gd name="T5" fmla="*/ 6 h 6"/>
                  <a:gd name="T6" fmla="*/ 0 w 2"/>
                  <a:gd name="T7" fmla="*/ 6 h 6"/>
                  <a:gd name="T8" fmla="*/ 2 w 2"/>
                  <a:gd name="T9" fmla="*/ 0 h 6"/>
                  <a:gd name="T10" fmla="*/ 0 w 2"/>
                  <a:gd name="T11" fmla="*/ 0 h 6"/>
                </a:gdLst>
                <a:ahLst/>
                <a:cxnLst>
                  <a:cxn ang="0">
                    <a:pos x="T0" y="T1"/>
                  </a:cxn>
                  <a:cxn ang="0">
                    <a:pos x="T2" y="T3"/>
                  </a:cxn>
                  <a:cxn ang="0">
                    <a:pos x="T4" y="T5"/>
                  </a:cxn>
                  <a:cxn ang="0">
                    <a:pos x="T6" y="T7"/>
                  </a:cxn>
                  <a:cxn ang="0">
                    <a:pos x="T8" y="T9"/>
                  </a:cxn>
                  <a:cxn ang="0">
                    <a:pos x="T10" y="T11"/>
                  </a:cxn>
                </a:cxnLst>
                <a:rect l="0" t="0" r="r" b="b"/>
                <a:pathLst>
                  <a:path w="2" h="6">
                    <a:moveTo>
                      <a:pt x="0" y="0"/>
                    </a:moveTo>
                    <a:lnTo>
                      <a:pt x="0" y="2"/>
                    </a:lnTo>
                    <a:lnTo>
                      <a:pt x="0" y="6"/>
                    </a:lnTo>
                    <a:lnTo>
                      <a:pt x="0" y="6"/>
                    </a:lnTo>
                    <a:lnTo>
                      <a:pt x="2"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52" name="Freeform 3007"/>
              <p:cNvSpPr>
                <a:spLocks/>
              </p:cNvSpPr>
              <p:nvPr/>
            </p:nvSpPr>
            <p:spPr bwMode="auto">
              <a:xfrm>
                <a:off x="4792" y="2199"/>
                <a:ext cx="2" cy="7"/>
              </a:xfrm>
              <a:custGeom>
                <a:avLst/>
                <a:gdLst>
                  <a:gd name="T0" fmla="*/ 2 w 2"/>
                  <a:gd name="T1" fmla="*/ 1 h 7"/>
                  <a:gd name="T2" fmla="*/ 2 w 2"/>
                  <a:gd name="T3" fmla="*/ 0 h 7"/>
                  <a:gd name="T4" fmla="*/ 0 w 2"/>
                  <a:gd name="T5" fmla="*/ 5 h 7"/>
                  <a:gd name="T6" fmla="*/ 0 w 2"/>
                  <a:gd name="T7" fmla="*/ 7 h 7"/>
                  <a:gd name="T8" fmla="*/ 2 w 2"/>
                  <a:gd name="T9" fmla="*/ 1 h 7"/>
                </a:gdLst>
                <a:ahLst/>
                <a:cxnLst>
                  <a:cxn ang="0">
                    <a:pos x="T0" y="T1"/>
                  </a:cxn>
                  <a:cxn ang="0">
                    <a:pos x="T2" y="T3"/>
                  </a:cxn>
                  <a:cxn ang="0">
                    <a:pos x="T4" y="T5"/>
                  </a:cxn>
                  <a:cxn ang="0">
                    <a:pos x="T6" y="T7"/>
                  </a:cxn>
                  <a:cxn ang="0">
                    <a:pos x="T8" y="T9"/>
                  </a:cxn>
                </a:cxnLst>
                <a:rect l="0" t="0" r="r" b="b"/>
                <a:pathLst>
                  <a:path w="2" h="7">
                    <a:moveTo>
                      <a:pt x="2" y="1"/>
                    </a:moveTo>
                    <a:lnTo>
                      <a:pt x="2" y="0"/>
                    </a:lnTo>
                    <a:lnTo>
                      <a:pt x="0" y="5"/>
                    </a:lnTo>
                    <a:lnTo>
                      <a:pt x="0" y="7"/>
                    </a:lnTo>
                    <a:lnTo>
                      <a:pt x="2"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53" name="Freeform 3008"/>
              <p:cNvSpPr>
                <a:spLocks/>
              </p:cNvSpPr>
              <p:nvPr/>
            </p:nvSpPr>
            <p:spPr bwMode="auto">
              <a:xfrm>
                <a:off x="4792" y="2199"/>
                <a:ext cx="2" cy="7"/>
              </a:xfrm>
              <a:custGeom>
                <a:avLst/>
                <a:gdLst>
                  <a:gd name="T0" fmla="*/ 2 w 2"/>
                  <a:gd name="T1" fmla="*/ 1 h 7"/>
                  <a:gd name="T2" fmla="*/ 2 w 2"/>
                  <a:gd name="T3" fmla="*/ 0 h 7"/>
                  <a:gd name="T4" fmla="*/ 0 w 2"/>
                  <a:gd name="T5" fmla="*/ 5 h 7"/>
                  <a:gd name="T6" fmla="*/ 0 w 2"/>
                  <a:gd name="T7" fmla="*/ 7 h 7"/>
                  <a:gd name="T8" fmla="*/ 2 w 2"/>
                  <a:gd name="T9" fmla="*/ 1 h 7"/>
                </a:gdLst>
                <a:ahLst/>
                <a:cxnLst>
                  <a:cxn ang="0">
                    <a:pos x="T0" y="T1"/>
                  </a:cxn>
                  <a:cxn ang="0">
                    <a:pos x="T2" y="T3"/>
                  </a:cxn>
                  <a:cxn ang="0">
                    <a:pos x="T4" y="T5"/>
                  </a:cxn>
                  <a:cxn ang="0">
                    <a:pos x="T6" y="T7"/>
                  </a:cxn>
                  <a:cxn ang="0">
                    <a:pos x="T8" y="T9"/>
                  </a:cxn>
                </a:cxnLst>
                <a:rect l="0" t="0" r="r" b="b"/>
                <a:pathLst>
                  <a:path w="2" h="7">
                    <a:moveTo>
                      <a:pt x="2" y="1"/>
                    </a:moveTo>
                    <a:lnTo>
                      <a:pt x="2" y="0"/>
                    </a:lnTo>
                    <a:lnTo>
                      <a:pt x="0" y="5"/>
                    </a:lnTo>
                    <a:lnTo>
                      <a:pt x="0" y="7"/>
                    </a:lnTo>
                    <a:lnTo>
                      <a:pt x="2"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54" name="Freeform 3009"/>
              <p:cNvSpPr>
                <a:spLocks/>
              </p:cNvSpPr>
              <p:nvPr/>
            </p:nvSpPr>
            <p:spPr bwMode="auto">
              <a:xfrm>
                <a:off x="4783" y="2204"/>
                <a:ext cx="4" cy="5"/>
              </a:xfrm>
              <a:custGeom>
                <a:avLst/>
                <a:gdLst>
                  <a:gd name="T0" fmla="*/ 2 w 4"/>
                  <a:gd name="T1" fmla="*/ 2 h 5"/>
                  <a:gd name="T2" fmla="*/ 0 w 4"/>
                  <a:gd name="T3" fmla="*/ 0 h 5"/>
                  <a:gd name="T4" fmla="*/ 0 w 4"/>
                  <a:gd name="T5" fmla="*/ 2 h 5"/>
                  <a:gd name="T6" fmla="*/ 0 w 4"/>
                  <a:gd name="T7" fmla="*/ 5 h 5"/>
                  <a:gd name="T8" fmla="*/ 4 w 4"/>
                  <a:gd name="T9" fmla="*/ 5 h 5"/>
                  <a:gd name="T10" fmla="*/ 4 w 4"/>
                  <a:gd name="T11" fmla="*/ 2 h 5"/>
                  <a:gd name="T12" fmla="*/ 2 w 4"/>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2" y="2"/>
                    </a:moveTo>
                    <a:lnTo>
                      <a:pt x="0" y="0"/>
                    </a:lnTo>
                    <a:lnTo>
                      <a:pt x="0" y="2"/>
                    </a:lnTo>
                    <a:lnTo>
                      <a:pt x="0" y="5"/>
                    </a:lnTo>
                    <a:lnTo>
                      <a:pt x="4" y="5"/>
                    </a:lnTo>
                    <a:lnTo>
                      <a:pt x="4" y="2"/>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55" name="Freeform 3010"/>
              <p:cNvSpPr>
                <a:spLocks/>
              </p:cNvSpPr>
              <p:nvPr/>
            </p:nvSpPr>
            <p:spPr bwMode="auto">
              <a:xfrm>
                <a:off x="4783" y="2204"/>
                <a:ext cx="4" cy="5"/>
              </a:xfrm>
              <a:custGeom>
                <a:avLst/>
                <a:gdLst>
                  <a:gd name="T0" fmla="*/ 2 w 4"/>
                  <a:gd name="T1" fmla="*/ 2 h 5"/>
                  <a:gd name="T2" fmla="*/ 0 w 4"/>
                  <a:gd name="T3" fmla="*/ 0 h 5"/>
                  <a:gd name="T4" fmla="*/ 0 w 4"/>
                  <a:gd name="T5" fmla="*/ 2 h 5"/>
                  <a:gd name="T6" fmla="*/ 0 w 4"/>
                  <a:gd name="T7" fmla="*/ 5 h 5"/>
                  <a:gd name="T8" fmla="*/ 4 w 4"/>
                  <a:gd name="T9" fmla="*/ 5 h 5"/>
                  <a:gd name="T10" fmla="*/ 4 w 4"/>
                  <a:gd name="T11" fmla="*/ 2 h 5"/>
                  <a:gd name="T12" fmla="*/ 2 w 4"/>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2" y="2"/>
                    </a:moveTo>
                    <a:lnTo>
                      <a:pt x="0" y="0"/>
                    </a:lnTo>
                    <a:lnTo>
                      <a:pt x="0" y="2"/>
                    </a:lnTo>
                    <a:lnTo>
                      <a:pt x="0" y="5"/>
                    </a:lnTo>
                    <a:lnTo>
                      <a:pt x="4" y="5"/>
                    </a:lnTo>
                    <a:lnTo>
                      <a:pt x="4" y="2"/>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56" name="Freeform 3011"/>
              <p:cNvSpPr>
                <a:spLocks/>
              </p:cNvSpPr>
              <p:nvPr/>
            </p:nvSpPr>
            <p:spPr bwMode="auto">
              <a:xfrm>
                <a:off x="4755" y="2161"/>
                <a:ext cx="3" cy="4"/>
              </a:xfrm>
              <a:custGeom>
                <a:avLst/>
                <a:gdLst>
                  <a:gd name="T0" fmla="*/ 3 w 3"/>
                  <a:gd name="T1" fmla="*/ 0 h 4"/>
                  <a:gd name="T2" fmla="*/ 0 w 3"/>
                  <a:gd name="T3" fmla="*/ 2 h 4"/>
                  <a:gd name="T4" fmla="*/ 0 w 3"/>
                  <a:gd name="T5" fmla="*/ 4 h 4"/>
                  <a:gd name="T6" fmla="*/ 3 w 3"/>
                  <a:gd name="T7" fmla="*/ 4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lnTo>
                      <a:pt x="0" y="2"/>
                    </a:lnTo>
                    <a:lnTo>
                      <a:pt x="0" y="4"/>
                    </a:lnTo>
                    <a:lnTo>
                      <a:pt x="3" y="4"/>
                    </a:lnTo>
                    <a:lnTo>
                      <a:pt x="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57" name="Freeform 3012"/>
              <p:cNvSpPr>
                <a:spLocks/>
              </p:cNvSpPr>
              <p:nvPr/>
            </p:nvSpPr>
            <p:spPr bwMode="auto">
              <a:xfrm>
                <a:off x="4755" y="2161"/>
                <a:ext cx="3" cy="4"/>
              </a:xfrm>
              <a:custGeom>
                <a:avLst/>
                <a:gdLst>
                  <a:gd name="T0" fmla="*/ 3 w 3"/>
                  <a:gd name="T1" fmla="*/ 0 h 4"/>
                  <a:gd name="T2" fmla="*/ 0 w 3"/>
                  <a:gd name="T3" fmla="*/ 2 h 4"/>
                  <a:gd name="T4" fmla="*/ 0 w 3"/>
                  <a:gd name="T5" fmla="*/ 4 h 4"/>
                  <a:gd name="T6" fmla="*/ 3 w 3"/>
                  <a:gd name="T7" fmla="*/ 4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lnTo>
                      <a:pt x="0" y="2"/>
                    </a:lnTo>
                    <a:lnTo>
                      <a:pt x="0" y="4"/>
                    </a:lnTo>
                    <a:lnTo>
                      <a:pt x="3" y="4"/>
                    </a:lnTo>
                    <a:lnTo>
                      <a:pt x="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58" name="Freeform 3013"/>
              <p:cNvSpPr>
                <a:spLocks/>
              </p:cNvSpPr>
              <p:nvPr/>
            </p:nvSpPr>
            <p:spPr bwMode="auto">
              <a:xfrm>
                <a:off x="4760" y="2156"/>
                <a:ext cx="4" cy="3"/>
              </a:xfrm>
              <a:custGeom>
                <a:avLst/>
                <a:gdLst>
                  <a:gd name="T0" fmla="*/ 4 w 4"/>
                  <a:gd name="T1" fmla="*/ 1 h 3"/>
                  <a:gd name="T2" fmla="*/ 4 w 4"/>
                  <a:gd name="T3" fmla="*/ 0 h 3"/>
                  <a:gd name="T4" fmla="*/ 2 w 4"/>
                  <a:gd name="T5" fmla="*/ 0 h 3"/>
                  <a:gd name="T6" fmla="*/ 0 w 4"/>
                  <a:gd name="T7" fmla="*/ 1 h 3"/>
                  <a:gd name="T8" fmla="*/ 2 w 4"/>
                  <a:gd name="T9" fmla="*/ 3 h 3"/>
                  <a:gd name="T10" fmla="*/ 4 w 4"/>
                  <a:gd name="T11" fmla="*/ 1 h 3"/>
                  <a:gd name="T12" fmla="*/ 4 w 4"/>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1"/>
                    </a:moveTo>
                    <a:lnTo>
                      <a:pt x="4" y="0"/>
                    </a:lnTo>
                    <a:lnTo>
                      <a:pt x="2" y="0"/>
                    </a:lnTo>
                    <a:lnTo>
                      <a:pt x="0" y="1"/>
                    </a:lnTo>
                    <a:lnTo>
                      <a:pt x="2" y="3"/>
                    </a:lnTo>
                    <a:lnTo>
                      <a:pt x="4" y="1"/>
                    </a:lnTo>
                    <a:lnTo>
                      <a:pt x="4"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59" name="Freeform 3014"/>
              <p:cNvSpPr>
                <a:spLocks/>
              </p:cNvSpPr>
              <p:nvPr/>
            </p:nvSpPr>
            <p:spPr bwMode="auto">
              <a:xfrm>
                <a:off x="4760" y="2156"/>
                <a:ext cx="4" cy="3"/>
              </a:xfrm>
              <a:custGeom>
                <a:avLst/>
                <a:gdLst>
                  <a:gd name="T0" fmla="*/ 4 w 4"/>
                  <a:gd name="T1" fmla="*/ 1 h 3"/>
                  <a:gd name="T2" fmla="*/ 4 w 4"/>
                  <a:gd name="T3" fmla="*/ 0 h 3"/>
                  <a:gd name="T4" fmla="*/ 2 w 4"/>
                  <a:gd name="T5" fmla="*/ 0 h 3"/>
                  <a:gd name="T6" fmla="*/ 0 w 4"/>
                  <a:gd name="T7" fmla="*/ 1 h 3"/>
                  <a:gd name="T8" fmla="*/ 2 w 4"/>
                  <a:gd name="T9" fmla="*/ 3 h 3"/>
                  <a:gd name="T10" fmla="*/ 4 w 4"/>
                  <a:gd name="T11" fmla="*/ 1 h 3"/>
                  <a:gd name="T12" fmla="*/ 4 w 4"/>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1"/>
                    </a:moveTo>
                    <a:lnTo>
                      <a:pt x="4" y="0"/>
                    </a:lnTo>
                    <a:lnTo>
                      <a:pt x="2" y="0"/>
                    </a:lnTo>
                    <a:lnTo>
                      <a:pt x="0" y="1"/>
                    </a:lnTo>
                    <a:lnTo>
                      <a:pt x="2" y="3"/>
                    </a:lnTo>
                    <a:lnTo>
                      <a:pt x="4" y="1"/>
                    </a:lnTo>
                    <a:lnTo>
                      <a:pt x="4"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60" name="Freeform 3015"/>
              <p:cNvSpPr>
                <a:spLocks/>
              </p:cNvSpPr>
              <p:nvPr/>
            </p:nvSpPr>
            <p:spPr bwMode="auto">
              <a:xfrm>
                <a:off x="4771" y="2140"/>
                <a:ext cx="2" cy="3"/>
              </a:xfrm>
              <a:custGeom>
                <a:avLst/>
                <a:gdLst>
                  <a:gd name="T0" fmla="*/ 2 w 2"/>
                  <a:gd name="T1" fmla="*/ 0 h 3"/>
                  <a:gd name="T2" fmla="*/ 0 w 2"/>
                  <a:gd name="T3" fmla="*/ 1 h 3"/>
                  <a:gd name="T4" fmla="*/ 2 w 2"/>
                  <a:gd name="T5" fmla="*/ 3 h 3"/>
                  <a:gd name="T6" fmla="*/ 2 w 2"/>
                  <a:gd name="T7" fmla="*/ 1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lnTo>
                      <a:pt x="0" y="1"/>
                    </a:lnTo>
                    <a:lnTo>
                      <a:pt x="2" y="3"/>
                    </a:lnTo>
                    <a:lnTo>
                      <a:pt x="2" y="1"/>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61" name="Freeform 3016"/>
              <p:cNvSpPr>
                <a:spLocks/>
              </p:cNvSpPr>
              <p:nvPr/>
            </p:nvSpPr>
            <p:spPr bwMode="auto">
              <a:xfrm>
                <a:off x="4771" y="2140"/>
                <a:ext cx="2" cy="3"/>
              </a:xfrm>
              <a:custGeom>
                <a:avLst/>
                <a:gdLst>
                  <a:gd name="T0" fmla="*/ 2 w 2"/>
                  <a:gd name="T1" fmla="*/ 0 h 3"/>
                  <a:gd name="T2" fmla="*/ 0 w 2"/>
                  <a:gd name="T3" fmla="*/ 1 h 3"/>
                  <a:gd name="T4" fmla="*/ 2 w 2"/>
                  <a:gd name="T5" fmla="*/ 3 h 3"/>
                  <a:gd name="T6" fmla="*/ 2 w 2"/>
                  <a:gd name="T7" fmla="*/ 1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lnTo>
                      <a:pt x="0" y="1"/>
                    </a:lnTo>
                    <a:lnTo>
                      <a:pt x="2" y="3"/>
                    </a:lnTo>
                    <a:lnTo>
                      <a:pt x="2" y="1"/>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62" name="Freeform 3017"/>
              <p:cNvSpPr>
                <a:spLocks/>
              </p:cNvSpPr>
              <p:nvPr/>
            </p:nvSpPr>
            <p:spPr bwMode="auto">
              <a:xfrm>
                <a:off x="4617" y="2297"/>
                <a:ext cx="29" cy="59"/>
              </a:xfrm>
              <a:custGeom>
                <a:avLst/>
                <a:gdLst>
                  <a:gd name="T0" fmla="*/ 22 w 29"/>
                  <a:gd name="T1" fmla="*/ 0 h 59"/>
                  <a:gd name="T2" fmla="*/ 23 w 29"/>
                  <a:gd name="T3" fmla="*/ 2 h 59"/>
                  <a:gd name="T4" fmla="*/ 25 w 29"/>
                  <a:gd name="T5" fmla="*/ 3 h 59"/>
                  <a:gd name="T6" fmla="*/ 27 w 29"/>
                  <a:gd name="T7" fmla="*/ 3 h 59"/>
                  <a:gd name="T8" fmla="*/ 27 w 29"/>
                  <a:gd name="T9" fmla="*/ 3 h 59"/>
                  <a:gd name="T10" fmla="*/ 29 w 29"/>
                  <a:gd name="T11" fmla="*/ 5 h 59"/>
                  <a:gd name="T12" fmla="*/ 27 w 29"/>
                  <a:gd name="T13" fmla="*/ 9 h 59"/>
                  <a:gd name="T14" fmla="*/ 27 w 29"/>
                  <a:gd name="T15" fmla="*/ 12 h 59"/>
                  <a:gd name="T16" fmla="*/ 13 w 29"/>
                  <a:gd name="T17" fmla="*/ 59 h 59"/>
                  <a:gd name="T18" fmla="*/ 11 w 29"/>
                  <a:gd name="T19" fmla="*/ 57 h 59"/>
                  <a:gd name="T20" fmla="*/ 7 w 29"/>
                  <a:gd name="T21" fmla="*/ 50 h 59"/>
                  <a:gd name="T22" fmla="*/ 6 w 29"/>
                  <a:gd name="T23" fmla="*/ 48 h 59"/>
                  <a:gd name="T24" fmla="*/ 2 w 29"/>
                  <a:gd name="T25" fmla="*/ 43 h 59"/>
                  <a:gd name="T26" fmla="*/ 0 w 29"/>
                  <a:gd name="T27" fmla="*/ 30 h 59"/>
                  <a:gd name="T28" fmla="*/ 0 w 29"/>
                  <a:gd name="T29" fmla="*/ 27 h 59"/>
                  <a:gd name="T30" fmla="*/ 15 w 29"/>
                  <a:gd name="T31" fmla="*/ 5 h 59"/>
                  <a:gd name="T32" fmla="*/ 20 w 29"/>
                  <a:gd name="T33" fmla="*/ 2 h 59"/>
                  <a:gd name="T34" fmla="*/ 20 w 29"/>
                  <a:gd name="T35" fmla="*/ 2 h 59"/>
                  <a:gd name="T36" fmla="*/ 22 w 29"/>
                  <a:gd name="T3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59">
                    <a:moveTo>
                      <a:pt x="22" y="0"/>
                    </a:moveTo>
                    <a:lnTo>
                      <a:pt x="23" y="2"/>
                    </a:lnTo>
                    <a:lnTo>
                      <a:pt x="25" y="3"/>
                    </a:lnTo>
                    <a:lnTo>
                      <a:pt x="27" y="3"/>
                    </a:lnTo>
                    <a:lnTo>
                      <a:pt x="27" y="3"/>
                    </a:lnTo>
                    <a:lnTo>
                      <a:pt x="29" y="5"/>
                    </a:lnTo>
                    <a:lnTo>
                      <a:pt x="27" y="9"/>
                    </a:lnTo>
                    <a:lnTo>
                      <a:pt x="27" y="12"/>
                    </a:lnTo>
                    <a:lnTo>
                      <a:pt x="13" y="59"/>
                    </a:lnTo>
                    <a:lnTo>
                      <a:pt x="11" y="57"/>
                    </a:lnTo>
                    <a:lnTo>
                      <a:pt x="7" y="50"/>
                    </a:lnTo>
                    <a:lnTo>
                      <a:pt x="6" y="48"/>
                    </a:lnTo>
                    <a:lnTo>
                      <a:pt x="2" y="43"/>
                    </a:lnTo>
                    <a:lnTo>
                      <a:pt x="0" y="30"/>
                    </a:lnTo>
                    <a:lnTo>
                      <a:pt x="0" y="27"/>
                    </a:lnTo>
                    <a:lnTo>
                      <a:pt x="15" y="5"/>
                    </a:lnTo>
                    <a:lnTo>
                      <a:pt x="20" y="2"/>
                    </a:lnTo>
                    <a:lnTo>
                      <a:pt x="20" y="2"/>
                    </a:lnTo>
                    <a:lnTo>
                      <a:pt x="2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63" name="Freeform 3018"/>
              <p:cNvSpPr>
                <a:spLocks/>
              </p:cNvSpPr>
              <p:nvPr/>
            </p:nvSpPr>
            <p:spPr bwMode="auto">
              <a:xfrm>
                <a:off x="4617" y="2297"/>
                <a:ext cx="29" cy="59"/>
              </a:xfrm>
              <a:custGeom>
                <a:avLst/>
                <a:gdLst>
                  <a:gd name="T0" fmla="*/ 22 w 29"/>
                  <a:gd name="T1" fmla="*/ 0 h 59"/>
                  <a:gd name="T2" fmla="*/ 23 w 29"/>
                  <a:gd name="T3" fmla="*/ 2 h 59"/>
                  <a:gd name="T4" fmla="*/ 25 w 29"/>
                  <a:gd name="T5" fmla="*/ 3 h 59"/>
                  <a:gd name="T6" fmla="*/ 27 w 29"/>
                  <a:gd name="T7" fmla="*/ 3 h 59"/>
                  <a:gd name="T8" fmla="*/ 27 w 29"/>
                  <a:gd name="T9" fmla="*/ 3 h 59"/>
                  <a:gd name="T10" fmla="*/ 29 w 29"/>
                  <a:gd name="T11" fmla="*/ 5 h 59"/>
                  <a:gd name="T12" fmla="*/ 27 w 29"/>
                  <a:gd name="T13" fmla="*/ 9 h 59"/>
                  <a:gd name="T14" fmla="*/ 27 w 29"/>
                  <a:gd name="T15" fmla="*/ 12 h 59"/>
                  <a:gd name="T16" fmla="*/ 13 w 29"/>
                  <a:gd name="T17" fmla="*/ 59 h 59"/>
                  <a:gd name="T18" fmla="*/ 11 w 29"/>
                  <a:gd name="T19" fmla="*/ 57 h 59"/>
                  <a:gd name="T20" fmla="*/ 7 w 29"/>
                  <a:gd name="T21" fmla="*/ 50 h 59"/>
                  <a:gd name="T22" fmla="*/ 6 w 29"/>
                  <a:gd name="T23" fmla="*/ 48 h 59"/>
                  <a:gd name="T24" fmla="*/ 2 w 29"/>
                  <a:gd name="T25" fmla="*/ 43 h 59"/>
                  <a:gd name="T26" fmla="*/ 0 w 29"/>
                  <a:gd name="T27" fmla="*/ 30 h 59"/>
                  <a:gd name="T28" fmla="*/ 0 w 29"/>
                  <a:gd name="T29" fmla="*/ 27 h 59"/>
                  <a:gd name="T30" fmla="*/ 15 w 29"/>
                  <a:gd name="T31" fmla="*/ 5 h 59"/>
                  <a:gd name="T32" fmla="*/ 20 w 29"/>
                  <a:gd name="T33" fmla="*/ 2 h 59"/>
                  <a:gd name="T34" fmla="*/ 20 w 29"/>
                  <a:gd name="T35" fmla="*/ 2 h 59"/>
                  <a:gd name="T36" fmla="*/ 22 w 29"/>
                  <a:gd name="T37"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59">
                    <a:moveTo>
                      <a:pt x="22" y="0"/>
                    </a:moveTo>
                    <a:lnTo>
                      <a:pt x="23" y="2"/>
                    </a:lnTo>
                    <a:lnTo>
                      <a:pt x="25" y="3"/>
                    </a:lnTo>
                    <a:lnTo>
                      <a:pt x="27" y="3"/>
                    </a:lnTo>
                    <a:lnTo>
                      <a:pt x="27" y="3"/>
                    </a:lnTo>
                    <a:lnTo>
                      <a:pt x="29" y="5"/>
                    </a:lnTo>
                    <a:lnTo>
                      <a:pt x="27" y="9"/>
                    </a:lnTo>
                    <a:lnTo>
                      <a:pt x="27" y="12"/>
                    </a:lnTo>
                    <a:lnTo>
                      <a:pt x="13" y="59"/>
                    </a:lnTo>
                    <a:lnTo>
                      <a:pt x="11" y="57"/>
                    </a:lnTo>
                    <a:lnTo>
                      <a:pt x="7" y="50"/>
                    </a:lnTo>
                    <a:lnTo>
                      <a:pt x="6" y="48"/>
                    </a:lnTo>
                    <a:lnTo>
                      <a:pt x="2" y="43"/>
                    </a:lnTo>
                    <a:lnTo>
                      <a:pt x="0" y="30"/>
                    </a:lnTo>
                    <a:lnTo>
                      <a:pt x="0" y="27"/>
                    </a:lnTo>
                    <a:lnTo>
                      <a:pt x="15" y="5"/>
                    </a:lnTo>
                    <a:lnTo>
                      <a:pt x="20" y="2"/>
                    </a:lnTo>
                    <a:lnTo>
                      <a:pt x="20" y="2"/>
                    </a:lnTo>
                    <a:lnTo>
                      <a:pt x="2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64" name="Freeform 3019"/>
              <p:cNvSpPr>
                <a:spLocks/>
              </p:cNvSpPr>
              <p:nvPr/>
            </p:nvSpPr>
            <p:spPr bwMode="auto">
              <a:xfrm>
                <a:off x="4674" y="2313"/>
                <a:ext cx="4" cy="2"/>
              </a:xfrm>
              <a:custGeom>
                <a:avLst/>
                <a:gdLst>
                  <a:gd name="T0" fmla="*/ 2 w 4"/>
                  <a:gd name="T1" fmla="*/ 0 h 2"/>
                  <a:gd name="T2" fmla="*/ 2 w 4"/>
                  <a:gd name="T3" fmla="*/ 0 h 2"/>
                  <a:gd name="T4" fmla="*/ 4 w 4"/>
                  <a:gd name="T5" fmla="*/ 0 h 2"/>
                  <a:gd name="T6" fmla="*/ 4 w 4"/>
                  <a:gd name="T7" fmla="*/ 2 h 2"/>
                  <a:gd name="T8" fmla="*/ 4 w 4"/>
                  <a:gd name="T9" fmla="*/ 2 h 2"/>
                  <a:gd name="T10" fmla="*/ 2 w 4"/>
                  <a:gd name="T11" fmla="*/ 2 h 2"/>
                  <a:gd name="T12" fmla="*/ 0 w 4"/>
                  <a:gd name="T13" fmla="*/ 0 h 2"/>
                  <a:gd name="T14" fmla="*/ 2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2" y="0"/>
                    </a:moveTo>
                    <a:lnTo>
                      <a:pt x="2" y="0"/>
                    </a:lnTo>
                    <a:lnTo>
                      <a:pt x="4" y="0"/>
                    </a:lnTo>
                    <a:lnTo>
                      <a:pt x="4" y="2"/>
                    </a:lnTo>
                    <a:lnTo>
                      <a:pt x="4" y="2"/>
                    </a:lnTo>
                    <a:lnTo>
                      <a:pt x="2" y="2"/>
                    </a:lnTo>
                    <a:lnTo>
                      <a:pt x="0"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65" name="Freeform 3020"/>
              <p:cNvSpPr>
                <a:spLocks/>
              </p:cNvSpPr>
              <p:nvPr/>
            </p:nvSpPr>
            <p:spPr bwMode="auto">
              <a:xfrm>
                <a:off x="4674" y="2313"/>
                <a:ext cx="4" cy="2"/>
              </a:xfrm>
              <a:custGeom>
                <a:avLst/>
                <a:gdLst>
                  <a:gd name="T0" fmla="*/ 2 w 4"/>
                  <a:gd name="T1" fmla="*/ 0 h 2"/>
                  <a:gd name="T2" fmla="*/ 2 w 4"/>
                  <a:gd name="T3" fmla="*/ 0 h 2"/>
                  <a:gd name="T4" fmla="*/ 4 w 4"/>
                  <a:gd name="T5" fmla="*/ 0 h 2"/>
                  <a:gd name="T6" fmla="*/ 4 w 4"/>
                  <a:gd name="T7" fmla="*/ 2 h 2"/>
                  <a:gd name="T8" fmla="*/ 4 w 4"/>
                  <a:gd name="T9" fmla="*/ 2 h 2"/>
                  <a:gd name="T10" fmla="*/ 2 w 4"/>
                  <a:gd name="T11" fmla="*/ 2 h 2"/>
                  <a:gd name="T12" fmla="*/ 0 w 4"/>
                  <a:gd name="T13" fmla="*/ 0 h 2"/>
                  <a:gd name="T14" fmla="*/ 2 w 4"/>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2" y="0"/>
                    </a:moveTo>
                    <a:lnTo>
                      <a:pt x="2" y="0"/>
                    </a:lnTo>
                    <a:lnTo>
                      <a:pt x="4" y="0"/>
                    </a:lnTo>
                    <a:lnTo>
                      <a:pt x="4" y="2"/>
                    </a:lnTo>
                    <a:lnTo>
                      <a:pt x="4" y="2"/>
                    </a:lnTo>
                    <a:lnTo>
                      <a:pt x="2" y="2"/>
                    </a:lnTo>
                    <a:lnTo>
                      <a:pt x="0"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66" name="Freeform 3021"/>
              <p:cNvSpPr>
                <a:spLocks/>
              </p:cNvSpPr>
              <p:nvPr/>
            </p:nvSpPr>
            <p:spPr bwMode="auto">
              <a:xfrm>
                <a:off x="4682" y="2311"/>
                <a:ext cx="1" cy="4"/>
              </a:xfrm>
              <a:custGeom>
                <a:avLst/>
                <a:gdLst>
                  <a:gd name="T0" fmla="*/ 0 w 1"/>
                  <a:gd name="T1" fmla="*/ 2 h 4"/>
                  <a:gd name="T2" fmla="*/ 0 w 1"/>
                  <a:gd name="T3" fmla="*/ 2 h 4"/>
                  <a:gd name="T4" fmla="*/ 1 w 1"/>
                  <a:gd name="T5" fmla="*/ 0 h 4"/>
                  <a:gd name="T6" fmla="*/ 1 w 1"/>
                  <a:gd name="T7" fmla="*/ 0 h 4"/>
                  <a:gd name="T8" fmla="*/ 1 w 1"/>
                  <a:gd name="T9" fmla="*/ 0 h 4"/>
                  <a:gd name="T10" fmla="*/ 1 w 1"/>
                  <a:gd name="T11" fmla="*/ 2 h 4"/>
                  <a:gd name="T12" fmla="*/ 0 w 1"/>
                  <a:gd name="T13" fmla="*/ 4 h 4"/>
                  <a:gd name="T14" fmla="*/ 0 w 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0" y="2"/>
                    </a:moveTo>
                    <a:lnTo>
                      <a:pt x="0" y="2"/>
                    </a:lnTo>
                    <a:lnTo>
                      <a:pt x="1" y="0"/>
                    </a:lnTo>
                    <a:lnTo>
                      <a:pt x="1" y="0"/>
                    </a:lnTo>
                    <a:lnTo>
                      <a:pt x="1" y="0"/>
                    </a:lnTo>
                    <a:lnTo>
                      <a:pt x="1" y="2"/>
                    </a:lnTo>
                    <a:lnTo>
                      <a:pt x="0" y="4"/>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67" name="Freeform 3022"/>
              <p:cNvSpPr>
                <a:spLocks/>
              </p:cNvSpPr>
              <p:nvPr/>
            </p:nvSpPr>
            <p:spPr bwMode="auto">
              <a:xfrm>
                <a:off x="4682" y="2311"/>
                <a:ext cx="1" cy="4"/>
              </a:xfrm>
              <a:custGeom>
                <a:avLst/>
                <a:gdLst>
                  <a:gd name="T0" fmla="*/ 0 w 1"/>
                  <a:gd name="T1" fmla="*/ 2 h 4"/>
                  <a:gd name="T2" fmla="*/ 0 w 1"/>
                  <a:gd name="T3" fmla="*/ 2 h 4"/>
                  <a:gd name="T4" fmla="*/ 1 w 1"/>
                  <a:gd name="T5" fmla="*/ 0 h 4"/>
                  <a:gd name="T6" fmla="*/ 1 w 1"/>
                  <a:gd name="T7" fmla="*/ 0 h 4"/>
                  <a:gd name="T8" fmla="*/ 1 w 1"/>
                  <a:gd name="T9" fmla="*/ 0 h 4"/>
                  <a:gd name="T10" fmla="*/ 1 w 1"/>
                  <a:gd name="T11" fmla="*/ 2 h 4"/>
                  <a:gd name="T12" fmla="*/ 0 w 1"/>
                  <a:gd name="T13" fmla="*/ 4 h 4"/>
                  <a:gd name="T14" fmla="*/ 0 w 1"/>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4">
                    <a:moveTo>
                      <a:pt x="0" y="2"/>
                    </a:moveTo>
                    <a:lnTo>
                      <a:pt x="0" y="2"/>
                    </a:lnTo>
                    <a:lnTo>
                      <a:pt x="1" y="0"/>
                    </a:lnTo>
                    <a:lnTo>
                      <a:pt x="1" y="0"/>
                    </a:lnTo>
                    <a:lnTo>
                      <a:pt x="1" y="0"/>
                    </a:lnTo>
                    <a:lnTo>
                      <a:pt x="1" y="2"/>
                    </a:lnTo>
                    <a:lnTo>
                      <a:pt x="0" y="4"/>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68" name="Freeform 3023"/>
              <p:cNvSpPr>
                <a:spLocks/>
              </p:cNvSpPr>
              <p:nvPr/>
            </p:nvSpPr>
            <p:spPr bwMode="auto">
              <a:xfrm>
                <a:off x="4739" y="2268"/>
                <a:ext cx="9" cy="14"/>
              </a:xfrm>
              <a:custGeom>
                <a:avLst/>
                <a:gdLst>
                  <a:gd name="T0" fmla="*/ 1 w 9"/>
                  <a:gd name="T1" fmla="*/ 7 h 14"/>
                  <a:gd name="T2" fmla="*/ 3 w 9"/>
                  <a:gd name="T3" fmla="*/ 6 h 14"/>
                  <a:gd name="T4" fmla="*/ 3 w 9"/>
                  <a:gd name="T5" fmla="*/ 4 h 14"/>
                  <a:gd name="T6" fmla="*/ 5 w 9"/>
                  <a:gd name="T7" fmla="*/ 4 h 14"/>
                  <a:gd name="T8" fmla="*/ 7 w 9"/>
                  <a:gd name="T9" fmla="*/ 2 h 14"/>
                  <a:gd name="T10" fmla="*/ 9 w 9"/>
                  <a:gd name="T11" fmla="*/ 0 h 14"/>
                  <a:gd name="T12" fmla="*/ 9 w 9"/>
                  <a:gd name="T13" fmla="*/ 4 h 14"/>
                  <a:gd name="T14" fmla="*/ 7 w 9"/>
                  <a:gd name="T15" fmla="*/ 6 h 14"/>
                  <a:gd name="T16" fmla="*/ 5 w 9"/>
                  <a:gd name="T17" fmla="*/ 7 h 14"/>
                  <a:gd name="T18" fmla="*/ 3 w 9"/>
                  <a:gd name="T19" fmla="*/ 9 h 14"/>
                  <a:gd name="T20" fmla="*/ 3 w 9"/>
                  <a:gd name="T21" fmla="*/ 11 h 14"/>
                  <a:gd name="T22" fmla="*/ 1 w 9"/>
                  <a:gd name="T23" fmla="*/ 11 h 14"/>
                  <a:gd name="T24" fmla="*/ 1 w 9"/>
                  <a:gd name="T25" fmla="*/ 13 h 14"/>
                  <a:gd name="T26" fmla="*/ 1 w 9"/>
                  <a:gd name="T27" fmla="*/ 14 h 14"/>
                  <a:gd name="T28" fmla="*/ 0 w 9"/>
                  <a:gd name="T29" fmla="*/ 11 h 14"/>
                  <a:gd name="T30" fmla="*/ 0 w 9"/>
                  <a:gd name="T31" fmla="*/ 9 h 14"/>
                  <a:gd name="T32" fmla="*/ 1 w 9"/>
                  <a:gd name="T3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14">
                    <a:moveTo>
                      <a:pt x="1" y="7"/>
                    </a:moveTo>
                    <a:lnTo>
                      <a:pt x="3" y="6"/>
                    </a:lnTo>
                    <a:lnTo>
                      <a:pt x="3" y="4"/>
                    </a:lnTo>
                    <a:lnTo>
                      <a:pt x="5" y="4"/>
                    </a:lnTo>
                    <a:lnTo>
                      <a:pt x="7" y="2"/>
                    </a:lnTo>
                    <a:lnTo>
                      <a:pt x="9" y="0"/>
                    </a:lnTo>
                    <a:lnTo>
                      <a:pt x="9" y="4"/>
                    </a:lnTo>
                    <a:lnTo>
                      <a:pt x="7" y="6"/>
                    </a:lnTo>
                    <a:lnTo>
                      <a:pt x="5" y="7"/>
                    </a:lnTo>
                    <a:lnTo>
                      <a:pt x="3" y="9"/>
                    </a:lnTo>
                    <a:lnTo>
                      <a:pt x="3" y="11"/>
                    </a:lnTo>
                    <a:lnTo>
                      <a:pt x="1" y="11"/>
                    </a:lnTo>
                    <a:lnTo>
                      <a:pt x="1" y="13"/>
                    </a:lnTo>
                    <a:lnTo>
                      <a:pt x="1" y="14"/>
                    </a:lnTo>
                    <a:lnTo>
                      <a:pt x="0" y="11"/>
                    </a:lnTo>
                    <a:lnTo>
                      <a:pt x="0" y="9"/>
                    </a:lnTo>
                    <a:lnTo>
                      <a:pt x="1"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69" name="Freeform 3024"/>
              <p:cNvSpPr>
                <a:spLocks/>
              </p:cNvSpPr>
              <p:nvPr/>
            </p:nvSpPr>
            <p:spPr bwMode="auto">
              <a:xfrm>
                <a:off x="4739" y="2268"/>
                <a:ext cx="9" cy="14"/>
              </a:xfrm>
              <a:custGeom>
                <a:avLst/>
                <a:gdLst>
                  <a:gd name="T0" fmla="*/ 1 w 9"/>
                  <a:gd name="T1" fmla="*/ 7 h 14"/>
                  <a:gd name="T2" fmla="*/ 3 w 9"/>
                  <a:gd name="T3" fmla="*/ 6 h 14"/>
                  <a:gd name="T4" fmla="*/ 3 w 9"/>
                  <a:gd name="T5" fmla="*/ 4 h 14"/>
                  <a:gd name="T6" fmla="*/ 5 w 9"/>
                  <a:gd name="T7" fmla="*/ 4 h 14"/>
                  <a:gd name="T8" fmla="*/ 7 w 9"/>
                  <a:gd name="T9" fmla="*/ 2 h 14"/>
                  <a:gd name="T10" fmla="*/ 9 w 9"/>
                  <a:gd name="T11" fmla="*/ 0 h 14"/>
                  <a:gd name="T12" fmla="*/ 9 w 9"/>
                  <a:gd name="T13" fmla="*/ 4 h 14"/>
                  <a:gd name="T14" fmla="*/ 7 w 9"/>
                  <a:gd name="T15" fmla="*/ 6 h 14"/>
                  <a:gd name="T16" fmla="*/ 5 w 9"/>
                  <a:gd name="T17" fmla="*/ 7 h 14"/>
                  <a:gd name="T18" fmla="*/ 3 w 9"/>
                  <a:gd name="T19" fmla="*/ 9 h 14"/>
                  <a:gd name="T20" fmla="*/ 3 w 9"/>
                  <a:gd name="T21" fmla="*/ 11 h 14"/>
                  <a:gd name="T22" fmla="*/ 1 w 9"/>
                  <a:gd name="T23" fmla="*/ 11 h 14"/>
                  <a:gd name="T24" fmla="*/ 1 w 9"/>
                  <a:gd name="T25" fmla="*/ 13 h 14"/>
                  <a:gd name="T26" fmla="*/ 1 w 9"/>
                  <a:gd name="T27" fmla="*/ 14 h 14"/>
                  <a:gd name="T28" fmla="*/ 0 w 9"/>
                  <a:gd name="T29" fmla="*/ 11 h 14"/>
                  <a:gd name="T30" fmla="*/ 0 w 9"/>
                  <a:gd name="T31" fmla="*/ 9 h 14"/>
                  <a:gd name="T32" fmla="*/ 1 w 9"/>
                  <a:gd name="T3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14">
                    <a:moveTo>
                      <a:pt x="1" y="7"/>
                    </a:moveTo>
                    <a:lnTo>
                      <a:pt x="3" y="6"/>
                    </a:lnTo>
                    <a:lnTo>
                      <a:pt x="3" y="4"/>
                    </a:lnTo>
                    <a:lnTo>
                      <a:pt x="5" y="4"/>
                    </a:lnTo>
                    <a:lnTo>
                      <a:pt x="7" y="2"/>
                    </a:lnTo>
                    <a:lnTo>
                      <a:pt x="9" y="0"/>
                    </a:lnTo>
                    <a:lnTo>
                      <a:pt x="9" y="4"/>
                    </a:lnTo>
                    <a:lnTo>
                      <a:pt x="7" y="6"/>
                    </a:lnTo>
                    <a:lnTo>
                      <a:pt x="5" y="7"/>
                    </a:lnTo>
                    <a:lnTo>
                      <a:pt x="3" y="9"/>
                    </a:lnTo>
                    <a:lnTo>
                      <a:pt x="3" y="11"/>
                    </a:lnTo>
                    <a:lnTo>
                      <a:pt x="1" y="11"/>
                    </a:lnTo>
                    <a:lnTo>
                      <a:pt x="1" y="13"/>
                    </a:lnTo>
                    <a:lnTo>
                      <a:pt x="1" y="14"/>
                    </a:lnTo>
                    <a:lnTo>
                      <a:pt x="0" y="11"/>
                    </a:lnTo>
                    <a:lnTo>
                      <a:pt x="0" y="9"/>
                    </a:lnTo>
                    <a:lnTo>
                      <a:pt x="1"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70" name="Freeform 3025"/>
              <p:cNvSpPr>
                <a:spLocks/>
              </p:cNvSpPr>
              <p:nvPr/>
            </p:nvSpPr>
            <p:spPr bwMode="auto">
              <a:xfrm>
                <a:off x="4758" y="2250"/>
                <a:ext cx="2" cy="4"/>
              </a:xfrm>
              <a:custGeom>
                <a:avLst/>
                <a:gdLst>
                  <a:gd name="T0" fmla="*/ 0 w 2"/>
                  <a:gd name="T1" fmla="*/ 2 h 4"/>
                  <a:gd name="T2" fmla="*/ 2 w 2"/>
                  <a:gd name="T3" fmla="*/ 4 h 4"/>
                  <a:gd name="T4" fmla="*/ 0 w 2"/>
                  <a:gd name="T5" fmla="*/ 4 h 4"/>
                  <a:gd name="T6" fmla="*/ 0 w 2"/>
                  <a:gd name="T7" fmla="*/ 2 h 4"/>
                  <a:gd name="T8" fmla="*/ 0 w 2"/>
                  <a:gd name="T9" fmla="*/ 2 h 4"/>
                  <a:gd name="T10" fmla="*/ 0 w 2"/>
                  <a:gd name="T11" fmla="*/ 0 h 4"/>
                  <a:gd name="T12" fmla="*/ 0 w 2"/>
                  <a:gd name="T13" fmla="*/ 2 h 4"/>
                  <a:gd name="T14" fmla="*/ 0 w 2"/>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2"/>
                    </a:moveTo>
                    <a:lnTo>
                      <a:pt x="2" y="4"/>
                    </a:lnTo>
                    <a:lnTo>
                      <a:pt x="0" y="4"/>
                    </a:lnTo>
                    <a:lnTo>
                      <a:pt x="0" y="2"/>
                    </a:lnTo>
                    <a:lnTo>
                      <a:pt x="0" y="2"/>
                    </a:lnTo>
                    <a:lnTo>
                      <a:pt x="0" y="0"/>
                    </a:lnTo>
                    <a:lnTo>
                      <a:pt x="0" y="2"/>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71" name="Freeform 3026"/>
              <p:cNvSpPr>
                <a:spLocks/>
              </p:cNvSpPr>
              <p:nvPr/>
            </p:nvSpPr>
            <p:spPr bwMode="auto">
              <a:xfrm>
                <a:off x="4758" y="2250"/>
                <a:ext cx="2" cy="4"/>
              </a:xfrm>
              <a:custGeom>
                <a:avLst/>
                <a:gdLst>
                  <a:gd name="T0" fmla="*/ 0 w 2"/>
                  <a:gd name="T1" fmla="*/ 2 h 4"/>
                  <a:gd name="T2" fmla="*/ 2 w 2"/>
                  <a:gd name="T3" fmla="*/ 4 h 4"/>
                  <a:gd name="T4" fmla="*/ 0 w 2"/>
                  <a:gd name="T5" fmla="*/ 4 h 4"/>
                  <a:gd name="T6" fmla="*/ 0 w 2"/>
                  <a:gd name="T7" fmla="*/ 2 h 4"/>
                  <a:gd name="T8" fmla="*/ 0 w 2"/>
                  <a:gd name="T9" fmla="*/ 2 h 4"/>
                  <a:gd name="T10" fmla="*/ 0 w 2"/>
                  <a:gd name="T11" fmla="*/ 0 h 4"/>
                  <a:gd name="T12" fmla="*/ 0 w 2"/>
                  <a:gd name="T13" fmla="*/ 2 h 4"/>
                  <a:gd name="T14" fmla="*/ 0 w 2"/>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2"/>
                    </a:moveTo>
                    <a:lnTo>
                      <a:pt x="2" y="4"/>
                    </a:lnTo>
                    <a:lnTo>
                      <a:pt x="0" y="4"/>
                    </a:lnTo>
                    <a:lnTo>
                      <a:pt x="0" y="2"/>
                    </a:lnTo>
                    <a:lnTo>
                      <a:pt x="0" y="2"/>
                    </a:lnTo>
                    <a:lnTo>
                      <a:pt x="0" y="0"/>
                    </a:lnTo>
                    <a:lnTo>
                      <a:pt x="0" y="2"/>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72" name="Freeform 3027"/>
              <p:cNvSpPr>
                <a:spLocks/>
              </p:cNvSpPr>
              <p:nvPr/>
            </p:nvSpPr>
            <p:spPr bwMode="auto">
              <a:xfrm>
                <a:off x="4764" y="2240"/>
                <a:ext cx="5" cy="5"/>
              </a:xfrm>
              <a:custGeom>
                <a:avLst/>
                <a:gdLst>
                  <a:gd name="T0" fmla="*/ 1 w 5"/>
                  <a:gd name="T1" fmla="*/ 1 h 5"/>
                  <a:gd name="T2" fmla="*/ 5 w 5"/>
                  <a:gd name="T3" fmla="*/ 0 h 5"/>
                  <a:gd name="T4" fmla="*/ 5 w 5"/>
                  <a:gd name="T5" fmla="*/ 0 h 5"/>
                  <a:gd name="T6" fmla="*/ 5 w 5"/>
                  <a:gd name="T7" fmla="*/ 1 h 5"/>
                  <a:gd name="T8" fmla="*/ 3 w 5"/>
                  <a:gd name="T9" fmla="*/ 3 h 5"/>
                  <a:gd name="T10" fmla="*/ 3 w 5"/>
                  <a:gd name="T11" fmla="*/ 5 h 5"/>
                  <a:gd name="T12" fmla="*/ 1 w 5"/>
                  <a:gd name="T13" fmla="*/ 5 h 5"/>
                  <a:gd name="T14" fmla="*/ 1 w 5"/>
                  <a:gd name="T15" fmla="*/ 5 h 5"/>
                  <a:gd name="T16" fmla="*/ 0 w 5"/>
                  <a:gd name="T17" fmla="*/ 5 h 5"/>
                  <a:gd name="T18" fmla="*/ 0 w 5"/>
                  <a:gd name="T19" fmla="*/ 3 h 5"/>
                  <a:gd name="T20" fmla="*/ 1 w 5"/>
                  <a:gd name="T21" fmla="*/ 1 h 5"/>
                  <a:gd name="T22" fmla="*/ 1 w 5"/>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1" y="1"/>
                    </a:moveTo>
                    <a:lnTo>
                      <a:pt x="5" y="0"/>
                    </a:lnTo>
                    <a:lnTo>
                      <a:pt x="5" y="0"/>
                    </a:lnTo>
                    <a:lnTo>
                      <a:pt x="5" y="1"/>
                    </a:lnTo>
                    <a:lnTo>
                      <a:pt x="3" y="3"/>
                    </a:lnTo>
                    <a:lnTo>
                      <a:pt x="3" y="5"/>
                    </a:lnTo>
                    <a:lnTo>
                      <a:pt x="1" y="5"/>
                    </a:lnTo>
                    <a:lnTo>
                      <a:pt x="1" y="5"/>
                    </a:lnTo>
                    <a:lnTo>
                      <a:pt x="0" y="5"/>
                    </a:lnTo>
                    <a:lnTo>
                      <a:pt x="0" y="3"/>
                    </a:lnTo>
                    <a:lnTo>
                      <a:pt x="1" y="1"/>
                    </a:lnTo>
                    <a:lnTo>
                      <a:pt x="1"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73" name="Freeform 3028"/>
              <p:cNvSpPr>
                <a:spLocks/>
              </p:cNvSpPr>
              <p:nvPr/>
            </p:nvSpPr>
            <p:spPr bwMode="auto">
              <a:xfrm>
                <a:off x="4764" y="2240"/>
                <a:ext cx="5" cy="5"/>
              </a:xfrm>
              <a:custGeom>
                <a:avLst/>
                <a:gdLst>
                  <a:gd name="T0" fmla="*/ 1 w 5"/>
                  <a:gd name="T1" fmla="*/ 1 h 5"/>
                  <a:gd name="T2" fmla="*/ 5 w 5"/>
                  <a:gd name="T3" fmla="*/ 0 h 5"/>
                  <a:gd name="T4" fmla="*/ 5 w 5"/>
                  <a:gd name="T5" fmla="*/ 0 h 5"/>
                  <a:gd name="T6" fmla="*/ 5 w 5"/>
                  <a:gd name="T7" fmla="*/ 1 h 5"/>
                  <a:gd name="T8" fmla="*/ 3 w 5"/>
                  <a:gd name="T9" fmla="*/ 3 h 5"/>
                  <a:gd name="T10" fmla="*/ 3 w 5"/>
                  <a:gd name="T11" fmla="*/ 5 h 5"/>
                  <a:gd name="T12" fmla="*/ 1 w 5"/>
                  <a:gd name="T13" fmla="*/ 5 h 5"/>
                  <a:gd name="T14" fmla="*/ 1 w 5"/>
                  <a:gd name="T15" fmla="*/ 5 h 5"/>
                  <a:gd name="T16" fmla="*/ 0 w 5"/>
                  <a:gd name="T17" fmla="*/ 5 h 5"/>
                  <a:gd name="T18" fmla="*/ 0 w 5"/>
                  <a:gd name="T19" fmla="*/ 3 h 5"/>
                  <a:gd name="T20" fmla="*/ 1 w 5"/>
                  <a:gd name="T21" fmla="*/ 1 h 5"/>
                  <a:gd name="T22" fmla="*/ 1 w 5"/>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5">
                    <a:moveTo>
                      <a:pt x="1" y="1"/>
                    </a:moveTo>
                    <a:lnTo>
                      <a:pt x="5" y="0"/>
                    </a:lnTo>
                    <a:lnTo>
                      <a:pt x="5" y="0"/>
                    </a:lnTo>
                    <a:lnTo>
                      <a:pt x="5" y="1"/>
                    </a:lnTo>
                    <a:lnTo>
                      <a:pt x="3" y="3"/>
                    </a:lnTo>
                    <a:lnTo>
                      <a:pt x="3" y="5"/>
                    </a:lnTo>
                    <a:lnTo>
                      <a:pt x="1" y="5"/>
                    </a:lnTo>
                    <a:lnTo>
                      <a:pt x="1" y="5"/>
                    </a:lnTo>
                    <a:lnTo>
                      <a:pt x="0" y="5"/>
                    </a:lnTo>
                    <a:lnTo>
                      <a:pt x="0" y="3"/>
                    </a:lnTo>
                    <a:lnTo>
                      <a:pt x="1" y="1"/>
                    </a:lnTo>
                    <a:lnTo>
                      <a:pt x="1"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74" name="Freeform 3029"/>
              <p:cNvSpPr>
                <a:spLocks/>
              </p:cNvSpPr>
              <p:nvPr/>
            </p:nvSpPr>
            <p:spPr bwMode="auto">
              <a:xfrm>
                <a:off x="4699" y="2304"/>
                <a:ext cx="4" cy="3"/>
              </a:xfrm>
              <a:custGeom>
                <a:avLst/>
                <a:gdLst>
                  <a:gd name="T0" fmla="*/ 2 w 4"/>
                  <a:gd name="T1" fmla="*/ 2 h 3"/>
                  <a:gd name="T2" fmla="*/ 0 w 4"/>
                  <a:gd name="T3" fmla="*/ 0 h 3"/>
                  <a:gd name="T4" fmla="*/ 2 w 4"/>
                  <a:gd name="T5" fmla="*/ 2 h 3"/>
                  <a:gd name="T6" fmla="*/ 2 w 4"/>
                  <a:gd name="T7" fmla="*/ 2 h 3"/>
                  <a:gd name="T8" fmla="*/ 4 w 4"/>
                  <a:gd name="T9" fmla="*/ 2 h 3"/>
                  <a:gd name="T10" fmla="*/ 4 w 4"/>
                  <a:gd name="T11" fmla="*/ 3 h 3"/>
                  <a:gd name="T12" fmla="*/ 2 w 4"/>
                  <a:gd name="T13" fmla="*/ 3 h 3"/>
                  <a:gd name="T14" fmla="*/ 2 w 4"/>
                  <a:gd name="T15" fmla="*/ 2 h 3"/>
                  <a:gd name="T16" fmla="*/ 2 w 4"/>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2" y="2"/>
                    </a:moveTo>
                    <a:lnTo>
                      <a:pt x="0" y="0"/>
                    </a:lnTo>
                    <a:lnTo>
                      <a:pt x="2" y="2"/>
                    </a:lnTo>
                    <a:lnTo>
                      <a:pt x="2" y="2"/>
                    </a:lnTo>
                    <a:lnTo>
                      <a:pt x="4" y="2"/>
                    </a:lnTo>
                    <a:lnTo>
                      <a:pt x="4" y="3"/>
                    </a:lnTo>
                    <a:lnTo>
                      <a:pt x="2" y="3"/>
                    </a:lnTo>
                    <a:lnTo>
                      <a:pt x="2" y="2"/>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75" name="Freeform 3030"/>
              <p:cNvSpPr>
                <a:spLocks/>
              </p:cNvSpPr>
              <p:nvPr/>
            </p:nvSpPr>
            <p:spPr bwMode="auto">
              <a:xfrm>
                <a:off x="4699" y="2304"/>
                <a:ext cx="4" cy="3"/>
              </a:xfrm>
              <a:custGeom>
                <a:avLst/>
                <a:gdLst>
                  <a:gd name="T0" fmla="*/ 2 w 4"/>
                  <a:gd name="T1" fmla="*/ 2 h 3"/>
                  <a:gd name="T2" fmla="*/ 0 w 4"/>
                  <a:gd name="T3" fmla="*/ 0 h 3"/>
                  <a:gd name="T4" fmla="*/ 2 w 4"/>
                  <a:gd name="T5" fmla="*/ 2 h 3"/>
                  <a:gd name="T6" fmla="*/ 2 w 4"/>
                  <a:gd name="T7" fmla="*/ 2 h 3"/>
                  <a:gd name="T8" fmla="*/ 4 w 4"/>
                  <a:gd name="T9" fmla="*/ 2 h 3"/>
                  <a:gd name="T10" fmla="*/ 4 w 4"/>
                  <a:gd name="T11" fmla="*/ 3 h 3"/>
                  <a:gd name="T12" fmla="*/ 2 w 4"/>
                  <a:gd name="T13" fmla="*/ 3 h 3"/>
                  <a:gd name="T14" fmla="*/ 2 w 4"/>
                  <a:gd name="T15" fmla="*/ 2 h 3"/>
                  <a:gd name="T16" fmla="*/ 2 w 4"/>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2" y="2"/>
                    </a:moveTo>
                    <a:lnTo>
                      <a:pt x="0" y="0"/>
                    </a:lnTo>
                    <a:lnTo>
                      <a:pt x="2" y="2"/>
                    </a:lnTo>
                    <a:lnTo>
                      <a:pt x="2" y="2"/>
                    </a:lnTo>
                    <a:lnTo>
                      <a:pt x="4" y="2"/>
                    </a:lnTo>
                    <a:lnTo>
                      <a:pt x="4" y="3"/>
                    </a:lnTo>
                    <a:lnTo>
                      <a:pt x="2" y="3"/>
                    </a:lnTo>
                    <a:lnTo>
                      <a:pt x="2" y="2"/>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76" name="Freeform 3031"/>
              <p:cNvSpPr>
                <a:spLocks/>
              </p:cNvSpPr>
              <p:nvPr/>
            </p:nvSpPr>
            <p:spPr bwMode="auto">
              <a:xfrm>
                <a:off x="4685" y="1956"/>
                <a:ext cx="102" cy="109"/>
              </a:xfrm>
              <a:custGeom>
                <a:avLst/>
                <a:gdLst>
                  <a:gd name="T0" fmla="*/ 64 w 102"/>
                  <a:gd name="T1" fmla="*/ 89 h 109"/>
                  <a:gd name="T2" fmla="*/ 50 w 102"/>
                  <a:gd name="T3" fmla="*/ 78 h 109"/>
                  <a:gd name="T4" fmla="*/ 52 w 102"/>
                  <a:gd name="T5" fmla="*/ 73 h 109"/>
                  <a:gd name="T6" fmla="*/ 52 w 102"/>
                  <a:gd name="T7" fmla="*/ 66 h 109"/>
                  <a:gd name="T8" fmla="*/ 59 w 102"/>
                  <a:gd name="T9" fmla="*/ 60 h 109"/>
                  <a:gd name="T10" fmla="*/ 70 w 102"/>
                  <a:gd name="T11" fmla="*/ 59 h 109"/>
                  <a:gd name="T12" fmla="*/ 80 w 102"/>
                  <a:gd name="T13" fmla="*/ 46 h 109"/>
                  <a:gd name="T14" fmla="*/ 88 w 102"/>
                  <a:gd name="T15" fmla="*/ 43 h 109"/>
                  <a:gd name="T16" fmla="*/ 86 w 102"/>
                  <a:gd name="T17" fmla="*/ 32 h 109"/>
                  <a:gd name="T18" fmla="*/ 98 w 102"/>
                  <a:gd name="T19" fmla="*/ 14 h 109"/>
                  <a:gd name="T20" fmla="*/ 102 w 102"/>
                  <a:gd name="T21" fmla="*/ 14 h 109"/>
                  <a:gd name="T22" fmla="*/ 98 w 102"/>
                  <a:gd name="T23" fmla="*/ 7 h 109"/>
                  <a:gd name="T24" fmla="*/ 93 w 102"/>
                  <a:gd name="T25" fmla="*/ 0 h 109"/>
                  <a:gd name="T26" fmla="*/ 84 w 102"/>
                  <a:gd name="T27" fmla="*/ 12 h 109"/>
                  <a:gd name="T28" fmla="*/ 63 w 102"/>
                  <a:gd name="T29" fmla="*/ 21 h 109"/>
                  <a:gd name="T30" fmla="*/ 63 w 102"/>
                  <a:gd name="T31" fmla="*/ 32 h 109"/>
                  <a:gd name="T32" fmla="*/ 47 w 102"/>
                  <a:gd name="T33" fmla="*/ 30 h 109"/>
                  <a:gd name="T34" fmla="*/ 14 w 102"/>
                  <a:gd name="T35" fmla="*/ 51 h 109"/>
                  <a:gd name="T36" fmla="*/ 2 w 102"/>
                  <a:gd name="T37" fmla="*/ 64 h 109"/>
                  <a:gd name="T38" fmla="*/ 4 w 102"/>
                  <a:gd name="T39" fmla="*/ 68 h 109"/>
                  <a:gd name="T40" fmla="*/ 9 w 102"/>
                  <a:gd name="T41" fmla="*/ 69 h 109"/>
                  <a:gd name="T42" fmla="*/ 20 w 102"/>
                  <a:gd name="T43" fmla="*/ 71 h 109"/>
                  <a:gd name="T44" fmla="*/ 16 w 102"/>
                  <a:gd name="T45" fmla="*/ 89 h 109"/>
                  <a:gd name="T46" fmla="*/ 14 w 102"/>
                  <a:gd name="T47" fmla="*/ 91 h 109"/>
                  <a:gd name="T48" fmla="*/ 11 w 102"/>
                  <a:gd name="T49" fmla="*/ 93 h 109"/>
                  <a:gd name="T50" fmla="*/ 7 w 102"/>
                  <a:gd name="T51" fmla="*/ 101 h 109"/>
                  <a:gd name="T52" fmla="*/ 14 w 102"/>
                  <a:gd name="T53" fmla="*/ 101 h 109"/>
                  <a:gd name="T54" fmla="*/ 14 w 102"/>
                  <a:gd name="T55" fmla="*/ 105 h 109"/>
                  <a:gd name="T56" fmla="*/ 13 w 102"/>
                  <a:gd name="T57" fmla="*/ 107 h 109"/>
                  <a:gd name="T58" fmla="*/ 16 w 102"/>
                  <a:gd name="T59" fmla="*/ 109 h 109"/>
                  <a:gd name="T60" fmla="*/ 20 w 102"/>
                  <a:gd name="T61" fmla="*/ 107 h 109"/>
                  <a:gd name="T62" fmla="*/ 23 w 102"/>
                  <a:gd name="T63" fmla="*/ 103 h 109"/>
                  <a:gd name="T64" fmla="*/ 23 w 102"/>
                  <a:gd name="T65" fmla="*/ 103 h 109"/>
                  <a:gd name="T66" fmla="*/ 27 w 102"/>
                  <a:gd name="T67" fmla="*/ 107 h 109"/>
                  <a:gd name="T68" fmla="*/ 30 w 102"/>
                  <a:gd name="T69" fmla="*/ 107 h 109"/>
                  <a:gd name="T70" fmla="*/ 36 w 102"/>
                  <a:gd name="T71" fmla="*/ 109 h 109"/>
                  <a:gd name="T72" fmla="*/ 57 w 102"/>
                  <a:gd name="T73" fmla="*/ 98 h 109"/>
                  <a:gd name="T74" fmla="*/ 66 w 102"/>
                  <a:gd name="T75" fmla="*/ 9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9">
                    <a:moveTo>
                      <a:pt x="66" y="93"/>
                    </a:moveTo>
                    <a:lnTo>
                      <a:pt x="64" y="89"/>
                    </a:lnTo>
                    <a:lnTo>
                      <a:pt x="55" y="80"/>
                    </a:lnTo>
                    <a:lnTo>
                      <a:pt x="50" y="78"/>
                    </a:lnTo>
                    <a:lnTo>
                      <a:pt x="50" y="76"/>
                    </a:lnTo>
                    <a:lnTo>
                      <a:pt x="52" y="73"/>
                    </a:lnTo>
                    <a:lnTo>
                      <a:pt x="52" y="75"/>
                    </a:lnTo>
                    <a:lnTo>
                      <a:pt x="52" y="66"/>
                    </a:lnTo>
                    <a:lnTo>
                      <a:pt x="57" y="64"/>
                    </a:lnTo>
                    <a:lnTo>
                      <a:pt x="59" y="60"/>
                    </a:lnTo>
                    <a:lnTo>
                      <a:pt x="66" y="60"/>
                    </a:lnTo>
                    <a:lnTo>
                      <a:pt x="70" y="59"/>
                    </a:lnTo>
                    <a:lnTo>
                      <a:pt x="70" y="57"/>
                    </a:lnTo>
                    <a:lnTo>
                      <a:pt x="80" y="46"/>
                    </a:lnTo>
                    <a:lnTo>
                      <a:pt x="86" y="44"/>
                    </a:lnTo>
                    <a:lnTo>
                      <a:pt x="88" y="43"/>
                    </a:lnTo>
                    <a:lnTo>
                      <a:pt x="88" y="34"/>
                    </a:lnTo>
                    <a:lnTo>
                      <a:pt x="86" y="32"/>
                    </a:lnTo>
                    <a:lnTo>
                      <a:pt x="88" y="28"/>
                    </a:lnTo>
                    <a:lnTo>
                      <a:pt x="98" y="14"/>
                    </a:lnTo>
                    <a:lnTo>
                      <a:pt x="100" y="12"/>
                    </a:lnTo>
                    <a:lnTo>
                      <a:pt x="102" y="14"/>
                    </a:lnTo>
                    <a:lnTo>
                      <a:pt x="100" y="7"/>
                    </a:lnTo>
                    <a:lnTo>
                      <a:pt x="98" y="7"/>
                    </a:lnTo>
                    <a:lnTo>
                      <a:pt x="97" y="1"/>
                    </a:lnTo>
                    <a:lnTo>
                      <a:pt x="93" y="0"/>
                    </a:lnTo>
                    <a:lnTo>
                      <a:pt x="89" y="1"/>
                    </a:lnTo>
                    <a:lnTo>
                      <a:pt x="84" y="12"/>
                    </a:lnTo>
                    <a:lnTo>
                      <a:pt x="75" y="19"/>
                    </a:lnTo>
                    <a:lnTo>
                      <a:pt x="63" y="21"/>
                    </a:lnTo>
                    <a:lnTo>
                      <a:pt x="61" y="23"/>
                    </a:lnTo>
                    <a:lnTo>
                      <a:pt x="63" y="32"/>
                    </a:lnTo>
                    <a:lnTo>
                      <a:pt x="52" y="34"/>
                    </a:lnTo>
                    <a:lnTo>
                      <a:pt x="47" y="30"/>
                    </a:lnTo>
                    <a:lnTo>
                      <a:pt x="41" y="30"/>
                    </a:lnTo>
                    <a:lnTo>
                      <a:pt x="14" y="51"/>
                    </a:lnTo>
                    <a:lnTo>
                      <a:pt x="9" y="53"/>
                    </a:lnTo>
                    <a:lnTo>
                      <a:pt x="2" y="64"/>
                    </a:lnTo>
                    <a:lnTo>
                      <a:pt x="0" y="64"/>
                    </a:lnTo>
                    <a:lnTo>
                      <a:pt x="4" y="68"/>
                    </a:lnTo>
                    <a:lnTo>
                      <a:pt x="5" y="71"/>
                    </a:lnTo>
                    <a:lnTo>
                      <a:pt x="9" y="69"/>
                    </a:lnTo>
                    <a:lnTo>
                      <a:pt x="18" y="71"/>
                    </a:lnTo>
                    <a:lnTo>
                      <a:pt x="20" y="71"/>
                    </a:lnTo>
                    <a:lnTo>
                      <a:pt x="14" y="87"/>
                    </a:lnTo>
                    <a:lnTo>
                      <a:pt x="16" y="89"/>
                    </a:lnTo>
                    <a:lnTo>
                      <a:pt x="18" y="89"/>
                    </a:lnTo>
                    <a:lnTo>
                      <a:pt x="14" y="91"/>
                    </a:lnTo>
                    <a:lnTo>
                      <a:pt x="13" y="93"/>
                    </a:lnTo>
                    <a:lnTo>
                      <a:pt x="11" y="93"/>
                    </a:lnTo>
                    <a:lnTo>
                      <a:pt x="11" y="98"/>
                    </a:lnTo>
                    <a:lnTo>
                      <a:pt x="7" y="101"/>
                    </a:lnTo>
                    <a:lnTo>
                      <a:pt x="13" y="101"/>
                    </a:lnTo>
                    <a:lnTo>
                      <a:pt x="14" y="101"/>
                    </a:lnTo>
                    <a:lnTo>
                      <a:pt x="14" y="103"/>
                    </a:lnTo>
                    <a:lnTo>
                      <a:pt x="14" y="105"/>
                    </a:lnTo>
                    <a:lnTo>
                      <a:pt x="13" y="105"/>
                    </a:lnTo>
                    <a:lnTo>
                      <a:pt x="13" y="107"/>
                    </a:lnTo>
                    <a:lnTo>
                      <a:pt x="14" y="105"/>
                    </a:lnTo>
                    <a:lnTo>
                      <a:pt x="16" y="109"/>
                    </a:lnTo>
                    <a:lnTo>
                      <a:pt x="18" y="109"/>
                    </a:lnTo>
                    <a:lnTo>
                      <a:pt x="20" y="107"/>
                    </a:lnTo>
                    <a:lnTo>
                      <a:pt x="22" y="107"/>
                    </a:lnTo>
                    <a:lnTo>
                      <a:pt x="23" y="103"/>
                    </a:lnTo>
                    <a:lnTo>
                      <a:pt x="22" y="103"/>
                    </a:lnTo>
                    <a:lnTo>
                      <a:pt x="23" y="103"/>
                    </a:lnTo>
                    <a:lnTo>
                      <a:pt x="25" y="105"/>
                    </a:lnTo>
                    <a:lnTo>
                      <a:pt x="27" y="107"/>
                    </a:lnTo>
                    <a:lnTo>
                      <a:pt x="30" y="109"/>
                    </a:lnTo>
                    <a:lnTo>
                      <a:pt x="30" y="107"/>
                    </a:lnTo>
                    <a:lnTo>
                      <a:pt x="34" y="105"/>
                    </a:lnTo>
                    <a:lnTo>
                      <a:pt x="36" y="109"/>
                    </a:lnTo>
                    <a:lnTo>
                      <a:pt x="47" y="98"/>
                    </a:lnTo>
                    <a:lnTo>
                      <a:pt x="57" y="98"/>
                    </a:lnTo>
                    <a:lnTo>
                      <a:pt x="61" y="96"/>
                    </a:lnTo>
                    <a:lnTo>
                      <a:pt x="66" y="9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77" name="Freeform 3032"/>
              <p:cNvSpPr>
                <a:spLocks/>
              </p:cNvSpPr>
              <p:nvPr/>
            </p:nvSpPr>
            <p:spPr bwMode="auto">
              <a:xfrm>
                <a:off x="4685" y="1956"/>
                <a:ext cx="102" cy="109"/>
              </a:xfrm>
              <a:custGeom>
                <a:avLst/>
                <a:gdLst>
                  <a:gd name="T0" fmla="*/ 64 w 102"/>
                  <a:gd name="T1" fmla="*/ 89 h 109"/>
                  <a:gd name="T2" fmla="*/ 50 w 102"/>
                  <a:gd name="T3" fmla="*/ 78 h 109"/>
                  <a:gd name="T4" fmla="*/ 52 w 102"/>
                  <a:gd name="T5" fmla="*/ 73 h 109"/>
                  <a:gd name="T6" fmla="*/ 52 w 102"/>
                  <a:gd name="T7" fmla="*/ 66 h 109"/>
                  <a:gd name="T8" fmla="*/ 59 w 102"/>
                  <a:gd name="T9" fmla="*/ 60 h 109"/>
                  <a:gd name="T10" fmla="*/ 70 w 102"/>
                  <a:gd name="T11" fmla="*/ 59 h 109"/>
                  <a:gd name="T12" fmla="*/ 80 w 102"/>
                  <a:gd name="T13" fmla="*/ 46 h 109"/>
                  <a:gd name="T14" fmla="*/ 88 w 102"/>
                  <a:gd name="T15" fmla="*/ 43 h 109"/>
                  <a:gd name="T16" fmla="*/ 86 w 102"/>
                  <a:gd name="T17" fmla="*/ 32 h 109"/>
                  <a:gd name="T18" fmla="*/ 98 w 102"/>
                  <a:gd name="T19" fmla="*/ 14 h 109"/>
                  <a:gd name="T20" fmla="*/ 102 w 102"/>
                  <a:gd name="T21" fmla="*/ 14 h 109"/>
                  <a:gd name="T22" fmla="*/ 98 w 102"/>
                  <a:gd name="T23" fmla="*/ 7 h 109"/>
                  <a:gd name="T24" fmla="*/ 93 w 102"/>
                  <a:gd name="T25" fmla="*/ 0 h 109"/>
                  <a:gd name="T26" fmla="*/ 84 w 102"/>
                  <a:gd name="T27" fmla="*/ 12 h 109"/>
                  <a:gd name="T28" fmla="*/ 63 w 102"/>
                  <a:gd name="T29" fmla="*/ 21 h 109"/>
                  <a:gd name="T30" fmla="*/ 63 w 102"/>
                  <a:gd name="T31" fmla="*/ 32 h 109"/>
                  <a:gd name="T32" fmla="*/ 47 w 102"/>
                  <a:gd name="T33" fmla="*/ 30 h 109"/>
                  <a:gd name="T34" fmla="*/ 14 w 102"/>
                  <a:gd name="T35" fmla="*/ 51 h 109"/>
                  <a:gd name="T36" fmla="*/ 2 w 102"/>
                  <a:gd name="T37" fmla="*/ 64 h 109"/>
                  <a:gd name="T38" fmla="*/ 4 w 102"/>
                  <a:gd name="T39" fmla="*/ 68 h 109"/>
                  <a:gd name="T40" fmla="*/ 9 w 102"/>
                  <a:gd name="T41" fmla="*/ 69 h 109"/>
                  <a:gd name="T42" fmla="*/ 20 w 102"/>
                  <a:gd name="T43" fmla="*/ 71 h 109"/>
                  <a:gd name="T44" fmla="*/ 16 w 102"/>
                  <a:gd name="T45" fmla="*/ 89 h 109"/>
                  <a:gd name="T46" fmla="*/ 14 w 102"/>
                  <a:gd name="T47" fmla="*/ 91 h 109"/>
                  <a:gd name="T48" fmla="*/ 11 w 102"/>
                  <a:gd name="T49" fmla="*/ 93 h 109"/>
                  <a:gd name="T50" fmla="*/ 7 w 102"/>
                  <a:gd name="T51" fmla="*/ 101 h 109"/>
                  <a:gd name="T52" fmla="*/ 14 w 102"/>
                  <a:gd name="T53" fmla="*/ 101 h 109"/>
                  <a:gd name="T54" fmla="*/ 14 w 102"/>
                  <a:gd name="T55" fmla="*/ 105 h 109"/>
                  <a:gd name="T56" fmla="*/ 13 w 102"/>
                  <a:gd name="T57" fmla="*/ 107 h 109"/>
                  <a:gd name="T58" fmla="*/ 16 w 102"/>
                  <a:gd name="T59" fmla="*/ 109 h 109"/>
                  <a:gd name="T60" fmla="*/ 20 w 102"/>
                  <a:gd name="T61" fmla="*/ 107 h 109"/>
                  <a:gd name="T62" fmla="*/ 23 w 102"/>
                  <a:gd name="T63" fmla="*/ 103 h 109"/>
                  <a:gd name="T64" fmla="*/ 23 w 102"/>
                  <a:gd name="T65" fmla="*/ 103 h 109"/>
                  <a:gd name="T66" fmla="*/ 27 w 102"/>
                  <a:gd name="T67" fmla="*/ 107 h 109"/>
                  <a:gd name="T68" fmla="*/ 30 w 102"/>
                  <a:gd name="T69" fmla="*/ 107 h 109"/>
                  <a:gd name="T70" fmla="*/ 36 w 102"/>
                  <a:gd name="T71" fmla="*/ 109 h 109"/>
                  <a:gd name="T72" fmla="*/ 57 w 102"/>
                  <a:gd name="T73" fmla="*/ 98 h 109"/>
                  <a:gd name="T74" fmla="*/ 66 w 102"/>
                  <a:gd name="T75" fmla="*/ 9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9">
                    <a:moveTo>
                      <a:pt x="66" y="93"/>
                    </a:moveTo>
                    <a:lnTo>
                      <a:pt x="64" y="89"/>
                    </a:lnTo>
                    <a:lnTo>
                      <a:pt x="55" y="80"/>
                    </a:lnTo>
                    <a:lnTo>
                      <a:pt x="50" y="78"/>
                    </a:lnTo>
                    <a:lnTo>
                      <a:pt x="50" y="76"/>
                    </a:lnTo>
                    <a:lnTo>
                      <a:pt x="52" y="73"/>
                    </a:lnTo>
                    <a:lnTo>
                      <a:pt x="52" y="75"/>
                    </a:lnTo>
                    <a:lnTo>
                      <a:pt x="52" y="66"/>
                    </a:lnTo>
                    <a:lnTo>
                      <a:pt x="57" y="64"/>
                    </a:lnTo>
                    <a:lnTo>
                      <a:pt x="59" y="60"/>
                    </a:lnTo>
                    <a:lnTo>
                      <a:pt x="66" y="60"/>
                    </a:lnTo>
                    <a:lnTo>
                      <a:pt x="70" y="59"/>
                    </a:lnTo>
                    <a:lnTo>
                      <a:pt x="70" y="57"/>
                    </a:lnTo>
                    <a:lnTo>
                      <a:pt x="80" y="46"/>
                    </a:lnTo>
                    <a:lnTo>
                      <a:pt x="86" y="44"/>
                    </a:lnTo>
                    <a:lnTo>
                      <a:pt x="88" y="43"/>
                    </a:lnTo>
                    <a:lnTo>
                      <a:pt x="88" y="34"/>
                    </a:lnTo>
                    <a:lnTo>
                      <a:pt x="86" y="32"/>
                    </a:lnTo>
                    <a:lnTo>
                      <a:pt x="88" y="28"/>
                    </a:lnTo>
                    <a:lnTo>
                      <a:pt x="98" y="14"/>
                    </a:lnTo>
                    <a:lnTo>
                      <a:pt x="100" y="12"/>
                    </a:lnTo>
                    <a:lnTo>
                      <a:pt x="102" y="14"/>
                    </a:lnTo>
                    <a:lnTo>
                      <a:pt x="100" y="7"/>
                    </a:lnTo>
                    <a:lnTo>
                      <a:pt x="98" y="7"/>
                    </a:lnTo>
                    <a:lnTo>
                      <a:pt x="97" y="1"/>
                    </a:lnTo>
                    <a:lnTo>
                      <a:pt x="93" y="0"/>
                    </a:lnTo>
                    <a:lnTo>
                      <a:pt x="89" y="1"/>
                    </a:lnTo>
                    <a:lnTo>
                      <a:pt x="84" y="12"/>
                    </a:lnTo>
                    <a:lnTo>
                      <a:pt x="75" y="19"/>
                    </a:lnTo>
                    <a:lnTo>
                      <a:pt x="63" y="21"/>
                    </a:lnTo>
                    <a:lnTo>
                      <a:pt x="61" y="23"/>
                    </a:lnTo>
                    <a:lnTo>
                      <a:pt x="63" y="32"/>
                    </a:lnTo>
                    <a:lnTo>
                      <a:pt x="52" y="34"/>
                    </a:lnTo>
                    <a:lnTo>
                      <a:pt x="47" y="30"/>
                    </a:lnTo>
                    <a:lnTo>
                      <a:pt x="41" y="30"/>
                    </a:lnTo>
                    <a:lnTo>
                      <a:pt x="14" y="51"/>
                    </a:lnTo>
                    <a:lnTo>
                      <a:pt x="9" y="53"/>
                    </a:lnTo>
                    <a:lnTo>
                      <a:pt x="2" y="64"/>
                    </a:lnTo>
                    <a:lnTo>
                      <a:pt x="0" y="64"/>
                    </a:lnTo>
                    <a:lnTo>
                      <a:pt x="4" y="68"/>
                    </a:lnTo>
                    <a:lnTo>
                      <a:pt x="5" y="71"/>
                    </a:lnTo>
                    <a:lnTo>
                      <a:pt x="9" y="69"/>
                    </a:lnTo>
                    <a:lnTo>
                      <a:pt x="18" y="71"/>
                    </a:lnTo>
                    <a:lnTo>
                      <a:pt x="20" y="71"/>
                    </a:lnTo>
                    <a:lnTo>
                      <a:pt x="14" y="87"/>
                    </a:lnTo>
                    <a:lnTo>
                      <a:pt x="16" y="89"/>
                    </a:lnTo>
                    <a:lnTo>
                      <a:pt x="18" y="89"/>
                    </a:lnTo>
                    <a:lnTo>
                      <a:pt x="14" y="91"/>
                    </a:lnTo>
                    <a:lnTo>
                      <a:pt x="13" y="93"/>
                    </a:lnTo>
                    <a:lnTo>
                      <a:pt x="11" y="93"/>
                    </a:lnTo>
                    <a:lnTo>
                      <a:pt x="11" y="98"/>
                    </a:lnTo>
                    <a:lnTo>
                      <a:pt x="7" y="101"/>
                    </a:lnTo>
                    <a:lnTo>
                      <a:pt x="13" y="101"/>
                    </a:lnTo>
                    <a:lnTo>
                      <a:pt x="14" y="101"/>
                    </a:lnTo>
                    <a:lnTo>
                      <a:pt x="14" y="103"/>
                    </a:lnTo>
                    <a:lnTo>
                      <a:pt x="14" y="105"/>
                    </a:lnTo>
                    <a:lnTo>
                      <a:pt x="13" y="105"/>
                    </a:lnTo>
                    <a:lnTo>
                      <a:pt x="13" y="107"/>
                    </a:lnTo>
                    <a:lnTo>
                      <a:pt x="14" y="105"/>
                    </a:lnTo>
                    <a:lnTo>
                      <a:pt x="16" y="109"/>
                    </a:lnTo>
                    <a:lnTo>
                      <a:pt x="18" y="109"/>
                    </a:lnTo>
                    <a:lnTo>
                      <a:pt x="20" y="107"/>
                    </a:lnTo>
                    <a:lnTo>
                      <a:pt x="22" y="107"/>
                    </a:lnTo>
                    <a:lnTo>
                      <a:pt x="23" y="103"/>
                    </a:lnTo>
                    <a:lnTo>
                      <a:pt x="22" y="103"/>
                    </a:lnTo>
                    <a:lnTo>
                      <a:pt x="23" y="103"/>
                    </a:lnTo>
                    <a:lnTo>
                      <a:pt x="25" y="105"/>
                    </a:lnTo>
                    <a:lnTo>
                      <a:pt x="27" y="107"/>
                    </a:lnTo>
                    <a:lnTo>
                      <a:pt x="30" y="109"/>
                    </a:lnTo>
                    <a:lnTo>
                      <a:pt x="30" y="107"/>
                    </a:lnTo>
                    <a:lnTo>
                      <a:pt x="34" y="105"/>
                    </a:lnTo>
                    <a:lnTo>
                      <a:pt x="36" y="109"/>
                    </a:lnTo>
                    <a:lnTo>
                      <a:pt x="47" y="98"/>
                    </a:lnTo>
                    <a:lnTo>
                      <a:pt x="57" y="98"/>
                    </a:lnTo>
                    <a:lnTo>
                      <a:pt x="61" y="96"/>
                    </a:lnTo>
                    <a:lnTo>
                      <a:pt x="66" y="9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78" name="Freeform 3033"/>
              <p:cNvSpPr>
                <a:spLocks/>
              </p:cNvSpPr>
              <p:nvPr/>
            </p:nvSpPr>
            <p:spPr bwMode="auto">
              <a:xfrm>
                <a:off x="4774" y="2893"/>
                <a:ext cx="8" cy="7"/>
              </a:xfrm>
              <a:custGeom>
                <a:avLst/>
                <a:gdLst>
                  <a:gd name="T0" fmla="*/ 6 w 8"/>
                  <a:gd name="T1" fmla="*/ 7 h 7"/>
                  <a:gd name="T2" fmla="*/ 6 w 8"/>
                  <a:gd name="T3" fmla="*/ 7 h 7"/>
                  <a:gd name="T4" fmla="*/ 8 w 8"/>
                  <a:gd name="T5" fmla="*/ 7 h 7"/>
                  <a:gd name="T6" fmla="*/ 8 w 8"/>
                  <a:gd name="T7" fmla="*/ 7 h 7"/>
                  <a:gd name="T8" fmla="*/ 8 w 8"/>
                  <a:gd name="T9" fmla="*/ 6 h 7"/>
                  <a:gd name="T10" fmla="*/ 6 w 8"/>
                  <a:gd name="T11" fmla="*/ 4 h 7"/>
                  <a:gd name="T12" fmla="*/ 6 w 8"/>
                  <a:gd name="T13" fmla="*/ 4 h 7"/>
                  <a:gd name="T14" fmla="*/ 4 w 8"/>
                  <a:gd name="T15" fmla="*/ 2 h 7"/>
                  <a:gd name="T16" fmla="*/ 4 w 8"/>
                  <a:gd name="T17" fmla="*/ 2 h 7"/>
                  <a:gd name="T18" fmla="*/ 4 w 8"/>
                  <a:gd name="T19" fmla="*/ 0 h 7"/>
                  <a:gd name="T20" fmla="*/ 4 w 8"/>
                  <a:gd name="T21" fmla="*/ 0 h 7"/>
                  <a:gd name="T22" fmla="*/ 2 w 8"/>
                  <a:gd name="T23" fmla="*/ 2 h 7"/>
                  <a:gd name="T24" fmla="*/ 2 w 8"/>
                  <a:gd name="T25" fmla="*/ 4 h 7"/>
                  <a:gd name="T26" fmla="*/ 2 w 8"/>
                  <a:gd name="T27" fmla="*/ 4 h 7"/>
                  <a:gd name="T28" fmla="*/ 0 w 8"/>
                  <a:gd name="T29" fmla="*/ 6 h 7"/>
                  <a:gd name="T30" fmla="*/ 0 w 8"/>
                  <a:gd name="T31" fmla="*/ 7 h 7"/>
                  <a:gd name="T32" fmla="*/ 0 w 8"/>
                  <a:gd name="T33" fmla="*/ 7 h 7"/>
                  <a:gd name="T34" fmla="*/ 2 w 8"/>
                  <a:gd name="T35" fmla="*/ 7 h 7"/>
                  <a:gd name="T36" fmla="*/ 6 w 8"/>
                  <a:gd name="T3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7">
                    <a:moveTo>
                      <a:pt x="6" y="7"/>
                    </a:moveTo>
                    <a:lnTo>
                      <a:pt x="6" y="7"/>
                    </a:lnTo>
                    <a:lnTo>
                      <a:pt x="8" y="7"/>
                    </a:lnTo>
                    <a:lnTo>
                      <a:pt x="8" y="7"/>
                    </a:lnTo>
                    <a:lnTo>
                      <a:pt x="8" y="6"/>
                    </a:lnTo>
                    <a:lnTo>
                      <a:pt x="6" y="4"/>
                    </a:lnTo>
                    <a:lnTo>
                      <a:pt x="6" y="4"/>
                    </a:lnTo>
                    <a:lnTo>
                      <a:pt x="4" y="2"/>
                    </a:lnTo>
                    <a:lnTo>
                      <a:pt x="4" y="2"/>
                    </a:lnTo>
                    <a:lnTo>
                      <a:pt x="4" y="0"/>
                    </a:lnTo>
                    <a:lnTo>
                      <a:pt x="4" y="0"/>
                    </a:lnTo>
                    <a:lnTo>
                      <a:pt x="2" y="2"/>
                    </a:lnTo>
                    <a:lnTo>
                      <a:pt x="2" y="4"/>
                    </a:lnTo>
                    <a:lnTo>
                      <a:pt x="2" y="4"/>
                    </a:lnTo>
                    <a:lnTo>
                      <a:pt x="0" y="6"/>
                    </a:lnTo>
                    <a:lnTo>
                      <a:pt x="0" y="7"/>
                    </a:lnTo>
                    <a:lnTo>
                      <a:pt x="0" y="7"/>
                    </a:lnTo>
                    <a:lnTo>
                      <a:pt x="2" y="7"/>
                    </a:lnTo>
                    <a:lnTo>
                      <a:pt x="6"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79" name="Freeform 3034"/>
              <p:cNvSpPr>
                <a:spLocks/>
              </p:cNvSpPr>
              <p:nvPr/>
            </p:nvSpPr>
            <p:spPr bwMode="auto">
              <a:xfrm>
                <a:off x="4774" y="2893"/>
                <a:ext cx="8" cy="7"/>
              </a:xfrm>
              <a:custGeom>
                <a:avLst/>
                <a:gdLst>
                  <a:gd name="T0" fmla="*/ 6 w 8"/>
                  <a:gd name="T1" fmla="*/ 7 h 7"/>
                  <a:gd name="T2" fmla="*/ 6 w 8"/>
                  <a:gd name="T3" fmla="*/ 7 h 7"/>
                  <a:gd name="T4" fmla="*/ 8 w 8"/>
                  <a:gd name="T5" fmla="*/ 7 h 7"/>
                  <a:gd name="T6" fmla="*/ 8 w 8"/>
                  <a:gd name="T7" fmla="*/ 7 h 7"/>
                  <a:gd name="T8" fmla="*/ 8 w 8"/>
                  <a:gd name="T9" fmla="*/ 6 h 7"/>
                  <a:gd name="T10" fmla="*/ 6 w 8"/>
                  <a:gd name="T11" fmla="*/ 4 h 7"/>
                  <a:gd name="T12" fmla="*/ 6 w 8"/>
                  <a:gd name="T13" fmla="*/ 4 h 7"/>
                  <a:gd name="T14" fmla="*/ 4 w 8"/>
                  <a:gd name="T15" fmla="*/ 2 h 7"/>
                  <a:gd name="T16" fmla="*/ 4 w 8"/>
                  <a:gd name="T17" fmla="*/ 2 h 7"/>
                  <a:gd name="T18" fmla="*/ 4 w 8"/>
                  <a:gd name="T19" fmla="*/ 0 h 7"/>
                  <a:gd name="T20" fmla="*/ 4 w 8"/>
                  <a:gd name="T21" fmla="*/ 0 h 7"/>
                  <a:gd name="T22" fmla="*/ 2 w 8"/>
                  <a:gd name="T23" fmla="*/ 2 h 7"/>
                  <a:gd name="T24" fmla="*/ 2 w 8"/>
                  <a:gd name="T25" fmla="*/ 4 h 7"/>
                  <a:gd name="T26" fmla="*/ 2 w 8"/>
                  <a:gd name="T27" fmla="*/ 4 h 7"/>
                  <a:gd name="T28" fmla="*/ 0 w 8"/>
                  <a:gd name="T29" fmla="*/ 6 h 7"/>
                  <a:gd name="T30" fmla="*/ 0 w 8"/>
                  <a:gd name="T31" fmla="*/ 7 h 7"/>
                  <a:gd name="T32" fmla="*/ 0 w 8"/>
                  <a:gd name="T33" fmla="*/ 7 h 7"/>
                  <a:gd name="T34" fmla="*/ 2 w 8"/>
                  <a:gd name="T35" fmla="*/ 7 h 7"/>
                  <a:gd name="T36" fmla="*/ 6 w 8"/>
                  <a:gd name="T3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7">
                    <a:moveTo>
                      <a:pt x="6" y="7"/>
                    </a:moveTo>
                    <a:lnTo>
                      <a:pt x="6" y="7"/>
                    </a:lnTo>
                    <a:lnTo>
                      <a:pt x="8" y="7"/>
                    </a:lnTo>
                    <a:lnTo>
                      <a:pt x="8" y="7"/>
                    </a:lnTo>
                    <a:lnTo>
                      <a:pt x="8" y="6"/>
                    </a:lnTo>
                    <a:lnTo>
                      <a:pt x="6" y="4"/>
                    </a:lnTo>
                    <a:lnTo>
                      <a:pt x="6" y="4"/>
                    </a:lnTo>
                    <a:lnTo>
                      <a:pt x="4" y="2"/>
                    </a:lnTo>
                    <a:lnTo>
                      <a:pt x="4" y="2"/>
                    </a:lnTo>
                    <a:lnTo>
                      <a:pt x="4" y="0"/>
                    </a:lnTo>
                    <a:lnTo>
                      <a:pt x="4" y="0"/>
                    </a:lnTo>
                    <a:lnTo>
                      <a:pt x="2" y="2"/>
                    </a:lnTo>
                    <a:lnTo>
                      <a:pt x="2" y="4"/>
                    </a:lnTo>
                    <a:lnTo>
                      <a:pt x="2" y="4"/>
                    </a:lnTo>
                    <a:lnTo>
                      <a:pt x="0" y="6"/>
                    </a:lnTo>
                    <a:lnTo>
                      <a:pt x="0" y="7"/>
                    </a:lnTo>
                    <a:lnTo>
                      <a:pt x="0" y="7"/>
                    </a:lnTo>
                    <a:lnTo>
                      <a:pt x="2" y="7"/>
                    </a:lnTo>
                    <a:lnTo>
                      <a:pt x="6"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80" name="Freeform 3035"/>
              <p:cNvSpPr>
                <a:spLocks/>
              </p:cNvSpPr>
              <p:nvPr/>
            </p:nvSpPr>
            <p:spPr bwMode="auto">
              <a:xfrm>
                <a:off x="4780" y="2891"/>
                <a:ext cx="18" cy="11"/>
              </a:xfrm>
              <a:custGeom>
                <a:avLst/>
                <a:gdLst>
                  <a:gd name="T0" fmla="*/ 12 w 18"/>
                  <a:gd name="T1" fmla="*/ 2 h 11"/>
                  <a:gd name="T2" fmla="*/ 12 w 18"/>
                  <a:gd name="T3" fmla="*/ 2 h 11"/>
                  <a:gd name="T4" fmla="*/ 10 w 18"/>
                  <a:gd name="T5" fmla="*/ 2 h 11"/>
                  <a:gd name="T6" fmla="*/ 9 w 18"/>
                  <a:gd name="T7" fmla="*/ 2 h 11"/>
                  <a:gd name="T8" fmla="*/ 9 w 18"/>
                  <a:gd name="T9" fmla="*/ 2 h 11"/>
                  <a:gd name="T10" fmla="*/ 7 w 18"/>
                  <a:gd name="T11" fmla="*/ 2 h 11"/>
                  <a:gd name="T12" fmla="*/ 3 w 18"/>
                  <a:gd name="T13" fmla="*/ 2 h 11"/>
                  <a:gd name="T14" fmla="*/ 3 w 18"/>
                  <a:gd name="T15" fmla="*/ 2 h 11"/>
                  <a:gd name="T16" fmla="*/ 2 w 18"/>
                  <a:gd name="T17" fmla="*/ 0 h 11"/>
                  <a:gd name="T18" fmla="*/ 0 w 18"/>
                  <a:gd name="T19" fmla="*/ 0 h 11"/>
                  <a:gd name="T20" fmla="*/ 0 w 18"/>
                  <a:gd name="T21" fmla="*/ 0 h 11"/>
                  <a:gd name="T22" fmla="*/ 0 w 18"/>
                  <a:gd name="T23" fmla="*/ 0 h 11"/>
                  <a:gd name="T24" fmla="*/ 0 w 18"/>
                  <a:gd name="T25" fmla="*/ 4 h 11"/>
                  <a:gd name="T26" fmla="*/ 2 w 18"/>
                  <a:gd name="T27" fmla="*/ 8 h 11"/>
                  <a:gd name="T28" fmla="*/ 5 w 18"/>
                  <a:gd name="T29" fmla="*/ 11 h 11"/>
                  <a:gd name="T30" fmla="*/ 7 w 18"/>
                  <a:gd name="T31" fmla="*/ 11 h 11"/>
                  <a:gd name="T32" fmla="*/ 7 w 18"/>
                  <a:gd name="T33" fmla="*/ 11 h 11"/>
                  <a:gd name="T34" fmla="*/ 12 w 18"/>
                  <a:gd name="T35" fmla="*/ 9 h 11"/>
                  <a:gd name="T36" fmla="*/ 16 w 18"/>
                  <a:gd name="T37" fmla="*/ 6 h 11"/>
                  <a:gd name="T38" fmla="*/ 16 w 18"/>
                  <a:gd name="T39" fmla="*/ 6 h 11"/>
                  <a:gd name="T40" fmla="*/ 18 w 18"/>
                  <a:gd name="T41" fmla="*/ 2 h 11"/>
                  <a:gd name="T42" fmla="*/ 18 w 18"/>
                  <a:gd name="T43" fmla="*/ 2 h 11"/>
                  <a:gd name="T44" fmla="*/ 16 w 18"/>
                  <a:gd name="T45" fmla="*/ 0 h 11"/>
                  <a:gd name="T46" fmla="*/ 16 w 18"/>
                  <a:gd name="T47" fmla="*/ 0 h 11"/>
                  <a:gd name="T48" fmla="*/ 12 w 18"/>
                  <a:gd name="T49" fmla="*/ 0 h 11"/>
                  <a:gd name="T50" fmla="*/ 12 w 18"/>
                  <a:gd name="T51" fmla="*/ 2 h 11"/>
                  <a:gd name="T52" fmla="*/ 12 w 18"/>
                  <a:gd name="T5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11">
                    <a:moveTo>
                      <a:pt x="12" y="2"/>
                    </a:moveTo>
                    <a:lnTo>
                      <a:pt x="12" y="2"/>
                    </a:lnTo>
                    <a:lnTo>
                      <a:pt x="10" y="2"/>
                    </a:lnTo>
                    <a:lnTo>
                      <a:pt x="9" y="2"/>
                    </a:lnTo>
                    <a:lnTo>
                      <a:pt x="9" y="2"/>
                    </a:lnTo>
                    <a:lnTo>
                      <a:pt x="7" y="2"/>
                    </a:lnTo>
                    <a:lnTo>
                      <a:pt x="3" y="2"/>
                    </a:lnTo>
                    <a:lnTo>
                      <a:pt x="3" y="2"/>
                    </a:lnTo>
                    <a:lnTo>
                      <a:pt x="2" y="0"/>
                    </a:lnTo>
                    <a:lnTo>
                      <a:pt x="0" y="0"/>
                    </a:lnTo>
                    <a:lnTo>
                      <a:pt x="0" y="0"/>
                    </a:lnTo>
                    <a:lnTo>
                      <a:pt x="0" y="0"/>
                    </a:lnTo>
                    <a:lnTo>
                      <a:pt x="0" y="4"/>
                    </a:lnTo>
                    <a:lnTo>
                      <a:pt x="2" y="8"/>
                    </a:lnTo>
                    <a:lnTo>
                      <a:pt x="5" y="11"/>
                    </a:lnTo>
                    <a:lnTo>
                      <a:pt x="7" y="11"/>
                    </a:lnTo>
                    <a:lnTo>
                      <a:pt x="7" y="11"/>
                    </a:lnTo>
                    <a:lnTo>
                      <a:pt x="12" y="9"/>
                    </a:lnTo>
                    <a:lnTo>
                      <a:pt x="16" y="6"/>
                    </a:lnTo>
                    <a:lnTo>
                      <a:pt x="16" y="6"/>
                    </a:lnTo>
                    <a:lnTo>
                      <a:pt x="18" y="2"/>
                    </a:lnTo>
                    <a:lnTo>
                      <a:pt x="18" y="2"/>
                    </a:lnTo>
                    <a:lnTo>
                      <a:pt x="16" y="0"/>
                    </a:lnTo>
                    <a:lnTo>
                      <a:pt x="16" y="0"/>
                    </a:lnTo>
                    <a:lnTo>
                      <a:pt x="12" y="0"/>
                    </a:lnTo>
                    <a:lnTo>
                      <a:pt x="12" y="2"/>
                    </a:lnTo>
                    <a:lnTo>
                      <a:pt x="1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81" name="Freeform 3036"/>
              <p:cNvSpPr>
                <a:spLocks/>
              </p:cNvSpPr>
              <p:nvPr/>
            </p:nvSpPr>
            <p:spPr bwMode="auto">
              <a:xfrm>
                <a:off x="4780" y="2891"/>
                <a:ext cx="18" cy="11"/>
              </a:xfrm>
              <a:custGeom>
                <a:avLst/>
                <a:gdLst>
                  <a:gd name="T0" fmla="*/ 12 w 18"/>
                  <a:gd name="T1" fmla="*/ 2 h 11"/>
                  <a:gd name="T2" fmla="*/ 12 w 18"/>
                  <a:gd name="T3" fmla="*/ 2 h 11"/>
                  <a:gd name="T4" fmla="*/ 10 w 18"/>
                  <a:gd name="T5" fmla="*/ 2 h 11"/>
                  <a:gd name="T6" fmla="*/ 9 w 18"/>
                  <a:gd name="T7" fmla="*/ 2 h 11"/>
                  <a:gd name="T8" fmla="*/ 9 w 18"/>
                  <a:gd name="T9" fmla="*/ 2 h 11"/>
                  <a:gd name="T10" fmla="*/ 7 w 18"/>
                  <a:gd name="T11" fmla="*/ 2 h 11"/>
                  <a:gd name="T12" fmla="*/ 3 w 18"/>
                  <a:gd name="T13" fmla="*/ 2 h 11"/>
                  <a:gd name="T14" fmla="*/ 3 w 18"/>
                  <a:gd name="T15" fmla="*/ 2 h 11"/>
                  <a:gd name="T16" fmla="*/ 2 w 18"/>
                  <a:gd name="T17" fmla="*/ 0 h 11"/>
                  <a:gd name="T18" fmla="*/ 0 w 18"/>
                  <a:gd name="T19" fmla="*/ 0 h 11"/>
                  <a:gd name="T20" fmla="*/ 0 w 18"/>
                  <a:gd name="T21" fmla="*/ 0 h 11"/>
                  <a:gd name="T22" fmla="*/ 0 w 18"/>
                  <a:gd name="T23" fmla="*/ 0 h 11"/>
                  <a:gd name="T24" fmla="*/ 0 w 18"/>
                  <a:gd name="T25" fmla="*/ 4 h 11"/>
                  <a:gd name="T26" fmla="*/ 2 w 18"/>
                  <a:gd name="T27" fmla="*/ 8 h 11"/>
                  <a:gd name="T28" fmla="*/ 5 w 18"/>
                  <a:gd name="T29" fmla="*/ 11 h 11"/>
                  <a:gd name="T30" fmla="*/ 7 w 18"/>
                  <a:gd name="T31" fmla="*/ 11 h 11"/>
                  <a:gd name="T32" fmla="*/ 7 w 18"/>
                  <a:gd name="T33" fmla="*/ 11 h 11"/>
                  <a:gd name="T34" fmla="*/ 12 w 18"/>
                  <a:gd name="T35" fmla="*/ 9 h 11"/>
                  <a:gd name="T36" fmla="*/ 16 w 18"/>
                  <a:gd name="T37" fmla="*/ 6 h 11"/>
                  <a:gd name="T38" fmla="*/ 16 w 18"/>
                  <a:gd name="T39" fmla="*/ 6 h 11"/>
                  <a:gd name="T40" fmla="*/ 18 w 18"/>
                  <a:gd name="T41" fmla="*/ 2 h 11"/>
                  <a:gd name="T42" fmla="*/ 18 w 18"/>
                  <a:gd name="T43" fmla="*/ 2 h 11"/>
                  <a:gd name="T44" fmla="*/ 16 w 18"/>
                  <a:gd name="T45" fmla="*/ 0 h 11"/>
                  <a:gd name="T46" fmla="*/ 16 w 18"/>
                  <a:gd name="T47" fmla="*/ 0 h 11"/>
                  <a:gd name="T48" fmla="*/ 12 w 18"/>
                  <a:gd name="T49" fmla="*/ 0 h 11"/>
                  <a:gd name="T50" fmla="*/ 12 w 18"/>
                  <a:gd name="T51" fmla="*/ 2 h 11"/>
                  <a:gd name="T52" fmla="*/ 12 w 18"/>
                  <a:gd name="T53" fmla="*/ 2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11">
                    <a:moveTo>
                      <a:pt x="12" y="2"/>
                    </a:moveTo>
                    <a:lnTo>
                      <a:pt x="12" y="2"/>
                    </a:lnTo>
                    <a:lnTo>
                      <a:pt x="10" y="2"/>
                    </a:lnTo>
                    <a:lnTo>
                      <a:pt x="9" y="2"/>
                    </a:lnTo>
                    <a:lnTo>
                      <a:pt x="9" y="2"/>
                    </a:lnTo>
                    <a:lnTo>
                      <a:pt x="7" y="2"/>
                    </a:lnTo>
                    <a:lnTo>
                      <a:pt x="3" y="2"/>
                    </a:lnTo>
                    <a:lnTo>
                      <a:pt x="3" y="2"/>
                    </a:lnTo>
                    <a:lnTo>
                      <a:pt x="2" y="0"/>
                    </a:lnTo>
                    <a:lnTo>
                      <a:pt x="0" y="0"/>
                    </a:lnTo>
                    <a:lnTo>
                      <a:pt x="0" y="0"/>
                    </a:lnTo>
                    <a:lnTo>
                      <a:pt x="0" y="0"/>
                    </a:lnTo>
                    <a:lnTo>
                      <a:pt x="0" y="4"/>
                    </a:lnTo>
                    <a:lnTo>
                      <a:pt x="2" y="8"/>
                    </a:lnTo>
                    <a:lnTo>
                      <a:pt x="5" y="11"/>
                    </a:lnTo>
                    <a:lnTo>
                      <a:pt x="7" y="11"/>
                    </a:lnTo>
                    <a:lnTo>
                      <a:pt x="7" y="11"/>
                    </a:lnTo>
                    <a:lnTo>
                      <a:pt x="12" y="9"/>
                    </a:lnTo>
                    <a:lnTo>
                      <a:pt x="16" y="6"/>
                    </a:lnTo>
                    <a:lnTo>
                      <a:pt x="16" y="6"/>
                    </a:lnTo>
                    <a:lnTo>
                      <a:pt x="18" y="2"/>
                    </a:lnTo>
                    <a:lnTo>
                      <a:pt x="18" y="2"/>
                    </a:lnTo>
                    <a:lnTo>
                      <a:pt x="16" y="0"/>
                    </a:lnTo>
                    <a:lnTo>
                      <a:pt x="16" y="0"/>
                    </a:lnTo>
                    <a:lnTo>
                      <a:pt x="12" y="0"/>
                    </a:lnTo>
                    <a:lnTo>
                      <a:pt x="12" y="2"/>
                    </a:lnTo>
                    <a:lnTo>
                      <a:pt x="1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82" name="Freeform 3037"/>
              <p:cNvSpPr>
                <a:spLocks/>
              </p:cNvSpPr>
              <p:nvPr/>
            </p:nvSpPr>
            <p:spPr bwMode="auto">
              <a:xfrm>
                <a:off x="4814" y="2888"/>
                <a:ext cx="1" cy="5"/>
              </a:xfrm>
              <a:custGeom>
                <a:avLst/>
                <a:gdLst>
                  <a:gd name="T0" fmla="*/ 1 w 1"/>
                  <a:gd name="T1" fmla="*/ 5 h 5"/>
                  <a:gd name="T2" fmla="*/ 1 w 1"/>
                  <a:gd name="T3" fmla="*/ 5 h 5"/>
                  <a:gd name="T4" fmla="*/ 1 w 1"/>
                  <a:gd name="T5" fmla="*/ 2 h 5"/>
                  <a:gd name="T6" fmla="*/ 1 w 1"/>
                  <a:gd name="T7" fmla="*/ 0 h 5"/>
                  <a:gd name="T8" fmla="*/ 1 w 1"/>
                  <a:gd name="T9" fmla="*/ 0 h 5"/>
                  <a:gd name="T10" fmla="*/ 0 w 1"/>
                  <a:gd name="T11" fmla="*/ 2 h 5"/>
                  <a:gd name="T12" fmla="*/ 1 w 1"/>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1" y="5"/>
                    </a:moveTo>
                    <a:lnTo>
                      <a:pt x="1" y="5"/>
                    </a:lnTo>
                    <a:lnTo>
                      <a:pt x="1" y="2"/>
                    </a:lnTo>
                    <a:lnTo>
                      <a:pt x="1" y="0"/>
                    </a:lnTo>
                    <a:lnTo>
                      <a:pt x="1" y="0"/>
                    </a:lnTo>
                    <a:lnTo>
                      <a:pt x="0" y="2"/>
                    </a:lnTo>
                    <a:lnTo>
                      <a:pt x="1"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83" name="Freeform 3038"/>
              <p:cNvSpPr>
                <a:spLocks/>
              </p:cNvSpPr>
              <p:nvPr/>
            </p:nvSpPr>
            <p:spPr bwMode="auto">
              <a:xfrm>
                <a:off x="4814" y="2888"/>
                <a:ext cx="1" cy="5"/>
              </a:xfrm>
              <a:custGeom>
                <a:avLst/>
                <a:gdLst>
                  <a:gd name="T0" fmla="*/ 1 w 1"/>
                  <a:gd name="T1" fmla="*/ 5 h 5"/>
                  <a:gd name="T2" fmla="*/ 1 w 1"/>
                  <a:gd name="T3" fmla="*/ 5 h 5"/>
                  <a:gd name="T4" fmla="*/ 1 w 1"/>
                  <a:gd name="T5" fmla="*/ 2 h 5"/>
                  <a:gd name="T6" fmla="*/ 1 w 1"/>
                  <a:gd name="T7" fmla="*/ 0 h 5"/>
                  <a:gd name="T8" fmla="*/ 1 w 1"/>
                  <a:gd name="T9" fmla="*/ 0 h 5"/>
                  <a:gd name="T10" fmla="*/ 0 w 1"/>
                  <a:gd name="T11" fmla="*/ 2 h 5"/>
                  <a:gd name="T12" fmla="*/ 1 w 1"/>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1" h="5">
                    <a:moveTo>
                      <a:pt x="1" y="5"/>
                    </a:moveTo>
                    <a:lnTo>
                      <a:pt x="1" y="5"/>
                    </a:lnTo>
                    <a:lnTo>
                      <a:pt x="1" y="2"/>
                    </a:lnTo>
                    <a:lnTo>
                      <a:pt x="1" y="0"/>
                    </a:lnTo>
                    <a:lnTo>
                      <a:pt x="1" y="0"/>
                    </a:lnTo>
                    <a:lnTo>
                      <a:pt x="0" y="2"/>
                    </a:lnTo>
                    <a:lnTo>
                      <a:pt x="1"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84" name="Freeform 3039"/>
              <p:cNvSpPr>
                <a:spLocks/>
              </p:cNvSpPr>
              <p:nvPr/>
            </p:nvSpPr>
            <p:spPr bwMode="auto">
              <a:xfrm>
                <a:off x="4953" y="2752"/>
                <a:ext cx="157" cy="129"/>
              </a:xfrm>
              <a:custGeom>
                <a:avLst/>
                <a:gdLst>
                  <a:gd name="T0" fmla="*/ 2 w 157"/>
                  <a:gd name="T1" fmla="*/ 82 h 129"/>
                  <a:gd name="T2" fmla="*/ 2 w 157"/>
                  <a:gd name="T3" fmla="*/ 64 h 129"/>
                  <a:gd name="T4" fmla="*/ 5 w 157"/>
                  <a:gd name="T5" fmla="*/ 54 h 129"/>
                  <a:gd name="T6" fmla="*/ 7 w 157"/>
                  <a:gd name="T7" fmla="*/ 4 h 129"/>
                  <a:gd name="T8" fmla="*/ 11 w 157"/>
                  <a:gd name="T9" fmla="*/ 0 h 129"/>
                  <a:gd name="T10" fmla="*/ 27 w 157"/>
                  <a:gd name="T11" fmla="*/ 7 h 129"/>
                  <a:gd name="T12" fmla="*/ 46 w 157"/>
                  <a:gd name="T13" fmla="*/ 13 h 129"/>
                  <a:gd name="T14" fmla="*/ 59 w 157"/>
                  <a:gd name="T15" fmla="*/ 20 h 129"/>
                  <a:gd name="T16" fmla="*/ 66 w 157"/>
                  <a:gd name="T17" fmla="*/ 22 h 129"/>
                  <a:gd name="T18" fmla="*/ 71 w 157"/>
                  <a:gd name="T19" fmla="*/ 27 h 129"/>
                  <a:gd name="T20" fmla="*/ 80 w 157"/>
                  <a:gd name="T21" fmla="*/ 34 h 129"/>
                  <a:gd name="T22" fmla="*/ 80 w 157"/>
                  <a:gd name="T23" fmla="*/ 43 h 129"/>
                  <a:gd name="T24" fmla="*/ 93 w 157"/>
                  <a:gd name="T25" fmla="*/ 48 h 129"/>
                  <a:gd name="T26" fmla="*/ 104 w 157"/>
                  <a:gd name="T27" fmla="*/ 54 h 129"/>
                  <a:gd name="T28" fmla="*/ 111 w 157"/>
                  <a:gd name="T29" fmla="*/ 55 h 129"/>
                  <a:gd name="T30" fmla="*/ 114 w 157"/>
                  <a:gd name="T31" fmla="*/ 64 h 129"/>
                  <a:gd name="T32" fmla="*/ 102 w 157"/>
                  <a:gd name="T33" fmla="*/ 66 h 129"/>
                  <a:gd name="T34" fmla="*/ 104 w 157"/>
                  <a:gd name="T35" fmla="*/ 77 h 129"/>
                  <a:gd name="T36" fmla="*/ 112 w 157"/>
                  <a:gd name="T37" fmla="*/ 86 h 129"/>
                  <a:gd name="T38" fmla="*/ 118 w 157"/>
                  <a:gd name="T39" fmla="*/ 95 h 129"/>
                  <a:gd name="T40" fmla="*/ 121 w 157"/>
                  <a:gd name="T41" fmla="*/ 100 h 129"/>
                  <a:gd name="T42" fmla="*/ 129 w 157"/>
                  <a:gd name="T43" fmla="*/ 102 h 129"/>
                  <a:gd name="T44" fmla="*/ 134 w 157"/>
                  <a:gd name="T45" fmla="*/ 105 h 129"/>
                  <a:gd name="T46" fmla="*/ 136 w 157"/>
                  <a:gd name="T47" fmla="*/ 111 h 129"/>
                  <a:gd name="T48" fmla="*/ 145 w 157"/>
                  <a:gd name="T49" fmla="*/ 113 h 129"/>
                  <a:gd name="T50" fmla="*/ 139 w 157"/>
                  <a:gd name="T51" fmla="*/ 114 h 129"/>
                  <a:gd name="T52" fmla="*/ 148 w 157"/>
                  <a:gd name="T53" fmla="*/ 120 h 129"/>
                  <a:gd name="T54" fmla="*/ 155 w 157"/>
                  <a:gd name="T55" fmla="*/ 123 h 129"/>
                  <a:gd name="T56" fmla="*/ 148 w 157"/>
                  <a:gd name="T57" fmla="*/ 125 h 129"/>
                  <a:gd name="T58" fmla="*/ 150 w 157"/>
                  <a:gd name="T59" fmla="*/ 129 h 129"/>
                  <a:gd name="T60" fmla="*/ 141 w 157"/>
                  <a:gd name="T61" fmla="*/ 127 h 129"/>
                  <a:gd name="T62" fmla="*/ 141 w 157"/>
                  <a:gd name="T63" fmla="*/ 125 h 129"/>
                  <a:gd name="T64" fmla="*/ 134 w 157"/>
                  <a:gd name="T65" fmla="*/ 123 h 129"/>
                  <a:gd name="T66" fmla="*/ 123 w 157"/>
                  <a:gd name="T67" fmla="*/ 122 h 129"/>
                  <a:gd name="T68" fmla="*/ 118 w 157"/>
                  <a:gd name="T69" fmla="*/ 122 h 129"/>
                  <a:gd name="T70" fmla="*/ 111 w 157"/>
                  <a:gd name="T71" fmla="*/ 120 h 129"/>
                  <a:gd name="T72" fmla="*/ 107 w 157"/>
                  <a:gd name="T73" fmla="*/ 120 h 129"/>
                  <a:gd name="T74" fmla="*/ 102 w 157"/>
                  <a:gd name="T75" fmla="*/ 111 h 129"/>
                  <a:gd name="T76" fmla="*/ 96 w 157"/>
                  <a:gd name="T77" fmla="*/ 109 h 129"/>
                  <a:gd name="T78" fmla="*/ 93 w 157"/>
                  <a:gd name="T79" fmla="*/ 104 h 129"/>
                  <a:gd name="T80" fmla="*/ 87 w 157"/>
                  <a:gd name="T81" fmla="*/ 93 h 129"/>
                  <a:gd name="T82" fmla="*/ 79 w 157"/>
                  <a:gd name="T83" fmla="*/ 86 h 129"/>
                  <a:gd name="T84" fmla="*/ 75 w 157"/>
                  <a:gd name="T85" fmla="*/ 86 h 129"/>
                  <a:gd name="T86" fmla="*/ 64 w 157"/>
                  <a:gd name="T87" fmla="*/ 79 h 129"/>
                  <a:gd name="T88" fmla="*/ 61 w 157"/>
                  <a:gd name="T89" fmla="*/ 79 h 129"/>
                  <a:gd name="T90" fmla="*/ 59 w 157"/>
                  <a:gd name="T91" fmla="*/ 79 h 129"/>
                  <a:gd name="T92" fmla="*/ 57 w 157"/>
                  <a:gd name="T93" fmla="*/ 79 h 129"/>
                  <a:gd name="T94" fmla="*/ 55 w 157"/>
                  <a:gd name="T95" fmla="*/ 80 h 129"/>
                  <a:gd name="T96" fmla="*/ 45 w 157"/>
                  <a:gd name="T97" fmla="*/ 77 h 129"/>
                  <a:gd name="T98" fmla="*/ 50 w 157"/>
                  <a:gd name="T99" fmla="*/ 86 h 129"/>
                  <a:gd name="T100" fmla="*/ 45 w 157"/>
                  <a:gd name="T101" fmla="*/ 86 h 129"/>
                  <a:gd name="T102" fmla="*/ 43 w 157"/>
                  <a:gd name="T103" fmla="*/ 89 h 129"/>
                  <a:gd name="T104" fmla="*/ 37 w 157"/>
                  <a:gd name="T105" fmla="*/ 91 h 129"/>
                  <a:gd name="T106" fmla="*/ 29 w 157"/>
                  <a:gd name="T107" fmla="*/ 91 h 129"/>
                  <a:gd name="T108" fmla="*/ 25 w 157"/>
                  <a:gd name="T109" fmla="*/ 91 h 129"/>
                  <a:gd name="T110" fmla="*/ 34 w 157"/>
                  <a:gd name="T111" fmla="*/ 93 h 129"/>
                  <a:gd name="T112" fmla="*/ 39 w 157"/>
                  <a:gd name="T113" fmla="*/ 102 h 129"/>
                  <a:gd name="T114" fmla="*/ 27 w 157"/>
                  <a:gd name="T115" fmla="*/ 107 h 129"/>
                  <a:gd name="T116" fmla="*/ 18 w 157"/>
                  <a:gd name="T117" fmla="*/ 105 h 129"/>
                  <a:gd name="T118" fmla="*/ 4 w 157"/>
                  <a:gd name="T119" fmla="*/ 10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7" h="129">
                    <a:moveTo>
                      <a:pt x="0" y="105"/>
                    </a:moveTo>
                    <a:lnTo>
                      <a:pt x="0" y="105"/>
                    </a:lnTo>
                    <a:lnTo>
                      <a:pt x="2" y="82"/>
                    </a:lnTo>
                    <a:lnTo>
                      <a:pt x="2" y="82"/>
                    </a:lnTo>
                    <a:lnTo>
                      <a:pt x="4" y="72"/>
                    </a:lnTo>
                    <a:lnTo>
                      <a:pt x="4" y="72"/>
                    </a:lnTo>
                    <a:lnTo>
                      <a:pt x="2" y="68"/>
                    </a:lnTo>
                    <a:lnTo>
                      <a:pt x="2" y="64"/>
                    </a:lnTo>
                    <a:lnTo>
                      <a:pt x="2" y="64"/>
                    </a:lnTo>
                    <a:lnTo>
                      <a:pt x="4" y="59"/>
                    </a:lnTo>
                    <a:lnTo>
                      <a:pt x="4" y="59"/>
                    </a:lnTo>
                    <a:lnTo>
                      <a:pt x="5" y="54"/>
                    </a:lnTo>
                    <a:lnTo>
                      <a:pt x="5" y="54"/>
                    </a:lnTo>
                    <a:lnTo>
                      <a:pt x="5" y="29"/>
                    </a:lnTo>
                    <a:lnTo>
                      <a:pt x="5" y="29"/>
                    </a:lnTo>
                    <a:lnTo>
                      <a:pt x="7" y="4"/>
                    </a:lnTo>
                    <a:lnTo>
                      <a:pt x="7" y="4"/>
                    </a:lnTo>
                    <a:lnTo>
                      <a:pt x="7" y="0"/>
                    </a:lnTo>
                    <a:lnTo>
                      <a:pt x="7" y="0"/>
                    </a:lnTo>
                    <a:lnTo>
                      <a:pt x="11" y="0"/>
                    </a:lnTo>
                    <a:lnTo>
                      <a:pt x="11" y="0"/>
                    </a:lnTo>
                    <a:lnTo>
                      <a:pt x="16" y="4"/>
                    </a:lnTo>
                    <a:lnTo>
                      <a:pt x="16" y="4"/>
                    </a:lnTo>
                    <a:lnTo>
                      <a:pt x="27" y="7"/>
                    </a:lnTo>
                    <a:lnTo>
                      <a:pt x="36" y="11"/>
                    </a:lnTo>
                    <a:lnTo>
                      <a:pt x="36" y="11"/>
                    </a:lnTo>
                    <a:lnTo>
                      <a:pt x="46" y="13"/>
                    </a:lnTo>
                    <a:lnTo>
                      <a:pt x="46" y="13"/>
                    </a:lnTo>
                    <a:lnTo>
                      <a:pt x="50" y="16"/>
                    </a:lnTo>
                    <a:lnTo>
                      <a:pt x="55" y="18"/>
                    </a:lnTo>
                    <a:lnTo>
                      <a:pt x="55" y="18"/>
                    </a:lnTo>
                    <a:lnTo>
                      <a:pt x="59" y="20"/>
                    </a:lnTo>
                    <a:lnTo>
                      <a:pt x="61" y="18"/>
                    </a:lnTo>
                    <a:lnTo>
                      <a:pt x="61" y="18"/>
                    </a:lnTo>
                    <a:lnTo>
                      <a:pt x="62" y="20"/>
                    </a:lnTo>
                    <a:lnTo>
                      <a:pt x="66" y="22"/>
                    </a:lnTo>
                    <a:lnTo>
                      <a:pt x="66" y="22"/>
                    </a:lnTo>
                    <a:lnTo>
                      <a:pt x="70" y="25"/>
                    </a:lnTo>
                    <a:lnTo>
                      <a:pt x="71" y="27"/>
                    </a:lnTo>
                    <a:lnTo>
                      <a:pt x="71" y="27"/>
                    </a:lnTo>
                    <a:lnTo>
                      <a:pt x="75" y="29"/>
                    </a:lnTo>
                    <a:lnTo>
                      <a:pt x="79" y="30"/>
                    </a:lnTo>
                    <a:lnTo>
                      <a:pt x="79" y="30"/>
                    </a:lnTo>
                    <a:lnTo>
                      <a:pt x="80" y="34"/>
                    </a:lnTo>
                    <a:lnTo>
                      <a:pt x="82" y="38"/>
                    </a:lnTo>
                    <a:lnTo>
                      <a:pt x="82" y="38"/>
                    </a:lnTo>
                    <a:lnTo>
                      <a:pt x="82" y="41"/>
                    </a:lnTo>
                    <a:lnTo>
                      <a:pt x="80" y="43"/>
                    </a:lnTo>
                    <a:lnTo>
                      <a:pt x="80" y="43"/>
                    </a:lnTo>
                    <a:lnTo>
                      <a:pt x="82" y="45"/>
                    </a:lnTo>
                    <a:lnTo>
                      <a:pt x="86" y="47"/>
                    </a:lnTo>
                    <a:lnTo>
                      <a:pt x="93" y="48"/>
                    </a:lnTo>
                    <a:lnTo>
                      <a:pt x="93" y="48"/>
                    </a:lnTo>
                    <a:lnTo>
                      <a:pt x="100" y="52"/>
                    </a:lnTo>
                    <a:lnTo>
                      <a:pt x="100" y="52"/>
                    </a:lnTo>
                    <a:lnTo>
                      <a:pt x="104" y="54"/>
                    </a:lnTo>
                    <a:lnTo>
                      <a:pt x="104" y="54"/>
                    </a:lnTo>
                    <a:lnTo>
                      <a:pt x="107" y="54"/>
                    </a:lnTo>
                    <a:lnTo>
                      <a:pt x="107" y="54"/>
                    </a:lnTo>
                    <a:lnTo>
                      <a:pt x="111" y="55"/>
                    </a:lnTo>
                    <a:lnTo>
                      <a:pt x="112" y="59"/>
                    </a:lnTo>
                    <a:lnTo>
                      <a:pt x="114" y="63"/>
                    </a:lnTo>
                    <a:lnTo>
                      <a:pt x="114" y="64"/>
                    </a:lnTo>
                    <a:lnTo>
                      <a:pt x="114" y="64"/>
                    </a:lnTo>
                    <a:lnTo>
                      <a:pt x="111" y="66"/>
                    </a:lnTo>
                    <a:lnTo>
                      <a:pt x="107" y="66"/>
                    </a:lnTo>
                    <a:lnTo>
                      <a:pt x="102" y="66"/>
                    </a:lnTo>
                    <a:lnTo>
                      <a:pt x="102" y="66"/>
                    </a:lnTo>
                    <a:lnTo>
                      <a:pt x="100" y="66"/>
                    </a:lnTo>
                    <a:lnTo>
                      <a:pt x="100" y="66"/>
                    </a:lnTo>
                    <a:lnTo>
                      <a:pt x="100" y="70"/>
                    </a:lnTo>
                    <a:lnTo>
                      <a:pt x="104" y="77"/>
                    </a:lnTo>
                    <a:lnTo>
                      <a:pt x="104" y="77"/>
                    </a:lnTo>
                    <a:lnTo>
                      <a:pt x="109" y="84"/>
                    </a:lnTo>
                    <a:lnTo>
                      <a:pt x="109" y="84"/>
                    </a:lnTo>
                    <a:lnTo>
                      <a:pt x="112" y="86"/>
                    </a:lnTo>
                    <a:lnTo>
                      <a:pt x="116" y="86"/>
                    </a:lnTo>
                    <a:lnTo>
                      <a:pt x="116" y="86"/>
                    </a:lnTo>
                    <a:lnTo>
                      <a:pt x="118" y="95"/>
                    </a:lnTo>
                    <a:lnTo>
                      <a:pt x="118" y="95"/>
                    </a:lnTo>
                    <a:lnTo>
                      <a:pt x="120" y="97"/>
                    </a:lnTo>
                    <a:lnTo>
                      <a:pt x="120" y="97"/>
                    </a:lnTo>
                    <a:lnTo>
                      <a:pt x="121" y="98"/>
                    </a:lnTo>
                    <a:lnTo>
                      <a:pt x="121" y="100"/>
                    </a:lnTo>
                    <a:lnTo>
                      <a:pt x="121" y="100"/>
                    </a:lnTo>
                    <a:lnTo>
                      <a:pt x="123" y="102"/>
                    </a:lnTo>
                    <a:lnTo>
                      <a:pt x="125" y="104"/>
                    </a:lnTo>
                    <a:lnTo>
                      <a:pt x="129" y="102"/>
                    </a:lnTo>
                    <a:lnTo>
                      <a:pt x="129" y="102"/>
                    </a:lnTo>
                    <a:lnTo>
                      <a:pt x="132" y="102"/>
                    </a:lnTo>
                    <a:lnTo>
                      <a:pt x="134" y="104"/>
                    </a:lnTo>
                    <a:lnTo>
                      <a:pt x="134" y="105"/>
                    </a:lnTo>
                    <a:lnTo>
                      <a:pt x="134" y="105"/>
                    </a:lnTo>
                    <a:lnTo>
                      <a:pt x="132" y="107"/>
                    </a:lnTo>
                    <a:lnTo>
                      <a:pt x="132" y="111"/>
                    </a:lnTo>
                    <a:lnTo>
                      <a:pt x="136" y="111"/>
                    </a:lnTo>
                    <a:lnTo>
                      <a:pt x="139" y="111"/>
                    </a:lnTo>
                    <a:lnTo>
                      <a:pt x="139" y="111"/>
                    </a:lnTo>
                    <a:lnTo>
                      <a:pt x="143" y="111"/>
                    </a:lnTo>
                    <a:lnTo>
                      <a:pt x="145" y="113"/>
                    </a:lnTo>
                    <a:lnTo>
                      <a:pt x="145" y="113"/>
                    </a:lnTo>
                    <a:lnTo>
                      <a:pt x="143" y="114"/>
                    </a:lnTo>
                    <a:lnTo>
                      <a:pt x="139" y="114"/>
                    </a:lnTo>
                    <a:lnTo>
                      <a:pt x="139" y="114"/>
                    </a:lnTo>
                    <a:lnTo>
                      <a:pt x="141" y="118"/>
                    </a:lnTo>
                    <a:lnTo>
                      <a:pt x="141" y="118"/>
                    </a:lnTo>
                    <a:lnTo>
                      <a:pt x="148" y="120"/>
                    </a:lnTo>
                    <a:lnTo>
                      <a:pt x="148" y="120"/>
                    </a:lnTo>
                    <a:lnTo>
                      <a:pt x="152" y="122"/>
                    </a:lnTo>
                    <a:lnTo>
                      <a:pt x="157" y="122"/>
                    </a:lnTo>
                    <a:lnTo>
                      <a:pt x="157" y="122"/>
                    </a:lnTo>
                    <a:lnTo>
                      <a:pt x="155" y="123"/>
                    </a:lnTo>
                    <a:lnTo>
                      <a:pt x="152" y="123"/>
                    </a:lnTo>
                    <a:lnTo>
                      <a:pt x="152" y="123"/>
                    </a:lnTo>
                    <a:lnTo>
                      <a:pt x="150" y="123"/>
                    </a:lnTo>
                    <a:lnTo>
                      <a:pt x="148" y="125"/>
                    </a:lnTo>
                    <a:lnTo>
                      <a:pt x="148" y="125"/>
                    </a:lnTo>
                    <a:lnTo>
                      <a:pt x="154" y="125"/>
                    </a:lnTo>
                    <a:lnTo>
                      <a:pt x="154" y="127"/>
                    </a:lnTo>
                    <a:lnTo>
                      <a:pt x="150" y="129"/>
                    </a:lnTo>
                    <a:lnTo>
                      <a:pt x="150" y="129"/>
                    </a:lnTo>
                    <a:lnTo>
                      <a:pt x="145" y="129"/>
                    </a:lnTo>
                    <a:lnTo>
                      <a:pt x="143" y="129"/>
                    </a:lnTo>
                    <a:lnTo>
                      <a:pt x="141" y="127"/>
                    </a:lnTo>
                    <a:lnTo>
                      <a:pt x="141" y="127"/>
                    </a:lnTo>
                    <a:lnTo>
                      <a:pt x="145" y="125"/>
                    </a:lnTo>
                    <a:lnTo>
                      <a:pt x="145" y="125"/>
                    </a:lnTo>
                    <a:lnTo>
                      <a:pt x="141" y="125"/>
                    </a:lnTo>
                    <a:lnTo>
                      <a:pt x="141" y="125"/>
                    </a:lnTo>
                    <a:lnTo>
                      <a:pt x="141" y="125"/>
                    </a:lnTo>
                    <a:lnTo>
                      <a:pt x="139" y="123"/>
                    </a:lnTo>
                    <a:lnTo>
                      <a:pt x="134" y="123"/>
                    </a:lnTo>
                    <a:lnTo>
                      <a:pt x="134" y="123"/>
                    </a:lnTo>
                    <a:lnTo>
                      <a:pt x="129" y="122"/>
                    </a:lnTo>
                    <a:lnTo>
                      <a:pt x="123" y="122"/>
                    </a:lnTo>
                    <a:lnTo>
                      <a:pt x="123" y="122"/>
                    </a:lnTo>
                    <a:lnTo>
                      <a:pt x="123" y="120"/>
                    </a:lnTo>
                    <a:lnTo>
                      <a:pt x="123" y="120"/>
                    </a:lnTo>
                    <a:lnTo>
                      <a:pt x="118" y="122"/>
                    </a:lnTo>
                    <a:lnTo>
                      <a:pt x="118" y="122"/>
                    </a:lnTo>
                    <a:lnTo>
                      <a:pt x="116" y="120"/>
                    </a:lnTo>
                    <a:lnTo>
                      <a:pt x="112" y="120"/>
                    </a:lnTo>
                    <a:lnTo>
                      <a:pt x="112" y="120"/>
                    </a:lnTo>
                    <a:lnTo>
                      <a:pt x="111" y="120"/>
                    </a:lnTo>
                    <a:lnTo>
                      <a:pt x="109" y="120"/>
                    </a:lnTo>
                    <a:lnTo>
                      <a:pt x="107" y="120"/>
                    </a:lnTo>
                    <a:lnTo>
                      <a:pt x="107" y="120"/>
                    </a:lnTo>
                    <a:lnTo>
                      <a:pt x="107" y="120"/>
                    </a:lnTo>
                    <a:lnTo>
                      <a:pt x="105" y="118"/>
                    </a:lnTo>
                    <a:lnTo>
                      <a:pt x="104" y="116"/>
                    </a:lnTo>
                    <a:lnTo>
                      <a:pt x="104" y="116"/>
                    </a:lnTo>
                    <a:lnTo>
                      <a:pt x="102" y="111"/>
                    </a:lnTo>
                    <a:lnTo>
                      <a:pt x="102" y="111"/>
                    </a:lnTo>
                    <a:lnTo>
                      <a:pt x="100" y="111"/>
                    </a:lnTo>
                    <a:lnTo>
                      <a:pt x="96" y="109"/>
                    </a:lnTo>
                    <a:lnTo>
                      <a:pt x="96" y="109"/>
                    </a:lnTo>
                    <a:lnTo>
                      <a:pt x="95" y="107"/>
                    </a:lnTo>
                    <a:lnTo>
                      <a:pt x="95" y="104"/>
                    </a:lnTo>
                    <a:lnTo>
                      <a:pt x="95" y="104"/>
                    </a:lnTo>
                    <a:lnTo>
                      <a:pt x="93" y="104"/>
                    </a:lnTo>
                    <a:lnTo>
                      <a:pt x="91" y="102"/>
                    </a:lnTo>
                    <a:lnTo>
                      <a:pt x="89" y="98"/>
                    </a:lnTo>
                    <a:lnTo>
                      <a:pt x="89" y="98"/>
                    </a:lnTo>
                    <a:lnTo>
                      <a:pt x="87" y="93"/>
                    </a:lnTo>
                    <a:lnTo>
                      <a:pt x="84" y="89"/>
                    </a:lnTo>
                    <a:lnTo>
                      <a:pt x="82" y="88"/>
                    </a:lnTo>
                    <a:lnTo>
                      <a:pt x="82" y="88"/>
                    </a:lnTo>
                    <a:lnTo>
                      <a:pt x="79" y="86"/>
                    </a:lnTo>
                    <a:lnTo>
                      <a:pt x="79" y="86"/>
                    </a:lnTo>
                    <a:lnTo>
                      <a:pt x="77" y="86"/>
                    </a:lnTo>
                    <a:lnTo>
                      <a:pt x="75" y="86"/>
                    </a:lnTo>
                    <a:lnTo>
                      <a:pt x="75" y="86"/>
                    </a:lnTo>
                    <a:lnTo>
                      <a:pt x="68" y="84"/>
                    </a:lnTo>
                    <a:lnTo>
                      <a:pt x="68" y="84"/>
                    </a:lnTo>
                    <a:lnTo>
                      <a:pt x="64" y="82"/>
                    </a:lnTo>
                    <a:lnTo>
                      <a:pt x="64" y="79"/>
                    </a:lnTo>
                    <a:lnTo>
                      <a:pt x="64" y="79"/>
                    </a:lnTo>
                    <a:lnTo>
                      <a:pt x="64" y="80"/>
                    </a:lnTo>
                    <a:lnTo>
                      <a:pt x="62" y="80"/>
                    </a:lnTo>
                    <a:lnTo>
                      <a:pt x="61" y="79"/>
                    </a:lnTo>
                    <a:lnTo>
                      <a:pt x="61" y="79"/>
                    </a:lnTo>
                    <a:lnTo>
                      <a:pt x="61" y="80"/>
                    </a:lnTo>
                    <a:lnTo>
                      <a:pt x="61" y="80"/>
                    </a:lnTo>
                    <a:lnTo>
                      <a:pt x="59" y="79"/>
                    </a:lnTo>
                    <a:lnTo>
                      <a:pt x="59" y="79"/>
                    </a:lnTo>
                    <a:lnTo>
                      <a:pt x="59" y="80"/>
                    </a:lnTo>
                    <a:lnTo>
                      <a:pt x="57" y="79"/>
                    </a:lnTo>
                    <a:lnTo>
                      <a:pt x="57" y="79"/>
                    </a:lnTo>
                    <a:lnTo>
                      <a:pt x="57" y="82"/>
                    </a:lnTo>
                    <a:lnTo>
                      <a:pt x="57" y="82"/>
                    </a:lnTo>
                    <a:lnTo>
                      <a:pt x="55" y="80"/>
                    </a:lnTo>
                    <a:lnTo>
                      <a:pt x="55" y="80"/>
                    </a:lnTo>
                    <a:lnTo>
                      <a:pt x="54" y="82"/>
                    </a:lnTo>
                    <a:lnTo>
                      <a:pt x="54" y="82"/>
                    </a:lnTo>
                    <a:lnTo>
                      <a:pt x="50" y="82"/>
                    </a:lnTo>
                    <a:lnTo>
                      <a:pt x="45" y="77"/>
                    </a:lnTo>
                    <a:lnTo>
                      <a:pt x="45" y="77"/>
                    </a:lnTo>
                    <a:lnTo>
                      <a:pt x="48" y="82"/>
                    </a:lnTo>
                    <a:lnTo>
                      <a:pt x="50" y="86"/>
                    </a:lnTo>
                    <a:lnTo>
                      <a:pt x="50" y="86"/>
                    </a:lnTo>
                    <a:lnTo>
                      <a:pt x="48" y="86"/>
                    </a:lnTo>
                    <a:lnTo>
                      <a:pt x="48" y="86"/>
                    </a:lnTo>
                    <a:lnTo>
                      <a:pt x="46" y="88"/>
                    </a:lnTo>
                    <a:lnTo>
                      <a:pt x="45" y="86"/>
                    </a:lnTo>
                    <a:lnTo>
                      <a:pt x="39" y="84"/>
                    </a:lnTo>
                    <a:lnTo>
                      <a:pt x="39" y="84"/>
                    </a:lnTo>
                    <a:lnTo>
                      <a:pt x="43" y="88"/>
                    </a:lnTo>
                    <a:lnTo>
                      <a:pt x="43" y="89"/>
                    </a:lnTo>
                    <a:lnTo>
                      <a:pt x="43" y="89"/>
                    </a:lnTo>
                    <a:lnTo>
                      <a:pt x="43" y="89"/>
                    </a:lnTo>
                    <a:lnTo>
                      <a:pt x="37" y="91"/>
                    </a:lnTo>
                    <a:lnTo>
                      <a:pt x="37" y="91"/>
                    </a:lnTo>
                    <a:lnTo>
                      <a:pt x="32" y="91"/>
                    </a:lnTo>
                    <a:lnTo>
                      <a:pt x="32" y="91"/>
                    </a:lnTo>
                    <a:lnTo>
                      <a:pt x="29" y="91"/>
                    </a:lnTo>
                    <a:lnTo>
                      <a:pt x="29" y="91"/>
                    </a:lnTo>
                    <a:lnTo>
                      <a:pt x="25" y="91"/>
                    </a:lnTo>
                    <a:lnTo>
                      <a:pt x="23" y="89"/>
                    </a:lnTo>
                    <a:lnTo>
                      <a:pt x="23" y="89"/>
                    </a:lnTo>
                    <a:lnTo>
                      <a:pt x="25" y="91"/>
                    </a:lnTo>
                    <a:lnTo>
                      <a:pt x="27" y="91"/>
                    </a:lnTo>
                    <a:lnTo>
                      <a:pt x="27" y="91"/>
                    </a:lnTo>
                    <a:lnTo>
                      <a:pt x="30" y="91"/>
                    </a:lnTo>
                    <a:lnTo>
                      <a:pt x="34" y="93"/>
                    </a:lnTo>
                    <a:lnTo>
                      <a:pt x="34" y="93"/>
                    </a:lnTo>
                    <a:lnTo>
                      <a:pt x="37" y="97"/>
                    </a:lnTo>
                    <a:lnTo>
                      <a:pt x="39" y="98"/>
                    </a:lnTo>
                    <a:lnTo>
                      <a:pt x="39" y="102"/>
                    </a:lnTo>
                    <a:lnTo>
                      <a:pt x="36" y="104"/>
                    </a:lnTo>
                    <a:lnTo>
                      <a:pt x="36" y="104"/>
                    </a:lnTo>
                    <a:lnTo>
                      <a:pt x="32" y="105"/>
                    </a:lnTo>
                    <a:lnTo>
                      <a:pt x="27" y="107"/>
                    </a:lnTo>
                    <a:lnTo>
                      <a:pt x="27" y="107"/>
                    </a:lnTo>
                    <a:lnTo>
                      <a:pt x="23" y="107"/>
                    </a:lnTo>
                    <a:lnTo>
                      <a:pt x="18" y="105"/>
                    </a:lnTo>
                    <a:lnTo>
                      <a:pt x="18" y="105"/>
                    </a:lnTo>
                    <a:lnTo>
                      <a:pt x="12" y="105"/>
                    </a:lnTo>
                    <a:lnTo>
                      <a:pt x="7" y="105"/>
                    </a:lnTo>
                    <a:lnTo>
                      <a:pt x="7" y="105"/>
                    </a:lnTo>
                    <a:lnTo>
                      <a:pt x="4" y="105"/>
                    </a:lnTo>
                    <a:lnTo>
                      <a:pt x="2" y="105"/>
                    </a:lnTo>
                    <a:lnTo>
                      <a:pt x="0" y="10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85" name="Freeform 3040"/>
              <p:cNvSpPr>
                <a:spLocks/>
              </p:cNvSpPr>
              <p:nvPr/>
            </p:nvSpPr>
            <p:spPr bwMode="auto">
              <a:xfrm>
                <a:off x="4953" y="2752"/>
                <a:ext cx="157" cy="129"/>
              </a:xfrm>
              <a:custGeom>
                <a:avLst/>
                <a:gdLst>
                  <a:gd name="T0" fmla="*/ 2 w 157"/>
                  <a:gd name="T1" fmla="*/ 82 h 129"/>
                  <a:gd name="T2" fmla="*/ 2 w 157"/>
                  <a:gd name="T3" fmla="*/ 64 h 129"/>
                  <a:gd name="T4" fmla="*/ 5 w 157"/>
                  <a:gd name="T5" fmla="*/ 54 h 129"/>
                  <a:gd name="T6" fmla="*/ 7 w 157"/>
                  <a:gd name="T7" fmla="*/ 4 h 129"/>
                  <a:gd name="T8" fmla="*/ 11 w 157"/>
                  <a:gd name="T9" fmla="*/ 0 h 129"/>
                  <a:gd name="T10" fmla="*/ 27 w 157"/>
                  <a:gd name="T11" fmla="*/ 7 h 129"/>
                  <a:gd name="T12" fmla="*/ 46 w 157"/>
                  <a:gd name="T13" fmla="*/ 13 h 129"/>
                  <a:gd name="T14" fmla="*/ 59 w 157"/>
                  <a:gd name="T15" fmla="*/ 20 h 129"/>
                  <a:gd name="T16" fmla="*/ 66 w 157"/>
                  <a:gd name="T17" fmla="*/ 22 h 129"/>
                  <a:gd name="T18" fmla="*/ 71 w 157"/>
                  <a:gd name="T19" fmla="*/ 27 h 129"/>
                  <a:gd name="T20" fmla="*/ 80 w 157"/>
                  <a:gd name="T21" fmla="*/ 34 h 129"/>
                  <a:gd name="T22" fmla="*/ 80 w 157"/>
                  <a:gd name="T23" fmla="*/ 43 h 129"/>
                  <a:gd name="T24" fmla="*/ 93 w 157"/>
                  <a:gd name="T25" fmla="*/ 48 h 129"/>
                  <a:gd name="T26" fmla="*/ 104 w 157"/>
                  <a:gd name="T27" fmla="*/ 54 h 129"/>
                  <a:gd name="T28" fmla="*/ 111 w 157"/>
                  <a:gd name="T29" fmla="*/ 55 h 129"/>
                  <a:gd name="T30" fmla="*/ 114 w 157"/>
                  <a:gd name="T31" fmla="*/ 64 h 129"/>
                  <a:gd name="T32" fmla="*/ 102 w 157"/>
                  <a:gd name="T33" fmla="*/ 66 h 129"/>
                  <a:gd name="T34" fmla="*/ 104 w 157"/>
                  <a:gd name="T35" fmla="*/ 77 h 129"/>
                  <a:gd name="T36" fmla="*/ 112 w 157"/>
                  <a:gd name="T37" fmla="*/ 86 h 129"/>
                  <a:gd name="T38" fmla="*/ 118 w 157"/>
                  <a:gd name="T39" fmla="*/ 95 h 129"/>
                  <a:gd name="T40" fmla="*/ 121 w 157"/>
                  <a:gd name="T41" fmla="*/ 100 h 129"/>
                  <a:gd name="T42" fmla="*/ 129 w 157"/>
                  <a:gd name="T43" fmla="*/ 102 h 129"/>
                  <a:gd name="T44" fmla="*/ 134 w 157"/>
                  <a:gd name="T45" fmla="*/ 105 h 129"/>
                  <a:gd name="T46" fmla="*/ 136 w 157"/>
                  <a:gd name="T47" fmla="*/ 111 h 129"/>
                  <a:gd name="T48" fmla="*/ 145 w 157"/>
                  <a:gd name="T49" fmla="*/ 113 h 129"/>
                  <a:gd name="T50" fmla="*/ 139 w 157"/>
                  <a:gd name="T51" fmla="*/ 114 h 129"/>
                  <a:gd name="T52" fmla="*/ 148 w 157"/>
                  <a:gd name="T53" fmla="*/ 120 h 129"/>
                  <a:gd name="T54" fmla="*/ 155 w 157"/>
                  <a:gd name="T55" fmla="*/ 123 h 129"/>
                  <a:gd name="T56" fmla="*/ 148 w 157"/>
                  <a:gd name="T57" fmla="*/ 125 h 129"/>
                  <a:gd name="T58" fmla="*/ 150 w 157"/>
                  <a:gd name="T59" fmla="*/ 129 h 129"/>
                  <a:gd name="T60" fmla="*/ 141 w 157"/>
                  <a:gd name="T61" fmla="*/ 127 h 129"/>
                  <a:gd name="T62" fmla="*/ 141 w 157"/>
                  <a:gd name="T63" fmla="*/ 125 h 129"/>
                  <a:gd name="T64" fmla="*/ 134 w 157"/>
                  <a:gd name="T65" fmla="*/ 123 h 129"/>
                  <a:gd name="T66" fmla="*/ 123 w 157"/>
                  <a:gd name="T67" fmla="*/ 122 h 129"/>
                  <a:gd name="T68" fmla="*/ 118 w 157"/>
                  <a:gd name="T69" fmla="*/ 122 h 129"/>
                  <a:gd name="T70" fmla="*/ 111 w 157"/>
                  <a:gd name="T71" fmla="*/ 120 h 129"/>
                  <a:gd name="T72" fmla="*/ 107 w 157"/>
                  <a:gd name="T73" fmla="*/ 120 h 129"/>
                  <a:gd name="T74" fmla="*/ 102 w 157"/>
                  <a:gd name="T75" fmla="*/ 111 h 129"/>
                  <a:gd name="T76" fmla="*/ 96 w 157"/>
                  <a:gd name="T77" fmla="*/ 109 h 129"/>
                  <a:gd name="T78" fmla="*/ 93 w 157"/>
                  <a:gd name="T79" fmla="*/ 104 h 129"/>
                  <a:gd name="T80" fmla="*/ 87 w 157"/>
                  <a:gd name="T81" fmla="*/ 93 h 129"/>
                  <a:gd name="T82" fmla="*/ 79 w 157"/>
                  <a:gd name="T83" fmla="*/ 86 h 129"/>
                  <a:gd name="T84" fmla="*/ 75 w 157"/>
                  <a:gd name="T85" fmla="*/ 86 h 129"/>
                  <a:gd name="T86" fmla="*/ 64 w 157"/>
                  <a:gd name="T87" fmla="*/ 79 h 129"/>
                  <a:gd name="T88" fmla="*/ 61 w 157"/>
                  <a:gd name="T89" fmla="*/ 79 h 129"/>
                  <a:gd name="T90" fmla="*/ 59 w 157"/>
                  <a:gd name="T91" fmla="*/ 79 h 129"/>
                  <a:gd name="T92" fmla="*/ 57 w 157"/>
                  <a:gd name="T93" fmla="*/ 79 h 129"/>
                  <a:gd name="T94" fmla="*/ 55 w 157"/>
                  <a:gd name="T95" fmla="*/ 80 h 129"/>
                  <a:gd name="T96" fmla="*/ 45 w 157"/>
                  <a:gd name="T97" fmla="*/ 77 h 129"/>
                  <a:gd name="T98" fmla="*/ 50 w 157"/>
                  <a:gd name="T99" fmla="*/ 86 h 129"/>
                  <a:gd name="T100" fmla="*/ 45 w 157"/>
                  <a:gd name="T101" fmla="*/ 86 h 129"/>
                  <a:gd name="T102" fmla="*/ 43 w 157"/>
                  <a:gd name="T103" fmla="*/ 89 h 129"/>
                  <a:gd name="T104" fmla="*/ 37 w 157"/>
                  <a:gd name="T105" fmla="*/ 91 h 129"/>
                  <a:gd name="T106" fmla="*/ 29 w 157"/>
                  <a:gd name="T107" fmla="*/ 91 h 129"/>
                  <a:gd name="T108" fmla="*/ 25 w 157"/>
                  <a:gd name="T109" fmla="*/ 91 h 129"/>
                  <a:gd name="T110" fmla="*/ 34 w 157"/>
                  <a:gd name="T111" fmla="*/ 93 h 129"/>
                  <a:gd name="T112" fmla="*/ 39 w 157"/>
                  <a:gd name="T113" fmla="*/ 102 h 129"/>
                  <a:gd name="T114" fmla="*/ 27 w 157"/>
                  <a:gd name="T115" fmla="*/ 107 h 129"/>
                  <a:gd name="T116" fmla="*/ 18 w 157"/>
                  <a:gd name="T117" fmla="*/ 105 h 129"/>
                  <a:gd name="T118" fmla="*/ 4 w 157"/>
                  <a:gd name="T119" fmla="*/ 10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7" h="129">
                    <a:moveTo>
                      <a:pt x="0" y="105"/>
                    </a:moveTo>
                    <a:lnTo>
                      <a:pt x="0" y="105"/>
                    </a:lnTo>
                    <a:lnTo>
                      <a:pt x="2" y="82"/>
                    </a:lnTo>
                    <a:lnTo>
                      <a:pt x="2" y="82"/>
                    </a:lnTo>
                    <a:lnTo>
                      <a:pt x="4" y="72"/>
                    </a:lnTo>
                    <a:lnTo>
                      <a:pt x="4" y="72"/>
                    </a:lnTo>
                    <a:lnTo>
                      <a:pt x="2" y="68"/>
                    </a:lnTo>
                    <a:lnTo>
                      <a:pt x="2" y="64"/>
                    </a:lnTo>
                    <a:lnTo>
                      <a:pt x="2" y="64"/>
                    </a:lnTo>
                    <a:lnTo>
                      <a:pt x="4" y="59"/>
                    </a:lnTo>
                    <a:lnTo>
                      <a:pt x="4" y="59"/>
                    </a:lnTo>
                    <a:lnTo>
                      <a:pt x="5" y="54"/>
                    </a:lnTo>
                    <a:lnTo>
                      <a:pt x="5" y="54"/>
                    </a:lnTo>
                    <a:lnTo>
                      <a:pt x="5" y="29"/>
                    </a:lnTo>
                    <a:lnTo>
                      <a:pt x="5" y="29"/>
                    </a:lnTo>
                    <a:lnTo>
                      <a:pt x="7" y="4"/>
                    </a:lnTo>
                    <a:lnTo>
                      <a:pt x="7" y="4"/>
                    </a:lnTo>
                    <a:lnTo>
                      <a:pt x="7" y="0"/>
                    </a:lnTo>
                    <a:lnTo>
                      <a:pt x="7" y="0"/>
                    </a:lnTo>
                    <a:lnTo>
                      <a:pt x="11" y="0"/>
                    </a:lnTo>
                    <a:lnTo>
                      <a:pt x="11" y="0"/>
                    </a:lnTo>
                    <a:lnTo>
                      <a:pt x="16" y="4"/>
                    </a:lnTo>
                    <a:lnTo>
                      <a:pt x="16" y="4"/>
                    </a:lnTo>
                    <a:lnTo>
                      <a:pt x="27" y="7"/>
                    </a:lnTo>
                    <a:lnTo>
                      <a:pt x="36" y="11"/>
                    </a:lnTo>
                    <a:lnTo>
                      <a:pt x="36" y="11"/>
                    </a:lnTo>
                    <a:lnTo>
                      <a:pt x="46" y="13"/>
                    </a:lnTo>
                    <a:lnTo>
                      <a:pt x="46" y="13"/>
                    </a:lnTo>
                    <a:lnTo>
                      <a:pt x="50" y="16"/>
                    </a:lnTo>
                    <a:lnTo>
                      <a:pt x="55" y="18"/>
                    </a:lnTo>
                    <a:lnTo>
                      <a:pt x="55" y="18"/>
                    </a:lnTo>
                    <a:lnTo>
                      <a:pt x="59" y="20"/>
                    </a:lnTo>
                    <a:lnTo>
                      <a:pt x="61" y="18"/>
                    </a:lnTo>
                    <a:lnTo>
                      <a:pt x="61" y="18"/>
                    </a:lnTo>
                    <a:lnTo>
                      <a:pt x="62" y="20"/>
                    </a:lnTo>
                    <a:lnTo>
                      <a:pt x="66" y="22"/>
                    </a:lnTo>
                    <a:lnTo>
                      <a:pt x="66" y="22"/>
                    </a:lnTo>
                    <a:lnTo>
                      <a:pt x="70" y="25"/>
                    </a:lnTo>
                    <a:lnTo>
                      <a:pt x="71" y="27"/>
                    </a:lnTo>
                    <a:lnTo>
                      <a:pt x="71" y="27"/>
                    </a:lnTo>
                    <a:lnTo>
                      <a:pt x="75" y="29"/>
                    </a:lnTo>
                    <a:lnTo>
                      <a:pt x="79" y="30"/>
                    </a:lnTo>
                    <a:lnTo>
                      <a:pt x="79" y="30"/>
                    </a:lnTo>
                    <a:lnTo>
                      <a:pt x="80" y="34"/>
                    </a:lnTo>
                    <a:lnTo>
                      <a:pt x="82" y="38"/>
                    </a:lnTo>
                    <a:lnTo>
                      <a:pt x="82" y="38"/>
                    </a:lnTo>
                    <a:lnTo>
                      <a:pt x="82" y="41"/>
                    </a:lnTo>
                    <a:lnTo>
                      <a:pt x="80" y="43"/>
                    </a:lnTo>
                    <a:lnTo>
                      <a:pt x="80" y="43"/>
                    </a:lnTo>
                    <a:lnTo>
                      <a:pt x="82" y="45"/>
                    </a:lnTo>
                    <a:lnTo>
                      <a:pt x="86" y="47"/>
                    </a:lnTo>
                    <a:lnTo>
                      <a:pt x="93" y="48"/>
                    </a:lnTo>
                    <a:lnTo>
                      <a:pt x="93" y="48"/>
                    </a:lnTo>
                    <a:lnTo>
                      <a:pt x="100" y="52"/>
                    </a:lnTo>
                    <a:lnTo>
                      <a:pt x="100" y="52"/>
                    </a:lnTo>
                    <a:lnTo>
                      <a:pt x="104" y="54"/>
                    </a:lnTo>
                    <a:lnTo>
                      <a:pt x="104" y="54"/>
                    </a:lnTo>
                    <a:lnTo>
                      <a:pt x="107" y="54"/>
                    </a:lnTo>
                    <a:lnTo>
                      <a:pt x="107" y="54"/>
                    </a:lnTo>
                    <a:lnTo>
                      <a:pt x="111" y="55"/>
                    </a:lnTo>
                    <a:lnTo>
                      <a:pt x="112" y="59"/>
                    </a:lnTo>
                    <a:lnTo>
                      <a:pt x="114" y="63"/>
                    </a:lnTo>
                    <a:lnTo>
                      <a:pt x="114" y="64"/>
                    </a:lnTo>
                    <a:lnTo>
                      <a:pt x="114" y="64"/>
                    </a:lnTo>
                    <a:lnTo>
                      <a:pt x="111" y="66"/>
                    </a:lnTo>
                    <a:lnTo>
                      <a:pt x="107" y="66"/>
                    </a:lnTo>
                    <a:lnTo>
                      <a:pt x="102" y="66"/>
                    </a:lnTo>
                    <a:lnTo>
                      <a:pt x="102" y="66"/>
                    </a:lnTo>
                    <a:lnTo>
                      <a:pt x="100" y="66"/>
                    </a:lnTo>
                    <a:lnTo>
                      <a:pt x="100" y="66"/>
                    </a:lnTo>
                    <a:lnTo>
                      <a:pt x="100" y="70"/>
                    </a:lnTo>
                    <a:lnTo>
                      <a:pt x="104" y="77"/>
                    </a:lnTo>
                    <a:lnTo>
                      <a:pt x="104" y="77"/>
                    </a:lnTo>
                    <a:lnTo>
                      <a:pt x="109" y="84"/>
                    </a:lnTo>
                    <a:lnTo>
                      <a:pt x="109" y="84"/>
                    </a:lnTo>
                    <a:lnTo>
                      <a:pt x="112" y="86"/>
                    </a:lnTo>
                    <a:lnTo>
                      <a:pt x="116" y="86"/>
                    </a:lnTo>
                    <a:lnTo>
                      <a:pt x="116" y="86"/>
                    </a:lnTo>
                    <a:lnTo>
                      <a:pt x="118" y="95"/>
                    </a:lnTo>
                    <a:lnTo>
                      <a:pt x="118" y="95"/>
                    </a:lnTo>
                    <a:lnTo>
                      <a:pt x="120" y="97"/>
                    </a:lnTo>
                    <a:lnTo>
                      <a:pt x="120" y="97"/>
                    </a:lnTo>
                    <a:lnTo>
                      <a:pt x="121" y="98"/>
                    </a:lnTo>
                    <a:lnTo>
                      <a:pt x="121" y="100"/>
                    </a:lnTo>
                    <a:lnTo>
                      <a:pt x="121" y="100"/>
                    </a:lnTo>
                    <a:lnTo>
                      <a:pt x="123" y="102"/>
                    </a:lnTo>
                    <a:lnTo>
                      <a:pt x="125" y="104"/>
                    </a:lnTo>
                    <a:lnTo>
                      <a:pt x="129" y="102"/>
                    </a:lnTo>
                    <a:lnTo>
                      <a:pt x="129" y="102"/>
                    </a:lnTo>
                    <a:lnTo>
                      <a:pt x="132" y="102"/>
                    </a:lnTo>
                    <a:lnTo>
                      <a:pt x="134" y="104"/>
                    </a:lnTo>
                    <a:lnTo>
                      <a:pt x="134" y="105"/>
                    </a:lnTo>
                    <a:lnTo>
                      <a:pt x="134" y="105"/>
                    </a:lnTo>
                    <a:lnTo>
                      <a:pt x="132" y="107"/>
                    </a:lnTo>
                    <a:lnTo>
                      <a:pt x="132" y="111"/>
                    </a:lnTo>
                    <a:lnTo>
                      <a:pt x="136" y="111"/>
                    </a:lnTo>
                    <a:lnTo>
                      <a:pt x="139" y="111"/>
                    </a:lnTo>
                    <a:lnTo>
                      <a:pt x="139" y="111"/>
                    </a:lnTo>
                    <a:lnTo>
                      <a:pt x="143" y="111"/>
                    </a:lnTo>
                    <a:lnTo>
                      <a:pt x="145" y="113"/>
                    </a:lnTo>
                    <a:lnTo>
                      <a:pt x="145" y="113"/>
                    </a:lnTo>
                    <a:lnTo>
                      <a:pt x="143" y="114"/>
                    </a:lnTo>
                    <a:lnTo>
                      <a:pt x="139" y="114"/>
                    </a:lnTo>
                    <a:lnTo>
                      <a:pt x="139" y="114"/>
                    </a:lnTo>
                    <a:lnTo>
                      <a:pt x="141" y="118"/>
                    </a:lnTo>
                    <a:lnTo>
                      <a:pt x="141" y="118"/>
                    </a:lnTo>
                    <a:lnTo>
                      <a:pt x="148" y="120"/>
                    </a:lnTo>
                    <a:lnTo>
                      <a:pt x="148" y="120"/>
                    </a:lnTo>
                    <a:lnTo>
                      <a:pt x="152" y="122"/>
                    </a:lnTo>
                    <a:lnTo>
                      <a:pt x="157" y="122"/>
                    </a:lnTo>
                    <a:lnTo>
                      <a:pt x="157" y="122"/>
                    </a:lnTo>
                    <a:lnTo>
                      <a:pt x="155" y="123"/>
                    </a:lnTo>
                    <a:lnTo>
                      <a:pt x="152" y="123"/>
                    </a:lnTo>
                    <a:lnTo>
                      <a:pt x="152" y="123"/>
                    </a:lnTo>
                    <a:lnTo>
                      <a:pt x="150" y="123"/>
                    </a:lnTo>
                    <a:lnTo>
                      <a:pt x="148" y="125"/>
                    </a:lnTo>
                    <a:lnTo>
                      <a:pt x="148" y="125"/>
                    </a:lnTo>
                    <a:lnTo>
                      <a:pt x="154" y="125"/>
                    </a:lnTo>
                    <a:lnTo>
                      <a:pt x="154" y="127"/>
                    </a:lnTo>
                    <a:lnTo>
                      <a:pt x="150" y="129"/>
                    </a:lnTo>
                    <a:lnTo>
                      <a:pt x="150" y="129"/>
                    </a:lnTo>
                    <a:lnTo>
                      <a:pt x="145" y="129"/>
                    </a:lnTo>
                    <a:lnTo>
                      <a:pt x="143" y="129"/>
                    </a:lnTo>
                    <a:lnTo>
                      <a:pt x="141" y="127"/>
                    </a:lnTo>
                    <a:lnTo>
                      <a:pt x="141" y="127"/>
                    </a:lnTo>
                    <a:lnTo>
                      <a:pt x="145" y="125"/>
                    </a:lnTo>
                    <a:lnTo>
                      <a:pt x="145" y="125"/>
                    </a:lnTo>
                    <a:lnTo>
                      <a:pt x="141" y="125"/>
                    </a:lnTo>
                    <a:lnTo>
                      <a:pt x="141" y="125"/>
                    </a:lnTo>
                    <a:lnTo>
                      <a:pt x="141" y="125"/>
                    </a:lnTo>
                    <a:lnTo>
                      <a:pt x="139" y="123"/>
                    </a:lnTo>
                    <a:lnTo>
                      <a:pt x="134" y="123"/>
                    </a:lnTo>
                    <a:lnTo>
                      <a:pt x="134" y="123"/>
                    </a:lnTo>
                    <a:lnTo>
                      <a:pt x="129" y="122"/>
                    </a:lnTo>
                    <a:lnTo>
                      <a:pt x="123" y="122"/>
                    </a:lnTo>
                    <a:lnTo>
                      <a:pt x="123" y="122"/>
                    </a:lnTo>
                    <a:lnTo>
                      <a:pt x="123" y="120"/>
                    </a:lnTo>
                    <a:lnTo>
                      <a:pt x="123" y="120"/>
                    </a:lnTo>
                    <a:lnTo>
                      <a:pt x="118" y="122"/>
                    </a:lnTo>
                    <a:lnTo>
                      <a:pt x="118" y="122"/>
                    </a:lnTo>
                    <a:lnTo>
                      <a:pt x="116" y="120"/>
                    </a:lnTo>
                    <a:lnTo>
                      <a:pt x="112" y="120"/>
                    </a:lnTo>
                    <a:lnTo>
                      <a:pt x="112" y="120"/>
                    </a:lnTo>
                    <a:lnTo>
                      <a:pt x="111" y="120"/>
                    </a:lnTo>
                    <a:lnTo>
                      <a:pt x="109" y="120"/>
                    </a:lnTo>
                    <a:lnTo>
                      <a:pt x="107" y="120"/>
                    </a:lnTo>
                    <a:lnTo>
                      <a:pt x="107" y="120"/>
                    </a:lnTo>
                    <a:lnTo>
                      <a:pt x="107" y="120"/>
                    </a:lnTo>
                    <a:lnTo>
                      <a:pt x="105" y="118"/>
                    </a:lnTo>
                    <a:lnTo>
                      <a:pt x="104" y="116"/>
                    </a:lnTo>
                    <a:lnTo>
                      <a:pt x="104" y="116"/>
                    </a:lnTo>
                    <a:lnTo>
                      <a:pt x="102" y="111"/>
                    </a:lnTo>
                    <a:lnTo>
                      <a:pt x="102" y="111"/>
                    </a:lnTo>
                    <a:lnTo>
                      <a:pt x="100" y="111"/>
                    </a:lnTo>
                    <a:lnTo>
                      <a:pt x="96" y="109"/>
                    </a:lnTo>
                    <a:lnTo>
                      <a:pt x="96" y="109"/>
                    </a:lnTo>
                    <a:lnTo>
                      <a:pt x="95" y="107"/>
                    </a:lnTo>
                    <a:lnTo>
                      <a:pt x="95" y="104"/>
                    </a:lnTo>
                    <a:lnTo>
                      <a:pt x="95" y="104"/>
                    </a:lnTo>
                    <a:lnTo>
                      <a:pt x="93" y="104"/>
                    </a:lnTo>
                    <a:lnTo>
                      <a:pt x="91" y="102"/>
                    </a:lnTo>
                    <a:lnTo>
                      <a:pt x="89" y="98"/>
                    </a:lnTo>
                    <a:lnTo>
                      <a:pt x="89" y="98"/>
                    </a:lnTo>
                    <a:lnTo>
                      <a:pt x="87" y="93"/>
                    </a:lnTo>
                    <a:lnTo>
                      <a:pt x="84" y="89"/>
                    </a:lnTo>
                    <a:lnTo>
                      <a:pt x="82" y="88"/>
                    </a:lnTo>
                    <a:lnTo>
                      <a:pt x="82" y="88"/>
                    </a:lnTo>
                    <a:lnTo>
                      <a:pt x="79" y="86"/>
                    </a:lnTo>
                    <a:lnTo>
                      <a:pt x="79" y="86"/>
                    </a:lnTo>
                    <a:lnTo>
                      <a:pt x="77" y="86"/>
                    </a:lnTo>
                    <a:lnTo>
                      <a:pt x="75" y="86"/>
                    </a:lnTo>
                    <a:lnTo>
                      <a:pt x="75" y="86"/>
                    </a:lnTo>
                    <a:lnTo>
                      <a:pt x="68" y="84"/>
                    </a:lnTo>
                    <a:lnTo>
                      <a:pt x="68" y="84"/>
                    </a:lnTo>
                    <a:lnTo>
                      <a:pt x="64" y="82"/>
                    </a:lnTo>
                    <a:lnTo>
                      <a:pt x="64" y="79"/>
                    </a:lnTo>
                    <a:lnTo>
                      <a:pt x="64" y="79"/>
                    </a:lnTo>
                    <a:lnTo>
                      <a:pt x="64" y="80"/>
                    </a:lnTo>
                    <a:lnTo>
                      <a:pt x="62" y="80"/>
                    </a:lnTo>
                    <a:lnTo>
                      <a:pt x="61" y="79"/>
                    </a:lnTo>
                    <a:lnTo>
                      <a:pt x="61" y="79"/>
                    </a:lnTo>
                    <a:lnTo>
                      <a:pt x="61" y="80"/>
                    </a:lnTo>
                    <a:lnTo>
                      <a:pt x="61" y="80"/>
                    </a:lnTo>
                    <a:lnTo>
                      <a:pt x="59" y="79"/>
                    </a:lnTo>
                    <a:lnTo>
                      <a:pt x="59" y="79"/>
                    </a:lnTo>
                    <a:lnTo>
                      <a:pt x="59" y="80"/>
                    </a:lnTo>
                    <a:lnTo>
                      <a:pt x="57" y="79"/>
                    </a:lnTo>
                    <a:lnTo>
                      <a:pt x="57" y="79"/>
                    </a:lnTo>
                    <a:lnTo>
                      <a:pt x="57" y="82"/>
                    </a:lnTo>
                    <a:lnTo>
                      <a:pt x="57" y="82"/>
                    </a:lnTo>
                    <a:lnTo>
                      <a:pt x="55" y="80"/>
                    </a:lnTo>
                    <a:lnTo>
                      <a:pt x="55" y="80"/>
                    </a:lnTo>
                    <a:lnTo>
                      <a:pt x="54" y="82"/>
                    </a:lnTo>
                    <a:lnTo>
                      <a:pt x="54" y="82"/>
                    </a:lnTo>
                    <a:lnTo>
                      <a:pt x="50" y="82"/>
                    </a:lnTo>
                    <a:lnTo>
                      <a:pt x="45" y="77"/>
                    </a:lnTo>
                    <a:lnTo>
                      <a:pt x="45" y="77"/>
                    </a:lnTo>
                    <a:lnTo>
                      <a:pt x="48" y="82"/>
                    </a:lnTo>
                    <a:lnTo>
                      <a:pt x="50" y="86"/>
                    </a:lnTo>
                    <a:lnTo>
                      <a:pt x="50" y="86"/>
                    </a:lnTo>
                    <a:lnTo>
                      <a:pt x="48" y="86"/>
                    </a:lnTo>
                    <a:lnTo>
                      <a:pt x="48" y="86"/>
                    </a:lnTo>
                    <a:lnTo>
                      <a:pt x="46" y="88"/>
                    </a:lnTo>
                    <a:lnTo>
                      <a:pt x="45" y="86"/>
                    </a:lnTo>
                    <a:lnTo>
                      <a:pt x="39" y="84"/>
                    </a:lnTo>
                    <a:lnTo>
                      <a:pt x="39" y="84"/>
                    </a:lnTo>
                    <a:lnTo>
                      <a:pt x="43" y="88"/>
                    </a:lnTo>
                    <a:lnTo>
                      <a:pt x="43" y="89"/>
                    </a:lnTo>
                    <a:lnTo>
                      <a:pt x="43" y="89"/>
                    </a:lnTo>
                    <a:lnTo>
                      <a:pt x="43" y="89"/>
                    </a:lnTo>
                    <a:lnTo>
                      <a:pt x="37" y="91"/>
                    </a:lnTo>
                    <a:lnTo>
                      <a:pt x="37" y="91"/>
                    </a:lnTo>
                    <a:lnTo>
                      <a:pt x="32" y="91"/>
                    </a:lnTo>
                    <a:lnTo>
                      <a:pt x="32" y="91"/>
                    </a:lnTo>
                    <a:lnTo>
                      <a:pt x="29" y="91"/>
                    </a:lnTo>
                    <a:lnTo>
                      <a:pt x="29" y="91"/>
                    </a:lnTo>
                    <a:lnTo>
                      <a:pt x="25" y="91"/>
                    </a:lnTo>
                    <a:lnTo>
                      <a:pt x="23" y="89"/>
                    </a:lnTo>
                    <a:lnTo>
                      <a:pt x="23" y="89"/>
                    </a:lnTo>
                    <a:lnTo>
                      <a:pt x="25" y="91"/>
                    </a:lnTo>
                    <a:lnTo>
                      <a:pt x="27" y="91"/>
                    </a:lnTo>
                    <a:lnTo>
                      <a:pt x="27" y="91"/>
                    </a:lnTo>
                    <a:lnTo>
                      <a:pt x="30" y="91"/>
                    </a:lnTo>
                    <a:lnTo>
                      <a:pt x="34" y="93"/>
                    </a:lnTo>
                    <a:lnTo>
                      <a:pt x="34" y="93"/>
                    </a:lnTo>
                    <a:lnTo>
                      <a:pt x="37" y="97"/>
                    </a:lnTo>
                    <a:lnTo>
                      <a:pt x="39" y="98"/>
                    </a:lnTo>
                    <a:lnTo>
                      <a:pt x="39" y="102"/>
                    </a:lnTo>
                    <a:lnTo>
                      <a:pt x="36" y="104"/>
                    </a:lnTo>
                    <a:lnTo>
                      <a:pt x="36" y="104"/>
                    </a:lnTo>
                    <a:lnTo>
                      <a:pt x="32" y="105"/>
                    </a:lnTo>
                    <a:lnTo>
                      <a:pt x="27" y="107"/>
                    </a:lnTo>
                    <a:lnTo>
                      <a:pt x="27" y="107"/>
                    </a:lnTo>
                    <a:lnTo>
                      <a:pt x="23" y="107"/>
                    </a:lnTo>
                    <a:lnTo>
                      <a:pt x="18" y="105"/>
                    </a:lnTo>
                    <a:lnTo>
                      <a:pt x="18" y="105"/>
                    </a:lnTo>
                    <a:lnTo>
                      <a:pt x="12" y="105"/>
                    </a:lnTo>
                    <a:lnTo>
                      <a:pt x="7" y="105"/>
                    </a:lnTo>
                    <a:lnTo>
                      <a:pt x="7" y="105"/>
                    </a:lnTo>
                    <a:lnTo>
                      <a:pt x="4" y="105"/>
                    </a:lnTo>
                    <a:lnTo>
                      <a:pt x="2" y="105"/>
                    </a:lnTo>
                    <a:lnTo>
                      <a:pt x="0" y="10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86" name="Freeform 3041"/>
              <p:cNvSpPr>
                <a:spLocks/>
              </p:cNvSpPr>
              <p:nvPr/>
            </p:nvSpPr>
            <p:spPr bwMode="auto">
              <a:xfrm>
                <a:off x="5251" y="2857"/>
                <a:ext cx="20" cy="11"/>
              </a:xfrm>
              <a:custGeom>
                <a:avLst/>
                <a:gdLst>
                  <a:gd name="T0" fmla="*/ 5 w 20"/>
                  <a:gd name="T1" fmla="*/ 9 h 11"/>
                  <a:gd name="T2" fmla="*/ 5 w 20"/>
                  <a:gd name="T3" fmla="*/ 9 h 11"/>
                  <a:gd name="T4" fmla="*/ 9 w 20"/>
                  <a:gd name="T5" fmla="*/ 9 h 11"/>
                  <a:gd name="T6" fmla="*/ 13 w 20"/>
                  <a:gd name="T7" fmla="*/ 9 h 11"/>
                  <a:gd name="T8" fmla="*/ 13 w 20"/>
                  <a:gd name="T9" fmla="*/ 9 h 11"/>
                  <a:gd name="T10" fmla="*/ 16 w 20"/>
                  <a:gd name="T11" fmla="*/ 11 h 11"/>
                  <a:gd name="T12" fmla="*/ 18 w 20"/>
                  <a:gd name="T13" fmla="*/ 11 h 11"/>
                  <a:gd name="T14" fmla="*/ 20 w 20"/>
                  <a:gd name="T15" fmla="*/ 9 h 11"/>
                  <a:gd name="T16" fmla="*/ 20 w 20"/>
                  <a:gd name="T17" fmla="*/ 9 h 11"/>
                  <a:gd name="T18" fmla="*/ 18 w 20"/>
                  <a:gd name="T19" fmla="*/ 8 h 11"/>
                  <a:gd name="T20" fmla="*/ 16 w 20"/>
                  <a:gd name="T21" fmla="*/ 6 h 11"/>
                  <a:gd name="T22" fmla="*/ 13 w 20"/>
                  <a:gd name="T23" fmla="*/ 2 h 11"/>
                  <a:gd name="T24" fmla="*/ 13 w 20"/>
                  <a:gd name="T25" fmla="*/ 2 h 11"/>
                  <a:gd name="T26" fmla="*/ 7 w 20"/>
                  <a:gd name="T27" fmla="*/ 4 h 11"/>
                  <a:gd name="T28" fmla="*/ 5 w 20"/>
                  <a:gd name="T29" fmla="*/ 2 h 11"/>
                  <a:gd name="T30" fmla="*/ 4 w 20"/>
                  <a:gd name="T31" fmla="*/ 2 h 11"/>
                  <a:gd name="T32" fmla="*/ 4 w 20"/>
                  <a:gd name="T33" fmla="*/ 2 h 11"/>
                  <a:gd name="T34" fmla="*/ 2 w 20"/>
                  <a:gd name="T35" fmla="*/ 0 h 11"/>
                  <a:gd name="T36" fmla="*/ 0 w 20"/>
                  <a:gd name="T37" fmla="*/ 2 h 11"/>
                  <a:gd name="T38" fmla="*/ 0 w 20"/>
                  <a:gd name="T39" fmla="*/ 2 h 11"/>
                  <a:gd name="T40" fmla="*/ 0 w 20"/>
                  <a:gd name="T41" fmla="*/ 4 h 11"/>
                  <a:gd name="T42" fmla="*/ 2 w 20"/>
                  <a:gd name="T43" fmla="*/ 6 h 11"/>
                  <a:gd name="T44" fmla="*/ 5 w 20"/>
                  <a:gd name="T45"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11">
                    <a:moveTo>
                      <a:pt x="5" y="9"/>
                    </a:moveTo>
                    <a:lnTo>
                      <a:pt x="5" y="9"/>
                    </a:lnTo>
                    <a:lnTo>
                      <a:pt x="9" y="9"/>
                    </a:lnTo>
                    <a:lnTo>
                      <a:pt x="13" y="9"/>
                    </a:lnTo>
                    <a:lnTo>
                      <a:pt x="13" y="9"/>
                    </a:lnTo>
                    <a:lnTo>
                      <a:pt x="16" y="11"/>
                    </a:lnTo>
                    <a:lnTo>
                      <a:pt x="18" y="11"/>
                    </a:lnTo>
                    <a:lnTo>
                      <a:pt x="20" y="9"/>
                    </a:lnTo>
                    <a:lnTo>
                      <a:pt x="20" y="9"/>
                    </a:lnTo>
                    <a:lnTo>
                      <a:pt x="18" y="8"/>
                    </a:lnTo>
                    <a:lnTo>
                      <a:pt x="16" y="6"/>
                    </a:lnTo>
                    <a:lnTo>
                      <a:pt x="13" y="2"/>
                    </a:lnTo>
                    <a:lnTo>
                      <a:pt x="13" y="2"/>
                    </a:lnTo>
                    <a:lnTo>
                      <a:pt x="7" y="4"/>
                    </a:lnTo>
                    <a:lnTo>
                      <a:pt x="5" y="2"/>
                    </a:lnTo>
                    <a:lnTo>
                      <a:pt x="4" y="2"/>
                    </a:lnTo>
                    <a:lnTo>
                      <a:pt x="4" y="2"/>
                    </a:lnTo>
                    <a:lnTo>
                      <a:pt x="2" y="0"/>
                    </a:lnTo>
                    <a:lnTo>
                      <a:pt x="0" y="2"/>
                    </a:lnTo>
                    <a:lnTo>
                      <a:pt x="0" y="2"/>
                    </a:lnTo>
                    <a:lnTo>
                      <a:pt x="0" y="4"/>
                    </a:lnTo>
                    <a:lnTo>
                      <a:pt x="2" y="6"/>
                    </a:lnTo>
                    <a:lnTo>
                      <a:pt x="5"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87" name="Freeform 3042"/>
              <p:cNvSpPr>
                <a:spLocks/>
              </p:cNvSpPr>
              <p:nvPr/>
            </p:nvSpPr>
            <p:spPr bwMode="auto">
              <a:xfrm>
                <a:off x="5251" y="2857"/>
                <a:ext cx="20" cy="11"/>
              </a:xfrm>
              <a:custGeom>
                <a:avLst/>
                <a:gdLst>
                  <a:gd name="T0" fmla="*/ 5 w 20"/>
                  <a:gd name="T1" fmla="*/ 9 h 11"/>
                  <a:gd name="T2" fmla="*/ 5 w 20"/>
                  <a:gd name="T3" fmla="*/ 9 h 11"/>
                  <a:gd name="T4" fmla="*/ 9 w 20"/>
                  <a:gd name="T5" fmla="*/ 9 h 11"/>
                  <a:gd name="T6" fmla="*/ 13 w 20"/>
                  <a:gd name="T7" fmla="*/ 9 h 11"/>
                  <a:gd name="T8" fmla="*/ 13 w 20"/>
                  <a:gd name="T9" fmla="*/ 9 h 11"/>
                  <a:gd name="T10" fmla="*/ 16 w 20"/>
                  <a:gd name="T11" fmla="*/ 11 h 11"/>
                  <a:gd name="T12" fmla="*/ 18 w 20"/>
                  <a:gd name="T13" fmla="*/ 11 h 11"/>
                  <a:gd name="T14" fmla="*/ 20 w 20"/>
                  <a:gd name="T15" fmla="*/ 9 h 11"/>
                  <a:gd name="T16" fmla="*/ 20 w 20"/>
                  <a:gd name="T17" fmla="*/ 9 h 11"/>
                  <a:gd name="T18" fmla="*/ 18 w 20"/>
                  <a:gd name="T19" fmla="*/ 8 h 11"/>
                  <a:gd name="T20" fmla="*/ 16 w 20"/>
                  <a:gd name="T21" fmla="*/ 6 h 11"/>
                  <a:gd name="T22" fmla="*/ 13 w 20"/>
                  <a:gd name="T23" fmla="*/ 2 h 11"/>
                  <a:gd name="T24" fmla="*/ 13 w 20"/>
                  <a:gd name="T25" fmla="*/ 2 h 11"/>
                  <a:gd name="T26" fmla="*/ 7 w 20"/>
                  <a:gd name="T27" fmla="*/ 4 h 11"/>
                  <a:gd name="T28" fmla="*/ 5 w 20"/>
                  <a:gd name="T29" fmla="*/ 2 h 11"/>
                  <a:gd name="T30" fmla="*/ 4 w 20"/>
                  <a:gd name="T31" fmla="*/ 2 h 11"/>
                  <a:gd name="T32" fmla="*/ 4 w 20"/>
                  <a:gd name="T33" fmla="*/ 2 h 11"/>
                  <a:gd name="T34" fmla="*/ 2 w 20"/>
                  <a:gd name="T35" fmla="*/ 0 h 11"/>
                  <a:gd name="T36" fmla="*/ 0 w 20"/>
                  <a:gd name="T37" fmla="*/ 2 h 11"/>
                  <a:gd name="T38" fmla="*/ 0 w 20"/>
                  <a:gd name="T39" fmla="*/ 2 h 11"/>
                  <a:gd name="T40" fmla="*/ 0 w 20"/>
                  <a:gd name="T41" fmla="*/ 4 h 11"/>
                  <a:gd name="T42" fmla="*/ 2 w 20"/>
                  <a:gd name="T43" fmla="*/ 6 h 11"/>
                  <a:gd name="T44" fmla="*/ 5 w 20"/>
                  <a:gd name="T45" fmla="*/ 9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11">
                    <a:moveTo>
                      <a:pt x="5" y="9"/>
                    </a:moveTo>
                    <a:lnTo>
                      <a:pt x="5" y="9"/>
                    </a:lnTo>
                    <a:lnTo>
                      <a:pt x="9" y="9"/>
                    </a:lnTo>
                    <a:lnTo>
                      <a:pt x="13" y="9"/>
                    </a:lnTo>
                    <a:lnTo>
                      <a:pt x="13" y="9"/>
                    </a:lnTo>
                    <a:lnTo>
                      <a:pt x="16" y="11"/>
                    </a:lnTo>
                    <a:lnTo>
                      <a:pt x="18" y="11"/>
                    </a:lnTo>
                    <a:lnTo>
                      <a:pt x="20" y="9"/>
                    </a:lnTo>
                    <a:lnTo>
                      <a:pt x="20" y="9"/>
                    </a:lnTo>
                    <a:lnTo>
                      <a:pt x="18" y="8"/>
                    </a:lnTo>
                    <a:lnTo>
                      <a:pt x="16" y="6"/>
                    </a:lnTo>
                    <a:lnTo>
                      <a:pt x="13" y="2"/>
                    </a:lnTo>
                    <a:lnTo>
                      <a:pt x="13" y="2"/>
                    </a:lnTo>
                    <a:lnTo>
                      <a:pt x="7" y="4"/>
                    </a:lnTo>
                    <a:lnTo>
                      <a:pt x="5" y="2"/>
                    </a:lnTo>
                    <a:lnTo>
                      <a:pt x="4" y="2"/>
                    </a:lnTo>
                    <a:lnTo>
                      <a:pt x="4" y="2"/>
                    </a:lnTo>
                    <a:lnTo>
                      <a:pt x="2" y="0"/>
                    </a:lnTo>
                    <a:lnTo>
                      <a:pt x="0" y="2"/>
                    </a:lnTo>
                    <a:lnTo>
                      <a:pt x="0" y="2"/>
                    </a:lnTo>
                    <a:lnTo>
                      <a:pt x="0" y="4"/>
                    </a:lnTo>
                    <a:lnTo>
                      <a:pt x="2" y="6"/>
                    </a:lnTo>
                    <a:lnTo>
                      <a:pt x="5"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88" name="Freeform 3043"/>
              <p:cNvSpPr>
                <a:spLocks/>
              </p:cNvSpPr>
              <p:nvPr/>
            </p:nvSpPr>
            <p:spPr bwMode="auto">
              <a:xfrm>
                <a:off x="5269" y="2841"/>
                <a:ext cx="11" cy="22"/>
              </a:xfrm>
              <a:custGeom>
                <a:avLst/>
                <a:gdLst>
                  <a:gd name="T0" fmla="*/ 4 w 11"/>
                  <a:gd name="T1" fmla="*/ 15 h 22"/>
                  <a:gd name="T2" fmla="*/ 4 w 11"/>
                  <a:gd name="T3" fmla="*/ 15 h 22"/>
                  <a:gd name="T4" fmla="*/ 7 w 11"/>
                  <a:gd name="T5" fmla="*/ 18 h 22"/>
                  <a:gd name="T6" fmla="*/ 11 w 11"/>
                  <a:gd name="T7" fmla="*/ 22 h 22"/>
                  <a:gd name="T8" fmla="*/ 11 w 11"/>
                  <a:gd name="T9" fmla="*/ 22 h 22"/>
                  <a:gd name="T10" fmla="*/ 11 w 11"/>
                  <a:gd name="T11" fmla="*/ 18 h 22"/>
                  <a:gd name="T12" fmla="*/ 9 w 11"/>
                  <a:gd name="T13" fmla="*/ 13 h 22"/>
                  <a:gd name="T14" fmla="*/ 9 w 11"/>
                  <a:gd name="T15" fmla="*/ 13 h 22"/>
                  <a:gd name="T16" fmla="*/ 5 w 11"/>
                  <a:gd name="T17" fmla="*/ 9 h 22"/>
                  <a:gd name="T18" fmla="*/ 5 w 11"/>
                  <a:gd name="T19" fmla="*/ 9 h 22"/>
                  <a:gd name="T20" fmla="*/ 5 w 11"/>
                  <a:gd name="T21" fmla="*/ 8 h 22"/>
                  <a:gd name="T22" fmla="*/ 5 w 11"/>
                  <a:gd name="T23" fmla="*/ 8 h 22"/>
                  <a:gd name="T24" fmla="*/ 5 w 11"/>
                  <a:gd name="T25" fmla="*/ 6 h 22"/>
                  <a:gd name="T26" fmla="*/ 5 w 11"/>
                  <a:gd name="T27" fmla="*/ 6 h 22"/>
                  <a:gd name="T28" fmla="*/ 4 w 11"/>
                  <a:gd name="T29" fmla="*/ 2 h 22"/>
                  <a:gd name="T30" fmla="*/ 4 w 11"/>
                  <a:gd name="T31" fmla="*/ 2 h 22"/>
                  <a:gd name="T32" fmla="*/ 2 w 11"/>
                  <a:gd name="T33" fmla="*/ 0 h 22"/>
                  <a:gd name="T34" fmla="*/ 0 w 11"/>
                  <a:gd name="T35" fmla="*/ 0 h 22"/>
                  <a:gd name="T36" fmla="*/ 0 w 11"/>
                  <a:gd name="T37" fmla="*/ 2 h 22"/>
                  <a:gd name="T38" fmla="*/ 0 w 11"/>
                  <a:gd name="T39" fmla="*/ 2 h 22"/>
                  <a:gd name="T40" fmla="*/ 2 w 11"/>
                  <a:gd name="T41" fmla="*/ 8 h 22"/>
                  <a:gd name="T42" fmla="*/ 4 w 11"/>
                  <a:gd name="T43" fmla="*/ 1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22">
                    <a:moveTo>
                      <a:pt x="4" y="15"/>
                    </a:moveTo>
                    <a:lnTo>
                      <a:pt x="4" y="15"/>
                    </a:lnTo>
                    <a:lnTo>
                      <a:pt x="7" y="18"/>
                    </a:lnTo>
                    <a:lnTo>
                      <a:pt x="11" y="22"/>
                    </a:lnTo>
                    <a:lnTo>
                      <a:pt x="11" y="22"/>
                    </a:lnTo>
                    <a:lnTo>
                      <a:pt x="11" y="18"/>
                    </a:lnTo>
                    <a:lnTo>
                      <a:pt x="9" y="13"/>
                    </a:lnTo>
                    <a:lnTo>
                      <a:pt x="9" y="13"/>
                    </a:lnTo>
                    <a:lnTo>
                      <a:pt x="5" y="9"/>
                    </a:lnTo>
                    <a:lnTo>
                      <a:pt x="5" y="9"/>
                    </a:lnTo>
                    <a:lnTo>
                      <a:pt x="5" y="8"/>
                    </a:lnTo>
                    <a:lnTo>
                      <a:pt x="5" y="8"/>
                    </a:lnTo>
                    <a:lnTo>
                      <a:pt x="5" y="6"/>
                    </a:lnTo>
                    <a:lnTo>
                      <a:pt x="5" y="6"/>
                    </a:lnTo>
                    <a:lnTo>
                      <a:pt x="4" y="2"/>
                    </a:lnTo>
                    <a:lnTo>
                      <a:pt x="4" y="2"/>
                    </a:lnTo>
                    <a:lnTo>
                      <a:pt x="2" y="0"/>
                    </a:lnTo>
                    <a:lnTo>
                      <a:pt x="0" y="0"/>
                    </a:lnTo>
                    <a:lnTo>
                      <a:pt x="0" y="2"/>
                    </a:lnTo>
                    <a:lnTo>
                      <a:pt x="0" y="2"/>
                    </a:lnTo>
                    <a:lnTo>
                      <a:pt x="2" y="8"/>
                    </a:lnTo>
                    <a:lnTo>
                      <a:pt x="4" y="1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89" name="Freeform 3044"/>
              <p:cNvSpPr>
                <a:spLocks/>
              </p:cNvSpPr>
              <p:nvPr/>
            </p:nvSpPr>
            <p:spPr bwMode="auto">
              <a:xfrm>
                <a:off x="5269" y="2841"/>
                <a:ext cx="11" cy="22"/>
              </a:xfrm>
              <a:custGeom>
                <a:avLst/>
                <a:gdLst>
                  <a:gd name="T0" fmla="*/ 4 w 11"/>
                  <a:gd name="T1" fmla="*/ 15 h 22"/>
                  <a:gd name="T2" fmla="*/ 4 w 11"/>
                  <a:gd name="T3" fmla="*/ 15 h 22"/>
                  <a:gd name="T4" fmla="*/ 7 w 11"/>
                  <a:gd name="T5" fmla="*/ 18 h 22"/>
                  <a:gd name="T6" fmla="*/ 11 w 11"/>
                  <a:gd name="T7" fmla="*/ 22 h 22"/>
                  <a:gd name="T8" fmla="*/ 11 w 11"/>
                  <a:gd name="T9" fmla="*/ 22 h 22"/>
                  <a:gd name="T10" fmla="*/ 11 w 11"/>
                  <a:gd name="T11" fmla="*/ 18 h 22"/>
                  <a:gd name="T12" fmla="*/ 9 w 11"/>
                  <a:gd name="T13" fmla="*/ 13 h 22"/>
                  <a:gd name="T14" fmla="*/ 9 w 11"/>
                  <a:gd name="T15" fmla="*/ 13 h 22"/>
                  <a:gd name="T16" fmla="*/ 5 w 11"/>
                  <a:gd name="T17" fmla="*/ 9 h 22"/>
                  <a:gd name="T18" fmla="*/ 5 w 11"/>
                  <a:gd name="T19" fmla="*/ 9 h 22"/>
                  <a:gd name="T20" fmla="*/ 5 w 11"/>
                  <a:gd name="T21" fmla="*/ 8 h 22"/>
                  <a:gd name="T22" fmla="*/ 5 w 11"/>
                  <a:gd name="T23" fmla="*/ 8 h 22"/>
                  <a:gd name="T24" fmla="*/ 5 w 11"/>
                  <a:gd name="T25" fmla="*/ 6 h 22"/>
                  <a:gd name="T26" fmla="*/ 5 w 11"/>
                  <a:gd name="T27" fmla="*/ 6 h 22"/>
                  <a:gd name="T28" fmla="*/ 4 w 11"/>
                  <a:gd name="T29" fmla="*/ 2 h 22"/>
                  <a:gd name="T30" fmla="*/ 4 w 11"/>
                  <a:gd name="T31" fmla="*/ 2 h 22"/>
                  <a:gd name="T32" fmla="*/ 2 w 11"/>
                  <a:gd name="T33" fmla="*/ 0 h 22"/>
                  <a:gd name="T34" fmla="*/ 0 w 11"/>
                  <a:gd name="T35" fmla="*/ 0 h 22"/>
                  <a:gd name="T36" fmla="*/ 0 w 11"/>
                  <a:gd name="T37" fmla="*/ 2 h 22"/>
                  <a:gd name="T38" fmla="*/ 0 w 11"/>
                  <a:gd name="T39" fmla="*/ 2 h 22"/>
                  <a:gd name="T40" fmla="*/ 2 w 11"/>
                  <a:gd name="T41" fmla="*/ 8 h 22"/>
                  <a:gd name="T42" fmla="*/ 4 w 11"/>
                  <a:gd name="T43" fmla="*/ 15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22">
                    <a:moveTo>
                      <a:pt x="4" y="15"/>
                    </a:moveTo>
                    <a:lnTo>
                      <a:pt x="4" y="15"/>
                    </a:lnTo>
                    <a:lnTo>
                      <a:pt x="7" y="18"/>
                    </a:lnTo>
                    <a:lnTo>
                      <a:pt x="11" y="22"/>
                    </a:lnTo>
                    <a:lnTo>
                      <a:pt x="11" y="22"/>
                    </a:lnTo>
                    <a:lnTo>
                      <a:pt x="11" y="18"/>
                    </a:lnTo>
                    <a:lnTo>
                      <a:pt x="9" y="13"/>
                    </a:lnTo>
                    <a:lnTo>
                      <a:pt x="9" y="13"/>
                    </a:lnTo>
                    <a:lnTo>
                      <a:pt x="5" y="9"/>
                    </a:lnTo>
                    <a:lnTo>
                      <a:pt x="5" y="9"/>
                    </a:lnTo>
                    <a:lnTo>
                      <a:pt x="5" y="8"/>
                    </a:lnTo>
                    <a:lnTo>
                      <a:pt x="5" y="8"/>
                    </a:lnTo>
                    <a:lnTo>
                      <a:pt x="5" y="6"/>
                    </a:lnTo>
                    <a:lnTo>
                      <a:pt x="5" y="6"/>
                    </a:lnTo>
                    <a:lnTo>
                      <a:pt x="4" y="2"/>
                    </a:lnTo>
                    <a:lnTo>
                      <a:pt x="4" y="2"/>
                    </a:lnTo>
                    <a:lnTo>
                      <a:pt x="2" y="0"/>
                    </a:lnTo>
                    <a:lnTo>
                      <a:pt x="0" y="0"/>
                    </a:lnTo>
                    <a:lnTo>
                      <a:pt x="0" y="2"/>
                    </a:lnTo>
                    <a:lnTo>
                      <a:pt x="0" y="2"/>
                    </a:lnTo>
                    <a:lnTo>
                      <a:pt x="2" y="8"/>
                    </a:lnTo>
                    <a:lnTo>
                      <a:pt x="4" y="1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90" name="Freeform 3045"/>
              <p:cNvSpPr>
                <a:spLocks/>
              </p:cNvSpPr>
              <p:nvPr/>
            </p:nvSpPr>
            <p:spPr bwMode="auto">
              <a:xfrm>
                <a:off x="5276" y="2874"/>
                <a:ext cx="16" cy="8"/>
              </a:xfrm>
              <a:custGeom>
                <a:avLst/>
                <a:gdLst>
                  <a:gd name="T0" fmla="*/ 9 w 16"/>
                  <a:gd name="T1" fmla="*/ 7 h 8"/>
                  <a:gd name="T2" fmla="*/ 9 w 16"/>
                  <a:gd name="T3" fmla="*/ 7 h 8"/>
                  <a:gd name="T4" fmla="*/ 16 w 16"/>
                  <a:gd name="T5" fmla="*/ 8 h 8"/>
                  <a:gd name="T6" fmla="*/ 16 w 16"/>
                  <a:gd name="T7" fmla="*/ 8 h 8"/>
                  <a:gd name="T8" fmla="*/ 14 w 16"/>
                  <a:gd name="T9" fmla="*/ 5 h 8"/>
                  <a:gd name="T10" fmla="*/ 9 w 16"/>
                  <a:gd name="T11" fmla="*/ 1 h 8"/>
                  <a:gd name="T12" fmla="*/ 9 w 16"/>
                  <a:gd name="T13" fmla="*/ 1 h 8"/>
                  <a:gd name="T14" fmla="*/ 5 w 16"/>
                  <a:gd name="T15" fmla="*/ 0 h 8"/>
                  <a:gd name="T16" fmla="*/ 2 w 16"/>
                  <a:gd name="T17" fmla="*/ 0 h 8"/>
                  <a:gd name="T18" fmla="*/ 0 w 16"/>
                  <a:gd name="T19" fmla="*/ 0 h 8"/>
                  <a:gd name="T20" fmla="*/ 0 w 16"/>
                  <a:gd name="T21" fmla="*/ 0 h 8"/>
                  <a:gd name="T22" fmla="*/ 4 w 16"/>
                  <a:gd name="T23" fmla="*/ 1 h 8"/>
                  <a:gd name="T24" fmla="*/ 4 w 16"/>
                  <a:gd name="T25" fmla="*/ 1 h 8"/>
                  <a:gd name="T26" fmla="*/ 5 w 16"/>
                  <a:gd name="T27" fmla="*/ 5 h 8"/>
                  <a:gd name="T28" fmla="*/ 9 w 16"/>
                  <a:gd name="T2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8">
                    <a:moveTo>
                      <a:pt x="9" y="7"/>
                    </a:moveTo>
                    <a:lnTo>
                      <a:pt x="9" y="7"/>
                    </a:lnTo>
                    <a:lnTo>
                      <a:pt x="16" y="8"/>
                    </a:lnTo>
                    <a:lnTo>
                      <a:pt x="16" y="8"/>
                    </a:lnTo>
                    <a:lnTo>
                      <a:pt x="14" y="5"/>
                    </a:lnTo>
                    <a:lnTo>
                      <a:pt x="9" y="1"/>
                    </a:lnTo>
                    <a:lnTo>
                      <a:pt x="9" y="1"/>
                    </a:lnTo>
                    <a:lnTo>
                      <a:pt x="5" y="0"/>
                    </a:lnTo>
                    <a:lnTo>
                      <a:pt x="2" y="0"/>
                    </a:lnTo>
                    <a:lnTo>
                      <a:pt x="0" y="0"/>
                    </a:lnTo>
                    <a:lnTo>
                      <a:pt x="0" y="0"/>
                    </a:lnTo>
                    <a:lnTo>
                      <a:pt x="4" y="1"/>
                    </a:lnTo>
                    <a:lnTo>
                      <a:pt x="4" y="1"/>
                    </a:lnTo>
                    <a:lnTo>
                      <a:pt x="5" y="5"/>
                    </a:lnTo>
                    <a:lnTo>
                      <a:pt x="9"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91" name="Freeform 3046"/>
              <p:cNvSpPr>
                <a:spLocks/>
              </p:cNvSpPr>
              <p:nvPr/>
            </p:nvSpPr>
            <p:spPr bwMode="auto">
              <a:xfrm>
                <a:off x="5276" y="2874"/>
                <a:ext cx="16" cy="8"/>
              </a:xfrm>
              <a:custGeom>
                <a:avLst/>
                <a:gdLst>
                  <a:gd name="T0" fmla="*/ 9 w 16"/>
                  <a:gd name="T1" fmla="*/ 7 h 8"/>
                  <a:gd name="T2" fmla="*/ 9 w 16"/>
                  <a:gd name="T3" fmla="*/ 7 h 8"/>
                  <a:gd name="T4" fmla="*/ 16 w 16"/>
                  <a:gd name="T5" fmla="*/ 8 h 8"/>
                  <a:gd name="T6" fmla="*/ 16 w 16"/>
                  <a:gd name="T7" fmla="*/ 8 h 8"/>
                  <a:gd name="T8" fmla="*/ 14 w 16"/>
                  <a:gd name="T9" fmla="*/ 5 h 8"/>
                  <a:gd name="T10" fmla="*/ 9 w 16"/>
                  <a:gd name="T11" fmla="*/ 1 h 8"/>
                  <a:gd name="T12" fmla="*/ 9 w 16"/>
                  <a:gd name="T13" fmla="*/ 1 h 8"/>
                  <a:gd name="T14" fmla="*/ 5 w 16"/>
                  <a:gd name="T15" fmla="*/ 0 h 8"/>
                  <a:gd name="T16" fmla="*/ 2 w 16"/>
                  <a:gd name="T17" fmla="*/ 0 h 8"/>
                  <a:gd name="T18" fmla="*/ 0 w 16"/>
                  <a:gd name="T19" fmla="*/ 0 h 8"/>
                  <a:gd name="T20" fmla="*/ 0 w 16"/>
                  <a:gd name="T21" fmla="*/ 0 h 8"/>
                  <a:gd name="T22" fmla="*/ 4 w 16"/>
                  <a:gd name="T23" fmla="*/ 1 h 8"/>
                  <a:gd name="T24" fmla="*/ 4 w 16"/>
                  <a:gd name="T25" fmla="*/ 1 h 8"/>
                  <a:gd name="T26" fmla="*/ 5 w 16"/>
                  <a:gd name="T27" fmla="*/ 5 h 8"/>
                  <a:gd name="T28" fmla="*/ 9 w 16"/>
                  <a:gd name="T29" fmla="*/ 7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8">
                    <a:moveTo>
                      <a:pt x="9" y="7"/>
                    </a:moveTo>
                    <a:lnTo>
                      <a:pt x="9" y="7"/>
                    </a:lnTo>
                    <a:lnTo>
                      <a:pt x="16" y="8"/>
                    </a:lnTo>
                    <a:lnTo>
                      <a:pt x="16" y="8"/>
                    </a:lnTo>
                    <a:lnTo>
                      <a:pt x="14" y="5"/>
                    </a:lnTo>
                    <a:lnTo>
                      <a:pt x="9" y="1"/>
                    </a:lnTo>
                    <a:lnTo>
                      <a:pt x="9" y="1"/>
                    </a:lnTo>
                    <a:lnTo>
                      <a:pt x="5" y="0"/>
                    </a:lnTo>
                    <a:lnTo>
                      <a:pt x="2" y="0"/>
                    </a:lnTo>
                    <a:lnTo>
                      <a:pt x="0" y="0"/>
                    </a:lnTo>
                    <a:lnTo>
                      <a:pt x="0" y="0"/>
                    </a:lnTo>
                    <a:lnTo>
                      <a:pt x="4" y="1"/>
                    </a:lnTo>
                    <a:lnTo>
                      <a:pt x="4" y="1"/>
                    </a:lnTo>
                    <a:lnTo>
                      <a:pt x="5" y="5"/>
                    </a:lnTo>
                    <a:lnTo>
                      <a:pt x="9"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92" name="Freeform 3047"/>
              <p:cNvSpPr>
                <a:spLocks/>
              </p:cNvSpPr>
              <p:nvPr/>
            </p:nvSpPr>
            <p:spPr bwMode="auto">
              <a:xfrm>
                <a:off x="3019" y="1979"/>
                <a:ext cx="102" cy="86"/>
              </a:xfrm>
              <a:custGeom>
                <a:avLst/>
                <a:gdLst>
                  <a:gd name="T0" fmla="*/ 91 w 102"/>
                  <a:gd name="T1" fmla="*/ 21 h 86"/>
                  <a:gd name="T2" fmla="*/ 73 w 102"/>
                  <a:gd name="T3" fmla="*/ 20 h 86"/>
                  <a:gd name="T4" fmla="*/ 68 w 102"/>
                  <a:gd name="T5" fmla="*/ 18 h 86"/>
                  <a:gd name="T6" fmla="*/ 61 w 102"/>
                  <a:gd name="T7" fmla="*/ 23 h 86"/>
                  <a:gd name="T8" fmla="*/ 59 w 102"/>
                  <a:gd name="T9" fmla="*/ 28 h 86"/>
                  <a:gd name="T10" fmla="*/ 66 w 102"/>
                  <a:gd name="T11" fmla="*/ 32 h 86"/>
                  <a:gd name="T12" fmla="*/ 63 w 102"/>
                  <a:gd name="T13" fmla="*/ 32 h 86"/>
                  <a:gd name="T14" fmla="*/ 57 w 102"/>
                  <a:gd name="T15" fmla="*/ 34 h 86"/>
                  <a:gd name="T16" fmla="*/ 61 w 102"/>
                  <a:gd name="T17" fmla="*/ 39 h 86"/>
                  <a:gd name="T18" fmla="*/ 54 w 102"/>
                  <a:gd name="T19" fmla="*/ 32 h 86"/>
                  <a:gd name="T20" fmla="*/ 54 w 102"/>
                  <a:gd name="T21" fmla="*/ 36 h 86"/>
                  <a:gd name="T22" fmla="*/ 54 w 102"/>
                  <a:gd name="T23" fmla="*/ 39 h 86"/>
                  <a:gd name="T24" fmla="*/ 50 w 102"/>
                  <a:gd name="T25" fmla="*/ 34 h 86"/>
                  <a:gd name="T26" fmla="*/ 43 w 102"/>
                  <a:gd name="T27" fmla="*/ 27 h 86"/>
                  <a:gd name="T28" fmla="*/ 40 w 102"/>
                  <a:gd name="T29" fmla="*/ 27 h 86"/>
                  <a:gd name="T30" fmla="*/ 41 w 102"/>
                  <a:gd name="T31" fmla="*/ 41 h 86"/>
                  <a:gd name="T32" fmla="*/ 48 w 102"/>
                  <a:gd name="T33" fmla="*/ 50 h 86"/>
                  <a:gd name="T34" fmla="*/ 48 w 102"/>
                  <a:gd name="T35" fmla="*/ 57 h 86"/>
                  <a:gd name="T36" fmla="*/ 48 w 102"/>
                  <a:gd name="T37" fmla="*/ 53 h 86"/>
                  <a:gd name="T38" fmla="*/ 43 w 102"/>
                  <a:gd name="T39" fmla="*/ 52 h 86"/>
                  <a:gd name="T40" fmla="*/ 45 w 102"/>
                  <a:gd name="T41" fmla="*/ 59 h 86"/>
                  <a:gd name="T42" fmla="*/ 38 w 102"/>
                  <a:gd name="T43" fmla="*/ 61 h 86"/>
                  <a:gd name="T44" fmla="*/ 47 w 102"/>
                  <a:gd name="T45" fmla="*/ 66 h 86"/>
                  <a:gd name="T46" fmla="*/ 52 w 102"/>
                  <a:gd name="T47" fmla="*/ 70 h 86"/>
                  <a:gd name="T48" fmla="*/ 57 w 102"/>
                  <a:gd name="T49" fmla="*/ 73 h 86"/>
                  <a:gd name="T50" fmla="*/ 61 w 102"/>
                  <a:gd name="T51" fmla="*/ 75 h 86"/>
                  <a:gd name="T52" fmla="*/ 57 w 102"/>
                  <a:gd name="T53" fmla="*/ 84 h 86"/>
                  <a:gd name="T54" fmla="*/ 47 w 102"/>
                  <a:gd name="T55" fmla="*/ 80 h 86"/>
                  <a:gd name="T56" fmla="*/ 47 w 102"/>
                  <a:gd name="T57" fmla="*/ 78 h 86"/>
                  <a:gd name="T58" fmla="*/ 45 w 102"/>
                  <a:gd name="T59" fmla="*/ 75 h 86"/>
                  <a:gd name="T60" fmla="*/ 38 w 102"/>
                  <a:gd name="T61" fmla="*/ 73 h 86"/>
                  <a:gd name="T62" fmla="*/ 32 w 102"/>
                  <a:gd name="T63" fmla="*/ 73 h 86"/>
                  <a:gd name="T64" fmla="*/ 23 w 102"/>
                  <a:gd name="T65" fmla="*/ 73 h 86"/>
                  <a:gd name="T66" fmla="*/ 18 w 102"/>
                  <a:gd name="T67" fmla="*/ 71 h 86"/>
                  <a:gd name="T68" fmla="*/ 16 w 102"/>
                  <a:gd name="T69" fmla="*/ 73 h 86"/>
                  <a:gd name="T70" fmla="*/ 13 w 102"/>
                  <a:gd name="T71" fmla="*/ 62 h 86"/>
                  <a:gd name="T72" fmla="*/ 15 w 102"/>
                  <a:gd name="T73" fmla="*/ 59 h 86"/>
                  <a:gd name="T74" fmla="*/ 9 w 102"/>
                  <a:gd name="T75" fmla="*/ 59 h 86"/>
                  <a:gd name="T76" fmla="*/ 2 w 102"/>
                  <a:gd name="T77" fmla="*/ 50 h 86"/>
                  <a:gd name="T78" fmla="*/ 0 w 102"/>
                  <a:gd name="T79" fmla="*/ 45 h 86"/>
                  <a:gd name="T80" fmla="*/ 0 w 102"/>
                  <a:gd name="T81" fmla="*/ 45 h 86"/>
                  <a:gd name="T82" fmla="*/ 4 w 102"/>
                  <a:gd name="T83" fmla="*/ 41 h 86"/>
                  <a:gd name="T84" fmla="*/ 7 w 102"/>
                  <a:gd name="T85" fmla="*/ 36 h 86"/>
                  <a:gd name="T86" fmla="*/ 15 w 102"/>
                  <a:gd name="T87" fmla="*/ 27 h 86"/>
                  <a:gd name="T88" fmla="*/ 23 w 102"/>
                  <a:gd name="T89" fmla="*/ 18 h 86"/>
                  <a:gd name="T90" fmla="*/ 32 w 102"/>
                  <a:gd name="T91" fmla="*/ 14 h 86"/>
                  <a:gd name="T92" fmla="*/ 43 w 102"/>
                  <a:gd name="T93" fmla="*/ 9 h 86"/>
                  <a:gd name="T94" fmla="*/ 75 w 102"/>
                  <a:gd name="T95" fmla="*/ 7 h 86"/>
                  <a:gd name="T96" fmla="*/ 91 w 102"/>
                  <a:gd name="T97" fmla="*/ 11 h 86"/>
                  <a:gd name="T98" fmla="*/ 95 w 102"/>
                  <a:gd name="T99" fmla="*/ 0 h 86"/>
                  <a:gd name="T100" fmla="*/ 100 w 102"/>
                  <a:gd name="T101" fmla="*/ 2 h 86"/>
                  <a:gd name="T102" fmla="*/ 102 w 102"/>
                  <a:gd name="T103" fmla="*/ 7 h 86"/>
                  <a:gd name="T104" fmla="*/ 97 w 102"/>
                  <a:gd name="T105" fmla="*/ 2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2" h="86">
                    <a:moveTo>
                      <a:pt x="95" y="23"/>
                    </a:moveTo>
                    <a:lnTo>
                      <a:pt x="91" y="21"/>
                    </a:lnTo>
                    <a:lnTo>
                      <a:pt x="77" y="18"/>
                    </a:lnTo>
                    <a:lnTo>
                      <a:pt x="73" y="20"/>
                    </a:lnTo>
                    <a:lnTo>
                      <a:pt x="72" y="20"/>
                    </a:lnTo>
                    <a:lnTo>
                      <a:pt x="68" y="18"/>
                    </a:lnTo>
                    <a:lnTo>
                      <a:pt x="65" y="21"/>
                    </a:lnTo>
                    <a:lnTo>
                      <a:pt x="61" y="23"/>
                    </a:lnTo>
                    <a:lnTo>
                      <a:pt x="56" y="25"/>
                    </a:lnTo>
                    <a:lnTo>
                      <a:pt x="59" y="28"/>
                    </a:lnTo>
                    <a:lnTo>
                      <a:pt x="63" y="30"/>
                    </a:lnTo>
                    <a:lnTo>
                      <a:pt x="66" y="32"/>
                    </a:lnTo>
                    <a:lnTo>
                      <a:pt x="66" y="34"/>
                    </a:lnTo>
                    <a:lnTo>
                      <a:pt x="63" y="32"/>
                    </a:lnTo>
                    <a:lnTo>
                      <a:pt x="59" y="30"/>
                    </a:lnTo>
                    <a:lnTo>
                      <a:pt x="57" y="34"/>
                    </a:lnTo>
                    <a:lnTo>
                      <a:pt x="61" y="36"/>
                    </a:lnTo>
                    <a:lnTo>
                      <a:pt x="61" y="39"/>
                    </a:lnTo>
                    <a:lnTo>
                      <a:pt x="57" y="34"/>
                    </a:lnTo>
                    <a:lnTo>
                      <a:pt x="54" y="32"/>
                    </a:lnTo>
                    <a:lnTo>
                      <a:pt x="52" y="34"/>
                    </a:lnTo>
                    <a:lnTo>
                      <a:pt x="54" y="36"/>
                    </a:lnTo>
                    <a:lnTo>
                      <a:pt x="56" y="39"/>
                    </a:lnTo>
                    <a:lnTo>
                      <a:pt x="54" y="39"/>
                    </a:lnTo>
                    <a:lnTo>
                      <a:pt x="52" y="37"/>
                    </a:lnTo>
                    <a:lnTo>
                      <a:pt x="50" y="34"/>
                    </a:lnTo>
                    <a:lnTo>
                      <a:pt x="43" y="28"/>
                    </a:lnTo>
                    <a:lnTo>
                      <a:pt x="43" y="27"/>
                    </a:lnTo>
                    <a:lnTo>
                      <a:pt x="43" y="25"/>
                    </a:lnTo>
                    <a:lnTo>
                      <a:pt x="40" y="27"/>
                    </a:lnTo>
                    <a:lnTo>
                      <a:pt x="40" y="39"/>
                    </a:lnTo>
                    <a:lnTo>
                      <a:pt x="41" y="41"/>
                    </a:lnTo>
                    <a:lnTo>
                      <a:pt x="43" y="45"/>
                    </a:lnTo>
                    <a:lnTo>
                      <a:pt x="48" y="50"/>
                    </a:lnTo>
                    <a:lnTo>
                      <a:pt x="50" y="55"/>
                    </a:lnTo>
                    <a:lnTo>
                      <a:pt x="48" y="57"/>
                    </a:lnTo>
                    <a:lnTo>
                      <a:pt x="47" y="57"/>
                    </a:lnTo>
                    <a:lnTo>
                      <a:pt x="48" y="53"/>
                    </a:lnTo>
                    <a:lnTo>
                      <a:pt x="47" y="52"/>
                    </a:lnTo>
                    <a:lnTo>
                      <a:pt x="43" y="52"/>
                    </a:lnTo>
                    <a:lnTo>
                      <a:pt x="43" y="55"/>
                    </a:lnTo>
                    <a:lnTo>
                      <a:pt x="45" y="59"/>
                    </a:lnTo>
                    <a:lnTo>
                      <a:pt x="43" y="59"/>
                    </a:lnTo>
                    <a:lnTo>
                      <a:pt x="38" y="61"/>
                    </a:lnTo>
                    <a:lnTo>
                      <a:pt x="40" y="62"/>
                    </a:lnTo>
                    <a:lnTo>
                      <a:pt x="47" y="66"/>
                    </a:lnTo>
                    <a:lnTo>
                      <a:pt x="50" y="66"/>
                    </a:lnTo>
                    <a:lnTo>
                      <a:pt x="52" y="70"/>
                    </a:lnTo>
                    <a:lnTo>
                      <a:pt x="54" y="70"/>
                    </a:lnTo>
                    <a:lnTo>
                      <a:pt x="57" y="73"/>
                    </a:lnTo>
                    <a:lnTo>
                      <a:pt x="59" y="73"/>
                    </a:lnTo>
                    <a:lnTo>
                      <a:pt x="61" y="75"/>
                    </a:lnTo>
                    <a:lnTo>
                      <a:pt x="61" y="86"/>
                    </a:lnTo>
                    <a:lnTo>
                      <a:pt x="57" y="84"/>
                    </a:lnTo>
                    <a:lnTo>
                      <a:pt x="56" y="80"/>
                    </a:lnTo>
                    <a:lnTo>
                      <a:pt x="47" y="80"/>
                    </a:lnTo>
                    <a:lnTo>
                      <a:pt x="45" y="78"/>
                    </a:lnTo>
                    <a:lnTo>
                      <a:pt x="47" y="78"/>
                    </a:lnTo>
                    <a:lnTo>
                      <a:pt x="48" y="75"/>
                    </a:lnTo>
                    <a:lnTo>
                      <a:pt x="45" y="75"/>
                    </a:lnTo>
                    <a:lnTo>
                      <a:pt x="40" y="71"/>
                    </a:lnTo>
                    <a:lnTo>
                      <a:pt x="38" y="73"/>
                    </a:lnTo>
                    <a:lnTo>
                      <a:pt x="36" y="71"/>
                    </a:lnTo>
                    <a:lnTo>
                      <a:pt x="32" y="73"/>
                    </a:lnTo>
                    <a:lnTo>
                      <a:pt x="29" y="71"/>
                    </a:lnTo>
                    <a:lnTo>
                      <a:pt x="23" y="73"/>
                    </a:lnTo>
                    <a:lnTo>
                      <a:pt x="20" y="71"/>
                    </a:lnTo>
                    <a:lnTo>
                      <a:pt x="18" y="71"/>
                    </a:lnTo>
                    <a:lnTo>
                      <a:pt x="18" y="71"/>
                    </a:lnTo>
                    <a:lnTo>
                      <a:pt x="16" y="73"/>
                    </a:lnTo>
                    <a:lnTo>
                      <a:pt x="9" y="61"/>
                    </a:lnTo>
                    <a:lnTo>
                      <a:pt x="13" y="62"/>
                    </a:lnTo>
                    <a:lnTo>
                      <a:pt x="15" y="61"/>
                    </a:lnTo>
                    <a:lnTo>
                      <a:pt x="15" y="59"/>
                    </a:lnTo>
                    <a:lnTo>
                      <a:pt x="9" y="57"/>
                    </a:lnTo>
                    <a:lnTo>
                      <a:pt x="9" y="59"/>
                    </a:lnTo>
                    <a:lnTo>
                      <a:pt x="6" y="52"/>
                    </a:lnTo>
                    <a:lnTo>
                      <a:pt x="2" y="50"/>
                    </a:lnTo>
                    <a:lnTo>
                      <a:pt x="0" y="45"/>
                    </a:lnTo>
                    <a:lnTo>
                      <a:pt x="0" y="45"/>
                    </a:lnTo>
                    <a:lnTo>
                      <a:pt x="0" y="45"/>
                    </a:lnTo>
                    <a:lnTo>
                      <a:pt x="0" y="45"/>
                    </a:lnTo>
                    <a:lnTo>
                      <a:pt x="2" y="43"/>
                    </a:lnTo>
                    <a:lnTo>
                      <a:pt x="4" y="41"/>
                    </a:lnTo>
                    <a:lnTo>
                      <a:pt x="6" y="37"/>
                    </a:lnTo>
                    <a:lnTo>
                      <a:pt x="7" y="36"/>
                    </a:lnTo>
                    <a:lnTo>
                      <a:pt x="11" y="30"/>
                    </a:lnTo>
                    <a:lnTo>
                      <a:pt x="15" y="27"/>
                    </a:lnTo>
                    <a:lnTo>
                      <a:pt x="13" y="20"/>
                    </a:lnTo>
                    <a:lnTo>
                      <a:pt x="23" y="18"/>
                    </a:lnTo>
                    <a:lnTo>
                      <a:pt x="27" y="16"/>
                    </a:lnTo>
                    <a:lnTo>
                      <a:pt x="32" y="14"/>
                    </a:lnTo>
                    <a:lnTo>
                      <a:pt x="38" y="14"/>
                    </a:lnTo>
                    <a:lnTo>
                      <a:pt x="43" y="9"/>
                    </a:lnTo>
                    <a:lnTo>
                      <a:pt x="72" y="5"/>
                    </a:lnTo>
                    <a:lnTo>
                      <a:pt x="75" y="7"/>
                    </a:lnTo>
                    <a:lnTo>
                      <a:pt x="86" y="11"/>
                    </a:lnTo>
                    <a:lnTo>
                      <a:pt x="91" y="11"/>
                    </a:lnTo>
                    <a:lnTo>
                      <a:pt x="95" y="7"/>
                    </a:lnTo>
                    <a:lnTo>
                      <a:pt x="95" y="0"/>
                    </a:lnTo>
                    <a:lnTo>
                      <a:pt x="98" y="0"/>
                    </a:lnTo>
                    <a:lnTo>
                      <a:pt x="100" y="2"/>
                    </a:lnTo>
                    <a:lnTo>
                      <a:pt x="102" y="3"/>
                    </a:lnTo>
                    <a:lnTo>
                      <a:pt x="102" y="7"/>
                    </a:lnTo>
                    <a:lnTo>
                      <a:pt x="98" y="11"/>
                    </a:lnTo>
                    <a:lnTo>
                      <a:pt x="97" y="20"/>
                    </a:lnTo>
                    <a:lnTo>
                      <a:pt x="95" y="2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93" name="Freeform 3048"/>
              <p:cNvSpPr>
                <a:spLocks/>
              </p:cNvSpPr>
              <p:nvPr/>
            </p:nvSpPr>
            <p:spPr bwMode="auto">
              <a:xfrm>
                <a:off x="3019" y="1979"/>
                <a:ext cx="102" cy="86"/>
              </a:xfrm>
              <a:custGeom>
                <a:avLst/>
                <a:gdLst>
                  <a:gd name="T0" fmla="*/ 91 w 102"/>
                  <a:gd name="T1" fmla="*/ 21 h 86"/>
                  <a:gd name="T2" fmla="*/ 73 w 102"/>
                  <a:gd name="T3" fmla="*/ 20 h 86"/>
                  <a:gd name="T4" fmla="*/ 68 w 102"/>
                  <a:gd name="T5" fmla="*/ 18 h 86"/>
                  <a:gd name="T6" fmla="*/ 61 w 102"/>
                  <a:gd name="T7" fmla="*/ 23 h 86"/>
                  <a:gd name="T8" fmla="*/ 59 w 102"/>
                  <a:gd name="T9" fmla="*/ 28 h 86"/>
                  <a:gd name="T10" fmla="*/ 66 w 102"/>
                  <a:gd name="T11" fmla="*/ 32 h 86"/>
                  <a:gd name="T12" fmla="*/ 63 w 102"/>
                  <a:gd name="T13" fmla="*/ 32 h 86"/>
                  <a:gd name="T14" fmla="*/ 57 w 102"/>
                  <a:gd name="T15" fmla="*/ 34 h 86"/>
                  <a:gd name="T16" fmla="*/ 61 w 102"/>
                  <a:gd name="T17" fmla="*/ 39 h 86"/>
                  <a:gd name="T18" fmla="*/ 54 w 102"/>
                  <a:gd name="T19" fmla="*/ 32 h 86"/>
                  <a:gd name="T20" fmla="*/ 54 w 102"/>
                  <a:gd name="T21" fmla="*/ 36 h 86"/>
                  <a:gd name="T22" fmla="*/ 54 w 102"/>
                  <a:gd name="T23" fmla="*/ 39 h 86"/>
                  <a:gd name="T24" fmla="*/ 50 w 102"/>
                  <a:gd name="T25" fmla="*/ 34 h 86"/>
                  <a:gd name="T26" fmla="*/ 43 w 102"/>
                  <a:gd name="T27" fmla="*/ 27 h 86"/>
                  <a:gd name="T28" fmla="*/ 40 w 102"/>
                  <a:gd name="T29" fmla="*/ 27 h 86"/>
                  <a:gd name="T30" fmla="*/ 41 w 102"/>
                  <a:gd name="T31" fmla="*/ 41 h 86"/>
                  <a:gd name="T32" fmla="*/ 48 w 102"/>
                  <a:gd name="T33" fmla="*/ 50 h 86"/>
                  <a:gd name="T34" fmla="*/ 48 w 102"/>
                  <a:gd name="T35" fmla="*/ 57 h 86"/>
                  <a:gd name="T36" fmla="*/ 48 w 102"/>
                  <a:gd name="T37" fmla="*/ 53 h 86"/>
                  <a:gd name="T38" fmla="*/ 43 w 102"/>
                  <a:gd name="T39" fmla="*/ 52 h 86"/>
                  <a:gd name="T40" fmla="*/ 45 w 102"/>
                  <a:gd name="T41" fmla="*/ 59 h 86"/>
                  <a:gd name="T42" fmla="*/ 38 w 102"/>
                  <a:gd name="T43" fmla="*/ 61 h 86"/>
                  <a:gd name="T44" fmla="*/ 47 w 102"/>
                  <a:gd name="T45" fmla="*/ 66 h 86"/>
                  <a:gd name="T46" fmla="*/ 52 w 102"/>
                  <a:gd name="T47" fmla="*/ 70 h 86"/>
                  <a:gd name="T48" fmla="*/ 57 w 102"/>
                  <a:gd name="T49" fmla="*/ 73 h 86"/>
                  <a:gd name="T50" fmla="*/ 61 w 102"/>
                  <a:gd name="T51" fmla="*/ 75 h 86"/>
                  <a:gd name="T52" fmla="*/ 57 w 102"/>
                  <a:gd name="T53" fmla="*/ 84 h 86"/>
                  <a:gd name="T54" fmla="*/ 47 w 102"/>
                  <a:gd name="T55" fmla="*/ 80 h 86"/>
                  <a:gd name="T56" fmla="*/ 47 w 102"/>
                  <a:gd name="T57" fmla="*/ 78 h 86"/>
                  <a:gd name="T58" fmla="*/ 45 w 102"/>
                  <a:gd name="T59" fmla="*/ 75 h 86"/>
                  <a:gd name="T60" fmla="*/ 38 w 102"/>
                  <a:gd name="T61" fmla="*/ 73 h 86"/>
                  <a:gd name="T62" fmla="*/ 32 w 102"/>
                  <a:gd name="T63" fmla="*/ 73 h 86"/>
                  <a:gd name="T64" fmla="*/ 23 w 102"/>
                  <a:gd name="T65" fmla="*/ 73 h 86"/>
                  <a:gd name="T66" fmla="*/ 18 w 102"/>
                  <a:gd name="T67" fmla="*/ 71 h 86"/>
                  <a:gd name="T68" fmla="*/ 16 w 102"/>
                  <a:gd name="T69" fmla="*/ 73 h 86"/>
                  <a:gd name="T70" fmla="*/ 13 w 102"/>
                  <a:gd name="T71" fmla="*/ 62 h 86"/>
                  <a:gd name="T72" fmla="*/ 15 w 102"/>
                  <a:gd name="T73" fmla="*/ 59 h 86"/>
                  <a:gd name="T74" fmla="*/ 9 w 102"/>
                  <a:gd name="T75" fmla="*/ 59 h 86"/>
                  <a:gd name="T76" fmla="*/ 2 w 102"/>
                  <a:gd name="T77" fmla="*/ 50 h 86"/>
                  <a:gd name="T78" fmla="*/ 0 w 102"/>
                  <a:gd name="T79" fmla="*/ 45 h 86"/>
                  <a:gd name="T80" fmla="*/ 0 w 102"/>
                  <a:gd name="T81" fmla="*/ 45 h 86"/>
                  <a:gd name="T82" fmla="*/ 4 w 102"/>
                  <a:gd name="T83" fmla="*/ 41 h 86"/>
                  <a:gd name="T84" fmla="*/ 7 w 102"/>
                  <a:gd name="T85" fmla="*/ 36 h 86"/>
                  <a:gd name="T86" fmla="*/ 15 w 102"/>
                  <a:gd name="T87" fmla="*/ 27 h 86"/>
                  <a:gd name="T88" fmla="*/ 23 w 102"/>
                  <a:gd name="T89" fmla="*/ 18 h 86"/>
                  <a:gd name="T90" fmla="*/ 32 w 102"/>
                  <a:gd name="T91" fmla="*/ 14 h 86"/>
                  <a:gd name="T92" fmla="*/ 43 w 102"/>
                  <a:gd name="T93" fmla="*/ 9 h 86"/>
                  <a:gd name="T94" fmla="*/ 75 w 102"/>
                  <a:gd name="T95" fmla="*/ 7 h 86"/>
                  <a:gd name="T96" fmla="*/ 91 w 102"/>
                  <a:gd name="T97" fmla="*/ 11 h 86"/>
                  <a:gd name="T98" fmla="*/ 95 w 102"/>
                  <a:gd name="T99" fmla="*/ 0 h 86"/>
                  <a:gd name="T100" fmla="*/ 100 w 102"/>
                  <a:gd name="T101" fmla="*/ 2 h 86"/>
                  <a:gd name="T102" fmla="*/ 102 w 102"/>
                  <a:gd name="T103" fmla="*/ 7 h 86"/>
                  <a:gd name="T104" fmla="*/ 97 w 102"/>
                  <a:gd name="T105" fmla="*/ 2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2" h="86">
                    <a:moveTo>
                      <a:pt x="95" y="23"/>
                    </a:moveTo>
                    <a:lnTo>
                      <a:pt x="91" y="21"/>
                    </a:lnTo>
                    <a:lnTo>
                      <a:pt x="77" y="18"/>
                    </a:lnTo>
                    <a:lnTo>
                      <a:pt x="73" y="20"/>
                    </a:lnTo>
                    <a:lnTo>
                      <a:pt x="72" y="20"/>
                    </a:lnTo>
                    <a:lnTo>
                      <a:pt x="68" y="18"/>
                    </a:lnTo>
                    <a:lnTo>
                      <a:pt x="65" y="21"/>
                    </a:lnTo>
                    <a:lnTo>
                      <a:pt x="61" y="23"/>
                    </a:lnTo>
                    <a:lnTo>
                      <a:pt x="56" y="25"/>
                    </a:lnTo>
                    <a:lnTo>
                      <a:pt x="59" y="28"/>
                    </a:lnTo>
                    <a:lnTo>
                      <a:pt x="63" y="30"/>
                    </a:lnTo>
                    <a:lnTo>
                      <a:pt x="66" y="32"/>
                    </a:lnTo>
                    <a:lnTo>
                      <a:pt x="66" y="34"/>
                    </a:lnTo>
                    <a:lnTo>
                      <a:pt x="63" y="32"/>
                    </a:lnTo>
                    <a:lnTo>
                      <a:pt x="59" y="30"/>
                    </a:lnTo>
                    <a:lnTo>
                      <a:pt x="57" y="34"/>
                    </a:lnTo>
                    <a:lnTo>
                      <a:pt x="61" y="36"/>
                    </a:lnTo>
                    <a:lnTo>
                      <a:pt x="61" y="39"/>
                    </a:lnTo>
                    <a:lnTo>
                      <a:pt x="57" y="34"/>
                    </a:lnTo>
                    <a:lnTo>
                      <a:pt x="54" y="32"/>
                    </a:lnTo>
                    <a:lnTo>
                      <a:pt x="52" y="34"/>
                    </a:lnTo>
                    <a:lnTo>
                      <a:pt x="54" y="36"/>
                    </a:lnTo>
                    <a:lnTo>
                      <a:pt x="56" y="39"/>
                    </a:lnTo>
                    <a:lnTo>
                      <a:pt x="54" y="39"/>
                    </a:lnTo>
                    <a:lnTo>
                      <a:pt x="52" y="37"/>
                    </a:lnTo>
                    <a:lnTo>
                      <a:pt x="50" y="34"/>
                    </a:lnTo>
                    <a:lnTo>
                      <a:pt x="43" y="28"/>
                    </a:lnTo>
                    <a:lnTo>
                      <a:pt x="43" y="27"/>
                    </a:lnTo>
                    <a:lnTo>
                      <a:pt x="43" y="25"/>
                    </a:lnTo>
                    <a:lnTo>
                      <a:pt x="40" y="27"/>
                    </a:lnTo>
                    <a:lnTo>
                      <a:pt x="40" y="39"/>
                    </a:lnTo>
                    <a:lnTo>
                      <a:pt x="41" y="41"/>
                    </a:lnTo>
                    <a:lnTo>
                      <a:pt x="43" y="45"/>
                    </a:lnTo>
                    <a:lnTo>
                      <a:pt x="48" y="50"/>
                    </a:lnTo>
                    <a:lnTo>
                      <a:pt x="50" y="55"/>
                    </a:lnTo>
                    <a:lnTo>
                      <a:pt x="48" y="57"/>
                    </a:lnTo>
                    <a:lnTo>
                      <a:pt x="47" y="57"/>
                    </a:lnTo>
                    <a:lnTo>
                      <a:pt x="48" y="53"/>
                    </a:lnTo>
                    <a:lnTo>
                      <a:pt x="47" y="52"/>
                    </a:lnTo>
                    <a:lnTo>
                      <a:pt x="43" y="52"/>
                    </a:lnTo>
                    <a:lnTo>
                      <a:pt x="43" y="55"/>
                    </a:lnTo>
                    <a:lnTo>
                      <a:pt x="45" y="59"/>
                    </a:lnTo>
                    <a:lnTo>
                      <a:pt x="43" y="59"/>
                    </a:lnTo>
                    <a:lnTo>
                      <a:pt x="38" y="61"/>
                    </a:lnTo>
                    <a:lnTo>
                      <a:pt x="40" y="62"/>
                    </a:lnTo>
                    <a:lnTo>
                      <a:pt x="47" y="66"/>
                    </a:lnTo>
                    <a:lnTo>
                      <a:pt x="50" y="66"/>
                    </a:lnTo>
                    <a:lnTo>
                      <a:pt x="52" y="70"/>
                    </a:lnTo>
                    <a:lnTo>
                      <a:pt x="54" y="70"/>
                    </a:lnTo>
                    <a:lnTo>
                      <a:pt x="57" y="73"/>
                    </a:lnTo>
                    <a:lnTo>
                      <a:pt x="59" y="73"/>
                    </a:lnTo>
                    <a:lnTo>
                      <a:pt x="61" y="75"/>
                    </a:lnTo>
                    <a:lnTo>
                      <a:pt x="61" y="86"/>
                    </a:lnTo>
                    <a:lnTo>
                      <a:pt x="57" y="84"/>
                    </a:lnTo>
                    <a:lnTo>
                      <a:pt x="56" y="80"/>
                    </a:lnTo>
                    <a:lnTo>
                      <a:pt x="47" y="80"/>
                    </a:lnTo>
                    <a:lnTo>
                      <a:pt x="45" y="78"/>
                    </a:lnTo>
                    <a:lnTo>
                      <a:pt x="47" y="78"/>
                    </a:lnTo>
                    <a:lnTo>
                      <a:pt x="48" y="75"/>
                    </a:lnTo>
                    <a:lnTo>
                      <a:pt x="45" y="75"/>
                    </a:lnTo>
                    <a:lnTo>
                      <a:pt x="40" y="71"/>
                    </a:lnTo>
                    <a:lnTo>
                      <a:pt x="38" y="73"/>
                    </a:lnTo>
                    <a:lnTo>
                      <a:pt x="36" y="71"/>
                    </a:lnTo>
                    <a:lnTo>
                      <a:pt x="32" y="73"/>
                    </a:lnTo>
                    <a:lnTo>
                      <a:pt x="29" y="71"/>
                    </a:lnTo>
                    <a:lnTo>
                      <a:pt x="23" y="73"/>
                    </a:lnTo>
                    <a:lnTo>
                      <a:pt x="20" y="71"/>
                    </a:lnTo>
                    <a:lnTo>
                      <a:pt x="18" y="71"/>
                    </a:lnTo>
                    <a:lnTo>
                      <a:pt x="18" y="71"/>
                    </a:lnTo>
                    <a:lnTo>
                      <a:pt x="16" y="73"/>
                    </a:lnTo>
                    <a:lnTo>
                      <a:pt x="9" y="61"/>
                    </a:lnTo>
                    <a:lnTo>
                      <a:pt x="13" y="62"/>
                    </a:lnTo>
                    <a:lnTo>
                      <a:pt x="15" y="61"/>
                    </a:lnTo>
                    <a:lnTo>
                      <a:pt x="15" y="59"/>
                    </a:lnTo>
                    <a:lnTo>
                      <a:pt x="9" y="57"/>
                    </a:lnTo>
                    <a:lnTo>
                      <a:pt x="9" y="59"/>
                    </a:lnTo>
                    <a:lnTo>
                      <a:pt x="6" y="52"/>
                    </a:lnTo>
                    <a:lnTo>
                      <a:pt x="2" y="50"/>
                    </a:lnTo>
                    <a:lnTo>
                      <a:pt x="0" y="45"/>
                    </a:lnTo>
                    <a:lnTo>
                      <a:pt x="0" y="45"/>
                    </a:lnTo>
                    <a:lnTo>
                      <a:pt x="0" y="45"/>
                    </a:lnTo>
                    <a:lnTo>
                      <a:pt x="0" y="45"/>
                    </a:lnTo>
                    <a:lnTo>
                      <a:pt x="2" y="43"/>
                    </a:lnTo>
                    <a:lnTo>
                      <a:pt x="4" y="41"/>
                    </a:lnTo>
                    <a:lnTo>
                      <a:pt x="6" y="37"/>
                    </a:lnTo>
                    <a:lnTo>
                      <a:pt x="7" y="36"/>
                    </a:lnTo>
                    <a:lnTo>
                      <a:pt x="11" y="30"/>
                    </a:lnTo>
                    <a:lnTo>
                      <a:pt x="15" y="27"/>
                    </a:lnTo>
                    <a:lnTo>
                      <a:pt x="13" y="20"/>
                    </a:lnTo>
                    <a:lnTo>
                      <a:pt x="23" y="18"/>
                    </a:lnTo>
                    <a:lnTo>
                      <a:pt x="27" y="16"/>
                    </a:lnTo>
                    <a:lnTo>
                      <a:pt x="32" y="14"/>
                    </a:lnTo>
                    <a:lnTo>
                      <a:pt x="38" y="14"/>
                    </a:lnTo>
                    <a:lnTo>
                      <a:pt x="43" y="9"/>
                    </a:lnTo>
                    <a:lnTo>
                      <a:pt x="72" y="5"/>
                    </a:lnTo>
                    <a:lnTo>
                      <a:pt x="75" y="7"/>
                    </a:lnTo>
                    <a:lnTo>
                      <a:pt x="86" y="11"/>
                    </a:lnTo>
                    <a:lnTo>
                      <a:pt x="91" y="11"/>
                    </a:lnTo>
                    <a:lnTo>
                      <a:pt x="95" y="7"/>
                    </a:lnTo>
                    <a:lnTo>
                      <a:pt x="95" y="0"/>
                    </a:lnTo>
                    <a:lnTo>
                      <a:pt x="98" y="0"/>
                    </a:lnTo>
                    <a:lnTo>
                      <a:pt x="100" y="2"/>
                    </a:lnTo>
                    <a:lnTo>
                      <a:pt x="102" y="3"/>
                    </a:lnTo>
                    <a:lnTo>
                      <a:pt x="102" y="7"/>
                    </a:lnTo>
                    <a:lnTo>
                      <a:pt x="98" y="11"/>
                    </a:lnTo>
                    <a:lnTo>
                      <a:pt x="97" y="20"/>
                    </a:lnTo>
                    <a:lnTo>
                      <a:pt x="95" y="2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94" name="Freeform 3049"/>
              <p:cNvSpPr>
                <a:spLocks/>
              </p:cNvSpPr>
              <p:nvPr/>
            </p:nvSpPr>
            <p:spPr bwMode="auto">
              <a:xfrm>
                <a:off x="3009" y="1640"/>
                <a:ext cx="53" cy="39"/>
              </a:xfrm>
              <a:custGeom>
                <a:avLst/>
                <a:gdLst>
                  <a:gd name="T0" fmla="*/ 0 w 53"/>
                  <a:gd name="T1" fmla="*/ 34 h 39"/>
                  <a:gd name="T2" fmla="*/ 1 w 53"/>
                  <a:gd name="T3" fmla="*/ 34 h 39"/>
                  <a:gd name="T4" fmla="*/ 3 w 53"/>
                  <a:gd name="T5" fmla="*/ 30 h 39"/>
                  <a:gd name="T6" fmla="*/ 7 w 53"/>
                  <a:gd name="T7" fmla="*/ 25 h 39"/>
                  <a:gd name="T8" fmla="*/ 7 w 53"/>
                  <a:gd name="T9" fmla="*/ 21 h 39"/>
                  <a:gd name="T10" fmla="*/ 7 w 53"/>
                  <a:gd name="T11" fmla="*/ 19 h 39"/>
                  <a:gd name="T12" fmla="*/ 14 w 53"/>
                  <a:gd name="T13" fmla="*/ 19 h 39"/>
                  <a:gd name="T14" fmla="*/ 23 w 53"/>
                  <a:gd name="T15" fmla="*/ 9 h 39"/>
                  <a:gd name="T16" fmla="*/ 25 w 53"/>
                  <a:gd name="T17" fmla="*/ 0 h 39"/>
                  <a:gd name="T18" fmla="*/ 23 w 53"/>
                  <a:gd name="T19" fmla="*/ 7 h 39"/>
                  <a:gd name="T20" fmla="*/ 17 w 53"/>
                  <a:gd name="T21" fmla="*/ 17 h 39"/>
                  <a:gd name="T22" fmla="*/ 17 w 53"/>
                  <a:gd name="T23" fmla="*/ 21 h 39"/>
                  <a:gd name="T24" fmla="*/ 19 w 53"/>
                  <a:gd name="T25" fmla="*/ 19 h 39"/>
                  <a:gd name="T26" fmla="*/ 23 w 53"/>
                  <a:gd name="T27" fmla="*/ 21 h 39"/>
                  <a:gd name="T28" fmla="*/ 26 w 53"/>
                  <a:gd name="T29" fmla="*/ 21 h 39"/>
                  <a:gd name="T30" fmla="*/ 26 w 53"/>
                  <a:gd name="T31" fmla="*/ 14 h 39"/>
                  <a:gd name="T32" fmla="*/ 26 w 53"/>
                  <a:gd name="T33" fmla="*/ 12 h 39"/>
                  <a:gd name="T34" fmla="*/ 28 w 53"/>
                  <a:gd name="T35" fmla="*/ 10 h 39"/>
                  <a:gd name="T36" fmla="*/ 30 w 53"/>
                  <a:gd name="T37" fmla="*/ 10 h 39"/>
                  <a:gd name="T38" fmla="*/ 32 w 53"/>
                  <a:gd name="T39" fmla="*/ 12 h 39"/>
                  <a:gd name="T40" fmla="*/ 33 w 53"/>
                  <a:gd name="T41" fmla="*/ 12 h 39"/>
                  <a:gd name="T42" fmla="*/ 35 w 53"/>
                  <a:gd name="T43" fmla="*/ 14 h 39"/>
                  <a:gd name="T44" fmla="*/ 42 w 53"/>
                  <a:gd name="T45" fmla="*/ 16 h 39"/>
                  <a:gd name="T46" fmla="*/ 48 w 53"/>
                  <a:gd name="T47" fmla="*/ 16 h 39"/>
                  <a:gd name="T48" fmla="*/ 50 w 53"/>
                  <a:gd name="T49" fmla="*/ 17 h 39"/>
                  <a:gd name="T50" fmla="*/ 53 w 53"/>
                  <a:gd name="T51" fmla="*/ 23 h 39"/>
                  <a:gd name="T52" fmla="*/ 51 w 53"/>
                  <a:gd name="T53" fmla="*/ 28 h 39"/>
                  <a:gd name="T54" fmla="*/ 51 w 53"/>
                  <a:gd name="T55" fmla="*/ 35 h 39"/>
                  <a:gd name="T56" fmla="*/ 37 w 53"/>
                  <a:gd name="T57" fmla="*/ 39 h 39"/>
                  <a:gd name="T58" fmla="*/ 0 w 53"/>
                  <a:gd name="T59"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39">
                    <a:moveTo>
                      <a:pt x="0" y="34"/>
                    </a:moveTo>
                    <a:lnTo>
                      <a:pt x="1" y="34"/>
                    </a:lnTo>
                    <a:lnTo>
                      <a:pt x="3" y="30"/>
                    </a:lnTo>
                    <a:lnTo>
                      <a:pt x="7" y="25"/>
                    </a:lnTo>
                    <a:lnTo>
                      <a:pt x="7" y="21"/>
                    </a:lnTo>
                    <a:lnTo>
                      <a:pt x="7" y="19"/>
                    </a:lnTo>
                    <a:lnTo>
                      <a:pt x="14" y="19"/>
                    </a:lnTo>
                    <a:lnTo>
                      <a:pt x="23" y="9"/>
                    </a:lnTo>
                    <a:lnTo>
                      <a:pt x="25" y="0"/>
                    </a:lnTo>
                    <a:lnTo>
                      <a:pt x="23" y="7"/>
                    </a:lnTo>
                    <a:lnTo>
                      <a:pt x="17" y="17"/>
                    </a:lnTo>
                    <a:lnTo>
                      <a:pt x="17" y="21"/>
                    </a:lnTo>
                    <a:lnTo>
                      <a:pt x="19" y="19"/>
                    </a:lnTo>
                    <a:lnTo>
                      <a:pt x="23" y="21"/>
                    </a:lnTo>
                    <a:lnTo>
                      <a:pt x="26" y="21"/>
                    </a:lnTo>
                    <a:lnTo>
                      <a:pt x="26" y="14"/>
                    </a:lnTo>
                    <a:lnTo>
                      <a:pt x="26" y="12"/>
                    </a:lnTo>
                    <a:lnTo>
                      <a:pt x="28" y="10"/>
                    </a:lnTo>
                    <a:lnTo>
                      <a:pt x="30" y="10"/>
                    </a:lnTo>
                    <a:lnTo>
                      <a:pt x="32" y="12"/>
                    </a:lnTo>
                    <a:lnTo>
                      <a:pt x="33" y="12"/>
                    </a:lnTo>
                    <a:lnTo>
                      <a:pt x="35" y="14"/>
                    </a:lnTo>
                    <a:lnTo>
                      <a:pt x="42" y="16"/>
                    </a:lnTo>
                    <a:lnTo>
                      <a:pt x="48" y="16"/>
                    </a:lnTo>
                    <a:lnTo>
                      <a:pt x="50" y="17"/>
                    </a:lnTo>
                    <a:lnTo>
                      <a:pt x="53" y="23"/>
                    </a:lnTo>
                    <a:lnTo>
                      <a:pt x="51" y="28"/>
                    </a:lnTo>
                    <a:lnTo>
                      <a:pt x="51" y="35"/>
                    </a:lnTo>
                    <a:lnTo>
                      <a:pt x="37" y="39"/>
                    </a:lnTo>
                    <a:lnTo>
                      <a:pt x="0" y="3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95" name="Freeform 3050"/>
              <p:cNvSpPr>
                <a:spLocks/>
              </p:cNvSpPr>
              <p:nvPr/>
            </p:nvSpPr>
            <p:spPr bwMode="auto">
              <a:xfrm>
                <a:off x="3009" y="1640"/>
                <a:ext cx="53" cy="39"/>
              </a:xfrm>
              <a:custGeom>
                <a:avLst/>
                <a:gdLst>
                  <a:gd name="T0" fmla="*/ 0 w 53"/>
                  <a:gd name="T1" fmla="*/ 34 h 39"/>
                  <a:gd name="T2" fmla="*/ 1 w 53"/>
                  <a:gd name="T3" fmla="*/ 34 h 39"/>
                  <a:gd name="T4" fmla="*/ 3 w 53"/>
                  <a:gd name="T5" fmla="*/ 30 h 39"/>
                  <a:gd name="T6" fmla="*/ 7 w 53"/>
                  <a:gd name="T7" fmla="*/ 25 h 39"/>
                  <a:gd name="T8" fmla="*/ 7 w 53"/>
                  <a:gd name="T9" fmla="*/ 21 h 39"/>
                  <a:gd name="T10" fmla="*/ 7 w 53"/>
                  <a:gd name="T11" fmla="*/ 19 h 39"/>
                  <a:gd name="T12" fmla="*/ 14 w 53"/>
                  <a:gd name="T13" fmla="*/ 19 h 39"/>
                  <a:gd name="T14" fmla="*/ 23 w 53"/>
                  <a:gd name="T15" fmla="*/ 9 h 39"/>
                  <a:gd name="T16" fmla="*/ 25 w 53"/>
                  <a:gd name="T17" fmla="*/ 0 h 39"/>
                  <a:gd name="T18" fmla="*/ 23 w 53"/>
                  <a:gd name="T19" fmla="*/ 7 h 39"/>
                  <a:gd name="T20" fmla="*/ 17 w 53"/>
                  <a:gd name="T21" fmla="*/ 17 h 39"/>
                  <a:gd name="T22" fmla="*/ 17 w 53"/>
                  <a:gd name="T23" fmla="*/ 21 h 39"/>
                  <a:gd name="T24" fmla="*/ 19 w 53"/>
                  <a:gd name="T25" fmla="*/ 19 h 39"/>
                  <a:gd name="T26" fmla="*/ 23 w 53"/>
                  <a:gd name="T27" fmla="*/ 21 h 39"/>
                  <a:gd name="T28" fmla="*/ 26 w 53"/>
                  <a:gd name="T29" fmla="*/ 21 h 39"/>
                  <a:gd name="T30" fmla="*/ 26 w 53"/>
                  <a:gd name="T31" fmla="*/ 14 h 39"/>
                  <a:gd name="T32" fmla="*/ 26 w 53"/>
                  <a:gd name="T33" fmla="*/ 12 h 39"/>
                  <a:gd name="T34" fmla="*/ 28 w 53"/>
                  <a:gd name="T35" fmla="*/ 10 h 39"/>
                  <a:gd name="T36" fmla="*/ 30 w 53"/>
                  <a:gd name="T37" fmla="*/ 10 h 39"/>
                  <a:gd name="T38" fmla="*/ 32 w 53"/>
                  <a:gd name="T39" fmla="*/ 12 h 39"/>
                  <a:gd name="T40" fmla="*/ 33 w 53"/>
                  <a:gd name="T41" fmla="*/ 12 h 39"/>
                  <a:gd name="T42" fmla="*/ 35 w 53"/>
                  <a:gd name="T43" fmla="*/ 14 h 39"/>
                  <a:gd name="T44" fmla="*/ 42 w 53"/>
                  <a:gd name="T45" fmla="*/ 16 h 39"/>
                  <a:gd name="T46" fmla="*/ 48 w 53"/>
                  <a:gd name="T47" fmla="*/ 16 h 39"/>
                  <a:gd name="T48" fmla="*/ 50 w 53"/>
                  <a:gd name="T49" fmla="*/ 17 h 39"/>
                  <a:gd name="T50" fmla="*/ 53 w 53"/>
                  <a:gd name="T51" fmla="*/ 23 h 39"/>
                  <a:gd name="T52" fmla="*/ 51 w 53"/>
                  <a:gd name="T53" fmla="*/ 28 h 39"/>
                  <a:gd name="T54" fmla="*/ 51 w 53"/>
                  <a:gd name="T55" fmla="*/ 35 h 39"/>
                  <a:gd name="T56" fmla="*/ 37 w 53"/>
                  <a:gd name="T57" fmla="*/ 39 h 39"/>
                  <a:gd name="T58" fmla="*/ 0 w 53"/>
                  <a:gd name="T59" fmla="*/ 3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39">
                    <a:moveTo>
                      <a:pt x="0" y="34"/>
                    </a:moveTo>
                    <a:lnTo>
                      <a:pt x="1" y="34"/>
                    </a:lnTo>
                    <a:lnTo>
                      <a:pt x="3" y="30"/>
                    </a:lnTo>
                    <a:lnTo>
                      <a:pt x="7" y="25"/>
                    </a:lnTo>
                    <a:lnTo>
                      <a:pt x="7" y="21"/>
                    </a:lnTo>
                    <a:lnTo>
                      <a:pt x="7" y="19"/>
                    </a:lnTo>
                    <a:lnTo>
                      <a:pt x="14" y="19"/>
                    </a:lnTo>
                    <a:lnTo>
                      <a:pt x="23" y="9"/>
                    </a:lnTo>
                    <a:lnTo>
                      <a:pt x="25" y="0"/>
                    </a:lnTo>
                    <a:lnTo>
                      <a:pt x="23" y="7"/>
                    </a:lnTo>
                    <a:lnTo>
                      <a:pt x="17" y="17"/>
                    </a:lnTo>
                    <a:lnTo>
                      <a:pt x="17" y="21"/>
                    </a:lnTo>
                    <a:lnTo>
                      <a:pt x="19" y="19"/>
                    </a:lnTo>
                    <a:lnTo>
                      <a:pt x="23" y="21"/>
                    </a:lnTo>
                    <a:lnTo>
                      <a:pt x="26" y="21"/>
                    </a:lnTo>
                    <a:lnTo>
                      <a:pt x="26" y="14"/>
                    </a:lnTo>
                    <a:lnTo>
                      <a:pt x="26" y="12"/>
                    </a:lnTo>
                    <a:lnTo>
                      <a:pt x="28" y="10"/>
                    </a:lnTo>
                    <a:lnTo>
                      <a:pt x="30" y="10"/>
                    </a:lnTo>
                    <a:lnTo>
                      <a:pt x="32" y="12"/>
                    </a:lnTo>
                    <a:lnTo>
                      <a:pt x="33" y="12"/>
                    </a:lnTo>
                    <a:lnTo>
                      <a:pt x="35" y="14"/>
                    </a:lnTo>
                    <a:lnTo>
                      <a:pt x="42" y="16"/>
                    </a:lnTo>
                    <a:lnTo>
                      <a:pt x="48" y="16"/>
                    </a:lnTo>
                    <a:lnTo>
                      <a:pt x="50" y="17"/>
                    </a:lnTo>
                    <a:lnTo>
                      <a:pt x="53" y="23"/>
                    </a:lnTo>
                    <a:lnTo>
                      <a:pt x="51" y="28"/>
                    </a:lnTo>
                    <a:lnTo>
                      <a:pt x="51" y="35"/>
                    </a:lnTo>
                    <a:lnTo>
                      <a:pt x="37" y="39"/>
                    </a:lnTo>
                    <a:lnTo>
                      <a:pt x="0" y="3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96" name="Freeform 3051"/>
              <p:cNvSpPr>
                <a:spLocks/>
              </p:cNvSpPr>
              <p:nvPr/>
            </p:nvSpPr>
            <p:spPr bwMode="auto">
              <a:xfrm>
                <a:off x="2948" y="1900"/>
                <a:ext cx="62" cy="65"/>
              </a:xfrm>
              <a:custGeom>
                <a:avLst/>
                <a:gdLst>
                  <a:gd name="T0" fmla="*/ 43 w 62"/>
                  <a:gd name="T1" fmla="*/ 61 h 65"/>
                  <a:gd name="T2" fmla="*/ 37 w 62"/>
                  <a:gd name="T3" fmla="*/ 57 h 65"/>
                  <a:gd name="T4" fmla="*/ 34 w 62"/>
                  <a:gd name="T5" fmla="*/ 54 h 65"/>
                  <a:gd name="T6" fmla="*/ 28 w 62"/>
                  <a:gd name="T7" fmla="*/ 54 h 65"/>
                  <a:gd name="T8" fmla="*/ 23 w 62"/>
                  <a:gd name="T9" fmla="*/ 41 h 65"/>
                  <a:gd name="T10" fmla="*/ 14 w 62"/>
                  <a:gd name="T11" fmla="*/ 34 h 65"/>
                  <a:gd name="T12" fmla="*/ 11 w 62"/>
                  <a:gd name="T13" fmla="*/ 29 h 65"/>
                  <a:gd name="T14" fmla="*/ 7 w 62"/>
                  <a:gd name="T15" fmla="*/ 22 h 65"/>
                  <a:gd name="T16" fmla="*/ 5 w 62"/>
                  <a:gd name="T17" fmla="*/ 18 h 65"/>
                  <a:gd name="T18" fmla="*/ 2 w 62"/>
                  <a:gd name="T19" fmla="*/ 13 h 65"/>
                  <a:gd name="T20" fmla="*/ 0 w 62"/>
                  <a:gd name="T21" fmla="*/ 9 h 65"/>
                  <a:gd name="T22" fmla="*/ 2 w 62"/>
                  <a:gd name="T23" fmla="*/ 0 h 65"/>
                  <a:gd name="T24" fmla="*/ 9 w 62"/>
                  <a:gd name="T25" fmla="*/ 6 h 65"/>
                  <a:gd name="T26" fmla="*/ 18 w 62"/>
                  <a:gd name="T27" fmla="*/ 2 h 65"/>
                  <a:gd name="T28" fmla="*/ 23 w 62"/>
                  <a:gd name="T29" fmla="*/ 4 h 65"/>
                  <a:gd name="T30" fmla="*/ 27 w 62"/>
                  <a:gd name="T31" fmla="*/ 4 h 65"/>
                  <a:gd name="T32" fmla="*/ 32 w 62"/>
                  <a:gd name="T33" fmla="*/ 4 h 65"/>
                  <a:gd name="T34" fmla="*/ 36 w 62"/>
                  <a:gd name="T35" fmla="*/ 4 h 65"/>
                  <a:gd name="T36" fmla="*/ 39 w 62"/>
                  <a:gd name="T37" fmla="*/ 6 h 65"/>
                  <a:gd name="T38" fmla="*/ 44 w 62"/>
                  <a:gd name="T39" fmla="*/ 6 h 65"/>
                  <a:gd name="T40" fmla="*/ 46 w 62"/>
                  <a:gd name="T41" fmla="*/ 6 h 65"/>
                  <a:gd name="T42" fmla="*/ 48 w 62"/>
                  <a:gd name="T43" fmla="*/ 9 h 65"/>
                  <a:gd name="T44" fmla="*/ 53 w 62"/>
                  <a:gd name="T45" fmla="*/ 9 h 65"/>
                  <a:gd name="T46" fmla="*/ 59 w 62"/>
                  <a:gd name="T47" fmla="*/ 11 h 65"/>
                  <a:gd name="T48" fmla="*/ 55 w 62"/>
                  <a:gd name="T49" fmla="*/ 18 h 65"/>
                  <a:gd name="T50" fmla="*/ 53 w 62"/>
                  <a:gd name="T51" fmla="*/ 20 h 65"/>
                  <a:gd name="T52" fmla="*/ 57 w 62"/>
                  <a:gd name="T53" fmla="*/ 24 h 65"/>
                  <a:gd name="T54" fmla="*/ 59 w 62"/>
                  <a:gd name="T55" fmla="*/ 27 h 65"/>
                  <a:gd name="T56" fmla="*/ 61 w 62"/>
                  <a:gd name="T57" fmla="*/ 27 h 65"/>
                  <a:gd name="T58" fmla="*/ 62 w 62"/>
                  <a:gd name="T59" fmla="*/ 29 h 65"/>
                  <a:gd name="T60" fmla="*/ 57 w 62"/>
                  <a:gd name="T61" fmla="*/ 29 h 65"/>
                  <a:gd name="T62" fmla="*/ 61 w 62"/>
                  <a:gd name="T63" fmla="*/ 34 h 65"/>
                  <a:gd name="T64" fmla="*/ 59 w 62"/>
                  <a:gd name="T65" fmla="*/ 40 h 65"/>
                  <a:gd name="T66" fmla="*/ 57 w 62"/>
                  <a:gd name="T67" fmla="*/ 40 h 65"/>
                  <a:gd name="T68" fmla="*/ 53 w 62"/>
                  <a:gd name="T69" fmla="*/ 40 h 65"/>
                  <a:gd name="T70" fmla="*/ 52 w 62"/>
                  <a:gd name="T71" fmla="*/ 40 h 65"/>
                  <a:gd name="T72" fmla="*/ 53 w 62"/>
                  <a:gd name="T73" fmla="*/ 41 h 65"/>
                  <a:gd name="T74" fmla="*/ 53 w 62"/>
                  <a:gd name="T75" fmla="*/ 47 h 65"/>
                  <a:gd name="T76" fmla="*/ 52 w 62"/>
                  <a:gd name="T77" fmla="*/ 47 h 65"/>
                  <a:gd name="T78" fmla="*/ 50 w 62"/>
                  <a:gd name="T79" fmla="*/ 43 h 65"/>
                  <a:gd name="T80" fmla="*/ 46 w 62"/>
                  <a:gd name="T81" fmla="*/ 49 h 65"/>
                  <a:gd name="T82" fmla="*/ 44 w 62"/>
                  <a:gd name="T83" fmla="*/ 50 h 65"/>
                  <a:gd name="T84" fmla="*/ 43 w 62"/>
                  <a:gd name="T85" fmla="*/ 56 h 65"/>
                  <a:gd name="T86" fmla="*/ 44 w 62"/>
                  <a:gd name="T87" fmla="*/ 57 h 65"/>
                  <a:gd name="T88" fmla="*/ 43 w 62"/>
                  <a:gd name="T8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65">
                    <a:moveTo>
                      <a:pt x="43" y="65"/>
                    </a:moveTo>
                    <a:lnTo>
                      <a:pt x="43" y="61"/>
                    </a:lnTo>
                    <a:lnTo>
                      <a:pt x="43" y="61"/>
                    </a:lnTo>
                    <a:lnTo>
                      <a:pt x="43" y="59"/>
                    </a:lnTo>
                    <a:lnTo>
                      <a:pt x="39" y="59"/>
                    </a:lnTo>
                    <a:lnTo>
                      <a:pt x="37" y="57"/>
                    </a:lnTo>
                    <a:lnTo>
                      <a:pt x="36" y="57"/>
                    </a:lnTo>
                    <a:lnTo>
                      <a:pt x="34" y="56"/>
                    </a:lnTo>
                    <a:lnTo>
                      <a:pt x="34" y="54"/>
                    </a:lnTo>
                    <a:lnTo>
                      <a:pt x="30" y="54"/>
                    </a:lnTo>
                    <a:lnTo>
                      <a:pt x="28" y="54"/>
                    </a:lnTo>
                    <a:lnTo>
                      <a:pt x="28" y="54"/>
                    </a:lnTo>
                    <a:lnTo>
                      <a:pt x="30" y="52"/>
                    </a:lnTo>
                    <a:lnTo>
                      <a:pt x="25" y="45"/>
                    </a:lnTo>
                    <a:lnTo>
                      <a:pt x="23" y="41"/>
                    </a:lnTo>
                    <a:lnTo>
                      <a:pt x="23" y="40"/>
                    </a:lnTo>
                    <a:lnTo>
                      <a:pt x="21" y="40"/>
                    </a:lnTo>
                    <a:lnTo>
                      <a:pt x="14" y="34"/>
                    </a:lnTo>
                    <a:lnTo>
                      <a:pt x="14" y="32"/>
                    </a:lnTo>
                    <a:lnTo>
                      <a:pt x="12" y="29"/>
                    </a:lnTo>
                    <a:lnTo>
                      <a:pt x="11" y="29"/>
                    </a:lnTo>
                    <a:lnTo>
                      <a:pt x="7" y="24"/>
                    </a:lnTo>
                    <a:lnTo>
                      <a:pt x="7" y="24"/>
                    </a:lnTo>
                    <a:lnTo>
                      <a:pt x="7" y="22"/>
                    </a:lnTo>
                    <a:lnTo>
                      <a:pt x="7" y="22"/>
                    </a:lnTo>
                    <a:lnTo>
                      <a:pt x="5" y="20"/>
                    </a:lnTo>
                    <a:lnTo>
                      <a:pt x="5" y="18"/>
                    </a:lnTo>
                    <a:lnTo>
                      <a:pt x="5" y="16"/>
                    </a:lnTo>
                    <a:lnTo>
                      <a:pt x="3" y="13"/>
                    </a:lnTo>
                    <a:lnTo>
                      <a:pt x="2" y="13"/>
                    </a:lnTo>
                    <a:lnTo>
                      <a:pt x="0" y="11"/>
                    </a:lnTo>
                    <a:lnTo>
                      <a:pt x="0" y="9"/>
                    </a:lnTo>
                    <a:lnTo>
                      <a:pt x="0" y="9"/>
                    </a:lnTo>
                    <a:lnTo>
                      <a:pt x="0" y="7"/>
                    </a:lnTo>
                    <a:lnTo>
                      <a:pt x="0" y="2"/>
                    </a:lnTo>
                    <a:lnTo>
                      <a:pt x="2" y="0"/>
                    </a:lnTo>
                    <a:lnTo>
                      <a:pt x="5" y="2"/>
                    </a:lnTo>
                    <a:lnTo>
                      <a:pt x="5" y="2"/>
                    </a:lnTo>
                    <a:lnTo>
                      <a:pt x="9" y="6"/>
                    </a:lnTo>
                    <a:lnTo>
                      <a:pt x="9" y="6"/>
                    </a:lnTo>
                    <a:lnTo>
                      <a:pt x="12" y="2"/>
                    </a:lnTo>
                    <a:lnTo>
                      <a:pt x="18" y="2"/>
                    </a:lnTo>
                    <a:lnTo>
                      <a:pt x="19" y="0"/>
                    </a:lnTo>
                    <a:lnTo>
                      <a:pt x="19" y="0"/>
                    </a:lnTo>
                    <a:lnTo>
                      <a:pt x="23" y="4"/>
                    </a:lnTo>
                    <a:lnTo>
                      <a:pt x="25" y="4"/>
                    </a:lnTo>
                    <a:lnTo>
                      <a:pt x="25" y="2"/>
                    </a:lnTo>
                    <a:lnTo>
                      <a:pt x="27" y="4"/>
                    </a:lnTo>
                    <a:lnTo>
                      <a:pt x="30" y="4"/>
                    </a:lnTo>
                    <a:lnTo>
                      <a:pt x="30" y="4"/>
                    </a:lnTo>
                    <a:lnTo>
                      <a:pt x="32" y="4"/>
                    </a:lnTo>
                    <a:lnTo>
                      <a:pt x="34" y="6"/>
                    </a:lnTo>
                    <a:lnTo>
                      <a:pt x="34" y="6"/>
                    </a:lnTo>
                    <a:lnTo>
                      <a:pt x="36" y="4"/>
                    </a:lnTo>
                    <a:lnTo>
                      <a:pt x="37" y="4"/>
                    </a:lnTo>
                    <a:lnTo>
                      <a:pt x="39" y="6"/>
                    </a:lnTo>
                    <a:lnTo>
                      <a:pt x="39" y="6"/>
                    </a:lnTo>
                    <a:lnTo>
                      <a:pt x="39" y="4"/>
                    </a:lnTo>
                    <a:lnTo>
                      <a:pt x="43" y="4"/>
                    </a:lnTo>
                    <a:lnTo>
                      <a:pt x="44" y="6"/>
                    </a:lnTo>
                    <a:lnTo>
                      <a:pt x="44" y="6"/>
                    </a:lnTo>
                    <a:lnTo>
                      <a:pt x="44" y="6"/>
                    </a:lnTo>
                    <a:lnTo>
                      <a:pt x="46" y="6"/>
                    </a:lnTo>
                    <a:lnTo>
                      <a:pt x="48" y="7"/>
                    </a:lnTo>
                    <a:lnTo>
                      <a:pt x="48" y="9"/>
                    </a:lnTo>
                    <a:lnTo>
                      <a:pt x="48" y="9"/>
                    </a:lnTo>
                    <a:lnTo>
                      <a:pt x="50" y="11"/>
                    </a:lnTo>
                    <a:lnTo>
                      <a:pt x="52" y="11"/>
                    </a:lnTo>
                    <a:lnTo>
                      <a:pt x="53" y="9"/>
                    </a:lnTo>
                    <a:lnTo>
                      <a:pt x="57" y="9"/>
                    </a:lnTo>
                    <a:lnTo>
                      <a:pt x="59" y="9"/>
                    </a:lnTo>
                    <a:lnTo>
                      <a:pt x="59" y="11"/>
                    </a:lnTo>
                    <a:lnTo>
                      <a:pt x="59" y="13"/>
                    </a:lnTo>
                    <a:lnTo>
                      <a:pt x="55" y="18"/>
                    </a:lnTo>
                    <a:lnTo>
                      <a:pt x="55" y="18"/>
                    </a:lnTo>
                    <a:lnTo>
                      <a:pt x="55" y="18"/>
                    </a:lnTo>
                    <a:lnTo>
                      <a:pt x="55" y="20"/>
                    </a:lnTo>
                    <a:lnTo>
                      <a:pt x="53" y="20"/>
                    </a:lnTo>
                    <a:lnTo>
                      <a:pt x="55" y="24"/>
                    </a:lnTo>
                    <a:lnTo>
                      <a:pt x="55" y="24"/>
                    </a:lnTo>
                    <a:lnTo>
                      <a:pt x="57" y="24"/>
                    </a:lnTo>
                    <a:lnTo>
                      <a:pt x="57" y="24"/>
                    </a:lnTo>
                    <a:lnTo>
                      <a:pt x="59" y="25"/>
                    </a:lnTo>
                    <a:lnTo>
                      <a:pt x="59" y="27"/>
                    </a:lnTo>
                    <a:lnTo>
                      <a:pt x="61" y="25"/>
                    </a:lnTo>
                    <a:lnTo>
                      <a:pt x="61" y="27"/>
                    </a:lnTo>
                    <a:lnTo>
                      <a:pt x="61" y="27"/>
                    </a:lnTo>
                    <a:lnTo>
                      <a:pt x="62" y="27"/>
                    </a:lnTo>
                    <a:lnTo>
                      <a:pt x="62" y="29"/>
                    </a:lnTo>
                    <a:lnTo>
                      <a:pt x="62" y="29"/>
                    </a:lnTo>
                    <a:lnTo>
                      <a:pt x="61" y="31"/>
                    </a:lnTo>
                    <a:lnTo>
                      <a:pt x="59" y="31"/>
                    </a:lnTo>
                    <a:lnTo>
                      <a:pt x="57" y="29"/>
                    </a:lnTo>
                    <a:lnTo>
                      <a:pt x="57" y="29"/>
                    </a:lnTo>
                    <a:lnTo>
                      <a:pt x="57" y="31"/>
                    </a:lnTo>
                    <a:lnTo>
                      <a:pt x="61" y="34"/>
                    </a:lnTo>
                    <a:lnTo>
                      <a:pt x="61" y="36"/>
                    </a:lnTo>
                    <a:lnTo>
                      <a:pt x="61" y="38"/>
                    </a:lnTo>
                    <a:lnTo>
                      <a:pt x="59" y="40"/>
                    </a:lnTo>
                    <a:lnTo>
                      <a:pt x="59" y="38"/>
                    </a:lnTo>
                    <a:lnTo>
                      <a:pt x="59" y="38"/>
                    </a:lnTo>
                    <a:lnTo>
                      <a:pt x="57" y="40"/>
                    </a:lnTo>
                    <a:lnTo>
                      <a:pt x="55" y="40"/>
                    </a:lnTo>
                    <a:lnTo>
                      <a:pt x="55" y="40"/>
                    </a:lnTo>
                    <a:lnTo>
                      <a:pt x="53" y="40"/>
                    </a:lnTo>
                    <a:lnTo>
                      <a:pt x="53" y="40"/>
                    </a:lnTo>
                    <a:lnTo>
                      <a:pt x="53" y="40"/>
                    </a:lnTo>
                    <a:lnTo>
                      <a:pt x="52" y="40"/>
                    </a:lnTo>
                    <a:lnTo>
                      <a:pt x="52" y="41"/>
                    </a:lnTo>
                    <a:lnTo>
                      <a:pt x="52" y="41"/>
                    </a:lnTo>
                    <a:lnTo>
                      <a:pt x="53" y="41"/>
                    </a:lnTo>
                    <a:lnTo>
                      <a:pt x="53" y="43"/>
                    </a:lnTo>
                    <a:lnTo>
                      <a:pt x="53" y="45"/>
                    </a:lnTo>
                    <a:lnTo>
                      <a:pt x="53" y="47"/>
                    </a:lnTo>
                    <a:lnTo>
                      <a:pt x="53" y="47"/>
                    </a:lnTo>
                    <a:lnTo>
                      <a:pt x="52" y="47"/>
                    </a:lnTo>
                    <a:lnTo>
                      <a:pt x="52" y="47"/>
                    </a:lnTo>
                    <a:lnTo>
                      <a:pt x="52" y="45"/>
                    </a:lnTo>
                    <a:lnTo>
                      <a:pt x="52" y="43"/>
                    </a:lnTo>
                    <a:lnTo>
                      <a:pt x="50" y="43"/>
                    </a:lnTo>
                    <a:lnTo>
                      <a:pt x="48" y="47"/>
                    </a:lnTo>
                    <a:lnTo>
                      <a:pt x="46" y="47"/>
                    </a:lnTo>
                    <a:lnTo>
                      <a:pt x="46" y="49"/>
                    </a:lnTo>
                    <a:lnTo>
                      <a:pt x="46" y="50"/>
                    </a:lnTo>
                    <a:lnTo>
                      <a:pt x="46" y="50"/>
                    </a:lnTo>
                    <a:lnTo>
                      <a:pt x="44" y="50"/>
                    </a:lnTo>
                    <a:lnTo>
                      <a:pt x="44" y="52"/>
                    </a:lnTo>
                    <a:lnTo>
                      <a:pt x="44" y="54"/>
                    </a:lnTo>
                    <a:lnTo>
                      <a:pt x="43" y="56"/>
                    </a:lnTo>
                    <a:lnTo>
                      <a:pt x="43" y="56"/>
                    </a:lnTo>
                    <a:lnTo>
                      <a:pt x="44" y="57"/>
                    </a:lnTo>
                    <a:lnTo>
                      <a:pt x="44" y="57"/>
                    </a:lnTo>
                    <a:lnTo>
                      <a:pt x="44" y="59"/>
                    </a:lnTo>
                    <a:lnTo>
                      <a:pt x="43" y="61"/>
                    </a:lnTo>
                    <a:lnTo>
                      <a:pt x="43" y="6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97" name="Freeform 3052"/>
              <p:cNvSpPr>
                <a:spLocks/>
              </p:cNvSpPr>
              <p:nvPr/>
            </p:nvSpPr>
            <p:spPr bwMode="auto">
              <a:xfrm>
                <a:off x="2948" y="1900"/>
                <a:ext cx="62" cy="65"/>
              </a:xfrm>
              <a:custGeom>
                <a:avLst/>
                <a:gdLst>
                  <a:gd name="T0" fmla="*/ 43 w 62"/>
                  <a:gd name="T1" fmla="*/ 61 h 65"/>
                  <a:gd name="T2" fmla="*/ 37 w 62"/>
                  <a:gd name="T3" fmla="*/ 57 h 65"/>
                  <a:gd name="T4" fmla="*/ 34 w 62"/>
                  <a:gd name="T5" fmla="*/ 54 h 65"/>
                  <a:gd name="T6" fmla="*/ 28 w 62"/>
                  <a:gd name="T7" fmla="*/ 54 h 65"/>
                  <a:gd name="T8" fmla="*/ 23 w 62"/>
                  <a:gd name="T9" fmla="*/ 41 h 65"/>
                  <a:gd name="T10" fmla="*/ 14 w 62"/>
                  <a:gd name="T11" fmla="*/ 34 h 65"/>
                  <a:gd name="T12" fmla="*/ 11 w 62"/>
                  <a:gd name="T13" fmla="*/ 29 h 65"/>
                  <a:gd name="T14" fmla="*/ 7 w 62"/>
                  <a:gd name="T15" fmla="*/ 22 h 65"/>
                  <a:gd name="T16" fmla="*/ 5 w 62"/>
                  <a:gd name="T17" fmla="*/ 18 h 65"/>
                  <a:gd name="T18" fmla="*/ 2 w 62"/>
                  <a:gd name="T19" fmla="*/ 13 h 65"/>
                  <a:gd name="T20" fmla="*/ 0 w 62"/>
                  <a:gd name="T21" fmla="*/ 9 h 65"/>
                  <a:gd name="T22" fmla="*/ 2 w 62"/>
                  <a:gd name="T23" fmla="*/ 0 h 65"/>
                  <a:gd name="T24" fmla="*/ 9 w 62"/>
                  <a:gd name="T25" fmla="*/ 6 h 65"/>
                  <a:gd name="T26" fmla="*/ 18 w 62"/>
                  <a:gd name="T27" fmla="*/ 2 h 65"/>
                  <a:gd name="T28" fmla="*/ 23 w 62"/>
                  <a:gd name="T29" fmla="*/ 4 h 65"/>
                  <a:gd name="T30" fmla="*/ 27 w 62"/>
                  <a:gd name="T31" fmla="*/ 4 h 65"/>
                  <a:gd name="T32" fmla="*/ 32 w 62"/>
                  <a:gd name="T33" fmla="*/ 4 h 65"/>
                  <a:gd name="T34" fmla="*/ 36 w 62"/>
                  <a:gd name="T35" fmla="*/ 4 h 65"/>
                  <a:gd name="T36" fmla="*/ 39 w 62"/>
                  <a:gd name="T37" fmla="*/ 6 h 65"/>
                  <a:gd name="T38" fmla="*/ 44 w 62"/>
                  <a:gd name="T39" fmla="*/ 6 h 65"/>
                  <a:gd name="T40" fmla="*/ 46 w 62"/>
                  <a:gd name="T41" fmla="*/ 6 h 65"/>
                  <a:gd name="T42" fmla="*/ 48 w 62"/>
                  <a:gd name="T43" fmla="*/ 9 h 65"/>
                  <a:gd name="T44" fmla="*/ 53 w 62"/>
                  <a:gd name="T45" fmla="*/ 9 h 65"/>
                  <a:gd name="T46" fmla="*/ 59 w 62"/>
                  <a:gd name="T47" fmla="*/ 11 h 65"/>
                  <a:gd name="T48" fmla="*/ 55 w 62"/>
                  <a:gd name="T49" fmla="*/ 18 h 65"/>
                  <a:gd name="T50" fmla="*/ 53 w 62"/>
                  <a:gd name="T51" fmla="*/ 20 h 65"/>
                  <a:gd name="T52" fmla="*/ 57 w 62"/>
                  <a:gd name="T53" fmla="*/ 24 h 65"/>
                  <a:gd name="T54" fmla="*/ 59 w 62"/>
                  <a:gd name="T55" fmla="*/ 27 h 65"/>
                  <a:gd name="T56" fmla="*/ 61 w 62"/>
                  <a:gd name="T57" fmla="*/ 27 h 65"/>
                  <a:gd name="T58" fmla="*/ 62 w 62"/>
                  <a:gd name="T59" fmla="*/ 29 h 65"/>
                  <a:gd name="T60" fmla="*/ 57 w 62"/>
                  <a:gd name="T61" fmla="*/ 29 h 65"/>
                  <a:gd name="T62" fmla="*/ 61 w 62"/>
                  <a:gd name="T63" fmla="*/ 34 h 65"/>
                  <a:gd name="T64" fmla="*/ 59 w 62"/>
                  <a:gd name="T65" fmla="*/ 40 h 65"/>
                  <a:gd name="T66" fmla="*/ 57 w 62"/>
                  <a:gd name="T67" fmla="*/ 40 h 65"/>
                  <a:gd name="T68" fmla="*/ 53 w 62"/>
                  <a:gd name="T69" fmla="*/ 40 h 65"/>
                  <a:gd name="T70" fmla="*/ 52 w 62"/>
                  <a:gd name="T71" fmla="*/ 40 h 65"/>
                  <a:gd name="T72" fmla="*/ 53 w 62"/>
                  <a:gd name="T73" fmla="*/ 41 h 65"/>
                  <a:gd name="T74" fmla="*/ 53 w 62"/>
                  <a:gd name="T75" fmla="*/ 47 h 65"/>
                  <a:gd name="T76" fmla="*/ 52 w 62"/>
                  <a:gd name="T77" fmla="*/ 47 h 65"/>
                  <a:gd name="T78" fmla="*/ 50 w 62"/>
                  <a:gd name="T79" fmla="*/ 43 h 65"/>
                  <a:gd name="T80" fmla="*/ 46 w 62"/>
                  <a:gd name="T81" fmla="*/ 49 h 65"/>
                  <a:gd name="T82" fmla="*/ 44 w 62"/>
                  <a:gd name="T83" fmla="*/ 50 h 65"/>
                  <a:gd name="T84" fmla="*/ 43 w 62"/>
                  <a:gd name="T85" fmla="*/ 56 h 65"/>
                  <a:gd name="T86" fmla="*/ 44 w 62"/>
                  <a:gd name="T87" fmla="*/ 57 h 65"/>
                  <a:gd name="T88" fmla="*/ 43 w 62"/>
                  <a:gd name="T8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2" h="65">
                    <a:moveTo>
                      <a:pt x="43" y="65"/>
                    </a:moveTo>
                    <a:lnTo>
                      <a:pt x="43" y="61"/>
                    </a:lnTo>
                    <a:lnTo>
                      <a:pt x="43" y="61"/>
                    </a:lnTo>
                    <a:lnTo>
                      <a:pt x="43" y="59"/>
                    </a:lnTo>
                    <a:lnTo>
                      <a:pt x="39" y="59"/>
                    </a:lnTo>
                    <a:lnTo>
                      <a:pt x="37" y="57"/>
                    </a:lnTo>
                    <a:lnTo>
                      <a:pt x="36" y="57"/>
                    </a:lnTo>
                    <a:lnTo>
                      <a:pt x="34" y="56"/>
                    </a:lnTo>
                    <a:lnTo>
                      <a:pt x="34" y="54"/>
                    </a:lnTo>
                    <a:lnTo>
                      <a:pt x="30" y="54"/>
                    </a:lnTo>
                    <a:lnTo>
                      <a:pt x="28" y="54"/>
                    </a:lnTo>
                    <a:lnTo>
                      <a:pt x="28" y="54"/>
                    </a:lnTo>
                    <a:lnTo>
                      <a:pt x="30" y="52"/>
                    </a:lnTo>
                    <a:lnTo>
                      <a:pt x="25" y="45"/>
                    </a:lnTo>
                    <a:lnTo>
                      <a:pt x="23" y="41"/>
                    </a:lnTo>
                    <a:lnTo>
                      <a:pt x="23" y="40"/>
                    </a:lnTo>
                    <a:lnTo>
                      <a:pt x="21" y="40"/>
                    </a:lnTo>
                    <a:lnTo>
                      <a:pt x="14" y="34"/>
                    </a:lnTo>
                    <a:lnTo>
                      <a:pt x="14" y="32"/>
                    </a:lnTo>
                    <a:lnTo>
                      <a:pt x="12" y="29"/>
                    </a:lnTo>
                    <a:lnTo>
                      <a:pt x="11" y="29"/>
                    </a:lnTo>
                    <a:lnTo>
                      <a:pt x="7" y="24"/>
                    </a:lnTo>
                    <a:lnTo>
                      <a:pt x="7" y="24"/>
                    </a:lnTo>
                    <a:lnTo>
                      <a:pt x="7" y="22"/>
                    </a:lnTo>
                    <a:lnTo>
                      <a:pt x="7" y="22"/>
                    </a:lnTo>
                    <a:lnTo>
                      <a:pt x="5" y="20"/>
                    </a:lnTo>
                    <a:lnTo>
                      <a:pt x="5" y="18"/>
                    </a:lnTo>
                    <a:lnTo>
                      <a:pt x="5" y="16"/>
                    </a:lnTo>
                    <a:lnTo>
                      <a:pt x="3" y="13"/>
                    </a:lnTo>
                    <a:lnTo>
                      <a:pt x="2" y="13"/>
                    </a:lnTo>
                    <a:lnTo>
                      <a:pt x="0" y="11"/>
                    </a:lnTo>
                    <a:lnTo>
                      <a:pt x="0" y="9"/>
                    </a:lnTo>
                    <a:lnTo>
                      <a:pt x="0" y="9"/>
                    </a:lnTo>
                    <a:lnTo>
                      <a:pt x="0" y="7"/>
                    </a:lnTo>
                    <a:lnTo>
                      <a:pt x="0" y="2"/>
                    </a:lnTo>
                    <a:lnTo>
                      <a:pt x="2" y="0"/>
                    </a:lnTo>
                    <a:lnTo>
                      <a:pt x="5" y="2"/>
                    </a:lnTo>
                    <a:lnTo>
                      <a:pt x="5" y="2"/>
                    </a:lnTo>
                    <a:lnTo>
                      <a:pt x="9" y="6"/>
                    </a:lnTo>
                    <a:lnTo>
                      <a:pt x="9" y="6"/>
                    </a:lnTo>
                    <a:lnTo>
                      <a:pt x="12" y="2"/>
                    </a:lnTo>
                    <a:lnTo>
                      <a:pt x="18" y="2"/>
                    </a:lnTo>
                    <a:lnTo>
                      <a:pt x="19" y="0"/>
                    </a:lnTo>
                    <a:lnTo>
                      <a:pt x="19" y="0"/>
                    </a:lnTo>
                    <a:lnTo>
                      <a:pt x="23" y="4"/>
                    </a:lnTo>
                    <a:lnTo>
                      <a:pt x="25" y="4"/>
                    </a:lnTo>
                    <a:lnTo>
                      <a:pt x="25" y="2"/>
                    </a:lnTo>
                    <a:lnTo>
                      <a:pt x="27" y="4"/>
                    </a:lnTo>
                    <a:lnTo>
                      <a:pt x="30" y="4"/>
                    </a:lnTo>
                    <a:lnTo>
                      <a:pt x="30" y="4"/>
                    </a:lnTo>
                    <a:lnTo>
                      <a:pt x="32" y="4"/>
                    </a:lnTo>
                    <a:lnTo>
                      <a:pt x="34" y="6"/>
                    </a:lnTo>
                    <a:lnTo>
                      <a:pt x="34" y="6"/>
                    </a:lnTo>
                    <a:lnTo>
                      <a:pt x="36" y="4"/>
                    </a:lnTo>
                    <a:lnTo>
                      <a:pt x="37" y="4"/>
                    </a:lnTo>
                    <a:lnTo>
                      <a:pt x="39" y="6"/>
                    </a:lnTo>
                    <a:lnTo>
                      <a:pt x="39" y="6"/>
                    </a:lnTo>
                    <a:lnTo>
                      <a:pt x="39" y="4"/>
                    </a:lnTo>
                    <a:lnTo>
                      <a:pt x="43" y="4"/>
                    </a:lnTo>
                    <a:lnTo>
                      <a:pt x="44" y="6"/>
                    </a:lnTo>
                    <a:lnTo>
                      <a:pt x="44" y="6"/>
                    </a:lnTo>
                    <a:lnTo>
                      <a:pt x="44" y="6"/>
                    </a:lnTo>
                    <a:lnTo>
                      <a:pt x="46" y="6"/>
                    </a:lnTo>
                    <a:lnTo>
                      <a:pt x="48" y="7"/>
                    </a:lnTo>
                    <a:lnTo>
                      <a:pt x="48" y="9"/>
                    </a:lnTo>
                    <a:lnTo>
                      <a:pt x="48" y="9"/>
                    </a:lnTo>
                    <a:lnTo>
                      <a:pt x="50" y="11"/>
                    </a:lnTo>
                    <a:lnTo>
                      <a:pt x="52" y="11"/>
                    </a:lnTo>
                    <a:lnTo>
                      <a:pt x="53" y="9"/>
                    </a:lnTo>
                    <a:lnTo>
                      <a:pt x="57" y="9"/>
                    </a:lnTo>
                    <a:lnTo>
                      <a:pt x="59" y="9"/>
                    </a:lnTo>
                    <a:lnTo>
                      <a:pt x="59" y="11"/>
                    </a:lnTo>
                    <a:lnTo>
                      <a:pt x="59" y="13"/>
                    </a:lnTo>
                    <a:lnTo>
                      <a:pt x="55" y="18"/>
                    </a:lnTo>
                    <a:lnTo>
                      <a:pt x="55" y="18"/>
                    </a:lnTo>
                    <a:lnTo>
                      <a:pt x="55" y="18"/>
                    </a:lnTo>
                    <a:lnTo>
                      <a:pt x="55" y="20"/>
                    </a:lnTo>
                    <a:lnTo>
                      <a:pt x="53" y="20"/>
                    </a:lnTo>
                    <a:lnTo>
                      <a:pt x="55" y="24"/>
                    </a:lnTo>
                    <a:lnTo>
                      <a:pt x="55" y="24"/>
                    </a:lnTo>
                    <a:lnTo>
                      <a:pt x="57" y="24"/>
                    </a:lnTo>
                    <a:lnTo>
                      <a:pt x="57" y="24"/>
                    </a:lnTo>
                    <a:lnTo>
                      <a:pt x="59" y="25"/>
                    </a:lnTo>
                    <a:lnTo>
                      <a:pt x="59" y="27"/>
                    </a:lnTo>
                    <a:lnTo>
                      <a:pt x="61" y="25"/>
                    </a:lnTo>
                    <a:lnTo>
                      <a:pt x="61" y="27"/>
                    </a:lnTo>
                    <a:lnTo>
                      <a:pt x="61" y="27"/>
                    </a:lnTo>
                    <a:lnTo>
                      <a:pt x="62" y="27"/>
                    </a:lnTo>
                    <a:lnTo>
                      <a:pt x="62" y="29"/>
                    </a:lnTo>
                    <a:lnTo>
                      <a:pt x="62" y="29"/>
                    </a:lnTo>
                    <a:lnTo>
                      <a:pt x="61" y="31"/>
                    </a:lnTo>
                    <a:lnTo>
                      <a:pt x="59" y="31"/>
                    </a:lnTo>
                    <a:lnTo>
                      <a:pt x="57" y="29"/>
                    </a:lnTo>
                    <a:lnTo>
                      <a:pt x="57" y="29"/>
                    </a:lnTo>
                    <a:lnTo>
                      <a:pt x="57" y="31"/>
                    </a:lnTo>
                    <a:lnTo>
                      <a:pt x="61" y="34"/>
                    </a:lnTo>
                    <a:lnTo>
                      <a:pt x="61" y="36"/>
                    </a:lnTo>
                    <a:lnTo>
                      <a:pt x="61" y="38"/>
                    </a:lnTo>
                    <a:lnTo>
                      <a:pt x="59" y="40"/>
                    </a:lnTo>
                    <a:lnTo>
                      <a:pt x="59" y="38"/>
                    </a:lnTo>
                    <a:lnTo>
                      <a:pt x="59" y="38"/>
                    </a:lnTo>
                    <a:lnTo>
                      <a:pt x="57" y="40"/>
                    </a:lnTo>
                    <a:lnTo>
                      <a:pt x="55" y="40"/>
                    </a:lnTo>
                    <a:lnTo>
                      <a:pt x="55" y="40"/>
                    </a:lnTo>
                    <a:lnTo>
                      <a:pt x="53" y="40"/>
                    </a:lnTo>
                    <a:lnTo>
                      <a:pt x="53" y="40"/>
                    </a:lnTo>
                    <a:lnTo>
                      <a:pt x="53" y="40"/>
                    </a:lnTo>
                    <a:lnTo>
                      <a:pt x="52" y="40"/>
                    </a:lnTo>
                    <a:lnTo>
                      <a:pt x="52" y="41"/>
                    </a:lnTo>
                    <a:lnTo>
                      <a:pt x="52" y="41"/>
                    </a:lnTo>
                    <a:lnTo>
                      <a:pt x="53" y="41"/>
                    </a:lnTo>
                    <a:lnTo>
                      <a:pt x="53" y="43"/>
                    </a:lnTo>
                    <a:lnTo>
                      <a:pt x="53" y="45"/>
                    </a:lnTo>
                    <a:lnTo>
                      <a:pt x="53" y="47"/>
                    </a:lnTo>
                    <a:lnTo>
                      <a:pt x="53" y="47"/>
                    </a:lnTo>
                    <a:lnTo>
                      <a:pt x="52" y="47"/>
                    </a:lnTo>
                    <a:lnTo>
                      <a:pt x="52" y="47"/>
                    </a:lnTo>
                    <a:lnTo>
                      <a:pt x="52" y="45"/>
                    </a:lnTo>
                    <a:lnTo>
                      <a:pt x="52" y="43"/>
                    </a:lnTo>
                    <a:lnTo>
                      <a:pt x="50" y="43"/>
                    </a:lnTo>
                    <a:lnTo>
                      <a:pt x="48" y="47"/>
                    </a:lnTo>
                    <a:lnTo>
                      <a:pt x="46" y="47"/>
                    </a:lnTo>
                    <a:lnTo>
                      <a:pt x="46" y="49"/>
                    </a:lnTo>
                    <a:lnTo>
                      <a:pt x="46" y="50"/>
                    </a:lnTo>
                    <a:lnTo>
                      <a:pt x="46" y="50"/>
                    </a:lnTo>
                    <a:lnTo>
                      <a:pt x="44" y="50"/>
                    </a:lnTo>
                    <a:lnTo>
                      <a:pt x="44" y="52"/>
                    </a:lnTo>
                    <a:lnTo>
                      <a:pt x="44" y="54"/>
                    </a:lnTo>
                    <a:lnTo>
                      <a:pt x="43" y="56"/>
                    </a:lnTo>
                    <a:lnTo>
                      <a:pt x="43" y="56"/>
                    </a:lnTo>
                    <a:lnTo>
                      <a:pt x="44" y="57"/>
                    </a:lnTo>
                    <a:lnTo>
                      <a:pt x="44" y="57"/>
                    </a:lnTo>
                    <a:lnTo>
                      <a:pt x="44" y="59"/>
                    </a:lnTo>
                    <a:lnTo>
                      <a:pt x="43" y="61"/>
                    </a:lnTo>
                    <a:lnTo>
                      <a:pt x="43" y="65"/>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98" name="Freeform 3053"/>
              <p:cNvSpPr>
                <a:spLocks/>
              </p:cNvSpPr>
              <p:nvPr/>
            </p:nvSpPr>
            <p:spPr bwMode="auto">
              <a:xfrm>
                <a:off x="3335" y="1940"/>
                <a:ext cx="107" cy="53"/>
              </a:xfrm>
              <a:custGeom>
                <a:avLst/>
                <a:gdLst>
                  <a:gd name="T0" fmla="*/ 27 w 107"/>
                  <a:gd name="T1" fmla="*/ 44 h 53"/>
                  <a:gd name="T2" fmla="*/ 32 w 107"/>
                  <a:gd name="T3" fmla="*/ 44 h 53"/>
                  <a:gd name="T4" fmla="*/ 41 w 107"/>
                  <a:gd name="T5" fmla="*/ 46 h 53"/>
                  <a:gd name="T6" fmla="*/ 43 w 107"/>
                  <a:gd name="T7" fmla="*/ 42 h 53"/>
                  <a:gd name="T8" fmla="*/ 52 w 107"/>
                  <a:gd name="T9" fmla="*/ 50 h 53"/>
                  <a:gd name="T10" fmla="*/ 56 w 107"/>
                  <a:gd name="T11" fmla="*/ 53 h 53"/>
                  <a:gd name="T12" fmla="*/ 63 w 107"/>
                  <a:gd name="T13" fmla="*/ 51 h 53"/>
                  <a:gd name="T14" fmla="*/ 70 w 107"/>
                  <a:gd name="T15" fmla="*/ 50 h 53"/>
                  <a:gd name="T16" fmla="*/ 86 w 107"/>
                  <a:gd name="T17" fmla="*/ 46 h 53"/>
                  <a:gd name="T18" fmla="*/ 93 w 107"/>
                  <a:gd name="T19" fmla="*/ 48 h 53"/>
                  <a:gd name="T20" fmla="*/ 99 w 107"/>
                  <a:gd name="T21" fmla="*/ 50 h 53"/>
                  <a:gd name="T22" fmla="*/ 107 w 107"/>
                  <a:gd name="T23" fmla="*/ 50 h 53"/>
                  <a:gd name="T24" fmla="*/ 102 w 107"/>
                  <a:gd name="T25" fmla="*/ 46 h 53"/>
                  <a:gd name="T26" fmla="*/ 100 w 107"/>
                  <a:gd name="T27" fmla="*/ 41 h 53"/>
                  <a:gd name="T28" fmla="*/ 104 w 107"/>
                  <a:gd name="T29" fmla="*/ 35 h 53"/>
                  <a:gd name="T30" fmla="*/ 97 w 107"/>
                  <a:gd name="T31" fmla="*/ 32 h 53"/>
                  <a:gd name="T32" fmla="*/ 93 w 107"/>
                  <a:gd name="T33" fmla="*/ 25 h 53"/>
                  <a:gd name="T34" fmla="*/ 90 w 107"/>
                  <a:gd name="T35" fmla="*/ 21 h 53"/>
                  <a:gd name="T36" fmla="*/ 86 w 107"/>
                  <a:gd name="T37" fmla="*/ 21 h 53"/>
                  <a:gd name="T38" fmla="*/ 81 w 107"/>
                  <a:gd name="T39" fmla="*/ 17 h 53"/>
                  <a:gd name="T40" fmla="*/ 75 w 107"/>
                  <a:gd name="T41" fmla="*/ 17 h 53"/>
                  <a:gd name="T42" fmla="*/ 65 w 107"/>
                  <a:gd name="T43" fmla="*/ 21 h 53"/>
                  <a:gd name="T44" fmla="*/ 61 w 107"/>
                  <a:gd name="T45" fmla="*/ 17 h 53"/>
                  <a:gd name="T46" fmla="*/ 43 w 107"/>
                  <a:gd name="T47" fmla="*/ 9 h 53"/>
                  <a:gd name="T48" fmla="*/ 29 w 107"/>
                  <a:gd name="T49" fmla="*/ 7 h 53"/>
                  <a:gd name="T50" fmla="*/ 16 w 107"/>
                  <a:gd name="T51" fmla="*/ 1 h 53"/>
                  <a:gd name="T52" fmla="*/ 9 w 107"/>
                  <a:gd name="T53" fmla="*/ 0 h 53"/>
                  <a:gd name="T54" fmla="*/ 0 w 107"/>
                  <a:gd name="T55" fmla="*/ 1 h 53"/>
                  <a:gd name="T56" fmla="*/ 16 w 107"/>
                  <a:gd name="T57" fmla="*/ 10 h 53"/>
                  <a:gd name="T58" fmla="*/ 24 w 107"/>
                  <a:gd name="T59" fmla="*/ 19 h 53"/>
                  <a:gd name="T60" fmla="*/ 29 w 107"/>
                  <a:gd name="T61" fmla="*/ 34 h 53"/>
                  <a:gd name="T62" fmla="*/ 27 w 107"/>
                  <a:gd name="T63" fmla="*/ 4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7" h="53">
                    <a:moveTo>
                      <a:pt x="25" y="42"/>
                    </a:moveTo>
                    <a:lnTo>
                      <a:pt x="27" y="44"/>
                    </a:lnTo>
                    <a:lnTo>
                      <a:pt x="29" y="44"/>
                    </a:lnTo>
                    <a:lnTo>
                      <a:pt x="32" y="44"/>
                    </a:lnTo>
                    <a:lnTo>
                      <a:pt x="40" y="46"/>
                    </a:lnTo>
                    <a:lnTo>
                      <a:pt x="41" y="46"/>
                    </a:lnTo>
                    <a:lnTo>
                      <a:pt x="41" y="42"/>
                    </a:lnTo>
                    <a:lnTo>
                      <a:pt x="43" y="42"/>
                    </a:lnTo>
                    <a:lnTo>
                      <a:pt x="45" y="42"/>
                    </a:lnTo>
                    <a:lnTo>
                      <a:pt x="52" y="50"/>
                    </a:lnTo>
                    <a:lnTo>
                      <a:pt x="54" y="50"/>
                    </a:lnTo>
                    <a:lnTo>
                      <a:pt x="56" y="53"/>
                    </a:lnTo>
                    <a:lnTo>
                      <a:pt x="61" y="53"/>
                    </a:lnTo>
                    <a:lnTo>
                      <a:pt x="63" y="51"/>
                    </a:lnTo>
                    <a:lnTo>
                      <a:pt x="68" y="51"/>
                    </a:lnTo>
                    <a:lnTo>
                      <a:pt x="70" y="50"/>
                    </a:lnTo>
                    <a:lnTo>
                      <a:pt x="75" y="50"/>
                    </a:lnTo>
                    <a:lnTo>
                      <a:pt x="86" y="46"/>
                    </a:lnTo>
                    <a:lnTo>
                      <a:pt x="91" y="46"/>
                    </a:lnTo>
                    <a:lnTo>
                      <a:pt x="93" y="48"/>
                    </a:lnTo>
                    <a:lnTo>
                      <a:pt x="97" y="50"/>
                    </a:lnTo>
                    <a:lnTo>
                      <a:pt x="99" y="50"/>
                    </a:lnTo>
                    <a:lnTo>
                      <a:pt x="106" y="51"/>
                    </a:lnTo>
                    <a:lnTo>
                      <a:pt x="107" y="50"/>
                    </a:lnTo>
                    <a:lnTo>
                      <a:pt x="106" y="48"/>
                    </a:lnTo>
                    <a:lnTo>
                      <a:pt x="102" y="46"/>
                    </a:lnTo>
                    <a:lnTo>
                      <a:pt x="102" y="42"/>
                    </a:lnTo>
                    <a:lnTo>
                      <a:pt x="100" y="41"/>
                    </a:lnTo>
                    <a:lnTo>
                      <a:pt x="100" y="39"/>
                    </a:lnTo>
                    <a:lnTo>
                      <a:pt x="104" y="35"/>
                    </a:lnTo>
                    <a:lnTo>
                      <a:pt x="100" y="34"/>
                    </a:lnTo>
                    <a:lnTo>
                      <a:pt x="97" y="32"/>
                    </a:lnTo>
                    <a:lnTo>
                      <a:pt x="91" y="30"/>
                    </a:lnTo>
                    <a:lnTo>
                      <a:pt x="93" y="25"/>
                    </a:lnTo>
                    <a:lnTo>
                      <a:pt x="93" y="23"/>
                    </a:lnTo>
                    <a:lnTo>
                      <a:pt x="90" y="21"/>
                    </a:lnTo>
                    <a:lnTo>
                      <a:pt x="88" y="21"/>
                    </a:lnTo>
                    <a:lnTo>
                      <a:pt x="86" y="21"/>
                    </a:lnTo>
                    <a:lnTo>
                      <a:pt x="84" y="19"/>
                    </a:lnTo>
                    <a:lnTo>
                      <a:pt x="81" y="17"/>
                    </a:lnTo>
                    <a:lnTo>
                      <a:pt x="77" y="17"/>
                    </a:lnTo>
                    <a:lnTo>
                      <a:pt x="75" y="17"/>
                    </a:lnTo>
                    <a:lnTo>
                      <a:pt x="74" y="17"/>
                    </a:lnTo>
                    <a:lnTo>
                      <a:pt x="65" y="21"/>
                    </a:lnTo>
                    <a:lnTo>
                      <a:pt x="63" y="19"/>
                    </a:lnTo>
                    <a:lnTo>
                      <a:pt x="61" y="17"/>
                    </a:lnTo>
                    <a:lnTo>
                      <a:pt x="49" y="9"/>
                    </a:lnTo>
                    <a:lnTo>
                      <a:pt x="43" y="9"/>
                    </a:lnTo>
                    <a:lnTo>
                      <a:pt x="38" y="7"/>
                    </a:lnTo>
                    <a:lnTo>
                      <a:pt x="29" y="7"/>
                    </a:lnTo>
                    <a:lnTo>
                      <a:pt x="18" y="3"/>
                    </a:lnTo>
                    <a:lnTo>
                      <a:pt x="16" y="1"/>
                    </a:lnTo>
                    <a:lnTo>
                      <a:pt x="11" y="0"/>
                    </a:lnTo>
                    <a:lnTo>
                      <a:pt x="9" y="0"/>
                    </a:lnTo>
                    <a:lnTo>
                      <a:pt x="7" y="0"/>
                    </a:lnTo>
                    <a:lnTo>
                      <a:pt x="0" y="1"/>
                    </a:lnTo>
                    <a:lnTo>
                      <a:pt x="6" y="7"/>
                    </a:lnTo>
                    <a:lnTo>
                      <a:pt x="16" y="10"/>
                    </a:lnTo>
                    <a:lnTo>
                      <a:pt x="22" y="16"/>
                    </a:lnTo>
                    <a:lnTo>
                      <a:pt x="24" y="19"/>
                    </a:lnTo>
                    <a:lnTo>
                      <a:pt x="27" y="30"/>
                    </a:lnTo>
                    <a:lnTo>
                      <a:pt x="29" y="34"/>
                    </a:lnTo>
                    <a:lnTo>
                      <a:pt x="29" y="41"/>
                    </a:lnTo>
                    <a:lnTo>
                      <a:pt x="27" y="42"/>
                    </a:lnTo>
                    <a:lnTo>
                      <a:pt x="25" y="4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599" name="Freeform 3054"/>
              <p:cNvSpPr>
                <a:spLocks/>
              </p:cNvSpPr>
              <p:nvPr/>
            </p:nvSpPr>
            <p:spPr bwMode="auto">
              <a:xfrm>
                <a:off x="3335" y="1940"/>
                <a:ext cx="107" cy="53"/>
              </a:xfrm>
              <a:custGeom>
                <a:avLst/>
                <a:gdLst>
                  <a:gd name="T0" fmla="*/ 27 w 107"/>
                  <a:gd name="T1" fmla="*/ 44 h 53"/>
                  <a:gd name="T2" fmla="*/ 32 w 107"/>
                  <a:gd name="T3" fmla="*/ 44 h 53"/>
                  <a:gd name="T4" fmla="*/ 41 w 107"/>
                  <a:gd name="T5" fmla="*/ 46 h 53"/>
                  <a:gd name="T6" fmla="*/ 43 w 107"/>
                  <a:gd name="T7" fmla="*/ 42 h 53"/>
                  <a:gd name="T8" fmla="*/ 52 w 107"/>
                  <a:gd name="T9" fmla="*/ 50 h 53"/>
                  <a:gd name="T10" fmla="*/ 56 w 107"/>
                  <a:gd name="T11" fmla="*/ 53 h 53"/>
                  <a:gd name="T12" fmla="*/ 63 w 107"/>
                  <a:gd name="T13" fmla="*/ 51 h 53"/>
                  <a:gd name="T14" fmla="*/ 70 w 107"/>
                  <a:gd name="T15" fmla="*/ 50 h 53"/>
                  <a:gd name="T16" fmla="*/ 86 w 107"/>
                  <a:gd name="T17" fmla="*/ 46 h 53"/>
                  <a:gd name="T18" fmla="*/ 93 w 107"/>
                  <a:gd name="T19" fmla="*/ 48 h 53"/>
                  <a:gd name="T20" fmla="*/ 99 w 107"/>
                  <a:gd name="T21" fmla="*/ 50 h 53"/>
                  <a:gd name="T22" fmla="*/ 107 w 107"/>
                  <a:gd name="T23" fmla="*/ 50 h 53"/>
                  <a:gd name="T24" fmla="*/ 102 w 107"/>
                  <a:gd name="T25" fmla="*/ 46 h 53"/>
                  <a:gd name="T26" fmla="*/ 100 w 107"/>
                  <a:gd name="T27" fmla="*/ 41 h 53"/>
                  <a:gd name="T28" fmla="*/ 104 w 107"/>
                  <a:gd name="T29" fmla="*/ 35 h 53"/>
                  <a:gd name="T30" fmla="*/ 97 w 107"/>
                  <a:gd name="T31" fmla="*/ 32 h 53"/>
                  <a:gd name="T32" fmla="*/ 93 w 107"/>
                  <a:gd name="T33" fmla="*/ 25 h 53"/>
                  <a:gd name="T34" fmla="*/ 90 w 107"/>
                  <a:gd name="T35" fmla="*/ 21 h 53"/>
                  <a:gd name="T36" fmla="*/ 86 w 107"/>
                  <a:gd name="T37" fmla="*/ 21 h 53"/>
                  <a:gd name="T38" fmla="*/ 81 w 107"/>
                  <a:gd name="T39" fmla="*/ 17 h 53"/>
                  <a:gd name="T40" fmla="*/ 75 w 107"/>
                  <a:gd name="T41" fmla="*/ 17 h 53"/>
                  <a:gd name="T42" fmla="*/ 65 w 107"/>
                  <a:gd name="T43" fmla="*/ 21 h 53"/>
                  <a:gd name="T44" fmla="*/ 61 w 107"/>
                  <a:gd name="T45" fmla="*/ 17 h 53"/>
                  <a:gd name="T46" fmla="*/ 43 w 107"/>
                  <a:gd name="T47" fmla="*/ 9 h 53"/>
                  <a:gd name="T48" fmla="*/ 29 w 107"/>
                  <a:gd name="T49" fmla="*/ 7 h 53"/>
                  <a:gd name="T50" fmla="*/ 16 w 107"/>
                  <a:gd name="T51" fmla="*/ 1 h 53"/>
                  <a:gd name="T52" fmla="*/ 9 w 107"/>
                  <a:gd name="T53" fmla="*/ 0 h 53"/>
                  <a:gd name="T54" fmla="*/ 0 w 107"/>
                  <a:gd name="T55" fmla="*/ 1 h 53"/>
                  <a:gd name="T56" fmla="*/ 16 w 107"/>
                  <a:gd name="T57" fmla="*/ 10 h 53"/>
                  <a:gd name="T58" fmla="*/ 24 w 107"/>
                  <a:gd name="T59" fmla="*/ 19 h 53"/>
                  <a:gd name="T60" fmla="*/ 29 w 107"/>
                  <a:gd name="T61" fmla="*/ 34 h 53"/>
                  <a:gd name="T62" fmla="*/ 27 w 107"/>
                  <a:gd name="T63" fmla="*/ 4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7" h="53">
                    <a:moveTo>
                      <a:pt x="25" y="42"/>
                    </a:moveTo>
                    <a:lnTo>
                      <a:pt x="27" y="44"/>
                    </a:lnTo>
                    <a:lnTo>
                      <a:pt x="29" y="44"/>
                    </a:lnTo>
                    <a:lnTo>
                      <a:pt x="32" y="44"/>
                    </a:lnTo>
                    <a:lnTo>
                      <a:pt x="40" y="46"/>
                    </a:lnTo>
                    <a:lnTo>
                      <a:pt x="41" y="46"/>
                    </a:lnTo>
                    <a:lnTo>
                      <a:pt x="41" y="42"/>
                    </a:lnTo>
                    <a:lnTo>
                      <a:pt x="43" y="42"/>
                    </a:lnTo>
                    <a:lnTo>
                      <a:pt x="45" y="42"/>
                    </a:lnTo>
                    <a:lnTo>
                      <a:pt x="52" y="50"/>
                    </a:lnTo>
                    <a:lnTo>
                      <a:pt x="54" y="50"/>
                    </a:lnTo>
                    <a:lnTo>
                      <a:pt x="56" y="53"/>
                    </a:lnTo>
                    <a:lnTo>
                      <a:pt x="61" y="53"/>
                    </a:lnTo>
                    <a:lnTo>
                      <a:pt x="63" y="51"/>
                    </a:lnTo>
                    <a:lnTo>
                      <a:pt x="68" y="51"/>
                    </a:lnTo>
                    <a:lnTo>
                      <a:pt x="70" y="50"/>
                    </a:lnTo>
                    <a:lnTo>
                      <a:pt x="75" y="50"/>
                    </a:lnTo>
                    <a:lnTo>
                      <a:pt x="86" y="46"/>
                    </a:lnTo>
                    <a:lnTo>
                      <a:pt x="91" y="46"/>
                    </a:lnTo>
                    <a:lnTo>
                      <a:pt x="93" y="48"/>
                    </a:lnTo>
                    <a:lnTo>
                      <a:pt x="97" y="50"/>
                    </a:lnTo>
                    <a:lnTo>
                      <a:pt x="99" y="50"/>
                    </a:lnTo>
                    <a:lnTo>
                      <a:pt x="106" y="51"/>
                    </a:lnTo>
                    <a:lnTo>
                      <a:pt x="107" y="50"/>
                    </a:lnTo>
                    <a:lnTo>
                      <a:pt x="106" y="48"/>
                    </a:lnTo>
                    <a:lnTo>
                      <a:pt x="102" y="46"/>
                    </a:lnTo>
                    <a:lnTo>
                      <a:pt x="102" y="42"/>
                    </a:lnTo>
                    <a:lnTo>
                      <a:pt x="100" y="41"/>
                    </a:lnTo>
                    <a:lnTo>
                      <a:pt x="100" y="39"/>
                    </a:lnTo>
                    <a:lnTo>
                      <a:pt x="104" y="35"/>
                    </a:lnTo>
                    <a:lnTo>
                      <a:pt x="100" y="34"/>
                    </a:lnTo>
                    <a:lnTo>
                      <a:pt x="97" y="32"/>
                    </a:lnTo>
                    <a:lnTo>
                      <a:pt x="91" y="30"/>
                    </a:lnTo>
                    <a:lnTo>
                      <a:pt x="93" y="25"/>
                    </a:lnTo>
                    <a:lnTo>
                      <a:pt x="93" y="23"/>
                    </a:lnTo>
                    <a:lnTo>
                      <a:pt x="90" y="21"/>
                    </a:lnTo>
                    <a:lnTo>
                      <a:pt x="88" y="21"/>
                    </a:lnTo>
                    <a:lnTo>
                      <a:pt x="86" y="21"/>
                    </a:lnTo>
                    <a:lnTo>
                      <a:pt x="84" y="19"/>
                    </a:lnTo>
                    <a:lnTo>
                      <a:pt x="81" y="17"/>
                    </a:lnTo>
                    <a:lnTo>
                      <a:pt x="77" y="17"/>
                    </a:lnTo>
                    <a:lnTo>
                      <a:pt x="75" y="17"/>
                    </a:lnTo>
                    <a:lnTo>
                      <a:pt x="74" y="17"/>
                    </a:lnTo>
                    <a:lnTo>
                      <a:pt x="65" y="21"/>
                    </a:lnTo>
                    <a:lnTo>
                      <a:pt x="63" y="19"/>
                    </a:lnTo>
                    <a:lnTo>
                      <a:pt x="61" y="17"/>
                    </a:lnTo>
                    <a:lnTo>
                      <a:pt x="49" y="9"/>
                    </a:lnTo>
                    <a:lnTo>
                      <a:pt x="43" y="9"/>
                    </a:lnTo>
                    <a:lnTo>
                      <a:pt x="38" y="7"/>
                    </a:lnTo>
                    <a:lnTo>
                      <a:pt x="29" y="7"/>
                    </a:lnTo>
                    <a:lnTo>
                      <a:pt x="18" y="3"/>
                    </a:lnTo>
                    <a:lnTo>
                      <a:pt x="16" y="1"/>
                    </a:lnTo>
                    <a:lnTo>
                      <a:pt x="11" y="0"/>
                    </a:lnTo>
                    <a:lnTo>
                      <a:pt x="9" y="0"/>
                    </a:lnTo>
                    <a:lnTo>
                      <a:pt x="7" y="0"/>
                    </a:lnTo>
                    <a:lnTo>
                      <a:pt x="0" y="1"/>
                    </a:lnTo>
                    <a:lnTo>
                      <a:pt x="6" y="7"/>
                    </a:lnTo>
                    <a:lnTo>
                      <a:pt x="16" y="10"/>
                    </a:lnTo>
                    <a:lnTo>
                      <a:pt x="22" y="16"/>
                    </a:lnTo>
                    <a:lnTo>
                      <a:pt x="24" y="19"/>
                    </a:lnTo>
                    <a:lnTo>
                      <a:pt x="27" y="30"/>
                    </a:lnTo>
                    <a:lnTo>
                      <a:pt x="29" y="34"/>
                    </a:lnTo>
                    <a:lnTo>
                      <a:pt x="29" y="41"/>
                    </a:lnTo>
                    <a:lnTo>
                      <a:pt x="27" y="42"/>
                    </a:lnTo>
                    <a:lnTo>
                      <a:pt x="25" y="4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00" name="Freeform 3055"/>
              <p:cNvSpPr>
                <a:spLocks/>
              </p:cNvSpPr>
              <p:nvPr/>
            </p:nvSpPr>
            <p:spPr bwMode="auto">
              <a:xfrm>
                <a:off x="3775" y="1993"/>
                <a:ext cx="121" cy="91"/>
              </a:xfrm>
              <a:custGeom>
                <a:avLst/>
                <a:gdLst>
                  <a:gd name="T0" fmla="*/ 12 w 121"/>
                  <a:gd name="T1" fmla="*/ 84 h 91"/>
                  <a:gd name="T2" fmla="*/ 21 w 121"/>
                  <a:gd name="T3" fmla="*/ 81 h 91"/>
                  <a:gd name="T4" fmla="*/ 25 w 121"/>
                  <a:gd name="T5" fmla="*/ 79 h 91"/>
                  <a:gd name="T6" fmla="*/ 30 w 121"/>
                  <a:gd name="T7" fmla="*/ 82 h 91"/>
                  <a:gd name="T8" fmla="*/ 32 w 121"/>
                  <a:gd name="T9" fmla="*/ 79 h 91"/>
                  <a:gd name="T10" fmla="*/ 33 w 121"/>
                  <a:gd name="T11" fmla="*/ 73 h 91"/>
                  <a:gd name="T12" fmla="*/ 39 w 121"/>
                  <a:gd name="T13" fmla="*/ 73 h 91"/>
                  <a:gd name="T14" fmla="*/ 44 w 121"/>
                  <a:gd name="T15" fmla="*/ 73 h 91"/>
                  <a:gd name="T16" fmla="*/ 44 w 121"/>
                  <a:gd name="T17" fmla="*/ 68 h 91"/>
                  <a:gd name="T18" fmla="*/ 51 w 121"/>
                  <a:gd name="T19" fmla="*/ 57 h 91"/>
                  <a:gd name="T20" fmla="*/ 55 w 121"/>
                  <a:gd name="T21" fmla="*/ 56 h 91"/>
                  <a:gd name="T22" fmla="*/ 62 w 121"/>
                  <a:gd name="T23" fmla="*/ 59 h 91"/>
                  <a:gd name="T24" fmla="*/ 60 w 121"/>
                  <a:gd name="T25" fmla="*/ 64 h 91"/>
                  <a:gd name="T26" fmla="*/ 66 w 121"/>
                  <a:gd name="T27" fmla="*/ 66 h 91"/>
                  <a:gd name="T28" fmla="*/ 66 w 121"/>
                  <a:gd name="T29" fmla="*/ 70 h 91"/>
                  <a:gd name="T30" fmla="*/ 66 w 121"/>
                  <a:gd name="T31" fmla="*/ 75 h 91"/>
                  <a:gd name="T32" fmla="*/ 64 w 121"/>
                  <a:gd name="T33" fmla="*/ 82 h 91"/>
                  <a:gd name="T34" fmla="*/ 67 w 121"/>
                  <a:gd name="T35" fmla="*/ 91 h 91"/>
                  <a:gd name="T36" fmla="*/ 85 w 121"/>
                  <a:gd name="T37" fmla="*/ 84 h 91"/>
                  <a:gd name="T38" fmla="*/ 89 w 121"/>
                  <a:gd name="T39" fmla="*/ 81 h 91"/>
                  <a:gd name="T40" fmla="*/ 92 w 121"/>
                  <a:gd name="T41" fmla="*/ 77 h 91"/>
                  <a:gd name="T42" fmla="*/ 98 w 121"/>
                  <a:gd name="T43" fmla="*/ 75 h 91"/>
                  <a:gd name="T44" fmla="*/ 101 w 121"/>
                  <a:gd name="T45" fmla="*/ 79 h 91"/>
                  <a:gd name="T46" fmla="*/ 105 w 121"/>
                  <a:gd name="T47" fmla="*/ 79 h 91"/>
                  <a:gd name="T48" fmla="*/ 114 w 121"/>
                  <a:gd name="T49" fmla="*/ 77 h 91"/>
                  <a:gd name="T50" fmla="*/ 119 w 121"/>
                  <a:gd name="T51" fmla="*/ 79 h 91"/>
                  <a:gd name="T52" fmla="*/ 119 w 121"/>
                  <a:gd name="T53" fmla="*/ 81 h 91"/>
                  <a:gd name="T54" fmla="*/ 117 w 121"/>
                  <a:gd name="T55" fmla="*/ 63 h 91"/>
                  <a:gd name="T56" fmla="*/ 110 w 121"/>
                  <a:gd name="T57" fmla="*/ 54 h 91"/>
                  <a:gd name="T58" fmla="*/ 100 w 121"/>
                  <a:gd name="T59" fmla="*/ 43 h 91"/>
                  <a:gd name="T60" fmla="*/ 96 w 121"/>
                  <a:gd name="T61" fmla="*/ 36 h 91"/>
                  <a:gd name="T62" fmla="*/ 85 w 121"/>
                  <a:gd name="T63" fmla="*/ 36 h 91"/>
                  <a:gd name="T64" fmla="*/ 75 w 121"/>
                  <a:gd name="T65" fmla="*/ 38 h 91"/>
                  <a:gd name="T66" fmla="*/ 66 w 121"/>
                  <a:gd name="T67" fmla="*/ 32 h 91"/>
                  <a:gd name="T68" fmla="*/ 53 w 121"/>
                  <a:gd name="T69" fmla="*/ 34 h 91"/>
                  <a:gd name="T70" fmla="*/ 41 w 121"/>
                  <a:gd name="T71" fmla="*/ 32 h 91"/>
                  <a:gd name="T72" fmla="*/ 32 w 121"/>
                  <a:gd name="T73" fmla="*/ 32 h 91"/>
                  <a:gd name="T74" fmla="*/ 35 w 121"/>
                  <a:gd name="T75" fmla="*/ 22 h 91"/>
                  <a:gd name="T76" fmla="*/ 51 w 121"/>
                  <a:gd name="T77" fmla="*/ 23 h 91"/>
                  <a:gd name="T78" fmla="*/ 57 w 121"/>
                  <a:gd name="T79" fmla="*/ 18 h 91"/>
                  <a:gd name="T80" fmla="*/ 51 w 121"/>
                  <a:gd name="T81" fmla="*/ 18 h 91"/>
                  <a:gd name="T82" fmla="*/ 51 w 121"/>
                  <a:gd name="T83" fmla="*/ 9 h 91"/>
                  <a:gd name="T84" fmla="*/ 51 w 121"/>
                  <a:gd name="T85" fmla="*/ 4 h 91"/>
                  <a:gd name="T86" fmla="*/ 48 w 121"/>
                  <a:gd name="T87" fmla="*/ 2 h 91"/>
                  <a:gd name="T88" fmla="*/ 35 w 121"/>
                  <a:gd name="T89" fmla="*/ 9 h 91"/>
                  <a:gd name="T90" fmla="*/ 32 w 121"/>
                  <a:gd name="T91" fmla="*/ 11 h 91"/>
                  <a:gd name="T92" fmla="*/ 30 w 121"/>
                  <a:gd name="T93" fmla="*/ 16 h 91"/>
                  <a:gd name="T94" fmla="*/ 23 w 121"/>
                  <a:gd name="T95" fmla="*/ 22 h 91"/>
                  <a:gd name="T96" fmla="*/ 17 w 121"/>
                  <a:gd name="T97" fmla="*/ 31 h 91"/>
                  <a:gd name="T98" fmla="*/ 7 w 121"/>
                  <a:gd name="T99" fmla="*/ 31 h 91"/>
                  <a:gd name="T100" fmla="*/ 1 w 121"/>
                  <a:gd name="T101" fmla="*/ 36 h 91"/>
                  <a:gd name="T102" fmla="*/ 3 w 121"/>
                  <a:gd name="T103" fmla="*/ 43 h 91"/>
                  <a:gd name="T104" fmla="*/ 10 w 121"/>
                  <a:gd name="T105" fmla="*/ 45 h 91"/>
                  <a:gd name="T106" fmla="*/ 12 w 121"/>
                  <a:gd name="T107" fmla="*/ 56 h 91"/>
                  <a:gd name="T108" fmla="*/ 16 w 121"/>
                  <a:gd name="T109" fmla="*/ 61 h 91"/>
                  <a:gd name="T110" fmla="*/ 10 w 121"/>
                  <a:gd name="T111" fmla="*/ 66 h 91"/>
                  <a:gd name="T112" fmla="*/ 5 w 121"/>
                  <a:gd name="T113"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1" h="91">
                    <a:moveTo>
                      <a:pt x="5" y="79"/>
                    </a:moveTo>
                    <a:lnTo>
                      <a:pt x="10" y="86"/>
                    </a:lnTo>
                    <a:lnTo>
                      <a:pt x="12" y="84"/>
                    </a:lnTo>
                    <a:lnTo>
                      <a:pt x="14" y="84"/>
                    </a:lnTo>
                    <a:lnTo>
                      <a:pt x="14" y="82"/>
                    </a:lnTo>
                    <a:lnTo>
                      <a:pt x="21" y="81"/>
                    </a:lnTo>
                    <a:lnTo>
                      <a:pt x="21" y="81"/>
                    </a:lnTo>
                    <a:lnTo>
                      <a:pt x="23" y="81"/>
                    </a:lnTo>
                    <a:lnTo>
                      <a:pt x="25" y="79"/>
                    </a:lnTo>
                    <a:lnTo>
                      <a:pt x="25" y="79"/>
                    </a:lnTo>
                    <a:lnTo>
                      <a:pt x="26" y="81"/>
                    </a:lnTo>
                    <a:lnTo>
                      <a:pt x="30" y="82"/>
                    </a:lnTo>
                    <a:lnTo>
                      <a:pt x="32" y="81"/>
                    </a:lnTo>
                    <a:lnTo>
                      <a:pt x="32" y="81"/>
                    </a:lnTo>
                    <a:lnTo>
                      <a:pt x="32" y="79"/>
                    </a:lnTo>
                    <a:lnTo>
                      <a:pt x="32" y="79"/>
                    </a:lnTo>
                    <a:lnTo>
                      <a:pt x="32" y="77"/>
                    </a:lnTo>
                    <a:lnTo>
                      <a:pt x="33" y="73"/>
                    </a:lnTo>
                    <a:lnTo>
                      <a:pt x="35" y="72"/>
                    </a:lnTo>
                    <a:lnTo>
                      <a:pt x="37" y="73"/>
                    </a:lnTo>
                    <a:lnTo>
                      <a:pt x="39" y="73"/>
                    </a:lnTo>
                    <a:lnTo>
                      <a:pt x="42" y="73"/>
                    </a:lnTo>
                    <a:lnTo>
                      <a:pt x="42" y="75"/>
                    </a:lnTo>
                    <a:lnTo>
                      <a:pt x="44" y="73"/>
                    </a:lnTo>
                    <a:lnTo>
                      <a:pt x="46" y="72"/>
                    </a:lnTo>
                    <a:lnTo>
                      <a:pt x="46" y="70"/>
                    </a:lnTo>
                    <a:lnTo>
                      <a:pt x="44" y="68"/>
                    </a:lnTo>
                    <a:lnTo>
                      <a:pt x="44" y="66"/>
                    </a:lnTo>
                    <a:lnTo>
                      <a:pt x="50" y="59"/>
                    </a:lnTo>
                    <a:lnTo>
                      <a:pt x="51" y="57"/>
                    </a:lnTo>
                    <a:lnTo>
                      <a:pt x="51" y="56"/>
                    </a:lnTo>
                    <a:lnTo>
                      <a:pt x="53" y="56"/>
                    </a:lnTo>
                    <a:lnTo>
                      <a:pt x="55" y="56"/>
                    </a:lnTo>
                    <a:lnTo>
                      <a:pt x="57" y="56"/>
                    </a:lnTo>
                    <a:lnTo>
                      <a:pt x="58" y="56"/>
                    </a:lnTo>
                    <a:lnTo>
                      <a:pt x="62" y="59"/>
                    </a:lnTo>
                    <a:lnTo>
                      <a:pt x="62" y="61"/>
                    </a:lnTo>
                    <a:lnTo>
                      <a:pt x="62" y="63"/>
                    </a:lnTo>
                    <a:lnTo>
                      <a:pt x="60" y="64"/>
                    </a:lnTo>
                    <a:lnTo>
                      <a:pt x="62" y="66"/>
                    </a:lnTo>
                    <a:lnTo>
                      <a:pt x="64" y="66"/>
                    </a:lnTo>
                    <a:lnTo>
                      <a:pt x="66" y="66"/>
                    </a:lnTo>
                    <a:lnTo>
                      <a:pt x="66" y="66"/>
                    </a:lnTo>
                    <a:lnTo>
                      <a:pt x="66" y="68"/>
                    </a:lnTo>
                    <a:lnTo>
                      <a:pt x="66" y="70"/>
                    </a:lnTo>
                    <a:lnTo>
                      <a:pt x="66" y="70"/>
                    </a:lnTo>
                    <a:lnTo>
                      <a:pt x="66" y="73"/>
                    </a:lnTo>
                    <a:lnTo>
                      <a:pt x="66" y="75"/>
                    </a:lnTo>
                    <a:lnTo>
                      <a:pt x="64" y="77"/>
                    </a:lnTo>
                    <a:lnTo>
                      <a:pt x="64" y="79"/>
                    </a:lnTo>
                    <a:lnTo>
                      <a:pt x="64" y="82"/>
                    </a:lnTo>
                    <a:lnTo>
                      <a:pt x="64" y="84"/>
                    </a:lnTo>
                    <a:lnTo>
                      <a:pt x="67" y="91"/>
                    </a:lnTo>
                    <a:lnTo>
                      <a:pt x="67" y="91"/>
                    </a:lnTo>
                    <a:lnTo>
                      <a:pt x="69" y="91"/>
                    </a:lnTo>
                    <a:lnTo>
                      <a:pt x="78" y="86"/>
                    </a:lnTo>
                    <a:lnTo>
                      <a:pt x="85" y="84"/>
                    </a:lnTo>
                    <a:lnTo>
                      <a:pt x="85" y="84"/>
                    </a:lnTo>
                    <a:lnTo>
                      <a:pt x="87" y="82"/>
                    </a:lnTo>
                    <a:lnTo>
                      <a:pt x="89" y="81"/>
                    </a:lnTo>
                    <a:lnTo>
                      <a:pt x="89" y="81"/>
                    </a:lnTo>
                    <a:lnTo>
                      <a:pt x="91" y="81"/>
                    </a:lnTo>
                    <a:lnTo>
                      <a:pt x="92" y="77"/>
                    </a:lnTo>
                    <a:lnTo>
                      <a:pt x="94" y="77"/>
                    </a:lnTo>
                    <a:lnTo>
                      <a:pt x="96" y="75"/>
                    </a:lnTo>
                    <a:lnTo>
                      <a:pt x="98" y="75"/>
                    </a:lnTo>
                    <a:lnTo>
                      <a:pt x="100" y="77"/>
                    </a:lnTo>
                    <a:lnTo>
                      <a:pt x="101" y="77"/>
                    </a:lnTo>
                    <a:lnTo>
                      <a:pt x="101" y="79"/>
                    </a:lnTo>
                    <a:lnTo>
                      <a:pt x="103" y="81"/>
                    </a:lnTo>
                    <a:lnTo>
                      <a:pt x="103" y="81"/>
                    </a:lnTo>
                    <a:lnTo>
                      <a:pt x="105" y="79"/>
                    </a:lnTo>
                    <a:lnTo>
                      <a:pt x="105" y="79"/>
                    </a:lnTo>
                    <a:lnTo>
                      <a:pt x="110" y="77"/>
                    </a:lnTo>
                    <a:lnTo>
                      <a:pt x="114" y="77"/>
                    </a:lnTo>
                    <a:lnTo>
                      <a:pt x="116" y="79"/>
                    </a:lnTo>
                    <a:lnTo>
                      <a:pt x="119" y="79"/>
                    </a:lnTo>
                    <a:lnTo>
                      <a:pt x="119" y="79"/>
                    </a:lnTo>
                    <a:lnTo>
                      <a:pt x="119" y="81"/>
                    </a:lnTo>
                    <a:lnTo>
                      <a:pt x="117" y="81"/>
                    </a:lnTo>
                    <a:lnTo>
                      <a:pt x="119" y="81"/>
                    </a:lnTo>
                    <a:lnTo>
                      <a:pt x="121" y="81"/>
                    </a:lnTo>
                    <a:lnTo>
                      <a:pt x="121" y="70"/>
                    </a:lnTo>
                    <a:lnTo>
                      <a:pt x="117" y="63"/>
                    </a:lnTo>
                    <a:lnTo>
                      <a:pt x="117" y="57"/>
                    </a:lnTo>
                    <a:lnTo>
                      <a:pt x="116" y="54"/>
                    </a:lnTo>
                    <a:lnTo>
                      <a:pt x="110" y="54"/>
                    </a:lnTo>
                    <a:lnTo>
                      <a:pt x="105" y="56"/>
                    </a:lnTo>
                    <a:lnTo>
                      <a:pt x="101" y="54"/>
                    </a:lnTo>
                    <a:lnTo>
                      <a:pt x="100" y="43"/>
                    </a:lnTo>
                    <a:lnTo>
                      <a:pt x="103" y="32"/>
                    </a:lnTo>
                    <a:lnTo>
                      <a:pt x="98" y="32"/>
                    </a:lnTo>
                    <a:lnTo>
                      <a:pt x="96" y="36"/>
                    </a:lnTo>
                    <a:lnTo>
                      <a:pt x="94" y="36"/>
                    </a:lnTo>
                    <a:lnTo>
                      <a:pt x="91" y="36"/>
                    </a:lnTo>
                    <a:lnTo>
                      <a:pt x="85" y="36"/>
                    </a:lnTo>
                    <a:lnTo>
                      <a:pt x="82" y="36"/>
                    </a:lnTo>
                    <a:lnTo>
                      <a:pt x="76" y="38"/>
                    </a:lnTo>
                    <a:lnTo>
                      <a:pt x="75" y="38"/>
                    </a:lnTo>
                    <a:lnTo>
                      <a:pt x="71" y="38"/>
                    </a:lnTo>
                    <a:lnTo>
                      <a:pt x="69" y="34"/>
                    </a:lnTo>
                    <a:lnTo>
                      <a:pt x="66" y="32"/>
                    </a:lnTo>
                    <a:lnTo>
                      <a:pt x="64" y="32"/>
                    </a:lnTo>
                    <a:lnTo>
                      <a:pt x="55" y="34"/>
                    </a:lnTo>
                    <a:lnTo>
                      <a:pt x="53" y="34"/>
                    </a:lnTo>
                    <a:lnTo>
                      <a:pt x="51" y="32"/>
                    </a:lnTo>
                    <a:lnTo>
                      <a:pt x="48" y="32"/>
                    </a:lnTo>
                    <a:lnTo>
                      <a:pt x="41" y="32"/>
                    </a:lnTo>
                    <a:lnTo>
                      <a:pt x="35" y="32"/>
                    </a:lnTo>
                    <a:lnTo>
                      <a:pt x="33" y="32"/>
                    </a:lnTo>
                    <a:lnTo>
                      <a:pt x="32" y="32"/>
                    </a:lnTo>
                    <a:lnTo>
                      <a:pt x="30" y="31"/>
                    </a:lnTo>
                    <a:lnTo>
                      <a:pt x="30" y="23"/>
                    </a:lnTo>
                    <a:lnTo>
                      <a:pt x="35" y="22"/>
                    </a:lnTo>
                    <a:lnTo>
                      <a:pt x="46" y="22"/>
                    </a:lnTo>
                    <a:lnTo>
                      <a:pt x="50" y="23"/>
                    </a:lnTo>
                    <a:lnTo>
                      <a:pt x="51" y="23"/>
                    </a:lnTo>
                    <a:lnTo>
                      <a:pt x="53" y="20"/>
                    </a:lnTo>
                    <a:lnTo>
                      <a:pt x="55" y="20"/>
                    </a:lnTo>
                    <a:lnTo>
                      <a:pt x="57" y="18"/>
                    </a:lnTo>
                    <a:lnTo>
                      <a:pt x="55" y="18"/>
                    </a:lnTo>
                    <a:lnTo>
                      <a:pt x="53" y="18"/>
                    </a:lnTo>
                    <a:lnTo>
                      <a:pt x="51" y="18"/>
                    </a:lnTo>
                    <a:lnTo>
                      <a:pt x="48" y="13"/>
                    </a:lnTo>
                    <a:lnTo>
                      <a:pt x="50" y="11"/>
                    </a:lnTo>
                    <a:lnTo>
                      <a:pt x="51" y="9"/>
                    </a:lnTo>
                    <a:lnTo>
                      <a:pt x="53" y="7"/>
                    </a:lnTo>
                    <a:lnTo>
                      <a:pt x="53" y="6"/>
                    </a:lnTo>
                    <a:lnTo>
                      <a:pt x="51" y="4"/>
                    </a:lnTo>
                    <a:lnTo>
                      <a:pt x="51" y="0"/>
                    </a:lnTo>
                    <a:lnTo>
                      <a:pt x="48" y="0"/>
                    </a:lnTo>
                    <a:lnTo>
                      <a:pt x="48" y="2"/>
                    </a:lnTo>
                    <a:lnTo>
                      <a:pt x="46" y="4"/>
                    </a:lnTo>
                    <a:lnTo>
                      <a:pt x="37" y="9"/>
                    </a:lnTo>
                    <a:lnTo>
                      <a:pt x="35" y="9"/>
                    </a:lnTo>
                    <a:lnTo>
                      <a:pt x="33" y="7"/>
                    </a:lnTo>
                    <a:lnTo>
                      <a:pt x="32" y="9"/>
                    </a:lnTo>
                    <a:lnTo>
                      <a:pt x="32" y="11"/>
                    </a:lnTo>
                    <a:lnTo>
                      <a:pt x="30" y="13"/>
                    </a:lnTo>
                    <a:lnTo>
                      <a:pt x="30" y="14"/>
                    </a:lnTo>
                    <a:lnTo>
                      <a:pt x="30" y="16"/>
                    </a:lnTo>
                    <a:lnTo>
                      <a:pt x="30" y="20"/>
                    </a:lnTo>
                    <a:lnTo>
                      <a:pt x="28" y="22"/>
                    </a:lnTo>
                    <a:lnTo>
                      <a:pt x="23" y="22"/>
                    </a:lnTo>
                    <a:lnTo>
                      <a:pt x="21" y="23"/>
                    </a:lnTo>
                    <a:lnTo>
                      <a:pt x="21" y="25"/>
                    </a:lnTo>
                    <a:lnTo>
                      <a:pt x="17" y="31"/>
                    </a:lnTo>
                    <a:lnTo>
                      <a:pt x="16" y="32"/>
                    </a:lnTo>
                    <a:lnTo>
                      <a:pt x="8" y="32"/>
                    </a:lnTo>
                    <a:lnTo>
                      <a:pt x="7" y="31"/>
                    </a:lnTo>
                    <a:lnTo>
                      <a:pt x="1" y="32"/>
                    </a:lnTo>
                    <a:lnTo>
                      <a:pt x="1" y="34"/>
                    </a:lnTo>
                    <a:lnTo>
                      <a:pt x="1" y="36"/>
                    </a:lnTo>
                    <a:lnTo>
                      <a:pt x="0" y="38"/>
                    </a:lnTo>
                    <a:lnTo>
                      <a:pt x="3" y="41"/>
                    </a:lnTo>
                    <a:lnTo>
                      <a:pt x="3" y="43"/>
                    </a:lnTo>
                    <a:lnTo>
                      <a:pt x="7" y="43"/>
                    </a:lnTo>
                    <a:lnTo>
                      <a:pt x="8" y="43"/>
                    </a:lnTo>
                    <a:lnTo>
                      <a:pt x="10" y="45"/>
                    </a:lnTo>
                    <a:lnTo>
                      <a:pt x="12" y="47"/>
                    </a:lnTo>
                    <a:lnTo>
                      <a:pt x="10" y="50"/>
                    </a:lnTo>
                    <a:lnTo>
                      <a:pt x="12" y="56"/>
                    </a:lnTo>
                    <a:lnTo>
                      <a:pt x="12" y="57"/>
                    </a:lnTo>
                    <a:lnTo>
                      <a:pt x="14" y="59"/>
                    </a:lnTo>
                    <a:lnTo>
                      <a:pt x="16" y="61"/>
                    </a:lnTo>
                    <a:lnTo>
                      <a:pt x="14" y="63"/>
                    </a:lnTo>
                    <a:lnTo>
                      <a:pt x="12" y="64"/>
                    </a:lnTo>
                    <a:lnTo>
                      <a:pt x="10" y="66"/>
                    </a:lnTo>
                    <a:lnTo>
                      <a:pt x="5" y="75"/>
                    </a:lnTo>
                    <a:lnTo>
                      <a:pt x="7" y="79"/>
                    </a:lnTo>
                    <a:lnTo>
                      <a:pt x="5" y="7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01" name="Freeform 3056"/>
              <p:cNvSpPr>
                <a:spLocks/>
              </p:cNvSpPr>
              <p:nvPr/>
            </p:nvSpPr>
            <p:spPr bwMode="auto">
              <a:xfrm>
                <a:off x="3775" y="1993"/>
                <a:ext cx="121" cy="91"/>
              </a:xfrm>
              <a:custGeom>
                <a:avLst/>
                <a:gdLst>
                  <a:gd name="T0" fmla="*/ 12 w 121"/>
                  <a:gd name="T1" fmla="*/ 84 h 91"/>
                  <a:gd name="T2" fmla="*/ 21 w 121"/>
                  <a:gd name="T3" fmla="*/ 81 h 91"/>
                  <a:gd name="T4" fmla="*/ 25 w 121"/>
                  <a:gd name="T5" fmla="*/ 79 h 91"/>
                  <a:gd name="T6" fmla="*/ 30 w 121"/>
                  <a:gd name="T7" fmla="*/ 82 h 91"/>
                  <a:gd name="T8" fmla="*/ 32 w 121"/>
                  <a:gd name="T9" fmla="*/ 79 h 91"/>
                  <a:gd name="T10" fmla="*/ 33 w 121"/>
                  <a:gd name="T11" fmla="*/ 73 h 91"/>
                  <a:gd name="T12" fmla="*/ 39 w 121"/>
                  <a:gd name="T13" fmla="*/ 73 h 91"/>
                  <a:gd name="T14" fmla="*/ 44 w 121"/>
                  <a:gd name="T15" fmla="*/ 73 h 91"/>
                  <a:gd name="T16" fmla="*/ 44 w 121"/>
                  <a:gd name="T17" fmla="*/ 68 h 91"/>
                  <a:gd name="T18" fmla="*/ 51 w 121"/>
                  <a:gd name="T19" fmla="*/ 57 h 91"/>
                  <a:gd name="T20" fmla="*/ 55 w 121"/>
                  <a:gd name="T21" fmla="*/ 56 h 91"/>
                  <a:gd name="T22" fmla="*/ 62 w 121"/>
                  <a:gd name="T23" fmla="*/ 59 h 91"/>
                  <a:gd name="T24" fmla="*/ 60 w 121"/>
                  <a:gd name="T25" fmla="*/ 64 h 91"/>
                  <a:gd name="T26" fmla="*/ 66 w 121"/>
                  <a:gd name="T27" fmla="*/ 66 h 91"/>
                  <a:gd name="T28" fmla="*/ 66 w 121"/>
                  <a:gd name="T29" fmla="*/ 70 h 91"/>
                  <a:gd name="T30" fmla="*/ 66 w 121"/>
                  <a:gd name="T31" fmla="*/ 75 h 91"/>
                  <a:gd name="T32" fmla="*/ 64 w 121"/>
                  <a:gd name="T33" fmla="*/ 82 h 91"/>
                  <a:gd name="T34" fmla="*/ 67 w 121"/>
                  <a:gd name="T35" fmla="*/ 91 h 91"/>
                  <a:gd name="T36" fmla="*/ 85 w 121"/>
                  <a:gd name="T37" fmla="*/ 84 h 91"/>
                  <a:gd name="T38" fmla="*/ 89 w 121"/>
                  <a:gd name="T39" fmla="*/ 81 h 91"/>
                  <a:gd name="T40" fmla="*/ 92 w 121"/>
                  <a:gd name="T41" fmla="*/ 77 h 91"/>
                  <a:gd name="T42" fmla="*/ 98 w 121"/>
                  <a:gd name="T43" fmla="*/ 75 h 91"/>
                  <a:gd name="T44" fmla="*/ 101 w 121"/>
                  <a:gd name="T45" fmla="*/ 79 h 91"/>
                  <a:gd name="T46" fmla="*/ 105 w 121"/>
                  <a:gd name="T47" fmla="*/ 79 h 91"/>
                  <a:gd name="T48" fmla="*/ 114 w 121"/>
                  <a:gd name="T49" fmla="*/ 77 h 91"/>
                  <a:gd name="T50" fmla="*/ 119 w 121"/>
                  <a:gd name="T51" fmla="*/ 79 h 91"/>
                  <a:gd name="T52" fmla="*/ 119 w 121"/>
                  <a:gd name="T53" fmla="*/ 81 h 91"/>
                  <a:gd name="T54" fmla="*/ 117 w 121"/>
                  <a:gd name="T55" fmla="*/ 63 h 91"/>
                  <a:gd name="T56" fmla="*/ 110 w 121"/>
                  <a:gd name="T57" fmla="*/ 54 h 91"/>
                  <a:gd name="T58" fmla="*/ 100 w 121"/>
                  <a:gd name="T59" fmla="*/ 43 h 91"/>
                  <a:gd name="T60" fmla="*/ 96 w 121"/>
                  <a:gd name="T61" fmla="*/ 36 h 91"/>
                  <a:gd name="T62" fmla="*/ 85 w 121"/>
                  <a:gd name="T63" fmla="*/ 36 h 91"/>
                  <a:gd name="T64" fmla="*/ 75 w 121"/>
                  <a:gd name="T65" fmla="*/ 38 h 91"/>
                  <a:gd name="T66" fmla="*/ 66 w 121"/>
                  <a:gd name="T67" fmla="*/ 32 h 91"/>
                  <a:gd name="T68" fmla="*/ 53 w 121"/>
                  <a:gd name="T69" fmla="*/ 34 h 91"/>
                  <a:gd name="T70" fmla="*/ 41 w 121"/>
                  <a:gd name="T71" fmla="*/ 32 h 91"/>
                  <a:gd name="T72" fmla="*/ 32 w 121"/>
                  <a:gd name="T73" fmla="*/ 32 h 91"/>
                  <a:gd name="T74" fmla="*/ 35 w 121"/>
                  <a:gd name="T75" fmla="*/ 22 h 91"/>
                  <a:gd name="T76" fmla="*/ 51 w 121"/>
                  <a:gd name="T77" fmla="*/ 23 h 91"/>
                  <a:gd name="T78" fmla="*/ 57 w 121"/>
                  <a:gd name="T79" fmla="*/ 18 h 91"/>
                  <a:gd name="T80" fmla="*/ 51 w 121"/>
                  <a:gd name="T81" fmla="*/ 18 h 91"/>
                  <a:gd name="T82" fmla="*/ 51 w 121"/>
                  <a:gd name="T83" fmla="*/ 9 h 91"/>
                  <a:gd name="T84" fmla="*/ 51 w 121"/>
                  <a:gd name="T85" fmla="*/ 4 h 91"/>
                  <a:gd name="T86" fmla="*/ 48 w 121"/>
                  <a:gd name="T87" fmla="*/ 2 h 91"/>
                  <a:gd name="T88" fmla="*/ 35 w 121"/>
                  <a:gd name="T89" fmla="*/ 9 h 91"/>
                  <a:gd name="T90" fmla="*/ 32 w 121"/>
                  <a:gd name="T91" fmla="*/ 11 h 91"/>
                  <a:gd name="T92" fmla="*/ 30 w 121"/>
                  <a:gd name="T93" fmla="*/ 16 h 91"/>
                  <a:gd name="T94" fmla="*/ 23 w 121"/>
                  <a:gd name="T95" fmla="*/ 22 h 91"/>
                  <a:gd name="T96" fmla="*/ 17 w 121"/>
                  <a:gd name="T97" fmla="*/ 31 h 91"/>
                  <a:gd name="T98" fmla="*/ 7 w 121"/>
                  <a:gd name="T99" fmla="*/ 31 h 91"/>
                  <a:gd name="T100" fmla="*/ 1 w 121"/>
                  <a:gd name="T101" fmla="*/ 36 h 91"/>
                  <a:gd name="T102" fmla="*/ 3 w 121"/>
                  <a:gd name="T103" fmla="*/ 43 h 91"/>
                  <a:gd name="T104" fmla="*/ 10 w 121"/>
                  <a:gd name="T105" fmla="*/ 45 h 91"/>
                  <a:gd name="T106" fmla="*/ 12 w 121"/>
                  <a:gd name="T107" fmla="*/ 56 h 91"/>
                  <a:gd name="T108" fmla="*/ 16 w 121"/>
                  <a:gd name="T109" fmla="*/ 61 h 91"/>
                  <a:gd name="T110" fmla="*/ 10 w 121"/>
                  <a:gd name="T111" fmla="*/ 66 h 91"/>
                  <a:gd name="T112" fmla="*/ 5 w 121"/>
                  <a:gd name="T113"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1" h="91">
                    <a:moveTo>
                      <a:pt x="5" y="79"/>
                    </a:moveTo>
                    <a:lnTo>
                      <a:pt x="10" y="86"/>
                    </a:lnTo>
                    <a:lnTo>
                      <a:pt x="12" y="84"/>
                    </a:lnTo>
                    <a:lnTo>
                      <a:pt x="14" y="84"/>
                    </a:lnTo>
                    <a:lnTo>
                      <a:pt x="14" y="82"/>
                    </a:lnTo>
                    <a:lnTo>
                      <a:pt x="21" y="81"/>
                    </a:lnTo>
                    <a:lnTo>
                      <a:pt x="21" y="81"/>
                    </a:lnTo>
                    <a:lnTo>
                      <a:pt x="23" y="81"/>
                    </a:lnTo>
                    <a:lnTo>
                      <a:pt x="25" y="79"/>
                    </a:lnTo>
                    <a:lnTo>
                      <a:pt x="25" y="79"/>
                    </a:lnTo>
                    <a:lnTo>
                      <a:pt x="26" y="81"/>
                    </a:lnTo>
                    <a:lnTo>
                      <a:pt x="30" y="82"/>
                    </a:lnTo>
                    <a:lnTo>
                      <a:pt x="32" y="81"/>
                    </a:lnTo>
                    <a:lnTo>
                      <a:pt x="32" y="81"/>
                    </a:lnTo>
                    <a:lnTo>
                      <a:pt x="32" y="79"/>
                    </a:lnTo>
                    <a:lnTo>
                      <a:pt x="32" y="79"/>
                    </a:lnTo>
                    <a:lnTo>
                      <a:pt x="32" y="77"/>
                    </a:lnTo>
                    <a:lnTo>
                      <a:pt x="33" y="73"/>
                    </a:lnTo>
                    <a:lnTo>
                      <a:pt x="35" y="72"/>
                    </a:lnTo>
                    <a:lnTo>
                      <a:pt x="37" y="73"/>
                    </a:lnTo>
                    <a:lnTo>
                      <a:pt x="39" y="73"/>
                    </a:lnTo>
                    <a:lnTo>
                      <a:pt x="42" y="73"/>
                    </a:lnTo>
                    <a:lnTo>
                      <a:pt x="42" y="75"/>
                    </a:lnTo>
                    <a:lnTo>
                      <a:pt x="44" y="73"/>
                    </a:lnTo>
                    <a:lnTo>
                      <a:pt x="46" y="72"/>
                    </a:lnTo>
                    <a:lnTo>
                      <a:pt x="46" y="70"/>
                    </a:lnTo>
                    <a:lnTo>
                      <a:pt x="44" y="68"/>
                    </a:lnTo>
                    <a:lnTo>
                      <a:pt x="44" y="66"/>
                    </a:lnTo>
                    <a:lnTo>
                      <a:pt x="50" y="59"/>
                    </a:lnTo>
                    <a:lnTo>
                      <a:pt x="51" y="57"/>
                    </a:lnTo>
                    <a:lnTo>
                      <a:pt x="51" y="56"/>
                    </a:lnTo>
                    <a:lnTo>
                      <a:pt x="53" y="56"/>
                    </a:lnTo>
                    <a:lnTo>
                      <a:pt x="55" y="56"/>
                    </a:lnTo>
                    <a:lnTo>
                      <a:pt x="57" y="56"/>
                    </a:lnTo>
                    <a:lnTo>
                      <a:pt x="58" y="56"/>
                    </a:lnTo>
                    <a:lnTo>
                      <a:pt x="62" y="59"/>
                    </a:lnTo>
                    <a:lnTo>
                      <a:pt x="62" y="61"/>
                    </a:lnTo>
                    <a:lnTo>
                      <a:pt x="62" y="63"/>
                    </a:lnTo>
                    <a:lnTo>
                      <a:pt x="60" y="64"/>
                    </a:lnTo>
                    <a:lnTo>
                      <a:pt x="62" y="66"/>
                    </a:lnTo>
                    <a:lnTo>
                      <a:pt x="64" y="66"/>
                    </a:lnTo>
                    <a:lnTo>
                      <a:pt x="66" y="66"/>
                    </a:lnTo>
                    <a:lnTo>
                      <a:pt x="66" y="66"/>
                    </a:lnTo>
                    <a:lnTo>
                      <a:pt x="66" y="68"/>
                    </a:lnTo>
                    <a:lnTo>
                      <a:pt x="66" y="70"/>
                    </a:lnTo>
                    <a:lnTo>
                      <a:pt x="66" y="70"/>
                    </a:lnTo>
                    <a:lnTo>
                      <a:pt x="66" y="73"/>
                    </a:lnTo>
                    <a:lnTo>
                      <a:pt x="66" y="75"/>
                    </a:lnTo>
                    <a:lnTo>
                      <a:pt x="64" y="77"/>
                    </a:lnTo>
                    <a:lnTo>
                      <a:pt x="64" y="79"/>
                    </a:lnTo>
                    <a:lnTo>
                      <a:pt x="64" y="82"/>
                    </a:lnTo>
                    <a:lnTo>
                      <a:pt x="64" y="84"/>
                    </a:lnTo>
                    <a:lnTo>
                      <a:pt x="67" y="91"/>
                    </a:lnTo>
                    <a:lnTo>
                      <a:pt x="67" y="91"/>
                    </a:lnTo>
                    <a:lnTo>
                      <a:pt x="69" y="91"/>
                    </a:lnTo>
                    <a:lnTo>
                      <a:pt x="78" y="86"/>
                    </a:lnTo>
                    <a:lnTo>
                      <a:pt x="85" y="84"/>
                    </a:lnTo>
                    <a:lnTo>
                      <a:pt x="85" y="84"/>
                    </a:lnTo>
                    <a:lnTo>
                      <a:pt x="87" y="82"/>
                    </a:lnTo>
                    <a:lnTo>
                      <a:pt x="89" y="81"/>
                    </a:lnTo>
                    <a:lnTo>
                      <a:pt x="89" y="81"/>
                    </a:lnTo>
                    <a:lnTo>
                      <a:pt x="91" y="81"/>
                    </a:lnTo>
                    <a:lnTo>
                      <a:pt x="92" y="77"/>
                    </a:lnTo>
                    <a:lnTo>
                      <a:pt x="94" y="77"/>
                    </a:lnTo>
                    <a:lnTo>
                      <a:pt x="96" y="75"/>
                    </a:lnTo>
                    <a:lnTo>
                      <a:pt x="98" y="75"/>
                    </a:lnTo>
                    <a:lnTo>
                      <a:pt x="100" y="77"/>
                    </a:lnTo>
                    <a:lnTo>
                      <a:pt x="101" y="77"/>
                    </a:lnTo>
                    <a:lnTo>
                      <a:pt x="101" y="79"/>
                    </a:lnTo>
                    <a:lnTo>
                      <a:pt x="103" y="81"/>
                    </a:lnTo>
                    <a:lnTo>
                      <a:pt x="103" y="81"/>
                    </a:lnTo>
                    <a:lnTo>
                      <a:pt x="105" y="79"/>
                    </a:lnTo>
                    <a:lnTo>
                      <a:pt x="105" y="79"/>
                    </a:lnTo>
                    <a:lnTo>
                      <a:pt x="110" y="77"/>
                    </a:lnTo>
                    <a:lnTo>
                      <a:pt x="114" y="77"/>
                    </a:lnTo>
                    <a:lnTo>
                      <a:pt x="116" y="79"/>
                    </a:lnTo>
                    <a:lnTo>
                      <a:pt x="119" y="79"/>
                    </a:lnTo>
                    <a:lnTo>
                      <a:pt x="119" y="79"/>
                    </a:lnTo>
                    <a:lnTo>
                      <a:pt x="119" y="81"/>
                    </a:lnTo>
                    <a:lnTo>
                      <a:pt x="117" y="81"/>
                    </a:lnTo>
                    <a:lnTo>
                      <a:pt x="119" y="81"/>
                    </a:lnTo>
                    <a:lnTo>
                      <a:pt x="121" y="81"/>
                    </a:lnTo>
                    <a:lnTo>
                      <a:pt x="121" y="70"/>
                    </a:lnTo>
                    <a:lnTo>
                      <a:pt x="117" y="63"/>
                    </a:lnTo>
                    <a:lnTo>
                      <a:pt x="117" y="57"/>
                    </a:lnTo>
                    <a:lnTo>
                      <a:pt x="116" y="54"/>
                    </a:lnTo>
                    <a:lnTo>
                      <a:pt x="110" y="54"/>
                    </a:lnTo>
                    <a:lnTo>
                      <a:pt x="105" y="56"/>
                    </a:lnTo>
                    <a:lnTo>
                      <a:pt x="101" y="54"/>
                    </a:lnTo>
                    <a:lnTo>
                      <a:pt x="100" y="43"/>
                    </a:lnTo>
                    <a:lnTo>
                      <a:pt x="103" y="32"/>
                    </a:lnTo>
                    <a:lnTo>
                      <a:pt x="98" y="32"/>
                    </a:lnTo>
                    <a:lnTo>
                      <a:pt x="96" y="36"/>
                    </a:lnTo>
                    <a:lnTo>
                      <a:pt x="94" y="36"/>
                    </a:lnTo>
                    <a:lnTo>
                      <a:pt x="91" y="36"/>
                    </a:lnTo>
                    <a:lnTo>
                      <a:pt x="85" y="36"/>
                    </a:lnTo>
                    <a:lnTo>
                      <a:pt x="82" y="36"/>
                    </a:lnTo>
                    <a:lnTo>
                      <a:pt x="76" y="38"/>
                    </a:lnTo>
                    <a:lnTo>
                      <a:pt x="75" y="38"/>
                    </a:lnTo>
                    <a:lnTo>
                      <a:pt x="71" y="38"/>
                    </a:lnTo>
                    <a:lnTo>
                      <a:pt x="69" y="34"/>
                    </a:lnTo>
                    <a:lnTo>
                      <a:pt x="66" y="32"/>
                    </a:lnTo>
                    <a:lnTo>
                      <a:pt x="64" y="32"/>
                    </a:lnTo>
                    <a:lnTo>
                      <a:pt x="55" y="34"/>
                    </a:lnTo>
                    <a:lnTo>
                      <a:pt x="53" y="34"/>
                    </a:lnTo>
                    <a:lnTo>
                      <a:pt x="51" y="32"/>
                    </a:lnTo>
                    <a:lnTo>
                      <a:pt x="48" y="32"/>
                    </a:lnTo>
                    <a:lnTo>
                      <a:pt x="41" y="32"/>
                    </a:lnTo>
                    <a:lnTo>
                      <a:pt x="35" y="32"/>
                    </a:lnTo>
                    <a:lnTo>
                      <a:pt x="33" y="32"/>
                    </a:lnTo>
                    <a:lnTo>
                      <a:pt x="32" y="32"/>
                    </a:lnTo>
                    <a:lnTo>
                      <a:pt x="30" y="31"/>
                    </a:lnTo>
                    <a:lnTo>
                      <a:pt x="30" y="23"/>
                    </a:lnTo>
                    <a:lnTo>
                      <a:pt x="35" y="22"/>
                    </a:lnTo>
                    <a:lnTo>
                      <a:pt x="46" y="22"/>
                    </a:lnTo>
                    <a:lnTo>
                      <a:pt x="50" y="23"/>
                    </a:lnTo>
                    <a:lnTo>
                      <a:pt x="51" y="23"/>
                    </a:lnTo>
                    <a:lnTo>
                      <a:pt x="53" y="20"/>
                    </a:lnTo>
                    <a:lnTo>
                      <a:pt x="55" y="20"/>
                    </a:lnTo>
                    <a:lnTo>
                      <a:pt x="57" y="18"/>
                    </a:lnTo>
                    <a:lnTo>
                      <a:pt x="55" y="18"/>
                    </a:lnTo>
                    <a:lnTo>
                      <a:pt x="53" y="18"/>
                    </a:lnTo>
                    <a:lnTo>
                      <a:pt x="51" y="18"/>
                    </a:lnTo>
                    <a:lnTo>
                      <a:pt x="48" y="13"/>
                    </a:lnTo>
                    <a:lnTo>
                      <a:pt x="50" y="11"/>
                    </a:lnTo>
                    <a:lnTo>
                      <a:pt x="51" y="9"/>
                    </a:lnTo>
                    <a:lnTo>
                      <a:pt x="53" y="7"/>
                    </a:lnTo>
                    <a:lnTo>
                      <a:pt x="53" y="6"/>
                    </a:lnTo>
                    <a:lnTo>
                      <a:pt x="51" y="4"/>
                    </a:lnTo>
                    <a:lnTo>
                      <a:pt x="51" y="0"/>
                    </a:lnTo>
                    <a:lnTo>
                      <a:pt x="48" y="0"/>
                    </a:lnTo>
                    <a:lnTo>
                      <a:pt x="48" y="2"/>
                    </a:lnTo>
                    <a:lnTo>
                      <a:pt x="46" y="4"/>
                    </a:lnTo>
                    <a:lnTo>
                      <a:pt x="37" y="9"/>
                    </a:lnTo>
                    <a:lnTo>
                      <a:pt x="35" y="9"/>
                    </a:lnTo>
                    <a:lnTo>
                      <a:pt x="33" y="7"/>
                    </a:lnTo>
                    <a:lnTo>
                      <a:pt x="32" y="9"/>
                    </a:lnTo>
                    <a:lnTo>
                      <a:pt x="32" y="11"/>
                    </a:lnTo>
                    <a:lnTo>
                      <a:pt x="30" y="13"/>
                    </a:lnTo>
                    <a:lnTo>
                      <a:pt x="30" y="14"/>
                    </a:lnTo>
                    <a:lnTo>
                      <a:pt x="30" y="16"/>
                    </a:lnTo>
                    <a:lnTo>
                      <a:pt x="30" y="20"/>
                    </a:lnTo>
                    <a:lnTo>
                      <a:pt x="28" y="22"/>
                    </a:lnTo>
                    <a:lnTo>
                      <a:pt x="23" y="22"/>
                    </a:lnTo>
                    <a:lnTo>
                      <a:pt x="21" y="23"/>
                    </a:lnTo>
                    <a:lnTo>
                      <a:pt x="21" y="25"/>
                    </a:lnTo>
                    <a:lnTo>
                      <a:pt x="17" y="31"/>
                    </a:lnTo>
                    <a:lnTo>
                      <a:pt x="16" y="32"/>
                    </a:lnTo>
                    <a:lnTo>
                      <a:pt x="8" y="32"/>
                    </a:lnTo>
                    <a:lnTo>
                      <a:pt x="7" y="31"/>
                    </a:lnTo>
                    <a:lnTo>
                      <a:pt x="1" y="32"/>
                    </a:lnTo>
                    <a:lnTo>
                      <a:pt x="1" y="34"/>
                    </a:lnTo>
                    <a:lnTo>
                      <a:pt x="1" y="36"/>
                    </a:lnTo>
                    <a:lnTo>
                      <a:pt x="0" y="38"/>
                    </a:lnTo>
                    <a:lnTo>
                      <a:pt x="3" y="41"/>
                    </a:lnTo>
                    <a:lnTo>
                      <a:pt x="3" y="43"/>
                    </a:lnTo>
                    <a:lnTo>
                      <a:pt x="7" y="43"/>
                    </a:lnTo>
                    <a:lnTo>
                      <a:pt x="8" y="43"/>
                    </a:lnTo>
                    <a:lnTo>
                      <a:pt x="10" y="45"/>
                    </a:lnTo>
                    <a:lnTo>
                      <a:pt x="12" y="47"/>
                    </a:lnTo>
                    <a:lnTo>
                      <a:pt x="10" y="50"/>
                    </a:lnTo>
                    <a:lnTo>
                      <a:pt x="12" y="56"/>
                    </a:lnTo>
                    <a:lnTo>
                      <a:pt x="12" y="57"/>
                    </a:lnTo>
                    <a:lnTo>
                      <a:pt x="14" y="59"/>
                    </a:lnTo>
                    <a:lnTo>
                      <a:pt x="16" y="61"/>
                    </a:lnTo>
                    <a:lnTo>
                      <a:pt x="14" y="63"/>
                    </a:lnTo>
                    <a:lnTo>
                      <a:pt x="12" y="64"/>
                    </a:lnTo>
                    <a:lnTo>
                      <a:pt x="10" y="66"/>
                    </a:lnTo>
                    <a:lnTo>
                      <a:pt x="5" y="75"/>
                    </a:lnTo>
                    <a:lnTo>
                      <a:pt x="7" y="79"/>
                    </a:lnTo>
                    <a:lnTo>
                      <a:pt x="5" y="79"/>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02" name="Freeform 3057"/>
              <p:cNvSpPr>
                <a:spLocks/>
              </p:cNvSpPr>
              <p:nvPr/>
            </p:nvSpPr>
            <p:spPr bwMode="auto">
              <a:xfrm>
                <a:off x="2921" y="1663"/>
                <a:ext cx="159" cy="150"/>
              </a:xfrm>
              <a:custGeom>
                <a:avLst/>
                <a:gdLst>
                  <a:gd name="T0" fmla="*/ 155 w 159"/>
                  <a:gd name="T1" fmla="*/ 102 h 150"/>
                  <a:gd name="T2" fmla="*/ 157 w 159"/>
                  <a:gd name="T3" fmla="*/ 107 h 150"/>
                  <a:gd name="T4" fmla="*/ 159 w 159"/>
                  <a:gd name="T5" fmla="*/ 116 h 150"/>
                  <a:gd name="T6" fmla="*/ 138 w 159"/>
                  <a:gd name="T7" fmla="*/ 141 h 150"/>
                  <a:gd name="T8" fmla="*/ 138 w 159"/>
                  <a:gd name="T9" fmla="*/ 148 h 150"/>
                  <a:gd name="T10" fmla="*/ 130 w 159"/>
                  <a:gd name="T11" fmla="*/ 148 h 150"/>
                  <a:gd name="T12" fmla="*/ 114 w 159"/>
                  <a:gd name="T13" fmla="*/ 141 h 150"/>
                  <a:gd name="T14" fmla="*/ 107 w 159"/>
                  <a:gd name="T15" fmla="*/ 143 h 150"/>
                  <a:gd name="T16" fmla="*/ 98 w 159"/>
                  <a:gd name="T17" fmla="*/ 144 h 150"/>
                  <a:gd name="T18" fmla="*/ 93 w 159"/>
                  <a:gd name="T19" fmla="*/ 146 h 150"/>
                  <a:gd name="T20" fmla="*/ 79 w 159"/>
                  <a:gd name="T21" fmla="*/ 141 h 150"/>
                  <a:gd name="T22" fmla="*/ 64 w 159"/>
                  <a:gd name="T23" fmla="*/ 128 h 150"/>
                  <a:gd name="T24" fmla="*/ 61 w 159"/>
                  <a:gd name="T25" fmla="*/ 127 h 150"/>
                  <a:gd name="T26" fmla="*/ 59 w 159"/>
                  <a:gd name="T27" fmla="*/ 121 h 150"/>
                  <a:gd name="T28" fmla="*/ 45 w 159"/>
                  <a:gd name="T29" fmla="*/ 119 h 150"/>
                  <a:gd name="T30" fmla="*/ 43 w 159"/>
                  <a:gd name="T31" fmla="*/ 123 h 150"/>
                  <a:gd name="T32" fmla="*/ 34 w 159"/>
                  <a:gd name="T33" fmla="*/ 118 h 150"/>
                  <a:gd name="T34" fmla="*/ 36 w 159"/>
                  <a:gd name="T35" fmla="*/ 112 h 150"/>
                  <a:gd name="T36" fmla="*/ 32 w 159"/>
                  <a:gd name="T37" fmla="*/ 112 h 150"/>
                  <a:gd name="T38" fmla="*/ 21 w 159"/>
                  <a:gd name="T39" fmla="*/ 107 h 150"/>
                  <a:gd name="T40" fmla="*/ 16 w 159"/>
                  <a:gd name="T41" fmla="*/ 103 h 150"/>
                  <a:gd name="T42" fmla="*/ 11 w 159"/>
                  <a:gd name="T43" fmla="*/ 107 h 150"/>
                  <a:gd name="T44" fmla="*/ 13 w 159"/>
                  <a:gd name="T45" fmla="*/ 91 h 150"/>
                  <a:gd name="T46" fmla="*/ 5 w 159"/>
                  <a:gd name="T47" fmla="*/ 59 h 150"/>
                  <a:gd name="T48" fmla="*/ 0 w 159"/>
                  <a:gd name="T49" fmla="*/ 53 h 150"/>
                  <a:gd name="T50" fmla="*/ 4 w 159"/>
                  <a:gd name="T51" fmla="*/ 37 h 150"/>
                  <a:gd name="T52" fmla="*/ 5 w 159"/>
                  <a:gd name="T53" fmla="*/ 32 h 150"/>
                  <a:gd name="T54" fmla="*/ 7 w 159"/>
                  <a:gd name="T55" fmla="*/ 28 h 150"/>
                  <a:gd name="T56" fmla="*/ 5 w 159"/>
                  <a:gd name="T57" fmla="*/ 25 h 150"/>
                  <a:gd name="T58" fmla="*/ 9 w 159"/>
                  <a:gd name="T59" fmla="*/ 25 h 150"/>
                  <a:gd name="T60" fmla="*/ 30 w 159"/>
                  <a:gd name="T61" fmla="*/ 16 h 150"/>
                  <a:gd name="T62" fmla="*/ 50 w 159"/>
                  <a:gd name="T63" fmla="*/ 3 h 150"/>
                  <a:gd name="T64" fmla="*/ 73 w 159"/>
                  <a:gd name="T65" fmla="*/ 2 h 150"/>
                  <a:gd name="T66" fmla="*/ 75 w 159"/>
                  <a:gd name="T67" fmla="*/ 7 h 150"/>
                  <a:gd name="T68" fmla="*/ 73 w 159"/>
                  <a:gd name="T69" fmla="*/ 14 h 150"/>
                  <a:gd name="T70" fmla="*/ 75 w 159"/>
                  <a:gd name="T71" fmla="*/ 14 h 150"/>
                  <a:gd name="T72" fmla="*/ 79 w 159"/>
                  <a:gd name="T73" fmla="*/ 14 h 150"/>
                  <a:gd name="T74" fmla="*/ 88 w 159"/>
                  <a:gd name="T75" fmla="*/ 11 h 150"/>
                  <a:gd name="T76" fmla="*/ 139 w 159"/>
                  <a:gd name="T77" fmla="*/ 12 h 150"/>
                  <a:gd name="T78" fmla="*/ 155 w 159"/>
                  <a:gd name="T79" fmla="*/ 57 h 150"/>
                  <a:gd name="T80" fmla="*/ 148 w 159"/>
                  <a:gd name="T81" fmla="*/ 64 h 150"/>
                  <a:gd name="T82" fmla="*/ 146 w 159"/>
                  <a:gd name="T83" fmla="*/ 71 h 150"/>
                  <a:gd name="T84" fmla="*/ 150 w 159"/>
                  <a:gd name="T85" fmla="*/ 8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9" h="150">
                    <a:moveTo>
                      <a:pt x="150" y="87"/>
                    </a:moveTo>
                    <a:lnTo>
                      <a:pt x="155" y="102"/>
                    </a:lnTo>
                    <a:lnTo>
                      <a:pt x="159" y="105"/>
                    </a:lnTo>
                    <a:lnTo>
                      <a:pt x="157" y="107"/>
                    </a:lnTo>
                    <a:lnTo>
                      <a:pt x="159" y="112"/>
                    </a:lnTo>
                    <a:lnTo>
                      <a:pt x="159" y="116"/>
                    </a:lnTo>
                    <a:lnTo>
                      <a:pt x="146" y="125"/>
                    </a:lnTo>
                    <a:lnTo>
                      <a:pt x="138" y="141"/>
                    </a:lnTo>
                    <a:lnTo>
                      <a:pt x="138" y="144"/>
                    </a:lnTo>
                    <a:lnTo>
                      <a:pt x="138" y="148"/>
                    </a:lnTo>
                    <a:lnTo>
                      <a:pt x="136" y="150"/>
                    </a:lnTo>
                    <a:lnTo>
                      <a:pt x="130" y="148"/>
                    </a:lnTo>
                    <a:lnTo>
                      <a:pt x="121" y="141"/>
                    </a:lnTo>
                    <a:lnTo>
                      <a:pt x="114" y="141"/>
                    </a:lnTo>
                    <a:lnTo>
                      <a:pt x="109" y="144"/>
                    </a:lnTo>
                    <a:lnTo>
                      <a:pt x="107" y="143"/>
                    </a:lnTo>
                    <a:lnTo>
                      <a:pt x="100" y="143"/>
                    </a:lnTo>
                    <a:lnTo>
                      <a:pt x="98" y="144"/>
                    </a:lnTo>
                    <a:lnTo>
                      <a:pt x="95" y="146"/>
                    </a:lnTo>
                    <a:lnTo>
                      <a:pt x="93" y="146"/>
                    </a:lnTo>
                    <a:lnTo>
                      <a:pt x="86" y="139"/>
                    </a:lnTo>
                    <a:lnTo>
                      <a:pt x="79" y="141"/>
                    </a:lnTo>
                    <a:lnTo>
                      <a:pt x="71" y="136"/>
                    </a:lnTo>
                    <a:lnTo>
                      <a:pt x="64" y="128"/>
                    </a:lnTo>
                    <a:lnTo>
                      <a:pt x="63" y="127"/>
                    </a:lnTo>
                    <a:lnTo>
                      <a:pt x="61" y="127"/>
                    </a:lnTo>
                    <a:lnTo>
                      <a:pt x="59" y="125"/>
                    </a:lnTo>
                    <a:lnTo>
                      <a:pt x="59" y="121"/>
                    </a:lnTo>
                    <a:lnTo>
                      <a:pt x="45" y="118"/>
                    </a:lnTo>
                    <a:lnTo>
                      <a:pt x="45" y="119"/>
                    </a:lnTo>
                    <a:lnTo>
                      <a:pt x="46" y="121"/>
                    </a:lnTo>
                    <a:lnTo>
                      <a:pt x="43" y="123"/>
                    </a:lnTo>
                    <a:lnTo>
                      <a:pt x="41" y="121"/>
                    </a:lnTo>
                    <a:lnTo>
                      <a:pt x="34" y="118"/>
                    </a:lnTo>
                    <a:lnTo>
                      <a:pt x="36" y="114"/>
                    </a:lnTo>
                    <a:lnTo>
                      <a:pt x="36" y="112"/>
                    </a:lnTo>
                    <a:lnTo>
                      <a:pt x="36" y="112"/>
                    </a:lnTo>
                    <a:lnTo>
                      <a:pt x="32" y="112"/>
                    </a:lnTo>
                    <a:lnTo>
                      <a:pt x="30" y="109"/>
                    </a:lnTo>
                    <a:lnTo>
                      <a:pt x="21" y="107"/>
                    </a:lnTo>
                    <a:lnTo>
                      <a:pt x="20" y="105"/>
                    </a:lnTo>
                    <a:lnTo>
                      <a:pt x="16" y="103"/>
                    </a:lnTo>
                    <a:lnTo>
                      <a:pt x="13" y="107"/>
                    </a:lnTo>
                    <a:lnTo>
                      <a:pt x="11" y="107"/>
                    </a:lnTo>
                    <a:lnTo>
                      <a:pt x="13" y="93"/>
                    </a:lnTo>
                    <a:lnTo>
                      <a:pt x="13" y="91"/>
                    </a:lnTo>
                    <a:lnTo>
                      <a:pt x="7" y="86"/>
                    </a:lnTo>
                    <a:lnTo>
                      <a:pt x="5" y="59"/>
                    </a:lnTo>
                    <a:lnTo>
                      <a:pt x="0" y="55"/>
                    </a:lnTo>
                    <a:lnTo>
                      <a:pt x="0" y="53"/>
                    </a:lnTo>
                    <a:lnTo>
                      <a:pt x="4" y="46"/>
                    </a:lnTo>
                    <a:lnTo>
                      <a:pt x="4" y="37"/>
                    </a:lnTo>
                    <a:lnTo>
                      <a:pt x="2" y="30"/>
                    </a:lnTo>
                    <a:lnTo>
                      <a:pt x="5" y="32"/>
                    </a:lnTo>
                    <a:lnTo>
                      <a:pt x="7" y="30"/>
                    </a:lnTo>
                    <a:lnTo>
                      <a:pt x="7" y="28"/>
                    </a:lnTo>
                    <a:lnTo>
                      <a:pt x="4" y="27"/>
                    </a:lnTo>
                    <a:lnTo>
                      <a:pt x="5" y="25"/>
                    </a:lnTo>
                    <a:lnTo>
                      <a:pt x="7" y="25"/>
                    </a:lnTo>
                    <a:lnTo>
                      <a:pt x="9" y="25"/>
                    </a:lnTo>
                    <a:lnTo>
                      <a:pt x="13" y="21"/>
                    </a:lnTo>
                    <a:lnTo>
                      <a:pt x="30" y="16"/>
                    </a:lnTo>
                    <a:lnTo>
                      <a:pt x="39" y="7"/>
                    </a:lnTo>
                    <a:lnTo>
                      <a:pt x="50" y="3"/>
                    </a:lnTo>
                    <a:lnTo>
                      <a:pt x="68" y="0"/>
                    </a:lnTo>
                    <a:lnTo>
                      <a:pt x="73" y="2"/>
                    </a:lnTo>
                    <a:lnTo>
                      <a:pt x="75" y="5"/>
                    </a:lnTo>
                    <a:lnTo>
                      <a:pt x="75" y="7"/>
                    </a:lnTo>
                    <a:lnTo>
                      <a:pt x="70" y="3"/>
                    </a:lnTo>
                    <a:lnTo>
                      <a:pt x="73" y="14"/>
                    </a:lnTo>
                    <a:lnTo>
                      <a:pt x="75" y="16"/>
                    </a:lnTo>
                    <a:lnTo>
                      <a:pt x="75" y="14"/>
                    </a:lnTo>
                    <a:lnTo>
                      <a:pt x="77" y="14"/>
                    </a:lnTo>
                    <a:lnTo>
                      <a:pt x="79" y="14"/>
                    </a:lnTo>
                    <a:lnTo>
                      <a:pt x="86" y="12"/>
                    </a:lnTo>
                    <a:lnTo>
                      <a:pt x="88" y="11"/>
                    </a:lnTo>
                    <a:lnTo>
                      <a:pt x="111" y="16"/>
                    </a:lnTo>
                    <a:lnTo>
                      <a:pt x="139" y="12"/>
                    </a:lnTo>
                    <a:lnTo>
                      <a:pt x="150" y="19"/>
                    </a:lnTo>
                    <a:lnTo>
                      <a:pt x="155" y="57"/>
                    </a:lnTo>
                    <a:lnTo>
                      <a:pt x="154" y="62"/>
                    </a:lnTo>
                    <a:lnTo>
                      <a:pt x="148" y="64"/>
                    </a:lnTo>
                    <a:lnTo>
                      <a:pt x="145" y="68"/>
                    </a:lnTo>
                    <a:lnTo>
                      <a:pt x="146" y="71"/>
                    </a:lnTo>
                    <a:lnTo>
                      <a:pt x="152" y="75"/>
                    </a:lnTo>
                    <a:lnTo>
                      <a:pt x="150" y="8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03" name="Freeform 3058"/>
              <p:cNvSpPr>
                <a:spLocks/>
              </p:cNvSpPr>
              <p:nvPr/>
            </p:nvSpPr>
            <p:spPr bwMode="auto">
              <a:xfrm>
                <a:off x="2921" y="1663"/>
                <a:ext cx="159" cy="150"/>
              </a:xfrm>
              <a:custGeom>
                <a:avLst/>
                <a:gdLst>
                  <a:gd name="T0" fmla="*/ 155 w 159"/>
                  <a:gd name="T1" fmla="*/ 102 h 150"/>
                  <a:gd name="T2" fmla="*/ 157 w 159"/>
                  <a:gd name="T3" fmla="*/ 107 h 150"/>
                  <a:gd name="T4" fmla="*/ 159 w 159"/>
                  <a:gd name="T5" fmla="*/ 116 h 150"/>
                  <a:gd name="T6" fmla="*/ 138 w 159"/>
                  <a:gd name="T7" fmla="*/ 141 h 150"/>
                  <a:gd name="T8" fmla="*/ 138 w 159"/>
                  <a:gd name="T9" fmla="*/ 148 h 150"/>
                  <a:gd name="T10" fmla="*/ 130 w 159"/>
                  <a:gd name="T11" fmla="*/ 148 h 150"/>
                  <a:gd name="T12" fmla="*/ 114 w 159"/>
                  <a:gd name="T13" fmla="*/ 141 h 150"/>
                  <a:gd name="T14" fmla="*/ 107 w 159"/>
                  <a:gd name="T15" fmla="*/ 143 h 150"/>
                  <a:gd name="T16" fmla="*/ 98 w 159"/>
                  <a:gd name="T17" fmla="*/ 144 h 150"/>
                  <a:gd name="T18" fmla="*/ 93 w 159"/>
                  <a:gd name="T19" fmla="*/ 146 h 150"/>
                  <a:gd name="T20" fmla="*/ 79 w 159"/>
                  <a:gd name="T21" fmla="*/ 141 h 150"/>
                  <a:gd name="T22" fmla="*/ 64 w 159"/>
                  <a:gd name="T23" fmla="*/ 128 h 150"/>
                  <a:gd name="T24" fmla="*/ 61 w 159"/>
                  <a:gd name="T25" fmla="*/ 127 h 150"/>
                  <a:gd name="T26" fmla="*/ 59 w 159"/>
                  <a:gd name="T27" fmla="*/ 121 h 150"/>
                  <a:gd name="T28" fmla="*/ 45 w 159"/>
                  <a:gd name="T29" fmla="*/ 119 h 150"/>
                  <a:gd name="T30" fmla="*/ 43 w 159"/>
                  <a:gd name="T31" fmla="*/ 123 h 150"/>
                  <a:gd name="T32" fmla="*/ 34 w 159"/>
                  <a:gd name="T33" fmla="*/ 118 h 150"/>
                  <a:gd name="T34" fmla="*/ 36 w 159"/>
                  <a:gd name="T35" fmla="*/ 112 h 150"/>
                  <a:gd name="T36" fmla="*/ 32 w 159"/>
                  <a:gd name="T37" fmla="*/ 112 h 150"/>
                  <a:gd name="T38" fmla="*/ 21 w 159"/>
                  <a:gd name="T39" fmla="*/ 107 h 150"/>
                  <a:gd name="T40" fmla="*/ 16 w 159"/>
                  <a:gd name="T41" fmla="*/ 103 h 150"/>
                  <a:gd name="T42" fmla="*/ 11 w 159"/>
                  <a:gd name="T43" fmla="*/ 107 h 150"/>
                  <a:gd name="T44" fmla="*/ 13 w 159"/>
                  <a:gd name="T45" fmla="*/ 91 h 150"/>
                  <a:gd name="T46" fmla="*/ 5 w 159"/>
                  <a:gd name="T47" fmla="*/ 59 h 150"/>
                  <a:gd name="T48" fmla="*/ 0 w 159"/>
                  <a:gd name="T49" fmla="*/ 53 h 150"/>
                  <a:gd name="T50" fmla="*/ 4 w 159"/>
                  <a:gd name="T51" fmla="*/ 37 h 150"/>
                  <a:gd name="T52" fmla="*/ 5 w 159"/>
                  <a:gd name="T53" fmla="*/ 32 h 150"/>
                  <a:gd name="T54" fmla="*/ 7 w 159"/>
                  <a:gd name="T55" fmla="*/ 28 h 150"/>
                  <a:gd name="T56" fmla="*/ 5 w 159"/>
                  <a:gd name="T57" fmla="*/ 25 h 150"/>
                  <a:gd name="T58" fmla="*/ 9 w 159"/>
                  <a:gd name="T59" fmla="*/ 25 h 150"/>
                  <a:gd name="T60" fmla="*/ 30 w 159"/>
                  <a:gd name="T61" fmla="*/ 16 h 150"/>
                  <a:gd name="T62" fmla="*/ 50 w 159"/>
                  <a:gd name="T63" fmla="*/ 3 h 150"/>
                  <a:gd name="T64" fmla="*/ 73 w 159"/>
                  <a:gd name="T65" fmla="*/ 2 h 150"/>
                  <a:gd name="T66" fmla="*/ 75 w 159"/>
                  <a:gd name="T67" fmla="*/ 7 h 150"/>
                  <a:gd name="T68" fmla="*/ 73 w 159"/>
                  <a:gd name="T69" fmla="*/ 14 h 150"/>
                  <a:gd name="T70" fmla="*/ 75 w 159"/>
                  <a:gd name="T71" fmla="*/ 14 h 150"/>
                  <a:gd name="T72" fmla="*/ 79 w 159"/>
                  <a:gd name="T73" fmla="*/ 14 h 150"/>
                  <a:gd name="T74" fmla="*/ 88 w 159"/>
                  <a:gd name="T75" fmla="*/ 11 h 150"/>
                  <a:gd name="T76" fmla="*/ 139 w 159"/>
                  <a:gd name="T77" fmla="*/ 12 h 150"/>
                  <a:gd name="T78" fmla="*/ 155 w 159"/>
                  <a:gd name="T79" fmla="*/ 57 h 150"/>
                  <a:gd name="T80" fmla="*/ 148 w 159"/>
                  <a:gd name="T81" fmla="*/ 64 h 150"/>
                  <a:gd name="T82" fmla="*/ 146 w 159"/>
                  <a:gd name="T83" fmla="*/ 71 h 150"/>
                  <a:gd name="T84" fmla="*/ 150 w 159"/>
                  <a:gd name="T85" fmla="*/ 8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9" h="150">
                    <a:moveTo>
                      <a:pt x="150" y="87"/>
                    </a:moveTo>
                    <a:lnTo>
                      <a:pt x="155" y="102"/>
                    </a:lnTo>
                    <a:lnTo>
                      <a:pt x="159" y="105"/>
                    </a:lnTo>
                    <a:lnTo>
                      <a:pt x="157" y="107"/>
                    </a:lnTo>
                    <a:lnTo>
                      <a:pt x="159" y="112"/>
                    </a:lnTo>
                    <a:lnTo>
                      <a:pt x="159" y="116"/>
                    </a:lnTo>
                    <a:lnTo>
                      <a:pt x="146" y="125"/>
                    </a:lnTo>
                    <a:lnTo>
                      <a:pt x="138" y="141"/>
                    </a:lnTo>
                    <a:lnTo>
                      <a:pt x="138" y="144"/>
                    </a:lnTo>
                    <a:lnTo>
                      <a:pt x="138" y="148"/>
                    </a:lnTo>
                    <a:lnTo>
                      <a:pt x="136" y="150"/>
                    </a:lnTo>
                    <a:lnTo>
                      <a:pt x="130" y="148"/>
                    </a:lnTo>
                    <a:lnTo>
                      <a:pt x="121" y="141"/>
                    </a:lnTo>
                    <a:lnTo>
                      <a:pt x="114" y="141"/>
                    </a:lnTo>
                    <a:lnTo>
                      <a:pt x="109" y="144"/>
                    </a:lnTo>
                    <a:lnTo>
                      <a:pt x="107" y="143"/>
                    </a:lnTo>
                    <a:lnTo>
                      <a:pt x="100" y="143"/>
                    </a:lnTo>
                    <a:lnTo>
                      <a:pt x="98" y="144"/>
                    </a:lnTo>
                    <a:lnTo>
                      <a:pt x="95" y="146"/>
                    </a:lnTo>
                    <a:lnTo>
                      <a:pt x="93" y="146"/>
                    </a:lnTo>
                    <a:lnTo>
                      <a:pt x="86" y="139"/>
                    </a:lnTo>
                    <a:lnTo>
                      <a:pt x="79" y="141"/>
                    </a:lnTo>
                    <a:lnTo>
                      <a:pt x="71" y="136"/>
                    </a:lnTo>
                    <a:lnTo>
                      <a:pt x="64" y="128"/>
                    </a:lnTo>
                    <a:lnTo>
                      <a:pt x="63" y="127"/>
                    </a:lnTo>
                    <a:lnTo>
                      <a:pt x="61" y="127"/>
                    </a:lnTo>
                    <a:lnTo>
                      <a:pt x="59" y="125"/>
                    </a:lnTo>
                    <a:lnTo>
                      <a:pt x="59" y="121"/>
                    </a:lnTo>
                    <a:lnTo>
                      <a:pt x="45" y="118"/>
                    </a:lnTo>
                    <a:lnTo>
                      <a:pt x="45" y="119"/>
                    </a:lnTo>
                    <a:lnTo>
                      <a:pt x="46" y="121"/>
                    </a:lnTo>
                    <a:lnTo>
                      <a:pt x="43" y="123"/>
                    </a:lnTo>
                    <a:lnTo>
                      <a:pt x="41" y="121"/>
                    </a:lnTo>
                    <a:lnTo>
                      <a:pt x="34" y="118"/>
                    </a:lnTo>
                    <a:lnTo>
                      <a:pt x="36" y="114"/>
                    </a:lnTo>
                    <a:lnTo>
                      <a:pt x="36" y="112"/>
                    </a:lnTo>
                    <a:lnTo>
                      <a:pt x="36" y="112"/>
                    </a:lnTo>
                    <a:lnTo>
                      <a:pt x="32" y="112"/>
                    </a:lnTo>
                    <a:lnTo>
                      <a:pt x="30" y="109"/>
                    </a:lnTo>
                    <a:lnTo>
                      <a:pt x="21" y="107"/>
                    </a:lnTo>
                    <a:lnTo>
                      <a:pt x="20" y="105"/>
                    </a:lnTo>
                    <a:lnTo>
                      <a:pt x="16" y="103"/>
                    </a:lnTo>
                    <a:lnTo>
                      <a:pt x="13" y="107"/>
                    </a:lnTo>
                    <a:lnTo>
                      <a:pt x="11" y="107"/>
                    </a:lnTo>
                    <a:lnTo>
                      <a:pt x="13" y="93"/>
                    </a:lnTo>
                    <a:lnTo>
                      <a:pt x="13" y="91"/>
                    </a:lnTo>
                    <a:lnTo>
                      <a:pt x="7" y="86"/>
                    </a:lnTo>
                    <a:lnTo>
                      <a:pt x="5" y="59"/>
                    </a:lnTo>
                    <a:lnTo>
                      <a:pt x="0" y="55"/>
                    </a:lnTo>
                    <a:lnTo>
                      <a:pt x="0" y="53"/>
                    </a:lnTo>
                    <a:lnTo>
                      <a:pt x="4" y="46"/>
                    </a:lnTo>
                    <a:lnTo>
                      <a:pt x="4" y="37"/>
                    </a:lnTo>
                    <a:lnTo>
                      <a:pt x="2" y="30"/>
                    </a:lnTo>
                    <a:lnTo>
                      <a:pt x="5" y="32"/>
                    </a:lnTo>
                    <a:lnTo>
                      <a:pt x="7" y="30"/>
                    </a:lnTo>
                    <a:lnTo>
                      <a:pt x="7" y="28"/>
                    </a:lnTo>
                    <a:lnTo>
                      <a:pt x="4" y="27"/>
                    </a:lnTo>
                    <a:lnTo>
                      <a:pt x="5" y="25"/>
                    </a:lnTo>
                    <a:lnTo>
                      <a:pt x="7" y="25"/>
                    </a:lnTo>
                    <a:lnTo>
                      <a:pt x="9" y="25"/>
                    </a:lnTo>
                    <a:lnTo>
                      <a:pt x="13" y="21"/>
                    </a:lnTo>
                    <a:lnTo>
                      <a:pt x="30" y="16"/>
                    </a:lnTo>
                    <a:lnTo>
                      <a:pt x="39" y="7"/>
                    </a:lnTo>
                    <a:lnTo>
                      <a:pt x="50" y="3"/>
                    </a:lnTo>
                    <a:lnTo>
                      <a:pt x="68" y="0"/>
                    </a:lnTo>
                    <a:lnTo>
                      <a:pt x="73" y="2"/>
                    </a:lnTo>
                    <a:lnTo>
                      <a:pt x="75" y="5"/>
                    </a:lnTo>
                    <a:lnTo>
                      <a:pt x="75" y="7"/>
                    </a:lnTo>
                    <a:lnTo>
                      <a:pt x="70" y="3"/>
                    </a:lnTo>
                    <a:lnTo>
                      <a:pt x="73" y="14"/>
                    </a:lnTo>
                    <a:lnTo>
                      <a:pt x="75" y="16"/>
                    </a:lnTo>
                    <a:lnTo>
                      <a:pt x="75" y="14"/>
                    </a:lnTo>
                    <a:lnTo>
                      <a:pt x="77" y="14"/>
                    </a:lnTo>
                    <a:lnTo>
                      <a:pt x="79" y="14"/>
                    </a:lnTo>
                    <a:lnTo>
                      <a:pt x="86" y="12"/>
                    </a:lnTo>
                    <a:lnTo>
                      <a:pt x="88" y="11"/>
                    </a:lnTo>
                    <a:lnTo>
                      <a:pt x="111" y="16"/>
                    </a:lnTo>
                    <a:lnTo>
                      <a:pt x="139" y="12"/>
                    </a:lnTo>
                    <a:lnTo>
                      <a:pt x="150" y="19"/>
                    </a:lnTo>
                    <a:lnTo>
                      <a:pt x="155" y="57"/>
                    </a:lnTo>
                    <a:lnTo>
                      <a:pt x="154" y="62"/>
                    </a:lnTo>
                    <a:lnTo>
                      <a:pt x="148" y="64"/>
                    </a:lnTo>
                    <a:lnTo>
                      <a:pt x="145" y="68"/>
                    </a:lnTo>
                    <a:lnTo>
                      <a:pt x="146" y="71"/>
                    </a:lnTo>
                    <a:lnTo>
                      <a:pt x="152" y="75"/>
                    </a:lnTo>
                    <a:lnTo>
                      <a:pt x="150" y="8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04" name="Freeform 3059"/>
              <p:cNvSpPr>
                <a:spLocks/>
              </p:cNvSpPr>
              <p:nvPr/>
            </p:nvSpPr>
            <p:spPr bwMode="auto">
              <a:xfrm>
                <a:off x="3032" y="1570"/>
                <a:ext cx="118" cy="70"/>
              </a:xfrm>
              <a:custGeom>
                <a:avLst/>
                <a:gdLst>
                  <a:gd name="T0" fmla="*/ 0 w 118"/>
                  <a:gd name="T1" fmla="*/ 54 h 70"/>
                  <a:gd name="T2" fmla="*/ 9 w 118"/>
                  <a:gd name="T3" fmla="*/ 18 h 70"/>
                  <a:gd name="T4" fmla="*/ 25 w 118"/>
                  <a:gd name="T5" fmla="*/ 11 h 70"/>
                  <a:gd name="T6" fmla="*/ 34 w 118"/>
                  <a:gd name="T7" fmla="*/ 25 h 70"/>
                  <a:gd name="T8" fmla="*/ 35 w 118"/>
                  <a:gd name="T9" fmla="*/ 27 h 70"/>
                  <a:gd name="T10" fmla="*/ 43 w 118"/>
                  <a:gd name="T11" fmla="*/ 32 h 70"/>
                  <a:gd name="T12" fmla="*/ 48 w 118"/>
                  <a:gd name="T13" fmla="*/ 30 h 70"/>
                  <a:gd name="T14" fmla="*/ 50 w 118"/>
                  <a:gd name="T15" fmla="*/ 34 h 70"/>
                  <a:gd name="T16" fmla="*/ 53 w 118"/>
                  <a:gd name="T17" fmla="*/ 25 h 70"/>
                  <a:gd name="T18" fmla="*/ 55 w 118"/>
                  <a:gd name="T19" fmla="*/ 5 h 70"/>
                  <a:gd name="T20" fmla="*/ 60 w 118"/>
                  <a:gd name="T21" fmla="*/ 2 h 70"/>
                  <a:gd name="T22" fmla="*/ 73 w 118"/>
                  <a:gd name="T23" fmla="*/ 2 h 70"/>
                  <a:gd name="T24" fmla="*/ 82 w 118"/>
                  <a:gd name="T25" fmla="*/ 5 h 70"/>
                  <a:gd name="T26" fmla="*/ 89 w 118"/>
                  <a:gd name="T27" fmla="*/ 14 h 70"/>
                  <a:gd name="T28" fmla="*/ 94 w 118"/>
                  <a:gd name="T29" fmla="*/ 14 h 70"/>
                  <a:gd name="T30" fmla="*/ 103 w 118"/>
                  <a:gd name="T31" fmla="*/ 14 h 70"/>
                  <a:gd name="T32" fmla="*/ 107 w 118"/>
                  <a:gd name="T33" fmla="*/ 18 h 70"/>
                  <a:gd name="T34" fmla="*/ 110 w 118"/>
                  <a:gd name="T35" fmla="*/ 21 h 70"/>
                  <a:gd name="T36" fmla="*/ 107 w 118"/>
                  <a:gd name="T37" fmla="*/ 34 h 70"/>
                  <a:gd name="T38" fmla="*/ 112 w 118"/>
                  <a:gd name="T39" fmla="*/ 36 h 70"/>
                  <a:gd name="T40" fmla="*/ 118 w 118"/>
                  <a:gd name="T41" fmla="*/ 48 h 70"/>
                  <a:gd name="T42" fmla="*/ 114 w 118"/>
                  <a:gd name="T43" fmla="*/ 55 h 70"/>
                  <a:gd name="T44" fmla="*/ 109 w 118"/>
                  <a:gd name="T45" fmla="*/ 62 h 70"/>
                  <a:gd name="T46" fmla="*/ 103 w 118"/>
                  <a:gd name="T47" fmla="*/ 68 h 70"/>
                  <a:gd name="T48" fmla="*/ 96 w 118"/>
                  <a:gd name="T49" fmla="*/ 66 h 70"/>
                  <a:gd name="T50" fmla="*/ 94 w 118"/>
                  <a:gd name="T51" fmla="*/ 70 h 70"/>
                  <a:gd name="T52" fmla="*/ 89 w 118"/>
                  <a:gd name="T53" fmla="*/ 68 h 70"/>
                  <a:gd name="T54" fmla="*/ 82 w 118"/>
                  <a:gd name="T55" fmla="*/ 61 h 70"/>
                  <a:gd name="T56" fmla="*/ 69 w 118"/>
                  <a:gd name="T57" fmla="*/ 55 h 70"/>
                  <a:gd name="T58" fmla="*/ 64 w 118"/>
                  <a:gd name="T59" fmla="*/ 48 h 70"/>
                  <a:gd name="T60" fmla="*/ 60 w 118"/>
                  <a:gd name="T61" fmla="*/ 48 h 70"/>
                  <a:gd name="T62" fmla="*/ 53 w 118"/>
                  <a:gd name="T63" fmla="*/ 52 h 70"/>
                  <a:gd name="T64" fmla="*/ 37 w 118"/>
                  <a:gd name="T65" fmla="*/ 48 h 70"/>
                  <a:gd name="T66" fmla="*/ 32 w 118"/>
                  <a:gd name="T67" fmla="*/ 48 h 70"/>
                  <a:gd name="T68" fmla="*/ 28 w 118"/>
                  <a:gd name="T69" fmla="*/ 48 h 70"/>
                  <a:gd name="T70" fmla="*/ 18 w 118"/>
                  <a:gd name="T71" fmla="*/ 48 h 70"/>
                  <a:gd name="T72" fmla="*/ 5 w 118"/>
                  <a:gd name="T73" fmla="*/ 57 h 70"/>
                  <a:gd name="T74" fmla="*/ 0 w 118"/>
                  <a:gd name="T75" fmla="*/ 5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70">
                    <a:moveTo>
                      <a:pt x="0" y="57"/>
                    </a:moveTo>
                    <a:lnTo>
                      <a:pt x="0" y="54"/>
                    </a:lnTo>
                    <a:lnTo>
                      <a:pt x="0" y="39"/>
                    </a:lnTo>
                    <a:lnTo>
                      <a:pt x="9" y="18"/>
                    </a:lnTo>
                    <a:lnTo>
                      <a:pt x="14" y="12"/>
                    </a:lnTo>
                    <a:lnTo>
                      <a:pt x="25" y="11"/>
                    </a:lnTo>
                    <a:lnTo>
                      <a:pt x="32" y="20"/>
                    </a:lnTo>
                    <a:lnTo>
                      <a:pt x="34" y="25"/>
                    </a:lnTo>
                    <a:lnTo>
                      <a:pt x="34" y="21"/>
                    </a:lnTo>
                    <a:lnTo>
                      <a:pt x="35" y="27"/>
                    </a:lnTo>
                    <a:lnTo>
                      <a:pt x="37" y="29"/>
                    </a:lnTo>
                    <a:lnTo>
                      <a:pt x="43" y="32"/>
                    </a:lnTo>
                    <a:lnTo>
                      <a:pt x="44" y="32"/>
                    </a:lnTo>
                    <a:lnTo>
                      <a:pt x="48" y="30"/>
                    </a:lnTo>
                    <a:lnTo>
                      <a:pt x="48" y="32"/>
                    </a:lnTo>
                    <a:lnTo>
                      <a:pt x="50" y="34"/>
                    </a:lnTo>
                    <a:lnTo>
                      <a:pt x="50" y="29"/>
                    </a:lnTo>
                    <a:lnTo>
                      <a:pt x="53" y="25"/>
                    </a:lnTo>
                    <a:lnTo>
                      <a:pt x="53" y="7"/>
                    </a:lnTo>
                    <a:lnTo>
                      <a:pt x="55" y="5"/>
                    </a:lnTo>
                    <a:lnTo>
                      <a:pt x="57" y="4"/>
                    </a:lnTo>
                    <a:lnTo>
                      <a:pt x="60" y="2"/>
                    </a:lnTo>
                    <a:lnTo>
                      <a:pt x="69" y="0"/>
                    </a:lnTo>
                    <a:lnTo>
                      <a:pt x="73" y="2"/>
                    </a:lnTo>
                    <a:lnTo>
                      <a:pt x="77" y="4"/>
                    </a:lnTo>
                    <a:lnTo>
                      <a:pt x="82" y="5"/>
                    </a:lnTo>
                    <a:lnTo>
                      <a:pt x="84" y="9"/>
                    </a:lnTo>
                    <a:lnTo>
                      <a:pt x="89" y="14"/>
                    </a:lnTo>
                    <a:lnTo>
                      <a:pt x="93" y="14"/>
                    </a:lnTo>
                    <a:lnTo>
                      <a:pt x="94" y="14"/>
                    </a:lnTo>
                    <a:lnTo>
                      <a:pt x="98" y="12"/>
                    </a:lnTo>
                    <a:lnTo>
                      <a:pt x="103" y="14"/>
                    </a:lnTo>
                    <a:lnTo>
                      <a:pt x="105" y="16"/>
                    </a:lnTo>
                    <a:lnTo>
                      <a:pt x="107" y="18"/>
                    </a:lnTo>
                    <a:lnTo>
                      <a:pt x="109" y="20"/>
                    </a:lnTo>
                    <a:lnTo>
                      <a:pt x="110" y="21"/>
                    </a:lnTo>
                    <a:lnTo>
                      <a:pt x="110" y="23"/>
                    </a:lnTo>
                    <a:lnTo>
                      <a:pt x="107" y="34"/>
                    </a:lnTo>
                    <a:lnTo>
                      <a:pt x="110" y="34"/>
                    </a:lnTo>
                    <a:lnTo>
                      <a:pt x="112" y="36"/>
                    </a:lnTo>
                    <a:lnTo>
                      <a:pt x="112" y="37"/>
                    </a:lnTo>
                    <a:lnTo>
                      <a:pt x="118" y="48"/>
                    </a:lnTo>
                    <a:lnTo>
                      <a:pt x="118" y="55"/>
                    </a:lnTo>
                    <a:lnTo>
                      <a:pt x="114" y="55"/>
                    </a:lnTo>
                    <a:lnTo>
                      <a:pt x="109" y="61"/>
                    </a:lnTo>
                    <a:lnTo>
                      <a:pt x="109" y="62"/>
                    </a:lnTo>
                    <a:lnTo>
                      <a:pt x="105" y="66"/>
                    </a:lnTo>
                    <a:lnTo>
                      <a:pt x="103" y="68"/>
                    </a:lnTo>
                    <a:lnTo>
                      <a:pt x="98" y="64"/>
                    </a:lnTo>
                    <a:lnTo>
                      <a:pt x="96" y="66"/>
                    </a:lnTo>
                    <a:lnTo>
                      <a:pt x="96" y="70"/>
                    </a:lnTo>
                    <a:lnTo>
                      <a:pt x="94" y="70"/>
                    </a:lnTo>
                    <a:lnTo>
                      <a:pt x="91" y="70"/>
                    </a:lnTo>
                    <a:lnTo>
                      <a:pt x="89" y="68"/>
                    </a:lnTo>
                    <a:lnTo>
                      <a:pt x="87" y="68"/>
                    </a:lnTo>
                    <a:lnTo>
                      <a:pt x="82" y="61"/>
                    </a:lnTo>
                    <a:lnTo>
                      <a:pt x="75" y="55"/>
                    </a:lnTo>
                    <a:lnTo>
                      <a:pt x="69" y="55"/>
                    </a:lnTo>
                    <a:lnTo>
                      <a:pt x="68" y="55"/>
                    </a:lnTo>
                    <a:lnTo>
                      <a:pt x="64" y="48"/>
                    </a:lnTo>
                    <a:lnTo>
                      <a:pt x="62" y="46"/>
                    </a:lnTo>
                    <a:lnTo>
                      <a:pt x="60" y="48"/>
                    </a:lnTo>
                    <a:lnTo>
                      <a:pt x="57" y="52"/>
                    </a:lnTo>
                    <a:lnTo>
                      <a:pt x="53" y="52"/>
                    </a:lnTo>
                    <a:lnTo>
                      <a:pt x="44" y="48"/>
                    </a:lnTo>
                    <a:lnTo>
                      <a:pt x="37" y="48"/>
                    </a:lnTo>
                    <a:lnTo>
                      <a:pt x="34" y="48"/>
                    </a:lnTo>
                    <a:lnTo>
                      <a:pt x="32" y="48"/>
                    </a:lnTo>
                    <a:lnTo>
                      <a:pt x="30" y="48"/>
                    </a:lnTo>
                    <a:lnTo>
                      <a:pt x="28" y="48"/>
                    </a:lnTo>
                    <a:lnTo>
                      <a:pt x="25" y="48"/>
                    </a:lnTo>
                    <a:lnTo>
                      <a:pt x="18" y="48"/>
                    </a:lnTo>
                    <a:lnTo>
                      <a:pt x="7" y="52"/>
                    </a:lnTo>
                    <a:lnTo>
                      <a:pt x="5" y="57"/>
                    </a:lnTo>
                    <a:lnTo>
                      <a:pt x="3" y="57"/>
                    </a:lnTo>
                    <a:lnTo>
                      <a:pt x="0" y="5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05" name="Freeform 3060"/>
              <p:cNvSpPr>
                <a:spLocks/>
              </p:cNvSpPr>
              <p:nvPr/>
            </p:nvSpPr>
            <p:spPr bwMode="auto">
              <a:xfrm>
                <a:off x="3032" y="1570"/>
                <a:ext cx="118" cy="70"/>
              </a:xfrm>
              <a:custGeom>
                <a:avLst/>
                <a:gdLst>
                  <a:gd name="T0" fmla="*/ 0 w 118"/>
                  <a:gd name="T1" fmla="*/ 54 h 70"/>
                  <a:gd name="T2" fmla="*/ 9 w 118"/>
                  <a:gd name="T3" fmla="*/ 18 h 70"/>
                  <a:gd name="T4" fmla="*/ 25 w 118"/>
                  <a:gd name="T5" fmla="*/ 11 h 70"/>
                  <a:gd name="T6" fmla="*/ 34 w 118"/>
                  <a:gd name="T7" fmla="*/ 25 h 70"/>
                  <a:gd name="T8" fmla="*/ 35 w 118"/>
                  <a:gd name="T9" fmla="*/ 27 h 70"/>
                  <a:gd name="T10" fmla="*/ 43 w 118"/>
                  <a:gd name="T11" fmla="*/ 32 h 70"/>
                  <a:gd name="T12" fmla="*/ 48 w 118"/>
                  <a:gd name="T13" fmla="*/ 30 h 70"/>
                  <a:gd name="T14" fmla="*/ 50 w 118"/>
                  <a:gd name="T15" fmla="*/ 34 h 70"/>
                  <a:gd name="T16" fmla="*/ 53 w 118"/>
                  <a:gd name="T17" fmla="*/ 25 h 70"/>
                  <a:gd name="T18" fmla="*/ 55 w 118"/>
                  <a:gd name="T19" fmla="*/ 5 h 70"/>
                  <a:gd name="T20" fmla="*/ 60 w 118"/>
                  <a:gd name="T21" fmla="*/ 2 h 70"/>
                  <a:gd name="T22" fmla="*/ 73 w 118"/>
                  <a:gd name="T23" fmla="*/ 2 h 70"/>
                  <a:gd name="T24" fmla="*/ 82 w 118"/>
                  <a:gd name="T25" fmla="*/ 5 h 70"/>
                  <a:gd name="T26" fmla="*/ 89 w 118"/>
                  <a:gd name="T27" fmla="*/ 14 h 70"/>
                  <a:gd name="T28" fmla="*/ 94 w 118"/>
                  <a:gd name="T29" fmla="*/ 14 h 70"/>
                  <a:gd name="T30" fmla="*/ 103 w 118"/>
                  <a:gd name="T31" fmla="*/ 14 h 70"/>
                  <a:gd name="T32" fmla="*/ 107 w 118"/>
                  <a:gd name="T33" fmla="*/ 18 h 70"/>
                  <a:gd name="T34" fmla="*/ 110 w 118"/>
                  <a:gd name="T35" fmla="*/ 21 h 70"/>
                  <a:gd name="T36" fmla="*/ 107 w 118"/>
                  <a:gd name="T37" fmla="*/ 34 h 70"/>
                  <a:gd name="T38" fmla="*/ 112 w 118"/>
                  <a:gd name="T39" fmla="*/ 36 h 70"/>
                  <a:gd name="T40" fmla="*/ 118 w 118"/>
                  <a:gd name="T41" fmla="*/ 48 h 70"/>
                  <a:gd name="T42" fmla="*/ 114 w 118"/>
                  <a:gd name="T43" fmla="*/ 55 h 70"/>
                  <a:gd name="T44" fmla="*/ 109 w 118"/>
                  <a:gd name="T45" fmla="*/ 62 h 70"/>
                  <a:gd name="T46" fmla="*/ 103 w 118"/>
                  <a:gd name="T47" fmla="*/ 68 h 70"/>
                  <a:gd name="T48" fmla="*/ 96 w 118"/>
                  <a:gd name="T49" fmla="*/ 66 h 70"/>
                  <a:gd name="T50" fmla="*/ 94 w 118"/>
                  <a:gd name="T51" fmla="*/ 70 h 70"/>
                  <a:gd name="T52" fmla="*/ 89 w 118"/>
                  <a:gd name="T53" fmla="*/ 68 h 70"/>
                  <a:gd name="T54" fmla="*/ 82 w 118"/>
                  <a:gd name="T55" fmla="*/ 61 h 70"/>
                  <a:gd name="T56" fmla="*/ 69 w 118"/>
                  <a:gd name="T57" fmla="*/ 55 h 70"/>
                  <a:gd name="T58" fmla="*/ 64 w 118"/>
                  <a:gd name="T59" fmla="*/ 48 h 70"/>
                  <a:gd name="T60" fmla="*/ 60 w 118"/>
                  <a:gd name="T61" fmla="*/ 48 h 70"/>
                  <a:gd name="T62" fmla="*/ 53 w 118"/>
                  <a:gd name="T63" fmla="*/ 52 h 70"/>
                  <a:gd name="T64" fmla="*/ 37 w 118"/>
                  <a:gd name="T65" fmla="*/ 48 h 70"/>
                  <a:gd name="T66" fmla="*/ 32 w 118"/>
                  <a:gd name="T67" fmla="*/ 48 h 70"/>
                  <a:gd name="T68" fmla="*/ 28 w 118"/>
                  <a:gd name="T69" fmla="*/ 48 h 70"/>
                  <a:gd name="T70" fmla="*/ 18 w 118"/>
                  <a:gd name="T71" fmla="*/ 48 h 70"/>
                  <a:gd name="T72" fmla="*/ 5 w 118"/>
                  <a:gd name="T73" fmla="*/ 57 h 70"/>
                  <a:gd name="T74" fmla="*/ 0 w 118"/>
                  <a:gd name="T75" fmla="*/ 57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8" h="70">
                    <a:moveTo>
                      <a:pt x="0" y="57"/>
                    </a:moveTo>
                    <a:lnTo>
                      <a:pt x="0" y="54"/>
                    </a:lnTo>
                    <a:lnTo>
                      <a:pt x="0" y="39"/>
                    </a:lnTo>
                    <a:lnTo>
                      <a:pt x="9" y="18"/>
                    </a:lnTo>
                    <a:lnTo>
                      <a:pt x="14" y="12"/>
                    </a:lnTo>
                    <a:lnTo>
                      <a:pt x="25" y="11"/>
                    </a:lnTo>
                    <a:lnTo>
                      <a:pt x="32" y="20"/>
                    </a:lnTo>
                    <a:lnTo>
                      <a:pt x="34" y="25"/>
                    </a:lnTo>
                    <a:lnTo>
                      <a:pt x="34" y="21"/>
                    </a:lnTo>
                    <a:lnTo>
                      <a:pt x="35" y="27"/>
                    </a:lnTo>
                    <a:lnTo>
                      <a:pt x="37" y="29"/>
                    </a:lnTo>
                    <a:lnTo>
                      <a:pt x="43" y="32"/>
                    </a:lnTo>
                    <a:lnTo>
                      <a:pt x="44" y="32"/>
                    </a:lnTo>
                    <a:lnTo>
                      <a:pt x="48" y="30"/>
                    </a:lnTo>
                    <a:lnTo>
                      <a:pt x="48" y="32"/>
                    </a:lnTo>
                    <a:lnTo>
                      <a:pt x="50" y="34"/>
                    </a:lnTo>
                    <a:lnTo>
                      <a:pt x="50" y="29"/>
                    </a:lnTo>
                    <a:lnTo>
                      <a:pt x="53" y="25"/>
                    </a:lnTo>
                    <a:lnTo>
                      <a:pt x="53" y="7"/>
                    </a:lnTo>
                    <a:lnTo>
                      <a:pt x="55" y="5"/>
                    </a:lnTo>
                    <a:lnTo>
                      <a:pt x="57" y="4"/>
                    </a:lnTo>
                    <a:lnTo>
                      <a:pt x="60" y="2"/>
                    </a:lnTo>
                    <a:lnTo>
                      <a:pt x="69" y="0"/>
                    </a:lnTo>
                    <a:lnTo>
                      <a:pt x="73" y="2"/>
                    </a:lnTo>
                    <a:lnTo>
                      <a:pt x="77" y="4"/>
                    </a:lnTo>
                    <a:lnTo>
                      <a:pt x="82" y="5"/>
                    </a:lnTo>
                    <a:lnTo>
                      <a:pt x="84" y="9"/>
                    </a:lnTo>
                    <a:lnTo>
                      <a:pt x="89" y="14"/>
                    </a:lnTo>
                    <a:lnTo>
                      <a:pt x="93" y="14"/>
                    </a:lnTo>
                    <a:lnTo>
                      <a:pt x="94" y="14"/>
                    </a:lnTo>
                    <a:lnTo>
                      <a:pt x="98" y="12"/>
                    </a:lnTo>
                    <a:lnTo>
                      <a:pt x="103" y="14"/>
                    </a:lnTo>
                    <a:lnTo>
                      <a:pt x="105" y="16"/>
                    </a:lnTo>
                    <a:lnTo>
                      <a:pt x="107" y="18"/>
                    </a:lnTo>
                    <a:lnTo>
                      <a:pt x="109" y="20"/>
                    </a:lnTo>
                    <a:lnTo>
                      <a:pt x="110" y="21"/>
                    </a:lnTo>
                    <a:lnTo>
                      <a:pt x="110" y="23"/>
                    </a:lnTo>
                    <a:lnTo>
                      <a:pt x="107" y="34"/>
                    </a:lnTo>
                    <a:lnTo>
                      <a:pt x="110" y="34"/>
                    </a:lnTo>
                    <a:lnTo>
                      <a:pt x="112" y="36"/>
                    </a:lnTo>
                    <a:lnTo>
                      <a:pt x="112" y="37"/>
                    </a:lnTo>
                    <a:lnTo>
                      <a:pt x="118" y="48"/>
                    </a:lnTo>
                    <a:lnTo>
                      <a:pt x="118" y="55"/>
                    </a:lnTo>
                    <a:lnTo>
                      <a:pt x="114" y="55"/>
                    </a:lnTo>
                    <a:lnTo>
                      <a:pt x="109" y="61"/>
                    </a:lnTo>
                    <a:lnTo>
                      <a:pt x="109" y="62"/>
                    </a:lnTo>
                    <a:lnTo>
                      <a:pt x="105" y="66"/>
                    </a:lnTo>
                    <a:lnTo>
                      <a:pt x="103" y="68"/>
                    </a:lnTo>
                    <a:lnTo>
                      <a:pt x="98" y="64"/>
                    </a:lnTo>
                    <a:lnTo>
                      <a:pt x="96" y="66"/>
                    </a:lnTo>
                    <a:lnTo>
                      <a:pt x="96" y="70"/>
                    </a:lnTo>
                    <a:lnTo>
                      <a:pt x="94" y="70"/>
                    </a:lnTo>
                    <a:lnTo>
                      <a:pt x="91" y="70"/>
                    </a:lnTo>
                    <a:lnTo>
                      <a:pt x="89" y="68"/>
                    </a:lnTo>
                    <a:lnTo>
                      <a:pt x="87" y="68"/>
                    </a:lnTo>
                    <a:lnTo>
                      <a:pt x="82" y="61"/>
                    </a:lnTo>
                    <a:lnTo>
                      <a:pt x="75" y="55"/>
                    </a:lnTo>
                    <a:lnTo>
                      <a:pt x="69" y="55"/>
                    </a:lnTo>
                    <a:lnTo>
                      <a:pt x="68" y="55"/>
                    </a:lnTo>
                    <a:lnTo>
                      <a:pt x="64" y="48"/>
                    </a:lnTo>
                    <a:lnTo>
                      <a:pt x="62" y="46"/>
                    </a:lnTo>
                    <a:lnTo>
                      <a:pt x="60" y="48"/>
                    </a:lnTo>
                    <a:lnTo>
                      <a:pt x="57" y="52"/>
                    </a:lnTo>
                    <a:lnTo>
                      <a:pt x="53" y="52"/>
                    </a:lnTo>
                    <a:lnTo>
                      <a:pt x="44" y="48"/>
                    </a:lnTo>
                    <a:lnTo>
                      <a:pt x="37" y="48"/>
                    </a:lnTo>
                    <a:lnTo>
                      <a:pt x="34" y="48"/>
                    </a:lnTo>
                    <a:lnTo>
                      <a:pt x="32" y="48"/>
                    </a:lnTo>
                    <a:lnTo>
                      <a:pt x="30" y="48"/>
                    </a:lnTo>
                    <a:lnTo>
                      <a:pt x="28" y="48"/>
                    </a:lnTo>
                    <a:lnTo>
                      <a:pt x="25" y="48"/>
                    </a:lnTo>
                    <a:lnTo>
                      <a:pt x="18" y="48"/>
                    </a:lnTo>
                    <a:lnTo>
                      <a:pt x="7" y="52"/>
                    </a:lnTo>
                    <a:lnTo>
                      <a:pt x="5" y="57"/>
                    </a:lnTo>
                    <a:lnTo>
                      <a:pt x="3" y="57"/>
                    </a:lnTo>
                    <a:lnTo>
                      <a:pt x="0" y="5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06" name="Freeform 3061"/>
              <p:cNvSpPr>
                <a:spLocks/>
              </p:cNvSpPr>
              <p:nvPr/>
            </p:nvSpPr>
            <p:spPr bwMode="auto">
              <a:xfrm>
                <a:off x="3121" y="1827"/>
                <a:ext cx="55" cy="70"/>
              </a:xfrm>
              <a:custGeom>
                <a:avLst/>
                <a:gdLst>
                  <a:gd name="T0" fmla="*/ 27 w 55"/>
                  <a:gd name="T1" fmla="*/ 70 h 70"/>
                  <a:gd name="T2" fmla="*/ 25 w 55"/>
                  <a:gd name="T3" fmla="*/ 39 h 70"/>
                  <a:gd name="T4" fmla="*/ 14 w 55"/>
                  <a:gd name="T5" fmla="*/ 22 h 70"/>
                  <a:gd name="T6" fmla="*/ 13 w 55"/>
                  <a:gd name="T7" fmla="*/ 16 h 70"/>
                  <a:gd name="T8" fmla="*/ 2 w 55"/>
                  <a:gd name="T9" fmla="*/ 5 h 70"/>
                  <a:gd name="T10" fmla="*/ 0 w 55"/>
                  <a:gd name="T11" fmla="*/ 5 h 70"/>
                  <a:gd name="T12" fmla="*/ 2 w 55"/>
                  <a:gd name="T13" fmla="*/ 2 h 70"/>
                  <a:gd name="T14" fmla="*/ 4 w 55"/>
                  <a:gd name="T15" fmla="*/ 2 h 70"/>
                  <a:gd name="T16" fmla="*/ 7 w 55"/>
                  <a:gd name="T17" fmla="*/ 2 h 70"/>
                  <a:gd name="T18" fmla="*/ 14 w 55"/>
                  <a:gd name="T19" fmla="*/ 0 h 70"/>
                  <a:gd name="T20" fmla="*/ 20 w 55"/>
                  <a:gd name="T21" fmla="*/ 2 h 70"/>
                  <a:gd name="T22" fmla="*/ 27 w 55"/>
                  <a:gd name="T23" fmla="*/ 7 h 70"/>
                  <a:gd name="T24" fmla="*/ 29 w 55"/>
                  <a:gd name="T25" fmla="*/ 7 h 70"/>
                  <a:gd name="T26" fmla="*/ 32 w 55"/>
                  <a:gd name="T27" fmla="*/ 7 h 70"/>
                  <a:gd name="T28" fmla="*/ 36 w 55"/>
                  <a:gd name="T29" fmla="*/ 7 h 70"/>
                  <a:gd name="T30" fmla="*/ 39 w 55"/>
                  <a:gd name="T31" fmla="*/ 11 h 70"/>
                  <a:gd name="T32" fmla="*/ 41 w 55"/>
                  <a:gd name="T33" fmla="*/ 11 h 70"/>
                  <a:gd name="T34" fmla="*/ 43 w 55"/>
                  <a:gd name="T35" fmla="*/ 13 h 70"/>
                  <a:gd name="T36" fmla="*/ 41 w 55"/>
                  <a:gd name="T37" fmla="*/ 22 h 70"/>
                  <a:gd name="T38" fmla="*/ 43 w 55"/>
                  <a:gd name="T39" fmla="*/ 23 h 70"/>
                  <a:gd name="T40" fmla="*/ 45 w 55"/>
                  <a:gd name="T41" fmla="*/ 25 h 70"/>
                  <a:gd name="T42" fmla="*/ 46 w 55"/>
                  <a:gd name="T43" fmla="*/ 27 h 70"/>
                  <a:gd name="T44" fmla="*/ 46 w 55"/>
                  <a:gd name="T45" fmla="*/ 29 h 70"/>
                  <a:gd name="T46" fmla="*/ 46 w 55"/>
                  <a:gd name="T47" fmla="*/ 30 h 70"/>
                  <a:gd name="T48" fmla="*/ 48 w 55"/>
                  <a:gd name="T49" fmla="*/ 36 h 70"/>
                  <a:gd name="T50" fmla="*/ 54 w 55"/>
                  <a:gd name="T51" fmla="*/ 38 h 70"/>
                  <a:gd name="T52" fmla="*/ 54 w 55"/>
                  <a:gd name="T53" fmla="*/ 39 h 70"/>
                  <a:gd name="T54" fmla="*/ 55 w 55"/>
                  <a:gd name="T55" fmla="*/ 41 h 70"/>
                  <a:gd name="T56" fmla="*/ 54 w 55"/>
                  <a:gd name="T57" fmla="*/ 45 h 70"/>
                  <a:gd name="T58" fmla="*/ 55 w 55"/>
                  <a:gd name="T59" fmla="*/ 47 h 70"/>
                  <a:gd name="T60" fmla="*/ 54 w 55"/>
                  <a:gd name="T61" fmla="*/ 48 h 70"/>
                  <a:gd name="T62" fmla="*/ 52 w 55"/>
                  <a:gd name="T63" fmla="*/ 50 h 70"/>
                  <a:gd name="T64" fmla="*/ 45 w 55"/>
                  <a:gd name="T65" fmla="*/ 48 h 70"/>
                  <a:gd name="T66" fmla="*/ 43 w 55"/>
                  <a:gd name="T67" fmla="*/ 48 h 70"/>
                  <a:gd name="T68" fmla="*/ 41 w 55"/>
                  <a:gd name="T69" fmla="*/ 47 h 70"/>
                  <a:gd name="T70" fmla="*/ 39 w 55"/>
                  <a:gd name="T71" fmla="*/ 48 h 70"/>
                  <a:gd name="T72" fmla="*/ 39 w 55"/>
                  <a:gd name="T73" fmla="*/ 50 h 70"/>
                  <a:gd name="T74" fmla="*/ 38 w 55"/>
                  <a:gd name="T75" fmla="*/ 57 h 70"/>
                  <a:gd name="T76" fmla="*/ 36 w 55"/>
                  <a:gd name="T77" fmla="*/ 59 h 70"/>
                  <a:gd name="T78" fmla="*/ 34 w 55"/>
                  <a:gd name="T79" fmla="*/ 61 h 70"/>
                  <a:gd name="T80" fmla="*/ 34 w 55"/>
                  <a:gd name="T81" fmla="*/ 63 h 70"/>
                  <a:gd name="T82" fmla="*/ 32 w 55"/>
                  <a:gd name="T83" fmla="*/ 64 h 70"/>
                  <a:gd name="T84" fmla="*/ 30 w 55"/>
                  <a:gd name="T85" fmla="*/ 66 h 70"/>
                  <a:gd name="T86" fmla="*/ 30 w 55"/>
                  <a:gd name="T87" fmla="*/ 68 h 70"/>
                  <a:gd name="T88" fmla="*/ 29 w 55"/>
                  <a:gd name="T89" fmla="*/ 70 h 70"/>
                  <a:gd name="T90" fmla="*/ 27 w 55"/>
                  <a:gd name="T91"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 h="70">
                    <a:moveTo>
                      <a:pt x="27" y="70"/>
                    </a:moveTo>
                    <a:lnTo>
                      <a:pt x="25" y="39"/>
                    </a:lnTo>
                    <a:lnTo>
                      <a:pt x="14" y="22"/>
                    </a:lnTo>
                    <a:lnTo>
                      <a:pt x="13" y="16"/>
                    </a:lnTo>
                    <a:lnTo>
                      <a:pt x="2" y="5"/>
                    </a:lnTo>
                    <a:lnTo>
                      <a:pt x="0" y="5"/>
                    </a:lnTo>
                    <a:lnTo>
                      <a:pt x="2" y="2"/>
                    </a:lnTo>
                    <a:lnTo>
                      <a:pt x="4" y="2"/>
                    </a:lnTo>
                    <a:lnTo>
                      <a:pt x="7" y="2"/>
                    </a:lnTo>
                    <a:lnTo>
                      <a:pt x="14" y="0"/>
                    </a:lnTo>
                    <a:lnTo>
                      <a:pt x="20" y="2"/>
                    </a:lnTo>
                    <a:lnTo>
                      <a:pt x="27" y="7"/>
                    </a:lnTo>
                    <a:lnTo>
                      <a:pt x="29" y="7"/>
                    </a:lnTo>
                    <a:lnTo>
                      <a:pt x="32" y="7"/>
                    </a:lnTo>
                    <a:lnTo>
                      <a:pt x="36" y="7"/>
                    </a:lnTo>
                    <a:lnTo>
                      <a:pt x="39" y="11"/>
                    </a:lnTo>
                    <a:lnTo>
                      <a:pt x="41" y="11"/>
                    </a:lnTo>
                    <a:lnTo>
                      <a:pt x="43" y="13"/>
                    </a:lnTo>
                    <a:lnTo>
                      <a:pt x="41" y="22"/>
                    </a:lnTo>
                    <a:lnTo>
                      <a:pt x="43" y="23"/>
                    </a:lnTo>
                    <a:lnTo>
                      <a:pt x="45" y="25"/>
                    </a:lnTo>
                    <a:lnTo>
                      <a:pt x="46" y="27"/>
                    </a:lnTo>
                    <a:lnTo>
                      <a:pt x="46" y="29"/>
                    </a:lnTo>
                    <a:lnTo>
                      <a:pt x="46" y="30"/>
                    </a:lnTo>
                    <a:lnTo>
                      <a:pt x="48" y="36"/>
                    </a:lnTo>
                    <a:lnTo>
                      <a:pt x="54" y="38"/>
                    </a:lnTo>
                    <a:lnTo>
                      <a:pt x="54" y="39"/>
                    </a:lnTo>
                    <a:lnTo>
                      <a:pt x="55" y="41"/>
                    </a:lnTo>
                    <a:lnTo>
                      <a:pt x="54" y="45"/>
                    </a:lnTo>
                    <a:lnTo>
                      <a:pt x="55" y="47"/>
                    </a:lnTo>
                    <a:lnTo>
                      <a:pt x="54" y="48"/>
                    </a:lnTo>
                    <a:lnTo>
                      <a:pt x="52" y="50"/>
                    </a:lnTo>
                    <a:lnTo>
                      <a:pt x="45" y="48"/>
                    </a:lnTo>
                    <a:lnTo>
                      <a:pt x="43" y="48"/>
                    </a:lnTo>
                    <a:lnTo>
                      <a:pt x="41" y="47"/>
                    </a:lnTo>
                    <a:lnTo>
                      <a:pt x="39" y="48"/>
                    </a:lnTo>
                    <a:lnTo>
                      <a:pt x="39" y="50"/>
                    </a:lnTo>
                    <a:lnTo>
                      <a:pt x="38" y="57"/>
                    </a:lnTo>
                    <a:lnTo>
                      <a:pt x="36" y="59"/>
                    </a:lnTo>
                    <a:lnTo>
                      <a:pt x="34" y="61"/>
                    </a:lnTo>
                    <a:lnTo>
                      <a:pt x="34" y="63"/>
                    </a:lnTo>
                    <a:lnTo>
                      <a:pt x="32" y="64"/>
                    </a:lnTo>
                    <a:lnTo>
                      <a:pt x="30" y="66"/>
                    </a:lnTo>
                    <a:lnTo>
                      <a:pt x="30" y="68"/>
                    </a:lnTo>
                    <a:lnTo>
                      <a:pt x="29" y="70"/>
                    </a:lnTo>
                    <a:lnTo>
                      <a:pt x="27" y="7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07" name="Freeform 3062"/>
              <p:cNvSpPr>
                <a:spLocks/>
              </p:cNvSpPr>
              <p:nvPr/>
            </p:nvSpPr>
            <p:spPr bwMode="auto">
              <a:xfrm>
                <a:off x="3121" y="1827"/>
                <a:ext cx="55" cy="70"/>
              </a:xfrm>
              <a:custGeom>
                <a:avLst/>
                <a:gdLst>
                  <a:gd name="T0" fmla="*/ 27 w 55"/>
                  <a:gd name="T1" fmla="*/ 70 h 70"/>
                  <a:gd name="T2" fmla="*/ 25 w 55"/>
                  <a:gd name="T3" fmla="*/ 39 h 70"/>
                  <a:gd name="T4" fmla="*/ 14 w 55"/>
                  <a:gd name="T5" fmla="*/ 22 h 70"/>
                  <a:gd name="T6" fmla="*/ 13 w 55"/>
                  <a:gd name="T7" fmla="*/ 16 h 70"/>
                  <a:gd name="T8" fmla="*/ 2 w 55"/>
                  <a:gd name="T9" fmla="*/ 5 h 70"/>
                  <a:gd name="T10" fmla="*/ 0 w 55"/>
                  <a:gd name="T11" fmla="*/ 5 h 70"/>
                  <a:gd name="T12" fmla="*/ 2 w 55"/>
                  <a:gd name="T13" fmla="*/ 2 h 70"/>
                  <a:gd name="T14" fmla="*/ 4 w 55"/>
                  <a:gd name="T15" fmla="*/ 2 h 70"/>
                  <a:gd name="T16" fmla="*/ 7 w 55"/>
                  <a:gd name="T17" fmla="*/ 2 h 70"/>
                  <a:gd name="T18" fmla="*/ 14 w 55"/>
                  <a:gd name="T19" fmla="*/ 0 h 70"/>
                  <a:gd name="T20" fmla="*/ 20 w 55"/>
                  <a:gd name="T21" fmla="*/ 2 h 70"/>
                  <a:gd name="T22" fmla="*/ 27 w 55"/>
                  <a:gd name="T23" fmla="*/ 7 h 70"/>
                  <a:gd name="T24" fmla="*/ 29 w 55"/>
                  <a:gd name="T25" fmla="*/ 7 h 70"/>
                  <a:gd name="T26" fmla="*/ 32 w 55"/>
                  <a:gd name="T27" fmla="*/ 7 h 70"/>
                  <a:gd name="T28" fmla="*/ 36 w 55"/>
                  <a:gd name="T29" fmla="*/ 7 h 70"/>
                  <a:gd name="T30" fmla="*/ 39 w 55"/>
                  <a:gd name="T31" fmla="*/ 11 h 70"/>
                  <a:gd name="T32" fmla="*/ 41 w 55"/>
                  <a:gd name="T33" fmla="*/ 11 h 70"/>
                  <a:gd name="T34" fmla="*/ 43 w 55"/>
                  <a:gd name="T35" fmla="*/ 13 h 70"/>
                  <a:gd name="T36" fmla="*/ 41 w 55"/>
                  <a:gd name="T37" fmla="*/ 22 h 70"/>
                  <a:gd name="T38" fmla="*/ 43 w 55"/>
                  <a:gd name="T39" fmla="*/ 23 h 70"/>
                  <a:gd name="T40" fmla="*/ 45 w 55"/>
                  <a:gd name="T41" fmla="*/ 25 h 70"/>
                  <a:gd name="T42" fmla="*/ 46 w 55"/>
                  <a:gd name="T43" fmla="*/ 27 h 70"/>
                  <a:gd name="T44" fmla="*/ 46 w 55"/>
                  <a:gd name="T45" fmla="*/ 29 h 70"/>
                  <a:gd name="T46" fmla="*/ 46 w 55"/>
                  <a:gd name="T47" fmla="*/ 30 h 70"/>
                  <a:gd name="T48" fmla="*/ 48 w 55"/>
                  <a:gd name="T49" fmla="*/ 36 h 70"/>
                  <a:gd name="T50" fmla="*/ 54 w 55"/>
                  <a:gd name="T51" fmla="*/ 38 h 70"/>
                  <a:gd name="T52" fmla="*/ 54 w 55"/>
                  <a:gd name="T53" fmla="*/ 39 h 70"/>
                  <a:gd name="T54" fmla="*/ 55 w 55"/>
                  <a:gd name="T55" fmla="*/ 41 h 70"/>
                  <a:gd name="T56" fmla="*/ 54 w 55"/>
                  <a:gd name="T57" fmla="*/ 45 h 70"/>
                  <a:gd name="T58" fmla="*/ 55 w 55"/>
                  <a:gd name="T59" fmla="*/ 47 h 70"/>
                  <a:gd name="T60" fmla="*/ 54 w 55"/>
                  <a:gd name="T61" fmla="*/ 48 h 70"/>
                  <a:gd name="T62" fmla="*/ 52 w 55"/>
                  <a:gd name="T63" fmla="*/ 50 h 70"/>
                  <a:gd name="T64" fmla="*/ 45 w 55"/>
                  <a:gd name="T65" fmla="*/ 48 h 70"/>
                  <a:gd name="T66" fmla="*/ 43 w 55"/>
                  <a:gd name="T67" fmla="*/ 48 h 70"/>
                  <a:gd name="T68" fmla="*/ 41 w 55"/>
                  <a:gd name="T69" fmla="*/ 47 h 70"/>
                  <a:gd name="T70" fmla="*/ 39 w 55"/>
                  <a:gd name="T71" fmla="*/ 48 h 70"/>
                  <a:gd name="T72" fmla="*/ 39 w 55"/>
                  <a:gd name="T73" fmla="*/ 50 h 70"/>
                  <a:gd name="T74" fmla="*/ 38 w 55"/>
                  <a:gd name="T75" fmla="*/ 57 h 70"/>
                  <a:gd name="T76" fmla="*/ 36 w 55"/>
                  <a:gd name="T77" fmla="*/ 59 h 70"/>
                  <a:gd name="T78" fmla="*/ 34 w 55"/>
                  <a:gd name="T79" fmla="*/ 61 h 70"/>
                  <a:gd name="T80" fmla="*/ 34 w 55"/>
                  <a:gd name="T81" fmla="*/ 63 h 70"/>
                  <a:gd name="T82" fmla="*/ 32 w 55"/>
                  <a:gd name="T83" fmla="*/ 64 h 70"/>
                  <a:gd name="T84" fmla="*/ 30 w 55"/>
                  <a:gd name="T85" fmla="*/ 66 h 70"/>
                  <a:gd name="T86" fmla="*/ 30 w 55"/>
                  <a:gd name="T87" fmla="*/ 68 h 70"/>
                  <a:gd name="T88" fmla="*/ 29 w 55"/>
                  <a:gd name="T89" fmla="*/ 70 h 70"/>
                  <a:gd name="T90" fmla="*/ 27 w 55"/>
                  <a:gd name="T91"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5" h="70">
                    <a:moveTo>
                      <a:pt x="27" y="70"/>
                    </a:moveTo>
                    <a:lnTo>
                      <a:pt x="25" y="39"/>
                    </a:lnTo>
                    <a:lnTo>
                      <a:pt x="14" y="22"/>
                    </a:lnTo>
                    <a:lnTo>
                      <a:pt x="13" y="16"/>
                    </a:lnTo>
                    <a:lnTo>
                      <a:pt x="2" y="5"/>
                    </a:lnTo>
                    <a:lnTo>
                      <a:pt x="0" y="5"/>
                    </a:lnTo>
                    <a:lnTo>
                      <a:pt x="2" y="2"/>
                    </a:lnTo>
                    <a:lnTo>
                      <a:pt x="4" y="2"/>
                    </a:lnTo>
                    <a:lnTo>
                      <a:pt x="7" y="2"/>
                    </a:lnTo>
                    <a:lnTo>
                      <a:pt x="14" y="0"/>
                    </a:lnTo>
                    <a:lnTo>
                      <a:pt x="20" y="2"/>
                    </a:lnTo>
                    <a:lnTo>
                      <a:pt x="27" y="7"/>
                    </a:lnTo>
                    <a:lnTo>
                      <a:pt x="29" y="7"/>
                    </a:lnTo>
                    <a:lnTo>
                      <a:pt x="32" y="7"/>
                    </a:lnTo>
                    <a:lnTo>
                      <a:pt x="36" y="7"/>
                    </a:lnTo>
                    <a:lnTo>
                      <a:pt x="39" y="11"/>
                    </a:lnTo>
                    <a:lnTo>
                      <a:pt x="41" y="11"/>
                    </a:lnTo>
                    <a:lnTo>
                      <a:pt x="43" y="13"/>
                    </a:lnTo>
                    <a:lnTo>
                      <a:pt x="41" y="22"/>
                    </a:lnTo>
                    <a:lnTo>
                      <a:pt x="43" y="23"/>
                    </a:lnTo>
                    <a:lnTo>
                      <a:pt x="45" y="25"/>
                    </a:lnTo>
                    <a:lnTo>
                      <a:pt x="46" y="27"/>
                    </a:lnTo>
                    <a:lnTo>
                      <a:pt x="46" y="29"/>
                    </a:lnTo>
                    <a:lnTo>
                      <a:pt x="46" y="30"/>
                    </a:lnTo>
                    <a:lnTo>
                      <a:pt x="48" y="36"/>
                    </a:lnTo>
                    <a:lnTo>
                      <a:pt x="54" y="38"/>
                    </a:lnTo>
                    <a:lnTo>
                      <a:pt x="54" y="39"/>
                    </a:lnTo>
                    <a:lnTo>
                      <a:pt x="55" y="41"/>
                    </a:lnTo>
                    <a:lnTo>
                      <a:pt x="54" y="45"/>
                    </a:lnTo>
                    <a:lnTo>
                      <a:pt x="55" y="47"/>
                    </a:lnTo>
                    <a:lnTo>
                      <a:pt x="54" y="48"/>
                    </a:lnTo>
                    <a:lnTo>
                      <a:pt x="52" y="50"/>
                    </a:lnTo>
                    <a:lnTo>
                      <a:pt x="45" y="48"/>
                    </a:lnTo>
                    <a:lnTo>
                      <a:pt x="43" y="48"/>
                    </a:lnTo>
                    <a:lnTo>
                      <a:pt x="41" y="47"/>
                    </a:lnTo>
                    <a:lnTo>
                      <a:pt x="39" y="48"/>
                    </a:lnTo>
                    <a:lnTo>
                      <a:pt x="39" y="50"/>
                    </a:lnTo>
                    <a:lnTo>
                      <a:pt x="38" y="57"/>
                    </a:lnTo>
                    <a:lnTo>
                      <a:pt x="36" y="59"/>
                    </a:lnTo>
                    <a:lnTo>
                      <a:pt x="34" y="61"/>
                    </a:lnTo>
                    <a:lnTo>
                      <a:pt x="34" y="63"/>
                    </a:lnTo>
                    <a:lnTo>
                      <a:pt x="32" y="64"/>
                    </a:lnTo>
                    <a:lnTo>
                      <a:pt x="30" y="66"/>
                    </a:lnTo>
                    <a:lnTo>
                      <a:pt x="30" y="68"/>
                    </a:lnTo>
                    <a:lnTo>
                      <a:pt x="29" y="70"/>
                    </a:lnTo>
                    <a:lnTo>
                      <a:pt x="27" y="70"/>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08" name="Freeform 3063"/>
              <p:cNvSpPr>
                <a:spLocks/>
              </p:cNvSpPr>
              <p:nvPr/>
            </p:nvSpPr>
            <p:spPr bwMode="auto">
              <a:xfrm>
                <a:off x="3116" y="1974"/>
                <a:ext cx="298" cy="126"/>
              </a:xfrm>
              <a:custGeom>
                <a:avLst/>
                <a:gdLst>
                  <a:gd name="T0" fmla="*/ 159 w 298"/>
                  <a:gd name="T1" fmla="*/ 112 h 126"/>
                  <a:gd name="T2" fmla="*/ 151 w 298"/>
                  <a:gd name="T3" fmla="*/ 112 h 126"/>
                  <a:gd name="T4" fmla="*/ 139 w 298"/>
                  <a:gd name="T5" fmla="*/ 108 h 126"/>
                  <a:gd name="T6" fmla="*/ 126 w 298"/>
                  <a:gd name="T7" fmla="*/ 117 h 126"/>
                  <a:gd name="T8" fmla="*/ 116 w 298"/>
                  <a:gd name="T9" fmla="*/ 121 h 126"/>
                  <a:gd name="T10" fmla="*/ 82 w 298"/>
                  <a:gd name="T11" fmla="*/ 107 h 126"/>
                  <a:gd name="T12" fmla="*/ 69 w 298"/>
                  <a:gd name="T13" fmla="*/ 114 h 126"/>
                  <a:gd name="T14" fmla="*/ 50 w 298"/>
                  <a:gd name="T15" fmla="*/ 117 h 126"/>
                  <a:gd name="T16" fmla="*/ 44 w 298"/>
                  <a:gd name="T17" fmla="*/ 110 h 126"/>
                  <a:gd name="T18" fmla="*/ 39 w 298"/>
                  <a:gd name="T19" fmla="*/ 107 h 126"/>
                  <a:gd name="T20" fmla="*/ 30 w 298"/>
                  <a:gd name="T21" fmla="*/ 112 h 126"/>
                  <a:gd name="T22" fmla="*/ 21 w 298"/>
                  <a:gd name="T23" fmla="*/ 110 h 126"/>
                  <a:gd name="T24" fmla="*/ 30 w 298"/>
                  <a:gd name="T25" fmla="*/ 107 h 126"/>
                  <a:gd name="T26" fmla="*/ 19 w 298"/>
                  <a:gd name="T27" fmla="*/ 103 h 126"/>
                  <a:gd name="T28" fmla="*/ 18 w 298"/>
                  <a:gd name="T29" fmla="*/ 96 h 126"/>
                  <a:gd name="T30" fmla="*/ 16 w 298"/>
                  <a:gd name="T31" fmla="*/ 92 h 126"/>
                  <a:gd name="T32" fmla="*/ 16 w 298"/>
                  <a:gd name="T33" fmla="*/ 83 h 126"/>
                  <a:gd name="T34" fmla="*/ 5 w 298"/>
                  <a:gd name="T35" fmla="*/ 80 h 126"/>
                  <a:gd name="T36" fmla="*/ 3 w 298"/>
                  <a:gd name="T37" fmla="*/ 76 h 126"/>
                  <a:gd name="T38" fmla="*/ 5 w 298"/>
                  <a:gd name="T39" fmla="*/ 71 h 126"/>
                  <a:gd name="T40" fmla="*/ 14 w 298"/>
                  <a:gd name="T41" fmla="*/ 75 h 126"/>
                  <a:gd name="T42" fmla="*/ 12 w 298"/>
                  <a:gd name="T43" fmla="*/ 66 h 126"/>
                  <a:gd name="T44" fmla="*/ 9 w 298"/>
                  <a:gd name="T45" fmla="*/ 58 h 126"/>
                  <a:gd name="T46" fmla="*/ 0 w 298"/>
                  <a:gd name="T47" fmla="*/ 53 h 126"/>
                  <a:gd name="T48" fmla="*/ 3 w 298"/>
                  <a:gd name="T49" fmla="*/ 42 h 126"/>
                  <a:gd name="T50" fmla="*/ 19 w 298"/>
                  <a:gd name="T51" fmla="*/ 35 h 126"/>
                  <a:gd name="T52" fmla="*/ 26 w 298"/>
                  <a:gd name="T53" fmla="*/ 32 h 126"/>
                  <a:gd name="T54" fmla="*/ 46 w 298"/>
                  <a:gd name="T55" fmla="*/ 32 h 126"/>
                  <a:gd name="T56" fmla="*/ 59 w 298"/>
                  <a:gd name="T57" fmla="*/ 28 h 126"/>
                  <a:gd name="T58" fmla="*/ 50 w 298"/>
                  <a:gd name="T59" fmla="*/ 26 h 126"/>
                  <a:gd name="T60" fmla="*/ 46 w 298"/>
                  <a:gd name="T61" fmla="*/ 21 h 126"/>
                  <a:gd name="T62" fmla="*/ 55 w 298"/>
                  <a:gd name="T63" fmla="*/ 19 h 126"/>
                  <a:gd name="T64" fmla="*/ 78 w 298"/>
                  <a:gd name="T65" fmla="*/ 21 h 126"/>
                  <a:gd name="T66" fmla="*/ 137 w 298"/>
                  <a:gd name="T67" fmla="*/ 1 h 126"/>
                  <a:gd name="T68" fmla="*/ 144 w 298"/>
                  <a:gd name="T69" fmla="*/ 1 h 126"/>
                  <a:gd name="T70" fmla="*/ 162 w 298"/>
                  <a:gd name="T71" fmla="*/ 16 h 126"/>
                  <a:gd name="T72" fmla="*/ 191 w 298"/>
                  <a:gd name="T73" fmla="*/ 23 h 126"/>
                  <a:gd name="T74" fmla="*/ 244 w 298"/>
                  <a:gd name="T75" fmla="*/ 10 h 126"/>
                  <a:gd name="T76" fmla="*/ 251 w 298"/>
                  <a:gd name="T77" fmla="*/ 10 h 126"/>
                  <a:gd name="T78" fmla="*/ 262 w 298"/>
                  <a:gd name="T79" fmla="*/ 8 h 126"/>
                  <a:gd name="T80" fmla="*/ 276 w 298"/>
                  <a:gd name="T81" fmla="*/ 21 h 126"/>
                  <a:gd name="T82" fmla="*/ 289 w 298"/>
                  <a:gd name="T83" fmla="*/ 41 h 126"/>
                  <a:gd name="T84" fmla="*/ 291 w 298"/>
                  <a:gd name="T85" fmla="*/ 53 h 126"/>
                  <a:gd name="T86" fmla="*/ 294 w 298"/>
                  <a:gd name="T87" fmla="*/ 89 h 126"/>
                  <a:gd name="T88" fmla="*/ 291 w 298"/>
                  <a:gd name="T89" fmla="*/ 100 h 126"/>
                  <a:gd name="T90" fmla="*/ 260 w 298"/>
                  <a:gd name="T91" fmla="*/ 100 h 126"/>
                  <a:gd name="T92" fmla="*/ 257 w 298"/>
                  <a:gd name="T93" fmla="*/ 98 h 126"/>
                  <a:gd name="T94" fmla="*/ 239 w 298"/>
                  <a:gd name="T95" fmla="*/ 101 h 126"/>
                  <a:gd name="T96" fmla="*/ 219 w 298"/>
                  <a:gd name="T97" fmla="*/ 107 h 126"/>
                  <a:gd name="T98" fmla="*/ 196 w 298"/>
                  <a:gd name="T99" fmla="*/ 105 h 126"/>
                  <a:gd name="T100" fmla="*/ 180 w 298"/>
                  <a:gd name="T101" fmla="*/ 110 h 126"/>
                  <a:gd name="T102" fmla="*/ 173 w 298"/>
                  <a:gd name="T103" fmla="*/ 108 h 126"/>
                  <a:gd name="T104" fmla="*/ 168 w 298"/>
                  <a:gd name="T105" fmla="*/ 107 h 126"/>
                  <a:gd name="T106" fmla="*/ 166 w 298"/>
                  <a:gd name="T107" fmla="*/ 114 h 126"/>
                  <a:gd name="T108" fmla="*/ 166 w 298"/>
                  <a:gd name="T109" fmla="*/ 119 h 126"/>
                  <a:gd name="T110" fmla="*/ 160 w 298"/>
                  <a:gd name="T111" fmla="*/ 125 h 126"/>
                  <a:gd name="T112" fmla="*/ 155 w 298"/>
                  <a:gd name="T113" fmla="*/ 12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8" h="126">
                    <a:moveTo>
                      <a:pt x="157" y="123"/>
                    </a:moveTo>
                    <a:lnTo>
                      <a:pt x="155" y="119"/>
                    </a:lnTo>
                    <a:lnTo>
                      <a:pt x="157" y="114"/>
                    </a:lnTo>
                    <a:lnTo>
                      <a:pt x="159" y="112"/>
                    </a:lnTo>
                    <a:lnTo>
                      <a:pt x="160" y="108"/>
                    </a:lnTo>
                    <a:lnTo>
                      <a:pt x="157" y="107"/>
                    </a:lnTo>
                    <a:lnTo>
                      <a:pt x="151" y="108"/>
                    </a:lnTo>
                    <a:lnTo>
                      <a:pt x="151" y="112"/>
                    </a:lnTo>
                    <a:lnTo>
                      <a:pt x="150" y="112"/>
                    </a:lnTo>
                    <a:lnTo>
                      <a:pt x="146" y="112"/>
                    </a:lnTo>
                    <a:lnTo>
                      <a:pt x="141" y="108"/>
                    </a:lnTo>
                    <a:lnTo>
                      <a:pt x="139" y="108"/>
                    </a:lnTo>
                    <a:lnTo>
                      <a:pt x="137" y="108"/>
                    </a:lnTo>
                    <a:lnTo>
                      <a:pt x="134" y="108"/>
                    </a:lnTo>
                    <a:lnTo>
                      <a:pt x="128" y="114"/>
                    </a:lnTo>
                    <a:lnTo>
                      <a:pt x="126" y="117"/>
                    </a:lnTo>
                    <a:lnTo>
                      <a:pt x="123" y="117"/>
                    </a:lnTo>
                    <a:lnTo>
                      <a:pt x="121" y="119"/>
                    </a:lnTo>
                    <a:lnTo>
                      <a:pt x="118" y="121"/>
                    </a:lnTo>
                    <a:lnTo>
                      <a:pt x="116" y="121"/>
                    </a:lnTo>
                    <a:lnTo>
                      <a:pt x="107" y="123"/>
                    </a:lnTo>
                    <a:lnTo>
                      <a:pt x="101" y="121"/>
                    </a:lnTo>
                    <a:lnTo>
                      <a:pt x="98" y="116"/>
                    </a:lnTo>
                    <a:lnTo>
                      <a:pt x="82" y="107"/>
                    </a:lnTo>
                    <a:lnTo>
                      <a:pt x="71" y="107"/>
                    </a:lnTo>
                    <a:lnTo>
                      <a:pt x="71" y="108"/>
                    </a:lnTo>
                    <a:lnTo>
                      <a:pt x="71" y="112"/>
                    </a:lnTo>
                    <a:lnTo>
                      <a:pt x="69" y="114"/>
                    </a:lnTo>
                    <a:lnTo>
                      <a:pt x="69" y="117"/>
                    </a:lnTo>
                    <a:lnTo>
                      <a:pt x="59" y="121"/>
                    </a:lnTo>
                    <a:lnTo>
                      <a:pt x="53" y="119"/>
                    </a:lnTo>
                    <a:lnTo>
                      <a:pt x="50" y="117"/>
                    </a:lnTo>
                    <a:lnTo>
                      <a:pt x="48" y="116"/>
                    </a:lnTo>
                    <a:lnTo>
                      <a:pt x="46" y="110"/>
                    </a:lnTo>
                    <a:lnTo>
                      <a:pt x="44" y="108"/>
                    </a:lnTo>
                    <a:lnTo>
                      <a:pt x="44" y="110"/>
                    </a:lnTo>
                    <a:lnTo>
                      <a:pt x="44" y="112"/>
                    </a:lnTo>
                    <a:lnTo>
                      <a:pt x="43" y="112"/>
                    </a:lnTo>
                    <a:lnTo>
                      <a:pt x="41" y="110"/>
                    </a:lnTo>
                    <a:lnTo>
                      <a:pt x="39" y="107"/>
                    </a:lnTo>
                    <a:lnTo>
                      <a:pt x="39" y="107"/>
                    </a:lnTo>
                    <a:lnTo>
                      <a:pt x="34" y="108"/>
                    </a:lnTo>
                    <a:lnTo>
                      <a:pt x="34" y="110"/>
                    </a:lnTo>
                    <a:lnTo>
                      <a:pt x="30" y="112"/>
                    </a:lnTo>
                    <a:lnTo>
                      <a:pt x="30" y="112"/>
                    </a:lnTo>
                    <a:lnTo>
                      <a:pt x="30" y="108"/>
                    </a:lnTo>
                    <a:lnTo>
                      <a:pt x="30" y="108"/>
                    </a:lnTo>
                    <a:lnTo>
                      <a:pt x="21" y="110"/>
                    </a:lnTo>
                    <a:lnTo>
                      <a:pt x="21" y="108"/>
                    </a:lnTo>
                    <a:lnTo>
                      <a:pt x="25" y="107"/>
                    </a:lnTo>
                    <a:lnTo>
                      <a:pt x="28" y="107"/>
                    </a:lnTo>
                    <a:lnTo>
                      <a:pt x="30" y="107"/>
                    </a:lnTo>
                    <a:lnTo>
                      <a:pt x="32" y="105"/>
                    </a:lnTo>
                    <a:lnTo>
                      <a:pt x="34" y="105"/>
                    </a:lnTo>
                    <a:lnTo>
                      <a:pt x="34" y="103"/>
                    </a:lnTo>
                    <a:lnTo>
                      <a:pt x="19" y="103"/>
                    </a:lnTo>
                    <a:lnTo>
                      <a:pt x="19" y="103"/>
                    </a:lnTo>
                    <a:lnTo>
                      <a:pt x="23" y="100"/>
                    </a:lnTo>
                    <a:lnTo>
                      <a:pt x="19" y="96"/>
                    </a:lnTo>
                    <a:lnTo>
                      <a:pt x="18" y="96"/>
                    </a:lnTo>
                    <a:lnTo>
                      <a:pt x="18" y="94"/>
                    </a:lnTo>
                    <a:lnTo>
                      <a:pt x="19" y="92"/>
                    </a:lnTo>
                    <a:lnTo>
                      <a:pt x="19" y="91"/>
                    </a:lnTo>
                    <a:lnTo>
                      <a:pt x="16" y="92"/>
                    </a:lnTo>
                    <a:lnTo>
                      <a:pt x="14" y="91"/>
                    </a:lnTo>
                    <a:lnTo>
                      <a:pt x="16" y="89"/>
                    </a:lnTo>
                    <a:lnTo>
                      <a:pt x="18" y="87"/>
                    </a:lnTo>
                    <a:lnTo>
                      <a:pt x="16" y="83"/>
                    </a:lnTo>
                    <a:lnTo>
                      <a:pt x="14" y="82"/>
                    </a:lnTo>
                    <a:lnTo>
                      <a:pt x="10" y="82"/>
                    </a:lnTo>
                    <a:lnTo>
                      <a:pt x="7" y="80"/>
                    </a:lnTo>
                    <a:lnTo>
                      <a:pt x="5" y="80"/>
                    </a:lnTo>
                    <a:lnTo>
                      <a:pt x="3" y="80"/>
                    </a:lnTo>
                    <a:lnTo>
                      <a:pt x="1" y="78"/>
                    </a:lnTo>
                    <a:lnTo>
                      <a:pt x="1" y="76"/>
                    </a:lnTo>
                    <a:lnTo>
                      <a:pt x="3" y="76"/>
                    </a:lnTo>
                    <a:lnTo>
                      <a:pt x="3" y="73"/>
                    </a:lnTo>
                    <a:lnTo>
                      <a:pt x="3" y="71"/>
                    </a:lnTo>
                    <a:lnTo>
                      <a:pt x="5" y="69"/>
                    </a:lnTo>
                    <a:lnTo>
                      <a:pt x="5" y="71"/>
                    </a:lnTo>
                    <a:lnTo>
                      <a:pt x="7" y="75"/>
                    </a:lnTo>
                    <a:lnTo>
                      <a:pt x="9" y="76"/>
                    </a:lnTo>
                    <a:lnTo>
                      <a:pt x="16" y="75"/>
                    </a:lnTo>
                    <a:lnTo>
                      <a:pt x="14" y="75"/>
                    </a:lnTo>
                    <a:lnTo>
                      <a:pt x="10" y="73"/>
                    </a:lnTo>
                    <a:lnTo>
                      <a:pt x="10" y="71"/>
                    </a:lnTo>
                    <a:lnTo>
                      <a:pt x="10" y="67"/>
                    </a:lnTo>
                    <a:lnTo>
                      <a:pt x="12" y="66"/>
                    </a:lnTo>
                    <a:lnTo>
                      <a:pt x="12" y="64"/>
                    </a:lnTo>
                    <a:lnTo>
                      <a:pt x="10" y="62"/>
                    </a:lnTo>
                    <a:lnTo>
                      <a:pt x="10" y="60"/>
                    </a:lnTo>
                    <a:lnTo>
                      <a:pt x="9" y="58"/>
                    </a:lnTo>
                    <a:lnTo>
                      <a:pt x="9" y="55"/>
                    </a:lnTo>
                    <a:lnTo>
                      <a:pt x="12" y="53"/>
                    </a:lnTo>
                    <a:lnTo>
                      <a:pt x="10" y="51"/>
                    </a:lnTo>
                    <a:lnTo>
                      <a:pt x="0" y="53"/>
                    </a:lnTo>
                    <a:lnTo>
                      <a:pt x="0" y="51"/>
                    </a:lnTo>
                    <a:lnTo>
                      <a:pt x="0" y="46"/>
                    </a:lnTo>
                    <a:lnTo>
                      <a:pt x="1" y="42"/>
                    </a:lnTo>
                    <a:lnTo>
                      <a:pt x="3" y="42"/>
                    </a:lnTo>
                    <a:lnTo>
                      <a:pt x="9" y="33"/>
                    </a:lnTo>
                    <a:lnTo>
                      <a:pt x="12" y="35"/>
                    </a:lnTo>
                    <a:lnTo>
                      <a:pt x="18" y="33"/>
                    </a:lnTo>
                    <a:lnTo>
                      <a:pt x="19" y="35"/>
                    </a:lnTo>
                    <a:lnTo>
                      <a:pt x="23" y="35"/>
                    </a:lnTo>
                    <a:lnTo>
                      <a:pt x="26" y="35"/>
                    </a:lnTo>
                    <a:lnTo>
                      <a:pt x="25" y="32"/>
                    </a:lnTo>
                    <a:lnTo>
                      <a:pt x="26" y="32"/>
                    </a:lnTo>
                    <a:lnTo>
                      <a:pt x="28" y="33"/>
                    </a:lnTo>
                    <a:lnTo>
                      <a:pt x="28" y="33"/>
                    </a:lnTo>
                    <a:lnTo>
                      <a:pt x="46" y="33"/>
                    </a:lnTo>
                    <a:lnTo>
                      <a:pt x="46" y="32"/>
                    </a:lnTo>
                    <a:lnTo>
                      <a:pt x="43" y="32"/>
                    </a:lnTo>
                    <a:lnTo>
                      <a:pt x="43" y="30"/>
                    </a:lnTo>
                    <a:lnTo>
                      <a:pt x="46" y="28"/>
                    </a:lnTo>
                    <a:lnTo>
                      <a:pt x="59" y="28"/>
                    </a:lnTo>
                    <a:lnTo>
                      <a:pt x="59" y="26"/>
                    </a:lnTo>
                    <a:lnTo>
                      <a:pt x="57" y="26"/>
                    </a:lnTo>
                    <a:lnTo>
                      <a:pt x="55" y="26"/>
                    </a:lnTo>
                    <a:lnTo>
                      <a:pt x="50" y="26"/>
                    </a:lnTo>
                    <a:lnTo>
                      <a:pt x="50" y="25"/>
                    </a:lnTo>
                    <a:lnTo>
                      <a:pt x="48" y="25"/>
                    </a:lnTo>
                    <a:lnTo>
                      <a:pt x="48" y="23"/>
                    </a:lnTo>
                    <a:lnTo>
                      <a:pt x="46" y="21"/>
                    </a:lnTo>
                    <a:lnTo>
                      <a:pt x="48" y="17"/>
                    </a:lnTo>
                    <a:lnTo>
                      <a:pt x="50" y="17"/>
                    </a:lnTo>
                    <a:lnTo>
                      <a:pt x="51" y="17"/>
                    </a:lnTo>
                    <a:lnTo>
                      <a:pt x="55" y="19"/>
                    </a:lnTo>
                    <a:lnTo>
                      <a:pt x="69" y="19"/>
                    </a:lnTo>
                    <a:lnTo>
                      <a:pt x="71" y="21"/>
                    </a:lnTo>
                    <a:lnTo>
                      <a:pt x="73" y="21"/>
                    </a:lnTo>
                    <a:lnTo>
                      <a:pt x="78" y="21"/>
                    </a:lnTo>
                    <a:lnTo>
                      <a:pt x="84" y="19"/>
                    </a:lnTo>
                    <a:lnTo>
                      <a:pt x="85" y="16"/>
                    </a:lnTo>
                    <a:lnTo>
                      <a:pt x="116" y="0"/>
                    </a:lnTo>
                    <a:lnTo>
                      <a:pt x="137" y="1"/>
                    </a:lnTo>
                    <a:lnTo>
                      <a:pt x="141" y="0"/>
                    </a:lnTo>
                    <a:lnTo>
                      <a:pt x="143" y="0"/>
                    </a:lnTo>
                    <a:lnTo>
                      <a:pt x="144" y="0"/>
                    </a:lnTo>
                    <a:lnTo>
                      <a:pt x="144" y="1"/>
                    </a:lnTo>
                    <a:lnTo>
                      <a:pt x="146" y="5"/>
                    </a:lnTo>
                    <a:lnTo>
                      <a:pt x="155" y="8"/>
                    </a:lnTo>
                    <a:lnTo>
                      <a:pt x="159" y="7"/>
                    </a:lnTo>
                    <a:lnTo>
                      <a:pt x="162" y="16"/>
                    </a:lnTo>
                    <a:lnTo>
                      <a:pt x="171" y="16"/>
                    </a:lnTo>
                    <a:lnTo>
                      <a:pt x="180" y="23"/>
                    </a:lnTo>
                    <a:lnTo>
                      <a:pt x="184" y="21"/>
                    </a:lnTo>
                    <a:lnTo>
                      <a:pt x="191" y="23"/>
                    </a:lnTo>
                    <a:lnTo>
                      <a:pt x="210" y="19"/>
                    </a:lnTo>
                    <a:lnTo>
                      <a:pt x="219" y="23"/>
                    </a:lnTo>
                    <a:lnTo>
                      <a:pt x="226" y="21"/>
                    </a:lnTo>
                    <a:lnTo>
                      <a:pt x="244" y="10"/>
                    </a:lnTo>
                    <a:lnTo>
                      <a:pt x="244" y="8"/>
                    </a:lnTo>
                    <a:lnTo>
                      <a:pt x="246" y="10"/>
                    </a:lnTo>
                    <a:lnTo>
                      <a:pt x="248" y="10"/>
                    </a:lnTo>
                    <a:lnTo>
                      <a:pt x="251" y="10"/>
                    </a:lnTo>
                    <a:lnTo>
                      <a:pt x="259" y="12"/>
                    </a:lnTo>
                    <a:lnTo>
                      <a:pt x="260" y="12"/>
                    </a:lnTo>
                    <a:lnTo>
                      <a:pt x="260" y="8"/>
                    </a:lnTo>
                    <a:lnTo>
                      <a:pt x="262" y="8"/>
                    </a:lnTo>
                    <a:lnTo>
                      <a:pt x="264" y="8"/>
                    </a:lnTo>
                    <a:lnTo>
                      <a:pt x="271" y="16"/>
                    </a:lnTo>
                    <a:lnTo>
                      <a:pt x="273" y="16"/>
                    </a:lnTo>
                    <a:lnTo>
                      <a:pt x="276" y="21"/>
                    </a:lnTo>
                    <a:lnTo>
                      <a:pt x="278" y="25"/>
                    </a:lnTo>
                    <a:lnTo>
                      <a:pt x="280" y="35"/>
                    </a:lnTo>
                    <a:lnTo>
                      <a:pt x="282" y="37"/>
                    </a:lnTo>
                    <a:lnTo>
                      <a:pt x="289" y="41"/>
                    </a:lnTo>
                    <a:lnTo>
                      <a:pt x="291" y="42"/>
                    </a:lnTo>
                    <a:lnTo>
                      <a:pt x="293" y="44"/>
                    </a:lnTo>
                    <a:lnTo>
                      <a:pt x="294" y="46"/>
                    </a:lnTo>
                    <a:lnTo>
                      <a:pt x="291" y="53"/>
                    </a:lnTo>
                    <a:lnTo>
                      <a:pt x="287" y="55"/>
                    </a:lnTo>
                    <a:lnTo>
                      <a:pt x="289" y="62"/>
                    </a:lnTo>
                    <a:lnTo>
                      <a:pt x="289" y="85"/>
                    </a:lnTo>
                    <a:lnTo>
                      <a:pt x="294" y="89"/>
                    </a:lnTo>
                    <a:lnTo>
                      <a:pt x="296" y="94"/>
                    </a:lnTo>
                    <a:lnTo>
                      <a:pt x="298" y="98"/>
                    </a:lnTo>
                    <a:lnTo>
                      <a:pt x="294" y="100"/>
                    </a:lnTo>
                    <a:lnTo>
                      <a:pt x="291" y="100"/>
                    </a:lnTo>
                    <a:lnTo>
                      <a:pt x="289" y="96"/>
                    </a:lnTo>
                    <a:lnTo>
                      <a:pt x="275" y="96"/>
                    </a:lnTo>
                    <a:lnTo>
                      <a:pt x="268" y="94"/>
                    </a:lnTo>
                    <a:lnTo>
                      <a:pt x="260" y="100"/>
                    </a:lnTo>
                    <a:lnTo>
                      <a:pt x="259" y="100"/>
                    </a:lnTo>
                    <a:lnTo>
                      <a:pt x="259" y="100"/>
                    </a:lnTo>
                    <a:lnTo>
                      <a:pt x="259" y="98"/>
                    </a:lnTo>
                    <a:lnTo>
                      <a:pt x="257" y="98"/>
                    </a:lnTo>
                    <a:lnTo>
                      <a:pt x="257" y="98"/>
                    </a:lnTo>
                    <a:lnTo>
                      <a:pt x="253" y="100"/>
                    </a:lnTo>
                    <a:lnTo>
                      <a:pt x="248" y="101"/>
                    </a:lnTo>
                    <a:lnTo>
                      <a:pt x="239" y="101"/>
                    </a:lnTo>
                    <a:lnTo>
                      <a:pt x="235" y="101"/>
                    </a:lnTo>
                    <a:lnTo>
                      <a:pt x="228" y="103"/>
                    </a:lnTo>
                    <a:lnTo>
                      <a:pt x="223" y="107"/>
                    </a:lnTo>
                    <a:lnTo>
                      <a:pt x="219" y="107"/>
                    </a:lnTo>
                    <a:lnTo>
                      <a:pt x="218" y="108"/>
                    </a:lnTo>
                    <a:lnTo>
                      <a:pt x="209" y="110"/>
                    </a:lnTo>
                    <a:lnTo>
                      <a:pt x="200" y="108"/>
                    </a:lnTo>
                    <a:lnTo>
                      <a:pt x="196" y="105"/>
                    </a:lnTo>
                    <a:lnTo>
                      <a:pt x="194" y="105"/>
                    </a:lnTo>
                    <a:lnTo>
                      <a:pt x="191" y="105"/>
                    </a:lnTo>
                    <a:lnTo>
                      <a:pt x="182" y="110"/>
                    </a:lnTo>
                    <a:lnTo>
                      <a:pt x="180" y="110"/>
                    </a:lnTo>
                    <a:lnTo>
                      <a:pt x="176" y="110"/>
                    </a:lnTo>
                    <a:lnTo>
                      <a:pt x="175" y="110"/>
                    </a:lnTo>
                    <a:lnTo>
                      <a:pt x="173" y="110"/>
                    </a:lnTo>
                    <a:lnTo>
                      <a:pt x="173" y="108"/>
                    </a:lnTo>
                    <a:lnTo>
                      <a:pt x="173" y="108"/>
                    </a:lnTo>
                    <a:lnTo>
                      <a:pt x="171" y="108"/>
                    </a:lnTo>
                    <a:lnTo>
                      <a:pt x="169" y="107"/>
                    </a:lnTo>
                    <a:lnTo>
                      <a:pt x="168" y="107"/>
                    </a:lnTo>
                    <a:lnTo>
                      <a:pt x="166" y="110"/>
                    </a:lnTo>
                    <a:lnTo>
                      <a:pt x="166" y="110"/>
                    </a:lnTo>
                    <a:lnTo>
                      <a:pt x="166" y="112"/>
                    </a:lnTo>
                    <a:lnTo>
                      <a:pt x="166" y="114"/>
                    </a:lnTo>
                    <a:lnTo>
                      <a:pt x="168" y="117"/>
                    </a:lnTo>
                    <a:lnTo>
                      <a:pt x="168" y="119"/>
                    </a:lnTo>
                    <a:lnTo>
                      <a:pt x="168" y="119"/>
                    </a:lnTo>
                    <a:lnTo>
                      <a:pt x="166" y="119"/>
                    </a:lnTo>
                    <a:lnTo>
                      <a:pt x="162" y="119"/>
                    </a:lnTo>
                    <a:lnTo>
                      <a:pt x="162" y="123"/>
                    </a:lnTo>
                    <a:lnTo>
                      <a:pt x="160" y="125"/>
                    </a:lnTo>
                    <a:lnTo>
                      <a:pt x="160" y="125"/>
                    </a:lnTo>
                    <a:lnTo>
                      <a:pt x="159" y="126"/>
                    </a:lnTo>
                    <a:lnTo>
                      <a:pt x="157" y="126"/>
                    </a:lnTo>
                    <a:lnTo>
                      <a:pt x="157" y="125"/>
                    </a:lnTo>
                    <a:lnTo>
                      <a:pt x="155" y="125"/>
                    </a:lnTo>
                    <a:lnTo>
                      <a:pt x="157" y="12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09" name="Freeform 3064"/>
              <p:cNvSpPr>
                <a:spLocks/>
              </p:cNvSpPr>
              <p:nvPr/>
            </p:nvSpPr>
            <p:spPr bwMode="auto">
              <a:xfrm>
                <a:off x="3116" y="1974"/>
                <a:ext cx="298" cy="126"/>
              </a:xfrm>
              <a:custGeom>
                <a:avLst/>
                <a:gdLst>
                  <a:gd name="T0" fmla="*/ 159 w 298"/>
                  <a:gd name="T1" fmla="*/ 112 h 126"/>
                  <a:gd name="T2" fmla="*/ 151 w 298"/>
                  <a:gd name="T3" fmla="*/ 112 h 126"/>
                  <a:gd name="T4" fmla="*/ 139 w 298"/>
                  <a:gd name="T5" fmla="*/ 108 h 126"/>
                  <a:gd name="T6" fmla="*/ 126 w 298"/>
                  <a:gd name="T7" fmla="*/ 117 h 126"/>
                  <a:gd name="T8" fmla="*/ 116 w 298"/>
                  <a:gd name="T9" fmla="*/ 121 h 126"/>
                  <a:gd name="T10" fmla="*/ 82 w 298"/>
                  <a:gd name="T11" fmla="*/ 107 h 126"/>
                  <a:gd name="T12" fmla="*/ 69 w 298"/>
                  <a:gd name="T13" fmla="*/ 114 h 126"/>
                  <a:gd name="T14" fmla="*/ 50 w 298"/>
                  <a:gd name="T15" fmla="*/ 117 h 126"/>
                  <a:gd name="T16" fmla="*/ 44 w 298"/>
                  <a:gd name="T17" fmla="*/ 110 h 126"/>
                  <a:gd name="T18" fmla="*/ 39 w 298"/>
                  <a:gd name="T19" fmla="*/ 107 h 126"/>
                  <a:gd name="T20" fmla="*/ 30 w 298"/>
                  <a:gd name="T21" fmla="*/ 112 h 126"/>
                  <a:gd name="T22" fmla="*/ 21 w 298"/>
                  <a:gd name="T23" fmla="*/ 110 h 126"/>
                  <a:gd name="T24" fmla="*/ 30 w 298"/>
                  <a:gd name="T25" fmla="*/ 107 h 126"/>
                  <a:gd name="T26" fmla="*/ 19 w 298"/>
                  <a:gd name="T27" fmla="*/ 103 h 126"/>
                  <a:gd name="T28" fmla="*/ 18 w 298"/>
                  <a:gd name="T29" fmla="*/ 96 h 126"/>
                  <a:gd name="T30" fmla="*/ 16 w 298"/>
                  <a:gd name="T31" fmla="*/ 92 h 126"/>
                  <a:gd name="T32" fmla="*/ 16 w 298"/>
                  <a:gd name="T33" fmla="*/ 83 h 126"/>
                  <a:gd name="T34" fmla="*/ 5 w 298"/>
                  <a:gd name="T35" fmla="*/ 80 h 126"/>
                  <a:gd name="T36" fmla="*/ 3 w 298"/>
                  <a:gd name="T37" fmla="*/ 76 h 126"/>
                  <a:gd name="T38" fmla="*/ 5 w 298"/>
                  <a:gd name="T39" fmla="*/ 71 h 126"/>
                  <a:gd name="T40" fmla="*/ 14 w 298"/>
                  <a:gd name="T41" fmla="*/ 75 h 126"/>
                  <a:gd name="T42" fmla="*/ 12 w 298"/>
                  <a:gd name="T43" fmla="*/ 66 h 126"/>
                  <a:gd name="T44" fmla="*/ 9 w 298"/>
                  <a:gd name="T45" fmla="*/ 58 h 126"/>
                  <a:gd name="T46" fmla="*/ 0 w 298"/>
                  <a:gd name="T47" fmla="*/ 53 h 126"/>
                  <a:gd name="T48" fmla="*/ 3 w 298"/>
                  <a:gd name="T49" fmla="*/ 42 h 126"/>
                  <a:gd name="T50" fmla="*/ 19 w 298"/>
                  <a:gd name="T51" fmla="*/ 35 h 126"/>
                  <a:gd name="T52" fmla="*/ 26 w 298"/>
                  <a:gd name="T53" fmla="*/ 32 h 126"/>
                  <a:gd name="T54" fmla="*/ 46 w 298"/>
                  <a:gd name="T55" fmla="*/ 32 h 126"/>
                  <a:gd name="T56" fmla="*/ 59 w 298"/>
                  <a:gd name="T57" fmla="*/ 28 h 126"/>
                  <a:gd name="T58" fmla="*/ 50 w 298"/>
                  <a:gd name="T59" fmla="*/ 26 h 126"/>
                  <a:gd name="T60" fmla="*/ 46 w 298"/>
                  <a:gd name="T61" fmla="*/ 21 h 126"/>
                  <a:gd name="T62" fmla="*/ 55 w 298"/>
                  <a:gd name="T63" fmla="*/ 19 h 126"/>
                  <a:gd name="T64" fmla="*/ 78 w 298"/>
                  <a:gd name="T65" fmla="*/ 21 h 126"/>
                  <a:gd name="T66" fmla="*/ 137 w 298"/>
                  <a:gd name="T67" fmla="*/ 1 h 126"/>
                  <a:gd name="T68" fmla="*/ 144 w 298"/>
                  <a:gd name="T69" fmla="*/ 1 h 126"/>
                  <a:gd name="T70" fmla="*/ 162 w 298"/>
                  <a:gd name="T71" fmla="*/ 16 h 126"/>
                  <a:gd name="T72" fmla="*/ 191 w 298"/>
                  <a:gd name="T73" fmla="*/ 23 h 126"/>
                  <a:gd name="T74" fmla="*/ 244 w 298"/>
                  <a:gd name="T75" fmla="*/ 10 h 126"/>
                  <a:gd name="T76" fmla="*/ 251 w 298"/>
                  <a:gd name="T77" fmla="*/ 10 h 126"/>
                  <a:gd name="T78" fmla="*/ 262 w 298"/>
                  <a:gd name="T79" fmla="*/ 8 h 126"/>
                  <a:gd name="T80" fmla="*/ 276 w 298"/>
                  <a:gd name="T81" fmla="*/ 21 h 126"/>
                  <a:gd name="T82" fmla="*/ 289 w 298"/>
                  <a:gd name="T83" fmla="*/ 41 h 126"/>
                  <a:gd name="T84" fmla="*/ 291 w 298"/>
                  <a:gd name="T85" fmla="*/ 53 h 126"/>
                  <a:gd name="T86" fmla="*/ 294 w 298"/>
                  <a:gd name="T87" fmla="*/ 89 h 126"/>
                  <a:gd name="T88" fmla="*/ 291 w 298"/>
                  <a:gd name="T89" fmla="*/ 100 h 126"/>
                  <a:gd name="T90" fmla="*/ 260 w 298"/>
                  <a:gd name="T91" fmla="*/ 100 h 126"/>
                  <a:gd name="T92" fmla="*/ 257 w 298"/>
                  <a:gd name="T93" fmla="*/ 98 h 126"/>
                  <a:gd name="T94" fmla="*/ 239 w 298"/>
                  <a:gd name="T95" fmla="*/ 101 h 126"/>
                  <a:gd name="T96" fmla="*/ 219 w 298"/>
                  <a:gd name="T97" fmla="*/ 107 h 126"/>
                  <a:gd name="T98" fmla="*/ 196 w 298"/>
                  <a:gd name="T99" fmla="*/ 105 h 126"/>
                  <a:gd name="T100" fmla="*/ 180 w 298"/>
                  <a:gd name="T101" fmla="*/ 110 h 126"/>
                  <a:gd name="T102" fmla="*/ 173 w 298"/>
                  <a:gd name="T103" fmla="*/ 108 h 126"/>
                  <a:gd name="T104" fmla="*/ 168 w 298"/>
                  <a:gd name="T105" fmla="*/ 107 h 126"/>
                  <a:gd name="T106" fmla="*/ 166 w 298"/>
                  <a:gd name="T107" fmla="*/ 114 h 126"/>
                  <a:gd name="T108" fmla="*/ 166 w 298"/>
                  <a:gd name="T109" fmla="*/ 119 h 126"/>
                  <a:gd name="T110" fmla="*/ 160 w 298"/>
                  <a:gd name="T111" fmla="*/ 125 h 126"/>
                  <a:gd name="T112" fmla="*/ 155 w 298"/>
                  <a:gd name="T113" fmla="*/ 125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8" h="126">
                    <a:moveTo>
                      <a:pt x="157" y="123"/>
                    </a:moveTo>
                    <a:lnTo>
                      <a:pt x="155" y="119"/>
                    </a:lnTo>
                    <a:lnTo>
                      <a:pt x="157" y="114"/>
                    </a:lnTo>
                    <a:lnTo>
                      <a:pt x="159" y="112"/>
                    </a:lnTo>
                    <a:lnTo>
                      <a:pt x="160" y="108"/>
                    </a:lnTo>
                    <a:lnTo>
                      <a:pt x="157" y="107"/>
                    </a:lnTo>
                    <a:lnTo>
                      <a:pt x="151" y="108"/>
                    </a:lnTo>
                    <a:lnTo>
                      <a:pt x="151" y="112"/>
                    </a:lnTo>
                    <a:lnTo>
                      <a:pt x="150" y="112"/>
                    </a:lnTo>
                    <a:lnTo>
                      <a:pt x="146" y="112"/>
                    </a:lnTo>
                    <a:lnTo>
                      <a:pt x="141" y="108"/>
                    </a:lnTo>
                    <a:lnTo>
                      <a:pt x="139" y="108"/>
                    </a:lnTo>
                    <a:lnTo>
                      <a:pt x="137" y="108"/>
                    </a:lnTo>
                    <a:lnTo>
                      <a:pt x="134" y="108"/>
                    </a:lnTo>
                    <a:lnTo>
                      <a:pt x="128" y="114"/>
                    </a:lnTo>
                    <a:lnTo>
                      <a:pt x="126" y="117"/>
                    </a:lnTo>
                    <a:lnTo>
                      <a:pt x="123" y="117"/>
                    </a:lnTo>
                    <a:lnTo>
                      <a:pt x="121" y="119"/>
                    </a:lnTo>
                    <a:lnTo>
                      <a:pt x="118" y="121"/>
                    </a:lnTo>
                    <a:lnTo>
                      <a:pt x="116" y="121"/>
                    </a:lnTo>
                    <a:lnTo>
                      <a:pt x="107" y="123"/>
                    </a:lnTo>
                    <a:lnTo>
                      <a:pt x="101" y="121"/>
                    </a:lnTo>
                    <a:lnTo>
                      <a:pt x="98" y="116"/>
                    </a:lnTo>
                    <a:lnTo>
                      <a:pt x="82" y="107"/>
                    </a:lnTo>
                    <a:lnTo>
                      <a:pt x="71" y="107"/>
                    </a:lnTo>
                    <a:lnTo>
                      <a:pt x="71" y="108"/>
                    </a:lnTo>
                    <a:lnTo>
                      <a:pt x="71" y="112"/>
                    </a:lnTo>
                    <a:lnTo>
                      <a:pt x="69" y="114"/>
                    </a:lnTo>
                    <a:lnTo>
                      <a:pt x="69" y="117"/>
                    </a:lnTo>
                    <a:lnTo>
                      <a:pt x="59" y="121"/>
                    </a:lnTo>
                    <a:lnTo>
                      <a:pt x="53" y="119"/>
                    </a:lnTo>
                    <a:lnTo>
                      <a:pt x="50" y="117"/>
                    </a:lnTo>
                    <a:lnTo>
                      <a:pt x="48" y="116"/>
                    </a:lnTo>
                    <a:lnTo>
                      <a:pt x="46" y="110"/>
                    </a:lnTo>
                    <a:lnTo>
                      <a:pt x="44" y="108"/>
                    </a:lnTo>
                    <a:lnTo>
                      <a:pt x="44" y="110"/>
                    </a:lnTo>
                    <a:lnTo>
                      <a:pt x="44" y="112"/>
                    </a:lnTo>
                    <a:lnTo>
                      <a:pt x="43" y="112"/>
                    </a:lnTo>
                    <a:lnTo>
                      <a:pt x="41" y="110"/>
                    </a:lnTo>
                    <a:lnTo>
                      <a:pt x="39" y="107"/>
                    </a:lnTo>
                    <a:lnTo>
                      <a:pt x="39" y="107"/>
                    </a:lnTo>
                    <a:lnTo>
                      <a:pt x="34" y="108"/>
                    </a:lnTo>
                    <a:lnTo>
                      <a:pt x="34" y="110"/>
                    </a:lnTo>
                    <a:lnTo>
                      <a:pt x="30" y="112"/>
                    </a:lnTo>
                    <a:lnTo>
                      <a:pt x="30" y="112"/>
                    </a:lnTo>
                    <a:lnTo>
                      <a:pt x="30" y="108"/>
                    </a:lnTo>
                    <a:lnTo>
                      <a:pt x="30" y="108"/>
                    </a:lnTo>
                    <a:lnTo>
                      <a:pt x="21" y="110"/>
                    </a:lnTo>
                    <a:lnTo>
                      <a:pt x="21" y="108"/>
                    </a:lnTo>
                    <a:lnTo>
                      <a:pt x="25" y="107"/>
                    </a:lnTo>
                    <a:lnTo>
                      <a:pt x="28" y="107"/>
                    </a:lnTo>
                    <a:lnTo>
                      <a:pt x="30" y="107"/>
                    </a:lnTo>
                    <a:lnTo>
                      <a:pt x="32" y="105"/>
                    </a:lnTo>
                    <a:lnTo>
                      <a:pt x="34" y="105"/>
                    </a:lnTo>
                    <a:lnTo>
                      <a:pt x="34" y="103"/>
                    </a:lnTo>
                    <a:lnTo>
                      <a:pt x="19" y="103"/>
                    </a:lnTo>
                    <a:lnTo>
                      <a:pt x="19" y="103"/>
                    </a:lnTo>
                    <a:lnTo>
                      <a:pt x="23" y="100"/>
                    </a:lnTo>
                    <a:lnTo>
                      <a:pt x="19" y="96"/>
                    </a:lnTo>
                    <a:lnTo>
                      <a:pt x="18" y="96"/>
                    </a:lnTo>
                    <a:lnTo>
                      <a:pt x="18" y="94"/>
                    </a:lnTo>
                    <a:lnTo>
                      <a:pt x="19" y="92"/>
                    </a:lnTo>
                    <a:lnTo>
                      <a:pt x="19" y="91"/>
                    </a:lnTo>
                    <a:lnTo>
                      <a:pt x="16" y="92"/>
                    </a:lnTo>
                    <a:lnTo>
                      <a:pt x="14" y="91"/>
                    </a:lnTo>
                    <a:lnTo>
                      <a:pt x="16" y="89"/>
                    </a:lnTo>
                    <a:lnTo>
                      <a:pt x="18" y="87"/>
                    </a:lnTo>
                    <a:lnTo>
                      <a:pt x="16" y="83"/>
                    </a:lnTo>
                    <a:lnTo>
                      <a:pt x="14" y="82"/>
                    </a:lnTo>
                    <a:lnTo>
                      <a:pt x="10" y="82"/>
                    </a:lnTo>
                    <a:lnTo>
                      <a:pt x="7" y="80"/>
                    </a:lnTo>
                    <a:lnTo>
                      <a:pt x="5" y="80"/>
                    </a:lnTo>
                    <a:lnTo>
                      <a:pt x="3" y="80"/>
                    </a:lnTo>
                    <a:lnTo>
                      <a:pt x="1" y="78"/>
                    </a:lnTo>
                    <a:lnTo>
                      <a:pt x="1" y="76"/>
                    </a:lnTo>
                    <a:lnTo>
                      <a:pt x="3" y="76"/>
                    </a:lnTo>
                    <a:lnTo>
                      <a:pt x="3" y="73"/>
                    </a:lnTo>
                    <a:lnTo>
                      <a:pt x="3" y="71"/>
                    </a:lnTo>
                    <a:lnTo>
                      <a:pt x="5" y="69"/>
                    </a:lnTo>
                    <a:lnTo>
                      <a:pt x="5" y="71"/>
                    </a:lnTo>
                    <a:lnTo>
                      <a:pt x="7" y="75"/>
                    </a:lnTo>
                    <a:lnTo>
                      <a:pt x="9" y="76"/>
                    </a:lnTo>
                    <a:lnTo>
                      <a:pt x="16" y="75"/>
                    </a:lnTo>
                    <a:lnTo>
                      <a:pt x="14" y="75"/>
                    </a:lnTo>
                    <a:lnTo>
                      <a:pt x="10" y="73"/>
                    </a:lnTo>
                    <a:lnTo>
                      <a:pt x="10" y="71"/>
                    </a:lnTo>
                    <a:lnTo>
                      <a:pt x="10" y="67"/>
                    </a:lnTo>
                    <a:lnTo>
                      <a:pt x="12" y="66"/>
                    </a:lnTo>
                    <a:lnTo>
                      <a:pt x="12" y="64"/>
                    </a:lnTo>
                    <a:lnTo>
                      <a:pt x="10" y="62"/>
                    </a:lnTo>
                    <a:lnTo>
                      <a:pt x="10" y="60"/>
                    </a:lnTo>
                    <a:lnTo>
                      <a:pt x="9" y="58"/>
                    </a:lnTo>
                    <a:lnTo>
                      <a:pt x="9" y="55"/>
                    </a:lnTo>
                    <a:lnTo>
                      <a:pt x="12" y="53"/>
                    </a:lnTo>
                    <a:lnTo>
                      <a:pt x="10" y="51"/>
                    </a:lnTo>
                    <a:lnTo>
                      <a:pt x="0" y="53"/>
                    </a:lnTo>
                    <a:lnTo>
                      <a:pt x="0" y="51"/>
                    </a:lnTo>
                    <a:lnTo>
                      <a:pt x="0" y="46"/>
                    </a:lnTo>
                    <a:lnTo>
                      <a:pt x="1" y="42"/>
                    </a:lnTo>
                    <a:lnTo>
                      <a:pt x="3" y="42"/>
                    </a:lnTo>
                    <a:lnTo>
                      <a:pt x="9" y="33"/>
                    </a:lnTo>
                    <a:lnTo>
                      <a:pt x="12" y="35"/>
                    </a:lnTo>
                    <a:lnTo>
                      <a:pt x="18" y="33"/>
                    </a:lnTo>
                    <a:lnTo>
                      <a:pt x="19" y="35"/>
                    </a:lnTo>
                    <a:lnTo>
                      <a:pt x="23" y="35"/>
                    </a:lnTo>
                    <a:lnTo>
                      <a:pt x="26" y="35"/>
                    </a:lnTo>
                    <a:lnTo>
                      <a:pt x="25" y="32"/>
                    </a:lnTo>
                    <a:lnTo>
                      <a:pt x="26" y="32"/>
                    </a:lnTo>
                    <a:lnTo>
                      <a:pt x="28" y="33"/>
                    </a:lnTo>
                    <a:lnTo>
                      <a:pt x="28" y="33"/>
                    </a:lnTo>
                    <a:lnTo>
                      <a:pt x="46" y="33"/>
                    </a:lnTo>
                    <a:lnTo>
                      <a:pt x="46" y="32"/>
                    </a:lnTo>
                    <a:lnTo>
                      <a:pt x="43" y="32"/>
                    </a:lnTo>
                    <a:lnTo>
                      <a:pt x="43" y="30"/>
                    </a:lnTo>
                    <a:lnTo>
                      <a:pt x="46" y="28"/>
                    </a:lnTo>
                    <a:lnTo>
                      <a:pt x="59" y="28"/>
                    </a:lnTo>
                    <a:lnTo>
                      <a:pt x="59" y="26"/>
                    </a:lnTo>
                    <a:lnTo>
                      <a:pt x="57" y="26"/>
                    </a:lnTo>
                    <a:lnTo>
                      <a:pt x="55" y="26"/>
                    </a:lnTo>
                    <a:lnTo>
                      <a:pt x="50" y="26"/>
                    </a:lnTo>
                    <a:lnTo>
                      <a:pt x="50" y="25"/>
                    </a:lnTo>
                    <a:lnTo>
                      <a:pt x="48" y="25"/>
                    </a:lnTo>
                    <a:lnTo>
                      <a:pt x="48" y="23"/>
                    </a:lnTo>
                    <a:lnTo>
                      <a:pt x="46" y="21"/>
                    </a:lnTo>
                    <a:lnTo>
                      <a:pt x="48" y="17"/>
                    </a:lnTo>
                    <a:lnTo>
                      <a:pt x="50" y="17"/>
                    </a:lnTo>
                    <a:lnTo>
                      <a:pt x="51" y="17"/>
                    </a:lnTo>
                    <a:lnTo>
                      <a:pt x="55" y="19"/>
                    </a:lnTo>
                    <a:lnTo>
                      <a:pt x="69" y="19"/>
                    </a:lnTo>
                    <a:lnTo>
                      <a:pt x="71" y="21"/>
                    </a:lnTo>
                    <a:lnTo>
                      <a:pt x="73" y="21"/>
                    </a:lnTo>
                    <a:lnTo>
                      <a:pt x="78" y="21"/>
                    </a:lnTo>
                    <a:lnTo>
                      <a:pt x="84" y="19"/>
                    </a:lnTo>
                    <a:lnTo>
                      <a:pt x="85" y="16"/>
                    </a:lnTo>
                    <a:lnTo>
                      <a:pt x="116" y="0"/>
                    </a:lnTo>
                    <a:lnTo>
                      <a:pt x="137" y="1"/>
                    </a:lnTo>
                    <a:lnTo>
                      <a:pt x="141" y="0"/>
                    </a:lnTo>
                    <a:lnTo>
                      <a:pt x="143" y="0"/>
                    </a:lnTo>
                    <a:lnTo>
                      <a:pt x="144" y="0"/>
                    </a:lnTo>
                    <a:lnTo>
                      <a:pt x="144" y="1"/>
                    </a:lnTo>
                    <a:lnTo>
                      <a:pt x="146" y="5"/>
                    </a:lnTo>
                    <a:lnTo>
                      <a:pt x="155" y="8"/>
                    </a:lnTo>
                    <a:lnTo>
                      <a:pt x="159" y="7"/>
                    </a:lnTo>
                    <a:lnTo>
                      <a:pt x="162" y="16"/>
                    </a:lnTo>
                    <a:lnTo>
                      <a:pt x="171" y="16"/>
                    </a:lnTo>
                    <a:lnTo>
                      <a:pt x="180" y="23"/>
                    </a:lnTo>
                    <a:lnTo>
                      <a:pt x="184" y="21"/>
                    </a:lnTo>
                    <a:lnTo>
                      <a:pt x="191" y="23"/>
                    </a:lnTo>
                    <a:lnTo>
                      <a:pt x="210" y="19"/>
                    </a:lnTo>
                    <a:lnTo>
                      <a:pt x="219" y="23"/>
                    </a:lnTo>
                    <a:lnTo>
                      <a:pt x="226" y="21"/>
                    </a:lnTo>
                    <a:lnTo>
                      <a:pt x="244" y="10"/>
                    </a:lnTo>
                    <a:lnTo>
                      <a:pt x="244" y="8"/>
                    </a:lnTo>
                    <a:lnTo>
                      <a:pt x="246" y="10"/>
                    </a:lnTo>
                    <a:lnTo>
                      <a:pt x="248" y="10"/>
                    </a:lnTo>
                    <a:lnTo>
                      <a:pt x="251" y="10"/>
                    </a:lnTo>
                    <a:lnTo>
                      <a:pt x="259" y="12"/>
                    </a:lnTo>
                    <a:lnTo>
                      <a:pt x="260" y="12"/>
                    </a:lnTo>
                    <a:lnTo>
                      <a:pt x="260" y="8"/>
                    </a:lnTo>
                    <a:lnTo>
                      <a:pt x="262" y="8"/>
                    </a:lnTo>
                    <a:lnTo>
                      <a:pt x="264" y="8"/>
                    </a:lnTo>
                    <a:lnTo>
                      <a:pt x="271" y="16"/>
                    </a:lnTo>
                    <a:lnTo>
                      <a:pt x="273" y="16"/>
                    </a:lnTo>
                    <a:lnTo>
                      <a:pt x="276" y="21"/>
                    </a:lnTo>
                    <a:lnTo>
                      <a:pt x="278" y="25"/>
                    </a:lnTo>
                    <a:lnTo>
                      <a:pt x="280" y="35"/>
                    </a:lnTo>
                    <a:lnTo>
                      <a:pt x="282" y="37"/>
                    </a:lnTo>
                    <a:lnTo>
                      <a:pt x="289" y="41"/>
                    </a:lnTo>
                    <a:lnTo>
                      <a:pt x="291" y="42"/>
                    </a:lnTo>
                    <a:lnTo>
                      <a:pt x="293" y="44"/>
                    </a:lnTo>
                    <a:lnTo>
                      <a:pt x="294" y="46"/>
                    </a:lnTo>
                    <a:lnTo>
                      <a:pt x="291" y="53"/>
                    </a:lnTo>
                    <a:lnTo>
                      <a:pt x="287" y="55"/>
                    </a:lnTo>
                    <a:lnTo>
                      <a:pt x="289" y="62"/>
                    </a:lnTo>
                    <a:lnTo>
                      <a:pt x="289" y="85"/>
                    </a:lnTo>
                    <a:lnTo>
                      <a:pt x="294" y="89"/>
                    </a:lnTo>
                    <a:lnTo>
                      <a:pt x="296" y="94"/>
                    </a:lnTo>
                    <a:lnTo>
                      <a:pt x="298" y="98"/>
                    </a:lnTo>
                    <a:lnTo>
                      <a:pt x="294" y="100"/>
                    </a:lnTo>
                    <a:lnTo>
                      <a:pt x="291" y="100"/>
                    </a:lnTo>
                    <a:lnTo>
                      <a:pt x="289" y="96"/>
                    </a:lnTo>
                    <a:lnTo>
                      <a:pt x="275" y="96"/>
                    </a:lnTo>
                    <a:lnTo>
                      <a:pt x="268" y="94"/>
                    </a:lnTo>
                    <a:lnTo>
                      <a:pt x="260" y="100"/>
                    </a:lnTo>
                    <a:lnTo>
                      <a:pt x="259" y="100"/>
                    </a:lnTo>
                    <a:lnTo>
                      <a:pt x="259" y="100"/>
                    </a:lnTo>
                    <a:lnTo>
                      <a:pt x="259" y="98"/>
                    </a:lnTo>
                    <a:lnTo>
                      <a:pt x="257" y="98"/>
                    </a:lnTo>
                    <a:lnTo>
                      <a:pt x="257" y="98"/>
                    </a:lnTo>
                    <a:lnTo>
                      <a:pt x="253" y="100"/>
                    </a:lnTo>
                    <a:lnTo>
                      <a:pt x="248" y="101"/>
                    </a:lnTo>
                    <a:lnTo>
                      <a:pt x="239" y="101"/>
                    </a:lnTo>
                    <a:lnTo>
                      <a:pt x="235" y="101"/>
                    </a:lnTo>
                    <a:lnTo>
                      <a:pt x="228" y="103"/>
                    </a:lnTo>
                    <a:lnTo>
                      <a:pt x="223" y="107"/>
                    </a:lnTo>
                    <a:lnTo>
                      <a:pt x="219" y="107"/>
                    </a:lnTo>
                    <a:lnTo>
                      <a:pt x="218" y="108"/>
                    </a:lnTo>
                    <a:lnTo>
                      <a:pt x="209" y="110"/>
                    </a:lnTo>
                    <a:lnTo>
                      <a:pt x="200" y="108"/>
                    </a:lnTo>
                    <a:lnTo>
                      <a:pt x="196" y="105"/>
                    </a:lnTo>
                    <a:lnTo>
                      <a:pt x="194" y="105"/>
                    </a:lnTo>
                    <a:lnTo>
                      <a:pt x="191" y="105"/>
                    </a:lnTo>
                    <a:lnTo>
                      <a:pt x="182" y="110"/>
                    </a:lnTo>
                    <a:lnTo>
                      <a:pt x="180" y="110"/>
                    </a:lnTo>
                    <a:lnTo>
                      <a:pt x="176" y="110"/>
                    </a:lnTo>
                    <a:lnTo>
                      <a:pt x="175" y="110"/>
                    </a:lnTo>
                    <a:lnTo>
                      <a:pt x="173" y="110"/>
                    </a:lnTo>
                    <a:lnTo>
                      <a:pt x="173" y="108"/>
                    </a:lnTo>
                    <a:lnTo>
                      <a:pt x="173" y="108"/>
                    </a:lnTo>
                    <a:lnTo>
                      <a:pt x="171" y="108"/>
                    </a:lnTo>
                    <a:lnTo>
                      <a:pt x="169" y="107"/>
                    </a:lnTo>
                    <a:lnTo>
                      <a:pt x="168" y="107"/>
                    </a:lnTo>
                    <a:lnTo>
                      <a:pt x="166" y="110"/>
                    </a:lnTo>
                    <a:lnTo>
                      <a:pt x="166" y="110"/>
                    </a:lnTo>
                    <a:lnTo>
                      <a:pt x="166" y="112"/>
                    </a:lnTo>
                    <a:lnTo>
                      <a:pt x="166" y="114"/>
                    </a:lnTo>
                    <a:lnTo>
                      <a:pt x="168" y="117"/>
                    </a:lnTo>
                    <a:lnTo>
                      <a:pt x="168" y="119"/>
                    </a:lnTo>
                    <a:lnTo>
                      <a:pt x="168" y="119"/>
                    </a:lnTo>
                    <a:lnTo>
                      <a:pt x="166" y="119"/>
                    </a:lnTo>
                    <a:lnTo>
                      <a:pt x="162" y="119"/>
                    </a:lnTo>
                    <a:lnTo>
                      <a:pt x="162" y="123"/>
                    </a:lnTo>
                    <a:lnTo>
                      <a:pt x="160" y="125"/>
                    </a:lnTo>
                    <a:lnTo>
                      <a:pt x="160" y="125"/>
                    </a:lnTo>
                    <a:lnTo>
                      <a:pt x="159" y="126"/>
                    </a:lnTo>
                    <a:lnTo>
                      <a:pt x="157" y="126"/>
                    </a:lnTo>
                    <a:lnTo>
                      <a:pt x="157" y="125"/>
                    </a:lnTo>
                    <a:lnTo>
                      <a:pt x="155" y="125"/>
                    </a:lnTo>
                    <a:lnTo>
                      <a:pt x="157" y="12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10" name="Freeform 3065"/>
              <p:cNvSpPr>
                <a:spLocks/>
              </p:cNvSpPr>
              <p:nvPr/>
            </p:nvSpPr>
            <p:spPr bwMode="auto">
              <a:xfrm>
                <a:off x="3669" y="2079"/>
                <a:ext cx="270" cy="245"/>
              </a:xfrm>
              <a:custGeom>
                <a:avLst/>
                <a:gdLst>
                  <a:gd name="T0" fmla="*/ 39 w 270"/>
                  <a:gd name="T1" fmla="*/ 187 h 245"/>
                  <a:gd name="T2" fmla="*/ 16 w 270"/>
                  <a:gd name="T3" fmla="*/ 159 h 245"/>
                  <a:gd name="T4" fmla="*/ 29 w 270"/>
                  <a:gd name="T5" fmla="*/ 145 h 245"/>
                  <a:gd name="T6" fmla="*/ 56 w 270"/>
                  <a:gd name="T7" fmla="*/ 141 h 245"/>
                  <a:gd name="T8" fmla="*/ 88 w 270"/>
                  <a:gd name="T9" fmla="*/ 132 h 245"/>
                  <a:gd name="T10" fmla="*/ 95 w 270"/>
                  <a:gd name="T11" fmla="*/ 112 h 245"/>
                  <a:gd name="T12" fmla="*/ 111 w 270"/>
                  <a:gd name="T13" fmla="*/ 109 h 245"/>
                  <a:gd name="T14" fmla="*/ 116 w 270"/>
                  <a:gd name="T15" fmla="*/ 102 h 245"/>
                  <a:gd name="T16" fmla="*/ 123 w 270"/>
                  <a:gd name="T17" fmla="*/ 100 h 245"/>
                  <a:gd name="T18" fmla="*/ 131 w 270"/>
                  <a:gd name="T19" fmla="*/ 103 h 245"/>
                  <a:gd name="T20" fmla="*/ 138 w 270"/>
                  <a:gd name="T21" fmla="*/ 84 h 245"/>
                  <a:gd name="T22" fmla="*/ 143 w 270"/>
                  <a:gd name="T23" fmla="*/ 75 h 245"/>
                  <a:gd name="T24" fmla="*/ 150 w 270"/>
                  <a:gd name="T25" fmla="*/ 62 h 245"/>
                  <a:gd name="T26" fmla="*/ 163 w 270"/>
                  <a:gd name="T27" fmla="*/ 57 h 245"/>
                  <a:gd name="T28" fmla="*/ 164 w 270"/>
                  <a:gd name="T29" fmla="*/ 48 h 245"/>
                  <a:gd name="T30" fmla="*/ 173 w 270"/>
                  <a:gd name="T31" fmla="*/ 34 h 245"/>
                  <a:gd name="T32" fmla="*/ 166 w 270"/>
                  <a:gd name="T33" fmla="*/ 18 h 245"/>
                  <a:gd name="T34" fmla="*/ 175 w 270"/>
                  <a:gd name="T35" fmla="*/ 11 h 245"/>
                  <a:gd name="T36" fmla="*/ 181 w 270"/>
                  <a:gd name="T37" fmla="*/ 7 h 245"/>
                  <a:gd name="T38" fmla="*/ 191 w 270"/>
                  <a:gd name="T39" fmla="*/ 2 h 245"/>
                  <a:gd name="T40" fmla="*/ 213 w 270"/>
                  <a:gd name="T41" fmla="*/ 2 h 245"/>
                  <a:gd name="T42" fmla="*/ 222 w 270"/>
                  <a:gd name="T43" fmla="*/ 0 h 245"/>
                  <a:gd name="T44" fmla="*/ 232 w 270"/>
                  <a:gd name="T45" fmla="*/ 0 h 245"/>
                  <a:gd name="T46" fmla="*/ 243 w 270"/>
                  <a:gd name="T47" fmla="*/ 7 h 245"/>
                  <a:gd name="T48" fmla="*/ 241 w 270"/>
                  <a:gd name="T49" fmla="*/ 16 h 245"/>
                  <a:gd name="T50" fmla="*/ 248 w 270"/>
                  <a:gd name="T51" fmla="*/ 21 h 245"/>
                  <a:gd name="T52" fmla="*/ 263 w 270"/>
                  <a:gd name="T53" fmla="*/ 28 h 245"/>
                  <a:gd name="T54" fmla="*/ 259 w 270"/>
                  <a:gd name="T55" fmla="*/ 39 h 245"/>
                  <a:gd name="T56" fmla="*/ 248 w 270"/>
                  <a:gd name="T57" fmla="*/ 43 h 245"/>
                  <a:gd name="T58" fmla="*/ 241 w 270"/>
                  <a:gd name="T59" fmla="*/ 45 h 245"/>
                  <a:gd name="T60" fmla="*/ 234 w 270"/>
                  <a:gd name="T61" fmla="*/ 46 h 245"/>
                  <a:gd name="T62" fmla="*/ 213 w 270"/>
                  <a:gd name="T63" fmla="*/ 43 h 245"/>
                  <a:gd name="T64" fmla="*/ 207 w 270"/>
                  <a:gd name="T65" fmla="*/ 50 h 245"/>
                  <a:gd name="T66" fmla="*/ 209 w 270"/>
                  <a:gd name="T67" fmla="*/ 55 h 245"/>
                  <a:gd name="T68" fmla="*/ 214 w 270"/>
                  <a:gd name="T69" fmla="*/ 59 h 245"/>
                  <a:gd name="T70" fmla="*/ 214 w 270"/>
                  <a:gd name="T71" fmla="*/ 70 h 245"/>
                  <a:gd name="T72" fmla="*/ 216 w 270"/>
                  <a:gd name="T73" fmla="*/ 80 h 245"/>
                  <a:gd name="T74" fmla="*/ 223 w 270"/>
                  <a:gd name="T75" fmla="*/ 87 h 245"/>
                  <a:gd name="T76" fmla="*/ 232 w 270"/>
                  <a:gd name="T77" fmla="*/ 91 h 245"/>
                  <a:gd name="T78" fmla="*/ 225 w 270"/>
                  <a:gd name="T79" fmla="*/ 95 h 245"/>
                  <a:gd name="T80" fmla="*/ 222 w 270"/>
                  <a:gd name="T81" fmla="*/ 107 h 245"/>
                  <a:gd name="T82" fmla="*/ 220 w 270"/>
                  <a:gd name="T83" fmla="*/ 112 h 245"/>
                  <a:gd name="T84" fmla="*/ 222 w 270"/>
                  <a:gd name="T85" fmla="*/ 114 h 245"/>
                  <a:gd name="T86" fmla="*/ 209 w 270"/>
                  <a:gd name="T87" fmla="*/ 127 h 245"/>
                  <a:gd name="T88" fmla="*/ 202 w 270"/>
                  <a:gd name="T89" fmla="*/ 136 h 245"/>
                  <a:gd name="T90" fmla="*/ 166 w 270"/>
                  <a:gd name="T91" fmla="*/ 171 h 245"/>
                  <a:gd name="T92" fmla="*/ 156 w 270"/>
                  <a:gd name="T93" fmla="*/ 170 h 245"/>
                  <a:gd name="T94" fmla="*/ 141 w 270"/>
                  <a:gd name="T95" fmla="*/ 195 h 245"/>
                  <a:gd name="T96" fmla="*/ 150 w 270"/>
                  <a:gd name="T97" fmla="*/ 198 h 245"/>
                  <a:gd name="T98" fmla="*/ 156 w 270"/>
                  <a:gd name="T99" fmla="*/ 211 h 245"/>
                  <a:gd name="T100" fmla="*/ 163 w 270"/>
                  <a:gd name="T101" fmla="*/ 225 h 245"/>
                  <a:gd name="T102" fmla="*/ 163 w 270"/>
                  <a:gd name="T103" fmla="*/ 232 h 245"/>
                  <a:gd name="T104" fmla="*/ 161 w 270"/>
                  <a:gd name="T105" fmla="*/ 236 h 245"/>
                  <a:gd name="T106" fmla="*/ 157 w 270"/>
                  <a:gd name="T107" fmla="*/ 234 h 245"/>
                  <a:gd name="T108" fmla="*/ 141 w 270"/>
                  <a:gd name="T109" fmla="*/ 236 h 245"/>
                  <a:gd name="T110" fmla="*/ 129 w 270"/>
                  <a:gd name="T111" fmla="*/ 236 h 245"/>
                  <a:gd name="T112" fmla="*/ 122 w 270"/>
                  <a:gd name="T113" fmla="*/ 241 h 245"/>
                  <a:gd name="T114" fmla="*/ 114 w 270"/>
                  <a:gd name="T115" fmla="*/ 245 h 245"/>
                  <a:gd name="T116" fmla="*/ 102 w 270"/>
                  <a:gd name="T117" fmla="*/ 230 h 245"/>
                  <a:gd name="T118" fmla="*/ 89 w 270"/>
                  <a:gd name="T119" fmla="*/ 216 h 245"/>
                  <a:gd name="T120" fmla="*/ 56 w 270"/>
                  <a:gd name="T121" fmla="*/ 220 h 245"/>
                  <a:gd name="T122" fmla="*/ 23 w 270"/>
                  <a:gd name="T123" fmla="*/ 221 h 245"/>
                  <a:gd name="T124" fmla="*/ 13 w 270"/>
                  <a:gd name="T125" fmla="*/ 22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0" h="245">
                    <a:moveTo>
                      <a:pt x="13" y="220"/>
                    </a:moveTo>
                    <a:lnTo>
                      <a:pt x="16" y="203"/>
                    </a:lnTo>
                    <a:lnTo>
                      <a:pt x="23" y="198"/>
                    </a:lnTo>
                    <a:lnTo>
                      <a:pt x="36" y="193"/>
                    </a:lnTo>
                    <a:lnTo>
                      <a:pt x="39" y="189"/>
                    </a:lnTo>
                    <a:lnTo>
                      <a:pt x="39" y="187"/>
                    </a:lnTo>
                    <a:lnTo>
                      <a:pt x="39" y="186"/>
                    </a:lnTo>
                    <a:lnTo>
                      <a:pt x="38" y="184"/>
                    </a:lnTo>
                    <a:lnTo>
                      <a:pt x="32" y="182"/>
                    </a:lnTo>
                    <a:lnTo>
                      <a:pt x="31" y="166"/>
                    </a:lnTo>
                    <a:lnTo>
                      <a:pt x="29" y="164"/>
                    </a:lnTo>
                    <a:lnTo>
                      <a:pt x="16" y="159"/>
                    </a:lnTo>
                    <a:lnTo>
                      <a:pt x="13" y="157"/>
                    </a:lnTo>
                    <a:lnTo>
                      <a:pt x="7" y="145"/>
                    </a:lnTo>
                    <a:lnTo>
                      <a:pt x="0" y="137"/>
                    </a:lnTo>
                    <a:lnTo>
                      <a:pt x="2" y="136"/>
                    </a:lnTo>
                    <a:lnTo>
                      <a:pt x="27" y="145"/>
                    </a:lnTo>
                    <a:lnTo>
                      <a:pt x="29" y="145"/>
                    </a:lnTo>
                    <a:lnTo>
                      <a:pt x="29" y="143"/>
                    </a:lnTo>
                    <a:lnTo>
                      <a:pt x="48" y="143"/>
                    </a:lnTo>
                    <a:lnTo>
                      <a:pt x="52" y="145"/>
                    </a:lnTo>
                    <a:lnTo>
                      <a:pt x="54" y="143"/>
                    </a:lnTo>
                    <a:lnTo>
                      <a:pt x="54" y="143"/>
                    </a:lnTo>
                    <a:lnTo>
                      <a:pt x="56" y="141"/>
                    </a:lnTo>
                    <a:lnTo>
                      <a:pt x="57" y="141"/>
                    </a:lnTo>
                    <a:lnTo>
                      <a:pt x="68" y="141"/>
                    </a:lnTo>
                    <a:lnTo>
                      <a:pt x="86" y="136"/>
                    </a:lnTo>
                    <a:lnTo>
                      <a:pt x="89" y="134"/>
                    </a:lnTo>
                    <a:lnTo>
                      <a:pt x="89" y="132"/>
                    </a:lnTo>
                    <a:lnTo>
                      <a:pt x="88" y="132"/>
                    </a:lnTo>
                    <a:lnTo>
                      <a:pt x="88" y="130"/>
                    </a:lnTo>
                    <a:lnTo>
                      <a:pt x="89" y="125"/>
                    </a:lnTo>
                    <a:lnTo>
                      <a:pt x="89" y="121"/>
                    </a:lnTo>
                    <a:lnTo>
                      <a:pt x="89" y="118"/>
                    </a:lnTo>
                    <a:lnTo>
                      <a:pt x="91" y="116"/>
                    </a:lnTo>
                    <a:lnTo>
                      <a:pt x="95" y="112"/>
                    </a:lnTo>
                    <a:lnTo>
                      <a:pt x="97" y="109"/>
                    </a:lnTo>
                    <a:lnTo>
                      <a:pt x="98" y="109"/>
                    </a:lnTo>
                    <a:lnTo>
                      <a:pt x="98" y="109"/>
                    </a:lnTo>
                    <a:lnTo>
                      <a:pt x="98" y="111"/>
                    </a:lnTo>
                    <a:lnTo>
                      <a:pt x="111" y="109"/>
                    </a:lnTo>
                    <a:lnTo>
                      <a:pt x="111" y="109"/>
                    </a:lnTo>
                    <a:lnTo>
                      <a:pt x="111" y="107"/>
                    </a:lnTo>
                    <a:lnTo>
                      <a:pt x="109" y="107"/>
                    </a:lnTo>
                    <a:lnTo>
                      <a:pt x="109" y="105"/>
                    </a:lnTo>
                    <a:lnTo>
                      <a:pt x="111" y="105"/>
                    </a:lnTo>
                    <a:lnTo>
                      <a:pt x="114" y="102"/>
                    </a:lnTo>
                    <a:lnTo>
                      <a:pt x="116" y="102"/>
                    </a:lnTo>
                    <a:lnTo>
                      <a:pt x="118" y="100"/>
                    </a:lnTo>
                    <a:lnTo>
                      <a:pt x="120" y="100"/>
                    </a:lnTo>
                    <a:lnTo>
                      <a:pt x="123" y="102"/>
                    </a:lnTo>
                    <a:lnTo>
                      <a:pt x="123" y="102"/>
                    </a:lnTo>
                    <a:lnTo>
                      <a:pt x="123" y="100"/>
                    </a:lnTo>
                    <a:lnTo>
                      <a:pt x="123" y="100"/>
                    </a:lnTo>
                    <a:lnTo>
                      <a:pt x="125" y="100"/>
                    </a:lnTo>
                    <a:lnTo>
                      <a:pt x="127" y="100"/>
                    </a:lnTo>
                    <a:lnTo>
                      <a:pt x="127" y="102"/>
                    </a:lnTo>
                    <a:lnTo>
                      <a:pt x="129" y="103"/>
                    </a:lnTo>
                    <a:lnTo>
                      <a:pt x="129" y="103"/>
                    </a:lnTo>
                    <a:lnTo>
                      <a:pt x="131" y="103"/>
                    </a:lnTo>
                    <a:lnTo>
                      <a:pt x="136" y="98"/>
                    </a:lnTo>
                    <a:lnTo>
                      <a:pt x="136" y="96"/>
                    </a:lnTo>
                    <a:lnTo>
                      <a:pt x="136" y="89"/>
                    </a:lnTo>
                    <a:lnTo>
                      <a:pt x="136" y="87"/>
                    </a:lnTo>
                    <a:lnTo>
                      <a:pt x="138" y="84"/>
                    </a:lnTo>
                    <a:lnTo>
                      <a:pt x="138" y="84"/>
                    </a:lnTo>
                    <a:lnTo>
                      <a:pt x="138" y="84"/>
                    </a:lnTo>
                    <a:lnTo>
                      <a:pt x="138" y="82"/>
                    </a:lnTo>
                    <a:lnTo>
                      <a:pt x="138" y="80"/>
                    </a:lnTo>
                    <a:lnTo>
                      <a:pt x="139" y="78"/>
                    </a:lnTo>
                    <a:lnTo>
                      <a:pt x="139" y="75"/>
                    </a:lnTo>
                    <a:lnTo>
                      <a:pt x="143" y="75"/>
                    </a:lnTo>
                    <a:lnTo>
                      <a:pt x="147" y="75"/>
                    </a:lnTo>
                    <a:lnTo>
                      <a:pt x="150" y="71"/>
                    </a:lnTo>
                    <a:lnTo>
                      <a:pt x="152" y="70"/>
                    </a:lnTo>
                    <a:lnTo>
                      <a:pt x="152" y="70"/>
                    </a:lnTo>
                    <a:lnTo>
                      <a:pt x="150" y="68"/>
                    </a:lnTo>
                    <a:lnTo>
                      <a:pt x="150" y="62"/>
                    </a:lnTo>
                    <a:lnTo>
                      <a:pt x="148" y="62"/>
                    </a:lnTo>
                    <a:lnTo>
                      <a:pt x="147" y="59"/>
                    </a:lnTo>
                    <a:lnTo>
                      <a:pt x="147" y="57"/>
                    </a:lnTo>
                    <a:lnTo>
                      <a:pt x="148" y="57"/>
                    </a:lnTo>
                    <a:lnTo>
                      <a:pt x="157" y="59"/>
                    </a:lnTo>
                    <a:lnTo>
                      <a:pt x="163" y="57"/>
                    </a:lnTo>
                    <a:lnTo>
                      <a:pt x="164" y="53"/>
                    </a:lnTo>
                    <a:lnTo>
                      <a:pt x="164" y="52"/>
                    </a:lnTo>
                    <a:lnTo>
                      <a:pt x="166" y="52"/>
                    </a:lnTo>
                    <a:lnTo>
                      <a:pt x="164" y="50"/>
                    </a:lnTo>
                    <a:lnTo>
                      <a:pt x="164" y="50"/>
                    </a:lnTo>
                    <a:lnTo>
                      <a:pt x="164" y="48"/>
                    </a:lnTo>
                    <a:lnTo>
                      <a:pt x="164" y="46"/>
                    </a:lnTo>
                    <a:lnTo>
                      <a:pt x="166" y="45"/>
                    </a:lnTo>
                    <a:lnTo>
                      <a:pt x="172" y="37"/>
                    </a:lnTo>
                    <a:lnTo>
                      <a:pt x="173" y="36"/>
                    </a:lnTo>
                    <a:lnTo>
                      <a:pt x="173" y="34"/>
                    </a:lnTo>
                    <a:lnTo>
                      <a:pt x="173" y="34"/>
                    </a:lnTo>
                    <a:lnTo>
                      <a:pt x="173" y="32"/>
                    </a:lnTo>
                    <a:lnTo>
                      <a:pt x="173" y="30"/>
                    </a:lnTo>
                    <a:lnTo>
                      <a:pt x="173" y="30"/>
                    </a:lnTo>
                    <a:lnTo>
                      <a:pt x="172" y="23"/>
                    </a:lnTo>
                    <a:lnTo>
                      <a:pt x="168" y="20"/>
                    </a:lnTo>
                    <a:lnTo>
                      <a:pt x="166" y="18"/>
                    </a:lnTo>
                    <a:lnTo>
                      <a:pt x="168" y="16"/>
                    </a:lnTo>
                    <a:lnTo>
                      <a:pt x="168" y="16"/>
                    </a:lnTo>
                    <a:lnTo>
                      <a:pt x="173" y="12"/>
                    </a:lnTo>
                    <a:lnTo>
                      <a:pt x="173" y="11"/>
                    </a:lnTo>
                    <a:lnTo>
                      <a:pt x="173" y="11"/>
                    </a:lnTo>
                    <a:lnTo>
                      <a:pt x="175" y="11"/>
                    </a:lnTo>
                    <a:lnTo>
                      <a:pt x="177" y="11"/>
                    </a:lnTo>
                    <a:lnTo>
                      <a:pt x="177" y="11"/>
                    </a:lnTo>
                    <a:lnTo>
                      <a:pt x="177" y="9"/>
                    </a:lnTo>
                    <a:lnTo>
                      <a:pt x="177" y="9"/>
                    </a:lnTo>
                    <a:lnTo>
                      <a:pt x="181" y="7"/>
                    </a:lnTo>
                    <a:lnTo>
                      <a:pt x="181" y="7"/>
                    </a:lnTo>
                    <a:lnTo>
                      <a:pt x="182" y="5"/>
                    </a:lnTo>
                    <a:lnTo>
                      <a:pt x="182" y="5"/>
                    </a:lnTo>
                    <a:lnTo>
                      <a:pt x="184" y="5"/>
                    </a:lnTo>
                    <a:lnTo>
                      <a:pt x="186" y="5"/>
                    </a:lnTo>
                    <a:lnTo>
                      <a:pt x="189" y="3"/>
                    </a:lnTo>
                    <a:lnTo>
                      <a:pt x="191" y="2"/>
                    </a:lnTo>
                    <a:lnTo>
                      <a:pt x="195" y="2"/>
                    </a:lnTo>
                    <a:lnTo>
                      <a:pt x="195" y="2"/>
                    </a:lnTo>
                    <a:lnTo>
                      <a:pt x="206" y="2"/>
                    </a:lnTo>
                    <a:lnTo>
                      <a:pt x="207" y="2"/>
                    </a:lnTo>
                    <a:lnTo>
                      <a:pt x="209" y="2"/>
                    </a:lnTo>
                    <a:lnTo>
                      <a:pt x="213" y="2"/>
                    </a:lnTo>
                    <a:lnTo>
                      <a:pt x="214" y="2"/>
                    </a:lnTo>
                    <a:lnTo>
                      <a:pt x="216" y="2"/>
                    </a:lnTo>
                    <a:lnTo>
                      <a:pt x="216" y="2"/>
                    </a:lnTo>
                    <a:lnTo>
                      <a:pt x="218" y="0"/>
                    </a:lnTo>
                    <a:lnTo>
                      <a:pt x="222" y="0"/>
                    </a:lnTo>
                    <a:lnTo>
                      <a:pt x="222" y="0"/>
                    </a:lnTo>
                    <a:lnTo>
                      <a:pt x="222" y="0"/>
                    </a:lnTo>
                    <a:lnTo>
                      <a:pt x="225" y="0"/>
                    </a:lnTo>
                    <a:lnTo>
                      <a:pt x="229" y="0"/>
                    </a:lnTo>
                    <a:lnTo>
                      <a:pt x="229" y="0"/>
                    </a:lnTo>
                    <a:lnTo>
                      <a:pt x="231" y="2"/>
                    </a:lnTo>
                    <a:lnTo>
                      <a:pt x="232" y="0"/>
                    </a:lnTo>
                    <a:lnTo>
                      <a:pt x="234" y="2"/>
                    </a:lnTo>
                    <a:lnTo>
                      <a:pt x="234" y="5"/>
                    </a:lnTo>
                    <a:lnTo>
                      <a:pt x="234" y="5"/>
                    </a:lnTo>
                    <a:lnTo>
                      <a:pt x="236" y="3"/>
                    </a:lnTo>
                    <a:lnTo>
                      <a:pt x="238" y="3"/>
                    </a:lnTo>
                    <a:lnTo>
                      <a:pt x="243" y="7"/>
                    </a:lnTo>
                    <a:lnTo>
                      <a:pt x="243" y="9"/>
                    </a:lnTo>
                    <a:lnTo>
                      <a:pt x="243" y="12"/>
                    </a:lnTo>
                    <a:lnTo>
                      <a:pt x="243" y="14"/>
                    </a:lnTo>
                    <a:lnTo>
                      <a:pt x="243" y="16"/>
                    </a:lnTo>
                    <a:lnTo>
                      <a:pt x="243" y="16"/>
                    </a:lnTo>
                    <a:lnTo>
                      <a:pt x="241" y="16"/>
                    </a:lnTo>
                    <a:lnTo>
                      <a:pt x="241" y="18"/>
                    </a:lnTo>
                    <a:lnTo>
                      <a:pt x="243" y="18"/>
                    </a:lnTo>
                    <a:lnTo>
                      <a:pt x="245" y="20"/>
                    </a:lnTo>
                    <a:lnTo>
                      <a:pt x="247" y="21"/>
                    </a:lnTo>
                    <a:lnTo>
                      <a:pt x="247" y="23"/>
                    </a:lnTo>
                    <a:lnTo>
                      <a:pt x="248" y="21"/>
                    </a:lnTo>
                    <a:lnTo>
                      <a:pt x="250" y="21"/>
                    </a:lnTo>
                    <a:lnTo>
                      <a:pt x="250" y="21"/>
                    </a:lnTo>
                    <a:lnTo>
                      <a:pt x="252" y="21"/>
                    </a:lnTo>
                    <a:lnTo>
                      <a:pt x="252" y="21"/>
                    </a:lnTo>
                    <a:lnTo>
                      <a:pt x="252" y="23"/>
                    </a:lnTo>
                    <a:lnTo>
                      <a:pt x="263" y="28"/>
                    </a:lnTo>
                    <a:lnTo>
                      <a:pt x="264" y="28"/>
                    </a:lnTo>
                    <a:lnTo>
                      <a:pt x="266" y="30"/>
                    </a:lnTo>
                    <a:lnTo>
                      <a:pt x="270" y="30"/>
                    </a:lnTo>
                    <a:lnTo>
                      <a:pt x="259" y="37"/>
                    </a:lnTo>
                    <a:lnTo>
                      <a:pt x="259" y="39"/>
                    </a:lnTo>
                    <a:lnTo>
                      <a:pt x="259" y="39"/>
                    </a:lnTo>
                    <a:lnTo>
                      <a:pt x="259" y="41"/>
                    </a:lnTo>
                    <a:lnTo>
                      <a:pt x="257" y="43"/>
                    </a:lnTo>
                    <a:lnTo>
                      <a:pt x="257" y="45"/>
                    </a:lnTo>
                    <a:lnTo>
                      <a:pt x="256" y="43"/>
                    </a:lnTo>
                    <a:lnTo>
                      <a:pt x="254" y="43"/>
                    </a:lnTo>
                    <a:lnTo>
                      <a:pt x="248" y="43"/>
                    </a:lnTo>
                    <a:lnTo>
                      <a:pt x="248" y="43"/>
                    </a:lnTo>
                    <a:lnTo>
                      <a:pt x="247" y="45"/>
                    </a:lnTo>
                    <a:lnTo>
                      <a:pt x="247" y="45"/>
                    </a:lnTo>
                    <a:lnTo>
                      <a:pt x="245" y="46"/>
                    </a:lnTo>
                    <a:lnTo>
                      <a:pt x="243" y="45"/>
                    </a:lnTo>
                    <a:lnTo>
                      <a:pt x="241" y="45"/>
                    </a:lnTo>
                    <a:lnTo>
                      <a:pt x="241" y="46"/>
                    </a:lnTo>
                    <a:lnTo>
                      <a:pt x="239" y="48"/>
                    </a:lnTo>
                    <a:lnTo>
                      <a:pt x="239" y="48"/>
                    </a:lnTo>
                    <a:lnTo>
                      <a:pt x="238" y="46"/>
                    </a:lnTo>
                    <a:lnTo>
                      <a:pt x="236" y="48"/>
                    </a:lnTo>
                    <a:lnTo>
                      <a:pt x="234" y="46"/>
                    </a:lnTo>
                    <a:lnTo>
                      <a:pt x="231" y="46"/>
                    </a:lnTo>
                    <a:lnTo>
                      <a:pt x="231" y="46"/>
                    </a:lnTo>
                    <a:lnTo>
                      <a:pt x="229" y="46"/>
                    </a:lnTo>
                    <a:lnTo>
                      <a:pt x="216" y="41"/>
                    </a:lnTo>
                    <a:lnTo>
                      <a:pt x="214" y="41"/>
                    </a:lnTo>
                    <a:lnTo>
                      <a:pt x="213" y="43"/>
                    </a:lnTo>
                    <a:lnTo>
                      <a:pt x="211" y="43"/>
                    </a:lnTo>
                    <a:lnTo>
                      <a:pt x="211" y="43"/>
                    </a:lnTo>
                    <a:lnTo>
                      <a:pt x="209" y="43"/>
                    </a:lnTo>
                    <a:lnTo>
                      <a:pt x="209" y="46"/>
                    </a:lnTo>
                    <a:lnTo>
                      <a:pt x="207" y="50"/>
                    </a:lnTo>
                    <a:lnTo>
                      <a:pt x="207" y="50"/>
                    </a:lnTo>
                    <a:lnTo>
                      <a:pt x="209" y="50"/>
                    </a:lnTo>
                    <a:lnTo>
                      <a:pt x="211" y="52"/>
                    </a:lnTo>
                    <a:lnTo>
                      <a:pt x="211" y="53"/>
                    </a:lnTo>
                    <a:lnTo>
                      <a:pt x="209" y="53"/>
                    </a:lnTo>
                    <a:lnTo>
                      <a:pt x="209" y="55"/>
                    </a:lnTo>
                    <a:lnTo>
                      <a:pt x="209" y="55"/>
                    </a:lnTo>
                    <a:lnTo>
                      <a:pt x="209" y="57"/>
                    </a:lnTo>
                    <a:lnTo>
                      <a:pt x="211" y="57"/>
                    </a:lnTo>
                    <a:lnTo>
                      <a:pt x="214" y="57"/>
                    </a:lnTo>
                    <a:lnTo>
                      <a:pt x="214" y="57"/>
                    </a:lnTo>
                    <a:lnTo>
                      <a:pt x="214" y="59"/>
                    </a:lnTo>
                    <a:lnTo>
                      <a:pt x="214" y="59"/>
                    </a:lnTo>
                    <a:lnTo>
                      <a:pt x="213" y="61"/>
                    </a:lnTo>
                    <a:lnTo>
                      <a:pt x="211" y="61"/>
                    </a:lnTo>
                    <a:lnTo>
                      <a:pt x="211" y="62"/>
                    </a:lnTo>
                    <a:lnTo>
                      <a:pt x="214" y="66"/>
                    </a:lnTo>
                    <a:lnTo>
                      <a:pt x="214" y="68"/>
                    </a:lnTo>
                    <a:lnTo>
                      <a:pt x="214" y="70"/>
                    </a:lnTo>
                    <a:lnTo>
                      <a:pt x="211" y="71"/>
                    </a:lnTo>
                    <a:lnTo>
                      <a:pt x="211" y="73"/>
                    </a:lnTo>
                    <a:lnTo>
                      <a:pt x="213" y="73"/>
                    </a:lnTo>
                    <a:lnTo>
                      <a:pt x="213" y="77"/>
                    </a:lnTo>
                    <a:lnTo>
                      <a:pt x="216" y="78"/>
                    </a:lnTo>
                    <a:lnTo>
                      <a:pt x="216" y="80"/>
                    </a:lnTo>
                    <a:lnTo>
                      <a:pt x="218" y="80"/>
                    </a:lnTo>
                    <a:lnTo>
                      <a:pt x="220" y="82"/>
                    </a:lnTo>
                    <a:lnTo>
                      <a:pt x="220" y="80"/>
                    </a:lnTo>
                    <a:lnTo>
                      <a:pt x="222" y="80"/>
                    </a:lnTo>
                    <a:lnTo>
                      <a:pt x="222" y="84"/>
                    </a:lnTo>
                    <a:lnTo>
                      <a:pt x="223" y="87"/>
                    </a:lnTo>
                    <a:lnTo>
                      <a:pt x="223" y="87"/>
                    </a:lnTo>
                    <a:lnTo>
                      <a:pt x="229" y="87"/>
                    </a:lnTo>
                    <a:lnTo>
                      <a:pt x="231" y="89"/>
                    </a:lnTo>
                    <a:lnTo>
                      <a:pt x="231" y="87"/>
                    </a:lnTo>
                    <a:lnTo>
                      <a:pt x="232" y="91"/>
                    </a:lnTo>
                    <a:lnTo>
                      <a:pt x="232" y="91"/>
                    </a:lnTo>
                    <a:lnTo>
                      <a:pt x="232" y="93"/>
                    </a:lnTo>
                    <a:lnTo>
                      <a:pt x="232" y="95"/>
                    </a:lnTo>
                    <a:lnTo>
                      <a:pt x="231" y="95"/>
                    </a:lnTo>
                    <a:lnTo>
                      <a:pt x="229" y="96"/>
                    </a:lnTo>
                    <a:lnTo>
                      <a:pt x="227" y="95"/>
                    </a:lnTo>
                    <a:lnTo>
                      <a:pt x="225" y="95"/>
                    </a:lnTo>
                    <a:lnTo>
                      <a:pt x="225" y="96"/>
                    </a:lnTo>
                    <a:lnTo>
                      <a:pt x="222" y="98"/>
                    </a:lnTo>
                    <a:lnTo>
                      <a:pt x="220" y="100"/>
                    </a:lnTo>
                    <a:lnTo>
                      <a:pt x="220" y="103"/>
                    </a:lnTo>
                    <a:lnTo>
                      <a:pt x="222" y="105"/>
                    </a:lnTo>
                    <a:lnTo>
                      <a:pt x="222" y="107"/>
                    </a:lnTo>
                    <a:lnTo>
                      <a:pt x="222" y="107"/>
                    </a:lnTo>
                    <a:lnTo>
                      <a:pt x="223" y="107"/>
                    </a:lnTo>
                    <a:lnTo>
                      <a:pt x="222" y="109"/>
                    </a:lnTo>
                    <a:lnTo>
                      <a:pt x="220" y="109"/>
                    </a:lnTo>
                    <a:lnTo>
                      <a:pt x="220" y="111"/>
                    </a:lnTo>
                    <a:lnTo>
                      <a:pt x="220" y="112"/>
                    </a:lnTo>
                    <a:lnTo>
                      <a:pt x="222" y="112"/>
                    </a:lnTo>
                    <a:lnTo>
                      <a:pt x="223" y="112"/>
                    </a:lnTo>
                    <a:lnTo>
                      <a:pt x="225" y="114"/>
                    </a:lnTo>
                    <a:lnTo>
                      <a:pt x="223" y="114"/>
                    </a:lnTo>
                    <a:lnTo>
                      <a:pt x="223" y="116"/>
                    </a:lnTo>
                    <a:lnTo>
                      <a:pt x="222" y="114"/>
                    </a:lnTo>
                    <a:lnTo>
                      <a:pt x="222" y="114"/>
                    </a:lnTo>
                    <a:lnTo>
                      <a:pt x="220" y="116"/>
                    </a:lnTo>
                    <a:lnTo>
                      <a:pt x="216" y="118"/>
                    </a:lnTo>
                    <a:lnTo>
                      <a:pt x="213" y="123"/>
                    </a:lnTo>
                    <a:lnTo>
                      <a:pt x="211" y="123"/>
                    </a:lnTo>
                    <a:lnTo>
                      <a:pt x="209" y="127"/>
                    </a:lnTo>
                    <a:lnTo>
                      <a:pt x="209" y="128"/>
                    </a:lnTo>
                    <a:lnTo>
                      <a:pt x="209" y="130"/>
                    </a:lnTo>
                    <a:lnTo>
                      <a:pt x="207" y="132"/>
                    </a:lnTo>
                    <a:lnTo>
                      <a:pt x="206" y="134"/>
                    </a:lnTo>
                    <a:lnTo>
                      <a:pt x="204" y="134"/>
                    </a:lnTo>
                    <a:lnTo>
                      <a:pt x="202" y="136"/>
                    </a:lnTo>
                    <a:lnTo>
                      <a:pt x="191" y="153"/>
                    </a:lnTo>
                    <a:lnTo>
                      <a:pt x="188" y="155"/>
                    </a:lnTo>
                    <a:lnTo>
                      <a:pt x="175" y="171"/>
                    </a:lnTo>
                    <a:lnTo>
                      <a:pt x="173" y="171"/>
                    </a:lnTo>
                    <a:lnTo>
                      <a:pt x="173" y="173"/>
                    </a:lnTo>
                    <a:lnTo>
                      <a:pt x="166" y="171"/>
                    </a:lnTo>
                    <a:lnTo>
                      <a:pt x="163" y="173"/>
                    </a:lnTo>
                    <a:lnTo>
                      <a:pt x="161" y="175"/>
                    </a:lnTo>
                    <a:lnTo>
                      <a:pt x="161" y="175"/>
                    </a:lnTo>
                    <a:lnTo>
                      <a:pt x="159" y="175"/>
                    </a:lnTo>
                    <a:lnTo>
                      <a:pt x="157" y="170"/>
                    </a:lnTo>
                    <a:lnTo>
                      <a:pt x="156" y="170"/>
                    </a:lnTo>
                    <a:lnTo>
                      <a:pt x="154" y="170"/>
                    </a:lnTo>
                    <a:lnTo>
                      <a:pt x="141" y="184"/>
                    </a:lnTo>
                    <a:lnTo>
                      <a:pt x="139" y="191"/>
                    </a:lnTo>
                    <a:lnTo>
                      <a:pt x="139" y="193"/>
                    </a:lnTo>
                    <a:lnTo>
                      <a:pt x="139" y="195"/>
                    </a:lnTo>
                    <a:lnTo>
                      <a:pt x="141" y="195"/>
                    </a:lnTo>
                    <a:lnTo>
                      <a:pt x="143" y="195"/>
                    </a:lnTo>
                    <a:lnTo>
                      <a:pt x="145" y="196"/>
                    </a:lnTo>
                    <a:lnTo>
                      <a:pt x="148" y="196"/>
                    </a:lnTo>
                    <a:lnTo>
                      <a:pt x="150" y="196"/>
                    </a:lnTo>
                    <a:lnTo>
                      <a:pt x="150" y="196"/>
                    </a:lnTo>
                    <a:lnTo>
                      <a:pt x="150" y="198"/>
                    </a:lnTo>
                    <a:lnTo>
                      <a:pt x="148" y="205"/>
                    </a:lnTo>
                    <a:lnTo>
                      <a:pt x="148" y="207"/>
                    </a:lnTo>
                    <a:lnTo>
                      <a:pt x="148" y="207"/>
                    </a:lnTo>
                    <a:lnTo>
                      <a:pt x="152" y="211"/>
                    </a:lnTo>
                    <a:lnTo>
                      <a:pt x="154" y="211"/>
                    </a:lnTo>
                    <a:lnTo>
                      <a:pt x="156" y="211"/>
                    </a:lnTo>
                    <a:lnTo>
                      <a:pt x="157" y="211"/>
                    </a:lnTo>
                    <a:lnTo>
                      <a:pt x="157" y="212"/>
                    </a:lnTo>
                    <a:lnTo>
                      <a:pt x="157" y="218"/>
                    </a:lnTo>
                    <a:lnTo>
                      <a:pt x="159" y="220"/>
                    </a:lnTo>
                    <a:lnTo>
                      <a:pt x="159" y="221"/>
                    </a:lnTo>
                    <a:lnTo>
                      <a:pt x="163" y="225"/>
                    </a:lnTo>
                    <a:lnTo>
                      <a:pt x="163" y="225"/>
                    </a:lnTo>
                    <a:lnTo>
                      <a:pt x="164" y="227"/>
                    </a:lnTo>
                    <a:lnTo>
                      <a:pt x="164" y="228"/>
                    </a:lnTo>
                    <a:lnTo>
                      <a:pt x="163" y="228"/>
                    </a:lnTo>
                    <a:lnTo>
                      <a:pt x="163" y="228"/>
                    </a:lnTo>
                    <a:lnTo>
                      <a:pt x="163" y="232"/>
                    </a:lnTo>
                    <a:lnTo>
                      <a:pt x="163" y="234"/>
                    </a:lnTo>
                    <a:lnTo>
                      <a:pt x="164" y="234"/>
                    </a:lnTo>
                    <a:lnTo>
                      <a:pt x="164" y="234"/>
                    </a:lnTo>
                    <a:lnTo>
                      <a:pt x="163" y="234"/>
                    </a:lnTo>
                    <a:lnTo>
                      <a:pt x="161" y="236"/>
                    </a:lnTo>
                    <a:lnTo>
                      <a:pt x="161" y="236"/>
                    </a:lnTo>
                    <a:lnTo>
                      <a:pt x="161" y="237"/>
                    </a:lnTo>
                    <a:lnTo>
                      <a:pt x="157" y="236"/>
                    </a:lnTo>
                    <a:lnTo>
                      <a:pt x="157" y="236"/>
                    </a:lnTo>
                    <a:lnTo>
                      <a:pt x="157" y="236"/>
                    </a:lnTo>
                    <a:lnTo>
                      <a:pt x="157" y="234"/>
                    </a:lnTo>
                    <a:lnTo>
                      <a:pt x="157" y="234"/>
                    </a:lnTo>
                    <a:lnTo>
                      <a:pt x="156" y="232"/>
                    </a:lnTo>
                    <a:lnTo>
                      <a:pt x="150" y="236"/>
                    </a:lnTo>
                    <a:lnTo>
                      <a:pt x="148" y="237"/>
                    </a:lnTo>
                    <a:lnTo>
                      <a:pt x="148" y="237"/>
                    </a:lnTo>
                    <a:lnTo>
                      <a:pt x="143" y="237"/>
                    </a:lnTo>
                    <a:lnTo>
                      <a:pt x="141" y="236"/>
                    </a:lnTo>
                    <a:lnTo>
                      <a:pt x="139" y="236"/>
                    </a:lnTo>
                    <a:lnTo>
                      <a:pt x="138" y="236"/>
                    </a:lnTo>
                    <a:lnTo>
                      <a:pt x="132" y="236"/>
                    </a:lnTo>
                    <a:lnTo>
                      <a:pt x="131" y="236"/>
                    </a:lnTo>
                    <a:lnTo>
                      <a:pt x="131" y="236"/>
                    </a:lnTo>
                    <a:lnTo>
                      <a:pt x="129" y="236"/>
                    </a:lnTo>
                    <a:lnTo>
                      <a:pt x="129" y="234"/>
                    </a:lnTo>
                    <a:lnTo>
                      <a:pt x="129" y="234"/>
                    </a:lnTo>
                    <a:lnTo>
                      <a:pt x="127" y="236"/>
                    </a:lnTo>
                    <a:lnTo>
                      <a:pt x="127" y="241"/>
                    </a:lnTo>
                    <a:lnTo>
                      <a:pt x="122" y="241"/>
                    </a:lnTo>
                    <a:lnTo>
                      <a:pt x="122" y="241"/>
                    </a:lnTo>
                    <a:lnTo>
                      <a:pt x="120" y="241"/>
                    </a:lnTo>
                    <a:lnTo>
                      <a:pt x="120" y="243"/>
                    </a:lnTo>
                    <a:lnTo>
                      <a:pt x="118" y="243"/>
                    </a:lnTo>
                    <a:lnTo>
                      <a:pt x="118" y="243"/>
                    </a:lnTo>
                    <a:lnTo>
                      <a:pt x="116" y="245"/>
                    </a:lnTo>
                    <a:lnTo>
                      <a:pt x="114" y="245"/>
                    </a:lnTo>
                    <a:lnTo>
                      <a:pt x="111" y="243"/>
                    </a:lnTo>
                    <a:lnTo>
                      <a:pt x="107" y="243"/>
                    </a:lnTo>
                    <a:lnTo>
                      <a:pt x="107" y="243"/>
                    </a:lnTo>
                    <a:lnTo>
                      <a:pt x="107" y="241"/>
                    </a:lnTo>
                    <a:lnTo>
                      <a:pt x="104" y="239"/>
                    </a:lnTo>
                    <a:lnTo>
                      <a:pt x="102" y="230"/>
                    </a:lnTo>
                    <a:lnTo>
                      <a:pt x="102" y="228"/>
                    </a:lnTo>
                    <a:lnTo>
                      <a:pt x="100" y="228"/>
                    </a:lnTo>
                    <a:lnTo>
                      <a:pt x="95" y="225"/>
                    </a:lnTo>
                    <a:lnTo>
                      <a:pt x="93" y="220"/>
                    </a:lnTo>
                    <a:lnTo>
                      <a:pt x="93" y="218"/>
                    </a:lnTo>
                    <a:lnTo>
                      <a:pt x="89" y="216"/>
                    </a:lnTo>
                    <a:lnTo>
                      <a:pt x="73" y="216"/>
                    </a:lnTo>
                    <a:lnTo>
                      <a:pt x="70" y="218"/>
                    </a:lnTo>
                    <a:lnTo>
                      <a:pt x="63" y="218"/>
                    </a:lnTo>
                    <a:lnTo>
                      <a:pt x="61" y="221"/>
                    </a:lnTo>
                    <a:lnTo>
                      <a:pt x="59" y="220"/>
                    </a:lnTo>
                    <a:lnTo>
                      <a:pt x="56" y="220"/>
                    </a:lnTo>
                    <a:lnTo>
                      <a:pt x="54" y="216"/>
                    </a:lnTo>
                    <a:lnTo>
                      <a:pt x="48" y="218"/>
                    </a:lnTo>
                    <a:lnTo>
                      <a:pt x="45" y="216"/>
                    </a:lnTo>
                    <a:lnTo>
                      <a:pt x="43" y="220"/>
                    </a:lnTo>
                    <a:lnTo>
                      <a:pt x="27" y="218"/>
                    </a:lnTo>
                    <a:lnTo>
                      <a:pt x="23" y="221"/>
                    </a:lnTo>
                    <a:lnTo>
                      <a:pt x="22" y="220"/>
                    </a:lnTo>
                    <a:lnTo>
                      <a:pt x="18" y="221"/>
                    </a:lnTo>
                    <a:lnTo>
                      <a:pt x="16" y="221"/>
                    </a:lnTo>
                    <a:lnTo>
                      <a:pt x="14" y="223"/>
                    </a:lnTo>
                    <a:lnTo>
                      <a:pt x="14" y="221"/>
                    </a:lnTo>
                    <a:lnTo>
                      <a:pt x="13" y="22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11" name="Freeform 3066"/>
              <p:cNvSpPr>
                <a:spLocks/>
              </p:cNvSpPr>
              <p:nvPr/>
            </p:nvSpPr>
            <p:spPr bwMode="auto">
              <a:xfrm>
                <a:off x="3669" y="2079"/>
                <a:ext cx="270" cy="245"/>
              </a:xfrm>
              <a:custGeom>
                <a:avLst/>
                <a:gdLst>
                  <a:gd name="T0" fmla="*/ 39 w 270"/>
                  <a:gd name="T1" fmla="*/ 187 h 245"/>
                  <a:gd name="T2" fmla="*/ 16 w 270"/>
                  <a:gd name="T3" fmla="*/ 159 h 245"/>
                  <a:gd name="T4" fmla="*/ 29 w 270"/>
                  <a:gd name="T5" fmla="*/ 145 h 245"/>
                  <a:gd name="T6" fmla="*/ 56 w 270"/>
                  <a:gd name="T7" fmla="*/ 141 h 245"/>
                  <a:gd name="T8" fmla="*/ 88 w 270"/>
                  <a:gd name="T9" fmla="*/ 132 h 245"/>
                  <a:gd name="T10" fmla="*/ 95 w 270"/>
                  <a:gd name="T11" fmla="*/ 112 h 245"/>
                  <a:gd name="T12" fmla="*/ 111 w 270"/>
                  <a:gd name="T13" fmla="*/ 109 h 245"/>
                  <a:gd name="T14" fmla="*/ 116 w 270"/>
                  <a:gd name="T15" fmla="*/ 102 h 245"/>
                  <a:gd name="T16" fmla="*/ 123 w 270"/>
                  <a:gd name="T17" fmla="*/ 100 h 245"/>
                  <a:gd name="T18" fmla="*/ 131 w 270"/>
                  <a:gd name="T19" fmla="*/ 103 h 245"/>
                  <a:gd name="T20" fmla="*/ 138 w 270"/>
                  <a:gd name="T21" fmla="*/ 84 h 245"/>
                  <a:gd name="T22" fmla="*/ 143 w 270"/>
                  <a:gd name="T23" fmla="*/ 75 h 245"/>
                  <a:gd name="T24" fmla="*/ 150 w 270"/>
                  <a:gd name="T25" fmla="*/ 62 h 245"/>
                  <a:gd name="T26" fmla="*/ 163 w 270"/>
                  <a:gd name="T27" fmla="*/ 57 h 245"/>
                  <a:gd name="T28" fmla="*/ 164 w 270"/>
                  <a:gd name="T29" fmla="*/ 48 h 245"/>
                  <a:gd name="T30" fmla="*/ 173 w 270"/>
                  <a:gd name="T31" fmla="*/ 34 h 245"/>
                  <a:gd name="T32" fmla="*/ 166 w 270"/>
                  <a:gd name="T33" fmla="*/ 18 h 245"/>
                  <a:gd name="T34" fmla="*/ 175 w 270"/>
                  <a:gd name="T35" fmla="*/ 11 h 245"/>
                  <a:gd name="T36" fmla="*/ 181 w 270"/>
                  <a:gd name="T37" fmla="*/ 7 h 245"/>
                  <a:gd name="T38" fmla="*/ 191 w 270"/>
                  <a:gd name="T39" fmla="*/ 2 h 245"/>
                  <a:gd name="T40" fmla="*/ 213 w 270"/>
                  <a:gd name="T41" fmla="*/ 2 h 245"/>
                  <a:gd name="T42" fmla="*/ 222 w 270"/>
                  <a:gd name="T43" fmla="*/ 0 h 245"/>
                  <a:gd name="T44" fmla="*/ 232 w 270"/>
                  <a:gd name="T45" fmla="*/ 0 h 245"/>
                  <a:gd name="T46" fmla="*/ 243 w 270"/>
                  <a:gd name="T47" fmla="*/ 7 h 245"/>
                  <a:gd name="T48" fmla="*/ 241 w 270"/>
                  <a:gd name="T49" fmla="*/ 16 h 245"/>
                  <a:gd name="T50" fmla="*/ 248 w 270"/>
                  <a:gd name="T51" fmla="*/ 21 h 245"/>
                  <a:gd name="T52" fmla="*/ 263 w 270"/>
                  <a:gd name="T53" fmla="*/ 28 h 245"/>
                  <a:gd name="T54" fmla="*/ 259 w 270"/>
                  <a:gd name="T55" fmla="*/ 39 h 245"/>
                  <a:gd name="T56" fmla="*/ 248 w 270"/>
                  <a:gd name="T57" fmla="*/ 43 h 245"/>
                  <a:gd name="T58" fmla="*/ 241 w 270"/>
                  <a:gd name="T59" fmla="*/ 45 h 245"/>
                  <a:gd name="T60" fmla="*/ 234 w 270"/>
                  <a:gd name="T61" fmla="*/ 46 h 245"/>
                  <a:gd name="T62" fmla="*/ 213 w 270"/>
                  <a:gd name="T63" fmla="*/ 43 h 245"/>
                  <a:gd name="T64" fmla="*/ 207 w 270"/>
                  <a:gd name="T65" fmla="*/ 50 h 245"/>
                  <a:gd name="T66" fmla="*/ 209 w 270"/>
                  <a:gd name="T67" fmla="*/ 55 h 245"/>
                  <a:gd name="T68" fmla="*/ 214 w 270"/>
                  <a:gd name="T69" fmla="*/ 59 h 245"/>
                  <a:gd name="T70" fmla="*/ 214 w 270"/>
                  <a:gd name="T71" fmla="*/ 70 h 245"/>
                  <a:gd name="T72" fmla="*/ 216 w 270"/>
                  <a:gd name="T73" fmla="*/ 80 h 245"/>
                  <a:gd name="T74" fmla="*/ 223 w 270"/>
                  <a:gd name="T75" fmla="*/ 87 h 245"/>
                  <a:gd name="T76" fmla="*/ 232 w 270"/>
                  <a:gd name="T77" fmla="*/ 91 h 245"/>
                  <a:gd name="T78" fmla="*/ 225 w 270"/>
                  <a:gd name="T79" fmla="*/ 95 h 245"/>
                  <a:gd name="T80" fmla="*/ 222 w 270"/>
                  <a:gd name="T81" fmla="*/ 107 h 245"/>
                  <a:gd name="T82" fmla="*/ 220 w 270"/>
                  <a:gd name="T83" fmla="*/ 112 h 245"/>
                  <a:gd name="T84" fmla="*/ 222 w 270"/>
                  <a:gd name="T85" fmla="*/ 114 h 245"/>
                  <a:gd name="T86" fmla="*/ 209 w 270"/>
                  <a:gd name="T87" fmla="*/ 127 h 245"/>
                  <a:gd name="T88" fmla="*/ 202 w 270"/>
                  <a:gd name="T89" fmla="*/ 136 h 245"/>
                  <a:gd name="T90" fmla="*/ 166 w 270"/>
                  <a:gd name="T91" fmla="*/ 171 h 245"/>
                  <a:gd name="T92" fmla="*/ 156 w 270"/>
                  <a:gd name="T93" fmla="*/ 170 h 245"/>
                  <a:gd name="T94" fmla="*/ 141 w 270"/>
                  <a:gd name="T95" fmla="*/ 195 h 245"/>
                  <a:gd name="T96" fmla="*/ 150 w 270"/>
                  <a:gd name="T97" fmla="*/ 198 h 245"/>
                  <a:gd name="T98" fmla="*/ 156 w 270"/>
                  <a:gd name="T99" fmla="*/ 211 h 245"/>
                  <a:gd name="T100" fmla="*/ 163 w 270"/>
                  <a:gd name="T101" fmla="*/ 225 h 245"/>
                  <a:gd name="T102" fmla="*/ 163 w 270"/>
                  <a:gd name="T103" fmla="*/ 232 h 245"/>
                  <a:gd name="T104" fmla="*/ 161 w 270"/>
                  <a:gd name="T105" fmla="*/ 236 h 245"/>
                  <a:gd name="T106" fmla="*/ 157 w 270"/>
                  <a:gd name="T107" fmla="*/ 234 h 245"/>
                  <a:gd name="T108" fmla="*/ 141 w 270"/>
                  <a:gd name="T109" fmla="*/ 236 h 245"/>
                  <a:gd name="T110" fmla="*/ 129 w 270"/>
                  <a:gd name="T111" fmla="*/ 236 h 245"/>
                  <a:gd name="T112" fmla="*/ 122 w 270"/>
                  <a:gd name="T113" fmla="*/ 241 h 245"/>
                  <a:gd name="T114" fmla="*/ 114 w 270"/>
                  <a:gd name="T115" fmla="*/ 245 h 245"/>
                  <a:gd name="T116" fmla="*/ 102 w 270"/>
                  <a:gd name="T117" fmla="*/ 230 h 245"/>
                  <a:gd name="T118" fmla="*/ 89 w 270"/>
                  <a:gd name="T119" fmla="*/ 216 h 245"/>
                  <a:gd name="T120" fmla="*/ 56 w 270"/>
                  <a:gd name="T121" fmla="*/ 220 h 245"/>
                  <a:gd name="T122" fmla="*/ 23 w 270"/>
                  <a:gd name="T123" fmla="*/ 221 h 245"/>
                  <a:gd name="T124" fmla="*/ 13 w 270"/>
                  <a:gd name="T125" fmla="*/ 22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0" h="245">
                    <a:moveTo>
                      <a:pt x="13" y="220"/>
                    </a:moveTo>
                    <a:lnTo>
                      <a:pt x="16" y="203"/>
                    </a:lnTo>
                    <a:lnTo>
                      <a:pt x="23" y="198"/>
                    </a:lnTo>
                    <a:lnTo>
                      <a:pt x="36" y="193"/>
                    </a:lnTo>
                    <a:lnTo>
                      <a:pt x="39" y="189"/>
                    </a:lnTo>
                    <a:lnTo>
                      <a:pt x="39" y="187"/>
                    </a:lnTo>
                    <a:lnTo>
                      <a:pt x="39" y="186"/>
                    </a:lnTo>
                    <a:lnTo>
                      <a:pt x="38" y="184"/>
                    </a:lnTo>
                    <a:lnTo>
                      <a:pt x="32" y="182"/>
                    </a:lnTo>
                    <a:lnTo>
                      <a:pt x="31" y="166"/>
                    </a:lnTo>
                    <a:lnTo>
                      <a:pt x="29" y="164"/>
                    </a:lnTo>
                    <a:lnTo>
                      <a:pt x="16" y="159"/>
                    </a:lnTo>
                    <a:lnTo>
                      <a:pt x="13" y="157"/>
                    </a:lnTo>
                    <a:lnTo>
                      <a:pt x="7" y="145"/>
                    </a:lnTo>
                    <a:lnTo>
                      <a:pt x="0" y="137"/>
                    </a:lnTo>
                    <a:lnTo>
                      <a:pt x="2" y="136"/>
                    </a:lnTo>
                    <a:lnTo>
                      <a:pt x="27" y="145"/>
                    </a:lnTo>
                    <a:lnTo>
                      <a:pt x="29" y="145"/>
                    </a:lnTo>
                    <a:lnTo>
                      <a:pt x="29" y="143"/>
                    </a:lnTo>
                    <a:lnTo>
                      <a:pt x="48" y="143"/>
                    </a:lnTo>
                    <a:lnTo>
                      <a:pt x="52" y="145"/>
                    </a:lnTo>
                    <a:lnTo>
                      <a:pt x="54" y="143"/>
                    </a:lnTo>
                    <a:lnTo>
                      <a:pt x="54" y="143"/>
                    </a:lnTo>
                    <a:lnTo>
                      <a:pt x="56" y="141"/>
                    </a:lnTo>
                    <a:lnTo>
                      <a:pt x="57" y="141"/>
                    </a:lnTo>
                    <a:lnTo>
                      <a:pt x="68" y="141"/>
                    </a:lnTo>
                    <a:lnTo>
                      <a:pt x="86" y="136"/>
                    </a:lnTo>
                    <a:lnTo>
                      <a:pt x="89" y="134"/>
                    </a:lnTo>
                    <a:lnTo>
                      <a:pt x="89" y="132"/>
                    </a:lnTo>
                    <a:lnTo>
                      <a:pt x="88" y="132"/>
                    </a:lnTo>
                    <a:lnTo>
                      <a:pt x="88" y="130"/>
                    </a:lnTo>
                    <a:lnTo>
                      <a:pt x="89" y="125"/>
                    </a:lnTo>
                    <a:lnTo>
                      <a:pt x="89" y="121"/>
                    </a:lnTo>
                    <a:lnTo>
                      <a:pt x="89" y="118"/>
                    </a:lnTo>
                    <a:lnTo>
                      <a:pt x="91" y="116"/>
                    </a:lnTo>
                    <a:lnTo>
                      <a:pt x="95" y="112"/>
                    </a:lnTo>
                    <a:lnTo>
                      <a:pt x="97" y="109"/>
                    </a:lnTo>
                    <a:lnTo>
                      <a:pt x="98" y="109"/>
                    </a:lnTo>
                    <a:lnTo>
                      <a:pt x="98" y="109"/>
                    </a:lnTo>
                    <a:lnTo>
                      <a:pt x="98" y="111"/>
                    </a:lnTo>
                    <a:lnTo>
                      <a:pt x="111" y="109"/>
                    </a:lnTo>
                    <a:lnTo>
                      <a:pt x="111" y="109"/>
                    </a:lnTo>
                    <a:lnTo>
                      <a:pt x="111" y="107"/>
                    </a:lnTo>
                    <a:lnTo>
                      <a:pt x="109" y="107"/>
                    </a:lnTo>
                    <a:lnTo>
                      <a:pt x="109" y="105"/>
                    </a:lnTo>
                    <a:lnTo>
                      <a:pt x="111" y="105"/>
                    </a:lnTo>
                    <a:lnTo>
                      <a:pt x="114" y="102"/>
                    </a:lnTo>
                    <a:lnTo>
                      <a:pt x="116" y="102"/>
                    </a:lnTo>
                    <a:lnTo>
                      <a:pt x="118" y="100"/>
                    </a:lnTo>
                    <a:lnTo>
                      <a:pt x="120" y="100"/>
                    </a:lnTo>
                    <a:lnTo>
                      <a:pt x="123" y="102"/>
                    </a:lnTo>
                    <a:lnTo>
                      <a:pt x="123" y="102"/>
                    </a:lnTo>
                    <a:lnTo>
                      <a:pt x="123" y="100"/>
                    </a:lnTo>
                    <a:lnTo>
                      <a:pt x="123" y="100"/>
                    </a:lnTo>
                    <a:lnTo>
                      <a:pt x="125" y="100"/>
                    </a:lnTo>
                    <a:lnTo>
                      <a:pt x="127" y="100"/>
                    </a:lnTo>
                    <a:lnTo>
                      <a:pt x="127" y="102"/>
                    </a:lnTo>
                    <a:lnTo>
                      <a:pt x="129" y="103"/>
                    </a:lnTo>
                    <a:lnTo>
                      <a:pt x="129" y="103"/>
                    </a:lnTo>
                    <a:lnTo>
                      <a:pt x="131" y="103"/>
                    </a:lnTo>
                    <a:lnTo>
                      <a:pt x="136" y="98"/>
                    </a:lnTo>
                    <a:lnTo>
                      <a:pt x="136" y="96"/>
                    </a:lnTo>
                    <a:lnTo>
                      <a:pt x="136" y="89"/>
                    </a:lnTo>
                    <a:lnTo>
                      <a:pt x="136" y="87"/>
                    </a:lnTo>
                    <a:lnTo>
                      <a:pt x="138" y="84"/>
                    </a:lnTo>
                    <a:lnTo>
                      <a:pt x="138" y="84"/>
                    </a:lnTo>
                    <a:lnTo>
                      <a:pt x="138" y="84"/>
                    </a:lnTo>
                    <a:lnTo>
                      <a:pt x="138" y="82"/>
                    </a:lnTo>
                    <a:lnTo>
                      <a:pt x="138" y="80"/>
                    </a:lnTo>
                    <a:lnTo>
                      <a:pt x="139" y="78"/>
                    </a:lnTo>
                    <a:lnTo>
                      <a:pt x="139" y="75"/>
                    </a:lnTo>
                    <a:lnTo>
                      <a:pt x="143" y="75"/>
                    </a:lnTo>
                    <a:lnTo>
                      <a:pt x="147" y="75"/>
                    </a:lnTo>
                    <a:lnTo>
                      <a:pt x="150" y="71"/>
                    </a:lnTo>
                    <a:lnTo>
                      <a:pt x="152" y="70"/>
                    </a:lnTo>
                    <a:lnTo>
                      <a:pt x="152" y="70"/>
                    </a:lnTo>
                    <a:lnTo>
                      <a:pt x="150" y="68"/>
                    </a:lnTo>
                    <a:lnTo>
                      <a:pt x="150" y="62"/>
                    </a:lnTo>
                    <a:lnTo>
                      <a:pt x="148" y="62"/>
                    </a:lnTo>
                    <a:lnTo>
                      <a:pt x="147" y="59"/>
                    </a:lnTo>
                    <a:lnTo>
                      <a:pt x="147" y="57"/>
                    </a:lnTo>
                    <a:lnTo>
                      <a:pt x="148" y="57"/>
                    </a:lnTo>
                    <a:lnTo>
                      <a:pt x="157" y="59"/>
                    </a:lnTo>
                    <a:lnTo>
                      <a:pt x="163" y="57"/>
                    </a:lnTo>
                    <a:lnTo>
                      <a:pt x="164" y="53"/>
                    </a:lnTo>
                    <a:lnTo>
                      <a:pt x="164" y="52"/>
                    </a:lnTo>
                    <a:lnTo>
                      <a:pt x="166" y="52"/>
                    </a:lnTo>
                    <a:lnTo>
                      <a:pt x="164" y="50"/>
                    </a:lnTo>
                    <a:lnTo>
                      <a:pt x="164" y="50"/>
                    </a:lnTo>
                    <a:lnTo>
                      <a:pt x="164" y="48"/>
                    </a:lnTo>
                    <a:lnTo>
                      <a:pt x="164" y="46"/>
                    </a:lnTo>
                    <a:lnTo>
                      <a:pt x="166" y="45"/>
                    </a:lnTo>
                    <a:lnTo>
                      <a:pt x="172" y="37"/>
                    </a:lnTo>
                    <a:lnTo>
                      <a:pt x="173" y="36"/>
                    </a:lnTo>
                    <a:lnTo>
                      <a:pt x="173" y="34"/>
                    </a:lnTo>
                    <a:lnTo>
                      <a:pt x="173" y="34"/>
                    </a:lnTo>
                    <a:lnTo>
                      <a:pt x="173" y="32"/>
                    </a:lnTo>
                    <a:lnTo>
                      <a:pt x="173" y="30"/>
                    </a:lnTo>
                    <a:lnTo>
                      <a:pt x="173" y="30"/>
                    </a:lnTo>
                    <a:lnTo>
                      <a:pt x="172" y="23"/>
                    </a:lnTo>
                    <a:lnTo>
                      <a:pt x="168" y="20"/>
                    </a:lnTo>
                    <a:lnTo>
                      <a:pt x="166" y="18"/>
                    </a:lnTo>
                    <a:lnTo>
                      <a:pt x="168" y="16"/>
                    </a:lnTo>
                    <a:lnTo>
                      <a:pt x="168" y="16"/>
                    </a:lnTo>
                    <a:lnTo>
                      <a:pt x="173" y="12"/>
                    </a:lnTo>
                    <a:lnTo>
                      <a:pt x="173" y="11"/>
                    </a:lnTo>
                    <a:lnTo>
                      <a:pt x="173" y="11"/>
                    </a:lnTo>
                    <a:lnTo>
                      <a:pt x="175" y="11"/>
                    </a:lnTo>
                    <a:lnTo>
                      <a:pt x="177" y="11"/>
                    </a:lnTo>
                    <a:lnTo>
                      <a:pt x="177" y="11"/>
                    </a:lnTo>
                    <a:lnTo>
                      <a:pt x="177" y="9"/>
                    </a:lnTo>
                    <a:lnTo>
                      <a:pt x="177" y="9"/>
                    </a:lnTo>
                    <a:lnTo>
                      <a:pt x="181" y="7"/>
                    </a:lnTo>
                    <a:lnTo>
                      <a:pt x="181" y="7"/>
                    </a:lnTo>
                    <a:lnTo>
                      <a:pt x="182" y="5"/>
                    </a:lnTo>
                    <a:lnTo>
                      <a:pt x="182" y="5"/>
                    </a:lnTo>
                    <a:lnTo>
                      <a:pt x="184" y="5"/>
                    </a:lnTo>
                    <a:lnTo>
                      <a:pt x="186" y="5"/>
                    </a:lnTo>
                    <a:lnTo>
                      <a:pt x="189" y="3"/>
                    </a:lnTo>
                    <a:lnTo>
                      <a:pt x="191" y="2"/>
                    </a:lnTo>
                    <a:lnTo>
                      <a:pt x="195" y="2"/>
                    </a:lnTo>
                    <a:lnTo>
                      <a:pt x="195" y="2"/>
                    </a:lnTo>
                    <a:lnTo>
                      <a:pt x="206" y="2"/>
                    </a:lnTo>
                    <a:lnTo>
                      <a:pt x="207" y="2"/>
                    </a:lnTo>
                    <a:lnTo>
                      <a:pt x="209" y="2"/>
                    </a:lnTo>
                    <a:lnTo>
                      <a:pt x="213" y="2"/>
                    </a:lnTo>
                    <a:lnTo>
                      <a:pt x="214" y="2"/>
                    </a:lnTo>
                    <a:lnTo>
                      <a:pt x="216" y="2"/>
                    </a:lnTo>
                    <a:lnTo>
                      <a:pt x="216" y="2"/>
                    </a:lnTo>
                    <a:lnTo>
                      <a:pt x="218" y="0"/>
                    </a:lnTo>
                    <a:lnTo>
                      <a:pt x="222" y="0"/>
                    </a:lnTo>
                    <a:lnTo>
                      <a:pt x="222" y="0"/>
                    </a:lnTo>
                    <a:lnTo>
                      <a:pt x="222" y="0"/>
                    </a:lnTo>
                    <a:lnTo>
                      <a:pt x="225" y="0"/>
                    </a:lnTo>
                    <a:lnTo>
                      <a:pt x="229" y="0"/>
                    </a:lnTo>
                    <a:lnTo>
                      <a:pt x="229" y="0"/>
                    </a:lnTo>
                    <a:lnTo>
                      <a:pt x="231" y="2"/>
                    </a:lnTo>
                    <a:lnTo>
                      <a:pt x="232" y="0"/>
                    </a:lnTo>
                    <a:lnTo>
                      <a:pt x="234" y="2"/>
                    </a:lnTo>
                    <a:lnTo>
                      <a:pt x="234" y="5"/>
                    </a:lnTo>
                    <a:lnTo>
                      <a:pt x="234" y="5"/>
                    </a:lnTo>
                    <a:lnTo>
                      <a:pt x="236" y="3"/>
                    </a:lnTo>
                    <a:lnTo>
                      <a:pt x="238" y="3"/>
                    </a:lnTo>
                    <a:lnTo>
                      <a:pt x="243" y="7"/>
                    </a:lnTo>
                    <a:lnTo>
                      <a:pt x="243" y="9"/>
                    </a:lnTo>
                    <a:lnTo>
                      <a:pt x="243" y="12"/>
                    </a:lnTo>
                    <a:lnTo>
                      <a:pt x="243" y="14"/>
                    </a:lnTo>
                    <a:lnTo>
                      <a:pt x="243" y="16"/>
                    </a:lnTo>
                    <a:lnTo>
                      <a:pt x="243" y="16"/>
                    </a:lnTo>
                    <a:lnTo>
                      <a:pt x="241" y="16"/>
                    </a:lnTo>
                    <a:lnTo>
                      <a:pt x="241" y="18"/>
                    </a:lnTo>
                    <a:lnTo>
                      <a:pt x="243" y="18"/>
                    </a:lnTo>
                    <a:lnTo>
                      <a:pt x="245" y="20"/>
                    </a:lnTo>
                    <a:lnTo>
                      <a:pt x="247" y="21"/>
                    </a:lnTo>
                    <a:lnTo>
                      <a:pt x="247" y="23"/>
                    </a:lnTo>
                    <a:lnTo>
                      <a:pt x="248" y="21"/>
                    </a:lnTo>
                    <a:lnTo>
                      <a:pt x="250" y="21"/>
                    </a:lnTo>
                    <a:lnTo>
                      <a:pt x="250" y="21"/>
                    </a:lnTo>
                    <a:lnTo>
                      <a:pt x="252" y="21"/>
                    </a:lnTo>
                    <a:lnTo>
                      <a:pt x="252" y="21"/>
                    </a:lnTo>
                    <a:lnTo>
                      <a:pt x="252" y="23"/>
                    </a:lnTo>
                    <a:lnTo>
                      <a:pt x="263" y="28"/>
                    </a:lnTo>
                    <a:lnTo>
                      <a:pt x="264" y="28"/>
                    </a:lnTo>
                    <a:lnTo>
                      <a:pt x="266" y="30"/>
                    </a:lnTo>
                    <a:lnTo>
                      <a:pt x="270" y="30"/>
                    </a:lnTo>
                    <a:lnTo>
                      <a:pt x="259" y="37"/>
                    </a:lnTo>
                    <a:lnTo>
                      <a:pt x="259" y="39"/>
                    </a:lnTo>
                    <a:lnTo>
                      <a:pt x="259" y="39"/>
                    </a:lnTo>
                    <a:lnTo>
                      <a:pt x="259" y="41"/>
                    </a:lnTo>
                    <a:lnTo>
                      <a:pt x="257" y="43"/>
                    </a:lnTo>
                    <a:lnTo>
                      <a:pt x="257" y="45"/>
                    </a:lnTo>
                    <a:lnTo>
                      <a:pt x="256" y="43"/>
                    </a:lnTo>
                    <a:lnTo>
                      <a:pt x="254" y="43"/>
                    </a:lnTo>
                    <a:lnTo>
                      <a:pt x="248" y="43"/>
                    </a:lnTo>
                    <a:lnTo>
                      <a:pt x="248" y="43"/>
                    </a:lnTo>
                    <a:lnTo>
                      <a:pt x="247" y="45"/>
                    </a:lnTo>
                    <a:lnTo>
                      <a:pt x="247" y="45"/>
                    </a:lnTo>
                    <a:lnTo>
                      <a:pt x="245" y="46"/>
                    </a:lnTo>
                    <a:lnTo>
                      <a:pt x="243" y="45"/>
                    </a:lnTo>
                    <a:lnTo>
                      <a:pt x="241" y="45"/>
                    </a:lnTo>
                    <a:lnTo>
                      <a:pt x="241" y="46"/>
                    </a:lnTo>
                    <a:lnTo>
                      <a:pt x="239" y="48"/>
                    </a:lnTo>
                    <a:lnTo>
                      <a:pt x="239" y="48"/>
                    </a:lnTo>
                    <a:lnTo>
                      <a:pt x="238" y="46"/>
                    </a:lnTo>
                    <a:lnTo>
                      <a:pt x="236" y="48"/>
                    </a:lnTo>
                    <a:lnTo>
                      <a:pt x="234" y="46"/>
                    </a:lnTo>
                    <a:lnTo>
                      <a:pt x="231" y="46"/>
                    </a:lnTo>
                    <a:lnTo>
                      <a:pt x="231" y="46"/>
                    </a:lnTo>
                    <a:lnTo>
                      <a:pt x="229" y="46"/>
                    </a:lnTo>
                    <a:lnTo>
                      <a:pt x="216" y="41"/>
                    </a:lnTo>
                    <a:lnTo>
                      <a:pt x="214" y="41"/>
                    </a:lnTo>
                    <a:lnTo>
                      <a:pt x="213" y="43"/>
                    </a:lnTo>
                    <a:lnTo>
                      <a:pt x="211" y="43"/>
                    </a:lnTo>
                    <a:lnTo>
                      <a:pt x="211" y="43"/>
                    </a:lnTo>
                    <a:lnTo>
                      <a:pt x="209" y="43"/>
                    </a:lnTo>
                    <a:lnTo>
                      <a:pt x="209" y="46"/>
                    </a:lnTo>
                    <a:lnTo>
                      <a:pt x="207" y="50"/>
                    </a:lnTo>
                    <a:lnTo>
                      <a:pt x="207" y="50"/>
                    </a:lnTo>
                    <a:lnTo>
                      <a:pt x="209" y="50"/>
                    </a:lnTo>
                    <a:lnTo>
                      <a:pt x="211" y="52"/>
                    </a:lnTo>
                    <a:lnTo>
                      <a:pt x="211" y="53"/>
                    </a:lnTo>
                    <a:lnTo>
                      <a:pt x="209" y="53"/>
                    </a:lnTo>
                    <a:lnTo>
                      <a:pt x="209" y="55"/>
                    </a:lnTo>
                    <a:lnTo>
                      <a:pt x="209" y="55"/>
                    </a:lnTo>
                    <a:lnTo>
                      <a:pt x="209" y="57"/>
                    </a:lnTo>
                    <a:lnTo>
                      <a:pt x="211" y="57"/>
                    </a:lnTo>
                    <a:lnTo>
                      <a:pt x="214" y="57"/>
                    </a:lnTo>
                    <a:lnTo>
                      <a:pt x="214" y="57"/>
                    </a:lnTo>
                    <a:lnTo>
                      <a:pt x="214" y="59"/>
                    </a:lnTo>
                    <a:lnTo>
                      <a:pt x="214" y="59"/>
                    </a:lnTo>
                    <a:lnTo>
                      <a:pt x="213" y="61"/>
                    </a:lnTo>
                    <a:lnTo>
                      <a:pt x="211" y="61"/>
                    </a:lnTo>
                    <a:lnTo>
                      <a:pt x="211" y="62"/>
                    </a:lnTo>
                    <a:lnTo>
                      <a:pt x="214" y="66"/>
                    </a:lnTo>
                    <a:lnTo>
                      <a:pt x="214" y="68"/>
                    </a:lnTo>
                    <a:lnTo>
                      <a:pt x="214" y="70"/>
                    </a:lnTo>
                    <a:lnTo>
                      <a:pt x="211" y="71"/>
                    </a:lnTo>
                    <a:lnTo>
                      <a:pt x="211" y="73"/>
                    </a:lnTo>
                    <a:lnTo>
                      <a:pt x="213" y="73"/>
                    </a:lnTo>
                    <a:lnTo>
                      <a:pt x="213" y="77"/>
                    </a:lnTo>
                    <a:lnTo>
                      <a:pt x="216" y="78"/>
                    </a:lnTo>
                    <a:lnTo>
                      <a:pt x="216" y="80"/>
                    </a:lnTo>
                    <a:lnTo>
                      <a:pt x="218" y="80"/>
                    </a:lnTo>
                    <a:lnTo>
                      <a:pt x="220" y="82"/>
                    </a:lnTo>
                    <a:lnTo>
                      <a:pt x="220" y="80"/>
                    </a:lnTo>
                    <a:lnTo>
                      <a:pt x="222" y="80"/>
                    </a:lnTo>
                    <a:lnTo>
                      <a:pt x="222" y="84"/>
                    </a:lnTo>
                    <a:lnTo>
                      <a:pt x="223" y="87"/>
                    </a:lnTo>
                    <a:lnTo>
                      <a:pt x="223" y="87"/>
                    </a:lnTo>
                    <a:lnTo>
                      <a:pt x="229" y="87"/>
                    </a:lnTo>
                    <a:lnTo>
                      <a:pt x="231" y="89"/>
                    </a:lnTo>
                    <a:lnTo>
                      <a:pt x="231" y="87"/>
                    </a:lnTo>
                    <a:lnTo>
                      <a:pt x="232" y="91"/>
                    </a:lnTo>
                    <a:lnTo>
                      <a:pt x="232" y="91"/>
                    </a:lnTo>
                    <a:lnTo>
                      <a:pt x="232" y="93"/>
                    </a:lnTo>
                    <a:lnTo>
                      <a:pt x="232" y="95"/>
                    </a:lnTo>
                    <a:lnTo>
                      <a:pt x="231" y="95"/>
                    </a:lnTo>
                    <a:lnTo>
                      <a:pt x="229" y="96"/>
                    </a:lnTo>
                    <a:lnTo>
                      <a:pt x="227" y="95"/>
                    </a:lnTo>
                    <a:lnTo>
                      <a:pt x="225" y="95"/>
                    </a:lnTo>
                    <a:lnTo>
                      <a:pt x="225" y="96"/>
                    </a:lnTo>
                    <a:lnTo>
                      <a:pt x="222" y="98"/>
                    </a:lnTo>
                    <a:lnTo>
                      <a:pt x="220" y="100"/>
                    </a:lnTo>
                    <a:lnTo>
                      <a:pt x="220" y="103"/>
                    </a:lnTo>
                    <a:lnTo>
                      <a:pt x="222" y="105"/>
                    </a:lnTo>
                    <a:lnTo>
                      <a:pt x="222" y="107"/>
                    </a:lnTo>
                    <a:lnTo>
                      <a:pt x="222" y="107"/>
                    </a:lnTo>
                    <a:lnTo>
                      <a:pt x="223" y="107"/>
                    </a:lnTo>
                    <a:lnTo>
                      <a:pt x="222" y="109"/>
                    </a:lnTo>
                    <a:lnTo>
                      <a:pt x="220" y="109"/>
                    </a:lnTo>
                    <a:lnTo>
                      <a:pt x="220" y="111"/>
                    </a:lnTo>
                    <a:lnTo>
                      <a:pt x="220" y="112"/>
                    </a:lnTo>
                    <a:lnTo>
                      <a:pt x="222" y="112"/>
                    </a:lnTo>
                    <a:lnTo>
                      <a:pt x="223" y="112"/>
                    </a:lnTo>
                    <a:lnTo>
                      <a:pt x="225" y="114"/>
                    </a:lnTo>
                    <a:lnTo>
                      <a:pt x="223" y="114"/>
                    </a:lnTo>
                    <a:lnTo>
                      <a:pt x="223" y="116"/>
                    </a:lnTo>
                    <a:lnTo>
                      <a:pt x="222" y="114"/>
                    </a:lnTo>
                    <a:lnTo>
                      <a:pt x="222" y="114"/>
                    </a:lnTo>
                    <a:lnTo>
                      <a:pt x="220" y="116"/>
                    </a:lnTo>
                    <a:lnTo>
                      <a:pt x="216" y="118"/>
                    </a:lnTo>
                    <a:lnTo>
                      <a:pt x="213" y="123"/>
                    </a:lnTo>
                    <a:lnTo>
                      <a:pt x="211" y="123"/>
                    </a:lnTo>
                    <a:lnTo>
                      <a:pt x="209" y="127"/>
                    </a:lnTo>
                    <a:lnTo>
                      <a:pt x="209" y="128"/>
                    </a:lnTo>
                    <a:lnTo>
                      <a:pt x="209" y="130"/>
                    </a:lnTo>
                    <a:lnTo>
                      <a:pt x="207" y="132"/>
                    </a:lnTo>
                    <a:lnTo>
                      <a:pt x="206" y="134"/>
                    </a:lnTo>
                    <a:lnTo>
                      <a:pt x="204" y="134"/>
                    </a:lnTo>
                    <a:lnTo>
                      <a:pt x="202" y="136"/>
                    </a:lnTo>
                    <a:lnTo>
                      <a:pt x="191" y="153"/>
                    </a:lnTo>
                    <a:lnTo>
                      <a:pt x="188" y="155"/>
                    </a:lnTo>
                    <a:lnTo>
                      <a:pt x="175" y="171"/>
                    </a:lnTo>
                    <a:lnTo>
                      <a:pt x="173" y="171"/>
                    </a:lnTo>
                    <a:lnTo>
                      <a:pt x="173" y="173"/>
                    </a:lnTo>
                    <a:lnTo>
                      <a:pt x="166" y="171"/>
                    </a:lnTo>
                    <a:lnTo>
                      <a:pt x="163" y="173"/>
                    </a:lnTo>
                    <a:lnTo>
                      <a:pt x="161" y="175"/>
                    </a:lnTo>
                    <a:lnTo>
                      <a:pt x="161" y="175"/>
                    </a:lnTo>
                    <a:lnTo>
                      <a:pt x="159" y="175"/>
                    </a:lnTo>
                    <a:lnTo>
                      <a:pt x="157" y="170"/>
                    </a:lnTo>
                    <a:lnTo>
                      <a:pt x="156" y="170"/>
                    </a:lnTo>
                    <a:lnTo>
                      <a:pt x="154" y="170"/>
                    </a:lnTo>
                    <a:lnTo>
                      <a:pt x="141" y="184"/>
                    </a:lnTo>
                    <a:lnTo>
                      <a:pt x="139" y="191"/>
                    </a:lnTo>
                    <a:lnTo>
                      <a:pt x="139" y="193"/>
                    </a:lnTo>
                    <a:lnTo>
                      <a:pt x="139" y="195"/>
                    </a:lnTo>
                    <a:lnTo>
                      <a:pt x="141" y="195"/>
                    </a:lnTo>
                    <a:lnTo>
                      <a:pt x="143" y="195"/>
                    </a:lnTo>
                    <a:lnTo>
                      <a:pt x="145" y="196"/>
                    </a:lnTo>
                    <a:lnTo>
                      <a:pt x="148" y="196"/>
                    </a:lnTo>
                    <a:lnTo>
                      <a:pt x="150" y="196"/>
                    </a:lnTo>
                    <a:lnTo>
                      <a:pt x="150" y="196"/>
                    </a:lnTo>
                    <a:lnTo>
                      <a:pt x="150" y="198"/>
                    </a:lnTo>
                    <a:lnTo>
                      <a:pt x="148" y="205"/>
                    </a:lnTo>
                    <a:lnTo>
                      <a:pt x="148" y="207"/>
                    </a:lnTo>
                    <a:lnTo>
                      <a:pt x="148" y="207"/>
                    </a:lnTo>
                    <a:lnTo>
                      <a:pt x="152" y="211"/>
                    </a:lnTo>
                    <a:lnTo>
                      <a:pt x="154" y="211"/>
                    </a:lnTo>
                    <a:lnTo>
                      <a:pt x="156" y="211"/>
                    </a:lnTo>
                    <a:lnTo>
                      <a:pt x="157" y="211"/>
                    </a:lnTo>
                    <a:lnTo>
                      <a:pt x="157" y="212"/>
                    </a:lnTo>
                    <a:lnTo>
                      <a:pt x="157" y="218"/>
                    </a:lnTo>
                    <a:lnTo>
                      <a:pt x="159" y="220"/>
                    </a:lnTo>
                    <a:lnTo>
                      <a:pt x="159" y="221"/>
                    </a:lnTo>
                    <a:lnTo>
                      <a:pt x="163" y="225"/>
                    </a:lnTo>
                    <a:lnTo>
                      <a:pt x="163" y="225"/>
                    </a:lnTo>
                    <a:lnTo>
                      <a:pt x="164" y="227"/>
                    </a:lnTo>
                    <a:lnTo>
                      <a:pt x="164" y="228"/>
                    </a:lnTo>
                    <a:lnTo>
                      <a:pt x="163" y="228"/>
                    </a:lnTo>
                    <a:lnTo>
                      <a:pt x="163" y="228"/>
                    </a:lnTo>
                    <a:lnTo>
                      <a:pt x="163" y="232"/>
                    </a:lnTo>
                    <a:lnTo>
                      <a:pt x="163" y="234"/>
                    </a:lnTo>
                    <a:lnTo>
                      <a:pt x="164" y="234"/>
                    </a:lnTo>
                    <a:lnTo>
                      <a:pt x="164" y="234"/>
                    </a:lnTo>
                    <a:lnTo>
                      <a:pt x="163" y="234"/>
                    </a:lnTo>
                    <a:lnTo>
                      <a:pt x="161" y="236"/>
                    </a:lnTo>
                    <a:lnTo>
                      <a:pt x="161" y="236"/>
                    </a:lnTo>
                    <a:lnTo>
                      <a:pt x="161" y="237"/>
                    </a:lnTo>
                    <a:lnTo>
                      <a:pt x="157" y="236"/>
                    </a:lnTo>
                    <a:lnTo>
                      <a:pt x="157" y="236"/>
                    </a:lnTo>
                    <a:lnTo>
                      <a:pt x="157" y="236"/>
                    </a:lnTo>
                    <a:lnTo>
                      <a:pt x="157" y="234"/>
                    </a:lnTo>
                    <a:lnTo>
                      <a:pt x="157" y="234"/>
                    </a:lnTo>
                    <a:lnTo>
                      <a:pt x="156" y="232"/>
                    </a:lnTo>
                    <a:lnTo>
                      <a:pt x="150" y="236"/>
                    </a:lnTo>
                    <a:lnTo>
                      <a:pt x="148" y="237"/>
                    </a:lnTo>
                    <a:lnTo>
                      <a:pt x="148" y="237"/>
                    </a:lnTo>
                    <a:lnTo>
                      <a:pt x="143" y="237"/>
                    </a:lnTo>
                    <a:lnTo>
                      <a:pt x="141" y="236"/>
                    </a:lnTo>
                    <a:lnTo>
                      <a:pt x="139" y="236"/>
                    </a:lnTo>
                    <a:lnTo>
                      <a:pt x="138" y="236"/>
                    </a:lnTo>
                    <a:lnTo>
                      <a:pt x="132" y="236"/>
                    </a:lnTo>
                    <a:lnTo>
                      <a:pt x="131" y="236"/>
                    </a:lnTo>
                    <a:lnTo>
                      <a:pt x="131" y="236"/>
                    </a:lnTo>
                    <a:lnTo>
                      <a:pt x="129" y="236"/>
                    </a:lnTo>
                    <a:lnTo>
                      <a:pt x="129" y="234"/>
                    </a:lnTo>
                    <a:lnTo>
                      <a:pt x="129" y="234"/>
                    </a:lnTo>
                    <a:lnTo>
                      <a:pt x="127" y="236"/>
                    </a:lnTo>
                    <a:lnTo>
                      <a:pt x="127" y="241"/>
                    </a:lnTo>
                    <a:lnTo>
                      <a:pt x="122" y="241"/>
                    </a:lnTo>
                    <a:lnTo>
                      <a:pt x="122" y="241"/>
                    </a:lnTo>
                    <a:lnTo>
                      <a:pt x="120" y="241"/>
                    </a:lnTo>
                    <a:lnTo>
                      <a:pt x="120" y="243"/>
                    </a:lnTo>
                    <a:lnTo>
                      <a:pt x="118" y="243"/>
                    </a:lnTo>
                    <a:lnTo>
                      <a:pt x="118" y="243"/>
                    </a:lnTo>
                    <a:lnTo>
                      <a:pt x="116" y="245"/>
                    </a:lnTo>
                    <a:lnTo>
                      <a:pt x="114" y="245"/>
                    </a:lnTo>
                    <a:lnTo>
                      <a:pt x="111" y="243"/>
                    </a:lnTo>
                    <a:lnTo>
                      <a:pt x="107" y="243"/>
                    </a:lnTo>
                    <a:lnTo>
                      <a:pt x="107" y="243"/>
                    </a:lnTo>
                    <a:lnTo>
                      <a:pt x="107" y="241"/>
                    </a:lnTo>
                    <a:lnTo>
                      <a:pt x="104" y="239"/>
                    </a:lnTo>
                    <a:lnTo>
                      <a:pt x="102" y="230"/>
                    </a:lnTo>
                    <a:lnTo>
                      <a:pt x="102" y="228"/>
                    </a:lnTo>
                    <a:lnTo>
                      <a:pt x="100" y="228"/>
                    </a:lnTo>
                    <a:lnTo>
                      <a:pt x="95" y="225"/>
                    </a:lnTo>
                    <a:lnTo>
                      <a:pt x="93" y="220"/>
                    </a:lnTo>
                    <a:lnTo>
                      <a:pt x="93" y="218"/>
                    </a:lnTo>
                    <a:lnTo>
                      <a:pt x="89" y="216"/>
                    </a:lnTo>
                    <a:lnTo>
                      <a:pt x="73" y="216"/>
                    </a:lnTo>
                    <a:lnTo>
                      <a:pt x="70" y="218"/>
                    </a:lnTo>
                    <a:lnTo>
                      <a:pt x="63" y="218"/>
                    </a:lnTo>
                    <a:lnTo>
                      <a:pt x="61" y="221"/>
                    </a:lnTo>
                    <a:lnTo>
                      <a:pt x="59" y="220"/>
                    </a:lnTo>
                    <a:lnTo>
                      <a:pt x="56" y="220"/>
                    </a:lnTo>
                    <a:lnTo>
                      <a:pt x="54" y="216"/>
                    </a:lnTo>
                    <a:lnTo>
                      <a:pt x="48" y="218"/>
                    </a:lnTo>
                    <a:lnTo>
                      <a:pt x="45" y="216"/>
                    </a:lnTo>
                    <a:lnTo>
                      <a:pt x="43" y="220"/>
                    </a:lnTo>
                    <a:lnTo>
                      <a:pt x="27" y="218"/>
                    </a:lnTo>
                    <a:lnTo>
                      <a:pt x="23" y="221"/>
                    </a:lnTo>
                    <a:lnTo>
                      <a:pt x="22" y="220"/>
                    </a:lnTo>
                    <a:lnTo>
                      <a:pt x="18" y="221"/>
                    </a:lnTo>
                    <a:lnTo>
                      <a:pt x="16" y="221"/>
                    </a:lnTo>
                    <a:lnTo>
                      <a:pt x="14" y="223"/>
                    </a:lnTo>
                    <a:lnTo>
                      <a:pt x="14" y="221"/>
                    </a:lnTo>
                    <a:lnTo>
                      <a:pt x="13" y="220"/>
                    </a:lnTo>
                  </a:path>
                </a:pathLst>
              </a:custGeom>
              <a:solidFill>
                <a:srgbClr val="0E5990"/>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12" name="Freeform 3067"/>
              <p:cNvSpPr>
                <a:spLocks/>
              </p:cNvSpPr>
              <p:nvPr/>
            </p:nvSpPr>
            <p:spPr bwMode="auto">
              <a:xfrm>
                <a:off x="3805" y="1947"/>
                <a:ext cx="175" cy="84"/>
              </a:xfrm>
              <a:custGeom>
                <a:avLst/>
                <a:gdLst>
                  <a:gd name="T0" fmla="*/ 73 w 175"/>
                  <a:gd name="T1" fmla="*/ 75 h 84"/>
                  <a:gd name="T2" fmla="*/ 84 w 175"/>
                  <a:gd name="T3" fmla="*/ 66 h 84"/>
                  <a:gd name="T4" fmla="*/ 87 w 175"/>
                  <a:gd name="T5" fmla="*/ 64 h 84"/>
                  <a:gd name="T6" fmla="*/ 93 w 175"/>
                  <a:gd name="T7" fmla="*/ 60 h 84"/>
                  <a:gd name="T8" fmla="*/ 100 w 175"/>
                  <a:gd name="T9" fmla="*/ 59 h 84"/>
                  <a:gd name="T10" fmla="*/ 112 w 175"/>
                  <a:gd name="T11" fmla="*/ 62 h 84"/>
                  <a:gd name="T12" fmla="*/ 118 w 175"/>
                  <a:gd name="T13" fmla="*/ 55 h 84"/>
                  <a:gd name="T14" fmla="*/ 143 w 175"/>
                  <a:gd name="T15" fmla="*/ 46 h 84"/>
                  <a:gd name="T16" fmla="*/ 150 w 175"/>
                  <a:gd name="T17" fmla="*/ 39 h 84"/>
                  <a:gd name="T18" fmla="*/ 175 w 175"/>
                  <a:gd name="T19" fmla="*/ 23 h 84"/>
                  <a:gd name="T20" fmla="*/ 173 w 175"/>
                  <a:gd name="T21" fmla="*/ 21 h 84"/>
                  <a:gd name="T22" fmla="*/ 162 w 175"/>
                  <a:gd name="T23" fmla="*/ 16 h 84"/>
                  <a:gd name="T24" fmla="*/ 150 w 175"/>
                  <a:gd name="T25" fmla="*/ 9 h 84"/>
                  <a:gd name="T26" fmla="*/ 128 w 175"/>
                  <a:gd name="T27" fmla="*/ 7 h 84"/>
                  <a:gd name="T28" fmla="*/ 121 w 175"/>
                  <a:gd name="T29" fmla="*/ 5 h 84"/>
                  <a:gd name="T30" fmla="*/ 95 w 175"/>
                  <a:gd name="T31" fmla="*/ 7 h 84"/>
                  <a:gd name="T32" fmla="*/ 91 w 175"/>
                  <a:gd name="T33" fmla="*/ 5 h 84"/>
                  <a:gd name="T34" fmla="*/ 77 w 175"/>
                  <a:gd name="T35" fmla="*/ 0 h 84"/>
                  <a:gd name="T36" fmla="*/ 73 w 175"/>
                  <a:gd name="T37" fmla="*/ 2 h 84"/>
                  <a:gd name="T38" fmla="*/ 68 w 175"/>
                  <a:gd name="T39" fmla="*/ 5 h 84"/>
                  <a:gd name="T40" fmla="*/ 66 w 175"/>
                  <a:gd name="T41" fmla="*/ 10 h 84"/>
                  <a:gd name="T42" fmla="*/ 64 w 175"/>
                  <a:gd name="T43" fmla="*/ 18 h 84"/>
                  <a:gd name="T44" fmla="*/ 37 w 175"/>
                  <a:gd name="T45" fmla="*/ 10 h 84"/>
                  <a:gd name="T46" fmla="*/ 28 w 175"/>
                  <a:gd name="T47" fmla="*/ 10 h 84"/>
                  <a:gd name="T48" fmla="*/ 27 w 175"/>
                  <a:gd name="T49" fmla="*/ 16 h 84"/>
                  <a:gd name="T50" fmla="*/ 30 w 175"/>
                  <a:gd name="T51" fmla="*/ 21 h 84"/>
                  <a:gd name="T52" fmla="*/ 27 w 175"/>
                  <a:gd name="T53" fmla="*/ 25 h 84"/>
                  <a:gd name="T54" fmla="*/ 16 w 175"/>
                  <a:gd name="T55" fmla="*/ 37 h 84"/>
                  <a:gd name="T56" fmla="*/ 20 w 175"/>
                  <a:gd name="T57" fmla="*/ 39 h 84"/>
                  <a:gd name="T58" fmla="*/ 25 w 175"/>
                  <a:gd name="T59" fmla="*/ 43 h 84"/>
                  <a:gd name="T60" fmla="*/ 34 w 175"/>
                  <a:gd name="T61" fmla="*/ 46 h 84"/>
                  <a:gd name="T62" fmla="*/ 36 w 175"/>
                  <a:gd name="T63" fmla="*/ 43 h 84"/>
                  <a:gd name="T64" fmla="*/ 39 w 175"/>
                  <a:gd name="T65" fmla="*/ 39 h 84"/>
                  <a:gd name="T66" fmla="*/ 41 w 175"/>
                  <a:gd name="T67" fmla="*/ 43 h 84"/>
                  <a:gd name="T68" fmla="*/ 48 w 175"/>
                  <a:gd name="T69" fmla="*/ 46 h 84"/>
                  <a:gd name="T70" fmla="*/ 57 w 175"/>
                  <a:gd name="T71" fmla="*/ 52 h 84"/>
                  <a:gd name="T72" fmla="*/ 61 w 175"/>
                  <a:gd name="T73" fmla="*/ 52 h 84"/>
                  <a:gd name="T74" fmla="*/ 55 w 175"/>
                  <a:gd name="T75" fmla="*/ 55 h 84"/>
                  <a:gd name="T76" fmla="*/ 52 w 175"/>
                  <a:gd name="T77" fmla="*/ 59 h 84"/>
                  <a:gd name="T78" fmla="*/ 48 w 175"/>
                  <a:gd name="T79" fmla="*/ 59 h 84"/>
                  <a:gd name="T80" fmla="*/ 45 w 175"/>
                  <a:gd name="T81" fmla="*/ 60 h 84"/>
                  <a:gd name="T82" fmla="*/ 41 w 175"/>
                  <a:gd name="T83" fmla="*/ 64 h 84"/>
                  <a:gd name="T84" fmla="*/ 32 w 175"/>
                  <a:gd name="T85" fmla="*/ 64 h 84"/>
                  <a:gd name="T86" fmla="*/ 25 w 175"/>
                  <a:gd name="T87" fmla="*/ 66 h 84"/>
                  <a:gd name="T88" fmla="*/ 21 w 175"/>
                  <a:gd name="T89" fmla="*/ 69 h 84"/>
                  <a:gd name="T90" fmla="*/ 16 w 175"/>
                  <a:gd name="T91" fmla="*/ 68 h 84"/>
                  <a:gd name="T92" fmla="*/ 0 w 175"/>
                  <a:gd name="T93" fmla="*/ 69 h 84"/>
                  <a:gd name="T94" fmla="*/ 2 w 175"/>
                  <a:gd name="T95" fmla="*/ 78 h 84"/>
                  <a:gd name="T96" fmla="*/ 5 w 175"/>
                  <a:gd name="T97" fmla="*/ 78 h 84"/>
                  <a:gd name="T98" fmla="*/ 20 w 175"/>
                  <a:gd name="T99" fmla="*/ 78 h 84"/>
                  <a:gd name="T100" fmla="*/ 23 w 175"/>
                  <a:gd name="T101" fmla="*/ 80 h 84"/>
                  <a:gd name="T102" fmla="*/ 34 w 175"/>
                  <a:gd name="T103" fmla="*/ 78 h 84"/>
                  <a:gd name="T104" fmla="*/ 39 w 175"/>
                  <a:gd name="T105" fmla="*/ 80 h 84"/>
                  <a:gd name="T106" fmla="*/ 45 w 175"/>
                  <a:gd name="T107" fmla="*/ 84 h 84"/>
                  <a:gd name="T108" fmla="*/ 52 w 175"/>
                  <a:gd name="T109" fmla="*/ 82 h 84"/>
                  <a:gd name="T110" fmla="*/ 61 w 175"/>
                  <a:gd name="T111" fmla="*/ 82 h 84"/>
                  <a:gd name="T112" fmla="*/ 66 w 175"/>
                  <a:gd name="T113" fmla="*/ 82 h 84"/>
                  <a:gd name="T114" fmla="*/ 73 w 175"/>
                  <a:gd name="T115" fmla="*/ 7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5" h="84">
                    <a:moveTo>
                      <a:pt x="73" y="78"/>
                    </a:moveTo>
                    <a:lnTo>
                      <a:pt x="73" y="75"/>
                    </a:lnTo>
                    <a:lnTo>
                      <a:pt x="75" y="69"/>
                    </a:lnTo>
                    <a:lnTo>
                      <a:pt x="84" y="66"/>
                    </a:lnTo>
                    <a:lnTo>
                      <a:pt x="86" y="64"/>
                    </a:lnTo>
                    <a:lnTo>
                      <a:pt x="87" y="64"/>
                    </a:lnTo>
                    <a:lnTo>
                      <a:pt x="89" y="60"/>
                    </a:lnTo>
                    <a:lnTo>
                      <a:pt x="93" y="60"/>
                    </a:lnTo>
                    <a:lnTo>
                      <a:pt x="96" y="59"/>
                    </a:lnTo>
                    <a:lnTo>
                      <a:pt x="100" y="59"/>
                    </a:lnTo>
                    <a:lnTo>
                      <a:pt x="102" y="64"/>
                    </a:lnTo>
                    <a:lnTo>
                      <a:pt x="112" y="62"/>
                    </a:lnTo>
                    <a:lnTo>
                      <a:pt x="116" y="60"/>
                    </a:lnTo>
                    <a:lnTo>
                      <a:pt x="118" y="55"/>
                    </a:lnTo>
                    <a:lnTo>
                      <a:pt x="121" y="52"/>
                    </a:lnTo>
                    <a:lnTo>
                      <a:pt x="143" y="46"/>
                    </a:lnTo>
                    <a:lnTo>
                      <a:pt x="145" y="43"/>
                    </a:lnTo>
                    <a:lnTo>
                      <a:pt x="150" y="39"/>
                    </a:lnTo>
                    <a:lnTo>
                      <a:pt x="173" y="28"/>
                    </a:lnTo>
                    <a:lnTo>
                      <a:pt x="175" y="23"/>
                    </a:lnTo>
                    <a:lnTo>
                      <a:pt x="175" y="21"/>
                    </a:lnTo>
                    <a:lnTo>
                      <a:pt x="173" y="21"/>
                    </a:lnTo>
                    <a:lnTo>
                      <a:pt x="168" y="18"/>
                    </a:lnTo>
                    <a:lnTo>
                      <a:pt x="162" y="16"/>
                    </a:lnTo>
                    <a:lnTo>
                      <a:pt x="159" y="10"/>
                    </a:lnTo>
                    <a:lnTo>
                      <a:pt x="150" y="9"/>
                    </a:lnTo>
                    <a:lnTo>
                      <a:pt x="148" y="9"/>
                    </a:lnTo>
                    <a:lnTo>
                      <a:pt x="128" y="7"/>
                    </a:lnTo>
                    <a:lnTo>
                      <a:pt x="125" y="5"/>
                    </a:lnTo>
                    <a:lnTo>
                      <a:pt x="121" y="5"/>
                    </a:lnTo>
                    <a:lnTo>
                      <a:pt x="118" y="7"/>
                    </a:lnTo>
                    <a:lnTo>
                      <a:pt x="95" y="7"/>
                    </a:lnTo>
                    <a:lnTo>
                      <a:pt x="93" y="5"/>
                    </a:lnTo>
                    <a:lnTo>
                      <a:pt x="91" y="5"/>
                    </a:lnTo>
                    <a:lnTo>
                      <a:pt x="86" y="5"/>
                    </a:lnTo>
                    <a:lnTo>
                      <a:pt x="77" y="0"/>
                    </a:lnTo>
                    <a:lnTo>
                      <a:pt x="75" y="2"/>
                    </a:lnTo>
                    <a:lnTo>
                      <a:pt x="73" y="2"/>
                    </a:lnTo>
                    <a:lnTo>
                      <a:pt x="71" y="3"/>
                    </a:lnTo>
                    <a:lnTo>
                      <a:pt x="68" y="5"/>
                    </a:lnTo>
                    <a:lnTo>
                      <a:pt x="68" y="9"/>
                    </a:lnTo>
                    <a:lnTo>
                      <a:pt x="66" y="10"/>
                    </a:lnTo>
                    <a:lnTo>
                      <a:pt x="64" y="14"/>
                    </a:lnTo>
                    <a:lnTo>
                      <a:pt x="64" y="18"/>
                    </a:lnTo>
                    <a:lnTo>
                      <a:pt x="39" y="10"/>
                    </a:lnTo>
                    <a:lnTo>
                      <a:pt x="37" y="10"/>
                    </a:lnTo>
                    <a:lnTo>
                      <a:pt x="36" y="9"/>
                    </a:lnTo>
                    <a:lnTo>
                      <a:pt x="28" y="10"/>
                    </a:lnTo>
                    <a:lnTo>
                      <a:pt x="27" y="12"/>
                    </a:lnTo>
                    <a:lnTo>
                      <a:pt x="27" y="16"/>
                    </a:lnTo>
                    <a:lnTo>
                      <a:pt x="25" y="19"/>
                    </a:lnTo>
                    <a:lnTo>
                      <a:pt x="30" y="21"/>
                    </a:lnTo>
                    <a:lnTo>
                      <a:pt x="30" y="23"/>
                    </a:lnTo>
                    <a:lnTo>
                      <a:pt x="27" y="25"/>
                    </a:lnTo>
                    <a:lnTo>
                      <a:pt x="16" y="35"/>
                    </a:lnTo>
                    <a:lnTo>
                      <a:pt x="16" y="37"/>
                    </a:lnTo>
                    <a:lnTo>
                      <a:pt x="18" y="39"/>
                    </a:lnTo>
                    <a:lnTo>
                      <a:pt x="20" y="39"/>
                    </a:lnTo>
                    <a:lnTo>
                      <a:pt x="21" y="39"/>
                    </a:lnTo>
                    <a:lnTo>
                      <a:pt x="25" y="43"/>
                    </a:lnTo>
                    <a:lnTo>
                      <a:pt x="30" y="46"/>
                    </a:lnTo>
                    <a:lnTo>
                      <a:pt x="34" y="46"/>
                    </a:lnTo>
                    <a:lnTo>
                      <a:pt x="34" y="43"/>
                    </a:lnTo>
                    <a:lnTo>
                      <a:pt x="36" y="43"/>
                    </a:lnTo>
                    <a:lnTo>
                      <a:pt x="37" y="37"/>
                    </a:lnTo>
                    <a:lnTo>
                      <a:pt x="39" y="39"/>
                    </a:lnTo>
                    <a:lnTo>
                      <a:pt x="41" y="41"/>
                    </a:lnTo>
                    <a:lnTo>
                      <a:pt x="41" y="43"/>
                    </a:lnTo>
                    <a:lnTo>
                      <a:pt x="46" y="46"/>
                    </a:lnTo>
                    <a:lnTo>
                      <a:pt x="48" y="46"/>
                    </a:lnTo>
                    <a:lnTo>
                      <a:pt x="52" y="50"/>
                    </a:lnTo>
                    <a:lnTo>
                      <a:pt x="57" y="52"/>
                    </a:lnTo>
                    <a:lnTo>
                      <a:pt x="59" y="50"/>
                    </a:lnTo>
                    <a:lnTo>
                      <a:pt x="61" y="52"/>
                    </a:lnTo>
                    <a:lnTo>
                      <a:pt x="61" y="53"/>
                    </a:lnTo>
                    <a:lnTo>
                      <a:pt x="55" y="55"/>
                    </a:lnTo>
                    <a:lnTo>
                      <a:pt x="53" y="57"/>
                    </a:lnTo>
                    <a:lnTo>
                      <a:pt x="52" y="59"/>
                    </a:lnTo>
                    <a:lnTo>
                      <a:pt x="50" y="57"/>
                    </a:lnTo>
                    <a:lnTo>
                      <a:pt x="48" y="59"/>
                    </a:lnTo>
                    <a:lnTo>
                      <a:pt x="46" y="59"/>
                    </a:lnTo>
                    <a:lnTo>
                      <a:pt x="45" y="60"/>
                    </a:lnTo>
                    <a:lnTo>
                      <a:pt x="43" y="62"/>
                    </a:lnTo>
                    <a:lnTo>
                      <a:pt x="41" y="64"/>
                    </a:lnTo>
                    <a:lnTo>
                      <a:pt x="36" y="66"/>
                    </a:lnTo>
                    <a:lnTo>
                      <a:pt x="32" y="64"/>
                    </a:lnTo>
                    <a:lnTo>
                      <a:pt x="27" y="64"/>
                    </a:lnTo>
                    <a:lnTo>
                      <a:pt x="25" y="66"/>
                    </a:lnTo>
                    <a:lnTo>
                      <a:pt x="23" y="66"/>
                    </a:lnTo>
                    <a:lnTo>
                      <a:pt x="21" y="69"/>
                    </a:lnTo>
                    <a:lnTo>
                      <a:pt x="20" y="69"/>
                    </a:lnTo>
                    <a:lnTo>
                      <a:pt x="16" y="68"/>
                    </a:lnTo>
                    <a:lnTo>
                      <a:pt x="5" y="68"/>
                    </a:lnTo>
                    <a:lnTo>
                      <a:pt x="0" y="69"/>
                    </a:lnTo>
                    <a:lnTo>
                      <a:pt x="0" y="77"/>
                    </a:lnTo>
                    <a:lnTo>
                      <a:pt x="2" y="78"/>
                    </a:lnTo>
                    <a:lnTo>
                      <a:pt x="3" y="78"/>
                    </a:lnTo>
                    <a:lnTo>
                      <a:pt x="5" y="78"/>
                    </a:lnTo>
                    <a:lnTo>
                      <a:pt x="11" y="78"/>
                    </a:lnTo>
                    <a:lnTo>
                      <a:pt x="20" y="78"/>
                    </a:lnTo>
                    <a:lnTo>
                      <a:pt x="21" y="78"/>
                    </a:lnTo>
                    <a:lnTo>
                      <a:pt x="23" y="80"/>
                    </a:lnTo>
                    <a:lnTo>
                      <a:pt x="25" y="80"/>
                    </a:lnTo>
                    <a:lnTo>
                      <a:pt x="34" y="78"/>
                    </a:lnTo>
                    <a:lnTo>
                      <a:pt x="36" y="78"/>
                    </a:lnTo>
                    <a:lnTo>
                      <a:pt x="39" y="80"/>
                    </a:lnTo>
                    <a:lnTo>
                      <a:pt x="41" y="84"/>
                    </a:lnTo>
                    <a:lnTo>
                      <a:pt x="45" y="84"/>
                    </a:lnTo>
                    <a:lnTo>
                      <a:pt x="46" y="84"/>
                    </a:lnTo>
                    <a:lnTo>
                      <a:pt x="52" y="82"/>
                    </a:lnTo>
                    <a:lnTo>
                      <a:pt x="55" y="82"/>
                    </a:lnTo>
                    <a:lnTo>
                      <a:pt x="61" y="82"/>
                    </a:lnTo>
                    <a:lnTo>
                      <a:pt x="64" y="82"/>
                    </a:lnTo>
                    <a:lnTo>
                      <a:pt x="66" y="82"/>
                    </a:lnTo>
                    <a:lnTo>
                      <a:pt x="68" y="78"/>
                    </a:lnTo>
                    <a:lnTo>
                      <a:pt x="73" y="7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13" name="Freeform 3068"/>
              <p:cNvSpPr>
                <a:spLocks/>
              </p:cNvSpPr>
              <p:nvPr/>
            </p:nvSpPr>
            <p:spPr bwMode="auto">
              <a:xfrm>
                <a:off x="3805" y="1947"/>
                <a:ext cx="175" cy="84"/>
              </a:xfrm>
              <a:custGeom>
                <a:avLst/>
                <a:gdLst>
                  <a:gd name="T0" fmla="*/ 73 w 175"/>
                  <a:gd name="T1" fmla="*/ 75 h 84"/>
                  <a:gd name="T2" fmla="*/ 84 w 175"/>
                  <a:gd name="T3" fmla="*/ 66 h 84"/>
                  <a:gd name="T4" fmla="*/ 87 w 175"/>
                  <a:gd name="T5" fmla="*/ 64 h 84"/>
                  <a:gd name="T6" fmla="*/ 93 w 175"/>
                  <a:gd name="T7" fmla="*/ 60 h 84"/>
                  <a:gd name="T8" fmla="*/ 100 w 175"/>
                  <a:gd name="T9" fmla="*/ 59 h 84"/>
                  <a:gd name="T10" fmla="*/ 112 w 175"/>
                  <a:gd name="T11" fmla="*/ 62 h 84"/>
                  <a:gd name="T12" fmla="*/ 118 w 175"/>
                  <a:gd name="T13" fmla="*/ 55 h 84"/>
                  <a:gd name="T14" fmla="*/ 143 w 175"/>
                  <a:gd name="T15" fmla="*/ 46 h 84"/>
                  <a:gd name="T16" fmla="*/ 150 w 175"/>
                  <a:gd name="T17" fmla="*/ 39 h 84"/>
                  <a:gd name="T18" fmla="*/ 175 w 175"/>
                  <a:gd name="T19" fmla="*/ 23 h 84"/>
                  <a:gd name="T20" fmla="*/ 173 w 175"/>
                  <a:gd name="T21" fmla="*/ 21 h 84"/>
                  <a:gd name="T22" fmla="*/ 162 w 175"/>
                  <a:gd name="T23" fmla="*/ 16 h 84"/>
                  <a:gd name="T24" fmla="*/ 150 w 175"/>
                  <a:gd name="T25" fmla="*/ 9 h 84"/>
                  <a:gd name="T26" fmla="*/ 128 w 175"/>
                  <a:gd name="T27" fmla="*/ 7 h 84"/>
                  <a:gd name="T28" fmla="*/ 121 w 175"/>
                  <a:gd name="T29" fmla="*/ 5 h 84"/>
                  <a:gd name="T30" fmla="*/ 95 w 175"/>
                  <a:gd name="T31" fmla="*/ 7 h 84"/>
                  <a:gd name="T32" fmla="*/ 91 w 175"/>
                  <a:gd name="T33" fmla="*/ 5 h 84"/>
                  <a:gd name="T34" fmla="*/ 77 w 175"/>
                  <a:gd name="T35" fmla="*/ 0 h 84"/>
                  <a:gd name="T36" fmla="*/ 73 w 175"/>
                  <a:gd name="T37" fmla="*/ 2 h 84"/>
                  <a:gd name="T38" fmla="*/ 68 w 175"/>
                  <a:gd name="T39" fmla="*/ 5 h 84"/>
                  <a:gd name="T40" fmla="*/ 66 w 175"/>
                  <a:gd name="T41" fmla="*/ 10 h 84"/>
                  <a:gd name="T42" fmla="*/ 64 w 175"/>
                  <a:gd name="T43" fmla="*/ 18 h 84"/>
                  <a:gd name="T44" fmla="*/ 37 w 175"/>
                  <a:gd name="T45" fmla="*/ 10 h 84"/>
                  <a:gd name="T46" fmla="*/ 28 w 175"/>
                  <a:gd name="T47" fmla="*/ 10 h 84"/>
                  <a:gd name="T48" fmla="*/ 27 w 175"/>
                  <a:gd name="T49" fmla="*/ 16 h 84"/>
                  <a:gd name="T50" fmla="*/ 30 w 175"/>
                  <a:gd name="T51" fmla="*/ 21 h 84"/>
                  <a:gd name="T52" fmla="*/ 27 w 175"/>
                  <a:gd name="T53" fmla="*/ 25 h 84"/>
                  <a:gd name="T54" fmla="*/ 16 w 175"/>
                  <a:gd name="T55" fmla="*/ 37 h 84"/>
                  <a:gd name="T56" fmla="*/ 20 w 175"/>
                  <a:gd name="T57" fmla="*/ 39 h 84"/>
                  <a:gd name="T58" fmla="*/ 25 w 175"/>
                  <a:gd name="T59" fmla="*/ 43 h 84"/>
                  <a:gd name="T60" fmla="*/ 34 w 175"/>
                  <a:gd name="T61" fmla="*/ 46 h 84"/>
                  <a:gd name="T62" fmla="*/ 36 w 175"/>
                  <a:gd name="T63" fmla="*/ 43 h 84"/>
                  <a:gd name="T64" fmla="*/ 39 w 175"/>
                  <a:gd name="T65" fmla="*/ 39 h 84"/>
                  <a:gd name="T66" fmla="*/ 41 w 175"/>
                  <a:gd name="T67" fmla="*/ 43 h 84"/>
                  <a:gd name="T68" fmla="*/ 48 w 175"/>
                  <a:gd name="T69" fmla="*/ 46 h 84"/>
                  <a:gd name="T70" fmla="*/ 57 w 175"/>
                  <a:gd name="T71" fmla="*/ 52 h 84"/>
                  <a:gd name="T72" fmla="*/ 61 w 175"/>
                  <a:gd name="T73" fmla="*/ 52 h 84"/>
                  <a:gd name="T74" fmla="*/ 55 w 175"/>
                  <a:gd name="T75" fmla="*/ 55 h 84"/>
                  <a:gd name="T76" fmla="*/ 52 w 175"/>
                  <a:gd name="T77" fmla="*/ 59 h 84"/>
                  <a:gd name="T78" fmla="*/ 48 w 175"/>
                  <a:gd name="T79" fmla="*/ 59 h 84"/>
                  <a:gd name="T80" fmla="*/ 45 w 175"/>
                  <a:gd name="T81" fmla="*/ 60 h 84"/>
                  <a:gd name="T82" fmla="*/ 41 w 175"/>
                  <a:gd name="T83" fmla="*/ 64 h 84"/>
                  <a:gd name="T84" fmla="*/ 32 w 175"/>
                  <a:gd name="T85" fmla="*/ 64 h 84"/>
                  <a:gd name="T86" fmla="*/ 25 w 175"/>
                  <a:gd name="T87" fmla="*/ 66 h 84"/>
                  <a:gd name="T88" fmla="*/ 21 w 175"/>
                  <a:gd name="T89" fmla="*/ 69 h 84"/>
                  <a:gd name="T90" fmla="*/ 16 w 175"/>
                  <a:gd name="T91" fmla="*/ 68 h 84"/>
                  <a:gd name="T92" fmla="*/ 0 w 175"/>
                  <a:gd name="T93" fmla="*/ 69 h 84"/>
                  <a:gd name="T94" fmla="*/ 2 w 175"/>
                  <a:gd name="T95" fmla="*/ 78 h 84"/>
                  <a:gd name="T96" fmla="*/ 5 w 175"/>
                  <a:gd name="T97" fmla="*/ 78 h 84"/>
                  <a:gd name="T98" fmla="*/ 20 w 175"/>
                  <a:gd name="T99" fmla="*/ 78 h 84"/>
                  <a:gd name="T100" fmla="*/ 23 w 175"/>
                  <a:gd name="T101" fmla="*/ 80 h 84"/>
                  <a:gd name="T102" fmla="*/ 34 w 175"/>
                  <a:gd name="T103" fmla="*/ 78 h 84"/>
                  <a:gd name="T104" fmla="*/ 39 w 175"/>
                  <a:gd name="T105" fmla="*/ 80 h 84"/>
                  <a:gd name="T106" fmla="*/ 45 w 175"/>
                  <a:gd name="T107" fmla="*/ 84 h 84"/>
                  <a:gd name="T108" fmla="*/ 52 w 175"/>
                  <a:gd name="T109" fmla="*/ 82 h 84"/>
                  <a:gd name="T110" fmla="*/ 61 w 175"/>
                  <a:gd name="T111" fmla="*/ 82 h 84"/>
                  <a:gd name="T112" fmla="*/ 66 w 175"/>
                  <a:gd name="T113" fmla="*/ 82 h 84"/>
                  <a:gd name="T114" fmla="*/ 73 w 175"/>
                  <a:gd name="T115" fmla="*/ 7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5" h="84">
                    <a:moveTo>
                      <a:pt x="73" y="78"/>
                    </a:moveTo>
                    <a:lnTo>
                      <a:pt x="73" y="75"/>
                    </a:lnTo>
                    <a:lnTo>
                      <a:pt x="75" y="69"/>
                    </a:lnTo>
                    <a:lnTo>
                      <a:pt x="84" y="66"/>
                    </a:lnTo>
                    <a:lnTo>
                      <a:pt x="86" y="64"/>
                    </a:lnTo>
                    <a:lnTo>
                      <a:pt x="87" y="64"/>
                    </a:lnTo>
                    <a:lnTo>
                      <a:pt x="89" y="60"/>
                    </a:lnTo>
                    <a:lnTo>
                      <a:pt x="93" y="60"/>
                    </a:lnTo>
                    <a:lnTo>
                      <a:pt x="96" y="59"/>
                    </a:lnTo>
                    <a:lnTo>
                      <a:pt x="100" y="59"/>
                    </a:lnTo>
                    <a:lnTo>
                      <a:pt x="102" y="64"/>
                    </a:lnTo>
                    <a:lnTo>
                      <a:pt x="112" y="62"/>
                    </a:lnTo>
                    <a:lnTo>
                      <a:pt x="116" y="60"/>
                    </a:lnTo>
                    <a:lnTo>
                      <a:pt x="118" y="55"/>
                    </a:lnTo>
                    <a:lnTo>
                      <a:pt x="121" y="52"/>
                    </a:lnTo>
                    <a:lnTo>
                      <a:pt x="143" y="46"/>
                    </a:lnTo>
                    <a:lnTo>
                      <a:pt x="145" y="43"/>
                    </a:lnTo>
                    <a:lnTo>
                      <a:pt x="150" y="39"/>
                    </a:lnTo>
                    <a:lnTo>
                      <a:pt x="173" y="28"/>
                    </a:lnTo>
                    <a:lnTo>
                      <a:pt x="175" y="23"/>
                    </a:lnTo>
                    <a:lnTo>
                      <a:pt x="175" y="21"/>
                    </a:lnTo>
                    <a:lnTo>
                      <a:pt x="173" y="21"/>
                    </a:lnTo>
                    <a:lnTo>
                      <a:pt x="168" y="18"/>
                    </a:lnTo>
                    <a:lnTo>
                      <a:pt x="162" y="16"/>
                    </a:lnTo>
                    <a:lnTo>
                      <a:pt x="159" y="10"/>
                    </a:lnTo>
                    <a:lnTo>
                      <a:pt x="150" y="9"/>
                    </a:lnTo>
                    <a:lnTo>
                      <a:pt x="148" y="9"/>
                    </a:lnTo>
                    <a:lnTo>
                      <a:pt x="128" y="7"/>
                    </a:lnTo>
                    <a:lnTo>
                      <a:pt x="125" y="5"/>
                    </a:lnTo>
                    <a:lnTo>
                      <a:pt x="121" y="5"/>
                    </a:lnTo>
                    <a:lnTo>
                      <a:pt x="118" y="7"/>
                    </a:lnTo>
                    <a:lnTo>
                      <a:pt x="95" y="7"/>
                    </a:lnTo>
                    <a:lnTo>
                      <a:pt x="93" y="5"/>
                    </a:lnTo>
                    <a:lnTo>
                      <a:pt x="91" y="5"/>
                    </a:lnTo>
                    <a:lnTo>
                      <a:pt x="86" y="5"/>
                    </a:lnTo>
                    <a:lnTo>
                      <a:pt x="77" y="0"/>
                    </a:lnTo>
                    <a:lnTo>
                      <a:pt x="75" y="2"/>
                    </a:lnTo>
                    <a:lnTo>
                      <a:pt x="73" y="2"/>
                    </a:lnTo>
                    <a:lnTo>
                      <a:pt x="71" y="3"/>
                    </a:lnTo>
                    <a:lnTo>
                      <a:pt x="68" y="5"/>
                    </a:lnTo>
                    <a:lnTo>
                      <a:pt x="68" y="9"/>
                    </a:lnTo>
                    <a:lnTo>
                      <a:pt x="66" y="10"/>
                    </a:lnTo>
                    <a:lnTo>
                      <a:pt x="64" y="14"/>
                    </a:lnTo>
                    <a:lnTo>
                      <a:pt x="64" y="18"/>
                    </a:lnTo>
                    <a:lnTo>
                      <a:pt x="39" y="10"/>
                    </a:lnTo>
                    <a:lnTo>
                      <a:pt x="37" y="10"/>
                    </a:lnTo>
                    <a:lnTo>
                      <a:pt x="36" y="9"/>
                    </a:lnTo>
                    <a:lnTo>
                      <a:pt x="28" y="10"/>
                    </a:lnTo>
                    <a:lnTo>
                      <a:pt x="27" y="12"/>
                    </a:lnTo>
                    <a:lnTo>
                      <a:pt x="27" y="16"/>
                    </a:lnTo>
                    <a:lnTo>
                      <a:pt x="25" y="19"/>
                    </a:lnTo>
                    <a:lnTo>
                      <a:pt x="30" y="21"/>
                    </a:lnTo>
                    <a:lnTo>
                      <a:pt x="30" y="23"/>
                    </a:lnTo>
                    <a:lnTo>
                      <a:pt x="27" y="25"/>
                    </a:lnTo>
                    <a:lnTo>
                      <a:pt x="16" y="35"/>
                    </a:lnTo>
                    <a:lnTo>
                      <a:pt x="16" y="37"/>
                    </a:lnTo>
                    <a:lnTo>
                      <a:pt x="18" y="39"/>
                    </a:lnTo>
                    <a:lnTo>
                      <a:pt x="20" y="39"/>
                    </a:lnTo>
                    <a:lnTo>
                      <a:pt x="21" y="39"/>
                    </a:lnTo>
                    <a:lnTo>
                      <a:pt x="25" y="43"/>
                    </a:lnTo>
                    <a:lnTo>
                      <a:pt x="30" y="46"/>
                    </a:lnTo>
                    <a:lnTo>
                      <a:pt x="34" y="46"/>
                    </a:lnTo>
                    <a:lnTo>
                      <a:pt x="34" y="43"/>
                    </a:lnTo>
                    <a:lnTo>
                      <a:pt x="36" y="43"/>
                    </a:lnTo>
                    <a:lnTo>
                      <a:pt x="37" y="37"/>
                    </a:lnTo>
                    <a:lnTo>
                      <a:pt x="39" y="39"/>
                    </a:lnTo>
                    <a:lnTo>
                      <a:pt x="41" y="41"/>
                    </a:lnTo>
                    <a:lnTo>
                      <a:pt x="41" y="43"/>
                    </a:lnTo>
                    <a:lnTo>
                      <a:pt x="46" y="46"/>
                    </a:lnTo>
                    <a:lnTo>
                      <a:pt x="48" y="46"/>
                    </a:lnTo>
                    <a:lnTo>
                      <a:pt x="52" y="50"/>
                    </a:lnTo>
                    <a:lnTo>
                      <a:pt x="57" y="52"/>
                    </a:lnTo>
                    <a:lnTo>
                      <a:pt x="59" y="50"/>
                    </a:lnTo>
                    <a:lnTo>
                      <a:pt x="61" y="52"/>
                    </a:lnTo>
                    <a:lnTo>
                      <a:pt x="61" y="53"/>
                    </a:lnTo>
                    <a:lnTo>
                      <a:pt x="55" y="55"/>
                    </a:lnTo>
                    <a:lnTo>
                      <a:pt x="53" y="57"/>
                    </a:lnTo>
                    <a:lnTo>
                      <a:pt x="52" y="59"/>
                    </a:lnTo>
                    <a:lnTo>
                      <a:pt x="50" y="57"/>
                    </a:lnTo>
                    <a:lnTo>
                      <a:pt x="48" y="59"/>
                    </a:lnTo>
                    <a:lnTo>
                      <a:pt x="46" y="59"/>
                    </a:lnTo>
                    <a:lnTo>
                      <a:pt x="45" y="60"/>
                    </a:lnTo>
                    <a:lnTo>
                      <a:pt x="43" y="62"/>
                    </a:lnTo>
                    <a:lnTo>
                      <a:pt x="41" y="64"/>
                    </a:lnTo>
                    <a:lnTo>
                      <a:pt x="36" y="66"/>
                    </a:lnTo>
                    <a:lnTo>
                      <a:pt x="32" y="64"/>
                    </a:lnTo>
                    <a:lnTo>
                      <a:pt x="27" y="64"/>
                    </a:lnTo>
                    <a:lnTo>
                      <a:pt x="25" y="66"/>
                    </a:lnTo>
                    <a:lnTo>
                      <a:pt x="23" y="66"/>
                    </a:lnTo>
                    <a:lnTo>
                      <a:pt x="21" y="69"/>
                    </a:lnTo>
                    <a:lnTo>
                      <a:pt x="20" y="69"/>
                    </a:lnTo>
                    <a:lnTo>
                      <a:pt x="16" y="68"/>
                    </a:lnTo>
                    <a:lnTo>
                      <a:pt x="5" y="68"/>
                    </a:lnTo>
                    <a:lnTo>
                      <a:pt x="0" y="69"/>
                    </a:lnTo>
                    <a:lnTo>
                      <a:pt x="0" y="77"/>
                    </a:lnTo>
                    <a:lnTo>
                      <a:pt x="2" y="78"/>
                    </a:lnTo>
                    <a:lnTo>
                      <a:pt x="3" y="78"/>
                    </a:lnTo>
                    <a:lnTo>
                      <a:pt x="5" y="78"/>
                    </a:lnTo>
                    <a:lnTo>
                      <a:pt x="11" y="78"/>
                    </a:lnTo>
                    <a:lnTo>
                      <a:pt x="20" y="78"/>
                    </a:lnTo>
                    <a:lnTo>
                      <a:pt x="21" y="78"/>
                    </a:lnTo>
                    <a:lnTo>
                      <a:pt x="23" y="80"/>
                    </a:lnTo>
                    <a:lnTo>
                      <a:pt x="25" y="80"/>
                    </a:lnTo>
                    <a:lnTo>
                      <a:pt x="34" y="78"/>
                    </a:lnTo>
                    <a:lnTo>
                      <a:pt x="36" y="78"/>
                    </a:lnTo>
                    <a:lnTo>
                      <a:pt x="39" y="80"/>
                    </a:lnTo>
                    <a:lnTo>
                      <a:pt x="41" y="84"/>
                    </a:lnTo>
                    <a:lnTo>
                      <a:pt x="45" y="84"/>
                    </a:lnTo>
                    <a:lnTo>
                      <a:pt x="46" y="84"/>
                    </a:lnTo>
                    <a:lnTo>
                      <a:pt x="52" y="82"/>
                    </a:lnTo>
                    <a:lnTo>
                      <a:pt x="55" y="82"/>
                    </a:lnTo>
                    <a:lnTo>
                      <a:pt x="61" y="82"/>
                    </a:lnTo>
                    <a:lnTo>
                      <a:pt x="64" y="82"/>
                    </a:lnTo>
                    <a:lnTo>
                      <a:pt x="66" y="82"/>
                    </a:lnTo>
                    <a:lnTo>
                      <a:pt x="68" y="78"/>
                    </a:lnTo>
                    <a:lnTo>
                      <a:pt x="73" y="78"/>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14" name="Freeform 3069"/>
              <p:cNvSpPr>
                <a:spLocks/>
              </p:cNvSpPr>
              <p:nvPr/>
            </p:nvSpPr>
            <p:spPr bwMode="auto">
              <a:xfrm>
                <a:off x="3050" y="1729"/>
                <a:ext cx="289" cy="193"/>
              </a:xfrm>
              <a:custGeom>
                <a:avLst/>
                <a:gdLst>
                  <a:gd name="T0" fmla="*/ 39 w 289"/>
                  <a:gd name="T1" fmla="*/ 111 h 193"/>
                  <a:gd name="T2" fmla="*/ 5 w 289"/>
                  <a:gd name="T3" fmla="*/ 84 h 193"/>
                  <a:gd name="T4" fmla="*/ 30 w 289"/>
                  <a:gd name="T5" fmla="*/ 46 h 193"/>
                  <a:gd name="T6" fmla="*/ 26 w 289"/>
                  <a:gd name="T7" fmla="*/ 20 h 193"/>
                  <a:gd name="T8" fmla="*/ 51 w 289"/>
                  <a:gd name="T9" fmla="*/ 12 h 193"/>
                  <a:gd name="T10" fmla="*/ 80 w 289"/>
                  <a:gd name="T11" fmla="*/ 20 h 193"/>
                  <a:gd name="T12" fmla="*/ 92 w 289"/>
                  <a:gd name="T13" fmla="*/ 23 h 193"/>
                  <a:gd name="T14" fmla="*/ 105 w 289"/>
                  <a:gd name="T15" fmla="*/ 25 h 193"/>
                  <a:gd name="T16" fmla="*/ 119 w 289"/>
                  <a:gd name="T17" fmla="*/ 27 h 193"/>
                  <a:gd name="T18" fmla="*/ 137 w 289"/>
                  <a:gd name="T19" fmla="*/ 21 h 193"/>
                  <a:gd name="T20" fmla="*/ 148 w 289"/>
                  <a:gd name="T21" fmla="*/ 7 h 193"/>
                  <a:gd name="T22" fmla="*/ 162 w 289"/>
                  <a:gd name="T23" fmla="*/ 7 h 193"/>
                  <a:gd name="T24" fmla="*/ 184 w 289"/>
                  <a:gd name="T25" fmla="*/ 2 h 193"/>
                  <a:gd name="T26" fmla="*/ 198 w 289"/>
                  <a:gd name="T27" fmla="*/ 16 h 193"/>
                  <a:gd name="T28" fmla="*/ 209 w 289"/>
                  <a:gd name="T29" fmla="*/ 28 h 193"/>
                  <a:gd name="T30" fmla="*/ 217 w 289"/>
                  <a:gd name="T31" fmla="*/ 50 h 193"/>
                  <a:gd name="T32" fmla="*/ 234 w 289"/>
                  <a:gd name="T33" fmla="*/ 53 h 193"/>
                  <a:gd name="T34" fmla="*/ 260 w 289"/>
                  <a:gd name="T35" fmla="*/ 59 h 193"/>
                  <a:gd name="T36" fmla="*/ 278 w 289"/>
                  <a:gd name="T37" fmla="*/ 66 h 193"/>
                  <a:gd name="T38" fmla="*/ 287 w 289"/>
                  <a:gd name="T39" fmla="*/ 84 h 193"/>
                  <a:gd name="T40" fmla="*/ 282 w 289"/>
                  <a:gd name="T41" fmla="*/ 93 h 193"/>
                  <a:gd name="T42" fmla="*/ 282 w 289"/>
                  <a:gd name="T43" fmla="*/ 114 h 193"/>
                  <a:gd name="T44" fmla="*/ 264 w 289"/>
                  <a:gd name="T45" fmla="*/ 118 h 193"/>
                  <a:gd name="T46" fmla="*/ 242 w 289"/>
                  <a:gd name="T47" fmla="*/ 134 h 193"/>
                  <a:gd name="T48" fmla="*/ 225 w 289"/>
                  <a:gd name="T49" fmla="*/ 141 h 193"/>
                  <a:gd name="T50" fmla="*/ 209 w 289"/>
                  <a:gd name="T51" fmla="*/ 153 h 193"/>
                  <a:gd name="T52" fmla="*/ 209 w 289"/>
                  <a:gd name="T53" fmla="*/ 150 h 193"/>
                  <a:gd name="T54" fmla="*/ 203 w 289"/>
                  <a:gd name="T55" fmla="*/ 155 h 193"/>
                  <a:gd name="T56" fmla="*/ 200 w 289"/>
                  <a:gd name="T57" fmla="*/ 153 h 193"/>
                  <a:gd name="T58" fmla="*/ 192 w 289"/>
                  <a:gd name="T59" fmla="*/ 153 h 193"/>
                  <a:gd name="T60" fmla="*/ 192 w 289"/>
                  <a:gd name="T61" fmla="*/ 157 h 193"/>
                  <a:gd name="T62" fmla="*/ 200 w 289"/>
                  <a:gd name="T63" fmla="*/ 159 h 193"/>
                  <a:gd name="T64" fmla="*/ 205 w 289"/>
                  <a:gd name="T65" fmla="*/ 164 h 193"/>
                  <a:gd name="T66" fmla="*/ 217 w 289"/>
                  <a:gd name="T67" fmla="*/ 173 h 193"/>
                  <a:gd name="T68" fmla="*/ 234 w 289"/>
                  <a:gd name="T69" fmla="*/ 170 h 193"/>
                  <a:gd name="T70" fmla="*/ 216 w 289"/>
                  <a:gd name="T71" fmla="*/ 177 h 193"/>
                  <a:gd name="T72" fmla="*/ 198 w 289"/>
                  <a:gd name="T73" fmla="*/ 187 h 193"/>
                  <a:gd name="T74" fmla="*/ 185 w 289"/>
                  <a:gd name="T75" fmla="*/ 193 h 193"/>
                  <a:gd name="T76" fmla="*/ 178 w 289"/>
                  <a:gd name="T77" fmla="*/ 175 h 193"/>
                  <a:gd name="T78" fmla="*/ 178 w 289"/>
                  <a:gd name="T79" fmla="*/ 161 h 193"/>
                  <a:gd name="T80" fmla="*/ 182 w 289"/>
                  <a:gd name="T81" fmla="*/ 155 h 193"/>
                  <a:gd name="T82" fmla="*/ 164 w 289"/>
                  <a:gd name="T83" fmla="*/ 153 h 193"/>
                  <a:gd name="T84" fmla="*/ 159 w 289"/>
                  <a:gd name="T85" fmla="*/ 146 h 193"/>
                  <a:gd name="T86" fmla="*/ 162 w 289"/>
                  <a:gd name="T87" fmla="*/ 145 h 193"/>
                  <a:gd name="T88" fmla="*/ 148 w 289"/>
                  <a:gd name="T89" fmla="*/ 143 h 193"/>
                  <a:gd name="T90" fmla="*/ 130 w 289"/>
                  <a:gd name="T91" fmla="*/ 150 h 193"/>
                  <a:gd name="T92" fmla="*/ 126 w 289"/>
                  <a:gd name="T93" fmla="*/ 161 h 193"/>
                  <a:gd name="T94" fmla="*/ 121 w 289"/>
                  <a:gd name="T95" fmla="*/ 161 h 193"/>
                  <a:gd name="T96" fmla="*/ 107 w 289"/>
                  <a:gd name="T97" fmla="*/ 173 h 193"/>
                  <a:gd name="T98" fmla="*/ 101 w 289"/>
                  <a:gd name="T99" fmla="*/ 166 h 193"/>
                  <a:gd name="T100" fmla="*/ 109 w 289"/>
                  <a:gd name="T101" fmla="*/ 155 h 193"/>
                  <a:gd name="T102" fmla="*/ 123 w 289"/>
                  <a:gd name="T103" fmla="*/ 148 h 193"/>
                  <a:gd name="T104" fmla="*/ 125 w 289"/>
                  <a:gd name="T105" fmla="*/ 136 h 193"/>
                  <a:gd name="T106" fmla="*/ 114 w 289"/>
                  <a:gd name="T107" fmla="*/ 121 h 193"/>
                  <a:gd name="T108" fmla="*/ 103 w 289"/>
                  <a:gd name="T109" fmla="*/ 105 h 193"/>
                  <a:gd name="T110" fmla="*/ 75 w 289"/>
                  <a:gd name="T111"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9" h="193">
                    <a:moveTo>
                      <a:pt x="71" y="103"/>
                    </a:moveTo>
                    <a:lnTo>
                      <a:pt x="69" y="103"/>
                    </a:lnTo>
                    <a:lnTo>
                      <a:pt x="60" y="109"/>
                    </a:lnTo>
                    <a:lnTo>
                      <a:pt x="50" y="111"/>
                    </a:lnTo>
                    <a:lnTo>
                      <a:pt x="44" y="114"/>
                    </a:lnTo>
                    <a:lnTo>
                      <a:pt x="39" y="111"/>
                    </a:lnTo>
                    <a:lnTo>
                      <a:pt x="12" y="111"/>
                    </a:lnTo>
                    <a:lnTo>
                      <a:pt x="10" y="111"/>
                    </a:lnTo>
                    <a:lnTo>
                      <a:pt x="9" y="107"/>
                    </a:lnTo>
                    <a:lnTo>
                      <a:pt x="0" y="100"/>
                    </a:lnTo>
                    <a:lnTo>
                      <a:pt x="5" y="84"/>
                    </a:lnTo>
                    <a:lnTo>
                      <a:pt x="5" y="84"/>
                    </a:lnTo>
                    <a:lnTo>
                      <a:pt x="9" y="84"/>
                    </a:lnTo>
                    <a:lnTo>
                      <a:pt x="9" y="78"/>
                    </a:lnTo>
                    <a:lnTo>
                      <a:pt x="9" y="75"/>
                    </a:lnTo>
                    <a:lnTo>
                      <a:pt x="17" y="59"/>
                    </a:lnTo>
                    <a:lnTo>
                      <a:pt x="30" y="50"/>
                    </a:lnTo>
                    <a:lnTo>
                      <a:pt x="30" y="46"/>
                    </a:lnTo>
                    <a:lnTo>
                      <a:pt x="28" y="41"/>
                    </a:lnTo>
                    <a:lnTo>
                      <a:pt x="30" y="39"/>
                    </a:lnTo>
                    <a:lnTo>
                      <a:pt x="26" y="34"/>
                    </a:lnTo>
                    <a:lnTo>
                      <a:pt x="21" y="21"/>
                    </a:lnTo>
                    <a:lnTo>
                      <a:pt x="23" y="20"/>
                    </a:lnTo>
                    <a:lnTo>
                      <a:pt x="26" y="20"/>
                    </a:lnTo>
                    <a:lnTo>
                      <a:pt x="28" y="20"/>
                    </a:lnTo>
                    <a:lnTo>
                      <a:pt x="32" y="18"/>
                    </a:lnTo>
                    <a:lnTo>
                      <a:pt x="34" y="16"/>
                    </a:lnTo>
                    <a:lnTo>
                      <a:pt x="35" y="14"/>
                    </a:lnTo>
                    <a:lnTo>
                      <a:pt x="50" y="11"/>
                    </a:lnTo>
                    <a:lnTo>
                      <a:pt x="51" y="12"/>
                    </a:lnTo>
                    <a:lnTo>
                      <a:pt x="59" y="11"/>
                    </a:lnTo>
                    <a:lnTo>
                      <a:pt x="67" y="16"/>
                    </a:lnTo>
                    <a:lnTo>
                      <a:pt x="69" y="16"/>
                    </a:lnTo>
                    <a:lnTo>
                      <a:pt x="73" y="16"/>
                    </a:lnTo>
                    <a:lnTo>
                      <a:pt x="78" y="18"/>
                    </a:lnTo>
                    <a:lnTo>
                      <a:pt x="80" y="20"/>
                    </a:lnTo>
                    <a:lnTo>
                      <a:pt x="82" y="21"/>
                    </a:lnTo>
                    <a:lnTo>
                      <a:pt x="85" y="21"/>
                    </a:lnTo>
                    <a:lnTo>
                      <a:pt x="87" y="25"/>
                    </a:lnTo>
                    <a:lnTo>
                      <a:pt x="89" y="25"/>
                    </a:lnTo>
                    <a:lnTo>
                      <a:pt x="91" y="25"/>
                    </a:lnTo>
                    <a:lnTo>
                      <a:pt x="92" y="23"/>
                    </a:lnTo>
                    <a:lnTo>
                      <a:pt x="94" y="23"/>
                    </a:lnTo>
                    <a:lnTo>
                      <a:pt x="96" y="21"/>
                    </a:lnTo>
                    <a:lnTo>
                      <a:pt x="98" y="23"/>
                    </a:lnTo>
                    <a:lnTo>
                      <a:pt x="101" y="23"/>
                    </a:lnTo>
                    <a:lnTo>
                      <a:pt x="103" y="23"/>
                    </a:lnTo>
                    <a:lnTo>
                      <a:pt x="105" y="25"/>
                    </a:lnTo>
                    <a:lnTo>
                      <a:pt x="107" y="27"/>
                    </a:lnTo>
                    <a:lnTo>
                      <a:pt x="112" y="21"/>
                    </a:lnTo>
                    <a:lnTo>
                      <a:pt x="116" y="23"/>
                    </a:lnTo>
                    <a:lnTo>
                      <a:pt x="116" y="27"/>
                    </a:lnTo>
                    <a:lnTo>
                      <a:pt x="117" y="28"/>
                    </a:lnTo>
                    <a:lnTo>
                      <a:pt x="119" y="27"/>
                    </a:lnTo>
                    <a:lnTo>
                      <a:pt x="130" y="25"/>
                    </a:lnTo>
                    <a:lnTo>
                      <a:pt x="132" y="27"/>
                    </a:lnTo>
                    <a:lnTo>
                      <a:pt x="134" y="28"/>
                    </a:lnTo>
                    <a:lnTo>
                      <a:pt x="135" y="28"/>
                    </a:lnTo>
                    <a:lnTo>
                      <a:pt x="137" y="27"/>
                    </a:lnTo>
                    <a:lnTo>
                      <a:pt x="137" y="21"/>
                    </a:lnTo>
                    <a:lnTo>
                      <a:pt x="137" y="18"/>
                    </a:lnTo>
                    <a:lnTo>
                      <a:pt x="137" y="16"/>
                    </a:lnTo>
                    <a:lnTo>
                      <a:pt x="137" y="14"/>
                    </a:lnTo>
                    <a:lnTo>
                      <a:pt x="142" y="9"/>
                    </a:lnTo>
                    <a:lnTo>
                      <a:pt x="146" y="7"/>
                    </a:lnTo>
                    <a:lnTo>
                      <a:pt x="148" y="7"/>
                    </a:lnTo>
                    <a:lnTo>
                      <a:pt x="150" y="5"/>
                    </a:lnTo>
                    <a:lnTo>
                      <a:pt x="157" y="5"/>
                    </a:lnTo>
                    <a:lnTo>
                      <a:pt x="155" y="5"/>
                    </a:lnTo>
                    <a:lnTo>
                      <a:pt x="157" y="7"/>
                    </a:lnTo>
                    <a:lnTo>
                      <a:pt x="160" y="9"/>
                    </a:lnTo>
                    <a:lnTo>
                      <a:pt x="162" y="7"/>
                    </a:lnTo>
                    <a:lnTo>
                      <a:pt x="164" y="5"/>
                    </a:lnTo>
                    <a:lnTo>
                      <a:pt x="164" y="3"/>
                    </a:lnTo>
                    <a:lnTo>
                      <a:pt x="166" y="2"/>
                    </a:lnTo>
                    <a:lnTo>
                      <a:pt x="173" y="2"/>
                    </a:lnTo>
                    <a:lnTo>
                      <a:pt x="178" y="2"/>
                    </a:lnTo>
                    <a:lnTo>
                      <a:pt x="184" y="2"/>
                    </a:lnTo>
                    <a:lnTo>
                      <a:pt x="187" y="0"/>
                    </a:lnTo>
                    <a:lnTo>
                      <a:pt x="191" y="3"/>
                    </a:lnTo>
                    <a:lnTo>
                      <a:pt x="192" y="5"/>
                    </a:lnTo>
                    <a:lnTo>
                      <a:pt x="192" y="9"/>
                    </a:lnTo>
                    <a:lnTo>
                      <a:pt x="198" y="14"/>
                    </a:lnTo>
                    <a:lnTo>
                      <a:pt x="198" y="16"/>
                    </a:lnTo>
                    <a:lnTo>
                      <a:pt x="194" y="18"/>
                    </a:lnTo>
                    <a:lnTo>
                      <a:pt x="192" y="18"/>
                    </a:lnTo>
                    <a:lnTo>
                      <a:pt x="194" y="27"/>
                    </a:lnTo>
                    <a:lnTo>
                      <a:pt x="203" y="30"/>
                    </a:lnTo>
                    <a:lnTo>
                      <a:pt x="207" y="28"/>
                    </a:lnTo>
                    <a:lnTo>
                      <a:pt x="209" y="28"/>
                    </a:lnTo>
                    <a:lnTo>
                      <a:pt x="209" y="32"/>
                    </a:lnTo>
                    <a:lnTo>
                      <a:pt x="212" y="36"/>
                    </a:lnTo>
                    <a:lnTo>
                      <a:pt x="214" y="43"/>
                    </a:lnTo>
                    <a:lnTo>
                      <a:pt x="214" y="45"/>
                    </a:lnTo>
                    <a:lnTo>
                      <a:pt x="214" y="48"/>
                    </a:lnTo>
                    <a:lnTo>
                      <a:pt x="217" y="50"/>
                    </a:lnTo>
                    <a:lnTo>
                      <a:pt x="221" y="50"/>
                    </a:lnTo>
                    <a:lnTo>
                      <a:pt x="223" y="48"/>
                    </a:lnTo>
                    <a:lnTo>
                      <a:pt x="225" y="50"/>
                    </a:lnTo>
                    <a:lnTo>
                      <a:pt x="228" y="52"/>
                    </a:lnTo>
                    <a:lnTo>
                      <a:pt x="230" y="52"/>
                    </a:lnTo>
                    <a:lnTo>
                      <a:pt x="234" y="53"/>
                    </a:lnTo>
                    <a:lnTo>
                      <a:pt x="244" y="48"/>
                    </a:lnTo>
                    <a:lnTo>
                      <a:pt x="246" y="50"/>
                    </a:lnTo>
                    <a:lnTo>
                      <a:pt x="255" y="61"/>
                    </a:lnTo>
                    <a:lnTo>
                      <a:pt x="257" y="61"/>
                    </a:lnTo>
                    <a:lnTo>
                      <a:pt x="259" y="59"/>
                    </a:lnTo>
                    <a:lnTo>
                      <a:pt x="260" y="59"/>
                    </a:lnTo>
                    <a:lnTo>
                      <a:pt x="262" y="61"/>
                    </a:lnTo>
                    <a:lnTo>
                      <a:pt x="266" y="62"/>
                    </a:lnTo>
                    <a:lnTo>
                      <a:pt x="267" y="64"/>
                    </a:lnTo>
                    <a:lnTo>
                      <a:pt x="273" y="64"/>
                    </a:lnTo>
                    <a:lnTo>
                      <a:pt x="276" y="66"/>
                    </a:lnTo>
                    <a:lnTo>
                      <a:pt x="278" y="66"/>
                    </a:lnTo>
                    <a:lnTo>
                      <a:pt x="282" y="70"/>
                    </a:lnTo>
                    <a:lnTo>
                      <a:pt x="287" y="70"/>
                    </a:lnTo>
                    <a:lnTo>
                      <a:pt x="289" y="71"/>
                    </a:lnTo>
                    <a:lnTo>
                      <a:pt x="287" y="71"/>
                    </a:lnTo>
                    <a:lnTo>
                      <a:pt x="289" y="78"/>
                    </a:lnTo>
                    <a:lnTo>
                      <a:pt x="287" y="84"/>
                    </a:lnTo>
                    <a:lnTo>
                      <a:pt x="282" y="84"/>
                    </a:lnTo>
                    <a:lnTo>
                      <a:pt x="284" y="86"/>
                    </a:lnTo>
                    <a:lnTo>
                      <a:pt x="285" y="87"/>
                    </a:lnTo>
                    <a:lnTo>
                      <a:pt x="287" y="89"/>
                    </a:lnTo>
                    <a:lnTo>
                      <a:pt x="284" y="89"/>
                    </a:lnTo>
                    <a:lnTo>
                      <a:pt x="282" y="93"/>
                    </a:lnTo>
                    <a:lnTo>
                      <a:pt x="282" y="95"/>
                    </a:lnTo>
                    <a:lnTo>
                      <a:pt x="284" y="96"/>
                    </a:lnTo>
                    <a:lnTo>
                      <a:pt x="284" y="98"/>
                    </a:lnTo>
                    <a:lnTo>
                      <a:pt x="284" y="100"/>
                    </a:lnTo>
                    <a:lnTo>
                      <a:pt x="285" y="102"/>
                    </a:lnTo>
                    <a:lnTo>
                      <a:pt x="282" y="114"/>
                    </a:lnTo>
                    <a:lnTo>
                      <a:pt x="280" y="114"/>
                    </a:lnTo>
                    <a:lnTo>
                      <a:pt x="276" y="112"/>
                    </a:lnTo>
                    <a:lnTo>
                      <a:pt x="273" y="114"/>
                    </a:lnTo>
                    <a:lnTo>
                      <a:pt x="269" y="111"/>
                    </a:lnTo>
                    <a:lnTo>
                      <a:pt x="267" y="112"/>
                    </a:lnTo>
                    <a:lnTo>
                      <a:pt x="264" y="118"/>
                    </a:lnTo>
                    <a:lnTo>
                      <a:pt x="260" y="120"/>
                    </a:lnTo>
                    <a:lnTo>
                      <a:pt x="259" y="123"/>
                    </a:lnTo>
                    <a:lnTo>
                      <a:pt x="259" y="130"/>
                    </a:lnTo>
                    <a:lnTo>
                      <a:pt x="248" y="132"/>
                    </a:lnTo>
                    <a:lnTo>
                      <a:pt x="244" y="134"/>
                    </a:lnTo>
                    <a:lnTo>
                      <a:pt x="242" y="134"/>
                    </a:lnTo>
                    <a:lnTo>
                      <a:pt x="237" y="137"/>
                    </a:lnTo>
                    <a:lnTo>
                      <a:pt x="237" y="141"/>
                    </a:lnTo>
                    <a:lnTo>
                      <a:pt x="234" y="137"/>
                    </a:lnTo>
                    <a:lnTo>
                      <a:pt x="226" y="141"/>
                    </a:lnTo>
                    <a:lnTo>
                      <a:pt x="226" y="143"/>
                    </a:lnTo>
                    <a:lnTo>
                      <a:pt x="225" y="141"/>
                    </a:lnTo>
                    <a:lnTo>
                      <a:pt x="223" y="143"/>
                    </a:lnTo>
                    <a:lnTo>
                      <a:pt x="219" y="143"/>
                    </a:lnTo>
                    <a:lnTo>
                      <a:pt x="216" y="146"/>
                    </a:lnTo>
                    <a:lnTo>
                      <a:pt x="214" y="146"/>
                    </a:lnTo>
                    <a:lnTo>
                      <a:pt x="210" y="153"/>
                    </a:lnTo>
                    <a:lnTo>
                      <a:pt x="209" y="153"/>
                    </a:lnTo>
                    <a:lnTo>
                      <a:pt x="209" y="152"/>
                    </a:lnTo>
                    <a:lnTo>
                      <a:pt x="210" y="152"/>
                    </a:lnTo>
                    <a:lnTo>
                      <a:pt x="212" y="150"/>
                    </a:lnTo>
                    <a:lnTo>
                      <a:pt x="210" y="146"/>
                    </a:lnTo>
                    <a:lnTo>
                      <a:pt x="209" y="146"/>
                    </a:lnTo>
                    <a:lnTo>
                      <a:pt x="209" y="150"/>
                    </a:lnTo>
                    <a:lnTo>
                      <a:pt x="205" y="153"/>
                    </a:lnTo>
                    <a:lnTo>
                      <a:pt x="207" y="161"/>
                    </a:lnTo>
                    <a:lnTo>
                      <a:pt x="205" y="161"/>
                    </a:lnTo>
                    <a:lnTo>
                      <a:pt x="205" y="159"/>
                    </a:lnTo>
                    <a:lnTo>
                      <a:pt x="203" y="155"/>
                    </a:lnTo>
                    <a:lnTo>
                      <a:pt x="203" y="155"/>
                    </a:lnTo>
                    <a:lnTo>
                      <a:pt x="203" y="153"/>
                    </a:lnTo>
                    <a:lnTo>
                      <a:pt x="201" y="155"/>
                    </a:lnTo>
                    <a:lnTo>
                      <a:pt x="200" y="157"/>
                    </a:lnTo>
                    <a:lnTo>
                      <a:pt x="200" y="155"/>
                    </a:lnTo>
                    <a:lnTo>
                      <a:pt x="200" y="153"/>
                    </a:lnTo>
                    <a:lnTo>
                      <a:pt x="200" y="153"/>
                    </a:lnTo>
                    <a:lnTo>
                      <a:pt x="194" y="153"/>
                    </a:lnTo>
                    <a:lnTo>
                      <a:pt x="194" y="152"/>
                    </a:lnTo>
                    <a:lnTo>
                      <a:pt x="194" y="150"/>
                    </a:lnTo>
                    <a:lnTo>
                      <a:pt x="192" y="148"/>
                    </a:lnTo>
                    <a:lnTo>
                      <a:pt x="192" y="153"/>
                    </a:lnTo>
                    <a:lnTo>
                      <a:pt x="192" y="153"/>
                    </a:lnTo>
                    <a:lnTo>
                      <a:pt x="187" y="152"/>
                    </a:lnTo>
                    <a:lnTo>
                      <a:pt x="189" y="153"/>
                    </a:lnTo>
                    <a:lnTo>
                      <a:pt x="191" y="153"/>
                    </a:lnTo>
                    <a:lnTo>
                      <a:pt x="192" y="155"/>
                    </a:lnTo>
                    <a:lnTo>
                      <a:pt x="192" y="155"/>
                    </a:lnTo>
                    <a:lnTo>
                      <a:pt x="192" y="157"/>
                    </a:lnTo>
                    <a:lnTo>
                      <a:pt x="194" y="159"/>
                    </a:lnTo>
                    <a:lnTo>
                      <a:pt x="194" y="159"/>
                    </a:lnTo>
                    <a:lnTo>
                      <a:pt x="194" y="157"/>
                    </a:lnTo>
                    <a:lnTo>
                      <a:pt x="198" y="157"/>
                    </a:lnTo>
                    <a:lnTo>
                      <a:pt x="200" y="159"/>
                    </a:lnTo>
                    <a:lnTo>
                      <a:pt x="200" y="159"/>
                    </a:lnTo>
                    <a:lnTo>
                      <a:pt x="200" y="162"/>
                    </a:lnTo>
                    <a:lnTo>
                      <a:pt x="200" y="162"/>
                    </a:lnTo>
                    <a:lnTo>
                      <a:pt x="201" y="161"/>
                    </a:lnTo>
                    <a:lnTo>
                      <a:pt x="203" y="162"/>
                    </a:lnTo>
                    <a:lnTo>
                      <a:pt x="201" y="164"/>
                    </a:lnTo>
                    <a:lnTo>
                      <a:pt x="205" y="164"/>
                    </a:lnTo>
                    <a:lnTo>
                      <a:pt x="207" y="166"/>
                    </a:lnTo>
                    <a:lnTo>
                      <a:pt x="209" y="173"/>
                    </a:lnTo>
                    <a:lnTo>
                      <a:pt x="209" y="171"/>
                    </a:lnTo>
                    <a:lnTo>
                      <a:pt x="214" y="173"/>
                    </a:lnTo>
                    <a:lnTo>
                      <a:pt x="214" y="171"/>
                    </a:lnTo>
                    <a:lnTo>
                      <a:pt x="217" y="173"/>
                    </a:lnTo>
                    <a:lnTo>
                      <a:pt x="221" y="170"/>
                    </a:lnTo>
                    <a:lnTo>
                      <a:pt x="223" y="170"/>
                    </a:lnTo>
                    <a:lnTo>
                      <a:pt x="223" y="171"/>
                    </a:lnTo>
                    <a:lnTo>
                      <a:pt x="225" y="170"/>
                    </a:lnTo>
                    <a:lnTo>
                      <a:pt x="230" y="168"/>
                    </a:lnTo>
                    <a:lnTo>
                      <a:pt x="234" y="170"/>
                    </a:lnTo>
                    <a:lnTo>
                      <a:pt x="232" y="171"/>
                    </a:lnTo>
                    <a:lnTo>
                      <a:pt x="232" y="173"/>
                    </a:lnTo>
                    <a:lnTo>
                      <a:pt x="230" y="178"/>
                    </a:lnTo>
                    <a:lnTo>
                      <a:pt x="225" y="178"/>
                    </a:lnTo>
                    <a:lnTo>
                      <a:pt x="225" y="178"/>
                    </a:lnTo>
                    <a:lnTo>
                      <a:pt x="216" y="177"/>
                    </a:lnTo>
                    <a:lnTo>
                      <a:pt x="207" y="184"/>
                    </a:lnTo>
                    <a:lnTo>
                      <a:pt x="203" y="184"/>
                    </a:lnTo>
                    <a:lnTo>
                      <a:pt x="200" y="184"/>
                    </a:lnTo>
                    <a:lnTo>
                      <a:pt x="201" y="186"/>
                    </a:lnTo>
                    <a:lnTo>
                      <a:pt x="200" y="186"/>
                    </a:lnTo>
                    <a:lnTo>
                      <a:pt x="198" y="187"/>
                    </a:lnTo>
                    <a:lnTo>
                      <a:pt x="198" y="189"/>
                    </a:lnTo>
                    <a:lnTo>
                      <a:pt x="196" y="191"/>
                    </a:lnTo>
                    <a:lnTo>
                      <a:pt x="194" y="191"/>
                    </a:lnTo>
                    <a:lnTo>
                      <a:pt x="191" y="193"/>
                    </a:lnTo>
                    <a:lnTo>
                      <a:pt x="187" y="193"/>
                    </a:lnTo>
                    <a:lnTo>
                      <a:pt x="185" y="193"/>
                    </a:lnTo>
                    <a:lnTo>
                      <a:pt x="182" y="189"/>
                    </a:lnTo>
                    <a:lnTo>
                      <a:pt x="184" y="187"/>
                    </a:lnTo>
                    <a:lnTo>
                      <a:pt x="184" y="178"/>
                    </a:lnTo>
                    <a:lnTo>
                      <a:pt x="182" y="177"/>
                    </a:lnTo>
                    <a:lnTo>
                      <a:pt x="180" y="175"/>
                    </a:lnTo>
                    <a:lnTo>
                      <a:pt x="178" y="175"/>
                    </a:lnTo>
                    <a:lnTo>
                      <a:pt x="173" y="171"/>
                    </a:lnTo>
                    <a:lnTo>
                      <a:pt x="167" y="171"/>
                    </a:lnTo>
                    <a:lnTo>
                      <a:pt x="167" y="170"/>
                    </a:lnTo>
                    <a:lnTo>
                      <a:pt x="169" y="168"/>
                    </a:lnTo>
                    <a:lnTo>
                      <a:pt x="171" y="168"/>
                    </a:lnTo>
                    <a:lnTo>
                      <a:pt x="178" y="161"/>
                    </a:lnTo>
                    <a:lnTo>
                      <a:pt x="185" y="159"/>
                    </a:lnTo>
                    <a:lnTo>
                      <a:pt x="187" y="159"/>
                    </a:lnTo>
                    <a:lnTo>
                      <a:pt x="185" y="157"/>
                    </a:lnTo>
                    <a:lnTo>
                      <a:pt x="185" y="155"/>
                    </a:lnTo>
                    <a:lnTo>
                      <a:pt x="184" y="153"/>
                    </a:lnTo>
                    <a:lnTo>
                      <a:pt x="182" y="155"/>
                    </a:lnTo>
                    <a:lnTo>
                      <a:pt x="180" y="153"/>
                    </a:lnTo>
                    <a:lnTo>
                      <a:pt x="180" y="152"/>
                    </a:lnTo>
                    <a:lnTo>
                      <a:pt x="176" y="153"/>
                    </a:lnTo>
                    <a:lnTo>
                      <a:pt x="176" y="153"/>
                    </a:lnTo>
                    <a:lnTo>
                      <a:pt x="167" y="155"/>
                    </a:lnTo>
                    <a:lnTo>
                      <a:pt x="164" y="153"/>
                    </a:lnTo>
                    <a:lnTo>
                      <a:pt x="162" y="152"/>
                    </a:lnTo>
                    <a:lnTo>
                      <a:pt x="160" y="152"/>
                    </a:lnTo>
                    <a:lnTo>
                      <a:pt x="157" y="152"/>
                    </a:lnTo>
                    <a:lnTo>
                      <a:pt x="157" y="150"/>
                    </a:lnTo>
                    <a:lnTo>
                      <a:pt x="160" y="148"/>
                    </a:lnTo>
                    <a:lnTo>
                      <a:pt x="159" y="146"/>
                    </a:lnTo>
                    <a:lnTo>
                      <a:pt x="155" y="146"/>
                    </a:lnTo>
                    <a:lnTo>
                      <a:pt x="153" y="146"/>
                    </a:lnTo>
                    <a:lnTo>
                      <a:pt x="155" y="145"/>
                    </a:lnTo>
                    <a:lnTo>
                      <a:pt x="162" y="146"/>
                    </a:lnTo>
                    <a:lnTo>
                      <a:pt x="164" y="145"/>
                    </a:lnTo>
                    <a:lnTo>
                      <a:pt x="162" y="145"/>
                    </a:lnTo>
                    <a:lnTo>
                      <a:pt x="160" y="145"/>
                    </a:lnTo>
                    <a:lnTo>
                      <a:pt x="157" y="137"/>
                    </a:lnTo>
                    <a:lnTo>
                      <a:pt x="157" y="141"/>
                    </a:lnTo>
                    <a:lnTo>
                      <a:pt x="151" y="143"/>
                    </a:lnTo>
                    <a:lnTo>
                      <a:pt x="153" y="139"/>
                    </a:lnTo>
                    <a:lnTo>
                      <a:pt x="148" y="143"/>
                    </a:lnTo>
                    <a:lnTo>
                      <a:pt x="139" y="145"/>
                    </a:lnTo>
                    <a:lnTo>
                      <a:pt x="139" y="148"/>
                    </a:lnTo>
                    <a:lnTo>
                      <a:pt x="135" y="152"/>
                    </a:lnTo>
                    <a:lnTo>
                      <a:pt x="134" y="152"/>
                    </a:lnTo>
                    <a:lnTo>
                      <a:pt x="134" y="150"/>
                    </a:lnTo>
                    <a:lnTo>
                      <a:pt x="130" y="150"/>
                    </a:lnTo>
                    <a:lnTo>
                      <a:pt x="130" y="148"/>
                    </a:lnTo>
                    <a:lnTo>
                      <a:pt x="130" y="150"/>
                    </a:lnTo>
                    <a:lnTo>
                      <a:pt x="132" y="152"/>
                    </a:lnTo>
                    <a:lnTo>
                      <a:pt x="134" y="155"/>
                    </a:lnTo>
                    <a:lnTo>
                      <a:pt x="130" y="161"/>
                    </a:lnTo>
                    <a:lnTo>
                      <a:pt x="126" y="161"/>
                    </a:lnTo>
                    <a:lnTo>
                      <a:pt x="125" y="162"/>
                    </a:lnTo>
                    <a:lnTo>
                      <a:pt x="123" y="162"/>
                    </a:lnTo>
                    <a:lnTo>
                      <a:pt x="123" y="164"/>
                    </a:lnTo>
                    <a:lnTo>
                      <a:pt x="121" y="164"/>
                    </a:lnTo>
                    <a:lnTo>
                      <a:pt x="121" y="161"/>
                    </a:lnTo>
                    <a:lnTo>
                      <a:pt x="121" y="161"/>
                    </a:lnTo>
                    <a:lnTo>
                      <a:pt x="121" y="170"/>
                    </a:lnTo>
                    <a:lnTo>
                      <a:pt x="121" y="171"/>
                    </a:lnTo>
                    <a:lnTo>
                      <a:pt x="119" y="170"/>
                    </a:lnTo>
                    <a:lnTo>
                      <a:pt x="116" y="170"/>
                    </a:lnTo>
                    <a:lnTo>
                      <a:pt x="110" y="171"/>
                    </a:lnTo>
                    <a:lnTo>
                      <a:pt x="107" y="173"/>
                    </a:lnTo>
                    <a:lnTo>
                      <a:pt x="103" y="173"/>
                    </a:lnTo>
                    <a:lnTo>
                      <a:pt x="100" y="170"/>
                    </a:lnTo>
                    <a:lnTo>
                      <a:pt x="98" y="170"/>
                    </a:lnTo>
                    <a:lnTo>
                      <a:pt x="98" y="168"/>
                    </a:lnTo>
                    <a:lnTo>
                      <a:pt x="100" y="168"/>
                    </a:lnTo>
                    <a:lnTo>
                      <a:pt x="101" y="166"/>
                    </a:lnTo>
                    <a:lnTo>
                      <a:pt x="101" y="164"/>
                    </a:lnTo>
                    <a:lnTo>
                      <a:pt x="103" y="162"/>
                    </a:lnTo>
                    <a:lnTo>
                      <a:pt x="105" y="161"/>
                    </a:lnTo>
                    <a:lnTo>
                      <a:pt x="105" y="159"/>
                    </a:lnTo>
                    <a:lnTo>
                      <a:pt x="107" y="157"/>
                    </a:lnTo>
                    <a:lnTo>
                      <a:pt x="109" y="155"/>
                    </a:lnTo>
                    <a:lnTo>
                      <a:pt x="110" y="148"/>
                    </a:lnTo>
                    <a:lnTo>
                      <a:pt x="110" y="146"/>
                    </a:lnTo>
                    <a:lnTo>
                      <a:pt x="112" y="145"/>
                    </a:lnTo>
                    <a:lnTo>
                      <a:pt x="114" y="146"/>
                    </a:lnTo>
                    <a:lnTo>
                      <a:pt x="116" y="146"/>
                    </a:lnTo>
                    <a:lnTo>
                      <a:pt x="123" y="148"/>
                    </a:lnTo>
                    <a:lnTo>
                      <a:pt x="125" y="146"/>
                    </a:lnTo>
                    <a:lnTo>
                      <a:pt x="126" y="145"/>
                    </a:lnTo>
                    <a:lnTo>
                      <a:pt x="125" y="143"/>
                    </a:lnTo>
                    <a:lnTo>
                      <a:pt x="126" y="139"/>
                    </a:lnTo>
                    <a:lnTo>
                      <a:pt x="125" y="137"/>
                    </a:lnTo>
                    <a:lnTo>
                      <a:pt x="125" y="136"/>
                    </a:lnTo>
                    <a:lnTo>
                      <a:pt x="119" y="134"/>
                    </a:lnTo>
                    <a:lnTo>
                      <a:pt x="117" y="128"/>
                    </a:lnTo>
                    <a:lnTo>
                      <a:pt x="117" y="127"/>
                    </a:lnTo>
                    <a:lnTo>
                      <a:pt x="117" y="125"/>
                    </a:lnTo>
                    <a:lnTo>
                      <a:pt x="116" y="123"/>
                    </a:lnTo>
                    <a:lnTo>
                      <a:pt x="114" y="121"/>
                    </a:lnTo>
                    <a:lnTo>
                      <a:pt x="112" y="120"/>
                    </a:lnTo>
                    <a:lnTo>
                      <a:pt x="114" y="111"/>
                    </a:lnTo>
                    <a:lnTo>
                      <a:pt x="112" y="109"/>
                    </a:lnTo>
                    <a:lnTo>
                      <a:pt x="110" y="109"/>
                    </a:lnTo>
                    <a:lnTo>
                      <a:pt x="107" y="105"/>
                    </a:lnTo>
                    <a:lnTo>
                      <a:pt x="103" y="105"/>
                    </a:lnTo>
                    <a:lnTo>
                      <a:pt x="100" y="105"/>
                    </a:lnTo>
                    <a:lnTo>
                      <a:pt x="98" y="105"/>
                    </a:lnTo>
                    <a:lnTo>
                      <a:pt x="89" y="100"/>
                    </a:lnTo>
                    <a:lnTo>
                      <a:pt x="85" y="98"/>
                    </a:lnTo>
                    <a:lnTo>
                      <a:pt x="78" y="100"/>
                    </a:lnTo>
                    <a:lnTo>
                      <a:pt x="75" y="100"/>
                    </a:lnTo>
                    <a:lnTo>
                      <a:pt x="73" y="100"/>
                    </a:lnTo>
                    <a:lnTo>
                      <a:pt x="71" y="10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15" name="Freeform 3070"/>
              <p:cNvSpPr>
                <a:spLocks/>
              </p:cNvSpPr>
              <p:nvPr/>
            </p:nvSpPr>
            <p:spPr bwMode="auto">
              <a:xfrm>
                <a:off x="3050" y="1729"/>
                <a:ext cx="289" cy="193"/>
              </a:xfrm>
              <a:custGeom>
                <a:avLst/>
                <a:gdLst>
                  <a:gd name="T0" fmla="*/ 39 w 289"/>
                  <a:gd name="T1" fmla="*/ 111 h 193"/>
                  <a:gd name="T2" fmla="*/ 5 w 289"/>
                  <a:gd name="T3" fmla="*/ 84 h 193"/>
                  <a:gd name="T4" fmla="*/ 30 w 289"/>
                  <a:gd name="T5" fmla="*/ 46 h 193"/>
                  <a:gd name="T6" fmla="*/ 26 w 289"/>
                  <a:gd name="T7" fmla="*/ 20 h 193"/>
                  <a:gd name="T8" fmla="*/ 51 w 289"/>
                  <a:gd name="T9" fmla="*/ 12 h 193"/>
                  <a:gd name="T10" fmla="*/ 80 w 289"/>
                  <a:gd name="T11" fmla="*/ 20 h 193"/>
                  <a:gd name="T12" fmla="*/ 92 w 289"/>
                  <a:gd name="T13" fmla="*/ 23 h 193"/>
                  <a:gd name="T14" fmla="*/ 105 w 289"/>
                  <a:gd name="T15" fmla="*/ 25 h 193"/>
                  <a:gd name="T16" fmla="*/ 119 w 289"/>
                  <a:gd name="T17" fmla="*/ 27 h 193"/>
                  <a:gd name="T18" fmla="*/ 137 w 289"/>
                  <a:gd name="T19" fmla="*/ 21 h 193"/>
                  <a:gd name="T20" fmla="*/ 148 w 289"/>
                  <a:gd name="T21" fmla="*/ 7 h 193"/>
                  <a:gd name="T22" fmla="*/ 162 w 289"/>
                  <a:gd name="T23" fmla="*/ 7 h 193"/>
                  <a:gd name="T24" fmla="*/ 184 w 289"/>
                  <a:gd name="T25" fmla="*/ 2 h 193"/>
                  <a:gd name="T26" fmla="*/ 198 w 289"/>
                  <a:gd name="T27" fmla="*/ 16 h 193"/>
                  <a:gd name="T28" fmla="*/ 209 w 289"/>
                  <a:gd name="T29" fmla="*/ 28 h 193"/>
                  <a:gd name="T30" fmla="*/ 217 w 289"/>
                  <a:gd name="T31" fmla="*/ 50 h 193"/>
                  <a:gd name="T32" fmla="*/ 234 w 289"/>
                  <a:gd name="T33" fmla="*/ 53 h 193"/>
                  <a:gd name="T34" fmla="*/ 260 w 289"/>
                  <a:gd name="T35" fmla="*/ 59 h 193"/>
                  <a:gd name="T36" fmla="*/ 278 w 289"/>
                  <a:gd name="T37" fmla="*/ 66 h 193"/>
                  <a:gd name="T38" fmla="*/ 287 w 289"/>
                  <a:gd name="T39" fmla="*/ 84 h 193"/>
                  <a:gd name="T40" fmla="*/ 282 w 289"/>
                  <a:gd name="T41" fmla="*/ 93 h 193"/>
                  <a:gd name="T42" fmla="*/ 282 w 289"/>
                  <a:gd name="T43" fmla="*/ 114 h 193"/>
                  <a:gd name="T44" fmla="*/ 264 w 289"/>
                  <a:gd name="T45" fmla="*/ 118 h 193"/>
                  <a:gd name="T46" fmla="*/ 242 w 289"/>
                  <a:gd name="T47" fmla="*/ 134 h 193"/>
                  <a:gd name="T48" fmla="*/ 225 w 289"/>
                  <a:gd name="T49" fmla="*/ 141 h 193"/>
                  <a:gd name="T50" fmla="*/ 209 w 289"/>
                  <a:gd name="T51" fmla="*/ 153 h 193"/>
                  <a:gd name="T52" fmla="*/ 209 w 289"/>
                  <a:gd name="T53" fmla="*/ 150 h 193"/>
                  <a:gd name="T54" fmla="*/ 203 w 289"/>
                  <a:gd name="T55" fmla="*/ 155 h 193"/>
                  <a:gd name="T56" fmla="*/ 200 w 289"/>
                  <a:gd name="T57" fmla="*/ 153 h 193"/>
                  <a:gd name="T58" fmla="*/ 192 w 289"/>
                  <a:gd name="T59" fmla="*/ 153 h 193"/>
                  <a:gd name="T60" fmla="*/ 192 w 289"/>
                  <a:gd name="T61" fmla="*/ 157 h 193"/>
                  <a:gd name="T62" fmla="*/ 200 w 289"/>
                  <a:gd name="T63" fmla="*/ 159 h 193"/>
                  <a:gd name="T64" fmla="*/ 205 w 289"/>
                  <a:gd name="T65" fmla="*/ 164 h 193"/>
                  <a:gd name="T66" fmla="*/ 217 w 289"/>
                  <a:gd name="T67" fmla="*/ 173 h 193"/>
                  <a:gd name="T68" fmla="*/ 234 w 289"/>
                  <a:gd name="T69" fmla="*/ 170 h 193"/>
                  <a:gd name="T70" fmla="*/ 216 w 289"/>
                  <a:gd name="T71" fmla="*/ 177 h 193"/>
                  <a:gd name="T72" fmla="*/ 198 w 289"/>
                  <a:gd name="T73" fmla="*/ 187 h 193"/>
                  <a:gd name="T74" fmla="*/ 185 w 289"/>
                  <a:gd name="T75" fmla="*/ 193 h 193"/>
                  <a:gd name="T76" fmla="*/ 178 w 289"/>
                  <a:gd name="T77" fmla="*/ 175 h 193"/>
                  <a:gd name="T78" fmla="*/ 178 w 289"/>
                  <a:gd name="T79" fmla="*/ 161 h 193"/>
                  <a:gd name="T80" fmla="*/ 182 w 289"/>
                  <a:gd name="T81" fmla="*/ 155 h 193"/>
                  <a:gd name="T82" fmla="*/ 164 w 289"/>
                  <a:gd name="T83" fmla="*/ 153 h 193"/>
                  <a:gd name="T84" fmla="*/ 159 w 289"/>
                  <a:gd name="T85" fmla="*/ 146 h 193"/>
                  <a:gd name="T86" fmla="*/ 162 w 289"/>
                  <a:gd name="T87" fmla="*/ 145 h 193"/>
                  <a:gd name="T88" fmla="*/ 148 w 289"/>
                  <a:gd name="T89" fmla="*/ 143 h 193"/>
                  <a:gd name="T90" fmla="*/ 130 w 289"/>
                  <a:gd name="T91" fmla="*/ 150 h 193"/>
                  <a:gd name="T92" fmla="*/ 126 w 289"/>
                  <a:gd name="T93" fmla="*/ 161 h 193"/>
                  <a:gd name="T94" fmla="*/ 121 w 289"/>
                  <a:gd name="T95" fmla="*/ 161 h 193"/>
                  <a:gd name="T96" fmla="*/ 107 w 289"/>
                  <a:gd name="T97" fmla="*/ 173 h 193"/>
                  <a:gd name="T98" fmla="*/ 101 w 289"/>
                  <a:gd name="T99" fmla="*/ 166 h 193"/>
                  <a:gd name="T100" fmla="*/ 109 w 289"/>
                  <a:gd name="T101" fmla="*/ 155 h 193"/>
                  <a:gd name="T102" fmla="*/ 123 w 289"/>
                  <a:gd name="T103" fmla="*/ 148 h 193"/>
                  <a:gd name="T104" fmla="*/ 125 w 289"/>
                  <a:gd name="T105" fmla="*/ 136 h 193"/>
                  <a:gd name="T106" fmla="*/ 114 w 289"/>
                  <a:gd name="T107" fmla="*/ 121 h 193"/>
                  <a:gd name="T108" fmla="*/ 103 w 289"/>
                  <a:gd name="T109" fmla="*/ 105 h 193"/>
                  <a:gd name="T110" fmla="*/ 75 w 289"/>
                  <a:gd name="T111" fmla="*/ 10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9" h="193">
                    <a:moveTo>
                      <a:pt x="71" y="103"/>
                    </a:moveTo>
                    <a:lnTo>
                      <a:pt x="69" y="103"/>
                    </a:lnTo>
                    <a:lnTo>
                      <a:pt x="60" y="109"/>
                    </a:lnTo>
                    <a:lnTo>
                      <a:pt x="50" y="111"/>
                    </a:lnTo>
                    <a:lnTo>
                      <a:pt x="44" y="114"/>
                    </a:lnTo>
                    <a:lnTo>
                      <a:pt x="39" y="111"/>
                    </a:lnTo>
                    <a:lnTo>
                      <a:pt x="12" y="111"/>
                    </a:lnTo>
                    <a:lnTo>
                      <a:pt x="10" y="111"/>
                    </a:lnTo>
                    <a:lnTo>
                      <a:pt x="9" y="107"/>
                    </a:lnTo>
                    <a:lnTo>
                      <a:pt x="0" y="100"/>
                    </a:lnTo>
                    <a:lnTo>
                      <a:pt x="5" y="84"/>
                    </a:lnTo>
                    <a:lnTo>
                      <a:pt x="5" y="84"/>
                    </a:lnTo>
                    <a:lnTo>
                      <a:pt x="9" y="84"/>
                    </a:lnTo>
                    <a:lnTo>
                      <a:pt x="9" y="78"/>
                    </a:lnTo>
                    <a:lnTo>
                      <a:pt x="9" y="75"/>
                    </a:lnTo>
                    <a:lnTo>
                      <a:pt x="17" y="59"/>
                    </a:lnTo>
                    <a:lnTo>
                      <a:pt x="30" y="50"/>
                    </a:lnTo>
                    <a:lnTo>
                      <a:pt x="30" y="46"/>
                    </a:lnTo>
                    <a:lnTo>
                      <a:pt x="28" y="41"/>
                    </a:lnTo>
                    <a:lnTo>
                      <a:pt x="30" y="39"/>
                    </a:lnTo>
                    <a:lnTo>
                      <a:pt x="26" y="34"/>
                    </a:lnTo>
                    <a:lnTo>
                      <a:pt x="21" y="21"/>
                    </a:lnTo>
                    <a:lnTo>
                      <a:pt x="23" y="20"/>
                    </a:lnTo>
                    <a:lnTo>
                      <a:pt x="26" y="20"/>
                    </a:lnTo>
                    <a:lnTo>
                      <a:pt x="28" y="20"/>
                    </a:lnTo>
                    <a:lnTo>
                      <a:pt x="32" y="18"/>
                    </a:lnTo>
                    <a:lnTo>
                      <a:pt x="34" y="16"/>
                    </a:lnTo>
                    <a:lnTo>
                      <a:pt x="35" y="14"/>
                    </a:lnTo>
                    <a:lnTo>
                      <a:pt x="50" y="11"/>
                    </a:lnTo>
                    <a:lnTo>
                      <a:pt x="51" y="12"/>
                    </a:lnTo>
                    <a:lnTo>
                      <a:pt x="59" y="11"/>
                    </a:lnTo>
                    <a:lnTo>
                      <a:pt x="67" y="16"/>
                    </a:lnTo>
                    <a:lnTo>
                      <a:pt x="69" y="16"/>
                    </a:lnTo>
                    <a:lnTo>
                      <a:pt x="73" y="16"/>
                    </a:lnTo>
                    <a:lnTo>
                      <a:pt x="78" y="18"/>
                    </a:lnTo>
                    <a:lnTo>
                      <a:pt x="80" y="20"/>
                    </a:lnTo>
                    <a:lnTo>
                      <a:pt x="82" y="21"/>
                    </a:lnTo>
                    <a:lnTo>
                      <a:pt x="85" y="21"/>
                    </a:lnTo>
                    <a:lnTo>
                      <a:pt x="87" y="25"/>
                    </a:lnTo>
                    <a:lnTo>
                      <a:pt x="89" y="25"/>
                    </a:lnTo>
                    <a:lnTo>
                      <a:pt x="91" y="25"/>
                    </a:lnTo>
                    <a:lnTo>
                      <a:pt x="92" y="23"/>
                    </a:lnTo>
                    <a:lnTo>
                      <a:pt x="94" y="23"/>
                    </a:lnTo>
                    <a:lnTo>
                      <a:pt x="96" y="21"/>
                    </a:lnTo>
                    <a:lnTo>
                      <a:pt x="98" y="23"/>
                    </a:lnTo>
                    <a:lnTo>
                      <a:pt x="101" y="23"/>
                    </a:lnTo>
                    <a:lnTo>
                      <a:pt x="103" y="23"/>
                    </a:lnTo>
                    <a:lnTo>
                      <a:pt x="105" y="25"/>
                    </a:lnTo>
                    <a:lnTo>
                      <a:pt x="107" y="27"/>
                    </a:lnTo>
                    <a:lnTo>
                      <a:pt x="112" y="21"/>
                    </a:lnTo>
                    <a:lnTo>
                      <a:pt x="116" y="23"/>
                    </a:lnTo>
                    <a:lnTo>
                      <a:pt x="116" y="27"/>
                    </a:lnTo>
                    <a:lnTo>
                      <a:pt x="117" y="28"/>
                    </a:lnTo>
                    <a:lnTo>
                      <a:pt x="119" y="27"/>
                    </a:lnTo>
                    <a:lnTo>
                      <a:pt x="130" y="25"/>
                    </a:lnTo>
                    <a:lnTo>
                      <a:pt x="132" y="27"/>
                    </a:lnTo>
                    <a:lnTo>
                      <a:pt x="134" y="28"/>
                    </a:lnTo>
                    <a:lnTo>
                      <a:pt x="135" y="28"/>
                    </a:lnTo>
                    <a:lnTo>
                      <a:pt x="137" y="27"/>
                    </a:lnTo>
                    <a:lnTo>
                      <a:pt x="137" y="21"/>
                    </a:lnTo>
                    <a:lnTo>
                      <a:pt x="137" y="18"/>
                    </a:lnTo>
                    <a:lnTo>
                      <a:pt x="137" y="16"/>
                    </a:lnTo>
                    <a:lnTo>
                      <a:pt x="137" y="14"/>
                    </a:lnTo>
                    <a:lnTo>
                      <a:pt x="142" y="9"/>
                    </a:lnTo>
                    <a:lnTo>
                      <a:pt x="146" y="7"/>
                    </a:lnTo>
                    <a:lnTo>
                      <a:pt x="148" y="7"/>
                    </a:lnTo>
                    <a:lnTo>
                      <a:pt x="150" y="5"/>
                    </a:lnTo>
                    <a:lnTo>
                      <a:pt x="157" y="5"/>
                    </a:lnTo>
                    <a:lnTo>
                      <a:pt x="155" y="5"/>
                    </a:lnTo>
                    <a:lnTo>
                      <a:pt x="157" y="7"/>
                    </a:lnTo>
                    <a:lnTo>
                      <a:pt x="160" y="9"/>
                    </a:lnTo>
                    <a:lnTo>
                      <a:pt x="162" y="7"/>
                    </a:lnTo>
                    <a:lnTo>
                      <a:pt x="164" y="5"/>
                    </a:lnTo>
                    <a:lnTo>
                      <a:pt x="164" y="3"/>
                    </a:lnTo>
                    <a:lnTo>
                      <a:pt x="166" y="2"/>
                    </a:lnTo>
                    <a:lnTo>
                      <a:pt x="173" y="2"/>
                    </a:lnTo>
                    <a:lnTo>
                      <a:pt x="178" y="2"/>
                    </a:lnTo>
                    <a:lnTo>
                      <a:pt x="184" y="2"/>
                    </a:lnTo>
                    <a:lnTo>
                      <a:pt x="187" y="0"/>
                    </a:lnTo>
                    <a:lnTo>
                      <a:pt x="191" y="3"/>
                    </a:lnTo>
                    <a:lnTo>
                      <a:pt x="192" y="5"/>
                    </a:lnTo>
                    <a:lnTo>
                      <a:pt x="192" y="9"/>
                    </a:lnTo>
                    <a:lnTo>
                      <a:pt x="198" y="14"/>
                    </a:lnTo>
                    <a:lnTo>
                      <a:pt x="198" y="16"/>
                    </a:lnTo>
                    <a:lnTo>
                      <a:pt x="194" y="18"/>
                    </a:lnTo>
                    <a:lnTo>
                      <a:pt x="192" y="18"/>
                    </a:lnTo>
                    <a:lnTo>
                      <a:pt x="194" y="27"/>
                    </a:lnTo>
                    <a:lnTo>
                      <a:pt x="203" y="30"/>
                    </a:lnTo>
                    <a:lnTo>
                      <a:pt x="207" y="28"/>
                    </a:lnTo>
                    <a:lnTo>
                      <a:pt x="209" y="28"/>
                    </a:lnTo>
                    <a:lnTo>
                      <a:pt x="209" y="32"/>
                    </a:lnTo>
                    <a:lnTo>
                      <a:pt x="212" y="36"/>
                    </a:lnTo>
                    <a:lnTo>
                      <a:pt x="214" y="43"/>
                    </a:lnTo>
                    <a:lnTo>
                      <a:pt x="214" y="45"/>
                    </a:lnTo>
                    <a:lnTo>
                      <a:pt x="214" y="48"/>
                    </a:lnTo>
                    <a:lnTo>
                      <a:pt x="217" y="50"/>
                    </a:lnTo>
                    <a:lnTo>
                      <a:pt x="221" y="50"/>
                    </a:lnTo>
                    <a:lnTo>
                      <a:pt x="223" y="48"/>
                    </a:lnTo>
                    <a:lnTo>
                      <a:pt x="225" y="50"/>
                    </a:lnTo>
                    <a:lnTo>
                      <a:pt x="228" y="52"/>
                    </a:lnTo>
                    <a:lnTo>
                      <a:pt x="230" y="52"/>
                    </a:lnTo>
                    <a:lnTo>
                      <a:pt x="234" y="53"/>
                    </a:lnTo>
                    <a:lnTo>
                      <a:pt x="244" y="48"/>
                    </a:lnTo>
                    <a:lnTo>
                      <a:pt x="246" y="50"/>
                    </a:lnTo>
                    <a:lnTo>
                      <a:pt x="255" y="61"/>
                    </a:lnTo>
                    <a:lnTo>
                      <a:pt x="257" y="61"/>
                    </a:lnTo>
                    <a:lnTo>
                      <a:pt x="259" y="59"/>
                    </a:lnTo>
                    <a:lnTo>
                      <a:pt x="260" y="59"/>
                    </a:lnTo>
                    <a:lnTo>
                      <a:pt x="262" y="61"/>
                    </a:lnTo>
                    <a:lnTo>
                      <a:pt x="266" y="62"/>
                    </a:lnTo>
                    <a:lnTo>
                      <a:pt x="267" y="64"/>
                    </a:lnTo>
                    <a:lnTo>
                      <a:pt x="273" y="64"/>
                    </a:lnTo>
                    <a:lnTo>
                      <a:pt x="276" y="66"/>
                    </a:lnTo>
                    <a:lnTo>
                      <a:pt x="278" y="66"/>
                    </a:lnTo>
                    <a:lnTo>
                      <a:pt x="282" y="70"/>
                    </a:lnTo>
                    <a:lnTo>
                      <a:pt x="287" y="70"/>
                    </a:lnTo>
                    <a:lnTo>
                      <a:pt x="289" y="71"/>
                    </a:lnTo>
                    <a:lnTo>
                      <a:pt x="287" y="71"/>
                    </a:lnTo>
                    <a:lnTo>
                      <a:pt x="289" y="78"/>
                    </a:lnTo>
                    <a:lnTo>
                      <a:pt x="287" y="84"/>
                    </a:lnTo>
                    <a:lnTo>
                      <a:pt x="282" y="84"/>
                    </a:lnTo>
                    <a:lnTo>
                      <a:pt x="284" y="86"/>
                    </a:lnTo>
                    <a:lnTo>
                      <a:pt x="285" y="87"/>
                    </a:lnTo>
                    <a:lnTo>
                      <a:pt x="287" y="89"/>
                    </a:lnTo>
                    <a:lnTo>
                      <a:pt x="284" y="89"/>
                    </a:lnTo>
                    <a:lnTo>
                      <a:pt x="282" y="93"/>
                    </a:lnTo>
                    <a:lnTo>
                      <a:pt x="282" y="95"/>
                    </a:lnTo>
                    <a:lnTo>
                      <a:pt x="284" y="96"/>
                    </a:lnTo>
                    <a:lnTo>
                      <a:pt x="284" y="98"/>
                    </a:lnTo>
                    <a:lnTo>
                      <a:pt x="284" y="100"/>
                    </a:lnTo>
                    <a:lnTo>
                      <a:pt x="285" y="102"/>
                    </a:lnTo>
                    <a:lnTo>
                      <a:pt x="282" y="114"/>
                    </a:lnTo>
                    <a:lnTo>
                      <a:pt x="280" y="114"/>
                    </a:lnTo>
                    <a:lnTo>
                      <a:pt x="276" y="112"/>
                    </a:lnTo>
                    <a:lnTo>
                      <a:pt x="273" y="114"/>
                    </a:lnTo>
                    <a:lnTo>
                      <a:pt x="269" y="111"/>
                    </a:lnTo>
                    <a:lnTo>
                      <a:pt x="267" y="112"/>
                    </a:lnTo>
                    <a:lnTo>
                      <a:pt x="264" y="118"/>
                    </a:lnTo>
                    <a:lnTo>
                      <a:pt x="260" y="120"/>
                    </a:lnTo>
                    <a:lnTo>
                      <a:pt x="259" y="123"/>
                    </a:lnTo>
                    <a:lnTo>
                      <a:pt x="259" y="130"/>
                    </a:lnTo>
                    <a:lnTo>
                      <a:pt x="248" y="132"/>
                    </a:lnTo>
                    <a:lnTo>
                      <a:pt x="244" y="134"/>
                    </a:lnTo>
                    <a:lnTo>
                      <a:pt x="242" y="134"/>
                    </a:lnTo>
                    <a:lnTo>
                      <a:pt x="237" y="137"/>
                    </a:lnTo>
                    <a:lnTo>
                      <a:pt x="237" y="141"/>
                    </a:lnTo>
                    <a:lnTo>
                      <a:pt x="234" y="137"/>
                    </a:lnTo>
                    <a:lnTo>
                      <a:pt x="226" y="141"/>
                    </a:lnTo>
                    <a:lnTo>
                      <a:pt x="226" y="143"/>
                    </a:lnTo>
                    <a:lnTo>
                      <a:pt x="225" y="141"/>
                    </a:lnTo>
                    <a:lnTo>
                      <a:pt x="223" y="143"/>
                    </a:lnTo>
                    <a:lnTo>
                      <a:pt x="219" y="143"/>
                    </a:lnTo>
                    <a:lnTo>
                      <a:pt x="216" y="146"/>
                    </a:lnTo>
                    <a:lnTo>
                      <a:pt x="214" y="146"/>
                    </a:lnTo>
                    <a:lnTo>
                      <a:pt x="210" y="153"/>
                    </a:lnTo>
                    <a:lnTo>
                      <a:pt x="209" y="153"/>
                    </a:lnTo>
                    <a:lnTo>
                      <a:pt x="209" y="152"/>
                    </a:lnTo>
                    <a:lnTo>
                      <a:pt x="210" y="152"/>
                    </a:lnTo>
                    <a:lnTo>
                      <a:pt x="212" y="150"/>
                    </a:lnTo>
                    <a:lnTo>
                      <a:pt x="210" y="146"/>
                    </a:lnTo>
                    <a:lnTo>
                      <a:pt x="209" y="146"/>
                    </a:lnTo>
                    <a:lnTo>
                      <a:pt x="209" y="150"/>
                    </a:lnTo>
                    <a:lnTo>
                      <a:pt x="205" y="153"/>
                    </a:lnTo>
                    <a:lnTo>
                      <a:pt x="207" y="161"/>
                    </a:lnTo>
                    <a:lnTo>
                      <a:pt x="205" y="161"/>
                    </a:lnTo>
                    <a:lnTo>
                      <a:pt x="205" y="159"/>
                    </a:lnTo>
                    <a:lnTo>
                      <a:pt x="203" y="155"/>
                    </a:lnTo>
                    <a:lnTo>
                      <a:pt x="203" y="155"/>
                    </a:lnTo>
                    <a:lnTo>
                      <a:pt x="203" y="153"/>
                    </a:lnTo>
                    <a:lnTo>
                      <a:pt x="201" y="155"/>
                    </a:lnTo>
                    <a:lnTo>
                      <a:pt x="200" y="157"/>
                    </a:lnTo>
                    <a:lnTo>
                      <a:pt x="200" y="155"/>
                    </a:lnTo>
                    <a:lnTo>
                      <a:pt x="200" y="153"/>
                    </a:lnTo>
                    <a:lnTo>
                      <a:pt x="200" y="153"/>
                    </a:lnTo>
                    <a:lnTo>
                      <a:pt x="194" y="153"/>
                    </a:lnTo>
                    <a:lnTo>
                      <a:pt x="194" y="152"/>
                    </a:lnTo>
                    <a:lnTo>
                      <a:pt x="194" y="150"/>
                    </a:lnTo>
                    <a:lnTo>
                      <a:pt x="192" y="148"/>
                    </a:lnTo>
                    <a:lnTo>
                      <a:pt x="192" y="153"/>
                    </a:lnTo>
                    <a:lnTo>
                      <a:pt x="192" y="153"/>
                    </a:lnTo>
                    <a:lnTo>
                      <a:pt x="187" y="152"/>
                    </a:lnTo>
                    <a:lnTo>
                      <a:pt x="189" y="153"/>
                    </a:lnTo>
                    <a:lnTo>
                      <a:pt x="191" y="153"/>
                    </a:lnTo>
                    <a:lnTo>
                      <a:pt x="192" y="155"/>
                    </a:lnTo>
                    <a:lnTo>
                      <a:pt x="192" y="155"/>
                    </a:lnTo>
                    <a:lnTo>
                      <a:pt x="192" y="157"/>
                    </a:lnTo>
                    <a:lnTo>
                      <a:pt x="194" y="159"/>
                    </a:lnTo>
                    <a:lnTo>
                      <a:pt x="194" y="159"/>
                    </a:lnTo>
                    <a:lnTo>
                      <a:pt x="194" y="157"/>
                    </a:lnTo>
                    <a:lnTo>
                      <a:pt x="198" y="157"/>
                    </a:lnTo>
                    <a:lnTo>
                      <a:pt x="200" y="159"/>
                    </a:lnTo>
                    <a:lnTo>
                      <a:pt x="200" y="159"/>
                    </a:lnTo>
                    <a:lnTo>
                      <a:pt x="200" y="162"/>
                    </a:lnTo>
                    <a:lnTo>
                      <a:pt x="200" y="162"/>
                    </a:lnTo>
                    <a:lnTo>
                      <a:pt x="201" y="161"/>
                    </a:lnTo>
                    <a:lnTo>
                      <a:pt x="203" y="162"/>
                    </a:lnTo>
                    <a:lnTo>
                      <a:pt x="201" y="164"/>
                    </a:lnTo>
                    <a:lnTo>
                      <a:pt x="205" y="164"/>
                    </a:lnTo>
                    <a:lnTo>
                      <a:pt x="207" y="166"/>
                    </a:lnTo>
                    <a:lnTo>
                      <a:pt x="209" y="173"/>
                    </a:lnTo>
                    <a:lnTo>
                      <a:pt x="209" y="171"/>
                    </a:lnTo>
                    <a:lnTo>
                      <a:pt x="214" y="173"/>
                    </a:lnTo>
                    <a:lnTo>
                      <a:pt x="214" y="171"/>
                    </a:lnTo>
                    <a:lnTo>
                      <a:pt x="217" y="173"/>
                    </a:lnTo>
                    <a:lnTo>
                      <a:pt x="221" y="170"/>
                    </a:lnTo>
                    <a:lnTo>
                      <a:pt x="223" y="170"/>
                    </a:lnTo>
                    <a:lnTo>
                      <a:pt x="223" y="171"/>
                    </a:lnTo>
                    <a:lnTo>
                      <a:pt x="225" y="170"/>
                    </a:lnTo>
                    <a:lnTo>
                      <a:pt x="230" y="168"/>
                    </a:lnTo>
                    <a:lnTo>
                      <a:pt x="234" y="170"/>
                    </a:lnTo>
                    <a:lnTo>
                      <a:pt x="232" y="171"/>
                    </a:lnTo>
                    <a:lnTo>
                      <a:pt x="232" y="173"/>
                    </a:lnTo>
                    <a:lnTo>
                      <a:pt x="230" y="178"/>
                    </a:lnTo>
                    <a:lnTo>
                      <a:pt x="225" y="178"/>
                    </a:lnTo>
                    <a:lnTo>
                      <a:pt x="225" y="178"/>
                    </a:lnTo>
                    <a:lnTo>
                      <a:pt x="216" y="177"/>
                    </a:lnTo>
                    <a:lnTo>
                      <a:pt x="207" y="184"/>
                    </a:lnTo>
                    <a:lnTo>
                      <a:pt x="203" y="184"/>
                    </a:lnTo>
                    <a:lnTo>
                      <a:pt x="200" y="184"/>
                    </a:lnTo>
                    <a:lnTo>
                      <a:pt x="201" y="186"/>
                    </a:lnTo>
                    <a:lnTo>
                      <a:pt x="200" y="186"/>
                    </a:lnTo>
                    <a:lnTo>
                      <a:pt x="198" y="187"/>
                    </a:lnTo>
                    <a:lnTo>
                      <a:pt x="198" y="189"/>
                    </a:lnTo>
                    <a:lnTo>
                      <a:pt x="196" y="191"/>
                    </a:lnTo>
                    <a:lnTo>
                      <a:pt x="194" y="191"/>
                    </a:lnTo>
                    <a:lnTo>
                      <a:pt x="191" y="193"/>
                    </a:lnTo>
                    <a:lnTo>
                      <a:pt x="187" y="193"/>
                    </a:lnTo>
                    <a:lnTo>
                      <a:pt x="185" y="193"/>
                    </a:lnTo>
                    <a:lnTo>
                      <a:pt x="182" y="189"/>
                    </a:lnTo>
                    <a:lnTo>
                      <a:pt x="184" y="187"/>
                    </a:lnTo>
                    <a:lnTo>
                      <a:pt x="184" y="178"/>
                    </a:lnTo>
                    <a:lnTo>
                      <a:pt x="182" y="177"/>
                    </a:lnTo>
                    <a:lnTo>
                      <a:pt x="180" y="175"/>
                    </a:lnTo>
                    <a:lnTo>
                      <a:pt x="178" y="175"/>
                    </a:lnTo>
                    <a:lnTo>
                      <a:pt x="173" y="171"/>
                    </a:lnTo>
                    <a:lnTo>
                      <a:pt x="167" y="171"/>
                    </a:lnTo>
                    <a:lnTo>
                      <a:pt x="167" y="170"/>
                    </a:lnTo>
                    <a:lnTo>
                      <a:pt x="169" y="168"/>
                    </a:lnTo>
                    <a:lnTo>
                      <a:pt x="171" y="168"/>
                    </a:lnTo>
                    <a:lnTo>
                      <a:pt x="178" y="161"/>
                    </a:lnTo>
                    <a:lnTo>
                      <a:pt x="185" y="159"/>
                    </a:lnTo>
                    <a:lnTo>
                      <a:pt x="187" y="159"/>
                    </a:lnTo>
                    <a:lnTo>
                      <a:pt x="185" y="157"/>
                    </a:lnTo>
                    <a:lnTo>
                      <a:pt x="185" y="155"/>
                    </a:lnTo>
                    <a:lnTo>
                      <a:pt x="184" y="153"/>
                    </a:lnTo>
                    <a:lnTo>
                      <a:pt x="182" y="155"/>
                    </a:lnTo>
                    <a:lnTo>
                      <a:pt x="180" y="153"/>
                    </a:lnTo>
                    <a:lnTo>
                      <a:pt x="180" y="152"/>
                    </a:lnTo>
                    <a:lnTo>
                      <a:pt x="176" y="153"/>
                    </a:lnTo>
                    <a:lnTo>
                      <a:pt x="176" y="153"/>
                    </a:lnTo>
                    <a:lnTo>
                      <a:pt x="167" y="155"/>
                    </a:lnTo>
                    <a:lnTo>
                      <a:pt x="164" y="153"/>
                    </a:lnTo>
                    <a:lnTo>
                      <a:pt x="162" y="152"/>
                    </a:lnTo>
                    <a:lnTo>
                      <a:pt x="160" y="152"/>
                    </a:lnTo>
                    <a:lnTo>
                      <a:pt x="157" y="152"/>
                    </a:lnTo>
                    <a:lnTo>
                      <a:pt x="157" y="150"/>
                    </a:lnTo>
                    <a:lnTo>
                      <a:pt x="160" y="148"/>
                    </a:lnTo>
                    <a:lnTo>
                      <a:pt x="159" y="146"/>
                    </a:lnTo>
                    <a:lnTo>
                      <a:pt x="155" y="146"/>
                    </a:lnTo>
                    <a:lnTo>
                      <a:pt x="153" y="146"/>
                    </a:lnTo>
                    <a:lnTo>
                      <a:pt x="155" y="145"/>
                    </a:lnTo>
                    <a:lnTo>
                      <a:pt x="162" y="146"/>
                    </a:lnTo>
                    <a:lnTo>
                      <a:pt x="164" y="145"/>
                    </a:lnTo>
                    <a:lnTo>
                      <a:pt x="162" y="145"/>
                    </a:lnTo>
                    <a:lnTo>
                      <a:pt x="160" y="145"/>
                    </a:lnTo>
                    <a:lnTo>
                      <a:pt x="157" y="137"/>
                    </a:lnTo>
                    <a:lnTo>
                      <a:pt x="157" y="141"/>
                    </a:lnTo>
                    <a:lnTo>
                      <a:pt x="151" y="143"/>
                    </a:lnTo>
                    <a:lnTo>
                      <a:pt x="153" y="139"/>
                    </a:lnTo>
                    <a:lnTo>
                      <a:pt x="148" y="143"/>
                    </a:lnTo>
                    <a:lnTo>
                      <a:pt x="139" y="145"/>
                    </a:lnTo>
                    <a:lnTo>
                      <a:pt x="139" y="148"/>
                    </a:lnTo>
                    <a:lnTo>
                      <a:pt x="135" y="152"/>
                    </a:lnTo>
                    <a:lnTo>
                      <a:pt x="134" y="152"/>
                    </a:lnTo>
                    <a:lnTo>
                      <a:pt x="134" y="150"/>
                    </a:lnTo>
                    <a:lnTo>
                      <a:pt x="130" y="150"/>
                    </a:lnTo>
                    <a:lnTo>
                      <a:pt x="130" y="148"/>
                    </a:lnTo>
                    <a:lnTo>
                      <a:pt x="130" y="150"/>
                    </a:lnTo>
                    <a:lnTo>
                      <a:pt x="132" y="152"/>
                    </a:lnTo>
                    <a:lnTo>
                      <a:pt x="134" y="155"/>
                    </a:lnTo>
                    <a:lnTo>
                      <a:pt x="130" y="161"/>
                    </a:lnTo>
                    <a:lnTo>
                      <a:pt x="126" y="161"/>
                    </a:lnTo>
                    <a:lnTo>
                      <a:pt x="125" y="162"/>
                    </a:lnTo>
                    <a:lnTo>
                      <a:pt x="123" y="162"/>
                    </a:lnTo>
                    <a:lnTo>
                      <a:pt x="123" y="164"/>
                    </a:lnTo>
                    <a:lnTo>
                      <a:pt x="121" y="164"/>
                    </a:lnTo>
                    <a:lnTo>
                      <a:pt x="121" y="161"/>
                    </a:lnTo>
                    <a:lnTo>
                      <a:pt x="121" y="161"/>
                    </a:lnTo>
                    <a:lnTo>
                      <a:pt x="121" y="170"/>
                    </a:lnTo>
                    <a:lnTo>
                      <a:pt x="121" y="171"/>
                    </a:lnTo>
                    <a:lnTo>
                      <a:pt x="119" y="170"/>
                    </a:lnTo>
                    <a:lnTo>
                      <a:pt x="116" y="170"/>
                    </a:lnTo>
                    <a:lnTo>
                      <a:pt x="110" y="171"/>
                    </a:lnTo>
                    <a:lnTo>
                      <a:pt x="107" y="173"/>
                    </a:lnTo>
                    <a:lnTo>
                      <a:pt x="103" y="173"/>
                    </a:lnTo>
                    <a:lnTo>
                      <a:pt x="100" y="170"/>
                    </a:lnTo>
                    <a:lnTo>
                      <a:pt x="98" y="170"/>
                    </a:lnTo>
                    <a:lnTo>
                      <a:pt x="98" y="168"/>
                    </a:lnTo>
                    <a:lnTo>
                      <a:pt x="100" y="168"/>
                    </a:lnTo>
                    <a:lnTo>
                      <a:pt x="101" y="166"/>
                    </a:lnTo>
                    <a:lnTo>
                      <a:pt x="101" y="164"/>
                    </a:lnTo>
                    <a:lnTo>
                      <a:pt x="103" y="162"/>
                    </a:lnTo>
                    <a:lnTo>
                      <a:pt x="105" y="161"/>
                    </a:lnTo>
                    <a:lnTo>
                      <a:pt x="105" y="159"/>
                    </a:lnTo>
                    <a:lnTo>
                      <a:pt x="107" y="157"/>
                    </a:lnTo>
                    <a:lnTo>
                      <a:pt x="109" y="155"/>
                    </a:lnTo>
                    <a:lnTo>
                      <a:pt x="110" y="148"/>
                    </a:lnTo>
                    <a:lnTo>
                      <a:pt x="110" y="146"/>
                    </a:lnTo>
                    <a:lnTo>
                      <a:pt x="112" y="145"/>
                    </a:lnTo>
                    <a:lnTo>
                      <a:pt x="114" y="146"/>
                    </a:lnTo>
                    <a:lnTo>
                      <a:pt x="116" y="146"/>
                    </a:lnTo>
                    <a:lnTo>
                      <a:pt x="123" y="148"/>
                    </a:lnTo>
                    <a:lnTo>
                      <a:pt x="125" y="146"/>
                    </a:lnTo>
                    <a:lnTo>
                      <a:pt x="126" y="145"/>
                    </a:lnTo>
                    <a:lnTo>
                      <a:pt x="125" y="143"/>
                    </a:lnTo>
                    <a:lnTo>
                      <a:pt x="126" y="139"/>
                    </a:lnTo>
                    <a:lnTo>
                      <a:pt x="125" y="137"/>
                    </a:lnTo>
                    <a:lnTo>
                      <a:pt x="125" y="136"/>
                    </a:lnTo>
                    <a:lnTo>
                      <a:pt x="119" y="134"/>
                    </a:lnTo>
                    <a:lnTo>
                      <a:pt x="117" y="128"/>
                    </a:lnTo>
                    <a:lnTo>
                      <a:pt x="117" y="127"/>
                    </a:lnTo>
                    <a:lnTo>
                      <a:pt x="117" y="125"/>
                    </a:lnTo>
                    <a:lnTo>
                      <a:pt x="116" y="123"/>
                    </a:lnTo>
                    <a:lnTo>
                      <a:pt x="114" y="121"/>
                    </a:lnTo>
                    <a:lnTo>
                      <a:pt x="112" y="120"/>
                    </a:lnTo>
                    <a:lnTo>
                      <a:pt x="114" y="111"/>
                    </a:lnTo>
                    <a:lnTo>
                      <a:pt x="112" y="109"/>
                    </a:lnTo>
                    <a:lnTo>
                      <a:pt x="110" y="109"/>
                    </a:lnTo>
                    <a:lnTo>
                      <a:pt x="107" y="105"/>
                    </a:lnTo>
                    <a:lnTo>
                      <a:pt x="103" y="105"/>
                    </a:lnTo>
                    <a:lnTo>
                      <a:pt x="100" y="105"/>
                    </a:lnTo>
                    <a:lnTo>
                      <a:pt x="98" y="105"/>
                    </a:lnTo>
                    <a:lnTo>
                      <a:pt x="89" y="100"/>
                    </a:lnTo>
                    <a:lnTo>
                      <a:pt x="85" y="98"/>
                    </a:lnTo>
                    <a:lnTo>
                      <a:pt x="78" y="100"/>
                    </a:lnTo>
                    <a:lnTo>
                      <a:pt x="75" y="100"/>
                    </a:lnTo>
                    <a:lnTo>
                      <a:pt x="73" y="100"/>
                    </a:lnTo>
                    <a:lnTo>
                      <a:pt x="71" y="103"/>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16" name="Freeform 3071"/>
              <p:cNvSpPr>
                <a:spLocks/>
              </p:cNvSpPr>
              <p:nvPr/>
            </p:nvSpPr>
            <p:spPr bwMode="auto">
              <a:xfrm>
                <a:off x="3391" y="1988"/>
                <a:ext cx="50" cy="52"/>
              </a:xfrm>
              <a:custGeom>
                <a:avLst/>
                <a:gdLst>
                  <a:gd name="T0" fmla="*/ 23 w 50"/>
                  <a:gd name="T1" fmla="*/ 36 h 52"/>
                  <a:gd name="T2" fmla="*/ 18 w 50"/>
                  <a:gd name="T3" fmla="*/ 30 h 52"/>
                  <a:gd name="T4" fmla="*/ 16 w 50"/>
                  <a:gd name="T5" fmla="*/ 28 h 52"/>
                  <a:gd name="T6" fmla="*/ 14 w 50"/>
                  <a:gd name="T7" fmla="*/ 27 h 52"/>
                  <a:gd name="T8" fmla="*/ 7 w 50"/>
                  <a:gd name="T9" fmla="*/ 23 h 52"/>
                  <a:gd name="T10" fmla="*/ 5 w 50"/>
                  <a:gd name="T11" fmla="*/ 21 h 52"/>
                  <a:gd name="T12" fmla="*/ 3 w 50"/>
                  <a:gd name="T13" fmla="*/ 11 h 52"/>
                  <a:gd name="T14" fmla="*/ 1 w 50"/>
                  <a:gd name="T15" fmla="*/ 7 h 52"/>
                  <a:gd name="T16" fmla="*/ 0 w 50"/>
                  <a:gd name="T17" fmla="*/ 5 h 52"/>
                  <a:gd name="T18" fmla="*/ 5 w 50"/>
                  <a:gd name="T19" fmla="*/ 5 h 52"/>
                  <a:gd name="T20" fmla="*/ 7 w 50"/>
                  <a:gd name="T21" fmla="*/ 3 h 52"/>
                  <a:gd name="T22" fmla="*/ 12 w 50"/>
                  <a:gd name="T23" fmla="*/ 3 h 52"/>
                  <a:gd name="T24" fmla="*/ 14 w 50"/>
                  <a:gd name="T25" fmla="*/ 2 h 52"/>
                  <a:gd name="T26" fmla="*/ 19 w 50"/>
                  <a:gd name="T27" fmla="*/ 2 h 52"/>
                  <a:gd name="T28" fmla="*/ 25 w 50"/>
                  <a:gd name="T29" fmla="*/ 0 h 52"/>
                  <a:gd name="T30" fmla="*/ 28 w 50"/>
                  <a:gd name="T31" fmla="*/ 7 h 52"/>
                  <a:gd name="T32" fmla="*/ 30 w 50"/>
                  <a:gd name="T33" fmla="*/ 7 h 52"/>
                  <a:gd name="T34" fmla="*/ 32 w 50"/>
                  <a:gd name="T35" fmla="*/ 9 h 52"/>
                  <a:gd name="T36" fmla="*/ 34 w 50"/>
                  <a:gd name="T37" fmla="*/ 11 h 52"/>
                  <a:gd name="T38" fmla="*/ 32 w 50"/>
                  <a:gd name="T39" fmla="*/ 12 h 52"/>
                  <a:gd name="T40" fmla="*/ 32 w 50"/>
                  <a:gd name="T41" fmla="*/ 14 h 52"/>
                  <a:gd name="T42" fmla="*/ 32 w 50"/>
                  <a:gd name="T43" fmla="*/ 16 h 52"/>
                  <a:gd name="T44" fmla="*/ 35 w 50"/>
                  <a:gd name="T45" fmla="*/ 19 h 52"/>
                  <a:gd name="T46" fmla="*/ 39 w 50"/>
                  <a:gd name="T47" fmla="*/ 23 h 52"/>
                  <a:gd name="T48" fmla="*/ 39 w 50"/>
                  <a:gd name="T49" fmla="*/ 25 h 52"/>
                  <a:gd name="T50" fmla="*/ 39 w 50"/>
                  <a:gd name="T51" fmla="*/ 27 h 52"/>
                  <a:gd name="T52" fmla="*/ 37 w 50"/>
                  <a:gd name="T53" fmla="*/ 28 h 52"/>
                  <a:gd name="T54" fmla="*/ 37 w 50"/>
                  <a:gd name="T55" fmla="*/ 30 h 52"/>
                  <a:gd name="T56" fmla="*/ 41 w 50"/>
                  <a:gd name="T57" fmla="*/ 34 h 52"/>
                  <a:gd name="T58" fmla="*/ 44 w 50"/>
                  <a:gd name="T59" fmla="*/ 36 h 52"/>
                  <a:gd name="T60" fmla="*/ 46 w 50"/>
                  <a:gd name="T61" fmla="*/ 36 h 52"/>
                  <a:gd name="T62" fmla="*/ 48 w 50"/>
                  <a:gd name="T63" fmla="*/ 37 h 52"/>
                  <a:gd name="T64" fmla="*/ 48 w 50"/>
                  <a:gd name="T65" fmla="*/ 41 h 52"/>
                  <a:gd name="T66" fmla="*/ 50 w 50"/>
                  <a:gd name="T67" fmla="*/ 43 h 52"/>
                  <a:gd name="T68" fmla="*/ 48 w 50"/>
                  <a:gd name="T69" fmla="*/ 44 h 52"/>
                  <a:gd name="T70" fmla="*/ 46 w 50"/>
                  <a:gd name="T71" fmla="*/ 44 h 52"/>
                  <a:gd name="T72" fmla="*/ 50 w 50"/>
                  <a:gd name="T73" fmla="*/ 50 h 52"/>
                  <a:gd name="T74" fmla="*/ 50 w 50"/>
                  <a:gd name="T75" fmla="*/ 52 h 52"/>
                  <a:gd name="T76" fmla="*/ 41 w 50"/>
                  <a:gd name="T77" fmla="*/ 52 h 52"/>
                  <a:gd name="T78" fmla="*/ 41 w 50"/>
                  <a:gd name="T79" fmla="*/ 44 h 52"/>
                  <a:gd name="T80" fmla="*/ 37 w 50"/>
                  <a:gd name="T81" fmla="*/ 37 h 52"/>
                  <a:gd name="T82" fmla="*/ 35 w 50"/>
                  <a:gd name="T83" fmla="*/ 37 h 52"/>
                  <a:gd name="T84" fmla="*/ 34 w 50"/>
                  <a:gd name="T85" fmla="*/ 37 h 52"/>
                  <a:gd name="T86" fmla="*/ 30 w 50"/>
                  <a:gd name="T87" fmla="*/ 37 h 52"/>
                  <a:gd name="T88" fmla="*/ 28 w 50"/>
                  <a:gd name="T89" fmla="*/ 37 h 52"/>
                  <a:gd name="T90" fmla="*/ 26 w 50"/>
                  <a:gd name="T91" fmla="*/ 36 h 52"/>
                  <a:gd name="T92" fmla="*/ 25 w 50"/>
                  <a:gd name="T93" fmla="*/ 34 h 52"/>
                  <a:gd name="T94" fmla="*/ 23 w 50"/>
                  <a:gd name="T95" fmla="*/ 3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52">
                    <a:moveTo>
                      <a:pt x="23" y="36"/>
                    </a:moveTo>
                    <a:lnTo>
                      <a:pt x="18" y="30"/>
                    </a:lnTo>
                    <a:lnTo>
                      <a:pt x="16" y="28"/>
                    </a:lnTo>
                    <a:lnTo>
                      <a:pt x="14" y="27"/>
                    </a:lnTo>
                    <a:lnTo>
                      <a:pt x="7" y="23"/>
                    </a:lnTo>
                    <a:lnTo>
                      <a:pt x="5" y="21"/>
                    </a:lnTo>
                    <a:lnTo>
                      <a:pt x="3" y="11"/>
                    </a:lnTo>
                    <a:lnTo>
                      <a:pt x="1" y="7"/>
                    </a:lnTo>
                    <a:lnTo>
                      <a:pt x="0" y="5"/>
                    </a:lnTo>
                    <a:lnTo>
                      <a:pt x="5" y="5"/>
                    </a:lnTo>
                    <a:lnTo>
                      <a:pt x="7" y="3"/>
                    </a:lnTo>
                    <a:lnTo>
                      <a:pt x="12" y="3"/>
                    </a:lnTo>
                    <a:lnTo>
                      <a:pt x="14" y="2"/>
                    </a:lnTo>
                    <a:lnTo>
                      <a:pt x="19" y="2"/>
                    </a:lnTo>
                    <a:lnTo>
                      <a:pt x="25" y="0"/>
                    </a:lnTo>
                    <a:lnTo>
                      <a:pt x="28" y="7"/>
                    </a:lnTo>
                    <a:lnTo>
                      <a:pt x="30" y="7"/>
                    </a:lnTo>
                    <a:lnTo>
                      <a:pt x="32" y="9"/>
                    </a:lnTo>
                    <a:lnTo>
                      <a:pt x="34" y="11"/>
                    </a:lnTo>
                    <a:lnTo>
                      <a:pt x="32" y="12"/>
                    </a:lnTo>
                    <a:lnTo>
                      <a:pt x="32" y="14"/>
                    </a:lnTo>
                    <a:lnTo>
                      <a:pt x="32" y="16"/>
                    </a:lnTo>
                    <a:lnTo>
                      <a:pt x="35" y="19"/>
                    </a:lnTo>
                    <a:lnTo>
                      <a:pt x="39" y="23"/>
                    </a:lnTo>
                    <a:lnTo>
                      <a:pt x="39" y="25"/>
                    </a:lnTo>
                    <a:lnTo>
                      <a:pt x="39" y="27"/>
                    </a:lnTo>
                    <a:lnTo>
                      <a:pt x="37" y="28"/>
                    </a:lnTo>
                    <a:lnTo>
                      <a:pt x="37" y="30"/>
                    </a:lnTo>
                    <a:lnTo>
                      <a:pt x="41" y="34"/>
                    </a:lnTo>
                    <a:lnTo>
                      <a:pt x="44" y="36"/>
                    </a:lnTo>
                    <a:lnTo>
                      <a:pt x="46" y="36"/>
                    </a:lnTo>
                    <a:lnTo>
                      <a:pt x="48" y="37"/>
                    </a:lnTo>
                    <a:lnTo>
                      <a:pt x="48" y="41"/>
                    </a:lnTo>
                    <a:lnTo>
                      <a:pt x="50" y="43"/>
                    </a:lnTo>
                    <a:lnTo>
                      <a:pt x="48" y="44"/>
                    </a:lnTo>
                    <a:lnTo>
                      <a:pt x="46" y="44"/>
                    </a:lnTo>
                    <a:lnTo>
                      <a:pt x="50" y="50"/>
                    </a:lnTo>
                    <a:lnTo>
                      <a:pt x="50" y="52"/>
                    </a:lnTo>
                    <a:lnTo>
                      <a:pt x="41" y="52"/>
                    </a:lnTo>
                    <a:lnTo>
                      <a:pt x="41" y="44"/>
                    </a:lnTo>
                    <a:lnTo>
                      <a:pt x="37" y="37"/>
                    </a:lnTo>
                    <a:lnTo>
                      <a:pt x="35" y="37"/>
                    </a:lnTo>
                    <a:lnTo>
                      <a:pt x="34" y="37"/>
                    </a:lnTo>
                    <a:lnTo>
                      <a:pt x="30" y="37"/>
                    </a:lnTo>
                    <a:lnTo>
                      <a:pt x="28" y="37"/>
                    </a:lnTo>
                    <a:lnTo>
                      <a:pt x="26" y="36"/>
                    </a:lnTo>
                    <a:lnTo>
                      <a:pt x="25" y="34"/>
                    </a:lnTo>
                    <a:lnTo>
                      <a:pt x="23" y="3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17" name="Freeform 3072"/>
              <p:cNvSpPr>
                <a:spLocks/>
              </p:cNvSpPr>
              <p:nvPr/>
            </p:nvSpPr>
            <p:spPr bwMode="auto">
              <a:xfrm>
                <a:off x="3391" y="1988"/>
                <a:ext cx="50" cy="52"/>
              </a:xfrm>
              <a:custGeom>
                <a:avLst/>
                <a:gdLst>
                  <a:gd name="T0" fmla="*/ 23 w 50"/>
                  <a:gd name="T1" fmla="*/ 36 h 52"/>
                  <a:gd name="T2" fmla="*/ 18 w 50"/>
                  <a:gd name="T3" fmla="*/ 30 h 52"/>
                  <a:gd name="T4" fmla="*/ 16 w 50"/>
                  <a:gd name="T5" fmla="*/ 28 h 52"/>
                  <a:gd name="T6" fmla="*/ 14 w 50"/>
                  <a:gd name="T7" fmla="*/ 27 h 52"/>
                  <a:gd name="T8" fmla="*/ 7 w 50"/>
                  <a:gd name="T9" fmla="*/ 23 h 52"/>
                  <a:gd name="T10" fmla="*/ 5 w 50"/>
                  <a:gd name="T11" fmla="*/ 21 h 52"/>
                  <a:gd name="T12" fmla="*/ 3 w 50"/>
                  <a:gd name="T13" fmla="*/ 11 h 52"/>
                  <a:gd name="T14" fmla="*/ 1 w 50"/>
                  <a:gd name="T15" fmla="*/ 7 h 52"/>
                  <a:gd name="T16" fmla="*/ 0 w 50"/>
                  <a:gd name="T17" fmla="*/ 5 h 52"/>
                  <a:gd name="T18" fmla="*/ 5 w 50"/>
                  <a:gd name="T19" fmla="*/ 5 h 52"/>
                  <a:gd name="T20" fmla="*/ 7 w 50"/>
                  <a:gd name="T21" fmla="*/ 3 h 52"/>
                  <a:gd name="T22" fmla="*/ 12 w 50"/>
                  <a:gd name="T23" fmla="*/ 3 h 52"/>
                  <a:gd name="T24" fmla="*/ 14 w 50"/>
                  <a:gd name="T25" fmla="*/ 2 h 52"/>
                  <a:gd name="T26" fmla="*/ 19 w 50"/>
                  <a:gd name="T27" fmla="*/ 2 h 52"/>
                  <a:gd name="T28" fmla="*/ 25 w 50"/>
                  <a:gd name="T29" fmla="*/ 0 h 52"/>
                  <a:gd name="T30" fmla="*/ 28 w 50"/>
                  <a:gd name="T31" fmla="*/ 7 h 52"/>
                  <a:gd name="T32" fmla="*/ 30 w 50"/>
                  <a:gd name="T33" fmla="*/ 7 h 52"/>
                  <a:gd name="T34" fmla="*/ 32 w 50"/>
                  <a:gd name="T35" fmla="*/ 9 h 52"/>
                  <a:gd name="T36" fmla="*/ 34 w 50"/>
                  <a:gd name="T37" fmla="*/ 11 h 52"/>
                  <a:gd name="T38" fmla="*/ 32 w 50"/>
                  <a:gd name="T39" fmla="*/ 12 h 52"/>
                  <a:gd name="T40" fmla="*/ 32 w 50"/>
                  <a:gd name="T41" fmla="*/ 14 h 52"/>
                  <a:gd name="T42" fmla="*/ 32 w 50"/>
                  <a:gd name="T43" fmla="*/ 16 h 52"/>
                  <a:gd name="T44" fmla="*/ 35 w 50"/>
                  <a:gd name="T45" fmla="*/ 19 h 52"/>
                  <a:gd name="T46" fmla="*/ 39 w 50"/>
                  <a:gd name="T47" fmla="*/ 23 h 52"/>
                  <a:gd name="T48" fmla="*/ 39 w 50"/>
                  <a:gd name="T49" fmla="*/ 25 h 52"/>
                  <a:gd name="T50" fmla="*/ 39 w 50"/>
                  <a:gd name="T51" fmla="*/ 27 h 52"/>
                  <a:gd name="T52" fmla="*/ 37 w 50"/>
                  <a:gd name="T53" fmla="*/ 28 h 52"/>
                  <a:gd name="T54" fmla="*/ 37 w 50"/>
                  <a:gd name="T55" fmla="*/ 30 h 52"/>
                  <a:gd name="T56" fmla="*/ 41 w 50"/>
                  <a:gd name="T57" fmla="*/ 34 h 52"/>
                  <a:gd name="T58" fmla="*/ 44 w 50"/>
                  <a:gd name="T59" fmla="*/ 36 h 52"/>
                  <a:gd name="T60" fmla="*/ 46 w 50"/>
                  <a:gd name="T61" fmla="*/ 36 h 52"/>
                  <a:gd name="T62" fmla="*/ 48 w 50"/>
                  <a:gd name="T63" fmla="*/ 37 h 52"/>
                  <a:gd name="T64" fmla="*/ 48 w 50"/>
                  <a:gd name="T65" fmla="*/ 41 h 52"/>
                  <a:gd name="T66" fmla="*/ 50 w 50"/>
                  <a:gd name="T67" fmla="*/ 43 h 52"/>
                  <a:gd name="T68" fmla="*/ 48 w 50"/>
                  <a:gd name="T69" fmla="*/ 44 h 52"/>
                  <a:gd name="T70" fmla="*/ 46 w 50"/>
                  <a:gd name="T71" fmla="*/ 44 h 52"/>
                  <a:gd name="T72" fmla="*/ 50 w 50"/>
                  <a:gd name="T73" fmla="*/ 50 h 52"/>
                  <a:gd name="T74" fmla="*/ 50 w 50"/>
                  <a:gd name="T75" fmla="*/ 52 h 52"/>
                  <a:gd name="T76" fmla="*/ 41 w 50"/>
                  <a:gd name="T77" fmla="*/ 52 h 52"/>
                  <a:gd name="T78" fmla="*/ 41 w 50"/>
                  <a:gd name="T79" fmla="*/ 44 h 52"/>
                  <a:gd name="T80" fmla="*/ 37 w 50"/>
                  <a:gd name="T81" fmla="*/ 37 h 52"/>
                  <a:gd name="T82" fmla="*/ 35 w 50"/>
                  <a:gd name="T83" fmla="*/ 37 h 52"/>
                  <a:gd name="T84" fmla="*/ 34 w 50"/>
                  <a:gd name="T85" fmla="*/ 37 h 52"/>
                  <a:gd name="T86" fmla="*/ 30 w 50"/>
                  <a:gd name="T87" fmla="*/ 37 h 52"/>
                  <a:gd name="T88" fmla="*/ 28 w 50"/>
                  <a:gd name="T89" fmla="*/ 37 h 52"/>
                  <a:gd name="T90" fmla="*/ 26 w 50"/>
                  <a:gd name="T91" fmla="*/ 36 h 52"/>
                  <a:gd name="T92" fmla="*/ 25 w 50"/>
                  <a:gd name="T93" fmla="*/ 34 h 52"/>
                  <a:gd name="T94" fmla="*/ 23 w 50"/>
                  <a:gd name="T95" fmla="*/ 3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52">
                    <a:moveTo>
                      <a:pt x="23" y="36"/>
                    </a:moveTo>
                    <a:lnTo>
                      <a:pt x="18" y="30"/>
                    </a:lnTo>
                    <a:lnTo>
                      <a:pt x="16" y="28"/>
                    </a:lnTo>
                    <a:lnTo>
                      <a:pt x="14" y="27"/>
                    </a:lnTo>
                    <a:lnTo>
                      <a:pt x="7" y="23"/>
                    </a:lnTo>
                    <a:lnTo>
                      <a:pt x="5" y="21"/>
                    </a:lnTo>
                    <a:lnTo>
                      <a:pt x="3" y="11"/>
                    </a:lnTo>
                    <a:lnTo>
                      <a:pt x="1" y="7"/>
                    </a:lnTo>
                    <a:lnTo>
                      <a:pt x="0" y="5"/>
                    </a:lnTo>
                    <a:lnTo>
                      <a:pt x="5" y="5"/>
                    </a:lnTo>
                    <a:lnTo>
                      <a:pt x="7" y="3"/>
                    </a:lnTo>
                    <a:lnTo>
                      <a:pt x="12" y="3"/>
                    </a:lnTo>
                    <a:lnTo>
                      <a:pt x="14" y="2"/>
                    </a:lnTo>
                    <a:lnTo>
                      <a:pt x="19" y="2"/>
                    </a:lnTo>
                    <a:lnTo>
                      <a:pt x="25" y="0"/>
                    </a:lnTo>
                    <a:lnTo>
                      <a:pt x="28" y="7"/>
                    </a:lnTo>
                    <a:lnTo>
                      <a:pt x="30" y="7"/>
                    </a:lnTo>
                    <a:lnTo>
                      <a:pt x="32" y="9"/>
                    </a:lnTo>
                    <a:lnTo>
                      <a:pt x="34" y="11"/>
                    </a:lnTo>
                    <a:lnTo>
                      <a:pt x="32" y="12"/>
                    </a:lnTo>
                    <a:lnTo>
                      <a:pt x="32" y="14"/>
                    </a:lnTo>
                    <a:lnTo>
                      <a:pt x="32" y="16"/>
                    </a:lnTo>
                    <a:lnTo>
                      <a:pt x="35" y="19"/>
                    </a:lnTo>
                    <a:lnTo>
                      <a:pt x="39" y="23"/>
                    </a:lnTo>
                    <a:lnTo>
                      <a:pt x="39" y="25"/>
                    </a:lnTo>
                    <a:lnTo>
                      <a:pt x="39" y="27"/>
                    </a:lnTo>
                    <a:lnTo>
                      <a:pt x="37" y="28"/>
                    </a:lnTo>
                    <a:lnTo>
                      <a:pt x="37" y="30"/>
                    </a:lnTo>
                    <a:lnTo>
                      <a:pt x="41" y="34"/>
                    </a:lnTo>
                    <a:lnTo>
                      <a:pt x="44" y="36"/>
                    </a:lnTo>
                    <a:lnTo>
                      <a:pt x="46" y="36"/>
                    </a:lnTo>
                    <a:lnTo>
                      <a:pt x="48" y="37"/>
                    </a:lnTo>
                    <a:lnTo>
                      <a:pt x="48" y="41"/>
                    </a:lnTo>
                    <a:lnTo>
                      <a:pt x="50" y="43"/>
                    </a:lnTo>
                    <a:lnTo>
                      <a:pt x="48" y="44"/>
                    </a:lnTo>
                    <a:lnTo>
                      <a:pt x="46" y="44"/>
                    </a:lnTo>
                    <a:lnTo>
                      <a:pt x="50" y="50"/>
                    </a:lnTo>
                    <a:lnTo>
                      <a:pt x="50" y="52"/>
                    </a:lnTo>
                    <a:lnTo>
                      <a:pt x="41" y="52"/>
                    </a:lnTo>
                    <a:lnTo>
                      <a:pt x="41" y="44"/>
                    </a:lnTo>
                    <a:lnTo>
                      <a:pt x="37" y="37"/>
                    </a:lnTo>
                    <a:lnTo>
                      <a:pt x="35" y="37"/>
                    </a:lnTo>
                    <a:lnTo>
                      <a:pt x="34" y="37"/>
                    </a:lnTo>
                    <a:lnTo>
                      <a:pt x="30" y="37"/>
                    </a:lnTo>
                    <a:lnTo>
                      <a:pt x="28" y="37"/>
                    </a:lnTo>
                    <a:lnTo>
                      <a:pt x="26" y="36"/>
                    </a:lnTo>
                    <a:lnTo>
                      <a:pt x="25" y="34"/>
                    </a:lnTo>
                    <a:lnTo>
                      <a:pt x="23" y="3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18" name="Freeform 3073"/>
              <p:cNvSpPr>
                <a:spLocks/>
              </p:cNvSpPr>
              <p:nvPr/>
            </p:nvSpPr>
            <p:spPr bwMode="auto">
              <a:xfrm>
                <a:off x="3592" y="1895"/>
                <a:ext cx="274" cy="179"/>
              </a:xfrm>
              <a:custGeom>
                <a:avLst/>
                <a:gdLst>
                  <a:gd name="T0" fmla="*/ 16 w 274"/>
                  <a:gd name="T1" fmla="*/ 95 h 179"/>
                  <a:gd name="T2" fmla="*/ 16 w 274"/>
                  <a:gd name="T3" fmla="*/ 87 h 179"/>
                  <a:gd name="T4" fmla="*/ 18 w 274"/>
                  <a:gd name="T5" fmla="*/ 79 h 179"/>
                  <a:gd name="T6" fmla="*/ 31 w 274"/>
                  <a:gd name="T7" fmla="*/ 73 h 179"/>
                  <a:gd name="T8" fmla="*/ 33 w 274"/>
                  <a:gd name="T9" fmla="*/ 68 h 179"/>
                  <a:gd name="T10" fmla="*/ 38 w 274"/>
                  <a:gd name="T11" fmla="*/ 68 h 179"/>
                  <a:gd name="T12" fmla="*/ 40 w 274"/>
                  <a:gd name="T13" fmla="*/ 64 h 179"/>
                  <a:gd name="T14" fmla="*/ 54 w 274"/>
                  <a:gd name="T15" fmla="*/ 71 h 179"/>
                  <a:gd name="T16" fmla="*/ 63 w 274"/>
                  <a:gd name="T17" fmla="*/ 73 h 179"/>
                  <a:gd name="T18" fmla="*/ 65 w 274"/>
                  <a:gd name="T19" fmla="*/ 80 h 179"/>
                  <a:gd name="T20" fmla="*/ 65 w 274"/>
                  <a:gd name="T21" fmla="*/ 86 h 179"/>
                  <a:gd name="T22" fmla="*/ 66 w 274"/>
                  <a:gd name="T23" fmla="*/ 93 h 179"/>
                  <a:gd name="T24" fmla="*/ 88 w 274"/>
                  <a:gd name="T25" fmla="*/ 96 h 179"/>
                  <a:gd name="T26" fmla="*/ 97 w 274"/>
                  <a:gd name="T27" fmla="*/ 98 h 179"/>
                  <a:gd name="T28" fmla="*/ 99 w 274"/>
                  <a:gd name="T29" fmla="*/ 109 h 179"/>
                  <a:gd name="T30" fmla="*/ 104 w 274"/>
                  <a:gd name="T31" fmla="*/ 118 h 179"/>
                  <a:gd name="T32" fmla="*/ 134 w 274"/>
                  <a:gd name="T33" fmla="*/ 143 h 179"/>
                  <a:gd name="T34" fmla="*/ 156 w 274"/>
                  <a:gd name="T35" fmla="*/ 157 h 179"/>
                  <a:gd name="T36" fmla="*/ 166 w 274"/>
                  <a:gd name="T37" fmla="*/ 161 h 179"/>
                  <a:gd name="T38" fmla="*/ 168 w 274"/>
                  <a:gd name="T39" fmla="*/ 177 h 179"/>
                  <a:gd name="T40" fmla="*/ 181 w 274"/>
                  <a:gd name="T41" fmla="*/ 179 h 179"/>
                  <a:gd name="T42" fmla="*/ 190 w 274"/>
                  <a:gd name="T43" fmla="*/ 177 h 179"/>
                  <a:gd name="T44" fmla="*/ 195 w 274"/>
                  <a:gd name="T45" fmla="*/ 162 h 179"/>
                  <a:gd name="T46" fmla="*/ 197 w 274"/>
                  <a:gd name="T47" fmla="*/ 157 h 179"/>
                  <a:gd name="T48" fmla="*/ 193 w 274"/>
                  <a:gd name="T49" fmla="*/ 148 h 179"/>
                  <a:gd name="T50" fmla="*/ 191 w 274"/>
                  <a:gd name="T51" fmla="*/ 141 h 179"/>
                  <a:gd name="T52" fmla="*/ 186 w 274"/>
                  <a:gd name="T53" fmla="*/ 139 h 179"/>
                  <a:gd name="T54" fmla="*/ 184 w 274"/>
                  <a:gd name="T55" fmla="*/ 132 h 179"/>
                  <a:gd name="T56" fmla="*/ 191 w 274"/>
                  <a:gd name="T57" fmla="*/ 130 h 179"/>
                  <a:gd name="T58" fmla="*/ 204 w 274"/>
                  <a:gd name="T59" fmla="*/ 123 h 179"/>
                  <a:gd name="T60" fmla="*/ 211 w 274"/>
                  <a:gd name="T61" fmla="*/ 120 h 179"/>
                  <a:gd name="T62" fmla="*/ 213 w 274"/>
                  <a:gd name="T63" fmla="*/ 112 h 179"/>
                  <a:gd name="T64" fmla="*/ 215 w 274"/>
                  <a:gd name="T65" fmla="*/ 107 h 179"/>
                  <a:gd name="T66" fmla="*/ 220 w 274"/>
                  <a:gd name="T67" fmla="*/ 107 h 179"/>
                  <a:gd name="T68" fmla="*/ 231 w 274"/>
                  <a:gd name="T69" fmla="*/ 98 h 179"/>
                  <a:gd name="T70" fmla="*/ 236 w 274"/>
                  <a:gd name="T71" fmla="*/ 104 h 179"/>
                  <a:gd name="T72" fmla="*/ 233 w 274"/>
                  <a:gd name="T73" fmla="*/ 109 h 179"/>
                  <a:gd name="T74" fmla="*/ 236 w 274"/>
                  <a:gd name="T75" fmla="*/ 116 h 179"/>
                  <a:gd name="T76" fmla="*/ 249 w 274"/>
                  <a:gd name="T77" fmla="*/ 118 h 179"/>
                  <a:gd name="T78" fmla="*/ 258 w 274"/>
                  <a:gd name="T79" fmla="*/ 112 h 179"/>
                  <a:gd name="T80" fmla="*/ 263 w 274"/>
                  <a:gd name="T81" fmla="*/ 109 h 179"/>
                  <a:gd name="T82" fmla="*/ 268 w 274"/>
                  <a:gd name="T83" fmla="*/ 107 h 179"/>
                  <a:gd name="T84" fmla="*/ 272 w 274"/>
                  <a:gd name="T85" fmla="*/ 102 h 179"/>
                  <a:gd name="T86" fmla="*/ 261 w 274"/>
                  <a:gd name="T87" fmla="*/ 98 h 179"/>
                  <a:gd name="T88" fmla="*/ 254 w 274"/>
                  <a:gd name="T89" fmla="*/ 93 h 179"/>
                  <a:gd name="T90" fmla="*/ 249 w 274"/>
                  <a:gd name="T91" fmla="*/ 95 h 179"/>
                  <a:gd name="T92" fmla="*/ 243 w 274"/>
                  <a:gd name="T93" fmla="*/ 98 h 179"/>
                  <a:gd name="T94" fmla="*/ 233 w 274"/>
                  <a:gd name="T95" fmla="*/ 91 h 179"/>
                  <a:gd name="T96" fmla="*/ 229 w 274"/>
                  <a:gd name="T97" fmla="*/ 87 h 179"/>
                  <a:gd name="T98" fmla="*/ 243 w 274"/>
                  <a:gd name="T99" fmla="*/ 73 h 179"/>
                  <a:gd name="T100" fmla="*/ 234 w 274"/>
                  <a:gd name="T101" fmla="*/ 77 h 179"/>
                  <a:gd name="T102" fmla="*/ 229 w 274"/>
                  <a:gd name="T103" fmla="*/ 82 h 179"/>
                  <a:gd name="T104" fmla="*/ 215 w 274"/>
                  <a:gd name="T105" fmla="*/ 91 h 179"/>
                  <a:gd name="T106" fmla="*/ 204 w 274"/>
                  <a:gd name="T107" fmla="*/ 100 h 179"/>
                  <a:gd name="T108" fmla="*/ 172 w 274"/>
                  <a:gd name="T109" fmla="*/ 82 h 179"/>
                  <a:gd name="T110" fmla="*/ 165 w 274"/>
                  <a:gd name="T111" fmla="*/ 71 h 179"/>
                  <a:gd name="T112" fmla="*/ 154 w 274"/>
                  <a:gd name="T113" fmla="*/ 50 h 179"/>
                  <a:gd name="T114" fmla="*/ 97 w 274"/>
                  <a:gd name="T115" fmla="*/ 4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4" h="179">
                    <a:moveTo>
                      <a:pt x="0" y="14"/>
                    </a:moveTo>
                    <a:lnTo>
                      <a:pt x="0" y="93"/>
                    </a:lnTo>
                    <a:lnTo>
                      <a:pt x="16" y="95"/>
                    </a:lnTo>
                    <a:lnTo>
                      <a:pt x="18" y="95"/>
                    </a:lnTo>
                    <a:lnTo>
                      <a:pt x="16" y="89"/>
                    </a:lnTo>
                    <a:lnTo>
                      <a:pt x="16" y="87"/>
                    </a:lnTo>
                    <a:lnTo>
                      <a:pt x="15" y="82"/>
                    </a:lnTo>
                    <a:lnTo>
                      <a:pt x="16" y="80"/>
                    </a:lnTo>
                    <a:lnTo>
                      <a:pt x="18" y="79"/>
                    </a:lnTo>
                    <a:lnTo>
                      <a:pt x="22" y="75"/>
                    </a:lnTo>
                    <a:lnTo>
                      <a:pt x="29" y="75"/>
                    </a:lnTo>
                    <a:lnTo>
                      <a:pt x="31" y="73"/>
                    </a:lnTo>
                    <a:lnTo>
                      <a:pt x="31" y="71"/>
                    </a:lnTo>
                    <a:lnTo>
                      <a:pt x="31" y="70"/>
                    </a:lnTo>
                    <a:lnTo>
                      <a:pt x="33" y="68"/>
                    </a:lnTo>
                    <a:lnTo>
                      <a:pt x="38" y="71"/>
                    </a:lnTo>
                    <a:lnTo>
                      <a:pt x="40" y="71"/>
                    </a:lnTo>
                    <a:lnTo>
                      <a:pt x="38" y="68"/>
                    </a:lnTo>
                    <a:lnTo>
                      <a:pt x="36" y="66"/>
                    </a:lnTo>
                    <a:lnTo>
                      <a:pt x="38" y="64"/>
                    </a:lnTo>
                    <a:lnTo>
                      <a:pt x="40" y="64"/>
                    </a:lnTo>
                    <a:lnTo>
                      <a:pt x="41" y="64"/>
                    </a:lnTo>
                    <a:lnTo>
                      <a:pt x="41" y="62"/>
                    </a:lnTo>
                    <a:lnTo>
                      <a:pt x="54" y="71"/>
                    </a:lnTo>
                    <a:lnTo>
                      <a:pt x="56" y="73"/>
                    </a:lnTo>
                    <a:lnTo>
                      <a:pt x="58" y="73"/>
                    </a:lnTo>
                    <a:lnTo>
                      <a:pt x="63" y="73"/>
                    </a:lnTo>
                    <a:lnTo>
                      <a:pt x="65" y="75"/>
                    </a:lnTo>
                    <a:lnTo>
                      <a:pt x="63" y="79"/>
                    </a:lnTo>
                    <a:lnTo>
                      <a:pt x="65" y="80"/>
                    </a:lnTo>
                    <a:lnTo>
                      <a:pt x="68" y="82"/>
                    </a:lnTo>
                    <a:lnTo>
                      <a:pt x="65" y="84"/>
                    </a:lnTo>
                    <a:lnTo>
                      <a:pt x="65" y="86"/>
                    </a:lnTo>
                    <a:lnTo>
                      <a:pt x="66" y="87"/>
                    </a:lnTo>
                    <a:lnTo>
                      <a:pt x="65" y="91"/>
                    </a:lnTo>
                    <a:lnTo>
                      <a:pt x="66" y="93"/>
                    </a:lnTo>
                    <a:lnTo>
                      <a:pt x="70" y="95"/>
                    </a:lnTo>
                    <a:lnTo>
                      <a:pt x="84" y="96"/>
                    </a:lnTo>
                    <a:lnTo>
                      <a:pt x="88" y="96"/>
                    </a:lnTo>
                    <a:lnTo>
                      <a:pt x="88" y="95"/>
                    </a:lnTo>
                    <a:lnTo>
                      <a:pt x="90" y="93"/>
                    </a:lnTo>
                    <a:lnTo>
                      <a:pt x="97" y="98"/>
                    </a:lnTo>
                    <a:lnTo>
                      <a:pt x="97" y="102"/>
                    </a:lnTo>
                    <a:lnTo>
                      <a:pt x="97" y="105"/>
                    </a:lnTo>
                    <a:lnTo>
                      <a:pt x="99" y="109"/>
                    </a:lnTo>
                    <a:lnTo>
                      <a:pt x="102" y="111"/>
                    </a:lnTo>
                    <a:lnTo>
                      <a:pt x="104" y="116"/>
                    </a:lnTo>
                    <a:lnTo>
                      <a:pt x="104" y="118"/>
                    </a:lnTo>
                    <a:lnTo>
                      <a:pt x="108" y="125"/>
                    </a:lnTo>
                    <a:lnTo>
                      <a:pt x="129" y="141"/>
                    </a:lnTo>
                    <a:lnTo>
                      <a:pt x="134" y="143"/>
                    </a:lnTo>
                    <a:lnTo>
                      <a:pt x="152" y="157"/>
                    </a:lnTo>
                    <a:lnTo>
                      <a:pt x="154" y="157"/>
                    </a:lnTo>
                    <a:lnTo>
                      <a:pt x="156" y="157"/>
                    </a:lnTo>
                    <a:lnTo>
                      <a:pt x="159" y="155"/>
                    </a:lnTo>
                    <a:lnTo>
                      <a:pt x="165" y="159"/>
                    </a:lnTo>
                    <a:lnTo>
                      <a:pt x="166" y="161"/>
                    </a:lnTo>
                    <a:lnTo>
                      <a:pt x="170" y="162"/>
                    </a:lnTo>
                    <a:lnTo>
                      <a:pt x="168" y="168"/>
                    </a:lnTo>
                    <a:lnTo>
                      <a:pt x="168" y="177"/>
                    </a:lnTo>
                    <a:lnTo>
                      <a:pt x="177" y="175"/>
                    </a:lnTo>
                    <a:lnTo>
                      <a:pt x="179" y="177"/>
                    </a:lnTo>
                    <a:lnTo>
                      <a:pt x="181" y="179"/>
                    </a:lnTo>
                    <a:lnTo>
                      <a:pt x="184" y="177"/>
                    </a:lnTo>
                    <a:lnTo>
                      <a:pt x="188" y="177"/>
                    </a:lnTo>
                    <a:lnTo>
                      <a:pt x="190" y="177"/>
                    </a:lnTo>
                    <a:lnTo>
                      <a:pt x="188" y="173"/>
                    </a:lnTo>
                    <a:lnTo>
                      <a:pt x="193" y="164"/>
                    </a:lnTo>
                    <a:lnTo>
                      <a:pt x="195" y="162"/>
                    </a:lnTo>
                    <a:lnTo>
                      <a:pt x="197" y="161"/>
                    </a:lnTo>
                    <a:lnTo>
                      <a:pt x="199" y="159"/>
                    </a:lnTo>
                    <a:lnTo>
                      <a:pt x="197" y="157"/>
                    </a:lnTo>
                    <a:lnTo>
                      <a:pt x="195" y="155"/>
                    </a:lnTo>
                    <a:lnTo>
                      <a:pt x="195" y="154"/>
                    </a:lnTo>
                    <a:lnTo>
                      <a:pt x="193" y="148"/>
                    </a:lnTo>
                    <a:lnTo>
                      <a:pt x="195" y="145"/>
                    </a:lnTo>
                    <a:lnTo>
                      <a:pt x="193" y="143"/>
                    </a:lnTo>
                    <a:lnTo>
                      <a:pt x="191" y="141"/>
                    </a:lnTo>
                    <a:lnTo>
                      <a:pt x="190" y="141"/>
                    </a:lnTo>
                    <a:lnTo>
                      <a:pt x="186" y="141"/>
                    </a:lnTo>
                    <a:lnTo>
                      <a:pt x="186" y="139"/>
                    </a:lnTo>
                    <a:lnTo>
                      <a:pt x="183" y="136"/>
                    </a:lnTo>
                    <a:lnTo>
                      <a:pt x="184" y="134"/>
                    </a:lnTo>
                    <a:lnTo>
                      <a:pt x="184" y="132"/>
                    </a:lnTo>
                    <a:lnTo>
                      <a:pt x="184" y="130"/>
                    </a:lnTo>
                    <a:lnTo>
                      <a:pt x="190" y="129"/>
                    </a:lnTo>
                    <a:lnTo>
                      <a:pt x="191" y="130"/>
                    </a:lnTo>
                    <a:lnTo>
                      <a:pt x="199" y="130"/>
                    </a:lnTo>
                    <a:lnTo>
                      <a:pt x="200" y="129"/>
                    </a:lnTo>
                    <a:lnTo>
                      <a:pt x="204" y="123"/>
                    </a:lnTo>
                    <a:lnTo>
                      <a:pt x="204" y="121"/>
                    </a:lnTo>
                    <a:lnTo>
                      <a:pt x="206" y="120"/>
                    </a:lnTo>
                    <a:lnTo>
                      <a:pt x="211" y="120"/>
                    </a:lnTo>
                    <a:lnTo>
                      <a:pt x="213" y="118"/>
                    </a:lnTo>
                    <a:lnTo>
                      <a:pt x="213" y="114"/>
                    </a:lnTo>
                    <a:lnTo>
                      <a:pt x="213" y="112"/>
                    </a:lnTo>
                    <a:lnTo>
                      <a:pt x="213" y="111"/>
                    </a:lnTo>
                    <a:lnTo>
                      <a:pt x="215" y="109"/>
                    </a:lnTo>
                    <a:lnTo>
                      <a:pt x="215" y="107"/>
                    </a:lnTo>
                    <a:lnTo>
                      <a:pt x="216" y="105"/>
                    </a:lnTo>
                    <a:lnTo>
                      <a:pt x="218" y="107"/>
                    </a:lnTo>
                    <a:lnTo>
                      <a:pt x="220" y="107"/>
                    </a:lnTo>
                    <a:lnTo>
                      <a:pt x="229" y="102"/>
                    </a:lnTo>
                    <a:lnTo>
                      <a:pt x="231" y="100"/>
                    </a:lnTo>
                    <a:lnTo>
                      <a:pt x="231" y="98"/>
                    </a:lnTo>
                    <a:lnTo>
                      <a:pt x="234" y="98"/>
                    </a:lnTo>
                    <a:lnTo>
                      <a:pt x="234" y="102"/>
                    </a:lnTo>
                    <a:lnTo>
                      <a:pt x="236" y="104"/>
                    </a:lnTo>
                    <a:lnTo>
                      <a:pt x="236" y="105"/>
                    </a:lnTo>
                    <a:lnTo>
                      <a:pt x="234" y="107"/>
                    </a:lnTo>
                    <a:lnTo>
                      <a:pt x="233" y="109"/>
                    </a:lnTo>
                    <a:lnTo>
                      <a:pt x="231" y="111"/>
                    </a:lnTo>
                    <a:lnTo>
                      <a:pt x="234" y="116"/>
                    </a:lnTo>
                    <a:lnTo>
                      <a:pt x="236" y="116"/>
                    </a:lnTo>
                    <a:lnTo>
                      <a:pt x="238" y="116"/>
                    </a:lnTo>
                    <a:lnTo>
                      <a:pt x="245" y="116"/>
                    </a:lnTo>
                    <a:lnTo>
                      <a:pt x="249" y="118"/>
                    </a:lnTo>
                    <a:lnTo>
                      <a:pt x="254" y="116"/>
                    </a:lnTo>
                    <a:lnTo>
                      <a:pt x="256" y="114"/>
                    </a:lnTo>
                    <a:lnTo>
                      <a:pt x="258" y="112"/>
                    </a:lnTo>
                    <a:lnTo>
                      <a:pt x="259" y="111"/>
                    </a:lnTo>
                    <a:lnTo>
                      <a:pt x="261" y="111"/>
                    </a:lnTo>
                    <a:lnTo>
                      <a:pt x="263" y="109"/>
                    </a:lnTo>
                    <a:lnTo>
                      <a:pt x="265" y="111"/>
                    </a:lnTo>
                    <a:lnTo>
                      <a:pt x="266" y="109"/>
                    </a:lnTo>
                    <a:lnTo>
                      <a:pt x="268" y="107"/>
                    </a:lnTo>
                    <a:lnTo>
                      <a:pt x="274" y="105"/>
                    </a:lnTo>
                    <a:lnTo>
                      <a:pt x="274" y="104"/>
                    </a:lnTo>
                    <a:lnTo>
                      <a:pt x="272" y="102"/>
                    </a:lnTo>
                    <a:lnTo>
                      <a:pt x="270" y="104"/>
                    </a:lnTo>
                    <a:lnTo>
                      <a:pt x="265" y="102"/>
                    </a:lnTo>
                    <a:lnTo>
                      <a:pt x="261" y="98"/>
                    </a:lnTo>
                    <a:lnTo>
                      <a:pt x="259" y="98"/>
                    </a:lnTo>
                    <a:lnTo>
                      <a:pt x="254" y="95"/>
                    </a:lnTo>
                    <a:lnTo>
                      <a:pt x="254" y="93"/>
                    </a:lnTo>
                    <a:lnTo>
                      <a:pt x="252" y="91"/>
                    </a:lnTo>
                    <a:lnTo>
                      <a:pt x="250" y="89"/>
                    </a:lnTo>
                    <a:lnTo>
                      <a:pt x="249" y="95"/>
                    </a:lnTo>
                    <a:lnTo>
                      <a:pt x="247" y="95"/>
                    </a:lnTo>
                    <a:lnTo>
                      <a:pt x="247" y="98"/>
                    </a:lnTo>
                    <a:lnTo>
                      <a:pt x="243" y="98"/>
                    </a:lnTo>
                    <a:lnTo>
                      <a:pt x="238" y="95"/>
                    </a:lnTo>
                    <a:lnTo>
                      <a:pt x="234" y="91"/>
                    </a:lnTo>
                    <a:lnTo>
                      <a:pt x="233" y="91"/>
                    </a:lnTo>
                    <a:lnTo>
                      <a:pt x="231" y="91"/>
                    </a:lnTo>
                    <a:lnTo>
                      <a:pt x="229" y="89"/>
                    </a:lnTo>
                    <a:lnTo>
                      <a:pt x="229" y="87"/>
                    </a:lnTo>
                    <a:lnTo>
                      <a:pt x="240" y="77"/>
                    </a:lnTo>
                    <a:lnTo>
                      <a:pt x="243" y="75"/>
                    </a:lnTo>
                    <a:lnTo>
                      <a:pt x="243" y="73"/>
                    </a:lnTo>
                    <a:lnTo>
                      <a:pt x="238" y="71"/>
                    </a:lnTo>
                    <a:lnTo>
                      <a:pt x="238" y="73"/>
                    </a:lnTo>
                    <a:lnTo>
                      <a:pt x="234" y="77"/>
                    </a:lnTo>
                    <a:lnTo>
                      <a:pt x="233" y="79"/>
                    </a:lnTo>
                    <a:lnTo>
                      <a:pt x="231" y="77"/>
                    </a:lnTo>
                    <a:lnTo>
                      <a:pt x="229" y="82"/>
                    </a:lnTo>
                    <a:lnTo>
                      <a:pt x="225" y="84"/>
                    </a:lnTo>
                    <a:lnTo>
                      <a:pt x="215" y="87"/>
                    </a:lnTo>
                    <a:lnTo>
                      <a:pt x="215" y="91"/>
                    </a:lnTo>
                    <a:lnTo>
                      <a:pt x="209" y="93"/>
                    </a:lnTo>
                    <a:lnTo>
                      <a:pt x="208" y="96"/>
                    </a:lnTo>
                    <a:lnTo>
                      <a:pt x="204" y="100"/>
                    </a:lnTo>
                    <a:lnTo>
                      <a:pt x="191" y="95"/>
                    </a:lnTo>
                    <a:lnTo>
                      <a:pt x="174" y="96"/>
                    </a:lnTo>
                    <a:lnTo>
                      <a:pt x="172" y="82"/>
                    </a:lnTo>
                    <a:lnTo>
                      <a:pt x="161" y="80"/>
                    </a:lnTo>
                    <a:lnTo>
                      <a:pt x="161" y="71"/>
                    </a:lnTo>
                    <a:lnTo>
                      <a:pt x="165" y="71"/>
                    </a:lnTo>
                    <a:lnTo>
                      <a:pt x="163" y="59"/>
                    </a:lnTo>
                    <a:lnTo>
                      <a:pt x="159" y="59"/>
                    </a:lnTo>
                    <a:lnTo>
                      <a:pt x="154" y="50"/>
                    </a:lnTo>
                    <a:lnTo>
                      <a:pt x="143" y="41"/>
                    </a:lnTo>
                    <a:lnTo>
                      <a:pt x="140" y="43"/>
                    </a:lnTo>
                    <a:lnTo>
                      <a:pt x="97" y="46"/>
                    </a:lnTo>
                    <a:lnTo>
                      <a:pt x="41" y="0"/>
                    </a:lnTo>
                    <a:lnTo>
                      <a:pt x="0" y="1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19" name="Freeform 3074"/>
              <p:cNvSpPr>
                <a:spLocks/>
              </p:cNvSpPr>
              <p:nvPr/>
            </p:nvSpPr>
            <p:spPr bwMode="auto">
              <a:xfrm>
                <a:off x="3592" y="1895"/>
                <a:ext cx="274" cy="179"/>
              </a:xfrm>
              <a:custGeom>
                <a:avLst/>
                <a:gdLst>
                  <a:gd name="T0" fmla="*/ 16 w 274"/>
                  <a:gd name="T1" fmla="*/ 95 h 179"/>
                  <a:gd name="T2" fmla="*/ 16 w 274"/>
                  <a:gd name="T3" fmla="*/ 87 h 179"/>
                  <a:gd name="T4" fmla="*/ 18 w 274"/>
                  <a:gd name="T5" fmla="*/ 79 h 179"/>
                  <a:gd name="T6" fmla="*/ 31 w 274"/>
                  <a:gd name="T7" fmla="*/ 73 h 179"/>
                  <a:gd name="T8" fmla="*/ 33 w 274"/>
                  <a:gd name="T9" fmla="*/ 68 h 179"/>
                  <a:gd name="T10" fmla="*/ 38 w 274"/>
                  <a:gd name="T11" fmla="*/ 68 h 179"/>
                  <a:gd name="T12" fmla="*/ 40 w 274"/>
                  <a:gd name="T13" fmla="*/ 64 h 179"/>
                  <a:gd name="T14" fmla="*/ 54 w 274"/>
                  <a:gd name="T15" fmla="*/ 71 h 179"/>
                  <a:gd name="T16" fmla="*/ 63 w 274"/>
                  <a:gd name="T17" fmla="*/ 73 h 179"/>
                  <a:gd name="T18" fmla="*/ 65 w 274"/>
                  <a:gd name="T19" fmla="*/ 80 h 179"/>
                  <a:gd name="T20" fmla="*/ 65 w 274"/>
                  <a:gd name="T21" fmla="*/ 86 h 179"/>
                  <a:gd name="T22" fmla="*/ 66 w 274"/>
                  <a:gd name="T23" fmla="*/ 93 h 179"/>
                  <a:gd name="T24" fmla="*/ 88 w 274"/>
                  <a:gd name="T25" fmla="*/ 96 h 179"/>
                  <a:gd name="T26" fmla="*/ 97 w 274"/>
                  <a:gd name="T27" fmla="*/ 98 h 179"/>
                  <a:gd name="T28" fmla="*/ 99 w 274"/>
                  <a:gd name="T29" fmla="*/ 109 h 179"/>
                  <a:gd name="T30" fmla="*/ 104 w 274"/>
                  <a:gd name="T31" fmla="*/ 118 h 179"/>
                  <a:gd name="T32" fmla="*/ 134 w 274"/>
                  <a:gd name="T33" fmla="*/ 143 h 179"/>
                  <a:gd name="T34" fmla="*/ 156 w 274"/>
                  <a:gd name="T35" fmla="*/ 157 h 179"/>
                  <a:gd name="T36" fmla="*/ 166 w 274"/>
                  <a:gd name="T37" fmla="*/ 161 h 179"/>
                  <a:gd name="T38" fmla="*/ 168 w 274"/>
                  <a:gd name="T39" fmla="*/ 177 h 179"/>
                  <a:gd name="T40" fmla="*/ 181 w 274"/>
                  <a:gd name="T41" fmla="*/ 179 h 179"/>
                  <a:gd name="T42" fmla="*/ 190 w 274"/>
                  <a:gd name="T43" fmla="*/ 177 h 179"/>
                  <a:gd name="T44" fmla="*/ 195 w 274"/>
                  <a:gd name="T45" fmla="*/ 162 h 179"/>
                  <a:gd name="T46" fmla="*/ 197 w 274"/>
                  <a:gd name="T47" fmla="*/ 157 h 179"/>
                  <a:gd name="T48" fmla="*/ 193 w 274"/>
                  <a:gd name="T49" fmla="*/ 148 h 179"/>
                  <a:gd name="T50" fmla="*/ 191 w 274"/>
                  <a:gd name="T51" fmla="*/ 141 h 179"/>
                  <a:gd name="T52" fmla="*/ 186 w 274"/>
                  <a:gd name="T53" fmla="*/ 139 h 179"/>
                  <a:gd name="T54" fmla="*/ 184 w 274"/>
                  <a:gd name="T55" fmla="*/ 132 h 179"/>
                  <a:gd name="T56" fmla="*/ 191 w 274"/>
                  <a:gd name="T57" fmla="*/ 130 h 179"/>
                  <a:gd name="T58" fmla="*/ 204 w 274"/>
                  <a:gd name="T59" fmla="*/ 123 h 179"/>
                  <a:gd name="T60" fmla="*/ 211 w 274"/>
                  <a:gd name="T61" fmla="*/ 120 h 179"/>
                  <a:gd name="T62" fmla="*/ 213 w 274"/>
                  <a:gd name="T63" fmla="*/ 112 h 179"/>
                  <a:gd name="T64" fmla="*/ 215 w 274"/>
                  <a:gd name="T65" fmla="*/ 107 h 179"/>
                  <a:gd name="T66" fmla="*/ 220 w 274"/>
                  <a:gd name="T67" fmla="*/ 107 h 179"/>
                  <a:gd name="T68" fmla="*/ 231 w 274"/>
                  <a:gd name="T69" fmla="*/ 98 h 179"/>
                  <a:gd name="T70" fmla="*/ 236 w 274"/>
                  <a:gd name="T71" fmla="*/ 104 h 179"/>
                  <a:gd name="T72" fmla="*/ 233 w 274"/>
                  <a:gd name="T73" fmla="*/ 109 h 179"/>
                  <a:gd name="T74" fmla="*/ 236 w 274"/>
                  <a:gd name="T75" fmla="*/ 116 h 179"/>
                  <a:gd name="T76" fmla="*/ 249 w 274"/>
                  <a:gd name="T77" fmla="*/ 118 h 179"/>
                  <a:gd name="T78" fmla="*/ 258 w 274"/>
                  <a:gd name="T79" fmla="*/ 112 h 179"/>
                  <a:gd name="T80" fmla="*/ 263 w 274"/>
                  <a:gd name="T81" fmla="*/ 109 h 179"/>
                  <a:gd name="T82" fmla="*/ 268 w 274"/>
                  <a:gd name="T83" fmla="*/ 107 h 179"/>
                  <a:gd name="T84" fmla="*/ 272 w 274"/>
                  <a:gd name="T85" fmla="*/ 102 h 179"/>
                  <a:gd name="T86" fmla="*/ 261 w 274"/>
                  <a:gd name="T87" fmla="*/ 98 h 179"/>
                  <a:gd name="T88" fmla="*/ 254 w 274"/>
                  <a:gd name="T89" fmla="*/ 93 h 179"/>
                  <a:gd name="T90" fmla="*/ 249 w 274"/>
                  <a:gd name="T91" fmla="*/ 95 h 179"/>
                  <a:gd name="T92" fmla="*/ 243 w 274"/>
                  <a:gd name="T93" fmla="*/ 98 h 179"/>
                  <a:gd name="T94" fmla="*/ 233 w 274"/>
                  <a:gd name="T95" fmla="*/ 91 h 179"/>
                  <a:gd name="T96" fmla="*/ 229 w 274"/>
                  <a:gd name="T97" fmla="*/ 87 h 179"/>
                  <a:gd name="T98" fmla="*/ 243 w 274"/>
                  <a:gd name="T99" fmla="*/ 73 h 179"/>
                  <a:gd name="T100" fmla="*/ 234 w 274"/>
                  <a:gd name="T101" fmla="*/ 77 h 179"/>
                  <a:gd name="T102" fmla="*/ 229 w 274"/>
                  <a:gd name="T103" fmla="*/ 82 h 179"/>
                  <a:gd name="T104" fmla="*/ 215 w 274"/>
                  <a:gd name="T105" fmla="*/ 91 h 179"/>
                  <a:gd name="T106" fmla="*/ 204 w 274"/>
                  <a:gd name="T107" fmla="*/ 100 h 179"/>
                  <a:gd name="T108" fmla="*/ 172 w 274"/>
                  <a:gd name="T109" fmla="*/ 82 h 179"/>
                  <a:gd name="T110" fmla="*/ 165 w 274"/>
                  <a:gd name="T111" fmla="*/ 71 h 179"/>
                  <a:gd name="T112" fmla="*/ 154 w 274"/>
                  <a:gd name="T113" fmla="*/ 50 h 179"/>
                  <a:gd name="T114" fmla="*/ 97 w 274"/>
                  <a:gd name="T115" fmla="*/ 46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4" h="179">
                    <a:moveTo>
                      <a:pt x="0" y="14"/>
                    </a:moveTo>
                    <a:lnTo>
                      <a:pt x="0" y="93"/>
                    </a:lnTo>
                    <a:lnTo>
                      <a:pt x="16" y="95"/>
                    </a:lnTo>
                    <a:lnTo>
                      <a:pt x="18" y="95"/>
                    </a:lnTo>
                    <a:lnTo>
                      <a:pt x="16" y="89"/>
                    </a:lnTo>
                    <a:lnTo>
                      <a:pt x="16" y="87"/>
                    </a:lnTo>
                    <a:lnTo>
                      <a:pt x="15" y="82"/>
                    </a:lnTo>
                    <a:lnTo>
                      <a:pt x="16" y="80"/>
                    </a:lnTo>
                    <a:lnTo>
                      <a:pt x="18" y="79"/>
                    </a:lnTo>
                    <a:lnTo>
                      <a:pt x="22" y="75"/>
                    </a:lnTo>
                    <a:lnTo>
                      <a:pt x="29" y="75"/>
                    </a:lnTo>
                    <a:lnTo>
                      <a:pt x="31" y="73"/>
                    </a:lnTo>
                    <a:lnTo>
                      <a:pt x="31" y="71"/>
                    </a:lnTo>
                    <a:lnTo>
                      <a:pt x="31" y="70"/>
                    </a:lnTo>
                    <a:lnTo>
                      <a:pt x="33" y="68"/>
                    </a:lnTo>
                    <a:lnTo>
                      <a:pt x="38" y="71"/>
                    </a:lnTo>
                    <a:lnTo>
                      <a:pt x="40" y="71"/>
                    </a:lnTo>
                    <a:lnTo>
                      <a:pt x="38" y="68"/>
                    </a:lnTo>
                    <a:lnTo>
                      <a:pt x="36" y="66"/>
                    </a:lnTo>
                    <a:lnTo>
                      <a:pt x="38" y="64"/>
                    </a:lnTo>
                    <a:lnTo>
                      <a:pt x="40" y="64"/>
                    </a:lnTo>
                    <a:lnTo>
                      <a:pt x="41" y="64"/>
                    </a:lnTo>
                    <a:lnTo>
                      <a:pt x="41" y="62"/>
                    </a:lnTo>
                    <a:lnTo>
                      <a:pt x="54" y="71"/>
                    </a:lnTo>
                    <a:lnTo>
                      <a:pt x="56" y="73"/>
                    </a:lnTo>
                    <a:lnTo>
                      <a:pt x="58" y="73"/>
                    </a:lnTo>
                    <a:lnTo>
                      <a:pt x="63" y="73"/>
                    </a:lnTo>
                    <a:lnTo>
                      <a:pt x="65" y="75"/>
                    </a:lnTo>
                    <a:lnTo>
                      <a:pt x="63" y="79"/>
                    </a:lnTo>
                    <a:lnTo>
                      <a:pt x="65" y="80"/>
                    </a:lnTo>
                    <a:lnTo>
                      <a:pt x="68" y="82"/>
                    </a:lnTo>
                    <a:lnTo>
                      <a:pt x="65" y="84"/>
                    </a:lnTo>
                    <a:lnTo>
                      <a:pt x="65" y="86"/>
                    </a:lnTo>
                    <a:lnTo>
                      <a:pt x="66" y="87"/>
                    </a:lnTo>
                    <a:lnTo>
                      <a:pt x="65" y="91"/>
                    </a:lnTo>
                    <a:lnTo>
                      <a:pt x="66" y="93"/>
                    </a:lnTo>
                    <a:lnTo>
                      <a:pt x="70" y="95"/>
                    </a:lnTo>
                    <a:lnTo>
                      <a:pt x="84" y="96"/>
                    </a:lnTo>
                    <a:lnTo>
                      <a:pt x="88" y="96"/>
                    </a:lnTo>
                    <a:lnTo>
                      <a:pt x="88" y="95"/>
                    </a:lnTo>
                    <a:lnTo>
                      <a:pt x="90" y="93"/>
                    </a:lnTo>
                    <a:lnTo>
                      <a:pt x="97" y="98"/>
                    </a:lnTo>
                    <a:lnTo>
                      <a:pt x="97" y="102"/>
                    </a:lnTo>
                    <a:lnTo>
                      <a:pt x="97" y="105"/>
                    </a:lnTo>
                    <a:lnTo>
                      <a:pt x="99" y="109"/>
                    </a:lnTo>
                    <a:lnTo>
                      <a:pt x="102" y="111"/>
                    </a:lnTo>
                    <a:lnTo>
                      <a:pt x="104" y="116"/>
                    </a:lnTo>
                    <a:lnTo>
                      <a:pt x="104" y="118"/>
                    </a:lnTo>
                    <a:lnTo>
                      <a:pt x="108" y="125"/>
                    </a:lnTo>
                    <a:lnTo>
                      <a:pt x="129" y="141"/>
                    </a:lnTo>
                    <a:lnTo>
                      <a:pt x="134" y="143"/>
                    </a:lnTo>
                    <a:lnTo>
                      <a:pt x="152" y="157"/>
                    </a:lnTo>
                    <a:lnTo>
                      <a:pt x="154" y="157"/>
                    </a:lnTo>
                    <a:lnTo>
                      <a:pt x="156" y="157"/>
                    </a:lnTo>
                    <a:lnTo>
                      <a:pt x="159" y="155"/>
                    </a:lnTo>
                    <a:lnTo>
                      <a:pt x="165" y="159"/>
                    </a:lnTo>
                    <a:lnTo>
                      <a:pt x="166" y="161"/>
                    </a:lnTo>
                    <a:lnTo>
                      <a:pt x="170" y="162"/>
                    </a:lnTo>
                    <a:lnTo>
                      <a:pt x="168" y="168"/>
                    </a:lnTo>
                    <a:lnTo>
                      <a:pt x="168" y="177"/>
                    </a:lnTo>
                    <a:lnTo>
                      <a:pt x="177" y="175"/>
                    </a:lnTo>
                    <a:lnTo>
                      <a:pt x="179" y="177"/>
                    </a:lnTo>
                    <a:lnTo>
                      <a:pt x="181" y="179"/>
                    </a:lnTo>
                    <a:lnTo>
                      <a:pt x="184" y="177"/>
                    </a:lnTo>
                    <a:lnTo>
                      <a:pt x="188" y="177"/>
                    </a:lnTo>
                    <a:lnTo>
                      <a:pt x="190" y="177"/>
                    </a:lnTo>
                    <a:lnTo>
                      <a:pt x="188" y="173"/>
                    </a:lnTo>
                    <a:lnTo>
                      <a:pt x="193" y="164"/>
                    </a:lnTo>
                    <a:lnTo>
                      <a:pt x="195" y="162"/>
                    </a:lnTo>
                    <a:lnTo>
                      <a:pt x="197" y="161"/>
                    </a:lnTo>
                    <a:lnTo>
                      <a:pt x="199" y="159"/>
                    </a:lnTo>
                    <a:lnTo>
                      <a:pt x="197" y="157"/>
                    </a:lnTo>
                    <a:lnTo>
                      <a:pt x="195" y="155"/>
                    </a:lnTo>
                    <a:lnTo>
                      <a:pt x="195" y="154"/>
                    </a:lnTo>
                    <a:lnTo>
                      <a:pt x="193" y="148"/>
                    </a:lnTo>
                    <a:lnTo>
                      <a:pt x="195" y="145"/>
                    </a:lnTo>
                    <a:lnTo>
                      <a:pt x="193" y="143"/>
                    </a:lnTo>
                    <a:lnTo>
                      <a:pt x="191" y="141"/>
                    </a:lnTo>
                    <a:lnTo>
                      <a:pt x="190" y="141"/>
                    </a:lnTo>
                    <a:lnTo>
                      <a:pt x="186" y="141"/>
                    </a:lnTo>
                    <a:lnTo>
                      <a:pt x="186" y="139"/>
                    </a:lnTo>
                    <a:lnTo>
                      <a:pt x="183" y="136"/>
                    </a:lnTo>
                    <a:lnTo>
                      <a:pt x="184" y="134"/>
                    </a:lnTo>
                    <a:lnTo>
                      <a:pt x="184" y="132"/>
                    </a:lnTo>
                    <a:lnTo>
                      <a:pt x="184" y="130"/>
                    </a:lnTo>
                    <a:lnTo>
                      <a:pt x="190" y="129"/>
                    </a:lnTo>
                    <a:lnTo>
                      <a:pt x="191" y="130"/>
                    </a:lnTo>
                    <a:lnTo>
                      <a:pt x="199" y="130"/>
                    </a:lnTo>
                    <a:lnTo>
                      <a:pt x="200" y="129"/>
                    </a:lnTo>
                    <a:lnTo>
                      <a:pt x="204" y="123"/>
                    </a:lnTo>
                    <a:lnTo>
                      <a:pt x="204" y="121"/>
                    </a:lnTo>
                    <a:lnTo>
                      <a:pt x="206" y="120"/>
                    </a:lnTo>
                    <a:lnTo>
                      <a:pt x="211" y="120"/>
                    </a:lnTo>
                    <a:lnTo>
                      <a:pt x="213" y="118"/>
                    </a:lnTo>
                    <a:lnTo>
                      <a:pt x="213" y="114"/>
                    </a:lnTo>
                    <a:lnTo>
                      <a:pt x="213" y="112"/>
                    </a:lnTo>
                    <a:lnTo>
                      <a:pt x="213" y="111"/>
                    </a:lnTo>
                    <a:lnTo>
                      <a:pt x="215" y="109"/>
                    </a:lnTo>
                    <a:lnTo>
                      <a:pt x="215" y="107"/>
                    </a:lnTo>
                    <a:lnTo>
                      <a:pt x="216" y="105"/>
                    </a:lnTo>
                    <a:lnTo>
                      <a:pt x="218" y="107"/>
                    </a:lnTo>
                    <a:lnTo>
                      <a:pt x="220" y="107"/>
                    </a:lnTo>
                    <a:lnTo>
                      <a:pt x="229" y="102"/>
                    </a:lnTo>
                    <a:lnTo>
                      <a:pt x="231" y="100"/>
                    </a:lnTo>
                    <a:lnTo>
                      <a:pt x="231" y="98"/>
                    </a:lnTo>
                    <a:lnTo>
                      <a:pt x="234" y="98"/>
                    </a:lnTo>
                    <a:lnTo>
                      <a:pt x="234" y="102"/>
                    </a:lnTo>
                    <a:lnTo>
                      <a:pt x="236" y="104"/>
                    </a:lnTo>
                    <a:lnTo>
                      <a:pt x="236" y="105"/>
                    </a:lnTo>
                    <a:lnTo>
                      <a:pt x="234" y="107"/>
                    </a:lnTo>
                    <a:lnTo>
                      <a:pt x="233" y="109"/>
                    </a:lnTo>
                    <a:lnTo>
                      <a:pt x="231" y="111"/>
                    </a:lnTo>
                    <a:lnTo>
                      <a:pt x="234" y="116"/>
                    </a:lnTo>
                    <a:lnTo>
                      <a:pt x="236" y="116"/>
                    </a:lnTo>
                    <a:lnTo>
                      <a:pt x="238" y="116"/>
                    </a:lnTo>
                    <a:lnTo>
                      <a:pt x="245" y="116"/>
                    </a:lnTo>
                    <a:lnTo>
                      <a:pt x="249" y="118"/>
                    </a:lnTo>
                    <a:lnTo>
                      <a:pt x="254" y="116"/>
                    </a:lnTo>
                    <a:lnTo>
                      <a:pt x="256" y="114"/>
                    </a:lnTo>
                    <a:lnTo>
                      <a:pt x="258" y="112"/>
                    </a:lnTo>
                    <a:lnTo>
                      <a:pt x="259" y="111"/>
                    </a:lnTo>
                    <a:lnTo>
                      <a:pt x="261" y="111"/>
                    </a:lnTo>
                    <a:lnTo>
                      <a:pt x="263" y="109"/>
                    </a:lnTo>
                    <a:lnTo>
                      <a:pt x="265" y="111"/>
                    </a:lnTo>
                    <a:lnTo>
                      <a:pt x="266" y="109"/>
                    </a:lnTo>
                    <a:lnTo>
                      <a:pt x="268" y="107"/>
                    </a:lnTo>
                    <a:lnTo>
                      <a:pt x="274" y="105"/>
                    </a:lnTo>
                    <a:lnTo>
                      <a:pt x="274" y="104"/>
                    </a:lnTo>
                    <a:lnTo>
                      <a:pt x="272" y="102"/>
                    </a:lnTo>
                    <a:lnTo>
                      <a:pt x="270" y="104"/>
                    </a:lnTo>
                    <a:lnTo>
                      <a:pt x="265" y="102"/>
                    </a:lnTo>
                    <a:lnTo>
                      <a:pt x="261" y="98"/>
                    </a:lnTo>
                    <a:lnTo>
                      <a:pt x="259" y="98"/>
                    </a:lnTo>
                    <a:lnTo>
                      <a:pt x="254" y="95"/>
                    </a:lnTo>
                    <a:lnTo>
                      <a:pt x="254" y="93"/>
                    </a:lnTo>
                    <a:lnTo>
                      <a:pt x="252" y="91"/>
                    </a:lnTo>
                    <a:lnTo>
                      <a:pt x="250" y="89"/>
                    </a:lnTo>
                    <a:lnTo>
                      <a:pt x="249" y="95"/>
                    </a:lnTo>
                    <a:lnTo>
                      <a:pt x="247" y="95"/>
                    </a:lnTo>
                    <a:lnTo>
                      <a:pt x="247" y="98"/>
                    </a:lnTo>
                    <a:lnTo>
                      <a:pt x="243" y="98"/>
                    </a:lnTo>
                    <a:lnTo>
                      <a:pt x="238" y="95"/>
                    </a:lnTo>
                    <a:lnTo>
                      <a:pt x="234" y="91"/>
                    </a:lnTo>
                    <a:lnTo>
                      <a:pt x="233" y="91"/>
                    </a:lnTo>
                    <a:lnTo>
                      <a:pt x="231" y="91"/>
                    </a:lnTo>
                    <a:lnTo>
                      <a:pt x="229" y="89"/>
                    </a:lnTo>
                    <a:lnTo>
                      <a:pt x="229" y="87"/>
                    </a:lnTo>
                    <a:lnTo>
                      <a:pt x="240" y="77"/>
                    </a:lnTo>
                    <a:lnTo>
                      <a:pt x="243" y="75"/>
                    </a:lnTo>
                    <a:lnTo>
                      <a:pt x="243" y="73"/>
                    </a:lnTo>
                    <a:lnTo>
                      <a:pt x="238" y="71"/>
                    </a:lnTo>
                    <a:lnTo>
                      <a:pt x="238" y="73"/>
                    </a:lnTo>
                    <a:lnTo>
                      <a:pt x="234" y="77"/>
                    </a:lnTo>
                    <a:lnTo>
                      <a:pt x="233" y="79"/>
                    </a:lnTo>
                    <a:lnTo>
                      <a:pt x="231" y="77"/>
                    </a:lnTo>
                    <a:lnTo>
                      <a:pt x="229" y="82"/>
                    </a:lnTo>
                    <a:lnTo>
                      <a:pt x="225" y="84"/>
                    </a:lnTo>
                    <a:lnTo>
                      <a:pt x="215" y="87"/>
                    </a:lnTo>
                    <a:lnTo>
                      <a:pt x="215" y="91"/>
                    </a:lnTo>
                    <a:lnTo>
                      <a:pt x="209" y="93"/>
                    </a:lnTo>
                    <a:lnTo>
                      <a:pt x="208" y="96"/>
                    </a:lnTo>
                    <a:lnTo>
                      <a:pt x="204" y="100"/>
                    </a:lnTo>
                    <a:lnTo>
                      <a:pt x="191" y="95"/>
                    </a:lnTo>
                    <a:lnTo>
                      <a:pt x="174" y="96"/>
                    </a:lnTo>
                    <a:lnTo>
                      <a:pt x="172" y="82"/>
                    </a:lnTo>
                    <a:lnTo>
                      <a:pt x="161" y="80"/>
                    </a:lnTo>
                    <a:lnTo>
                      <a:pt x="161" y="71"/>
                    </a:lnTo>
                    <a:lnTo>
                      <a:pt x="165" y="71"/>
                    </a:lnTo>
                    <a:lnTo>
                      <a:pt x="163" y="59"/>
                    </a:lnTo>
                    <a:lnTo>
                      <a:pt x="159" y="59"/>
                    </a:lnTo>
                    <a:lnTo>
                      <a:pt x="154" y="50"/>
                    </a:lnTo>
                    <a:lnTo>
                      <a:pt x="143" y="41"/>
                    </a:lnTo>
                    <a:lnTo>
                      <a:pt x="140" y="43"/>
                    </a:lnTo>
                    <a:lnTo>
                      <a:pt x="97" y="46"/>
                    </a:lnTo>
                    <a:lnTo>
                      <a:pt x="41" y="0"/>
                    </a:lnTo>
                    <a:lnTo>
                      <a:pt x="0" y="14"/>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20" name="Freeform 3075"/>
              <p:cNvSpPr>
                <a:spLocks/>
              </p:cNvSpPr>
              <p:nvPr/>
            </p:nvSpPr>
            <p:spPr bwMode="auto">
              <a:xfrm>
                <a:off x="3055" y="1927"/>
                <a:ext cx="100" cy="63"/>
              </a:xfrm>
              <a:custGeom>
                <a:avLst/>
                <a:gdLst>
                  <a:gd name="T0" fmla="*/ 9 w 100"/>
                  <a:gd name="T1" fmla="*/ 61 h 63"/>
                  <a:gd name="T2" fmla="*/ 7 w 100"/>
                  <a:gd name="T3" fmla="*/ 47 h 63"/>
                  <a:gd name="T4" fmla="*/ 0 w 100"/>
                  <a:gd name="T5" fmla="*/ 41 h 63"/>
                  <a:gd name="T6" fmla="*/ 0 w 100"/>
                  <a:gd name="T7" fmla="*/ 34 h 63"/>
                  <a:gd name="T8" fmla="*/ 4 w 100"/>
                  <a:gd name="T9" fmla="*/ 27 h 63"/>
                  <a:gd name="T10" fmla="*/ 7 w 100"/>
                  <a:gd name="T11" fmla="*/ 23 h 63"/>
                  <a:gd name="T12" fmla="*/ 0 w 100"/>
                  <a:gd name="T13" fmla="*/ 14 h 63"/>
                  <a:gd name="T14" fmla="*/ 0 w 100"/>
                  <a:gd name="T15" fmla="*/ 2 h 63"/>
                  <a:gd name="T16" fmla="*/ 5 w 100"/>
                  <a:gd name="T17" fmla="*/ 0 h 63"/>
                  <a:gd name="T18" fmla="*/ 9 w 100"/>
                  <a:gd name="T19" fmla="*/ 2 h 63"/>
                  <a:gd name="T20" fmla="*/ 7 w 100"/>
                  <a:gd name="T21" fmla="*/ 5 h 63"/>
                  <a:gd name="T22" fmla="*/ 11 w 100"/>
                  <a:gd name="T23" fmla="*/ 9 h 63"/>
                  <a:gd name="T24" fmla="*/ 48 w 100"/>
                  <a:gd name="T25" fmla="*/ 11 h 63"/>
                  <a:gd name="T26" fmla="*/ 73 w 100"/>
                  <a:gd name="T27" fmla="*/ 2 h 63"/>
                  <a:gd name="T28" fmla="*/ 79 w 100"/>
                  <a:gd name="T29" fmla="*/ 2 h 63"/>
                  <a:gd name="T30" fmla="*/ 80 w 100"/>
                  <a:gd name="T31" fmla="*/ 4 h 63"/>
                  <a:gd name="T32" fmla="*/ 89 w 100"/>
                  <a:gd name="T33" fmla="*/ 5 h 63"/>
                  <a:gd name="T34" fmla="*/ 95 w 100"/>
                  <a:gd name="T35" fmla="*/ 9 h 63"/>
                  <a:gd name="T36" fmla="*/ 100 w 100"/>
                  <a:gd name="T37" fmla="*/ 9 h 63"/>
                  <a:gd name="T38" fmla="*/ 100 w 100"/>
                  <a:gd name="T39" fmla="*/ 14 h 63"/>
                  <a:gd name="T40" fmla="*/ 98 w 100"/>
                  <a:gd name="T41" fmla="*/ 18 h 63"/>
                  <a:gd name="T42" fmla="*/ 93 w 100"/>
                  <a:gd name="T43" fmla="*/ 18 h 63"/>
                  <a:gd name="T44" fmla="*/ 89 w 100"/>
                  <a:gd name="T45" fmla="*/ 23 h 63"/>
                  <a:gd name="T46" fmla="*/ 87 w 100"/>
                  <a:gd name="T47" fmla="*/ 30 h 63"/>
                  <a:gd name="T48" fmla="*/ 86 w 100"/>
                  <a:gd name="T49" fmla="*/ 32 h 63"/>
                  <a:gd name="T50" fmla="*/ 86 w 100"/>
                  <a:gd name="T51" fmla="*/ 34 h 63"/>
                  <a:gd name="T52" fmla="*/ 82 w 100"/>
                  <a:gd name="T53" fmla="*/ 36 h 63"/>
                  <a:gd name="T54" fmla="*/ 82 w 100"/>
                  <a:gd name="T55" fmla="*/ 38 h 63"/>
                  <a:gd name="T56" fmla="*/ 84 w 100"/>
                  <a:gd name="T57" fmla="*/ 38 h 63"/>
                  <a:gd name="T58" fmla="*/ 89 w 100"/>
                  <a:gd name="T59" fmla="*/ 48 h 63"/>
                  <a:gd name="T60" fmla="*/ 89 w 100"/>
                  <a:gd name="T61" fmla="*/ 50 h 63"/>
                  <a:gd name="T62" fmla="*/ 87 w 100"/>
                  <a:gd name="T63" fmla="*/ 48 h 63"/>
                  <a:gd name="T64" fmla="*/ 80 w 100"/>
                  <a:gd name="T65" fmla="*/ 50 h 63"/>
                  <a:gd name="T66" fmla="*/ 75 w 100"/>
                  <a:gd name="T67" fmla="*/ 47 h 63"/>
                  <a:gd name="T68" fmla="*/ 66 w 100"/>
                  <a:gd name="T69" fmla="*/ 50 h 63"/>
                  <a:gd name="T70" fmla="*/ 62 w 100"/>
                  <a:gd name="T71" fmla="*/ 52 h 63"/>
                  <a:gd name="T72" fmla="*/ 59 w 100"/>
                  <a:gd name="T73" fmla="*/ 52 h 63"/>
                  <a:gd name="T74" fmla="*/ 59 w 100"/>
                  <a:gd name="T75" fmla="*/ 59 h 63"/>
                  <a:gd name="T76" fmla="*/ 55 w 100"/>
                  <a:gd name="T77" fmla="*/ 63 h 63"/>
                  <a:gd name="T78" fmla="*/ 50 w 100"/>
                  <a:gd name="T79" fmla="*/ 63 h 63"/>
                  <a:gd name="T80" fmla="*/ 39 w 100"/>
                  <a:gd name="T81" fmla="*/ 59 h 63"/>
                  <a:gd name="T82" fmla="*/ 36 w 100"/>
                  <a:gd name="T83" fmla="*/ 57 h 63"/>
                  <a:gd name="T84" fmla="*/ 9 w 100"/>
                  <a:gd name="T85" fmla="*/ 6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63">
                    <a:moveTo>
                      <a:pt x="9" y="61"/>
                    </a:moveTo>
                    <a:lnTo>
                      <a:pt x="7" y="47"/>
                    </a:lnTo>
                    <a:lnTo>
                      <a:pt x="0" y="41"/>
                    </a:lnTo>
                    <a:lnTo>
                      <a:pt x="0" y="34"/>
                    </a:lnTo>
                    <a:lnTo>
                      <a:pt x="4" y="27"/>
                    </a:lnTo>
                    <a:lnTo>
                      <a:pt x="7" y="23"/>
                    </a:lnTo>
                    <a:lnTo>
                      <a:pt x="0" y="14"/>
                    </a:lnTo>
                    <a:lnTo>
                      <a:pt x="0" y="2"/>
                    </a:lnTo>
                    <a:lnTo>
                      <a:pt x="5" y="0"/>
                    </a:lnTo>
                    <a:lnTo>
                      <a:pt x="9" y="2"/>
                    </a:lnTo>
                    <a:lnTo>
                      <a:pt x="7" y="5"/>
                    </a:lnTo>
                    <a:lnTo>
                      <a:pt x="11" y="9"/>
                    </a:lnTo>
                    <a:lnTo>
                      <a:pt x="48" y="11"/>
                    </a:lnTo>
                    <a:lnTo>
                      <a:pt x="73" y="2"/>
                    </a:lnTo>
                    <a:lnTo>
                      <a:pt x="79" y="2"/>
                    </a:lnTo>
                    <a:lnTo>
                      <a:pt x="80" y="4"/>
                    </a:lnTo>
                    <a:lnTo>
                      <a:pt x="89" y="5"/>
                    </a:lnTo>
                    <a:lnTo>
                      <a:pt x="95" y="9"/>
                    </a:lnTo>
                    <a:lnTo>
                      <a:pt x="100" y="9"/>
                    </a:lnTo>
                    <a:lnTo>
                      <a:pt x="100" y="14"/>
                    </a:lnTo>
                    <a:lnTo>
                      <a:pt x="98" y="18"/>
                    </a:lnTo>
                    <a:lnTo>
                      <a:pt x="93" y="18"/>
                    </a:lnTo>
                    <a:lnTo>
                      <a:pt x="89" y="23"/>
                    </a:lnTo>
                    <a:lnTo>
                      <a:pt x="87" y="30"/>
                    </a:lnTo>
                    <a:lnTo>
                      <a:pt x="86" y="32"/>
                    </a:lnTo>
                    <a:lnTo>
                      <a:pt x="86" y="34"/>
                    </a:lnTo>
                    <a:lnTo>
                      <a:pt x="82" y="36"/>
                    </a:lnTo>
                    <a:lnTo>
                      <a:pt x="82" y="38"/>
                    </a:lnTo>
                    <a:lnTo>
                      <a:pt x="84" y="38"/>
                    </a:lnTo>
                    <a:lnTo>
                      <a:pt x="89" y="48"/>
                    </a:lnTo>
                    <a:lnTo>
                      <a:pt x="89" y="50"/>
                    </a:lnTo>
                    <a:lnTo>
                      <a:pt x="87" y="48"/>
                    </a:lnTo>
                    <a:lnTo>
                      <a:pt x="80" y="50"/>
                    </a:lnTo>
                    <a:lnTo>
                      <a:pt x="75" y="47"/>
                    </a:lnTo>
                    <a:lnTo>
                      <a:pt x="66" y="50"/>
                    </a:lnTo>
                    <a:lnTo>
                      <a:pt x="62" y="52"/>
                    </a:lnTo>
                    <a:lnTo>
                      <a:pt x="59" y="52"/>
                    </a:lnTo>
                    <a:lnTo>
                      <a:pt x="59" y="59"/>
                    </a:lnTo>
                    <a:lnTo>
                      <a:pt x="55" y="63"/>
                    </a:lnTo>
                    <a:lnTo>
                      <a:pt x="50" y="63"/>
                    </a:lnTo>
                    <a:lnTo>
                      <a:pt x="39" y="59"/>
                    </a:lnTo>
                    <a:lnTo>
                      <a:pt x="36" y="57"/>
                    </a:lnTo>
                    <a:lnTo>
                      <a:pt x="9" y="6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21" name="Freeform 3076"/>
              <p:cNvSpPr>
                <a:spLocks/>
              </p:cNvSpPr>
              <p:nvPr/>
            </p:nvSpPr>
            <p:spPr bwMode="auto">
              <a:xfrm>
                <a:off x="3055" y="1927"/>
                <a:ext cx="100" cy="63"/>
              </a:xfrm>
              <a:custGeom>
                <a:avLst/>
                <a:gdLst>
                  <a:gd name="T0" fmla="*/ 9 w 100"/>
                  <a:gd name="T1" fmla="*/ 61 h 63"/>
                  <a:gd name="T2" fmla="*/ 7 w 100"/>
                  <a:gd name="T3" fmla="*/ 47 h 63"/>
                  <a:gd name="T4" fmla="*/ 0 w 100"/>
                  <a:gd name="T5" fmla="*/ 41 h 63"/>
                  <a:gd name="T6" fmla="*/ 0 w 100"/>
                  <a:gd name="T7" fmla="*/ 34 h 63"/>
                  <a:gd name="T8" fmla="*/ 4 w 100"/>
                  <a:gd name="T9" fmla="*/ 27 h 63"/>
                  <a:gd name="T10" fmla="*/ 7 w 100"/>
                  <a:gd name="T11" fmla="*/ 23 h 63"/>
                  <a:gd name="T12" fmla="*/ 0 w 100"/>
                  <a:gd name="T13" fmla="*/ 14 h 63"/>
                  <a:gd name="T14" fmla="*/ 0 w 100"/>
                  <a:gd name="T15" fmla="*/ 2 h 63"/>
                  <a:gd name="T16" fmla="*/ 5 w 100"/>
                  <a:gd name="T17" fmla="*/ 0 h 63"/>
                  <a:gd name="T18" fmla="*/ 9 w 100"/>
                  <a:gd name="T19" fmla="*/ 2 h 63"/>
                  <a:gd name="T20" fmla="*/ 7 w 100"/>
                  <a:gd name="T21" fmla="*/ 5 h 63"/>
                  <a:gd name="T22" fmla="*/ 11 w 100"/>
                  <a:gd name="T23" fmla="*/ 9 h 63"/>
                  <a:gd name="T24" fmla="*/ 48 w 100"/>
                  <a:gd name="T25" fmla="*/ 11 h 63"/>
                  <a:gd name="T26" fmla="*/ 73 w 100"/>
                  <a:gd name="T27" fmla="*/ 2 h 63"/>
                  <a:gd name="T28" fmla="*/ 79 w 100"/>
                  <a:gd name="T29" fmla="*/ 2 h 63"/>
                  <a:gd name="T30" fmla="*/ 80 w 100"/>
                  <a:gd name="T31" fmla="*/ 4 h 63"/>
                  <a:gd name="T32" fmla="*/ 89 w 100"/>
                  <a:gd name="T33" fmla="*/ 5 h 63"/>
                  <a:gd name="T34" fmla="*/ 95 w 100"/>
                  <a:gd name="T35" fmla="*/ 9 h 63"/>
                  <a:gd name="T36" fmla="*/ 100 w 100"/>
                  <a:gd name="T37" fmla="*/ 9 h 63"/>
                  <a:gd name="T38" fmla="*/ 100 w 100"/>
                  <a:gd name="T39" fmla="*/ 14 h 63"/>
                  <a:gd name="T40" fmla="*/ 98 w 100"/>
                  <a:gd name="T41" fmla="*/ 18 h 63"/>
                  <a:gd name="T42" fmla="*/ 93 w 100"/>
                  <a:gd name="T43" fmla="*/ 18 h 63"/>
                  <a:gd name="T44" fmla="*/ 89 w 100"/>
                  <a:gd name="T45" fmla="*/ 23 h 63"/>
                  <a:gd name="T46" fmla="*/ 87 w 100"/>
                  <a:gd name="T47" fmla="*/ 30 h 63"/>
                  <a:gd name="T48" fmla="*/ 86 w 100"/>
                  <a:gd name="T49" fmla="*/ 32 h 63"/>
                  <a:gd name="T50" fmla="*/ 86 w 100"/>
                  <a:gd name="T51" fmla="*/ 34 h 63"/>
                  <a:gd name="T52" fmla="*/ 82 w 100"/>
                  <a:gd name="T53" fmla="*/ 36 h 63"/>
                  <a:gd name="T54" fmla="*/ 82 w 100"/>
                  <a:gd name="T55" fmla="*/ 38 h 63"/>
                  <a:gd name="T56" fmla="*/ 84 w 100"/>
                  <a:gd name="T57" fmla="*/ 38 h 63"/>
                  <a:gd name="T58" fmla="*/ 89 w 100"/>
                  <a:gd name="T59" fmla="*/ 48 h 63"/>
                  <a:gd name="T60" fmla="*/ 89 w 100"/>
                  <a:gd name="T61" fmla="*/ 50 h 63"/>
                  <a:gd name="T62" fmla="*/ 87 w 100"/>
                  <a:gd name="T63" fmla="*/ 48 h 63"/>
                  <a:gd name="T64" fmla="*/ 80 w 100"/>
                  <a:gd name="T65" fmla="*/ 50 h 63"/>
                  <a:gd name="T66" fmla="*/ 75 w 100"/>
                  <a:gd name="T67" fmla="*/ 47 h 63"/>
                  <a:gd name="T68" fmla="*/ 66 w 100"/>
                  <a:gd name="T69" fmla="*/ 50 h 63"/>
                  <a:gd name="T70" fmla="*/ 62 w 100"/>
                  <a:gd name="T71" fmla="*/ 52 h 63"/>
                  <a:gd name="T72" fmla="*/ 59 w 100"/>
                  <a:gd name="T73" fmla="*/ 52 h 63"/>
                  <a:gd name="T74" fmla="*/ 59 w 100"/>
                  <a:gd name="T75" fmla="*/ 59 h 63"/>
                  <a:gd name="T76" fmla="*/ 55 w 100"/>
                  <a:gd name="T77" fmla="*/ 63 h 63"/>
                  <a:gd name="T78" fmla="*/ 50 w 100"/>
                  <a:gd name="T79" fmla="*/ 63 h 63"/>
                  <a:gd name="T80" fmla="*/ 39 w 100"/>
                  <a:gd name="T81" fmla="*/ 59 h 63"/>
                  <a:gd name="T82" fmla="*/ 36 w 100"/>
                  <a:gd name="T83" fmla="*/ 57 h 63"/>
                  <a:gd name="T84" fmla="*/ 9 w 100"/>
                  <a:gd name="T85" fmla="*/ 6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0" h="63">
                    <a:moveTo>
                      <a:pt x="9" y="61"/>
                    </a:moveTo>
                    <a:lnTo>
                      <a:pt x="7" y="47"/>
                    </a:lnTo>
                    <a:lnTo>
                      <a:pt x="0" y="41"/>
                    </a:lnTo>
                    <a:lnTo>
                      <a:pt x="0" y="34"/>
                    </a:lnTo>
                    <a:lnTo>
                      <a:pt x="4" y="27"/>
                    </a:lnTo>
                    <a:lnTo>
                      <a:pt x="7" y="23"/>
                    </a:lnTo>
                    <a:lnTo>
                      <a:pt x="0" y="14"/>
                    </a:lnTo>
                    <a:lnTo>
                      <a:pt x="0" y="2"/>
                    </a:lnTo>
                    <a:lnTo>
                      <a:pt x="5" y="0"/>
                    </a:lnTo>
                    <a:lnTo>
                      <a:pt x="9" y="2"/>
                    </a:lnTo>
                    <a:lnTo>
                      <a:pt x="7" y="5"/>
                    </a:lnTo>
                    <a:lnTo>
                      <a:pt x="11" y="9"/>
                    </a:lnTo>
                    <a:lnTo>
                      <a:pt x="48" y="11"/>
                    </a:lnTo>
                    <a:lnTo>
                      <a:pt x="73" y="2"/>
                    </a:lnTo>
                    <a:lnTo>
                      <a:pt x="79" y="2"/>
                    </a:lnTo>
                    <a:lnTo>
                      <a:pt x="80" y="4"/>
                    </a:lnTo>
                    <a:lnTo>
                      <a:pt x="89" y="5"/>
                    </a:lnTo>
                    <a:lnTo>
                      <a:pt x="95" y="9"/>
                    </a:lnTo>
                    <a:lnTo>
                      <a:pt x="100" y="9"/>
                    </a:lnTo>
                    <a:lnTo>
                      <a:pt x="100" y="14"/>
                    </a:lnTo>
                    <a:lnTo>
                      <a:pt x="98" y="18"/>
                    </a:lnTo>
                    <a:lnTo>
                      <a:pt x="93" y="18"/>
                    </a:lnTo>
                    <a:lnTo>
                      <a:pt x="89" y="23"/>
                    </a:lnTo>
                    <a:lnTo>
                      <a:pt x="87" y="30"/>
                    </a:lnTo>
                    <a:lnTo>
                      <a:pt x="86" y="32"/>
                    </a:lnTo>
                    <a:lnTo>
                      <a:pt x="86" y="34"/>
                    </a:lnTo>
                    <a:lnTo>
                      <a:pt x="82" y="36"/>
                    </a:lnTo>
                    <a:lnTo>
                      <a:pt x="82" y="38"/>
                    </a:lnTo>
                    <a:lnTo>
                      <a:pt x="84" y="38"/>
                    </a:lnTo>
                    <a:lnTo>
                      <a:pt x="89" y="48"/>
                    </a:lnTo>
                    <a:lnTo>
                      <a:pt x="89" y="50"/>
                    </a:lnTo>
                    <a:lnTo>
                      <a:pt x="87" y="48"/>
                    </a:lnTo>
                    <a:lnTo>
                      <a:pt x="80" y="50"/>
                    </a:lnTo>
                    <a:lnTo>
                      <a:pt x="75" y="47"/>
                    </a:lnTo>
                    <a:lnTo>
                      <a:pt x="66" y="50"/>
                    </a:lnTo>
                    <a:lnTo>
                      <a:pt x="62" y="52"/>
                    </a:lnTo>
                    <a:lnTo>
                      <a:pt x="59" y="52"/>
                    </a:lnTo>
                    <a:lnTo>
                      <a:pt x="59" y="59"/>
                    </a:lnTo>
                    <a:lnTo>
                      <a:pt x="55" y="63"/>
                    </a:lnTo>
                    <a:lnTo>
                      <a:pt x="50" y="63"/>
                    </a:lnTo>
                    <a:lnTo>
                      <a:pt x="39" y="59"/>
                    </a:lnTo>
                    <a:lnTo>
                      <a:pt x="36" y="57"/>
                    </a:lnTo>
                    <a:lnTo>
                      <a:pt x="9" y="6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22" name="Freeform 3077"/>
              <p:cNvSpPr>
                <a:spLocks/>
              </p:cNvSpPr>
              <p:nvPr/>
            </p:nvSpPr>
            <p:spPr bwMode="auto">
              <a:xfrm>
                <a:off x="2912" y="1872"/>
                <a:ext cx="95" cy="82"/>
              </a:xfrm>
              <a:custGeom>
                <a:avLst/>
                <a:gdLst>
                  <a:gd name="T0" fmla="*/ 72 w 95"/>
                  <a:gd name="T1" fmla="*/ 19 h 82"/>
                  <a:gd name="T2" fmla="*/ 59 w 95"/>
                  <a:gd name="T3" fmla="*/ 10 h 82"/>
                  <a:gd name="T4" fmla="*/ 50 w 95"/>
                  <a:gd name="T5" fmla="*/ 3 h 82"/>
                  <a:gd name="T6" fmla="*/ 47 w 95"/>
                  <a:gd name="T7" fmla="*/ 0 h 82"/>
                  <a:gd name="T8" fmla="*/ 43 w 95"/>
                  <a:gd name="T9" fmla="*/ 3 h 82"/>
                  <a:gd name="T10" fmla="*/ 43 w 95"/>
                  <a:gd name="T11" fmla="*/ 5 h 82"/>
                  <a:gd name="T12" fmla="*/ 39 w 95"/>
                  <a:gd name="T13" fmla="*/ 7 h 82"/>
                  <a:gd name="T14" fmla="*/ 32 w 95"/>
                  <a:gd name="T15" fmla="*/ 12 h 82"/>
                  <a:gd name="T16" fmla="*/ 34 w 95"/>
                  <a:gd name="T17" fmla="*/ 19 h 82"/>
                  <a:gd name="T18" fmla="*/ 29 w 95"/>
                  <a:gd name="T19" fmla="*/ 23 h 82"/>
                  <a:gd name="T20" fmla="*/ 27 w 95"/>
                  <a:gd name="T21" fmla="*/ 30 h 82"/>
                  <a:gd name="T22" fmla="*/ 23 w 95"/>
                  <a:gd name="T23" fmla="*/ 28 h 82"/>
                  <a:gd name="T24" fmla="*/ 22 w 95"/>
                  <a:gd name="T25" fmla="*/ 28 h 82"/>
                  <a:gd name="T26" fmla="*/ 16 w 95"/>
                  <a:gd name="T27" fmla="*/ 23 h 82"/>
                  <a:gd name="T28" fmla="*/ 7 w 95"/>
                  <a:gd name="T29" fmla="*/ 27 h 82"/>
                  <a:gd name="T30" fmla="*/ 0 w 95"/>
                  <a:gd name="T31" fmla="*/ 27 h 82"/>
                  <a:gd name="T32" fmla="*/ 7 w 95"/>
                  <a:gd name="T33" fmla="*/ 41 h 82"/>
                  <a:gd name="T34" fmla="*/ 16 w 95"/>
                  <a:gd name="T35" fmla="*/ 30 h 82"/>
                  <a:gd name="T36" fmla="*/ 22 w 95"/>
                  <a:gd name="T37" fmla="*/ 35 h 82"/>
                  <a:gd name="T38" fmla="*/ 25 w 95"/>
                  <a:gd name="T39" fmla="*/ 46 h 82"/>
                  <a:gd name="T40" fmla="*/ 27 w 95"/>
                  <a:gd name="T41" fmla="*/ 53 h 82"/>
                  <a:gd name="T42" fmla="*/ 38 w 95"/>
                  <a:gd name="T43" fmla="*/ 66 h 82"/>
                  <a:gd name="T44" fmla="*/ 64 w 95"/>
                  <a:gd name="T45" fmla="*/ 82 h 82"/>
                  <a:gd name="T46" fmla="*/ 59 w 95"/>
                  <a:gd name="T47" fmla="*/ 69 h 82"/>
                  <a:gd name="T48" fmla="*/ 50 w 95"/>
                  <a:gd name="T49" fmla="*/ 62 h 82"/>
                  <a:gd name="T50" fmla="*/ 47 w 95"/>
                  <a:gd name="T51" fmla="*/ 57 h 82"/>
                  <a:gd name="T52" fmla="*/ 43 w 95"/>
                  <a:gd name="T53" fmla="*/ 50 h 82"/>
                  <a:gd name="T54" fmla="*/ 41 w 95"/>
                  <a:gd name="T55" fmla="*/ 46 h 82"/>
                  <a:gd name="T56" fmla="*/ 38 w 95"/>
                  <a:gd name="T57" fmla="*/ 41 h 82"/>
                  <a:gd name="T58" fmla="*/ 36 w 95"/>
                  <a:gd name="T59" fmla="*/ 37 h 82"/>
                  <a:gd name="T60" fmla="*/ 38 w 95"/>
                  <a:gd name="T61" fmla="*/ 28 h 82"/>
                  <a:gd name="T62" fmla="*/ 45 w 95"/>
                  <a:gd name="T63" fmla="*/ 34 h 82"/>
                  <a:gd name="T64" fmla="*/ 54 w 95"/>
                  <a:gd name="T65" fmla="*/ 30 h 82"/>
                  <a:gd name="T66" fmla="*/ 59 w 95"/>
                  <a:gd name="T67" fmla="*/ 32 h 82"/>
                  <a:gd name="T68" fmla="*/ 63 w 95"/>
                  <a:gd name="T69" fmla="*/ 32 h 82"/>
                  <a:gd name="T70" fmla="*/ 68 w 95"/>
                  <a:gd name="T71" fmla="*/ 32 h 82"/>
                  <a:gd name="T72" fmla="*/ 72 w 95"/>
                  <a:gd name="T73" fmla="*/ 32 h 82"/>
                  <a:gd name="T74" fmla="*/ 75 w 95"/>
                  <a:gd name="T75" fmla="*/ 34 h 82"/>
                  <a:gd name="T76" fmla="*/ 80 w 95"/>
                  <a:gd name="T77" fmla="*/ 34 h 82"/>
                  <a:gd name="T78" fmla="*/ 82 w 95"/>
                  <a:gd name="T79" fmla="*/ 34 h 82"/>
                  <a:gd name="T80" fmla="*/ 84 w 95"/>
                  <a:gd name="T81" fmla="*/ 37 h 82"/>
                  <a:gd name="T82" fmla="*/ 89 w 95"/>
                  <a:gd name="T83" fmla="*/ 37 h 82"/>
                  <a:gd name="T84" fmla="*/ 89 w 95"/>
                  <a:gd name="T85" fmla="*/ 32 h 82"/>
                  <a:gd name="T86" fmla="*/ 91 w 95"/>
                  <a:gd name="T87" fmla="*/ 30 h 82"/>
                  <a:gd name="T88" fmla="*/ 95 w 95"/>
                  <a:gd name="T89" fmla="*/ 28 h 82"/>
                  <a:gd name="T90" fmla="*/ 91 w 95"/>
                  <a:gd name="T91" fmla="*/ 28 h 82"/>
                  <a:gd name="T92" fmla="*/ 88 w 95"/>
                  <a:gd name="T93" fmla="*/ 27 h 82"/>
                  <a:gd name="T94" fmla="*/ 88 w 95"/>
                  <a:gd name="T95" fmla="*/ 25 h 82"/>
                  <a:gd name="T96" fmla="*/ 89 w 95"/>
                  <a:gd name="T97" fmla="*/ 23 h 82"/>
                  <a:gd name="T98" fmla="*/ 88 w 95"/>
                  <a:gd name="T99" fmla="*/ 23 h 82"/>
                  <a:gd name="T100" fmla="*/ 86 w 95"/>
                  <a:gd name="T101" fmla="*/ 21 h 82"/>
                  <a:gd name="T102" fmla="*/ 86 w 95"/>
                  <a:gd name="T103" fmla="*/ 19 h 82"/>
                  <a:gd name="T104" fmla="*/ 84 w 95"/>
                  <a:gd name="T105"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 h="82">
                    <a:moveTo>
                      <a:pt x="84" y="16"/>
                    </a:moveTo>
                    <a:lnTo>
                      <a:pt x="80" y="18"/>
                    </a:lnTo>
                    <a:lnTo>
                      <a:pt x="72" y="19"/>
                    </a:lnTo>
                    <a:lnTo>
                      <a:pt x="66" y="16"/>
                    </a:lnTo>
                    <a:lnTo>
                      <a:pt x="63" y="16"/>
                    </a:lnTo>
                    <a:lnTo>
                      <a:pt x="59" y="10"/>
                    </a:lnTo>
                    <a:lnTo>
                      <a:pt x="55" y="9"/>
                    </a:lnTo>
                    <a:lnTo>
                      <a:pt x="52" y="3"/>
                    </a:lnTo>
                    <a:lnTo>
                      <a:pt x="50" y="3"/>
                    </a:lnTo>
                    <a:lnTo>
                      <a:pt x="48" y="2"/>
                    </a:lnTo>
                    <a:lnTo>
                      <a:pt x="48" y="3"/>
                    </a:lnTo>
                    <a:lnTo>
                      <a:pt x="47" y="0"/>
                    </a:lnTo>
                    <a:lnTo>
                      <a:pt x="45" y="0"/>
                    </a:lnTo>
                    <a:lnTo>
                      <a:pt x="43" y="2"/>
                    </a:lnTo>
                    <a:lnTo>
                      <a:pt x="43" y="3"/>
                    </a:lnTo>
                    <a:lnTo>
                      <a:pt x="45" y="5"/>
                    </a:lnTo>
                    <a:lnTo>
                      <a:pt x="43" y="5"/>
                    </a:lnTo>
                    <a:lnTo>
                      <a:pt x="43" y="5"/>
                    </a:lnTo>
                    <a:lnTo>
                      <a:pt x="41" y="5"/>
                    </a:lnTo>
                    <a:lnTo>
                      <a:pt x="41" y="7"/>
                    </a:lnTo>
                    <a:lnTo>
                      <a:pt x="39" y="7"/>
                    </a:lnTo>
                    <a:lnTo>
                      <a:pt x="34" y="9"/>
                    </a:lnTo>
                    <a:lnTo>
                      <a:pt x="32" y="10"/>
                    </a:lnTo>
                    <a:lnTo>
                      <a:pt x="32" y="12"/>
                    </a:lnTo>
                    <a:lnTo>
                      <a:pt x="34" y="14"/>
                    </a:lnTo>
                    <a:lnTo>
                      <a:pt x="34" y="18"/>
                    </a:lnTo>
                    <a:lnTo>
                      <a:pt x="34" y="19"/>
                    </a:lnTo>
                    <a:lnTo>
                      <a:pt x="30" y="19"/>
                    </a:lnTo>
                    <a:lnTo>
                      <a:pt x="29" y="21"/>
                    </a:lnTo>
                    <a:lnTo>
                      <a:pt x="29" y="23"/>
                    </a:lnTo>
                    <a:lnTo>
                      <a:pt x="29" y="25"/>
                    </a:lnTo>
                    <a:lnTo>
                      <a:pt x="29" y="28"/>
                    </a:lnTo>
                    <a:lnTo>
                      <a:pt x="27" y="30"/>
                    </a:lnTo>
                    <a:lnTo>
                      <a:pt x="25" y="30"/>
                    </a:lnTo>
                    <a:lnTo>
                      <a:pt x="25" y="28"/>
                    </a:lnTo>
                    <a:lnTo>
                      <a:pt x="23" y="28"/>
                    </a:lnTo>
                    <a:lnTo>
                      <a:pt x="23" y="27"/>
                    </a:lnTo>
                    <a:lnTo>
                      <a:pt x="22" y="27"/>
                    </a:lnTo>
                    <a:lnTo>
                      <a:pt x="22" y="28"/>
                    </a:lnTo>
                    <a:lnTo>
                      <a:pt x="20" y="28"/>
                    </a:lnTo>
                    <a:lnTo>
                      <a:pt x="16" y="23"/>
                    </a:lnTo>
                    <a:lnTo>
                      <a:pt x="16" y="23"/>
                    </a:lnTo>
                    <a:lnTo>
                      <a:pt x="14" y="27"/>
                    </a:lnTo>
                    <a:lnTo>
                      <a:pt x="9" y="27"/>
                    </a:lnTo>
                    <a:lnTo>
                      <a:pt x="7" y="27"/>
                    </a:lnTo>
                    <a:lnTo>
                      <a:pt x="7" y="27"/>
                    </a:lnTo>
                    <a:lnTo>
                      <a:pt x="2" y="27"/>
                    </a:lnTo>
                    <a:lnTo>
                      <a:pt x="0" y="27"/>
                    </a:lnTo>
                    <a:lnTo>
                      <a:pt x="2" y="32"/>
                    </a:lnTo>
                    <a:lnTo>
                      <a:pt x="5" y="39"/>
                    </a:lnTo>
                    <a:lnTo>
                      <a:pt x="7" y="41"/>
                    </a:lnTo>
                    <a:lnTo>
                      <a:pt x="9" y="41"/>
                    </a:lnTo>
                    <a:lnTo>
                      <a:pt x="13" y="28"/>
                    </a:lnTo>
                    <a:lnTo>
                      <a:pt x="16" y="30"/>
                    </a:lnTo>
                    <a:lnTo>
                      <a:pt x="20" y="34"/>
                    </a:lnTo>
                    <a:lnTo>
                      <a:pt x="20" y="34"/>
                    </a:lnTo>
                    <a:lnTo>
                      <a:pt x="22" y="35"/>
                    </a:lnTo>
                    <a:lnTo>
                      <a:pt x="23" y="37"/>
                    </a:lnTo>
                    <a:lnTo>
                      <a:pt x="23" y="43"/>
                    </a:lnTo>
                    <a:lnTo>
                      <a:pt x="25" y="46"/>
                    </a:lnTo>
                    <a:lnTo>
                      <a:pt x="30" y="52"/>
                    </a:lnTo>
                    <a:lnTo>
                      <a:pt x="29" y="53"/>
                    </a:lnTo>
                    <a:lnTo>
                      <a:pt x="27" y="53"/>
                    </a:lnTo>
                    <a:lnTo>
                      <a:pt x="27" y="55"/>
                    </a:lnTo>
                    <a:lnTo>
                      <a:pt x="30" y="59"/>
                    </a:lnTo>
                    <a:lnTo>
                      <a:pt x="38" y="66"/>
                    </a:lnTo>
                    <a:lnTo>
                      <a:pt x="39" y="69"/>
                    </a:lnTo>
                    <a:lnTo>
                      <a:pt x="48" y="69"/>
                    </a:lnTo>
                    <a:lnTo>
                      <a:pt x="64" y="82"/>
                    </a:lnTo>
                    <a:lnTo>
                      <a:pt x="66" y="80"/>
                    </a:lnTo>
                    <a:lnTo>
                      <a:pt x="61" y="73"/>
                    </a:lnTo>
                    <a:lnTo>
                      <a:pt x="59" y="69"/>
                    </a:lnTo>
                    <a:lnTo>
                      <a:pt x="59" y="68"/>
                    </a:lnTo>
                    <a:lnTo>
                      <a:pt x="57" y="68"/>
                    </a:lnTo>
                    <a:lnTo>
                      <a:pt x="50" y="62"/>
                    </a:lnTo>
                    <a:lnTo>
                      <a:pt x="50" y="60"/>
                    </a:lnTo>
                    <a:lnTo>
                      <a:pt x="48" y="57"/>
                    </a:lnTo>
                    <a:lnTo>
                      <a:pt x="47" y="57"/>
                    </a:lnTo>
                    <a:lnTo>
                      <a:pt x="43" y="52"/>
                    </a:lnTo>
                    <a:lnTo>
                      <a:pt x="43" y="52"/>
                    </a:lnTo>
                    <a:lnTo>
                      <a:pt x="43" y="50"/>
                    </a:lnTo>
                    <a:lnTo>
                      <a:pt x="43" y="50"/>
                    </a:lnTo>
                    <a:lnTo>
                      <a:pt x="41" y="48"/>
                    </a:lnTo>
                    <a:lnTo>
                      <a:pt x="41" y="46"/>
                    </a:lnTo>
                    <a:lnTo>
                      <a:pt x="41" y="44"/>
                    </a:lnTo>
                    <a:lnTo>
                      <a:pt x="39" y="41"/>
                    </a:lnTo>
                    <a:lnTo>
                      <a:pt x="38" y="41"/>
                    </a:lnTo>
                    <a:lnTo>
                      <a:pt x="36" y="39"/>
                    </a:lnTo>
                    <a:lnTo>
                      <a:pt x="36" y="37"/>
                    </a:lnTo>
                    <a:lnTo>
                      <a:pt x="36" y="37"/>
                    </a:lnTo>
                    <a:lnTo>
                      <a:pt x="36" y="35"/>
                    </a:lnTo>
                    <a:lnTo>
                      <a:pt x="36" y="30"/>
                    </a:lnTo>
                    <a:lnTo>
                      <a:pt x="38" y="28"/>
                    </a:lnTo>
                    <a:lnTo>
                      <a:pt x="41" y="30"/>
                    </a:lnTo>
                    <a:lnTo>
                      <a:pt x="41" y="30"/>
                    </a:lnTo>
                    <a:lnTo>
                      <a:pt x="45" y="34"/>
                    </a:lnTo>
                    <a:lnTo>
                      <a:pt x="45" y="34"/>
                    </a:lnTo>
                    <a:lnTo>
                      <a:pt x="48" y="30"/>
                    </a:lnTo>
                    <a:lnTo>
                      <a:pt x="54" y="30"/>
                    </a:lnTo>
                    <a:lnTo>
                      <a:pt x="55" y="28"/>
                    </a:lnTo>
                    <a:lnTo>
                      <a:pt x="55" y="28"/>
                    </a:lnTo>
                    <a:lnTo>
                      <a:pt x="59" y="32"/>
                    </a:lnTo>
                    <a:lnTo>
                      <a:pt x="61" y="32"/>
                    </a:lnTo>
                    <a:lnTo>
                      <a:pt x="61" y="30"/>
                    </a:lnTo>
                    <a:lnTo>
                      <a:pt x="63" y="32"/>
                    </a:lnTo>
                    <a:lnTo>
                      <a:pt x="66" y="32"/>
                    </a:lnTo>
                    <a:lnTo>
                      <a:pt x="66" y="32"/>
                    </a:lnTo>
                    <a:lnTo>
                      <a:pt x="68" y="32"/>
                    </a:lnTo>
                    <a:lnTo>
                      <a:pt x="70" y="34"/>
                    </a:lnTo>
                    <a:lnTo>
                      <a:pt x="70" y="34"/>
                    </a:lnTo>
                    <a:lnTo>
                      <a:pt x="72" y="32"/>
                    </a:lnTo>
                    <a:lnTo>
                      <a:pt x="73" y="32"/>
                    </a:lnTo>
                    <a:lnTo>
                      <a:pt x="75" y="34"/>
                    </a:lnTo>
                    <a:lnTo>
                      <a:pt x="75" y="34"/>
                    </a:lnTo>
                    <a:lnTo>
                      <a:pt x="75" y="32"/>
                    </a:lnTo>
                    <a:lnTo>
                      <a:pt x="79" y="32"/>
                    </a:lnTo>
                    <a:lnTo>
                      <a:pt x="80" y="34"/>
                    </a:lnTo>
                    <a:lnTo>
                      <a:pt x="80" y="34"/>
                    </a:lnTo>
                    <a:lnTo>
                      <a:pt x="80" y="34"/>
                    </a:lnTo>
                    <a:lnTo>
                      <a:pt x="82" y="34"/>
                    </a:lnTo>
                    <a:lnTo>
                      <a:pt x="84" y="35"/>
                    </a:lnTo>
                    <a:lnTo>
                      <a:pt x="84" y="37"/>
                    </a:lnTo>
                    <a:lnTo>
                      <a:pt x="84" y="37"/>
                    </a:lnTo>
                    <a:lnTo>
                      <a:pt x="86" y="39"/>
                    </a:lnTo>
                    <a:lnTo>
                      <a:pt x="88" y="39"/>
                    </a:lnTo>
                    <a:lnTo>
                      <a:pt x="89" y="37"/>
                    </a:lnTo>
                    <a:lnTo>
                      <a:pt x="91" y="35"/>
                    </a:lnTo>
                    <a:lnTo>
                      <a:pt x="89" y="35"/>
                    </a:lnTo>
                    <a:lnTo>
                      <a:pt x="89" y="32"/>
                    </a:lnTo>
                    <a:lnTo>
                      <a:pt x="91" y="32"/>
                    </a:lnTo>
                    <a:lnTo>
                      <a:pt x="91" y="30"/>
                    </a:lnTo>
                    <a:lnTo>
                      <a:pt x="91" y="30"/>
                    </a:lnTo>
                    <a:lnTo>
                      <a:pt x="93" y="30"/>
                    </a:lnTo>
                    <a:lnTo>
                      <a:pt x="95" y="30"/>
                    </a:lnTo>
                    <a:lnTo>
                      <a:pt x="95" y="28"/>
                    </a:lnTo>
                    <a:lnTo>
                      <a:pt x="93" y="28"/>
                    </a:lnTo>
                    <a:lnTo>
                      <a:pt x="93" y="28"/>
                    </a:lnTo>
                    <a:lnTo>
                      <a:pt x="91" y="28"/>
                    </a:lnTo>
                    <a:lnTo>
                      <a:pt x="89" y="28"/>
                    </a:lnTo>
                    <a:lnTo>
                      <a:pt x="89" y="27"/>
                    </a:lnTo>
                    <a:lnTo>
                      <a:pt x="88" y="27"/>
                    </a:lnTo>
                    <a:lnTo>
                      <a:pt x="88" y="27"/>
                    </a:lnTo>
                    <a:lnTo>
                      <a:pt x="88" y="25"/>
                    </a:lnTo>
                    <a:lnTo>
                      <a:pt x="88" y="25"/>
                    </a:lnTo>
                    <a:lnTo>
                      <a:pt x="88" y="25"/>
                    </a:lnTo>
                    <a:lnTo>
                      <a:pt x="88" y="25"/>
                    </a:lnTo>
                    <a:lnTo>
                      <a:pt x="89" y="23"/>
                    </a:lnTo>
                    <a:lnTo>
                      <a:pt x="89" y="23"/>
                    </a:lnTo>
                    <a:lnTo>
                      <a:pt x="88" y="23"/>
                    </a:lnTo>
                    <a:lnTo>
                      <a:pt x="88" y="23"/>
                    </a:lnTo>
                    <a:lnTo>
                      <a:pt x="86" y="23"/>
                    </a:lnTo>
                    <a:lnTo>
                      <a:pt x="86" y="23"/>
                    </a:lnTo>
                    <a:lnTo>
                      <a:pt x="86" y="21"/>
                    </a:lnTo>
                    <a:lnTo>
                      <a:pt x="86" y="21"/>
                    </a:lnTo>
                    <a:lnTo>
                      <a:pt x="86" y="19"/>
                    </a:lnTo>
                    <a:lnTo>
                      <a:pt x="86" y="19"/>
                    </a:lnTo>
                    <a:lnTo>
                      <a:pt x="86" y="18"/>
                    </a:lnTo>
                    <a:lnTo>
                      <a:pt x="86" y="18"/>
                    </a:lnTo>
                    <a:lnTo>
                      <a:pt x="84" y="1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23" name="Freeform 3078"/>
              <p:cNvSpPr>
                <a:spLocks/>
              </p:cNvSpPr>
              <p:nvPr/>
            </p:nvSpPr>
            <p:spPr bwMode="auto">
              <a:xfrm>
                <a:off x="2912" y="1872"/>
                <a:ext cx="95" cy="82"/>
              </a:xfrm>
              <a:custGeom>
                <a:avLst/>
                <a:gdLst>
                  <a:gd name="T0" fmla="*/ 72 w 95"/>
                  <a:gd name="T1" fmla="*/ 19 h 82"/>
                  <a:gd name="T2" fmla="*/ 59 w 95"/>
                  <a:gd name="T3" fmla="*/ 10 h 82"/>
                  <a:gd name="T4" fmla="*/ 50 w 95"/>
                  <a:gd name="T5" fmla="*/ 3 h 82"/>
                  <a:gd name="T6" fmla="*/ 47 w 95"/>
                  <a:gd name="T7" fmla="*/ 0 h 82"/>
                  <a:gd name="T8" fmla="*/ 43 w 95"/>
                  <a:gd name="T9" fmla="*/ 3 h 82"/>
                  <a:gd name="T10" fmla="*/ 43 w 95"/>
                  <a:gd name="T11" fmla="*/ 5 h 82"/>
                  <a:gd name="T12" fmla="*/ 39 w 95"/>
                  <a:gd name="T13" fmla="*/ 7 h 82"/>
                  <a:gd name="T14" fmla="*/ 32 w 95"/>
                  <a:gd name="T15" fmla="*/ 12 h 82"/>
                  <a:gd name="T16" fmla="*/ 34 w 95"/>
                  <a:gd name="T17" fmla="*/ 19 h 82"/>
                  <a:gd name="T18" fmla="*/ 29 w 95"/>
                  <a:gd name="T19" fmla="*/ 23 h 82"/>
                  <a:gd name="T20" fmla="*/ 27 w 95"/>
                  <a:gd name="T21" fmla="*/ 30 h 82"/>
                  <a:gd name="T22" fmla="*/ 23 w 95"/>
                  <a:gd name="T23" fmla="*/ 28 h 82"/>
                  <a:gd name="T24" fmla="*/ 22 w 95"/>
                  <a:gd name="T25" fmla="*/ 28 h 82"/>
                  <a:gd name="T26" fmla="*/ 16 w 95"/>
                  <a:gd name="T27" fmla="*/ 23 h 82"/>
                  <a:gd name="T28" fmla="*/ 7 w 95"/>
                  <a:gd name="T29" fmla="*/ 27 h 82"/>
                  <a:gd name="T30" fmla="*/ 0 w 95"/>
                  <a:gd name="T31" fmla="*/ 27 h 82"/>
                  <a:gd name="T32" fmla="*/ 7 w 95"/>
                  <a:gd name="T33" fmla="*/ 41 h 82"/>
                  <a:gd name="T34" fmla="*/ 16 w 95"/>
                  <a:gd name="T35" fmla="*/ 30 h 82"/>
                  <a:gd name="T36" fmla="*/ 22 w 95"/>
                  <a:gd name="T37" fmla="*/ 35 h 82"/>
                  <a:gd name="T38" fmla="*/ 25 w 95"/>
                  <a:gd name="T39" fmla="*/ 46 h 82"/>
                  <a:gd name="T40" fmla="*/ 27 w 95"/>
                  <a:gd name="T41" fmla="*/ 53 h 82"/>
                  <a:gd name="T42" fmla="*/ 38 w 95"/>
                  <a:gd name="T43" fmla="*/ 66 h 82"/>
                  <a:gd name="T44" fmla="*/ 64 w 95"/>
                  <a:gd name="T45" fmla="*/ 82 h 82"/>
                  <a:gd name="T46" fmla="*/ 59 w 95"/>
                  <a:gd name="T47" fmla="*/ 69 h 82"/>
                  <a:gd name="T48" fmla="*/ 50 w 95"/>
                  <a:gd name="T49" fmla="*/ 62 h 82"/>
                  <a:gd name="T50" fmla="*/ 47 w 95"/>
                  <a:gd name="T51" fmla="*/ 57 h 82"/>
                  <a:gd name="T52" fmla="*/ 43 w 95"/>
                  <a:gd name="T53" fmla="*/ 50 h 82"/>
                  <a:gd name="T54" fmla="*/ 41 w 95"/>
                  <a:gd name="T55" fmla="*/ 46 h 82"/>
                  <a:gd name="T56" fmla="*/ 38 w 95"/>
                  <a:gd name="T57" fmla="*/ 41 h 82"/>
                  <a:gd name="T58" fmla="*/ 36 w 95"/>
                  <a:gd name="T59" fmla="*/ 37 h 82"/>
                  <a:gd name="T60" fmla="*/ 38 w 95"/>
                  <a:gd name="T61" fmla="*/ 28 h 82"/>
                  <a:gd name="T62" fmla="*/ 45 w 95"/>
                  <a:gd name="T63" fmla="*/ 34 h 82"/>
                  <a:gd name="T64" fmla="*/ 54 w 95"/>
                  <a:gd name="T65" fmla="*/ 30 h 82"/>
                  <a:gd name="T66" fmla="*/ 59 w 95"/>
                  <a:gd name="T67" fmla="*/ 32 h 82"/>
                  <a:gd name="T68" fmla="*/ 63 w 95"/>
                  <a:gd name="T69" fmla="*/ 32 h 82"/>
                  <a:gd name="T70" fmla="*/ 68 w 95"/>
                  <a:gd name="T71" fmla="*/ 32 h 82"/>
                  <a:gd name="T72" fmla="*/ 72 w 95"/>
                  <a:gd name="T73" fmla="*/ 32 h 82"/>
                  <a:gd name="T74" fmla="*/ 75 w 95"/>
                  <a:gd name="T75" fmla="*/ 34 h 82"/>
                  <a:gd name="T76" fmla="*/ 80 w 95"/>
                  <a:gd name="T77" fmla="*/ 34 h 82"/>
                  <a:gd name="T78" fmla="*/ 82 w 95"/>
                  <a:gd name="T79" fmla="*/ 34 h 82"/>
                  <a:gd name="T80" fmla="*/ 84 w 95"/>
                  <a:gd name="T81" fmla="*/ 37 h 82"/>
                  <a:gd name="T82" fmla="*/ 89 w 95"/>
                  <a:gd name="T83" fmla="*/ 37 h 82"/>
                  <a:gd name="T84" fmla="*/ 89 w 95"/>
                  <a:gd name="T85" fmla="*/ 32 h 82"/>
                  <a:gd name="T86" fmla="*/ 91 w 95"/>
                  <a:gd name="T87" fmla="*/ 30 h 82"/>
                  <a:gd name="T88" fmla="*/ 95 w 95"/>
                  <a:gd name="T89" fmla="*/ 28 h 82"/>
                  <a:gd name="T90" fmla="*/ 91 w 95"/>
                  <a:gd name="T91" fmla="*/ 28 h 82"/>
                  <a:gd name="T92" fmla="*/ 88 w 95"/>
                  <a:gd name="T93" fmla="*/ 27 h 82"/>
                  <a:gd name="T94" fmla="*/ 88 w 95"/>
                  <a:gd name="T95" fmla="*/ 25 h 82"/>
                  <a:gd name="T96" fmla="*/ 89 w 95"/>
                  <a:gd name="T97" fmla="*/ 23 h 82"/>
                  <a:gd name="T98" fmla="*/ 88 w 95"/>
                  <a:gd name="T99" fmla="*/ 23 h 82"/>
                  <a:gd name="T100" fmla="*/ 86 w 95"/>
                  <a:gd name="T101" fmla="*/ 21 h 82"/>
                  <a:gd name="T102" fmla="*/ 86 w 95"/>
                  <a:gd name="T103" fmla="*/ 19 h 82"/>
                  <a:gd name="T104" fmla="*/ 84 w 95"/>
                  <a:gd name="T105" fmla="*/ 1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5" h="82">
                    <a:moveTo>
                      <a:pt x="84" y="16"/>
                    </a:moveTo>
                    <a:lnTo>
                      <a:pt x="80" y="18"/>
                    </a:lnTo>
                    <a:lnTo>
                      <a:pt x="72" y="19"/>
                    </a:lnTo>
                    <a:lnTo>
                      <a:pt x="66" y="16"/>
                    </a:lnTo>
                    <a:lnTo>
                      <a:pt x="63" y="16"/>
                    </a:lnTo>
                    <a:lnTo>
                      <a:pt x="59" y="10"/>
                    </a:lnTo>
                    <a:lnTo>
                      <a:pt x="55" y="9"/>
                    </a:lnTo>
                    <a:lnTo>
                      <a:pt x="52" y="3"/>
                    </a:lnTo>
                    <a:lnTo>
                      <a:pt x="50" y="3"/>
                    </a:lnTo>
                    <a:lnTo>
                      <a:pt x="48" y="2"/>
                    </a:lnTo>
                    <a:lnTo>
                      <a:pt x="48" y="3"/>
                    </a:lnTo>
                    <a:lnTo>
                      <a:pt x="47" y="0"/>
                    </a:lnTo>
                    <a:lnTo>
                      <a:pt x="45" y="0"/>
                    </a:lnTo>
                    <a:lnTo>
                      <a:pt x="43" y="2"/>
                    </a:lnTo>
                    <a:lnTo>
                      <a:pt x="43" y="3"/>
                    </a:lnTo>
                    <a:lnTo>
                      <a:pt x="45" y="5"/>
                    </a:lnTo>
                    <a:lnTo>
                      <a:pt x="43" y="5"/>
                    </a:lnTo>
                    <a:lnTo>
                      <a:pt x="43" y="5"/>
                    </a:lnTo>
                    <a:lnTo>
                      <a:pt x="41" y="5"/>
                    </a:lnTo>
                    <a:lnTo>
                      <a:pt x="41" y="7"/>
                    </a:lnTo>
                    <a:lnTo>
                      <a:pt x="39" y="7"/>
                    </a:lnTo>
                    <a:lnTo>
                      <a:pt x="34" y="9"/>
                    </a:lnTo>
                    <a:lnTo>
                      <a:pt x="32" y="10"/>
                    </a:lnTo>
                    <a:lnTo>
                      <a:pt x="32" y="12"/>
                    </a:lnTo>
                    <a:lnTo>
                      <a:pt x="34" y="14"/>
                    </a:lnTo>
                    <a:lnTo>
                      <a:pt x="34" y="18"/>
                    </a:lnTo>
                    <a:lnTo>
                      <a:pt x="34" y="19"/>
                    </a:lnTo>
                    <a:lnTo>
                      <a:pt x="30" y="19"/>
                    </a:lnTo>
                    <a:lnTo>
                      <a:pt x="29" y="21"/>
                    </a:lnTo>
                    <a:lnTo>
                      <a:pt x="29" y="23"/>
                    </a:lnTo>
                    <a:lnTo>
                      <a:pt x="29" y="25"/>
                    </a:lnTo>
                    <a:lnTo>
                      <a:pt x="29" y="28"/>
                    </a:lnTo>
                    <a:lnTo>
                      <a:pt x="27" y="30"/>
                    </a:lnTo>
                    <a:lnTo>
                      <a:pt x="25" y="30"/>
                    </a:lnTo>
                    <a:lnTo>
                      <a:pt x="25" y="28"/>
                    </a:lnTo>
                    <a:lnTo>
                      <a:pt x="23" y="28"/>
                    </a:lnTo>
                    <a:lnTo>
                      <a:pt x="23" y="27"/>
                    </a:lnTo>
                    <a:lnTo>
                      <a:pt x="22" y="27"/>
                    </a:lnTo>
                    <a:lnTo>
                      <a:pt x="22" y="28"/>
                    </a:lnTo>
                    <a:lnTo>
                      <a:pt x="20" y="28"/>
                    </a:lnTo>
                    <a:lnTo>
                      <a:pt x="16" y="23"/>
                    </a:lnTo>
                    <a:lnTo>
                      <a:pt x="16" y="23"/>
                    </a:lnTo>
                    <a:lnTo>
                      <a:pt x="14" y="27"/>
                    </a:lnTo>
                    <a:lnTo>
                      <a:pt x="9" y="27"/>
                    </a:lnTo>
                    <a:lnTo>
                      <a:pt x="7" y="27"/>
                    </a:lnTo>
                    <a:lnTo>
                      <a:pt x="7" y="27"/>
                    </a:lnTo>
                    <a:lnTo>
                      <a:pt x="2" y="27"/>
                    </a:lnTo>
                    <a:lnTo>
                      <a:pt x="0" y="27"/>
                    </a:lnTo>
                    <a:lnTo>
                      <a:pt x="2" y="32"/>
                    </a:lnTo>
                    <a:lnTo>
                      <a:pt x="5" y="39"/>
                    </a:lnTo>
                    <a:lnTo>
                      <a:pt x="7" y="41"/>
                    </a:lnTo>
                    <a:lnTo>
                      <a:pt x="9" y="41"/>
                    </a:lnTo>
                    <a:lnTo>
                      <a:pt x="13" y="28"/>
                    </a:lnTo>
                    <a:lnTo>
                      <a:pt x="16" y="30"/>
                    </a:lnTo>
                    <a:lnTo>
                      <a:pt x="20" y="34"/>
                    </a:lnTo>
                    <a:lnTo>
                      <a:pt x="20" y="34"/>
                    </a:lnTo>
                    <a:lnTo>
                      <a:pt x="22" y="35"/>
                    </a:lnTo>
                    <a:lnTo>
                      <a:pt x="23" y="37"/>
                    </a:lnTo>
                    <a:lnTo>
                      <a:pt x="23" y="43"/>
                    </a:lnTo>
                    <a:lnTo>
                      <a:pt x="25" y="46"/>
                    </a:lnTo>
                    <a:lnTo>
                      <a:pt x="30" y="52"/>
                    </a:lnTo>
                    <a:lnTo>
                      <a:pt x="29" y="53"/>
                    </a:lnTo>
                    <a:lnTo>
                      <a:pt x="27" y="53"/>
                    </a:lnTo>
                    <a:lnTo>
                      <a:pt x="27" y="55"/>
                    </a:lnTo>
                    <a:lnTo>
                      <a:pt x="30" y="59"/>
                    </a:lnTo>
                    <a:lnTo>
                      <a:pt x="38" y="66"/>
                    </a:lnTo>
                    <a:lnTo>
                      <a:pt x="39" y="69"/>
                    </a:lnTo>
                    <a:lnTo>
                      <a:pt x="48" y="69"/>
                    </a:lnTo>
                    <a:lnTo>
                      <a:pt x="64" y="82"/>
                    </a:lnTo>
                    <a:lnTo>
                      <a:pt x="66" y="80"/>
                    </a:lnTo>
                    <a:lnTo>
                      <a:pt x="61" y="73"/>
                    </a:lnTo>
                    <a:lnTo>
                      <a:pt x="59" y="69"/>
                    </a:lnTo>
                    <a:lnTo>
                      <a:pt x="59" y="68"/>
                    </a:lnTo>
                    <a:lnTo>
                      <a:pt x="57" y="68"/>
                    </a:lnTo>
                    <a:lnTo>
                      <a:pt x="50" y="62"/>
                    </a:lnTo>
                    <a:lnTo>
                      <a:pt x="50" y="60"/>
                    </a:lnTo>
                    <a:lnTo>
                      <a:pt x="48" y="57"/>
                    </a:lnTo>
                    <a:lnTo>
                      <a:pt x="47" y="57"/>
                    </a:lnTo>
                    <a:lnTo>
                      <a:pt x="43" y="52"/>
                    </a:lnTo>
                    <a:lnTo>
                      <a:pt x="43" y="52"/>
                    </a:lnTo>
                    <a:lnTo>
                      <a:pt x="43" y="50"/>
                    </a:lnTo>
                    <a:lnTo>
                      <a:pt x="43" y="50"/>
                    </a:lnTo>
                    <a:lnTo>
                      <a:pt x="41" y="48"/>
                    </a:lnTo>
                    <a:lnTo>
                      <a:pt x="41" y="46"/>
                    </a:lnTo>
                    <a:lnTo>
                      <a:pt x="41" y="44"/>
                    </a:lnTo>
                    <a:lnTo>
                      <a:pt x="39" y="41"/>
                    </a:lnTo>
                    <a:lnTo>
                      <a:pt x="38" y="41"/>
                    </a:lnTo>
                    <a:lnTo>
                      <a:pt x="36" y="39"/>
                    </a:lnTo>
                    <a:lnTo>
                      <a:pt x="36" y="37"/>
                    </a:lnTo>
                    <a:lnTo>
                      <a:pt x="36" y="37"/>
                    </a:lnTo>
                    <a:lnTo>
                      <a:pt x="36" y="35"/>
                    </a:lnTo>
                    <a:lnTo>
                      <a:pt x="36" y="30"/>
                    </a:lnTo>
                    <a:lnTo>
                      <a:pt x="38" y="28"/>
                    </a:lnTo>
                    <a:lnTo>
                      <a:pt x="41" y="30"/>
                    </a:lnTo>
                    <a:lnTo>
                      <a:pt x="41" y="30"/>
                    </a:lnTo>
                    <a:lnTo>
                      <a:pt x="45" y="34"/>
                    </a:lnTo>
                    <a:lnTo>
                      <a:pt x="45" y="34"/>
                    </a:lnTo>
                    <a:lnTo>
                      <a:pt x="48" y="30"/>
                    </a:lnTo>
                    <a:lnTo>
                      <a:pt x="54" y="30"/>
                    </a:lnTo>
                    <a:lnTo>
                      <a:pt x="55" y="28"/>
                    </a:lnTo>
                    <a:lnTo>
                      <a:pt x="55" y="28"/>
                    </a:lnTo>
                    <a:lnTo>
                      <a:pt x="59" y="32"/>
                    </a:lnTo>
                    <a:lnTo>
                      <a:pt x="61" y="32"/>
                    </a:lnTo>
                    <a:lnTo>
                      <a:pt x="61" y="30"/>
                    </a:lnTo>
                    <a:lnTo>
                      <a:pt x="63" y="32"/>
                    </a:lnTo>
                    <a:lnTo>
                      <a:pt x="66" y="32"/>
                    </a:lnTo>
                    <a:lnTo>
                      <a:pt x="66" y="32"/>
                    </a:lnTo>
                    <a:lnTo>
                      <a:pt x="68" y="32"/>
                    </a:lnTo>
                    <a:lnTo>
                      <a:pt x="70" y="34"/>
                    </a:lnTo>
                    <a:lnTo>
                      <a:pt x="70" y="34"/>
                    </a:lnTo>
                    <a:lnTo>
                      <a:pt x="72" y="32"/>
                    </a:lnTo>
                    <a:lnTo>
                      <a:pt x="73" y="32"/>
                    </a:lnTo>
                    <a:lnTo>
                      <a:pt x="75" y="34"/>
                    </a:lnTo>
                    <a:lnTo>
                      <a:pt x="75" y="34"/>
                    </a:lnTo>
                    <a:lnTo>
                      <a:pt x="75" y="32"/>
                    </a:lnTo>
                    <a:lnTo>
                      <a:pt x="79" y="32"/>
                    </a:lnTo>
                    <a:lnTo>
                      <a:pt x="80" y="34"/>
                    </a:lnTo>
                    <a:lnTo>
                      <a:pt x="80" y="34"/>
                    </a:lnTo>
                    <a:lnTo>
                      <a:pt x="80" y="34"/>
                    </a:lnTo>
                    <a:lnTo>
                      <a:pt x="82" y="34"/>
                    </a:lnTo>
                    <a:lnTo>
                      <a:pt x="84" y="35"/>
                    </a:lnTo>
                    <a:lnTo>
                      <a:pt x="84" y="37"/>
                    </a:lnTo>
                    <a:lnTo>
                      <a:pt x="84" y="37"/>
                    </a:lnTo>
                    <a:lnTo>
                      <a:pt x="86" y="39"/>
                    </a:lnTo>
                    <a:lnTo>
                      <a:pt x="88" y="39"/>
                    </a:lnTo>
                    <a:lnTo>
                      <a:pt x="89" y="37"/>
                    </a:lnTo>
                    <a:lnTo>
                      <a:pt x="91" y="35"/>
                    </a:lnTo>
                    <a:lnTo>
                      <a:pt x="89" y="35"/>
                    </a:lnTo>
                    <a:lnTo>
                      <a:pt x="89" y="32"/>
                    </a:lnTo>
                    <a:lnTo>
                      <a:pt x="91" y="32"/>
                    </a:lnTo>
                    <a:lnTo>
                      <a:pt x="91" y="30"/>
                    </a:lnTo>
                    <a:lnTo>
                      <a:pt x="91" y="30"/>
                    </a:lnTo>
                    <a:lnTo>
                      <a:pt x="93" y="30"/>
                    </a:lnTo>
                    <a:lnTo>
                      <a:pt x="95" y="30"/>
                    </a:lnTo>
                    <a:lnTo>
                      <a:pt x="95" y="28"/>
                    </a:lnTo>
                    <a:lnTo>
                      <a:pt x="93" y="28"/>
                    </a:lnTo>
                    <a:lnTo>
                      <a:pt x="93" y="28"/>
                    </a:lnTo>
                    <a:lnTo>
                      <a:pt x="91" y="28"/>
                    </a:lnTo>
                    <a:lnTo>
                      <a:pt x="89" y="28"/>
                    </a:lnTo>
                    <a:lnTo>
                      <a:pt x="89" y="27"/>
                    </a:lnTo>
                    <a:lnTo>
                      <a:pt x="88" y="27"/>
                    </a:lnTo>
                    <a:lnTo>
                      <a:pt x="88" y="27"/>
                    </a:lnTo>
                    <a:lnTo>
                      <a:pt x="88" y="25"/>
                    </a:lnTo>
                    <a:lnTo>
                      <a:pt x="88" y="25"/>
                    </a:lnTo>
                    <a:lnTo>
                      <a:pt x="88" y="25"/>
                    </a:lnTo>
                    <a:lnTo>
                      <a:pt x="88" y="25"/>
                    </a:lnTo>
                    <a:lnTo>
                      <a:pt x="89" y="23"/>
                    </a:lnTo>
                    <a:lnTo>
                      <a:pt x="89" y="23"/>
                    </a:lnTo>
                    <a:lnTo>
                      <a:pt x="88" y="23"/>
                    </a:lnTo>
                    <a:lnTo>
                      <a:pt x="88" y="23"/>
                    </a:lnTo>
                    <a:lnTo>
                      <a:pt x="86" y="23"/>
                    </a:lnTo>
                    <a:lnTo>
                      <a:pt x="86" y="23"/>
                    </a:lnTo>
                    <a:lnTo>
                      <a:pt x="86" y="21"/>
                    </a:lnTo>
                    <a:lnTo>
                      <a:pt x="86" y="21"/>
                    </a:lnTo>
                    <a:lnTo>
                      <a:pt x="86" y="19"/>
                    </a:lnTo>
                    <a:lnTo>
                      <a:pt x="86" y="19"/>
                    </a:lnTo>
                    <a:lnTo>
                      <a:pt x="86" y="18"/>
                    </a:lnTo>
                    <a:lnTo>
                      <a:pt x="86" y="18"/>
                    </a:lnTo>
                    <a:lnTo>
                      <a:pt x="84" y="16"/>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24" name="Freeform 3079"/>
              <p:cNvSpPr>
                <a:spLocks/>
              </p:cNvSpPr>
              <p:nvPr/>
            </p:nvSpPr>
            <p:spPr bwMode="auto">
              <a:xfrm>
                <a:off x="3005" y="1961"/>
                <a:ext cx="29" cy="63"/>
              </a:xfrm>
              <a:custGeom>
                <a:avLst/>
                <a:gdLst>
                  <a:gd name="T0" fmla="*/ 14 w 29"/>
                  <a:gd name="T1" fmla="*/ 63 h 63"/>
                  <a:gd name="T2" fmla="*/ 11 w 29"/>
                  <a:gd name="T3" fmla="*/ 61 h 63"/>
                  <a:gd name="T4" fmla="*/ 11 w 29"/>
                  <a:gd name="T5" fmla="*/ 59 h 63"/>
                  <a:gd name="T6" fmla="*/ 9 w 29"/>
                  <a:gd name="T7" fmla="*/ 55 h 63"/>
                  <a:gd name="T8" fmla="*/ 4 w 29"/>
                  <a:gd name="T9" fmla="*/ 54 h 63"/>
                  <a:gd name="T10" fmla="*/ 0 w 29"/>
                  <a:gd name="T11" fmla="*/ 46 h 63"/>
                  <a:gd name="T12" fmla="*/ 2 w 29"/>
                  <a:gd name="T13" fmla="*/ 46 h 63"/>
                  <a:gd name="T14" fmla="*/ 0 w 29"/>
                  <a:gd name="T15" fmla="*/ 41 h 63"/>
                  <a:gd name="T16" fmla="*/ 2 w 29"/>
                  <a:gd name="T17" fmla="*/ 38 h 63"/>
                  <a:gd name="T18" fmla="*/ 2 w 29"/>
                  <a:gd name="T19" fmla="*/ 36 h 63"/>
                  <a:gd name="T20" fmla="*/ 2 w 29"/>
                  <a:gd name="T21" fmla="*/ 34 h 63"/>
                  <a:gd name="T22" fmla="*/ 4 w 29"/>
                  <a:gd name="T23" fmla="*/ 30 h 63"/>
                  <a:gd name="T24" fmla="*/ 2 w 29"/>
                  <a:gd name="T25" fmla="*/ 27 h 63"/>
                  <a:gd name="T26" fmla="*/ 4 w 29"/>
                  <a:gd name="T27" fmla="*/ 18 h 63"/>
                  <a:gd name="T28" fmla="*/ 4 w 29"/>
                  <a:gd name="T29" fmla="*/ 16 h 63"/>
                  <a:gd name="T30" fmla="*/ 0 w 29"/>
                  <a:gd name="T31" fmla="*/ 16 h 63"/>
                  <a:gd name="T32" fmla="*/ 2 w 29"/>
                  <a:gd name="T33" fmla="*/ 13 h 63"/>
                  <a:gd name="T34" fmla="*/ 2 w 29"/>
                  <a:gd name="T35" fmla="*/ 9 h 63"/>
                  <a:gd name="T36" fmla="*/ 2 w 29"/>
                  <a:gd name="T37" fmla="*/ 4 h 63"/>
                  <a:gd name="T38" fmla="*/ 5 w 29"/>
                  <a:gd name="T39" fmla="*/ 2 h 63"/>
                  <a:gd name="T40" fmla="*/ 7 w 29"/>
                  <a:gd name="T41" fmla="*/ 0 h 63"/>
                  <a:gd name="T42" fmla="*/ 9 w 29"/>
                  <a:gd name="T43" fmla="*/ 2 h 63"/>
                  <a:gd name="T44" fmla="*/ 12 w 29"/>
                  <a:gd name="T45" fmla="*/ 2 h 63"/>
                  <a:gd name="T46" fmla="*/ 14 w 29"/>
                  <a:gd name="T47" fmla="*/ 5 h 63"/>
                  <a:gd name="T48" fmla="*/ 18 w 29"/>
                  <a:gd name="T49" fmla="*/ 7 h 63"/>
                  <a:gd name="T50" fmla="*/ 21 w 29"/>
                  <a:gd name="T51" fmla="*/ 13 h 63"/>
                  <a:gd name="T52" fmla="*/ 20 w 29"/>
                  <a:gd name="T53" fmla="*/ 27 h 63"/>
                  <a:gd name="T54" fmla="*/ 23 w 29"/>
                  <a:gd name="T55" fmla="*/ 32 h 63"/>
                  <a:gd name="T56" fmla="*/ 27 w 29"/>
                  <a:gd name="T57" fmla="*/ 38 h 63"/>
                  <a:gd name="T58" fmla="*/ 29 w 29"/>
                  <a:gd name="T59" fmla="*/ 45 h 63"/>
                  <a:gd name="T60" fmla="*/ 25 w 29"/>
                  <a:gd name="T61" fmla="*/ 48 h 63"/>
                  <a:gd name="T62" fmla="*/ 21 w 29"/>
                  <a:gd name="T63" fmla="*/ 54 h 63"/>
                  <a:gd name="T64" fmla="*/ 20 w 29"/>
                  <a:gd name="T65" fmla="*/ 55 h 63"/>
                  <a:gd name="T66" fmla="*/ 18 w 29"/>
                  <a:gd name="T67" fmla="*/ 59 h 63"/>
                  <a:gd name="T68" fmla="*/ 16 w 29"/>
                  <a:gd name="T69" fmla="*/ 61 h 63"/>
                  <a:gd name="T70" fmla="*/ 14 w 29"/>
                  <a:gd name="T71" fmla="*/ 63 h 63"/>
                  <a:gd name="T72" fmla="*/ 14 w 29"/>
                  <a:gd name="T7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 h="63">
                    <a:moveTo>
                      <a:pt x="14" y="63"/>
                    </a:moveTo>
                    <a:lnTo>
                      <a:pt x="11" y="61"/>
                    </a:lnTo>
                    <a:lnTo>
                      <a:pt x="11" y="59"/>
                    </a:lnTo>
                    <a:lnTo>
                      <a:pt x="9" y="55"/>
                    </a:lnTo>
                    <a:lnTo>
                      <a:pt x="4" y="54"/>
                    </a:lnTo>
                    <a:lnTo>
                      <a:pt x="0" y="46"/>
                    </a:lnTo>
                    <a:lnTo>
                      <a:pt x="2" y="46"/>
                    </a:lnTo>
                    <a:lnTo>
                      <a:pt x="0" y="41"/>
                    </a:lnTo>
                    <a:lnTo>
                      <a:pt x="2" y="38"/>
                    </a:lnTo>
                    <a:lnTo>
                      <a:pt x="2" y="36"/>
                    </a:lnTo>
                    <a:lnTo>
                      <a:pt x="2" y="34"/>
                    </a:lnTo>
                    <a:lnTo>
                      <a:pt x="4" y="30"/>
                    </a:lnTo>
                    <a:lnTo>
                      <a:pt x="2" y="27"/>
                    </a:lnTo>
                    <a:lnTo>
                      <a:pt x="4" y="18"/>
                    </a:lnTo>
                    <a:lnTo>
                      <a:pt x="4" y="16"/>
                    </a:lnTo>
                    <a:lnTo>
                      <a:pt x="0" y="16"/>
                    </a:lnTo>
                    <a:lnTo>
                      <a:pt x="2" y="13"/>
                    </a:lnTo>
                    <a:lnTo>
                      <a:pt x="2" y="9"/>
                    </a:lnTo>
                    <a:lnTo>
                      <a:pt x="2" y="4"/>
                    </a:lnTo>
                    <a:lnTo>
                      <a:pt x="5" y="2"/>
                    </a:lnTo>
                    <a:lnTo>
                      <a:pt x="7" y="0"/>
                    </a:lnTo>
                    <a:lnTo>
                      <a:pt x="9" y="2"/>
                    </a:lnTo>
                    <a:lnTo>
                      <a:pt x="12" y="2"/>
                    </a:lnTo>
                    <a:lnTo>
                      <a:pt x="14" y="5"/>
                    </a:lnTo>
                    <a:lnTo>
                      <a:pt x="18" y="7"/>
                    </a:lnTo>
                    <a:lnTo>
                      <a:pt x="21" y="13"/>
                    </a:lnTo>
                    <a:lnTo>
                      <a:pt x="20" y="27"/>
                    </a:lnTo>
                    <a:lnTo>
                      <a:pt x="23" y="32"/>
                    </a:lnTo>
                    <a:lnTo>
                      <a:pt x="27" y="38"/>
                    </a:lnTo>
                    <a:lnTo>
                      <a:pt x="29" y="45"/>
                    </a:lnTo>
                    <a:lnTo>
                      <a:pt x="25" y="48"/>
                    </a:lnTo>
                    <a:lnTo>
                      <a:pt x="21" y="54"/>
                    </a:lnTo>
                    <a:lnTo>
                      <a:pt x="20" y="55"/>
                    </a:lnTo>
                    <a:lnTo>
                      <a:pt x="18" y="59"/>
                    </a:lnTo>
                    <a:lnTo>
                      <a:pt x="16" y="61"/>
                    </a:lnTo>
                    <a:lnTo>
                      <a:pt x="14" y="63"/>
                    </a:lnTo>
                    <a:lnTo>
                      <a:pt x="14" y="6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25" name="Freeform 3080"/>
              <p:cNvSpPr>
                <a:spLocks/>
              </p:cNvSpPr>
              <p:nvPr/>
            </p:nvSpPr>
            <p:spPr bwMode="auto">
              <a:xfrm>
                <a:off x="3005" y="1961"/>
                <a:ext cx="29" cy="63"/>
              </a:xfrm>
              <a:custGeom>
                <a:avLst/>
                <a:gdLst>
                  <a:gd name="T0" fmla="*/ 14 w 29"/>
                  <a:gd name="T1" fmla="*/ 63 h 63"/>
                  <a:gd name="T2" fmla="*/ 11 w 29"/>
                  <a:gd name="T3" fmla="*/ 61 h 63"/>
                  <a:gd name="T4" fmla="*/ 11 w 29"/>
                  <a:gd name="T5" fmla="*/ 59 h 63"/>
                  <a:gd name="T6" fmla="*/ 9 w 29"/>
                  <a:gd name="T7" fmla="*/ 55 h 63"/>
                  <a:gd name="T8" fmla="*/ 4 w 29"/>
                  <a:gd name="T9" fmla="*/ 54 h 63"/>
                  <a:gd name="T10" fmla="*/ 0 w 29"/>
                  <a:gd name="T11" fmla="*/ 46 h 63"/>
                  <a:gd name="T12" fmla="*/ 2 w 29"/>
                  <a:gd name="T13" fmla="*/ 46 h 63"/>
                  <a:gd name="T14" fmla="*/ 0 w 29"/>
                  <a:gd name="T15" fmla="*/ 41 h 63"/>
                  <a:gd name="T16" fmla="*/ 2 w 29"/>
                  <a:gd name="T17" fmla="*/ 38 h 63"/>
                  <a:gd name="T18" fmla="*/ 2 w 29"/>
                  <a:gd name="T19" fmla="*/ 36 h 63"/>
                  <a:gd name="T20" fmla="*/ 2 w 29"/>
                  <a:gd name="T21" fmla="*/ 34 h 63"/>
                  <a:gd name="T22" fmla="*/ 4 w 29"/>
                  <a:gd name="T23" fmla="*/ 30 h 63"/>
                  <a:gd name="T24" fmla="*/ 2 w 29"/>
                  <a:gd name="T25" fmla="*/ 27 h 63"/>
                  <a:gd name="T26" fmla="*/ 4 w 29"/>
                  <a:gd name="T27" fmla="*/ 18 h 63"/>
                  <a:gd name="T28" fmla="*/ 4 w 29"/>
                  <a:gd name="T29" fmla="*/ 16 h 63"/>
                  <a:gd name="T30" fmla="*/ 0 w 29"/>
                  <a:gd name="T31" fmla="*/ 16 h 63"/>
                  <a:gd name="T32" fmla="*/ 2 w 29"/>
                  <a:gd name="T33" fmla="*/ 13 h 63"/>
                  <a:gd name="T34" fmla="*/ 2 w 29"/>
                  <a:gd name="T35" fmla="*/ 9 h 63"/>
                  <a:gd name="T36" fmla="*/ 2 w 29"/>
                  <a:gd name="T37" fmla="*/ 4 h 63"/>
                  <a:gd name="T38" fmla="*/ 5 w 29"/>
                  <a:gd name="T39" fmla="*/ 2 h 63"/>
                  <a:gd name="T40" fmla="*/ 7 w 29"/>
                  <a:gd name="T41" fmla="*/ 0 h 63"/>
                  <a:gd name="T42" fmla="*/ 9 w 29"/>
                  <a:gd name="T43" fmla="*/ 2 h 63"/>
                  <a:gd name="T44" fmla="*/ 12 w 29"/>
                  <a:gd name="T45" fmla="*/ 2 h 63"/>
                  <a:gd name="T46" fmla="*/ 14 w 29"/>
                  <a:gd name="T47" fmla="*/ 5 h 63"/>
                  <a:gd name="T48" fmla="*/ 18 w 29"/>
                  <a:gd name="T49" fmla="*/ 7 h 63"/>
                  <a:gd name="T50" fmla="*/ 21 w 29"/>
                  <a:gd name="T51" fmla="*/ 13 h 63"/>
                  <a:gd name="T52" fmla="*/ 20 w 29"/>
                  <a:gd name="T53" fmla="*/ 27 h 63"/>
                  <a:gd name="T54" fmla="*/ 23 w 29"/>
                  <a:gd name="T55" fmla="*/ 32 h 63"/>
                  <a:gd name="T56" fmla="*/ 27 w 29"/>
                  <a:gd name="T57" fmla="*/ 38 h 63"/>
                  <a:gd name="T58" fmla="*/ 29 w 29"/>
                  <a:gd name="T59" fmla="*/ 45 h 63"/>
                  <a:gd name="T60" fmla="*/ 25 w 29"/>
                  <a:gd name="T61" fmla="*/ 48 h 63"/>
                  <a:gd name="T62" fmla="*/ 21 w 29"/>
                  <a:gd name="T63" fmla="*/ 54 h 63"/>
                  <a:gd name="T64" fmla="*/ 20 w 29"/>
                  <a:gd name="T65" fmla="*/ 55 h 63"/>
                  <a:gd name="T66" fmla="*/ 18 w 29"/>
                  <a:gd name="T67" fmla="*/ 59 h 63"/>
                  <a:gd name="T68" fmla="*/ 16 w 29"/>
                  <a:gd name="T69" fmla="*/ 61 h 63"/>
                  <a:gd name="T70" fmla="*/ 14 w 29"/>
                  <a:gd name="T71" fmla="*/ 63 h 63"/>
                  <a:gd name="T72" fmla="*/ 14 w 29"/>
                  <a:gd name="T7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 h="63">
                    <a:moveTo>
                      <a:pt x="14" y="63"/>
                    </a:moveTo>
                    <a:lnTo>
                      <a:pt x="11" y="61"/>
                    </a:lnTo>
                    <a:lnTo>
                      <a:pt x="11" y="59"/>
                    </a:lnTo>
                    <a:lnTo>
                      <a:pt x="9" y="55"/>
                    </a:lnTo>
                    <a:lnTo>
                      <a:pt x="4" y="54"/>
                    </a:lnTo>
                    <a:lnTo>
                      <a:pt x="0" y="46"/>
                    </a:lnTo>
                    <a:lnTo>
                      <a:pt x="2" y="46"/>
                    </a:lnTo>
                    <a:lnTo>
                      <a:pt x="0" y="41"/>
                    </a:lnTo>
                    <a:lnTo>
                      <a:pt x="2" y="38"/>
                    </a:lnTo>
                    <a:lnTo>
                      <a:pt x="2" y="36"/>
                    </a:lnTo>
                    <a:lnTo>
                      <a:pt x="2" y="34"/>
                    </a:lnTo>
                    <a:lnTo>
                      <a:pt x="4" y="30"/>
                    </a:lnTo>
                    <a:lnTo>
                      <a:pt x="2" y="27"/>
                    </a:lnTo>
                    <a:lnTo>
                      <a:pt x="4" y="18"/>
                    </a:lnTo>
                    <a:lnTo>
                      <a:pt x="4" y="16"/>
                    </a:lnTo>
                    <a:lnTo>
                      <a:pt x="0" y="16"/>
                    </a:lnTo>
                    <a:lnTo>
                      <a:pt x="2" y="13"/>
                    </a:lnTo>
                    <a:lnTo>
                      <a:pt x="2" y="9"/>
                    </a:lnTo>
                    <a:lnTo>
                      <a:pt x="2" y="4"/>
                    </a:lnTo>
                    <a:lnTo>
                      <a:pt x="5" y="2"/>
                    </a:lnTo>
                    <a:lnTo>
                      <a:pt x="7" y="0"/>
                    </a:lnTo>
                    <a:lnTo>
                      <a:pt x="9" y="2"/>
                    </a:lnTo>
                    <a:lnTo>
                      <a:pt x="12" y="2"/>
                    </a:lnTo>
                    <a:lnTo>
                      <a:pt x="14" y="5"/>
                    </a:lnTo>
                    <a:lnTo>
                      <a:pt x="18" y="7"/>
                    </a:lnTo>
                    <a:lnTo>
                      <a:pt x="21" y="13"/>
                    </a:lnTo>
                    <a:lnTo>
                      <a:pt x="20" y="27"/>
                    </a:lnTo>
                    <a:lnTo>
                      <a:pt x="23" y="32"/>
                    </a:lnTo>
                    <a:lnTo>
                      <a:pt x="27" y="38"/>
                    </a:lnTo>
                    <a:lnTo>
                      <a:pt x="29" y="45"/>
                    </a:lnTo>
                    <a:lnTo>
                      <a:pt x="25" y="48"/>
                    </a:lnTo>
                    <a:lnTo>
                      <a:pt x="21" y="54"/>
                    </a:lnTo>
                    <a:lnTo>
                      <a:pt x="20" y="55"/>
                    </a:lnTo>
                    <a:lnTo>
                      <a:pt x="18" y="59"/>
                    </a:lnTo>
                    <a:lnTo>
                      <a:pt x="16" y="61"/>
                    </a:lnTo>
                    <a:lnTo>
                      <a:pt x="14" y="63"/>
                    </a:lnTo>
                    <a:lnTo>
                      <a:pt x="14" y="63"/>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26" name="Freeform 3081"/>
              <p:cNvSpPr>
                <a:spLocks/>
              </p:cNvSpPr>
              <p:nvPr/>
            </p:nvSpPr>
            <p:spPr bwMode="auto">
              <a:xfrm>
                <a:off x="3066" y="1625"/>
                <a:ext cx="155" cy="132"/>
              </a:xfrm>
              <a:custGeom>
                <a:avLst/>
                <a:gdLst>
                  <a:gd name="T0" fmla="*/ 1 w 155"/>
                  <a:gd name="T1" fmla="*/ 109 h 132"/>
                  <a:gd name="T2" fmla="*/ 9 w 155"/>
                  <a:gd name="T3" fmla="*/ 100 h 132"/>
                  <a:gd name="T4" fmla="*/ 10 w 155"/>
                  <a:gd name="T5" fmla="*/ 63 h 132"/>
                  <a:gd name="T6" fmla="*/ 21 w 155"/>
                  <a:gd name="T7" fmla="*/ 61 h 132"/>
                  <a:gd name="T8" fmla="*/ 28 w 155"/>
                  <a:gd name="T9" fmla="*/ 61 h 132"/>
                  <a:gd name="T10" fmla="*/ 32 w 155"/>
                  <a:gd name="T11" fmla="*/ 56 h 132"/>
                  <a:gd name="T12" fmla="*/ 37 w 155"/>
                  <a:gd name="T13" fmla="*/ 54 h 132"/>
                  <a:gd name="T14" fmla="*/ 43 w 155"/>
                  <a:gd name="T15" fmla="*/ 56 h 132"/>
                  <a:gd name="T16" fmla="*/ 41 w 155"/>
                  <a:gd name="T17" fmla="*/ 47 h 132"/>
                  <a:gd name="T18" fmla="*/ 46 w 155"/>
                  <a:gd name="T19" fmla="*/ 32 h 132"/>
                  <a:gd name="T20" fmla="*/ 55 w 155"/>
                  <a:gd name="T21" fmla="*/ 29 h 132"/>
                  <a:gd name="T22" fmla="*/ 53 w 155"/>
                  <a:gd name="T23" fmla="*/ 24 h 132"/>
                  <a:gd name="T24" fmla="*/ 57 w 155"/>
                  <a:gd name="T25" fmla="*/ 16 h 132"/>
                  <a:gd name="T26" fmla="*/ 62 w 155"/>
                  <a:gd name="T27" fmla="*/ 15 h 132"/>
                  <a:gd name="T28" fmla="*/ 69 w 155"/>
                  <a:gd name="T29" fmla="*/ 13 h 132"/>
                  <a:gd name="T30" fmla="*/ 75 w 155"/>
                  <a:gd name="T31" fmla="*/ 6 h 132"/>
                  <a:gd name="T32" fmla="*/ 84 w 155"/>
                  <a:gd name="T33" fmla="*/ 2 h 132"/>
                  <a:gd name="T34" fmla="*/ 93 w 155"/>
                  <a:gd name="T35" fmla="*/ 6 h 132"/>
                  <a:gd name="T36" fmla="*/ 103 w 155"/>
                  <a:gd name="T37" fmla="*/ 7 h 132"/>
                  <a:gd name="T38" fmla="*/ 109 w 155"/>
                  <a:gd name="T39" fmla="*/ 11 h 132"/>
                  <a:gd name="T40" fmla="*/ 119 w 155"/>
                  <a:gd name="T41" fmla="*/ 11 h 132"/>
                  <a:gd name="T42" fmla="*/ 126 w 155"/>
                  <a:gd name="T43" fmla="*/ 20 h 132"/>
                  <a:gd name="T44" fmla="*/ 126 w 155"/>
                  <a:gd name="T45" fmla="*/ 25 h 132"/>
                  <a:gd name="T46" fmla="*/ 125 w 155"/>
                  <a:gd name="T47" fmla="*/ 34 h 132"/>
                  <a:gd name="T48" fmla="*/ 128 w 155"/>
                  <a:gd name="T49" fmla="*/ 41 h 132"/>
                  <a:gd name="T50" fmla="*/ 139 w 155"/>
                  <a:gd name="T51" fmla="*/ 59 h 132"/>
                  <a:gd name="T52" fmla="*/ 141 w 155"/>
                  <a:gd name="T53" fmla="*/ 66 h 132"/>
                  <a:gd name="T54" fmla="*/ 151 w 155"/>
                  <a:gd name="T55" fmla="*/ 68 h 132"/>
                  <a:gd name="T56" fmla="*/ 155 w 155"/>
                  <a:gd name="T57" fmla="*/ 72 h 132"/>
                  <a:gd name="T58" fmla="*/ 143 w 155"/>
                  <a:gd name="T59" fmla="*/ 82 h 132"/>
                  <a:gd name="T60" fmla="*/ 134 w 155"/>
                  <a:gd name="T61" fmla="*/ 81 h 132"/>
                  <a:gd name="T62" fmla="*/ 132 w 155"/>
                  <a:gd name="T63" fmla="*/ 86 h 132"/>
                  <a:gd name="T64" fmla="*/ 135 w 155"/>
                  <a:gd name="T65" fmla="*/ 93 h 132"/>
                  <a:gd name="T66" fmla="*/ 137 w 155"/>
                  <a:gd name="T67" fmla="*/ 99 h 132"/>
                  <a:gd name="T68" fmla="*/ 141 w 155"/>
                  <a:gd name="T69" fmla="*/ 109 h 132"/>
                  <a:gd name="T70" fmla="*/ 130 w 155"/>
                  <a:gd name="T71" fmla="*/ 111 h 132"/>
                  <a:gd name="T72" fmla="*/ 121 w 155"/>
                  <a:gd name="T73" fmla="*/ 120 h 132"/>
                  <a:gd name="T74" fmla="*/ 121 w 155"/>
                  <a:gd name="T75" fmla="*/ 131 h 132"/>
                  <a:gd name="T76" fmla="*/ 116 w 155"/>
                  <a:gd name="T77" fmla="*/ 131 h 132"/>
                  <a:gd name="T78" fmla="*/ 101 w 155"/>
                  <a:gd name="T79" fmla="*/ 132 h 132"/>
                  <a:gd name="T80" fmla="*/ 96 w 155"/>
                  <a:gd name="T81" fmla="*/ 125 h 132"/>
                  <a:gd name="T82" fmla="*/ 87 w 155"/>
                  <a:gd name="T83" fmla="*/ 127 h 132"/>
                  <a:gd name="T84" fmla="*/ 80 w 155"/>
                  <a:gd name="T85" fmla="*/ 125 h 132"/>
                  <a:gd name="T86" fmla="*/ 75 w 155"/>
                  <a:gd name="T87" fmla="*/ 129 h 132"/>
                  <a:gd name="T88" fmla="*/ 69 w 155"/>
                  <a:gd name="T89" fmla="*/ 125 h 132"/>
                  <a:gd name="T90" fmla="*/ 62 w 155"/>
                  <a:gd name="T91" fmla="*/ 122 h 132"/>
                  <a:gd name="T92" fmla="*/ 48 w 155"/>
                  <a:gd name="T93" fmla="*/ 118 h 132"/>
                  <a:gd name="T94" fmla="*/ 34 w 155"/>
                  <a:gd name="T95" fmla="*/ 115 h 132"/>
                  <a:gd name="T96" fmla="*/ 16 w 155"/>
                  <a:gd name="T97" fmla="*/ 122 h 132"/>
                  <a:gd name="T98" fmla="*/ 7 w 155"/>
                  <a:gd name="T99" fmla="*/ 12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5" h="132">
                    <a:moveTo>
                      <a:pt x="5" y="125"/>
                    </a:moveTo>
                    <a:lnTo>
                      <a:pt x="7" y="113"/>
                    </a:lnTo>
                    <a:lnTo>
                      <a:pt x="1" y="109"/>
                    </a:lnTo>
                    <a:lnTo>
                      <a:pt x="0" y="106"/>
                    </a:lnTo>
                    <a:lnTo>
                      <a:pt x="3" y="102"/>
                    </a:lnTo>
                    <a:lnTo>
                      <a:pt x="9" y="100"/>
                    </a:lnTo>
                    <a:lnTo>
                      <a:pt x="10" y="95"/>
                    </a:lnTo>
                    <a:lnTo>
                      <a:pt x="5" y="63"/>
                    </a:lnTo>
                    <a:lnTo>
                      <a:pt x="10" y="63"/>
                    </a:lnTo>
                    <a:lnTo>
                      <a:pt x="14" y="63"/>
                    </a:lnTo>
                    <a:lnTo>
                      <a:pt x="19" y="63"/>
                    </a:lnTo>
                    <a:lnTo>
                      <a:pt x="21" y="61"/>
                    </a:lnTo>
                    <a:lnTo>
                      <a:pt x="23" y="61"/>
                    </a:lnTo>
                    <a:lnTo>
                      <a:pt x="25" y="61"/>
                    </a:lnTo>
                    <a:lnTo>
                      <a:pt x="28" y="61"/>
                    </a:lnTo>
                    <a:lnTo>
                      <a:pt x="26" y="57"/>
                    </a:lnTo>
                    <a:lnTo>
                      <a:pt x="28" y="56"/>
                    </a:lnTo>
                    <a:lnTo>
                      <a:pt x="32" y="56"/>
                    </a:lnTo>
                    <a:lnTo>
                      <a:pt x="32" y="54"/>
                    </a:lnTo>
                    <a:lnTo>
                      <a:pt x="35" y="52"/>
                    </a:lnTo>
                    <a:lnTo>
                      <a:pt x="37" y="54"/>
                    </a:lnTo>
                    <a:lnTo>
                      <a:pt x="39" y="56"/>
                    </a:lnTo>
                    <a:lnTo>
                      <a:pt x="41" y="57"/>
                    </a:lnTo>
                    <a:lnTo>
                      <a:pt x="43" y="56"/>
                    </a:lnTo>
                    <a:lnTo>
                      <a:pt x="43" y="54"/>
                    </a:lnTo>
                    <a:lnTo>
                      <a:pt x="39" y="50"/>
                    </a:lnTo>
                    <a:lnTo>
                      <a:pt x="41" y="47"/>
                    </a:lnTo>
                    <a:lnTo>
                      <a:pt x="43" y="43"/>
                    </a:lnTo>
                    <a:lnTo>
                      <a:pt x="44" y="34"/>
                    </a:lnTo>
                    <a:lnTo>
                      <a:pt x="46" y="32"/>
                    </a:lnTo>
                    <a:lnTo>
                      <a:pt x="48" y="32"/>
                    </a:lnTo>
                    <a:lnTo>
                      <a:pt x="51" y="29"/>
                    </a:lnTo>
                    <a:lnTo>
                      <a:pt x="55" y="29"/>
                    </a:lnTo>
                    <a:lnTo>
                      <a:pt x="59" y="24"/>
                    </a:lnTo>
                    <a:lnTo>
                      <a:pt x="57" y="24"/>
                    </a:lnTo>
                    <a:lnTo>
                      <a:pt x="53" y="24"/>
                    </a:lnTo>
                    <a:lnTo>
                      <a:pt x="53" y="18"/>
                    </a:lnTo>
                    <a:lnTo>
                      <a:pt x="57" y="16"/>
                    </a:lnTo>
                    <a:lnTo>
                      <a:pt x="57" y="16"/>
                    </a:lnTo>
                    <a:lnTo>
                      <a:pt x="57" y="15"/>
                    </a:lnTo>
                    <a:lnTo>
                      <a:pt x="60" y="15"/>
                    </a:lnTo>
                    <a:lnTo>
                      <a:pt x="62" y="15"/>
                    </a:lnTo>
                    <a:lnTo>
                      <a:pt x="62" y="11"/>
                    </a:lnTo>
                    <a:lnTo>
                      <a:pt x="64" y="11"/>
                    </a:lnTo>
                    <a:lnTo>
                      <a:pt x="69" y="13"/>
                    </a:lnTo>
                    <a:lnTo>
                      <a:pt x="71" y="11"/>
                    </a:lnTo>
                    <a:lnTo>
                      <a:pt x="75" y="7"/>
                    </a:lnTo>
                    <a:lnTo>
                      <a:pt x="75" y="6"/>
                    </a:lnTo>
                    <a:lnTo>
                      <a:pt x="80" y="0"/>
                    </a:lnTo>
                    <a:lnTo>
                      <a:pt x="84" y="0"/>
                    </a:lnTo>
                    <a:lnTo>
                      <a:pt x="84" y="2"/>
                    </a:lnTo>
                    <a:lnTo>
                      <a:pt x="89" y="2"/>
                    </a:lnTo>
                    <a:lnTo>
                      <a:pt x="91" y="2"/>
                    </a:lnTo>
                    <a:lnTo>
                      <a:pt x="93" y="6"/>
                    </a:lnTo>
                    <a:lnTo>
                      <a:pt x="96" y="4"/>
                    </a:lnTo>
                    <a:lnTo>
                      <a:pt x="100" y="6"/>
                    </a:lnTo>
                    <a:lnTo>
                      <a:pt x="103" y="7"/>
                    </a:lnTo>
                    <a:lnTo>
                      <a:pt x="101" y="13"/>
                    </a:lnTo>
                    <a:lnTo>
                      <a:pt x="107" y="11"/>
                    </a:lnTo>
                    <a:lnTo>
                      <a:pt x="109" y="11"/>
                    </a:lnTo>
                    <a:lnTo>
                      <a:pt x="110" y="9"/>
                    </a:lnTo>
                    <a:lnTo>
                      <a:pt x="118" y="9"/>
                    </a:lnTo>
                    <a:lnTo>
                      <a:pt x="119" y="11"/>
                    </a:lnTo>
                    <a:lnTo>
                      <a:pt x="123" y="16"/>
                    </a:lnTo>
                    <a:lnTo>
                      <a:pt x="126" y="16"/>
                    </a:lnTo>
                    <a:lnTo>
                      <a:pt x="126" y="20"/>
                    </a:lnTo>
                    <a:lnTo>
                      <a:pt x="125" y="22"/>
                    </a:lnTo>
                    <a:lnTo>
                      <a:pt x="125" y="24"/>
                    </a:lnTo>
                    <a:lnTo>
                      <a:pt x="126" y="25"/>
                    </a:lnTo>
                    <a:lnTo>
                      <a:pt x="128" y="29"/>
                    </a:lnTo>
                    <a:lnTo>
                      <a:pt x="126" y="32"/>
                    </a:lnTo>
                    <a:lnTo>
                      <a:pt x="125" y="34"/>
                    </a:lnTo>
                    <a:lnTo>
                      <a:pt x="125" y="36"/>
                    </a:lnTo>
                    <a:lnTo>
                      <a:pt x="125" y="40"/>
                    </a:lnTo>
                    <a:lnTo>
                      <a:pt x="128" y="41"/>
                    </a:lnTo>
                    <a:lnTo>
                      <a:pt x="134" y="56"/>
                    </a:lnTo>
                    <a:lnTo>
                      <a:pt x="139" y="57"/>
                    </a:lnTo>
                    <a:lnTo>
                      <a:pt x="139" y="59"/>
                    </a:lnTo>
                    <a:lnTo>
                      <a:pt x="141" y="61"/>
                    </a:lnTo>
                    <a:lnTo>
                      <a:pt x="139" y="65"/>
                    </a:lnTo>
                    <a:lnTo>
                      <a:pt x="141" y="66"/>
                    </a:lnTo>
                    <a:lnTo>
                      <a:pt x="148" y="65"/>
                    </a:lnTo>
                    <a:lnTo>
                      <a:pt x="150" y="66"/>
                    </a:lnTo>
                    <a:lnTo>
                      <a:pt x="151" y="68"/>
                    </a:lnTo>
                    <a:lnTo>
                      <a:pt x="151" y="70"/>
                    </a:lnTo>
                    <a:lnTo>
                      <a:pt x="151" y="72"/>
                    </a:lnTo>
                    <a:lnTo>
                      <a:pt x="155" y="72"/>
                    </a:lnTo>
                    <a:lnTo>
                      <a:pt x="155" y="75"/>
                    </a:lnTo>
                    <a:lnTo>
                      <a:pt x="146" y="84"/>
                    </a:lnTo>
                    <a:lnTo>
                      <a:pt x="143" y="82"/>
                    </a:lnTo>
                    <a:lnTo>
                      <a:pt x="139" y="81"/>
                    </a:lnTo>
                    <a:lnTo>
                      <a:pt x="135" y="79"/>
                    </a:lnTo>
                    <a:lnTo>
                      <a:pt x="134" y="81"/>
                    </a:lnTo>
                    <a:lnTo>
                      <a:pt x="134" y="82"/>
                    </a:lnTo>
                    <a:lnTo>
                      <a:pt x="132" y="84"/>
                    </a:lnTo>
                    <a:lnTo>
                      <a:pt x="132" y="86"/>
                    </a:lnTo>
                    <a:lnTo>
                      <a:pt x="135" y="90"/>
                    </a:lnTo>
                    <a:lnTo>
                      <a:pt x="135" y="91"/>
                    </a:lnTo>
                    <a:lnTo>
                      <a:pt x="135" y="93"/>
                    </a:lnTo>
                    <a:lnTo>
                      <a:pt x="135" y="95"/>
                    </a:lnTo>
                    <a:lnTo>
                      <a:pt x="135" y="99"/>
                    </a:lnTo>
                    <a:lnTo>
                      <a:pt x="137" y="99"/>
                    </a:lnTo>
                    <a:lnTo>
                      <a:pt x="139" y="100"/>
                    </a:lnTo>
                    <a:lnTo>
                      <a:pt x="139" y="104"/>
                    </a:lnTo>
                    <a:lnTo>
                      <a:pt x="141" y="109"/>
                    </a:lnTo>
                    <a:lnTo>
                      <a:pt x="134" y="109"/>
                    </a:lnTo>
                    <a:lnTo>
                      <a:pt x="132" y="111"/>
                    </a:lnTo>
                    <a:lnTo>
                      <a:pt x="130" y="111"/>
                    </a:lnTo>
                    <a:lnTo>
                      <a:pt x="126" y="113"/>
                    </a:lnTo>
                    <a:lnTo>
                      <a:pt x="121" y="118"/>
                    </a:lnTo>
                    <a:lnTo>
                      <a:pt x="121" y="120"/>
                    </a:lnTo>
                    <a:lnTo>
                      <a:pt x="121" y="122"/>
                    </a:lnTo>
                    <a:lnTo>
                      <a:pt x="121" y="125"/>
                    </a:lnTo>
                    <a:lnTo>
                      <a:pt x="121" y="131"/>
                    </a:lnTo>
                    <a:lnTo>
                      <a:pt x="119" y="132"/>
                    </a:lnTo>
                    <a:lnTo>
                      <a:pt x="118" y="132"/>
                    </a:lnTo>
                    <a:lnTo>
                      <a:pt x="116" y="131"/>
                    </a:lnTo>
                    <a:lnTo>
                      <a:pt x="114" y="129"/>
                    </a:lnTo>
                    <a:lnTo>
                      <a:pt x="103" y="131"/>
                    </a:lnTo>
                    <a:lnTo>
                      <a:pt x="101" y="132"/>
                    </a:lnTo>
                    <a:lnTo>
                      <a:pt x="100" y="131"/>
                    </a:lnTo>
                    <a:lnTo>
                      <a:pt x="100" y="127"/>
                    </a:lnTo>
                    <a:lnTo>
                      <a:pt x="96" y="125"/>
                    </a:lnTo>
                    <a:lnTo>
                      <a:pt x="91" y="131"/>
                    </a:lnTo>
                    <a:lnTo>
                      <a:pt x="89" y="129"/>
                    </a:lnTo>
                    <a:lnTo>
                      <a:pt x="87" y="127"/>
                    </a:lnTo>
                    <a:lnTo>
                      <a:pt x="85" y="127"/>
                    </a:lnTo>
                    <a:lnTo>
                      <a:pt x="82" y="127"/>
                    </a:lnTo>
                    <a:lnTo>
                      <a:pt x="80" y="125"/>
                    </a:lnTo>
                    <a:lnTo>
                      <a:pt x="78" y="127"/>
                    </a:lnTo>
                    <a:lnTo>
                      <a:pt x="76" y="127"/>
                    </a:lnTo>
                    <a:lnTo>
                      <a:pt x="75" y="129"/>
                    </a:lnTo>
                    <a:lnTo>
                      <a:pt x="73" y="129"/>
                    </a:lnTo>
                    <a:lnTo>
                      <a:pt x="71" y="129"/>
                    </a:lnTo>
                    <a:lnTo>
                      <a:pt x="69" y="125"/>
                    </a:lnTo>
                    <a:lnTo>
                      <a:pt x="66" y="125"/>
                    </a:lnTo>
                    <a:lnTo>
                      <a:pt x="64" y="124"/>
                    </a:lnTo>
                    <a:lnTo>
                      <a:pt x="62" y="122"/>
                    </a:lnTo>
                    <a:lnTo>
                      <a:pt x="57" y="120"/>
                    </a:lnTo>
                    <a:lnTo>
                      <a:pt x="53" y="120"/>
                    </a:lnTo>
                    <a:lnTo>
                      <a:pt x="48" y="118"/>
                    </a:lnTo>
                    <a:lnTo>
                      <a:pt x="43" y="115"/>
                    </a:lnTo>
                    <a:lnTo>
                      <a:pt x="35" y="116"/>
                    </a:lnTo>
                    <a:lnTo>
                      <a:pt x="34" y="115"/>
                    </a:lnTo>
                    <a:lnTo>
                      <a:pt x="19" y="118"/>
                    </a:lnTo>
                    <a:lnTo>
                      <a:pt x="18" y="120"/>
                    </a:lnTo>
                    <a:lnTo>
                      <a:pt x="16" y="122"/>
                    </a:lnTo>
                    <a:lnTo>
                      <a:pt x="12" y="124"/>
                    </a:lnTo>
                    <a:lnTo>
                      <a:pt x="10" y="124"/>
                    </a:lnTo>
                    <a:lnTo>
                      <a:pt x="7" y="124"/>
                    </a:lnTo>
                    <a:lnTo>
                      <a:pt x="5" y="12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27" name="Freeform 3082"/>
              <p:cNvSpPr>
                <a:spLocks/>
              </p:cNvSpPr>
              <p:nvPr/>
            </p:nvSpPr>
            <p:spPr bwMode="auto">
              <a:xfrm>
                <a:off x="3066" y="1625"/>
                <a:ext cx="155" cy="132"/>
              </a:xfrm>
              <a:custGeom>
                <a:avLst/>
                <a:gdLst>
                  <a:gd name="T0" fmla="*/ 1 w 155"/>
                  <a:gd name="T1" fmla="*/ 109 h 132"/>
                  <a:gd name="T2" fmla="*/ 9 w 155"/>
                  <a:gd name="T3" fmla="*/ 100 h 132"/>
                  <a:gd name="T4" fmla="*/ 10 w 155"/>
                  <a:gd name="T5" fmla="*/ 63 h 132"/>
                  <a:gd name="T6" fmla="*/ 21 w 155"/>
                  <a:gd name="T7" fmla="*/ 61 h 132"/>
                  <a:gd name="T8" fmla="*/ 28 w 155"/>
                  <a:gd name="T9" fmla="*/ 61 h 132"/>
                  <a:gd name="T10" fmla="*/ 32 w 155"/>
                  <a:gd name="T11" fmla="*/ 56 h 132"/>
                  <a:gd name="T12" fmla="*/ 37 w 155"/>
                  <a:gd name="T13" fmla="*/ 54 h 132"/>
                  <a:gd name="T14" fmla="*/ 43 w 155"/>
                  <a:gd name="T15" fmla="*/ 56 h 132"/>
                  <a:gd name="T16" fmla="*/ 41 w 155"/>
                  <a:gd name="T17" fmla="*/ 47 h 132"/>
                  <a:gd name="T18" fmla="*/ 46 w 155"/>
                  <a:gd name="T19" fmla="*/ 32 h 132"/>
                  <a:gd name="T20" fmla="*/ 55 w 155"/>
                  <a:gd name="T21" fmla="*/ 29 h 132"/>
                  <a:gd name="T22" fmla="*/ 53 w 155"/>
                  <a:gd name="T23" fmla="*/ 24 h 132"/>
                  <a:gd name="T24" fmla="*/ 57 w 155"/>
                  <a:gd name="T25" fmla="*/ 16 h 132"/>
                  <a:gd name="T26" fmla="*/ 62 w 155"/>
                  <a:gd name="T27" fmla="*/ 15 h 132"/>
                  <a:gd name="T28" fmla="*/ 69 w 155"/>
                  <a:gd name="T29" fmla="*/ 13 h 132"/>
                  <a:gd name="T30" fmla="*/ 75 w 155"/>
                  <a:gd name="T31" fmla="*/ 6 h 132"/>
                  <a:gd name="T32" fmla="*/ 84 w 155"/>
                  <a:gd name="T33" fmla="*/ 2 h 132"/>
                  <a:gd name="T34" fmla="*/ 93 w 155"/>
                  <a:gd name="T35" fmla="*/ 6 h 132"/>
                  <a:gd name="T36" fmla="*/ 103 w 155"/>
                  <a:gd name="T37" fmla="*/ 7 h 132"/>
                  <a:gd name="T38" fmla="*/ 109 w 155"/>
                  <a:gd name="T39" fmla="*/ 11 h 132"/>
                  <a:gd name="T40" fmla="*/ 119 w 155"/>
                  <a:gd name="T41" fmla="*/ 11 h 132"/>
                  <a:gd name="T42" fmla="*/ 126 w 155"/>
                  <a:gd name="T43" fmla="*/ 20 h 132"/>
                  <a:gd name="T44" fmla="*/ 126 w 155"/>
                  <a:gd name="T45" fmla="*/ 25 h 132"/>
                  <a:gd name="T46" fmla="*/ 125 w 155"/>
                  <a:gd name="T47" fmla="*/ 34 h 132"/>
                  <a:gd name="T48" fmla="*/ 128 w 155"/>
                  <a:gd name="T49" fmla="*/ 41 h 132"/>
                  <a:gd name="T50" fmla="*/ 139 w 155"/>
                  <a:gd name="T51" fmla="*/ 59 h 132"/>
                  <a:gd name="T52" fmla="*/ 141 w 155"/>
                  <a:gd name="T53" fmla="*/ 66 h 132"/>
                  <a:gd name="T54" fmla="*/ 151 w 155"/>
                  <a:gd name="T55" fmla="*/ 68 h 132"/>
                  <a:gd name="T56" fmla="*/ 155 w 155"/>
                  <a:gd name="T57" fmla="*/ 72 h 132"/>
                  <a:gd name="T58" fmla="*/ 143 w 155"/>
                  <a:gd name="T59" fmla="*/ 82 h 132"/>
                  <a:gd name="T60" fmla="*/ 134 w 155"/>
                  <a:gd name="T61" fmla="*/ 81 h 132"/>
                  <a:gd name="T62" fmla="*/ 132 w 155"/>
                  <a:gd name="T63" fmla="*/ 86 h 132"/>
                  <a:gd name="T64" fmla="*/ 135 w 155"/>
                  <a:gd name="T65" fmla="*/ 93 h 132"/>
                  <a:gd name="T66" fmla="*/ 137 w 155"/>
                  <a:gd name="T67" fmla="*/ 99 h 132"/>
                  <a:gd name="T68" fmla="*/ 141 w 155"/>
                  <a:gd name="T69" fmla="*/ 109 h 132"/>
                  <a:gd name="T70" fmla="*/ 130 w 155"/>
                  <a:gd name="T71" fmla="*/ 111 h 132"/>
                  <a:gd name="T72" fmla="*/ 121 w 155"/>
                  <a:gd name="T73" fmla="*/ 120 h 132"/>
                  <a:gd name="T74" fmla="*/ 121 w 155"/>
                  <a:gd name="T75" fmla="*/ 131 h 132"/>
                  <a:gd name="T76" fmla="*/ 116 w 155"/>
                  <a:gd name="T77" fmla="*/ 131 h 132"/>
                  <a:gd name="T78" fmla="*/ 101 w 155"/>
                  <a:gd name="T79" fmla="*/ 132 h 132"/>
                  <a:gd name="T80" fmla="*/ 96 w 155"/>
                  <a:gd name="T81" fmla="*/ 125 h 132"/>
                  <a:gd name="T82" fmla="*/ 87 w 155"/>
                  <a:gd name="T83" fmla="*/ 127 h 132"/>
                  <a:gd name="T84" fmla="*/ 80 w 155"/>
                  <a:gd name="T85" fmla="*/ 125 h 132"/>
                  <a:gd name="T86" fmla="*/ 75 w 155"/>
                  <a:gd name="T87" fmla="*/ 129 h 132"/>
                  <a:gd name="T88" fmla="*/ 69 w 155"/>
                  <a:gd name="T89" fmla="*/ 125 h 132"/>
                  <a:gd name="T90" fmla="*/ 62 w 155"/>
                  <a:gd name="T91" fmla="*/ 122 h 132"/>
                  <a:gd name="T92" fmla="*/ 48 w 155"/>
                  <a:gd name="T93" fmla="*/ 118 h 132"/>
                  <a:gd name="T94" fmla="*/ 34 w 155"/>
                  <a:gd name="T95" fmla="*/ 115 h 132"/>
                  <a:gd name="T96" fmla="*/ 16 w 155"/>
                  <a:gd name="T97" fmla="*/ 122 h 132"/>
                  <a:gd name="T98" fmla="*/ 7 w 155"/>
                  <a:gd name="T99" fmla="*/ 12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5" h="132">
                    <a:moveTo>
                      <a:pt x="5" y="125"/>
                    </a:moveTo>
                    <a:lnTo>
                      <a:pt x="7" y="113"/>
                    </a:lnTo>
                    <a:lnTo>
                      <a:pt x="1" y="109"/>
                    </a:lnTo>
                    <a:lnTo>
                      <a:pt x="0" y="106"/>
                    </a:lnTo>
                    <a:lnTo>
                      <a:pt x="3" y="102"/>
                    </a:lnTo>
                    <a:lnTo>
                      <a:pt x="9" y="100"/>
                    </a:lnTo>
                    <a:lnTo>
                      <a:pt x="10" y="95"/>
                    </a:lnTo>
                    <a:lnTo>
                      <a:pt x="5" y="63"/>
                    </a:lnTo>
                    <a:lnTo>
                      <a:pt x="10" y="63"/>
                    </a:lnTo>
                    <a:lnTo>
                      <a:pt x="14" y="63"/>
                    </a:lnTo>
                    <a:lnTo>
                      <a:pt x="19" y="63"/>
                    </a:lnTo>
                    <a:lnTo>
                      <a:pt x="21" y="61"/>
                    </a:lnTo>
                    <a:lnTo>
                      <a:pt x="23" y="61"/>
                    </a:lnTo>
                    <a:lnTo>
                      <a:pt x="25" y="61"/>
                    </a:lnTo>
                    <a:lnTo>
                      <a:pt x="28" y="61"/>
                    </a:lnTo>
                    <a:lnTo>
                      <a:pt x="26" y="57"/>
                    </a:lnTo>
                    <a:lnTo>
                      <a:pt x="28" y="56"/>
                    </a:lnTo>
                    <a:lnTo>
                      <a:pt x="32" y="56"/>
                    </a:lnTo>
                    <a:lnTo>
                      <a:pt x="32" y="54"/>
                    </a:lnTo>
                    <a:lnTo>
                      <a:pt x="35" y="52"/>
                    </a:lnTo>
                    <a:lnTo>
                      <a:pt x="37" y="54"/>
                    </a:lnTo>
                    <a:lnTo>
                      <a:pt x="39" y="56"/>
                    </a:lnTo>
                    <a:lnTo>
                      <a:pt x="41" y="57"/>
                    </a:lnTo>
                    <a:lnTo>
                      <a:pt x="43" y="56"/>
                    </a:lnTo>
                    <a:lnTo>
                      <a:pt x="43" y="54"/>
                    </a:lnTo>
                    <a:lnTo>
                      <a:pt x="39" y="50"/>
                    </a:lnTo>
                    <a:lnTo>
                      <a:pt x="41" y="47"/>
                    </a:lnTo>
                    <a:lnTo>
                      <a:pt x="43" y="43"/>
                    </a:lnTo>
                    <a:lnTo>
                      <a:pt x="44" y="34"/>
                    </a:lnTo>
                    <a:lnTo>
                      <a:pt x="46" y="32"/>
                    </a:lnTo>
                    <a:lnTo>
                      <a:pt x="48" y="32"/>
                    </a:lnTo>
                    <a:lnTo>
                      <a:pt x="51" y="29"/>
                    </a:lnTo>
                    <a:lnTo>
                      <a:pt x="55" y="29"/>
                    </a:lnTo>
                    <a:lnTo>
                      <a:pt x="59" y="24"/>
                    </a:lnTo>
                    <a:lnTo>
                      <a:pt x="57" y="24"/>
                    </a:lnTo>
                    <a:lnTo>
                      <a:pt x="53" y="24"/>
                    </a:lnTo>
                    <a:lnTo>
                      <a:pt x="53" y="18"/>
                    </a:lnTo>
                    <a:lnTo>
                      <a:pt x="57" y="16"/>
                    </a:lnTo>
                    <a:lnTo>
                      <a:pt x="57" y="16"/>
                    </a:lnTo>
                    <a:lnTo>
                      <a:pt x="57" y="15"/>
                    </a:lnTo>
                    <a:lnTo>
                      <a:pt x="60" y="15"/>
                    </a:lnTo>
                    <a:lnTo>
                      <a:pt x="62" y="15"/>
                    </a:lnTo>
                    <a:lnTo>
                      <a:pt x="62" y="11"/>
                    </a:lnTo>
                    <a:lnTo>
                      <a:pt x="64" y="11"/>
                    </a:lnTo>
                    <a:lnTo>
                      <a:pt x="69" y="13"/>
                    </a:lnTo>
                    <a:lnTo>
                      <a:pt x="71" y="11"/>
                    </a:lnTo>
                    <a:lnTo>
                      <a:pt x="75" y="7"/>
                    </a:lnTo>
                    <a:lnTo>
                      <a:pt x="75" y="6"/>
                    </a:lnTo>
                    <a:lnTo>
                      <a:pt x="80" y="0"/>
                    </a:lnTo>
                    <a:lnTo>
                      <a:pt x="84" y="0"/>
                    </a:lnTo>
                    <a:lnTo>
                      <a:pt x="84" y="2"/>
                    </a:lnTo>
                    <a:lnTo>
                      <a:pt x="89" y="2"/>
                    </a:lnTo>
                    <a:lnTo>
                      <a:pt x="91" y="2"/>
                    </a:lnTo>
                    <a:lnTo>
                      <a:pt x="93" y="6"/>
                    </a:lnTo>
                    <a:lnTo>
                      <a:pt x="96" y="4"/>
                    </a:lnTo>
                    <a:lnTo>
                      <a:pt x="100" y="6"/>
                    </a:lnTo>
                    <a:lnTo>
                      <a:pt x="103" y="7"/>
                    </a:lnTo>
                    <a:lnTo>
                      <a:pt x="101" y="13"/>
                    </a:lnTo>
                    <a:lnTo>
                      <a:pt x="107" y="11"/>
                    </a:lnTo>
                    <a:lnTo>
                      <a:pt x="109" y="11"/>
                    </a:lnTo>
                    <a:lnTo>
                      <a:pt x="110" y="9"/>
                    </a:lnTo>
                    <a:lnTo>
                      <a:pt x="118" y="9"/>
                    </a:lnTo>
                    <a:lnTo>
                      <a:pt x="119" y="11"/>
                    </a:lnTo>
                    <a:lnTo>
                      <a:pt x="123" y="16"/>
                    </a:lnTo>
                    <a:lnTo>
                      <a:pt x="126" y="16"/>
                    </a:lnTo>
                    <a:lnTo>
                      <a:pt x="126" y="20"/>
                    </a:lnTo>
                    <a:lnTo>
                      <a:pt x="125" y="22"/>
                    </a:lnTo>
                    <a:lnTo>
                      <a:pt x="125" y="24"/>
                    </a:lnTo>
                    <a:lnTo>
                      <a:pt x="126" y="25"/>
                    </a:lnTo>
                    <a:lnTo>
                      <a:pt x="128" y="29"/>
                    </a:lnTo>
                    <a:lnTo>
                      <a:pt x="126" y="32"/>
                    </a:lnTo>
                    <a:lnTo>
                      <a:pt x="125" y="34"/>
                    </a:lnTo>
                    <a:lnTo>
                      <a:pt x="125" y="36"/>
                    </a:lnTo>
                    <a:lnTo>
                      <a:pt x="125" y="40"/>
                    </a:lnTo>
                    <a:lnTo>
                      <a:pt x="128" y="41"/>
                    </a:lnTo>
                    <a:lnTo>
                      <a:pt x="134" y="56"/>
                    </a:lnTo>
                    <a:lnTo>
                      <a:pt x="139" y="57"/>
                    </a:lnTo>
                    <a:lnTo>
                      <a:pt x="139" y="59"/>
                    </a:lnTo>
                    <a:lnTo>
                      <a:pt x="141" y="61"/>
                    </a:lnTo>
                    <a:lnTo>
                      <a:pt x="139" y="65"/>
                    </a:lnTo>
                    <a:lnTo>
                      <a:pt x="141" y="66"/>
                    </a:lnTo>
                    <a:lnTo>
                      <a:pt x="148" y="65"/>
                    </a:lnTo>
                    <a:lnTo>
                      <a:pt x="150" y="66"/>
                    </a:lnTo>
                    <a:lnTo>
                      <a:pt x="151" y="68"/>
                    </a:lnTo>
                    <a:lnTo>
                      <a:pt x="151" y="70"/>
                    </a:lnTo>
                    <a:lnTo>
                      <a:pt x="151" y="72"/>
                    </a:lnTo>
                    <a:lnTo>
                      <a:pt x="155" y="72"/>
                    </a:lnTo>
                    <a:lnTo>
                      <a:pt x="155" y="75"/>
                    </a:lnTo>
                    <a:lnTo>
                      <a:pt x="146" y="84"/>
                    </a:lnTo>
                    <a:lnTo>
                      <a:pt x="143" y="82"/>
                    </a:lnTo>
                    <a:lnTo>
                      <a:pt x="139" y="81"/>
                    </a:lnTo>
                    <a:lnTo>
                      <a:pt x="135" y="79"/>
                    </a:lnTo>
                    <a:lnTo>
                      <a:pt x="134" y="81"/>
                    </a:lnTo>
                    <a:lnTo>
                      <a:pt x="134" y="82"/>
                    </a:lnTo>
                    <a:lnTo>
                      <a:pt x="132" y="84"/>
                    </a:lnTo>
                    <a:lnTo>
                      <a:pt x="132" y="86"/>
                    </a:lnTo>
                    <a:lnTo>
                      <a:pt x="135" y="90"/>
                    </a:lnTo>
                    <a:lnTo>
                      <a:pt x="135" y="91"/>
                    </a:lnTo>
                    <a:lnTo>
                      <a:pt x="135" y="93"/>
                    </a:lnTo>
                    <a:lnTo>
                      <a:pt x="135" y="95"/>
                    </a:lnTo>
                    <a:lnTo>
                      <a:pt x="135" y="99"/>
                    </a:lnTo>
                    <a:lnTo>
                      <a:pt x="137" y="99"/>
                    </a:lnTo>
                    <a:lnTo>
                      <a:pt x="139" y="100"/>
                    </a:lnTo>
                    <a:lnTo>
                      <a:pt x="139" y="104"/>
                    </a:lnTo>
                    <a:lnTo>
                      <a:pt x="141" y="109"/>
                    </a:lnTo>
                    <a:lnTo>
                      <a:pt x="134" y="109"/>
                    </a:lnTo>
                    <a:lnTo>
                      <a:pt x="132" y="111"/>
                    </a:lnTo>
                    <a:lnTo>
                      <a:pt x="130" y="111"/>
                    </a:lnTo>
                    <a:lnTo>
                      <a:pt x="126" y="113"/>
                    </a:lnTo>
                    <a:lnTo>
                      <a:pt x="121" y="118"/>
                    </a:lnTo>
                    <a:lnTo>
                      <a:pt x="121" y="120"/>
                    </a:lnTo>
                    <a:lnTo>
                      <a:pt x="121" y="122"/>
                    </a:lnTo>
                    <a:lnTo>
                      <a:pt x="121" y="125"/>
                    </a:lnTo>
                    <a:lnTo>
                      <a:pt x="121" y="131"/>
                    </a:lnTo>
                    <a:lnTo>
                      <a:pt x="119" y="132"/>
                    </a:lnTo>
                    <a:lnTo>
                      <a:pt x="118" y="132"/>
                    </a:lnTo>
                    <a:lnTo>
                      <a:pt x="116" y="131"/>
                    </a:lnTo>
                    <a:lnTo>
                      <a:pt x="114" y="129"/>
                    </a:lnTo>
                    <a:lnTo>
                      <a:pt x="103" y="131"/>
                    </a:lnTo>
                    <a:lnTo>
                      <a:pt x="101" y="132"/>
                    </a:lnTo>
                    <a:lnTo>
                      <a:pt x="100" y="131"/>
                    </a:lnTo>
                    <a:lnTo>
                      <a:pt x="100" y="127"/>
                    </a:lnTo>
                    <a:lnTo>
                      <a:pt x="96" y="125"/>
                    </a:lnTo>
                    <a:lnTo>
                      <a:pt x="91" y="131"/>
                    </a:lnTo>
                    <a:lnTo>
                      <a:pt x="89" y="129"/>
                    </a:lnTo>
                    <a:lnTo>
                      <a:pt x="87" y="127"/>
                    </a:lnTo>
                    <a:lnTo>
                      <a:pt x="85" y="127"/>
                    </a:lnTo>
                    <a:lnTo>
                      <a:pt x="82" y="127"/>
                    </a:lnTo>
                    <a:lnTo>
                      <a:pt x="80" y="125"/>
                    </a:lnTo>
                    <a:lnTo>
                      <a:pt x="78" y="127"/>
                    </a:lnTo>
                    <a:lnTo>
                      <a:pt x="76" y="127"/>
                    </a:lnTo>
                    <a:lnTo>
                      <a:pt x="75" y="129"/>
                    </a:lnTo>
                    <a:lnTo>
                      <a:pt x="73" y="129"/>
                    </a:lnTo>
                    <a:lnTo>
                      <a:pt x="71" y="129"/>
                    </a:lnTo>
                    <a:lnTo>
                      <a:pt x="69" y="125"/>
                    </a:lnTo>
                    <a:lnTo>
                      <a:pt x="66" y="125"/>
                    </a:lnTo>
                    <a:lnTo>
                      <a:pt x="64" y="124"/>
                    </a:lnTo>
                    <a:lnTo>
                      <a:pt x="62" y="122"/>
                    </a:lnTo>
                    <a:lnTo>
                      <a:pt x="57" y="120"/>
                    </a:lnTo>
                    <a:lnTo>
                      <a:pt x="53" y="120"/>
                    </a:lnTo>
                    <a:lnTo>
                      <a:pt x="48" y="118"/>
                    </a:lnTo>
                    <a:lnTo>
                      <a:pt x="43" y="115"/>
                    </a:lnTo>
                    <a:lnTo>
                      <a:pt x="35" y="116"/>
                    </a:lnTo>
                    <a:lnTo>
                      <a:pt x="34" y="115"/>
                    </a:lnTo>
                    <a:lnTo>
                      <a:pt x="19" y="118"/>
                    </a:lnTo>
                    <a:lnTo>
                      <a:pt x="18" y="120"/>
                    </a:lnTo>
                    <a:lnTo>
                      <a:pt x="16" y="122"/>
                    </a:lnTo>
                    <a:lnTo>
                      <a:pt x="12" y="124"/>
                    </a:lnTo>
                    <a:lnTo>
                      <a:pt x="10" y="124"/>
                    </a:lnTo>
                    <a:lnTo>
                      <a:pt x="7" y="124"/>
                    </a:lnTo>
                    <a:lnTo>
                      <a:pt x="5" y="12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28" name="Freeform 3083"/>
              <p:cNvSpPr>
                <a:spLocks/>
              </p:cNvSpPr>
              <p:nvPr/>
            </p:nvSpPr>
            <p:spPr bwMode="auto">
              <a:xfrm>
                <a:off x="3664" y="2049"/>
                <a:ext cx="230" cy="175"/>
              </a:xfrm>
              <a:custGeom>
                <a:avLst/>
                <a:gdLst>
                  <a:gd name="T0" fmla="*/ 18 w 230"/>
                  <a:gd name="T1" fmla="*/ 137 h 175"/>
                  <a:gd name="T2" fmla="*/ 2 w 230"/>
                  <a:gd name="T3" fmla="*/ 108 h 175"/>
                  <a:gd name="T4" fmla="*/ 7 w 230"/>
                  <a:gd name="T5" fmla="*/ 82 h 175"/>
                  <a:gd name="T6" fmla="*/ 16 w 230"/>
                  <a:gd name="T7" fmla="*/ 60 h 175"/>
                  <a:gd name="T8" fmla="*/ 28 w 230"/>
                  <a:gd name="T9" fmla="*/ 64 h 175"/>
                  <a:gd name="T10" fmla="*/ 41 w 230"/>
                  <a:gd name="T11" fmla="*/ 60 h 175"/>
                  <a:gd name="T12" fmla="*/ 43 w 230"/>
                  <a:gd name="T13" fmla="*/ 53 h 175"/>
                  <a:gd name="T14" fmla="*/ 57 w 230"/>
                  <a:gd name="T15" fmla="*/ 48 h 175"/>
                  <a:gd name="T16" fmla="*/ 66 w 230"/>
                  <a:gd name="T17" fmla="*/ 35 h 175"/>
                  <a:gd name="T18" fmla="*/ 69 w 230"/>
                  <a:gd name="T19" fmla="*/ 26 h 175"/>
                  <a:gd name="T20" fmla="*/ 80 w 230"/>
                  <a:gd name="T21" fmla="*/ 23 h 175"/>
                  <a:gd name="T22" fmla="*/ 93 w 230"/>
                  <a:gd name="T23" fmla="*/ 23 h 175"/>
                  <a:gd name="T24" fmla="*/ 116 w 230"/>
                  <a:gd name="T25" fmla="*/ 23 h 175"/>
                  <a:gd name="T26" fmla="*/ 132 w 230"/>
                  <a:gd name="T27" fmla="*/ 25 h 175"/>
                  <a:gd name="T28" fmla="*/ 137 w 230"/>
                  <a:gd name="T29" fmla="*/ 25 h 175"/>
                  <a:gd name="T30" fmla="*/ 143 w 230"/>
                  <a:gd name="T31" fmla="*/ 23 h 175"/>
                  <a:gd name="T32" fmla="*/ 150 w 230"/>
                  <a:gd name="T33" fmla="*/ 17 h 175"/>
                  <a:gd name="T34" fmla="*/ 157 w 230"/>
                  <a:gd name="T35" fmla="*/ 14 h 175"/>
                  <a:gd name="T36" fmla="*/ 162 w 230"/>
                  <a:gd name="T37" fmla="*/ 0 h 175"/>
                  <a:gd name="T38" fmla="*/ 173 w 230"/>
                  <a:gd name="T39" fmla="*/ 3 h 175"/>
                  <a:gd name="T40" fmla="*/ 175 w 230"/>
                  <a:gd name="T41" fmla="*/ 10 h 175"/>
                  <a:gd name="T42" fmla="*/ 177 w 230"/>
                  <a:gd name="T43" fmla="*/ 14 h 175"/>
                  <a:gd name="T44" fmla="*/ 175 w 230"/>
                  <a:gd name="T45" fmla="*/ 26 h 175"/>
                  <a:gd name="T46" fmla="*/ 196 w 230"/>
                  <a:gd name="T47" fmla="*/ 28 h 175"/>
                  <a:gd name="T48" fmla="*/ 202 w 230"/>
                  <a:gd name="T49" fmla="*/ 25 h 175"/>
                  <a:gd name="T50" fmla="*/ 211 w 230"/>
                  <a:gd name="T51" fmla="*/ 21 h 175"/>
                  <a:gd name="T52" fmla="*/ 216 w 230"/>
                  <a:gd name="T53" fmla="*/ 23 h 175"/>
                  <a:gd name="T54" fmla="*/ 227 w 230"/>
                  <a:gd name="T55" fmla="*/ 23 h 175"/>
                  <a:gd name="T56" fmla="*/ 230 w 230"/>
                  <a:gd name="T57" fmla="*/ 25 h 175"/>
                  <a:gd name="T58" fmla="*/ 225 w 230"/>
                  <a:gd name="T59" fmla="*/ 26 h 175"/>
                  <a:gd name="T60" fmla="*/ 221 w 230"/>
                  <a:gd name="T61" fmla="*/ 32 h 175"/>
                  <a:gd name="T62" fmla="*/ 212 w 230"/>
                  <a:gd name="T63" fmla="*/ 32 h 175"/>
                  <a:gd name="T64" fmla="*/ 187 w 230"/>
                  <a:gd name="T65" fmla="*/ 35 h 175"/>
                  <a:gd name="T66" fmla="*/ 182 w 230"/>
                  <a:gd name="T67" fmla="*/ 39 h 175"/>
                  <a:gd name="T68" fmla="*/ 178 w 230"/>
                  <a:gd name="T69" fmla="*/ 41 h 175"/>
                  <a:gd name="T70" fmla="*/ 173 w 230"/>
                  <a:gd name="T71" fmla="*/ 50 h 175"/>
                  <a:gd name="T72" fmla="*/ 178 w 230"/>
                  <a:gd name="T73" fmla="*/ 64 h 175"/>
                  <a:gd name="T74" fmla="*/ 169 w 230"/>
                  <a:gd name="T75" fmla="*/ 78 h 175"/>
                  <a:gd name="T76" fmla="*/ 169 w 230"/>
                  <a:gd name="T77" fmla="*/ 83 h 175"/>
                  <a:gd name="T78" fmla="*/ 152 w 230"/>
                  <a:gd name="T79" fmla="*/ 89 h 175"/>
                  <a:gd name="T80" fmla="*/ 157 w 230"/>
                  <a:gd name="T81" fmla="*/ 100 h 175"/>
                  <a:gd name="T82" fmla="*/ 143 w 230"/>
                  <a:gd name="T83" fmla="*/ 110 h 175"/>
                  <a:gd name="T84" fmla="*/ 141 w 230"/>
                  <a:gd name="T85" fmla="*/ 117 h 175"/>
                  <a:gd name="T86" fmla="*/ 132 w 230"/>
                  <a:gd name="T87" fmla="*/ 132 h 175"/>
                  <a:gd name="T88" fmla="*/ 128 w 230"/>
                  <a:gd name="T89" fmla="*/ 132 h 175"/>
                  <a:gd name="T90" fmla="*/ 119 w 230"/>
                  <a:gd name="T91" fmla="*/ 132 h 175"/>
                  <a:gd name="T92" fmla="*/ 116 w 230"/>
                  <a:gd name="T93" fmla="*/ 139 h 175"/>
                  <a:gd name="T94" fmla="*/ 102 w 230"/>
                  <a:gd name="T95" fmla="*/ 139 h 175"/>
                  <a:gd name="T96" fmla="*/ 93 w 230"/>
                  <a:gd name="T97" fmla="*/ 160 h 175"/>
                  <a:gd name="T98" fmla="*/ 73 w 230"/>
                  <a:gd name="T99" fmla="*/ 171 h 175"/>
                  <a:gd name="T100" fmla="*/ 57 w 230"/>
                  <a:gd name="T101" fmla="*/ 175 h 175"/>
                  <a:gd name="T102" fmla="*/ 7 w 230"/>
                  <a:gd name="T103" fmla="*/ 16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0" h="175">
                    <a:moveTo>
                      <a:pt x="7" y="166"/>
                    </a:moveTo>
                    <a:lnTo>
                      <a:pt x="18" y="151"/>
                    </a:lnTo>
                    <a:lnTo>
                      <a:pt x="19" y="146"/>
                    </a:lnTo>
                    <a:lnTo>
                      <a:pt x="19" y="142"/>
                    </a:lnTo>
                    <a:lnTo>
                      <a:pt x="18" y="137"/>
                    </a:lnTo>
                    <a:lnTo>
                      <a:pt x="14" y="133"/>
                    </a:lnTo>
                    <a:lnTo>
                      <a:pt x="7" y="133"/>
                    </a:lnTo>
                    <a:lnTo>
                      <a:pt x="3" y="130"/>
                    </a:lnTo>
                    <a:lnTo>
                      <a:pt x="3" y="116"/>
                    </a:lnTo>
                    <a:lnTo>
                      <a:pt x="2" y="108"/>
                    </a:lnTo>
                    <a:lnTo>
                      <a:pt x="5" y="98"/>
                    </a:lnTo>
                    <a:lnTo>
                      <a:pt x="3" y="94"/>
                    </a:lnTo>
                    <a:lnTo>
                      <a:pt x="0" y="92"/>
                    </a:lnTo>
                    <a:lnTo>
                      <a:pt x="0" y="83"/>
                    </a:lnTo>
                    <a:lnTo>
                      <a:pt x="7" y="82"/>
                    </a:lnTo>
                    <a:lnTo>
                      <a:pt x="7" y="76"/>
                    </a:lnTo>
                    <a:lnTo>
                      <a:pt x="11" y="71"/>
                    </a:lnTo>
                    <a:lnTo>
                      <a:pt x="12" y="55"/>
                    </a:lnTo>
                    <a:lnTo>
                      <a:pt x="16" y="58"/>
                    </a:lnTo>
                    <a:lnTo>
                      <a:pt x="16" y="60"/>
                    </a:lnTo>
                    <a:lnTo>
                      <a:pt x="19" y="60"/>
                    </a:lnTo>
                    <a:lnTo>
                      <a:pt x="23" y="60"/>
                    </a:lnTo>
                    <a:lnTo>
                      <a:pt x="25" y="60"/>
                    </a:lnTo>
                    <a:lnTo>
                      <a:pt x="27" y="62"/>
                    </a:lnTo>
                    <a:lnTo>
                      <a:pt x="28" y="64"/>
                    </a:lnTo>
                    <a:lnTo>
                      <a:pt x="30" y="64"/>
                    </a:lnTo>
                    <a:lnTo>
                      <a:pt x="32" y="64"/>
                    </a:lnTo>
                    <a:lnTo>
                      <a:pt x="36" y="64"/>
                    </a:lnTo>
                    <a:lnTo>
                      <a:pt x="37" y="62"/>
                    </a:lnTo>
                    <a:lnTo>
                      <a:pt x="41" y="60"/>
                    </a:lnTo>
                    <a:lnTo>
                      <a:pt x="41" y="60"/>
                    </a:lnTo>
                    <a:lnTo>
                      <a:pt x="43" y="57"/>
                    </a:lnTo>
                    <a:lnTo>
                      <a:pt x="43" y="57"/>
                    </a:lnTo>
                    <a:lnTo>
                      <a:pt x="44" y="55"/>
                    </a:lnTo>
                    <a:lnTo>
                      <a:pt x="43" y="53"/>
                    </a:lnTo>
                    <a:lnTo>
                      <a:pt x="43" y="51"/>
                    </a:lnTo>
                    <a:lnTo>
                      <a:pt x="44" y="51"/>
                    </a:lnTo>
                    <a:lnTo>
                      <a:pt x="52" y="50"/>
                    </a:lnTo>
                    <a:lnTo>
                      <a:pt x="55" y="48"/>
                    </a:lnTo>
                    <a:lnTo>
                      <a:pt x="57" y="48"/>
                    </a:lnTo>
                    <a:lnTo>
                      <a:pt x="59" y="46"/>
                    </a:lnTo>
                    <a:lnTo>
                      <a:pt x="61" y="46"/>
                    </a:lnTo>
                    <a:lnTo>
                      <a:pt x="64" y="42"/>
                    </a:lnTo>
                    <a:lnTo>
                      <a:pt x="66" y="41"/>
                    </a:lnTo>
                    <a:lnTo>
                      <a:pt x="66" y="35"/>
                    </a:lnTo>
                    <a:lnTo>
                      <a:pt x="68" y="33"/>
                    </a:lnTo>
                    <a:lnTo>
                      <a:pt x="68" y="30"/>
                    </a:lnTo>
                    <a:lnTo>
                      <a:pt x="68" y="28"/>
                    </a:lnTo>
                    <a:lnTo>
                      <a:pt x="69" y="26"/>
                    </a:lnTo>
                    <a:lnTo>
                      <a:pt x="69" y="26"/>
                    </a:lnTo>
                    <a:lnTo>
                      <a:pt x="71" y="25"/>
                    </a:lnTo>
                    <a:lnTo>
                      <a:pt x="75" y="23"/>
                    </a:lnTo>
                    <a:lnTo>
                      <a:pt x="75" y="25"/>
                    </a:lnTo>
                    <a:lnTo>
                      <a:pt x="80" y="23"/>
                    </a:lnTo>
                    <a:lnTo>
                      <a:pt x="80" y="23"/>
                    </a:lnTo>
                    <a:lnTo>
                      <a:pt x="82" y="21"/>
                    </a:lnTo>
                    <a:lnTo>
                      <a:pt x="82" y="19"/>
                    </a:lnTo>
                    <a:lnTo>
                      <a:pt x="82" y="19"/>
                    </a:lnTo>
                    <a:lnTo>
                      <a:pt x="86" y="19"/>
                    </a:lnTo>
                    <a:lnTo>
                      <a:pt x="93" y="23"/>
                    </a:lnTo>
                    <a:lnTo>
                      <a:pt x="105" y="21"/>
                    </a:lnTo>
                    <a:lnTo>
                      <a:pt x="107" y="23"/>
                    </a:lnTo>
                    <a:lnTo>
                      <a:pt x="109" y="25"/>
                    </a:lnTo>
                    <a:lnTo>
                      <a:pt x="112" y="23"/>
                    </a:lnTo>
                    <a:lnTo>
                      <a:pt x="116" y="23"/>
                    </a:lnTo>
                    <a:lnTo>
                      <a:pt x="121" y="30"/>
                    </a:lnTo>
                    <a:lnTo>
                      <a:pt x="123" y="28"/>
                    </a:lnTo>
                    <a:lnTo>
                      <a:pt x="125" y="28"/>
                    </a:lnTo>
                    <a:lnTo>
                      <a:pt x="125" y="26"/>
                    </a:lnTo>
                    <a:lnTo>
                      <a:pt x="132" y="25"/>
                    </a:lnTo>
                    <a:lnTo>
                      <a:pt x="132" y="25"/>
                    </a:lnTo>
                    <a:lnTo>
                      <a:pt x="134" y="25"/>
                    </a:lnTo>
                    <a:lnTo>
                      <a:pt x="136" y="23"/>
                    </a:lnTo>
                    <a:lnTo>
                      <a:pt x="136" y="23"/>
                    </a:lnTo>
                    <a:lnTo>
                      <a:pt x="137" y="25"/>
                    </a:lnTo>
                    <a:lnTo>
                      <a:pt x="141" y="26"/>
                    </a:lnTo>
                    <a:lnTo>
                      <a:pt x="143" y="25"/>
                    </a:lnTo>
                    <a:lnTo>
                      <a:pt x="143" y="25"/>
                    </a:lnTo>
                    <a:lnTo>
                      <a:pt x="143" y="23"/>
                    </a:lnTo>
                    <a:lnTo>
                      <a:pt x="143" y="23"/>
                    </a:lnTo>
                    <a:lnTo>
                      <a:pt x="143" y="21"/>
                    </a:lnTo>
                    <a:lnTo>
                      <a:pt x="144" y="17"/>
                    </a:lnTo>
                    <a:lnTo>
                      <a:pt x="146" y="17"/>
                    </a:lnTo>
                    <a:lnTo>
                      <a:pt x="148" y="17"/>
                    </a:lnTo>
                    <a:lnTo>
                      <a:pt x="150" y="17"/>
                    </a:lnTo>
                    <a:lnTo>
                      <a:pt x="153" y="17"/>
                    </a:lnTo>
                    <a:lnTo>
                      <a:pt x="153" y="19"/>
                    </a:lnTo>
                    <a:lnTo>
                      <a:pt x="155" y="17"/>
                    </a:lnTo>
                    <a:lnTo>
                      <a:pt x="157" y="16"/>
                    </a:lnTo>
                    <a:lnTo>
                      <a:pt x="157" y="14"/>
                    </a:lnTo>
                    <a:lnTo>
                      <a:pt x="155" y="12"/>
                    </a:lnTo>
                    <a:lnTo>
                      <a:pt x="155" y="10"/>
                    </a:lnTo>
                    <a:lnTo>
                      <a:pt x="161" y="3"/>
                    </a:lnTo>
                    <a:lnTo>
                      <a:pt x="162" y="1"/>
                    </a:lnTo>
                    <a:lnTo>
                      <a:pt x="162" y="0"/>
                    </a:lnTo>
                    <a:lnTo>
                      <a:pt x="164" y="0"/>
                    </a:lnTo>
                    <a:lnTo>
                      <a:pt x="166" y="0"/>
                    </a:lnTo>
                    <a:lnTo>
                      <a:pt x="168" y="0"/>
                    </a:lnTo>
                    <a:lnTo>
                      <a:pt x="169" y="0"/>
                    </a:lnTo>
                    <a:lnTo>
                      <a:pt x="173" y="3"/>
                    </a:lnTo>
                    <a:lnTo>
                      <a:pt x="173" y="5"/>
                    </a:lnTo>
                    <a:lnTo>
                      <a:pt x="173" y="7"/>
                    </a:lnTo>
                    <a:lnTo>
                      <a:pt x="171" y="8"/>
                    </a:lnTo>
                    <a:lnTo>
                      <a:pt x="173" y="10"/>
                    </a:lnTo>
                    <a:lnTo>
                      <a:pt x="175" y="10"/>
                    </a:lnTo>
                    <a:lnTo>
                      <a:pt x="175" y="10"/>
                    </a:lnTo>
                    <a:lnTo>
                      <a:pt x="177" y="10"/>
                    </a:lnTo>
                    <a:lnTo>
                      <a:pt x="177" y="12"/>
                    </a:lnTo>
                    <a:lnTo>
                      <a:pt x="177" y="14"/>
                    </a:lnTo>
                    <a:lnTo>
                      <a:pt x="177" y="14"/>
                    </a:lnTo>
                    <a:lnTo>
                      <a:pt x="177" y="17"/>
                    </a:lnTo>
                    <a:lnTo>
                      <a:pt x="177" y="19"/>
                    </a:lnTo>
                    <a:lnTo>
                      <a:pt x="175" y="21"/>
                    </a:lnTo>
                    <a:lnTo>
                      <a:pt x="175" y="23"/>
                    </a:lnTo>
                    <a:lnTo>
                      <a:pt x="175" y="26"/>
                    </a:lnTo>
                    <a:lnTo>
                      <a:pt x="178" y="35"/>
                    </a:lnTo>
                    <a:lnTo>
                      <a:pt x="178" y="35"/>
                    </a:lnTo>
                    <a:lnTo>
                      <a:pt x="180" y="35"/>
                    </a:lnTo>
                    <a:lnTo>
                      <a:pt x="189" y="30"/>
                    </a:lnTo>
                    <a:lnTo>
                      <a:pt x="196" y="28"/>
                    </a:lnTo>
                    <a:lnTo>
                      <a:pt x="196" y="28"/>
                    </a:lnTo>
                    <a:lnTo>
                      <a:pt x="198" y="26"/>
                    </a:lnTo>
                    <a:lnTo>
                      <a:pt x="200" y="25"/>
                    </a:lnTo>
                    <a:lnTo>
                      <a:pt x="200" y="25"/>
                    </a:lnTo>
                    <a:lnTo>
                      <a:pt x="202" y="25"/>
                    </a:lnTo>
                    <a:lnTo>
                      <a:pt x="203" y="21"/>
                    </a:lnTo>
                    <a:lnTo>
                      <a:pt x="205" y="21"/>
                    </a:lnTo>
                    <a:lnTo>
                      <a:pt x="207" y="19"/>
                    </a:lnTo>
                    <a:lnTo>
                      <a:pt x="209" y="19"/>
                    </a:lnTo>
                    <a:lnTo>
                      <a:pt x="211" y="21"/>
                    </a:lnTo>
                    <a:lnTo>
                      <a:pt x="212" y="21"/>
                    </a:lnTo>
                    <a:lnTo>
                      <a:pt x="212" y="23"/>
                    </a:lnTo>
                    <a:lnTo>
                      <a:pt x="214" y="25"/>
                    </a:lnTo>
                    <a:lnTo>
                      <a:pt x="214" y="25"/>
                    </a:lnTo>
                    <a:lnTo>
                      <a:pt x="216" y="23"/>
                    </a:lnTo>
                    <a:lnTo>
                      <a:pt x="216" y="23"/>
                    </a:lnTo>
                    <a:lnTo>
                      <a:pt x="218" y="23"/>
                    </a:lnTo>
                    <a:lnTo>
                      <a:pt x="223" y="21"/>
                    </a:lnTo>
                    <a:lnTo>
                      <a:pt x="225" y="21"/>
                    </a:lnTo>
                    <a:lnTo>
                      <a:pt x="227" y="23"/>
                    </a:lnTo>
                    <a:lnTo>
                      <a:pt x="230" y="23"/>
                    </a:lnTo>
                    <a:lnTo>
                      <a:pt x="230" y="23"/>
                    </a:lnTo>
                    <a:lnTo>
                      <a:pt x="230" y="25"/>
                    </a:lnTo>
                    <a:lnTo>
                      <a:pt x="228" y="25"/>
                    </a:lnTo>
                    <a:lnTo>
                      <a:pt x="230" y="25"/>
                    </a:lnTo>
                    <a:lnTo>
                      <a:pt x="228" y="25"/>
                    </a:lnTo>
                    <a:lnTo>
                      <a:pt x="227" y="23"/>
                    </a:lnTo>
                    <a:lnTo>
                      <a:pt x="227" y="25"/>
                    </a:lnTo>
                    <a:lnTo>
                      <a:pt x="223" y="26"/>
                    </a:lnTo>
                    <a:lnTo>
                      <a:pt x="225" y="26"/>
                    </a:lnTo>
                    <a:lnTo>
                      <a:pt x="227" y="28"/>
                    </a:lnTo>
                    <a:lnTo>
                      <a:pt x="227" y="30"/>
                    </a:lnTo>
                    <a:lnTo>
                      <a:pt x="227" y="30"/>
                    </a:lnTo>
                    <a:lnTo>
                      <a:pt x="223" y="30"/>
                    </a:lnTo>
                    <a:lnTo>
                      <a:pt x="221" y="32"/>
                    </a:lnTo>
                    <a:lnTo>
                      <a:pt x="221" y="32"/>
                    </a:lnTo>
                    <a:lnTo>
                      <a:pt x="219" y="32"/>
                    </a:lnTo>
                    <a:lnTo>
                      <a:pt x="218" y="32"/>
                    </a:lnTo>
                    <a:lnTo>
                      <a:pt x="214" y="32"/>
                    </a:lnTo>
                    <a:lnTo>
                      <a:pt x="212" y="32"/>
                    </a:lnTo>
                    <a:lnTo>
                      <a:pt x="211" y="32"/>
                    </a:lnTo>
                    <a:lnTo>
                      <a:pt x="194" y="33"/>
                    </a:lnTo>
                    <a:lnTo>
                      <a:pt x="191" y="35"/>
                    </a:lnTo>
                    <a:lnTo>
                      <a:pt x="189" y="35"/>
                    </a:lnTo>
                    <a:lnTo>
                      <a:pt x="187" y="35"/>
                    </a:lnTo>
                    <a:lnTo>
                      <a:pt x="187" y="35"/>
                    </a:lnTo>
                    <a:lnTo>
                      <a:pt x="186" y="37"/>
                    </a:lnTo>
                    <a:lnTo>
                      <a:pt x="186" y="37"/>
                    </a:lnTo>
                    <a:lnTo>
                      <a:pt x="182" y="39"/>
                    </a:lnTo>
                    <a:lnTo>
                      <a:pt x="182" y="39"/>
                    </a:lnTo>
                    <a:lnTo>
                      <a:pt x="182" y="41"/>
                    </a:lnTo>
                    <a:lnTo>
                      <a:pt x="182" y="41"/>
                    </a:lnTo>
                    <a:lnTo>
                      <a:pt x="180" y="41"/>
                    </a:lnTo>
                    <a:lnTo>
                      <a:pt x="178" y="41"/>
                    </a:lnTo>
                    <a:lnTo>
                      <a:pt x="178" y="41"/>
                    </a:lnTo>
                    <a:lnTo>
                      <a:pt x="178" y="42"/>
                    </a:lnTo>
                    <a:lnTo>
                      <a:pt x="173" y="46"/>
                    </a:lnTo>
                    <a:lnTo>
                      <a:pt x="173" y="46"/>
                    </a:lnTo>
                    <a:lnTo>
                      <a:pt x="171" y="48"/>
                    </a:lnTo>
                    <a:lnTo>
                      <a:pt x="173" y="50"/>
                    </a:lnTo>
                    <a:lnTo>
                      <a:pt x="177" y="53"/>
                    </a:lnTo>
                    <a:lnTo>
                      <a:pt x="178" y="60"/>
                    </a:lnTo>
                    <a:lnTo>
                      <a:pt x="178" y="60"/>
                    </a:lnTo>
                    <a:lnTo>
                      <a:pt x="178" y="62"/>
                    </a:lnTo>
                    <a:lnTo>
                      <a:pt x="178" y="64"/>
                    </a:lnTo>
                    <a:lnTo>
                      <a:pt x="178" y="64"/>
                    </a:lnTo>
                    <a:lnTo>
                      <a:pt x="178" y="66"/>
                    </a:lnTo>
                    <a:lnTo>
                      <a:pt x="171" y="75"/>
                    </a:lnTo>
                    <a:lnTo>
                      <a:pt x="169" y="76"/>
                    </a:lnTo>
                    <a:lnTo>
                      <a:pt x="169" y="78"/>
                    </a:lnTo>
                    <a:lnTo>
                      <a:pt x="169" y="80"/>
                    </a:lnTo>
                    <a:lnTo>
                      <a:pt x="169" y="80"/>
                    </a:lnTo>
                    <a:lnTo>
                      <a:pt x="171" y="82"/>
                    </a:lnTo>
                    <a:lnTo>
                      <a:pt x="169" y="82"/>
                    </a:lnTo>
                    <a:lnTo>
                      <a:pt x="169" y="83"/>
                    </a:lnTo>
                    <a:lnTo>
                      <a:pt x="168" y="87"/>
                    </a:lnTo>
                    <a:lnTo>
                      <a:pt x="162" y="89"/>
                    </a:lnTo>
                    <a:lnTo>
                      <a:pt x="153" y="87"/>
                    </a:lnTo>
                    <a:lnTo>
                      <a:pt x="152" y="87"/>
                    </a:lnTo>
                    <a:lnTo>
                      <a:pt x="152" y="89"/>
                    </a:lnTo>
                    <a:lnTo>
                      <a:pt x="153" y="92"/>
                    </a:lnTo>
                    <a:lnTo>
                      <a:pt x="155" y="92"/>
                    </a:lnTo>
                    <a:lnTo>
                      <a:pt x="155" y="98"/>
                    </a:lnTo>
                    <a:lnTo>
                      <a:pt x="157" y="100"/>
                    </a:lnTo>
                    <a:lnTo>
                      <a:pt x="157" y="100"/>
                    </a:lnTo>
                    <a:lnTo>
                      <a:pt x="152" y="105"/>
                    </a:lnTo>
                    <a:lnTo>
                      <a:pt x="148" y="105"/>
                    </a:lnTo>
                    <a:lnTo>
                      <a:pt x="144" y="105"/>
                    </a:lnTo>
                    <a:lnTo>
                      <a:pt x="144" y="108"/>
                    </a:lnTo>
                    <a:lnTo>
                      <a:pt x="143" y="110"/>
                    </a:lnTo>
                    <a:lnTo>
                      <a:pt x="143" y="112"/>
                    </a:lnTo>
                    <a:lnTo>
                      <a:pt x="143" y="114"/>
                    </a:lnTo>
                    <a:lnTo>
                      <a:pt x="143" y="114"/>
                    </a:lnTo>
                    <a:lnTo>
                      <a:pt x="143" y="114"/>
                    </a:lnTo>
                    <a:lnTo>
                      <a:pt x="141" y="117"/>
                    </a:lnTo>
                    <a:lnTo>
                      <a:pt x="141" y="128"/>
                    </a:lnTo>
                    <a:lnTo>
                      <a:pt x="136" y="133"/>
                    </a:lnTo>
                    <a:lnTo>
                      <a:pt x="134" y="133"/>
                    </a:lnTo>
                    <a:lnTo>
                      <a:pt x="132" y="133"/>
                    </a:lnTo>
                    <a:lnTo>
                      <a:pt x="132" y="132"/>
                    </a:lnTo>
                    <a:lnTo>
                      <a:pt x="132" y="130"/>
                    </a:lnTo>
                    <a:lnTo>
                      <a:pt x="130" y="130"/>
                    </a:lnTo>
                    <a:lnTo>
                      <a:pt x="128" y="130"/>
                    </a:lnTo>
                    <a:lnTo>
                      <a:pt x="128" y="130"/>
                    </a:lnTo>
                    <a:lnTo>
                      <a:pt x="128" y="132"/>
                    </a:lnTo>
                    <a:lnTo>
                      <a:pt x="128" y="132"/>
                    </a:lnTo>
                    <a:lnTo>
                      <a:pt x="125" y="130"/>
                    </a:lnTo>
                    <a:lnTo>
                      <a:pt x="123" y="130"/>
                    </a:lnTo>
                    <a:lnTo>
                      <a:pt x="121" y="132"/>
                    </a:lnTo>
                    <a:lnTo>
                      <a:pt x="119" y="132"/>
                    </a:lnTo>
                    <a:lnTo>
                      <a:pt x="116" y="135"/>
                    </a:lnTo>
                    <a:lnTo>
                      <a:pt x="114" y="135"/>
                    </a:lnTo>
                    <a:lnTo>
                      <a:pt x="114" y="137"/>
                    </a:lnTo>
                    <a:lnTo>
                      <a:pt x="116" y="137"/>
                    </a:lnTo>
                    <a:lnTo>
                      <a:pt x="116" y="139"/>
                    </a:lnTo>
                    <a:lnTo>
                      <a:pt x="116" y="139"/>
                    </a:lnTo>
                    <a:lnTo>
                      <a:pt x="103" y="141"/>
                    </a:lnTo>
                    <a:lnTo>
                      <a:pt x="103" y="139"/>
                    </a:lnTo>
                    <a:lnTo>
                      <a:pt x="103" y="139"/>
                    </a:lnTo>
                    <a:lnTo>
                      <a:pt x="102" y="139"/>
                    </a:lnTo>
                    <a:lnTo>
                      <a:pt x="100" y="142"/>
                    </a:lnTo>
                    <a:lnTo>
                      <a:pt x="96" y="146"/>
                    </a:lnTo>
                    <a:lnTo>
                      <a:pt x="94" y="151"/>
                    </a:lnTo>
                    <a:lnTo>
                      <a:pt x="94" y="155"/>
                    </a:lnTo>
                    <a:lnTo>
                      <a:pt x="93" y="160"/>
                    </a:lnTo>
                    <a:lnTo>
                      <a:pt x="93" y="162"/>
                    </a:lnTo>
                    <a:lnTo>
                      <a:pt x="94" y="162"/>
                    </a:lnTo>
                    <a:lnTo>
                      <a:pt x="94" y="164"/>
                    </a:lnTo>
                    <a:lnTo>
                      <a:pt x="91" y="166"/>
                    </a:lnTo>
                    <a:lnTo>
                      <a:pt x="73" y="171"/>
                    </a:lnTo>
                    <a:lnTo>
                      <a:pt x="62" y="171"/>
                    </a:lnTo>
                    <a:lnTo>
                      <a:pt x="61" y="171"/>
                    </a:lnTo>
                    <a:lnTo>
                      <a:pt x="59" y="173"/>
                    </a:lnTo>
                    <a:lnTo>
                      <a:pt x="59" y="173"/>
                    </a:lnTo>
                    <a:lnTo>
                      <a:pt x="57" y="175"/>
                    </a:lnTo>
                    <a:lnTo>
                      <a:pt x="53" y="173"/>
                    </a:lnTo>
                    <a:lnTo>
                      <a:pt x="34" y="173"/>
                    </a:lnTo>
                    <a:lnTo>
                      <a:pt x="34" y="175"/>
                    </a:lnTo>
                    <a:lnTo>
                      <a:pt x="32" y="175"/>
                    </a:lnTo>
                    <a:lnTo>
                      <a:pt x="7" y="16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29" name="Freeform 3084"/>
              <p:cNvSpPr>
                <a:spLocks/>
              </p:cNvSpPr>
              <p:nvPr/>
            </p:nvSpPr>
            <p:spPr bwMode="auto">
              <a:xfrm>
                <a:off x="3664" y="2049"/>
                <a:ext cx="230" cy="175"/>
              </a:xfrm>
              <a:custGeom>
                <a:avLst/>
                <a:gdLst>
                  <a:gd name="T0" fmla="*/ 18 w 230"/>
                  <a:gd name="T1" fmla="*/ 137 h 175"/>
                  <a:gd name="T2" fmla="*/ 2 w 230"/>
                  <a:gd name="T3" fmla="*/ 108 h 175"/>
                  <a:gd name="T4" fmla="*/ 7 w 230"/>
                  <a:gd name="T5" fmla="*/ 82 h 175"/>
                  <a:gd name="T6" fmla="*/ 16 w 230"/>
                  <a:gd name="T7" fmla="*/ 60 h 175"/>
                  <a:gd name="T8" fmla="*/ 28 w 230"/>
                  <a:gd name="T9" fmla="*/ 64 h 175"/>
                  <a:gd name="T10" fmla="*/ 41 w 230"/>
                  <a:gd name="T11" fmla="*/ 60 h 175"/>
                  <a:gd name="T12" fmla="*/ 43 w 230"/>
                  <a:gd name="T13" fmla="*/ 53 h 175"/>
                  <a:gd name="T14" fmla="*/ 57 w 230"/>
                  <a:gd name="T15" fmla="*/ 48 h 175"/>
                  <a:gd name="T16" fmla="*/ 66 w 230"/>
                  <a:gd name="T17" fmla="*/ 35 h 175"/>
                  <a:gd name="T18" fmla="*/ 69 w 230"/>
                  <a:gd name="T19" fmla="*/ 26 h 175"/>
                  <a:gd name="T20" fmla="*/ 80 w 230"/>
                  <a:gd name="T21" fmla="*/ 23 h 175"/>
                  <a:gd name="T22" fmla="*/ 93 w 230"/>
                  <a:gd name="T23" fmla="*/ 23 h 175"/>
                  <a:gd name="T24" fmla="*/ 116 w 230"/>
                  <a:gd name="T25" fmla="*/ 23 h 175"/>
                  <a:gd name="T26" fmla="*/ 132 w 230"/>
                  <a:gd name="T27" fmla="*/ 25 h 175"/>
                  <a:gd name="T28" fmla="*/ 137 w 230"/>
                  <a:gd name="T29" fmla="*/ 25 h 175"/>
                  <a:gd name="T30" fmla="*/ 143 w 230"/>
                  <a:gd name="T31" fmla="*/ 23 h 175"/>
                  <a:gd name="T32" fmla="*/ 150 w 230"/>
                  <a:gd name="T33" fmla="*/ 17 h 175"/>
                  <a:gd name="T34" fmla="*/ 157 w 230"/>
                  <a:gd name="T35" fmla="*/ 14 h 175"/>
                  <a:gd name="T36" fmla="*/ 162 w 230"/>
                  <a:gd name="T37" fmla="*/ 0 h 175"/>
                  <a:gd name="T38" fmla="*/ 173 w 230"/>
                  <a:gd name="T39" fmla="*/ 3 h 175"/>
                  <a:gd name="T40" fmla="*/ 175 w 230"/>
                  <a:gd name="T41" fmla="*/ 10 h 175"/>
                  <a:gd name="T42" fmla="*/ 177 w 230"/>
                  <a:gd name="T43" fmla="*/ 14 h 175"/>
                  <a:gd name="T44" fmla="*/ 175 w 230"/>
                  <a:gd name="T45" fmla="*/ 26 h 175"/>
                  <a:gd name="T46" fmla="*/ 196 w 230"/>
                  <a:gd name="T47" fmla="*/ 28 h 175"/>
                  <a:gd name="T48" fmla="*/ 202 w 230"/>
                  <a:gd name="T49" fmla="*/ 25 h 175"/>
                  <a:gd name="T50" fmla="*/ 211 w 230"/>
                  <a:gd name="T51" fmla="*/ 21 h 175"/>
                  <a:gd name="T52" fmla="*/ 216 w 230"/>
                  <a:gd name="T53" fmla="*/ 23 h 175"/>
                  <a:gd name="T54" fmla="*/ 227 w 230"/>
                  <a:gd name="T55" fmla="*/ 23 h 175"/>
                  <a:gd name="T56" fmla="*/ 230 w 230"/>
                  <a:gd name="T57" fmla="*/ 25 h 175"/>
                  <a:gd name="T58" fmla="*/ 225 w 230"/>
                  <a:gd name="T59" fmla="*/ 26 h 175"/>
                  <a:gd name="T60" fmla="*/ 221 w 230"/>
                  <a:gd name="T61" fmla="*/ 32 h 175"/>
                  <a:gd name="T62" fmla="*/ 212 w 230"/>
                  <a:gd name="T63" fmla="*/ 32 h 175"/>
                  <a:gd name="T64" fmla="*/ 187 w 230"/>
                  <a:gd name="T65" fmla="*/ 35 h 175"/>
                  <a:gd name="T66" fmla="*/ 182 w 230"/>
                  <a:gd name="T67" fmla="*/ 39 h 175"/>
                  <a:gd name="T68" fmla="*/ 178 w 230"/>
                  <a:gd name="T69" fmla="*/ 41 h 175"/>
                  <a:gd name="T70" fmla="*/ 173 w 230"/>
                  <a:gd name="T71" fmla="*/ 50 h 175"/>
                  <a:gd name="T72" fmla="*/ 178 w 230"/>
                  <a:gd name="T73" fmla="*/ 64 h 175"/>
                  <a:gd name="T74" fmla="*/ 169 w 230"/>
                  <a:gd name="T75" fmla="*/ 78 h 175"/>
                  <a:gd name="T76" fmla="*/ 169 w 230"/>
                  <a:gd name="T77" fmla="*/ 83 h 175"/>
                  <a:gd name="T78" fmla="*/ 152 w 230"/>
                  <a:gd name="T79" fmla="*/ 89 h 175"/>
                  <a:gd name="T80" fmla="*/ 157 w 230"/>
                  <a:gd name="T81" fmla="*/ 100 h 175"/>
                  <a:gd name="T82" fmla="*/ 143 w 230"/>
                  <a:gd name="T83" fmla="*/ 110 h 175"/>
                  <a:gd name="T84" fmla="*/ 141 w 230"/>
                  <a:gd name="T85" fmla="*/ 117 h 175"/>
                  <a:gd name="T86" fmla="*/ 132 w 230"/>
                  <a:gd name="T87" fmla="*/ 132 h 175"/>
                  <a:gd name="T88" fmla="*/ 128 w 230"/>
                  <a:gd name="T89" fmla="*/ 132 h 175"/>
                  <a:gd name="T90" fmla="*/ 119 w 230"/>
                  <a:gd name="T91" fmla="*/ 132 h 175"/>
                  <a:gd name="T92" fmla="*/ 116 w 230"/>
                  <a:gd name="T93" fmla="*/ 139 h 175"/>
                  <a:gd name="T94" fmla="*/ 102 w 230"/>
                  <a:gd name="T95" fmla="*/ 139 h 175"/>
                  <a:gd name="T96" fmla="*/ 93 w 230"/>
                  <a:gd name="T97" fmla="*/ 160 h 175"/>
                  <a:gd name="T98" fmla="*/ 73 w 230"/>
                  <a:gd name="T99" fmla="*/ 171 h 175"/>
                  <a:gd name="T100" fmla="*/ 57 w 230"/>
                  <a:gd name="T101" fmla="*/ 175 h 175"/>
                  <a:gd name="T102" fmla="*/ 7 w 230"/>
                  <a:gd name="T103" fmla="*/ 16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0" h="175">
                    <a:moveTo>
                      <a:pt x="7" y="166"/>
                    </a:moveTo>
                    <a:lnTo>
                      <a:pt x="18" y="151"/>
                    </a:lnTo>
                    <a:lnTo>
                      <a:pt x="19" y="146"/>
                    </a:lnTo>
                    <a:lnTo>
                      <a:pt x="19" y="142"/>
                    </a:lnTo>
                    <a:lnTo>
                      <a:pt x="18" y="137"/>
                    </a:lnTo>
                    <a:lnTo>
                      <a:pt x="14" y="133"/>
                    </a:lnTo>
                    <a:lnTo>
                      <a:pt x="7" y="133"/>
                    </a:lnTo>
                    <a:lnTo>
                      <a:pt x="3" y="130"/>
                    </a:lnTo>
                    <a:lnTo>
                      <a:pt x="3" y="116"/>
                    </a:lnTo>
                    <a:lnTo>
                      <a:pt x="2" y="108"/>
                    </a:lnTo>
                    <a:lnTo>
                      <a:pt x="5" y="98"/>
                    </a:lnTo>
                    <a:lnTo>
                      <a:pt x="3" y="94"/>
                    </a:lnTo>
                    <a:lnTo>
                      <a:pt x="0" y="92"/>
                    </a:lnTo>
                    <a:lnTo>
                      <a:pt x="0" y="83"/>
                    </a:lnTo>
                    <a:lnTo>
                      <a:pt x="7" y="82"/>
                    </a:lnTo>
                    <a:lnTo>
                      <a:pt x="7" y="76"/>
                    </a:lnTo>
                    <a:lnTo>
                      <a:pt x="11" y="71"/>
                    </a:lnTo>
                    <a:lnTo>
                      <a:pt x="12" y="55"/>
                    </a:lnTo>
                    <a:lnTo>
                      <a:pt x="16" y="58"/>
                    </a:lnTo>
                    <a:lnTo>
                      <a:pt x="16" y="60"/>
                    </a:lnTo>
                    <a:lnTo>
                      <a:pt x="19" y="60"/>
                    </a:lnTo>
                    <a:lnTo>
                      <a:pt x="23" y="60"/>
                    </a:lnTo>
                    <a:lnTo>
                      <a:pt x="25" y="60"/>
                    </a:lnTo>
                    <a:lnTo>
                      <a:pt x="27" y="62"/>
                    </a:lnTo>
                    <a:lnTo>
                      <a:pt x="28" y="64"/>
                    </a:lnTo>
                    <a:lnTo>
                      <a:pt x="30" y="64"/>
                    </a:lnTo>
                    <a:lnTo>
                      <a:pt x="32" y="64"/>
                    </a:lnTo>
                    <a:lnTo>
                      <a:pt x="36" y="64"/>
                    </a:lnTo>
                    <a:lnTo>
                      <a:pt x="37" y="62"/>
                    </a:lnTo>
                    <a:lnTo>
                      <a:pt x="41" y="60"/>
                    </a:lnTo>
                    <a:lnTo>
                      <a:pt x="41" y="60"/>
                    </a:lnTo>
                    <a:lnTo>
                      <a:pt x="43" y="57"/>
                    </a:lnTo>
                    <a:lnTo>
                      <a:pt x="43" y="57"/>
                    </a:lnTo>
                    <a:lnTo>
                      <a:pt x="44" y="55"/>
                    </a:lnTo>
                    <a:lnTo>
                      <a:pt x="43" y="53"/>
                    </a:lnTo>
                    <a:lnTo>
                      <a:pt x="43" y="51"/>
                    </a:lnTo>
                    <a:lnTo>
                      <a:pt x="44" y="51"/>
                    </a:lnTo>
                    <a:lnTo>
                      <a:pt x="52" y="50"/>
                    </a:lnTo>
                    <a:lnTo>
                      <a:pt x="55" y="48"/>
                    </a:lnTo>
                    <a:lnTo>
                      <a:pt x="57" y="48"/>
                    </a:lnTo>
                    <a:lnTo>
                      <a:pt x="59" y="46"/>
                    </a:lnTo>
                    <a:lnTo>
                      <a:pt x="61" y="46"/>
                    </a:lnTo>
                    <a:lnTo>
                      <a:pt x="64" y="42"/>
                    </a:lnTo>
                    <a:lnTo>
                      <a:pt x="66" y="41"/>
                    </a:lnTo>
                    <a:lnTo>
                      <a:pt x="66" y="35"/>
                    </a:lnTo>
                    <a:lnTo>
                      <a:pt x="68" y="33"/>
                    </a:lnTo>
                    <a:lnTo>
                      <a:pt x="68" y="30"/>
                    </a:lnTo>
                    <a:lnTo>
                      <a:pt x="68" y="28"/>
                    </a:lnTo>
                    <a:lnTo>
                      <a:pt x="69" y="26"/>
                    </a:lnTo>
                    <a:lnTo>
                      <a:pt x="69" y="26"/>
                    </a:lnTo>
                    <a:lnTo>
                      <a:pt x="71" y="25"/>
                    </a:lnTo>
                    <a:lnTo>
                      <a:pt x="75" y="23"/>
                    </a:lnTo>
                    <a:lnTo>
                      <a:pt x="75" y="25"/>
                    </a:lnTo>
                    <a:lnTo>
                      <a:pt x="80" y="23"/>
                    </a:lnTo>
                    <a:lnTo>
                      <a:pt x="80" y="23"/>
                    </a:lnTo>
                    <a:lnTo>
                      <a:pt x="82" y="21"/>
                    </a:lnTo>
                    <a:lnTo>
                      <a:pt x="82" y="19"/>
                    </a:lnTo>
                    <a:lnTo>
                      <a:pt x="82" y="19"/>
                    </a:lnTo>
                    <a:lnTo>
                      <a:pt x="86" y="19"/>
                    </a:lnTo>
                    <a:lnTo>
                      <a:pt x="93" y="23"/>
                    </a:lnTo>
                    <a:lnTo>
                      <a:pt x="105" y="21"/>
                    </a:lnTo>
                    <a:lnTo>
                      <a:pt x="107" y="23"/>
                    </a:lnTo>
                    <a:lnTo>
                      <a:pt x="109" y="25"/>
                    </a:lnTo>
                    <a:lnTo>
                      <a:pt x="112" y="23"/>
                    </a:lnTo>
                    <a:lnTo>
                      <a:pt x="116" y="23"/>
                    </a:lnTo>
                    <a:lnTo>
                      <a:pt x="121" y="30"/>
                    </a:lnTo>
                    <a:lnTo>
                      <a:pt x="123" y="28"/>
                    </a:lnTo>
                    <a:lnTo>
                      <a:pt x="125" y="28"/>
                    </a:lnTo>
                    <a:lnTo>
                      <a:pt x="125" y="26"/>
                    </a:lnTo>
                    <a:lnTo>
                      <a:pt x="132" y="25"/>
                    </a:lnTo>
                    <a:lnTo>
                      <a:pt x="132" y="25"/>
                    </a:lnTo>
                    <a:lnTo>
                      <a:pt x="134" y="25"/>
                    </a:lnTo>
                    <a:lnTo>
                      <a:pt x="136" y="23"/>
                    </a:lnTo>
                    <a:lnTo>
                      <a:pt x="136" y="23"/>
                    </a:lnTo>
                    <a:lnTo>
                      <a:pt x="137" y="25"/>
                    </a:lnTo>
                    <a:lnTo>
                      <a:pt x="141" y="26"/>
                    </a:lnTo>
                    <a:lnTo>
                      <a:pt x="143" y="25"/>
                    </a:lnTo>
                    <a:lnTo>
                      <a:pt x="143" y="25"/>
                    </a:lnTo>
                    <a:lnTo>
                      <a:pt x="143" y="23"/>
                    </a:lnTo>
                    <a:lnTo>
                      <a:pt x="143" y="23"/>
                    </a:lnTo>
                    <a:lnTo>
                      <a:pt x="143" y="21"/>
                    </a:lnTo>
                    <a:lnTo>
                      <a:pt x="144" y="17"/>
                    </a:lnTo>
                    <a:lnTo>
                      <a:pt x="146" y="17"/>
                    </a:lnTo>
                    <a:lnTo>
                      <a:pt x="148" y="17"/>
                    </a:lnTo>
                    <a:lnTo>
                      <a:pt x="150" y="17"/>
                    </a:lnTo>
                    <a:lnTo>
                      <a:pt x="153" y="17"/>
                    </a:lnTo>
                    <a:lnTo>
                      <a:pt x="153" y="19"/>
                    </a:lnTo>
                    <a:lnTo>
                      <a:pt x="155" y="17"/>
                    </a:lnTo>
                    <a:lnTo>
                      <a:pt x="157" y="16"/>
                    </a:lnTo>
                    <a:lnTo>
                      <a:pt x="157" y="14"/>
                    </a:lnTo>
                    <a:lnTo>
                      <a:pt x="155" y="12"/>
                    </a:lnTo>
                    <a:lnTo>
                      <a:pt x="155" y="10"/>
                    </a:lnTo>
                    <a:lnTo>
                      <a:pt x="161" y="3"/>
                    </a:lnTo>
                    <a:lnTo>
                      <a:pt x="162" y="1"/>
                    </a:lnTo>
                    <a:lnTo>
                      <a:pt x="162" y="0"/>
                    </a:lnTo>
                    <a:lnTo>
                      <a:pt x="164" y="0"/>
                    </a:lnTo>
                    <a:lnTo>
                      <a:pt x="166" y="0"/>
                    </a:lnTo>
                    <a:lnTo>
                      <a:pt x="168" y="0"/>
                    </a:lnTo>
                    <a:lnTo>
                      <a:pt x="169" y="0"/>
                    </a:lnTo>
                    <a:lnTo>
                      <a:pt x="173" y="3"/>
                    </a:lnTo>
                    <a:lnTo>
                      <a:pt x="173" y="5"/>
                    </a:lnTo>
                    <a:lnTo>
                      <a:pt x="173" y="7"/>
                    </a:lnTo>
                    <a:lnTo>
                      <a:pt x="171" y="8"/>
                    </a:lnTo>
                    <a:lnTo>
                      <a:pt x="173" y="10"/>
                    </a:lnTo>
                    <a:lnTo>
                      <a:pt x="175" y="10"/>
                    </a:lnTo>
                    <a:lnTo>
                      <a:pt x="175" y="10"/>
                    </a:lnTo>
                    <a:lnTo>
                      <a:pt x="177" y="10"/>
                    </a:lnTo>
                    <a:lnTo>
                      <a:pt x="177" y="12"/>
                    </a:lnTo>
                    <a:lnTo>
                      <a:pt x="177" y="14"/>
                    </a:lnTo>
                    <a:lnTo>
                      <a:pt x="177" y="14"/>
                    </a:lnTo>
                    <a:lnTo>
                      <a:pt x="177" y="17"/>
                    </a:lnTo>
                    <a:lnTo>
                      <a:pt x="177" y="19"/>
                    </a:lnTo>
                    <a:lnTo>
                      <a:pt x="175" y="21"/>
                    </a:lnTo>
                    <a:lnTo>
                      <a:pt x="175" y="23"/>
                    </a:lnTo>
                    <a:lnTo>
                      <a:pt x="175" y="26"/>
                    </a:lnTo>
                    <a:lnTo>
                      <a:pt x="178" y="35"/>
                    </a:lnTo>
                    <a:lnTo>
                      <a:pt x="178" y="35"/>
                    </a:lnTo>
                    <a:lnTo>
                      <a:pt x="180" y="35"/>
                    </a:lnTo>
                    <a:lnTo>
                      <a:pt x="189" y="30"/>
                    </a:lnTo>
                    <a:lnTo>
                      <a:pt x="196" y="28"/>
                    </a:lnTo>
                    <a:lnTo>
                      <a:pt x="196" y="28"/>
                    </a:lnTo>
                    <a:lnTo>
                      <a:pt x="198" y="26"/>
                    </a:lnTo>
                    <a:lnTo>
                      <a:pt x="200" y="25"/>
                    </a:lnTo>
                    <a:lnTo>
                      <a:pt x="200" y="25"/>
                    </a:lnTo>
                    <a:lnTo>
                      <a:pt x="202" y="25"/>
                    </a:lnTo>
                    <a:lnTo>
                      <a:pt x="203" y="21"/>
                    </a:lnTo>
                    <a:lnTo>
                      <a:pt x="205" y="21"/>
                    </a:lnTo>
                    <a:lnTo>
                      <a:pt x="207" y="19"/>
                    </a:lnTo>
                    <a:lnTo>
                      <a:pt x="209" y="19"/>
                    </a:lnTo>
                    <a:lnTo>
                      <a:pt x="211" y="21"/>
                    </a:lnTo>
                    <a:lnTo>
                      <a:pt x="212" y="21"/>
                    </a:lnTo>
                    <a:lnTo>
                      <a:pt x="212" y="23"/>
                    </a:lnTo>
                    <a:lnTo>
                      <a:pt x="214" y="25"/>
                    </a:lnTo>
                    <a:lnTo>
                      <a:pt x="214" y="25"/>
                    </a:lnTo>
                    <a:lnTo>
                      <a:pt x="216" y="23"/>
                    </a:lnTo>
                    <a:lnTo>
                      <a:pt x="216" y="23"/>
                    </a:lnTo>
                    <a:lnTo>
                      <a:pt x="218" y="23"/>
                    </a:lnTo>
                    <a:lnTo>
                      <a:pt x="223" y="21"/>
                    </a:lnTo>
                    <a:lnTo>
                      <a:pt x="225" y="21"/>
                    </a:lnTo>
                    <a:lnTo>
                      <a:pt x="227" y="23"/>
                    </a:lnTo>
                    <a:lnTo>
                      <a:pt x="230" y="23"/>
                    </a:lnTo>
                    <a:lnTo>
                      <a:pt x="230" y="23"/>
                    </a:lnTo>
                    <a:lnTo>
                      <a:pt x="230" y="25"/>
                    </a:lnTo>
                    <a:lnTo>
                      <a:pt x="228" y="25"/>
                    </a:lnTo>
                    <a:lnTo>
                      <a:pt x="230" y="25"/>
                    </a:lnTo>
                    <a:lnTo>
                      <a:pt x="228" y="25"/>
                    </a:lnTo>
                    <a:lnTo>
                      <a:pt x="227" y="23"/>
                    </a:lnTo>
                    <a:lnTo>
                      <a:pt x="227" y="25"/>
                    </a:lnTo>
                    <a:lnTo>
                      <a:pt x="223" y="26"/>
                    </a:lnTo>
                    <a:lnTo>
                      <a:pt x="225" y="26"/>
                    </a:lnTo>
                    <a:lnTo>
                      <a:pt x="227" y="28"/>
                    </a:lnTo>
                    <a:lnTo>
                      <a:pt x="227" y="30"/>
                    </a:lnTo>
                    <a:lnTo>
                      <a:pt x="227" y="30"/>
                    </a:lnTo>
                    <a:lnTo>
                      <a:pt x="223" y="30"/>
                    </a:lnTo>
                    <a:lnTo>
                      <a:pt x="221" y="32"/>
                    </a:lnTo>
                    <a:lnTo>
                      <a:pt x="221" y="32"/>
                    </a:lnTo>
                    <a:lnTo>
                      <a:pt x="219" y="32"/>
                    </a:lnTo>
                    <a:lnTo>
                      <a:pt x="218" y="32"/>
                    </a:lnTo>
                    <a:lnTo>
                      <a:pt x="214" y="32"/>
                    </a:lnTo>
                    <a:lnTo>
                      <a:pt x="212" y="32"/>
                    </a:lnTo>
                    <a:lnTo>
                      <a:pt x="211" y="32"/>
                    </a:lnTo>
                    <a:lnTo>
                      <a:pt x="194" y="33"/>
                    </a:lnTo>
                    <a:lnTo>
                      <a:pt x="191" y="35"/>
                    </a:lnTo>
                    <a:lnTo>
                      <a:pt x="189" y="35"/>
                    </a:lnTo>
                    <a:lnTo>
                      <a:pt x="187" y="35"/>
                    </a:lnTo>
                    <a:lnTo>
                      <a:pt x="187" y="35"/>
                    </a:lnTo>
                    <a:lnTo>
                      <a:pt x="186" y="37"/>
                    </a:lnTo>
                    <a:lnTo>
                      <a:pt x="186" y="37"/>
                    </a:lnTo>
                    <a:lnTo>
                      <a:pt x="182" y="39"/>
                    </a:lnTo>
                    <a:lnTo>
                      <a:pt x="182" y="39"/>
                    </a:lnTo>
                    <a:lnTo>
                      <a:pt x="182" y="41"/>
                    </a:lnTo>
                    <a:lnTo>
                      <a:pt x="182" y="41"/>
                    </a:lnTo>
                    <a:lnTo>
                      <a:pt x="180" y="41"/>
                    </a:lnTo>
                    <a:lnTo>
                      <a:pt x="178" y="41"/>
                    </a:lnTo>
                    <a:lnTo>
                      <a:pt x="178" y="41"/>
                    </a:lnTo>
                    <a:lnTo>
                      <a:pt x="178" y="42"/>
                    </a:lnTo>
                    <a:lnTo>
                      <a:pt x="173" y="46"/>
                    </a:lnTo>
                    <a:lnTo>
                      <a:pt x="173" y="46"/>
                    </a:lnTo>
                    <a:lnTo>
                      <a:pt x="171" y="48"/>
                    </a:lnTo>
                    <a:lnTo>
                      <a:pt x="173" y="50"/>
                    </a:lnTo>
                    <a:lnTo>
                      <a:pt x="177" y="53"/>
                    </a:lnTo>
                    <a:lnTo>
                      <a:pt x="178" y="60"/>
                    </a:lnTo>
                    <a:lnTo>
                      <a:pt x="178" y="60"/>
                    </a:lnTo>
                    <a:lnTo>
                      <a:pt x="178" y="62"/>
                    </a:lnTo>
                    <a:lnTo>
                      <a:pt x="178" y="64"/>
                    </a:lnTo>
                    <a:lnTo>
                      <a:pt x="178" y="64"/>
                    </a:lnTo>
                    <a:lnTo>
                      <a:pt x="178" y="66"/>
                    </a:lnTo>
                    <a:lnTo>
                      <a:pt x="171" y="75"/>
                    </a:lnTo>
                    <a:lnTo>
                      <a:pt x="169" y="76"/>
                    </a:lnTo>
                    <a:lnTo>
                      <a:pt x="169" y="78"/>
                    </a:lnTo>
                    <a:lnTo>
                      <a:pt x="169" y="80"/>
                    </a:lnTo>
                    <a:lnTo>
                      <a:pt x="169" y="80"/>
                    </a:lnTo>
                    <a:lnTo>
                      <a:pt x="171" y="82"/>
                    </a:lnTo>
                    <a:lnTo>
                      <a:pt x="169" y="82"/>
                    </a:lnTo>
                    <a:lnTo>
                      <a:pt x="169" y="83"/>
                    </a:lnTo>
                    <a:lnTo>
                      <a:pt x="168" y="87"/>
                    </a:lnTo>
                    <a:lnTo>
                      <a:pt x="162" y="89"/>
                    </a:lnTo>
                    <a:lnTo>
                      <a:pt x="153" y="87"/>
                    </a:lnTo>
                    <a:lnTo>
                      <a:pt x="152" y="87"/>
                    </a:lnTo>
                    <a:lnTo>
                      <a:pt x="152" y="89"/>
                    </a:lnTo>
                    <a:lnTo>
                      <a:pt x="153" y="92"/>
                    </a:lnTo>
                    <a:lnTo>
                      <a:pt x="155" y="92"/>
                    </a:lnTo>
                    <a:lnTo>
                      <a:pt x="155" y="98"/>
                    </a:lnTo>
                    <a:lnTo>
                      <a:pt x="157" y="100"/>
                    </a:lnTo>
                    <a:lnTo>
                      <a:pt x="157" y="100"/>
                    </a:lnTo>
                    <a:lnTo>
                      <a:pt x="152" y="105"/>
                    </a:lnTo>
                    <a:lnTo>
                      <a:pt x="148" y="105"/>
                    </a:lnTo>
                    <a:lnTo>
                      <a:pt x="144" y="105"/>
                    </a:lnTo>
                    <a:lnTo>
                      <a:pt x="144" y="108"/>
                    </a:lnTo>
                    <a:lnTo>
                      <a:pt x="143" y="110"/>
                    </a:lnTo>
                    <a:lnTo>
                      <a:pt x="143" y="112"/>
                    </a:lnTo>
                    <a:lnTo>
                      <a:pt x="143" y="114"/>
                    </a:lnTo>
                    <a:lnTo>
                      <a:pt x="143" y="114"/>
                    </a:lnTo>
                    <a:lnTo>
                      <a:pt x="143" y="114"/>
                    </a:lnTo>
                    <a:lnTo>
                      <a:pt x="141" y="117"/>
                    </a:lnTo>
                    <a:lnTo>
                      <a:pt x="141" y="128"/>
                    </a:lnTo>
                    <a:lnTo>
                      <a:pt x="136" y="133"/>
                    </a:lnTo>
                    <a:lnTo>
                      <a:pt x="134" y="133"/>
                    </a:lnTo>
                    <a:lnTo>
                      <a:pt x="132" y="133"/>
                    </a:lnTo>
                    <a:lnTo>
                      <a:pt x="132" y="132"/>
                    </a:lnTo>
                    <a:lnTo>
                      <a:pt x="132" y="130"/>
                    </a:lnTo>
                    <a:lnTo>
                      <a:pt x="130" y="130"/>
                    </a:lnTo>
                    <a:lnTo>
                      <a:pt x="128" y="130"/>
                    </a:lnTo>
                    <a:lnTo>
                      <a:pt x="128" y="130"/>
                    </a:lnTo>
                    <a:lnTo>
                      <a:pt x="128" y="132"/>
                    </a:lnTo>
                    <a:lnTo>
                      <a:pt x="128" y="132"/>
                    </a:lnTo>
                    <a:lnTo>
                      <a:pt x="125" y="130"/>
                    </a:lnTo>
                    <a:lnTo>
                      <a:pt x="123" y="130"/>
                    </a:lnTo>
                    <a:lnTo>
                      <a:pt x="121" y="132"/>
                    </a:lnTo>
                    <a:lnTo>
                      <a:pt x="119" y="132"/>
                    </a:lnTo>
                    <a:lnTo>
                      <a:pt x="116" y="135"/>
                    </a:lnTo>
                    <a:lnTo>
                      <a:pt x="114" y="135"/>
                    </a:lnTo>
                    <a:lnTo>
                      <a:pt x="114" y="137"/>
                    </a:lnTo>
                    <a:lnTo>
                      <a:pt x="116" y="137"/>
                    </a:lnTo>
                    <a:lnTo>
                      <a:pt x="116" y="139"/>
                    </a:lnTo>
                    <a:lnTo>
                      <a:pt x="116" y="139"/>
                    </a:lnTo>
                    <a:lnTo>
                      <a:pt x="103" y="141"/>
                    </a:lnTo>
                    <a:lnTo>
                      <a:pt x="103" y="139"/>
                    </a:lnTo>
                    <a:lnTo>
                      <a:pt x="103" y="139"/>
                    </a:lnTo>
                    <a:lnTo>
                      <a:pt x="102" y="139"/>
                    </a:lnTo>
                    <a:lnTo>
                      <a:pt x="100" y="142"/>
                    </a:lnTo>
                    <a:lnTo>
                      <a:pt x="96" y="146"/>
                    </a:lnTo>
                    <a:lnTo>
                      <a:pt x="94" y="151"/>
                    </a:lnTo>
                    <a:lnTo>
                      <a:pt x="94" y="155"/>
                    </a:lnTo>
                    <a:lnTo>
                      <a:pt x="93" y="160"/>
                    </a:lnTo>
                    <a:lnTo>
                      <a:pt x="93" y="162"/>
                    </a:lnTo>
                    <a:lnTo>
                      <a:pt x="94" y="162"/>
                    </a:lnTo>
                    <a:lnTo>
                      <a:pt x="94" y="164"/>
                    </a:lnTo>
                    <a:lnTo>
                      <a:pt x="91" y="166"/>
                    </a:lnTo>
                    <a:lnTo>
                      <a:pt x="73" y="171"/>
                    </a:lnTo>
                    <a:lnTo>
                      <a:pt x="62" y="171"/>
                    </a:lnTo>
                    <a:lnTo>
                      <a:pt x="61" y="171"/>
                    </a:lnTo>
                    <a:lnTo>
                      <a:pt x="59" y="173"/>
                    </a:lnTo>
                    <a:lnTo>
                      <a:pt x="59" y="173"/>
                    </a:lnTo>
                    <a:lnTo>
                      <a:pt x="57" y="175"/>
                    </a:lnTo>
                    <a:lnTo>
                      <a:pt x="53" y="173"/>
                    </a:lnTo>
                    <a:lnTo>
                      <a:pt x="34" y="173"/>
                    </a:lnTo>
                    <a:lnTo>
                      <a:pt x="34" y="175"/>
                    </a:lnTo>
                    <a:lnTo>
                      <a:pt x="32" y="175"/>
                    </a:lnTo>
                    <a:lnTo>
                      <a:pt x="7" y="166"/>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30" name="Freeform 3085"/>
              <p:cNvSpPr>
                <a:spLocks/>
              </p:cNvSpPr>
              <p:nvPr/>
            </p:nvSpPr>
            <p:spPr bwMode="auto">
              <a:xfrm>
                <a:off x="3414" y="2022"/>
                <a:ext cx="18" cy="18"/>
              </a:xfrm>
              <a:custGeom>
                <a:avLst/>
                <a:gdLst>
                  <a:gd name="T0" fmla="*/ 18 w 18"/>
                  <a:gd name="T1" fmla="*/ 18 h 18"/>
                  <a:gd name="T2" fmla="*/ 9 w 18"/>
                  <a:gd name="T3" fmla="*/ 16 h 18"/>
                  <a:gd name="T4" fmla="*/ 0 w 18"/>
                  <a:gd name="T5" fmla="*/ 2 h 18"/>
                  <a:gd name="T6" fmla="*/ 2 w 18"/>
                  <a:gd name="T7" fmla="*/ 0 h 18"/>
                  <a:gd name="T8" fmla="*/ 3 w 18"/>
                  <a:gd name="T9" fmla="*/ 2 h 18"/>
                  <a:gd name="T10" fmla="*/ 5 w 18"/>
                  <a:gd name="T11" fmla="*/ 3 h 18"/>
                  <a:gd name="T12" fmla="*/ 7 w 18"/>
                  <a:gd name="T13" fmla="*/ 3 h 18"/>
                  <a:gd name="T14" fmla="*/ 11 w 18"/>
                  <a:gd name="T15" fmla="*/ 3 h 18"/>
                  <a:gd name="T16" fmla="*/ 12 w 18"/>
                  <a:gd name="T17" fmla="*/ 3 h 18"/>
                  <a:gd name="T18" fmla="*/ 14 w 18"/>
                  <a:gd name="T19" fmla="*/ 3 h 18"/>
                  <a:gd name="T20" fmla="*/ 18 w 18"/>
                  <a:gd name="T21" fmla="*/ 10 h 18"/>
                  <a:gd name="T22" fmla="*/ 18 w 18"/>
                  <a:gd name="T2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8">
                    <a:moveTo>
                      <a:pt x="18" y="18"/>
                    </a:moveTo>
                    <a:lnTo>
                      <a:pt x="9" y="16"/>
                    </a:lnTo>
                    <a:lnTo>
                      <a:pt x="0" y="2"/>
                    </a:lnTo>
                    <a:lnTo>
                      <a:pt x="2" y="0"/>
                    </a:lnTo>
                    <a:lnTo>
                      <a:pt x="3" y="2"/>
                    </a:lnTo>
                    <a:lnTo>
                      <a:pt x="5" y="3"/>
                    </a:lnTo>
                    <a:lnTo>
                      <a:pt x="7" y="3"/>
                    </a:lnTo>
                    <a:lnTo>
                      <a:pt x="11" y="3"/>
                    </a:lnTo>
                    <a:lnTo>
                      <a:pt x="12" y="3"/>
                    </a:lnTo>
                    <a:lnTo>
                      <a:pt x="14" y="3"/>
                    </a:lnTo>
                    <a:lnTo>
                      <a:pt x="18" y="10"/>
                    </a:lnTo>
                    <a:lnTo>
                      <a:pt x="18" y="18"/>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31" name="Freeform 3086"/>
              <p:cNvSpPr>
                <a:spLocks/>
              </p:cNvSpPr>
              <p:nvPr/>
            </p:nvSpPr>
            <p:spPr bwMode="auto">
              <a:xfrm>
                <a:off x="3414" y="2022"/>
                <a:ext cx="18" cy="18"/>
              </a:xfrm>
              <a:custGeom>
                <a:avLst/>
                <a:gdLst>
                  <a:gd name="T0" fmla="*/ 18 w 18"/>
                  <a:gd name="T1" fmla="*/ 18 h 18"/>
                  <a:gd name="T2" fmla="*/ 9 w 18"/>
                  <a:gd name="T3" fmla="*/ 16 h 18"/>
                  <a:gd name="T4" fmla="*/ 0 w 18"/>
                  <a:gd name="T5" fmla="*/ 2 h 18"/>
                  <a:gd name="T6" fmla="*/ 2 w 18"/>
                  <a:gd name="T7" fmla="*/ 0 h 18"/>
                  <a:gd name="T8" fmla="*/ 3 w 18"/>
                  <a:gd name="T9" fmla="*/ 2 h 18"/>
                  <a:gd name="T10" fmla="*/ 5 w 18"/>
                  <a:gd name="T11" fmla="*/ 3 h 18"/>
                  <a:gd name="T12" fmla="*/ 7 w 18"/>
                  <a:gd name="T13" fmla="*/ 3 h 18"/>
                  <a:gd name="T14" fmla="*/ 11 w 18"/>
                  <a:gd name="T15" fmla="*/ 3 h 18"/>
                  <a:gd name="T16" fmla="*/ 12 w 18"/>
                  <a:gd name="T17" fmla="*/ 3 h 18"/>
                  <a:gd name="T18" fmla="*/ 14 w 18"/>
                  <a:gd name="T19" fmla="*/ 3 h 18"/>
                  <a:gd name="T20" fmla="*/ 18 w 18"/>
                  <a:gd name="T21" fmla="*/ 10 h 18"/>
                  <a:gd name="T22" fmla="*/ 18 w 18"/>
                  <a:gd name="T2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18">
                    <a:moveTo>
                      <a:pt x="18" y="18"/>
                    </a:moveTo>
                    <a:lnTo>
                      <a:pt x="9" y="16"/>
                    </a:lnTo>
                    <a:lnTo>
                      <a:pt x="0" y="2"/>
                    </a:lnTo>
                    <a:lnTo>
                      <a:pt x="2" y="0"/>
                    </a:lnTo>
                    <a:lnTo>
                      <a:pt x="3" y="2"/>
                    </a:lnTo>
                    <a:lnTo>
                      <a:pt x="5" y="3"/>
                    </a:lnTo>
                    <a:lnTo>
                      <a:pt x="7" y="3"/>
                    </a:lnTo>
                    <a:lnTo>
                      <a:pt x="11" y="3"/>
                    </a:lnTo>
                    <a:lnTo>
                      <a:pt x="12" y="3"/>
                    </a:lnTo>
                    <a:lnTo>
                      <a:pt x="14" y="3"/>
                    </a:lnTo>
                    <a:lnTo>
                      <a:pt x="18" y="10"/>
                    </a:lnTo>
                    <a:lnTo>
                      <a:pt x="18" y="18"/>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32" name="Freeform 3087"/>
              <p:cNvSpPr>
                <a:spLocks/>
              </p:cNvSpPr>
              <p:nvPr/>
            </p:nvSpPr>
            <p:spPr bwMode="auto">
              <a:xfrm>
                <a:off x="3416" y="1975"/>
                <a:ext cx="85" cy="72"/>
              </a:xfrm>
              <a:custGeom>
                <a:avLst/>
                <a:gdLst>
                  <a:gd name="T0" fmla="*/ 25 w 85"/>
                  <a:gd name="T1" fmla="*/ 2 h 72"/>
                  <a:gd name="T2" fmla="*/ 32 w 85"/>
                  <a:gd name="T3" fmla="*/ 7 h 72"/>
                  <a:gd name="T4" fmla="*/ 37 w 85"/>
                  <a:gd name="T5" fmla="*/ 15 h 72"/>
                  <a:gd name="T6" fmla="*/ 46 w 85"/>
                  <a:gd name="T7" fmla="*/ 15 h 72"/>
                  <a:gd name="T8" fmla="*/ 50 w 85"/>
                  <a:gd name="T9" fmla="*/ 9 h 72"/>
                  <a:gd name="T10" fmla="*/ 57 w 85"/>
                  <a:gd name="T11" fmla="*/ 2 h 72"/>
                  <a:gd name="T12" fmla="*/ 76 w 85"/>
                  <a:gd name="T13" fmla="*/ 29 h 72"/>
                  <a:gd name="T14" fmla="*/ 82 w 85"/>
                  <a:gd name="T15" fmla="*/ 29 h 72"/>
                  <a:gd name="T16" fmla="*/ 85 w 85"/>
                  <a:gd name="T17" fmla="*/ 36 h 72"/>
                  <a:gd name="T18" fmla="*/ 78 w 85"/>
                  <a:gd name="T19" fmla="*/ 32 h 72"/>
                  <a:gd name="T20" fmla="*/ 73 w 85"/>
                  <a:gd name="T21" fmla="*/ 38 h 72"/>
                  <a:gd name="T22" fmla="*/ 64 w 85"/>
                  <a:gd name="T23" fmla="*/ 57 h 72"/>
                  <a:gd name="T24" fmla="*/ 62 w 85"/>
                  <a:gd name="T25" fmla="*/ 72 h 72"/>
                  <a:gd name="T26" fmla="*/ 57 w 85"/>
                  <a:gd name="T27" fmla="*/ 72 h 72"/>
                  <a:gd name="T28" fmla="*/ 53 w 85"/>
                  <a:gd name="T29" fmla="*/ 68 h 72"/>
                  <a:gd name="T30" fmla="*/ 48 w 85"/>
                  <a:gd name="T31" fmla="*/ 65 h 72"/>
                  <a:gd name="T32" fmla="*/ 53 w 85"/>
                  <a:gd name="T33" fmla="*/ 61 h 72"/>
                  <a:gd name="T34" fmla="*/ 51 w 85"/>
                  <a:gd name="T35" fmla="*/ 50 h 72"/>
                  <a:gd name="T36" fmla="*/ 39 w 85"/>
                  <a:gd name="T37" fmla="*/ 50 h 72"/>
                  <a:gd name="T38" fmla="*/ 30 w 85"/>
                  <a:gd name="T39" fmla="*/ 59 h 72"/>
                  <a:gd name="T40" fmla="*/ 25 w 85"/>
                  <a:gd name="T41" fmla="*/ 65 h 72"/>
                  <a:gd name="T42" fmla="*/ 21 w 85"/>
                  <a:gd name="T43" fmla="*/ 59 h 72"/>
                  <a:gd name="T44" fmla="*/ 25 w 85"/>
                  <a:gd name="T45" fmla="*/ 56 h 72"/>
                  <a:gd name="T46" fmla="*/ 23 w 85"/>
                  <a:gd name="T47" fmla="*/ 52 h 72"/>
                  <a:gd name="T48" fmla="*/ 21 w 85"/>
                  <a:gd name="T49" fmla="*/ 49 h 72"/>
                  <a:gd name="T50" fmla="*/ 16 w 85"/>
                  <a:gd name="T51" fmla="*/ 47 h 72"/>
                  <a:gd name="T52" fmla="*/ 12 w 85"/>
                  <a:gd name="T53" fmla="*/ 41 h 72"/>
                  <a:gd name="T54" fmla="*/ 14 w 85"/>
                  <a:gd name="T55" fmla="*/ 38 h 72"/>
                  <a:gd name="T56" fmla="*/ 9 w 85"/>
                  <a:gd name="T57" fmla="*/ 32 h 72"/>
                  <a:gd name="T58" fmla="*/ 7 w 85"/>
                  <a:gd name="T59" fmla="*/ 27 h 72"/>
                  <a:gd name="T60" fmla="*/ 9 w 85"/>
                  <a:gd name="T61" fmla="*/ 24 h 72"/>
                  <a:gd name="T62" fmla="*/ 5 w 85"/>
                  <a:gd name="T63" fmla="*/ 20 h 72"/>
                  <a:gd name="T64" fmla="*/ 0 w 85"/>
                  <a:gd name="T65" fmla="*/ 13 h 72"/>
                  <a:gd name="T66" fmla="*/ 10 w 85"/>
                  <a:gd name="T67" fmla="*/ 11 h 72"/>
                  <a:gd name="T68" fmla="*/ 16 w 85"/>
                  <a:gd name="T69" fmla="*/ 15 h 72"/>
                  <a:gd name="T70" fmla="*/ 25 w 85"/>
                  <a:gd name="T71" fmla="*/ 16 h 72"/>
                  <a:gd name="T72" fmla="*/ 25 w 85"/>
                  <a:gd name="T73" fmla="*/ 13 h 72"/>
                  <a:gd name="T74" fmla="*/ 21 w 85"/>
                  <a:gd name="T75" fmla="*/ 7 h 72"/>
                  <a:gd name="T76" fmla="*/ 19 w 85"/>
                  <a:gd name="T77"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5" h="72">
                    <a:moveTo>
                      <a:pt x="23" y="0"/>
                    </a:moveTo>
                    <a:lnTo>
                      <a:pt x="25" y="2"/>
                    </a:lnTo>
                    <a:lnTo>
                      <a:pt x="28" y="2"/>
                    </a:lnTo>
                    <a:lnTo>
                      <a:pt x="32" y="7"/>
                    </a:lnTo>
                    <a:lnTo>
                      <a:pt x="34" y="7"/>
                    </a:lnTo>
                    <a:lnTo>
                      <a:pt x="37" y="15"/>
                    </a:lnTo>
                    <a:lnTo>
                      <a:pt x="44" y="15"/>
                    </a:lnTo>
                    <a:lnTo>
                      <a:pt x="46" y="15"/>
                    </a:lnTo>
                    <a:lnTo>
                      <a:pt x="48" y="13"/>
                    </a:lnTo>
                    <a:lnTo>
                      <a:pt x="50" y="9"/>
                    </a:lnTo>
                    <a:lnTo>
                      <a:pt x="53" y="7"/>
                    </a:lnTo>
                    <a:lnTo>
                      <a:pt x="57" y="2"/>
                    </a:lnTo>
                    <a:lnTo>
                      <a:pt x="73" y="27"/>
                    </a:lnTo>
                    <a:lnTo>
                      <a:pt x="76" y="29"/>
                    </a:lnTo>
                    <a:lnTo>
                      <a:pt x="80" y="27"/>
                    </a:lnTo>
                    <a:lnTo>
                      <a:pt x="82" y="29"/>
                    </a:lnTo>
                    <a:lnTo>
                      <a:pt x="84" y="31"/>
                    </a:lnTo>
                    <a:lnTo>
                      <a:pt x="85" y="36"/>
                    </a:lnTo>
                    <a:lnTo>
                      <a:pt x="82" y="32"/>
                    </a:lnTo>
                    <a:lnTo>
                      <a:pt x="78" y="32"/>
                    </a:lnTo>
                    <a:lnTo>
                      <a:pt x="75" y="34"/>
                    </a:lnTo>
                    <a:lnTo>
                      <a:pt x="73" y="38"/>
                    </a:lnTo>
                    <a:lnTo>
                      <a:pt x="67" y="61"/>
                    </a:lnTo>
                    <a:lnTo>
                      <a:pt x="64" y="57"/>
                    </a:lnTo>
                    <a:lnTo>
                      <a:pt x="62" y="59"/>
                    </a:lnTo>
                    <a:lnTo>
                      <a:pt x="62" y="72"/>
                    </a:lnTo>
                    <a:lnTo>
                      <a:pt x="60" y="72"/>
                    </a:lnTo>
                    <a:lnTo>
                      <a:pt x="57" y="72"/>
                    </a:lnTo>
                    <a:lnTo>
                      <a:pt x="55" y="70"/>
                    </a:lnTo>
                    <a:lnTo>
                      <a:pt x="53" y="68"/>
                    </a:lnTo>
                    <a:lnTo>
                      <a:pt x="51" y="66"/>
                    </a:lnTo>
                    <a:lnTo>
                      <a:pt x="48" y="65"/>
                    </a:lnTo>
                    <a:lnTo>
                      <a:pt x="48" y="65"/>
                    </a:lnTo>
                    <a:lnTo>
                      <a:pt x="53" y="61"/>
                    </a:lnTo>
                    <a:lnTo>
                      <a:pt x="51" y="56"/>
                    </a:lnTo>
                    <a:lnTo>
                      <a:pt x="51" y="50"/>
                    </a:lnTo>
                    <a:lnTo>
                      <a:pt x="46" y="49"/>
                    </a:lnTo>
                    <a:lnTo>
                      <a:pt x="39" y="50"/>
                    </a:lnTo>
                    <a:lnTo>
                      <a:pt x="32" y="56"/>
                    </a:lnTo>
                    <a:lnTo>
                      <a:pt x="30" y="59"/>
                    </a:lnTo>
                    <a:lnTo>
                      <a:pt x="28" y="65"/>
                    </a:lnTo>
                    <a:lnTo>
                      <a:pt x="25" y="65"/>
                    </a:lnTo>
                    <a:lnTo>
                      <a:pt x="23" y="61"/>
                    </a:lnTo>
                    <a:lnTo>
                      <a:pt x="21" y="59"/>
                    </a:lnTo>
                    <a:lnTo>
                      <a:pt x="23" y="57"/>
                    </a:lnTo>
                    <a:lnTo>
                      <a:pt x="25" y="56"/>
                    </a:lnTo>
                    <a:lnTo>
                      <a:pt x="23" y="54"/>
                    </a:lnTo>
                    <a:lnTo>
                      <a:pt x="23" y="52"/>
                    </a:lnTo>
                    <a:lnTo>
                      <a:pt x="23" y="50"/>
                    </a:lnTo>
                    <a:lnTo>
                      <a:pt x="21" y="49"/>
                    </a:lnTo>
                    <a:lnTo>
                      <a:pt x="19" y="49"/>
                    </a:lnTo>
                    <a:lnTo>
                      <a:pt x="16" y="47"/>
                    </a:lnTo>
                    <a:lnTo>
                      <a:pt x="12" y="43"/>
                    </a:lnTo>
                    <a:lnTo>
                      <a:pt x="12" y="41"/>
                    </a:lnTo>
                    <a:lnTo>
                      <a:pt x="14" y="40"/>
                    </a:lnTo>
                    <a:lnTo>
                      <a:pt x="14" y="38"/>
                    </a:lnTo>
                    <a:lnTo>
                      <a:pt x="14" y="36"/>
                    </a:lnTo>
                    <a:lnTo>
                      <a:pt x="9" y="32"/>
                    </a:lnTo>
                    <a:lnTo>
                      <a:pt x="7" y="29"/>
                    </a:lnTo>
                    <a:lnTo>
                      <a:pt x="7" y="27"/>
                    </a:lnTo>
                    <a:lnTo>
                      <a:pt x="7" y="25"/>
                    </a:lnTo>
                    <a:lnTo>
                      <a:pt x="9" y="24"/>
                    </a:lnTo>
                    <a:lnTo>
                      <a:pt x="7" y="22"/>
                    </a:lnTo>
                    <a:lnTo>
                      <a:pt x="5" y="20"/>
                    </a:lnTo>
                    <a:lnTo>
                      <a:pt x="3" y="20"/>
                    </a:lnTo>
                    <a:lnTo>
                      <a:pt x="0" y="13"/>
                    </a:lnTo>
                    <a:lnTo>
                      <a:pt x="5" y="11"/>
                    </a:lnTo>
                    <a:lnTo>
                      <a:pt x="10" y="11"/>
                    </a:lnTo>
                    <a:lnTo>
                      <a:pt x="12" y="13"/>
                    </a:lnTo>
                    <a:lnTo>
                      <a:pt x="16" y="15"/>
                    </a:lnTo>
                    <a:lnTo>
                      <a:pt x="18" y="15"/>
                    </a:lnTo>
                    <a:lnTo>
                      <a:pt x="25" y="16"/>
                    </a:lnTo>
                    <a:lnTo>
                      <a:pt x="26" y="15"/>
                    </a:lnTo>
                    <a:lnTo>
                      <a:pt x="25" y="13"/>
                    </a:lnTo>
                    <a:lnTo>
                      <a:pt x="21" y="11"/>
                    </a:lnTo>
                    <a:lnTo>
                      <a:pt x="21" y="7"/>
                    </a:lnTo>
                    <a:lnTo>
                      <a:pt x="19" y="6"/>
                    </a:lnTo>
                    <a:lnTo>
                      <a:pt x="19" y="4"/>
                    </a:lnTo>
                    <a:lnTo>
                      <a:pt x="2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33" name="Freeform 3088"/>
              <p:cNvSpPr>
                <a:spLocks/>
              </p:cNvSpPr>
              <p:nvPr/>
            </p:nvSpPr>
            <p:spPr bwMode="auto">
              <a:xfrm>
                <a:off x="3416" y="1975"/>
                <a:ext cx="85" cy="72"/>
              </a:xfrm>
              <a:custGeom>
                <a:avLst/>
                <a:gdLst>
                  <a:gd name="T0" fmla="*/ 25 w 85"/>
                  <a:gd name="T1" fmla="*/ 2 h 72"/>
                  <a:gd name="T2" fmla="*/ 32 w 85"/>
                  <a:gd name="T3" fmla="*/ 7 h 72"/>
                  <a:gd name="T4" fmla="*/ 37 w 85"/>
                  <a:gd name="T5" fmla="*/ 15 h 72"/>
                  <a:gd name="T6" fmla="*/ 46 w 85"/>
                  <a:gd name="T7" fmla="*/ 15 h 72"/>
                  <a:gd name="T8" fmla="*/ 50 w 85"/>
                  <a:gd name="T9" fmla="*/ 9 h 72"/>
                  <a:gd name="T10" fmla="*/ 57 w 85"/>
                  <a:gd name="T11" fmla="*/ 2 h 72"/>
                  <a:gd name="T12" fmla="*/ 76 w 85"/>
                  <a:gd name="T13" fmla="*/ 29 h 72"/>
                  <a:gd name="T14" fmla="*/ 82 w 85"/>
                  <a:gd name="T15" fmla="*/ 29 h 72"/>
                  <a:gd name="T16" fmla="*/ 85 w 85"/>
                  <a:gd name="T17" fmla="*/ 36 h 72"/>
                  <a:gd name="T18" fmla="*/ 78 w 85"/>
                  <a:gd name="T19" fmla="*/ 32 h 72"/>
                  <a:gd name="T20" fmla="*/ 73 w 85"/>
                  <a:gd name="T21" fmla="*/ 38 h 72"/>
                  <a:gd name="T22" fmla="*/ 64 w 85"/>
                  <a:gd name="T23" fmla="*/ 57 h 72"/>
                  <a:gd name="T24" fmla="*/ 62 w 85"/>
                  <a:gd name="T25" fmla="*/ 72 h 72"/>
                  <a:gd name="T26" fmla="*/ 57 w 85"/>
                  <a:gd name="T27" fmla="*/ 72 h 72"/>
                  <a:gd name="T28" fmla="*/ 53 w 85"/>
                  <a:gd name="T29" fmla="*/ 68 h 72"/>
                  <a:gd name="T30" fmla="*/ 48 w 85"/>
                  <a:gd name="T31" fmla="*/ 65 h 72"/>
                  <a:gd name="T32" fmla="*/ 53 w 85"/>
                  <a:gd name="T33" fmla="*/ 61 h 72"/>
                  <a:gd name="T34" fmla="*/ 51 w 85"/>
                  <a:gd name="T35" fmla="*/ 50 h 72"/>
                  <a:gd name="T36" fmla="*/ 39 w 85"/>
                  <a:gd name="T37" fmla="*/ 50 h 72"/>
                  <a:gd name="T38" fmla="*/ 30 w 85"/>
                  <a:gd name="T39" fmla="*/ 59 h 72"/>
                  <a:gd name="T40" fmla="*/ 25 w 85"/>
                  <a:gd name="T41" fmla="*/ 65 h 72"/>
                  <a:gd name="T42" fmla="*/ 21 w 85"/>
                  <a:gd name="T43" fmla="*/ 59 h 72"/>
                  <a:gd name="T44" fmla="*/ 25 w 85"/>
                  <a:gd name="T45" fmla="*/ 56 h 72"/>
                  <a:gd name="T46" fmla="*/ 23 w 85"/>
                  <a:gd name="T47" fmla="*/ 52 h 72"/>
                  <a:gd name="T48" fmla="*/ 21 w 85"/>
                  <a:gd name="T49" fmla="*/ 49 h 72"/>
                  <a:gd name="T50" fmla="*/ 16 w 85"/>
                  <a:gd name="T51" fmla="*/ 47 h 72"/>
                  <a:gd name="T52" fmla="*/ 12 w 85"/>
                  <a:gd name="T53" fmla="*/ 41 h 72"/>
                  <a:gd name="T54" fmla="*/ 14 w 85"/>
                  <a:gd name="T55" fmla="*/ 38 h 72"/>
                  <a:gd name="T56" fmla="*/ 9 w 85"/>
                  <a:gd name="T57" fmla="*/ 32 h 72"/>
                  <a:gd name="T58" fmla="*/ 7 w 85"/>
                  <a:gd name="T59" fmla="*/ 27 h 72"/>
                  <a:gd name="T60" fmla="*/ 9 w 85"/>
                  <a:gd name="T61" fmla="*/ 24 h 72"/>
                  <a:gd name="T62" fmla="*/ 5 w 85"/>
                  <a:gd name="T63" fmla="*/ 20 h 72"/>
                  <a:gd name="T64" fmla="*/ 0 w 85"/>
                  <a:gd name="T65" fmla="*/ 13 h 72"/>
                  <a:gd name="T66" fmla="*/ 10 w 85"/>
                  <a:gd name="T67" fmla="*/ 11 h 72"/>
                  <a:gd name="T68" fmla="*/ 16 w 85"/>
                  <a:gd name="T69" fmla="*/ 15 h 72"/>
                  <a:gd name="T70" fmla="*/ 25 w 85"/>
                  <a:gd name="T71" fmla="*/ 16 h 72"/>
                  <a:gd name="T72" fmla="*/ 25 w 85"/>
                  <a:gd name="T73" fmla="*/ 13 h 72"/>
                  <a:gd name="T74" fmla="*/ 21 w 85"/>
                  <a:gd name="T75" fmla="*/ 7 h 72"/>
                  <a:gd name="T76" fmla="*/ 19 w 85"/>
                  <a:gd name="T77" fmla="*/ 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5" h="72">
                    <a:moveTo>
                      <a:pt x="23" y="0"/>
                    </a:moveTo>
                    <a:lnTo>
                      <a:pt x="25" y="2"/>
                    </a:lnTo>
                    <a:lnTo>
                      <a:pt x="28" y="2"/>
                    </a:lnTo>
                    <a:lnTo>
                      <a:pt x="32" y="7"/>
                    </a:lnTo>
                    <a:lnTo>
                      <a:pt x="34" y="7"/>
                    </a:lnTo>
                    <a:lnTo>
                      <a:pt x="37" y="15"/>
                    </a:lnTo>
                    <a:lnTo>
                      <a:pt x="44" y="15"/>
                    </a:lnTo>
                    <a:lnTo>
                      <a:pt x="46" y="15"/>
                    </a:lnTo>
                    <a:lnTo>
                      <a:pt x="48" y="13"/>
                    </a:lnTo>
                    <a:lnTo>
                      <a:pt x="50" y="9"/>
                    </a:lnTo>
                    <a:lnTo>
                      <a:pt x="53" y="7"/>
                    </a:lnTo>
                    <a:lnTo>
                      <a:pt x="57" y="2"/>
                    </a:lnTo>
                    <a:lnTo>
                      <a:pt x="73" y="27"/>
                    </a:lnTo>
                    <a:lnTo>
                      <a:pt x="76" y="29"/>
                    </a:lnTo>
                    <a:lnTo>
                      <a:pt x="80" y="27"/>
                    </a:lnTo>
                    <a:lnTo>
                      <a:pt x="82" y="29"/>
                    </a:lnTo>
                    <a:lnTo>
                      <a:pt x="84" y="31"/>
                    </a:lnTo>
                    <a:lnTo>
                      <a:pt x="85" y="36"/>
                    </a:lnTo>
                    <a:lnTo>
                      <a:pt x="82" y="32"/>
                    </a:lnTo>
                    <a:lnTo>
                      <a:pt x="78" y="32"/>
                    </a:lnTo>
                    <a:lnTo>
                      <a:pt x="75" y="34"/>
                    </a:lnTo>
                    <a:lnTo>
                      <a:pt x="73" y="38"/>
                    </a:lnTo>
                    <a:lnTo>
                      <a:pt x="67" y="61"/>
                    </a:lnTo>
                    <a:lnTo>
                      <a:pt x="64" y="57"/>
                    </a:lnTo>
                    <a:lnTo>
                      <a:pt x="62" y="59"/>
                    </a:lnTo>
                    <a:lnTo>
                      <a:pt x="62" y="72"/>
                    </a:lnTo>
                    <a:lnTo>
                      <a:pt x="60" y="72"/>
                    </a:lnTo>
                    <a:lnTo>
                      <a:pt x="57" y="72"/>
                    </a:lnTo>
                    <a:lnTo>
                      <a:pt x="55" y="70"/>
                    </a:lnTo>
                    <a:lnTo>
                      <a:pt x="53" y="68"/>
                    </a:lnTo>
                    <a:lnTo>
                      <a:pt x="51" y="66"/>
                    </a:lnTo>
                    <a:lnTo>
                      <a:pt x="48" y="65"/>
                    </a:lnTo>
                    <a:lnTo>
                      <a:pt x="48" y="65"/>
                    </a:lnTo>
                    <a:lnTo>
                      <a:pt x="53" y="61"/>
                    </a:lnTo>
                    <a:lnTo>
                      <a:pt x="51" y="56"/>
                    </a:lnTo>
                    <a:lnTo>
                      <a:pt x="51" y="50"/>
                    </a:lnTo>
                    <a:lnTo>
                      <a:pt x="46" y="49"/>
                    </a:lnTo>
                    <a:lnTo>
                      <a:pt x="39" y="50"/>
                    </a:lnTo>
                    <a:lnTo>
                      <a:pt x="32" y="56"/>
                    </a:lnTo>
                    <a:lnTo>
                      <a:pt x="30" y="59"/>
                    </a:lnTo>
                    <a:lnTo>
                      <a:pt x="28" y="65"/>
                    </a:lnTo>
                    <a:lnTo>
                      <a:pt x="25" y="65"/>
                    </a:lnTo>
                    <a:lnTo>
                      <a:pt x="23" y="61"/>
                    </a:lnTo>
                    <a:lnTo>
                      <a:pt x="21" y="59"/>
                    </a:lnTo>
                    <a:lnTo>
                      <a:pt x="23" y="57"/>
                    </a:lnTo>
                    <a:lnTo>
                      <a:pt x="25" y="56"/>
                    </a:lnTo>
                    <a:lnTo>
                      <a:pt x="23" y="54"/>
                    </a:lnTo>
                    <a:lnTo>
                      <a:pt x="23" y="52"/>
                    </a:lnTo>
                    <a:lnTo>
                      <a:pt x="23" y="50"/>
                    </a:lnTo>
                    <a:lnTo>
                      <a:pt x="21" y="49"/>
                    </a:lnTo>
                    <a:lnTo>
                      <a:pt x="19" y="49"/>
                    </a:lnTo>
                    <a:lnTo>
                      <a:pt x="16" y="47"/>
                    </a:lnTo>
                    <a:lnTo>
                      <a:pt x="12" y="43"/>
                    </a:lnTo>
                    <a:lnTo>
                      <a:pt x="12" y="41"/>
                    </a:lnTo>
                    <a:lnTo>
                      <a:pt x="14" y="40"/>
                    </a:lnTo>
                    <a:lnTo>
                      <a:pt x="14" y="38"/>
                    </a:lnTo>
                    <a:lnTo>
                      <a:pt x="14" y="36"/>
                    </a:lnTo>
                    <a:lnTo>
                      <a:pt x="9" y="32"/>
                    </a:lnTo>
                    <a:lnTo>
                      <a:pt x="7" y="29"/>
                    </a:lnTo>
                    <a:lnTo>
                      <a:pt x="7" y="27"/>
                    </a:lnTo>
                    <a:lnTo>
                      <a:pt x="7" y="25"/>
                    </a:lnTo>
                    <a:lnTo>
                      <a:pt x="9" y="24"/>
                    </a:lnTo>
                    <a:lnTo>
                      <a:pt x="7" y="22"/>
                    </a:lnTo>
                    <a:lnTo>
                      <a:pt x="5" y="20"/>
                    </a:lnTo>
                    <a:lnTo>
                      <a:pt x="3" y="20"/>
                    </a:lnTo>
                    <a:lnTo>
                      <a:pt x="0" y="13"/>
                    </a:lnTo>
                    <a:lnTo>
                      <a:pt x="5" y="11"/>
                    </a:lnTo>
                    <a:lnTo>
                      <a:pt x="10" y="11"/>
                    </a:lnTo>
                    <a:lnTo>
                      <a:pt x="12" y="13"/>
                    </a:lnTo>
                    <a:lnTo>
                      <a:pt x="16" y="15"/>
                    </a:lnTo>
                    <a:lnTo>
                      <a:pt x="18" y="15"/>
                    </a:lnTo>
                    <a:lnTo>
                      <a:pt x="25" y="16"/>
                    </a:lnTo>
                    <a:lnTo>
                      <a:pt x="26" y="15"/>
                    </a:lnTo>
                    <a:lnTo>
                      <a:pt x="25" y="13"/>
                    </a:lnTo>
                    <a:lnTo>
                      <a:pt x="21" y="11"/>
                    </a:lnTo>
                    <a:lnTo>
                      <a:pt x="21" y="7"/>
                    </a:lnTo>
                    <a:lnTo>
                      <a:pt x="19" y="6"/>
                    </a:lnTo>
                    <a:lnTo>
                      <a:pt x="19" y="4"/>
                    </a:lnTo>
                    <a:lnTo>
                      <a:pt x="2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34" name="Freeform 3089"/>
              <p:cNvSpPr>
                <a:spLocks/>
              </p:cNvSpPr>
              <p:nvPr/>
            </p:nvSpPr>
            <p:spPr bwMode="auto">
              <a:xfrm>
                <a:off x="3441" y="1647"/>
                <a:ext cx="650" cy="348"/>
              </a:xfrm>
              <a:custGeom>
                <a:avLst/>
                <a:gdLst>
                  <a:gd name="T0" fmla="*/ 132 w 650"/>
                  <a:gd name="T1" fmla="*/ 325 h 348"/>
                  <a:gd name="T2" fmla="*/ 98 w 650"/>
                  <a:gd name="T3" fmla="*/ 310 h 348"/>
                  <a:gd name="T4" fmla="*/ 69 w 650"/>
                  <a:gd name="T5" fmla="*/ 284 h 348"/>
                  <a:gd name="T6" fmla="*/ 80 w 650"/>
                  <a:gd name="T7" fmla="*/ 271 h 348"/>
                  <a:gd name="T8" fmla="*/ 87 w 650"/>
                  <a:gd name="T9" fmla="*/ 255 h 348"/>
                  <a:gd name="T10" fmla="*/ 123 w 650"/>
                  <a:gd name="T11" fmla="*/ 259 h 348"/>
                  <a:gd name="T12" fmla="*/ 123 w 650"/>
                  <a:gd name="T13" fmla="*/ 241 h 348"/>
                  <a:gd name="T14" fmla="*/ 107 w 650"/>
                  <a:gd name="T15" fmla="*/ 218 h 348"/>
                  <a:gd name="T16" fmla="*/ 60 w 650"/>
                  <a:gd name="T17" fmla="*/ 219 h 348"/>
                  <a:gd name="T18" fmla="*/ 25 w 650"/>
                  <a:gd name="T19" fmla="*/ 227 h 348"/>
                  <a:gd name="T20" fmla="*/ 30 w 650"/>
                  <a:gd name="T21" fmla="*/ 203 h 348"/>
                  <a:gd name="T22" fmla="*/ 10 w 650"/>
                  <a:gd name="T23" fmla="*/ 193 h 348"/>
                  <a:gd name="T24" fmla="*/ 9 w 650"/>
                  <a:gd name="T25" fmla="*/ 164 h 348"/>
                  <a:gd name="T26" fmla="*/ 14 w 650"/>
                  <a:gd name="T27" fmla="*/ 134 h 348"/>
                  <a:gd name="T28" fmla="*/ 32 w 650"/>
                  <a:gd name="T29" fmla="*/ 127 h 348"/>
                  <a:gd name="T30" fmla="*/ 55 w 650"/>
                  <a:gd name="T31" fmla="*/ 112 h 348"/>
                  <a:gd name="T32" fmla="*/ 75 w 650"/>
                  <a:gd name="T33" fmla="*/ 100 h 348"/>
                  <a:gd name="T34" fmla="*/ 91 w 650"/>
                  <a:gd name="T35" fmla="*/ 98 h 348"/>
                  <a:gd name="T36" fmla="*/ 114 w 650"/>
                  <a:gd name="T37" fmla="*/ 107 h 348"/>
                  <a:gd name="T38" fmla="*/ 130 w 650"/>
                  <a:gd name="T39" fmla="*/ 128 h 348"/>
                  <a:gd name="T40" fmla="*/ 137 w 650"/>
                  <a:gd name="T41" fmla="*/ 125 h 348"/>
                  <a:gd name="T42" fmla="*/ 162 w 650"/>
                  <a:gd name="T43" fmla="*/ 119 h 348"/>
                  <a:gd name="T44" fmla="*/ 187 w 650"/>
                  <a:gd name="T45" fmla="*/ 114 h 348"/>
                  <a:gd name="T46" fmla="*/ 207 w 650"/>
                  <a:gd name="T47" fmla="*/ 130 h 348"/>
                  <a:gd name="T48" fmla="*/ 237 w 650"/>
                  <a:gd name="T49" fmla="*/ 123 h 348"/>
                  <a:gd name="T50" fmla="*/ 216 w 650"/>
                  <a:gd name="T51" fmla="*/ 94 h 348"/>
                  <a:gd name="T52" fmla="*/ 228 w 650"/>
                  <a:gd name="T53" fmla="*/ 71 h 348"/>
                  <a:gd name="T54" fmla="*/ 244 w 650"/>
                  <a:gd name="T55" fmla="*/ 59 h 348"/>
                  <a:gd name="T56" fmla="*/ 237 w 650"/>
                  <a:gd name="T57" fmla="*/ 50 h 348"/>
                  <a:gd name="T58" fmla="*/ 239 w 650"/>
                  <a:gd name="T59" fmla="*/ 39 h 348"/>
                  <a:gd name="T60" fmla="*/ 262 w 650"/>
                  <a:gd name="T61" fmla="*/ 37 h 348"/>
                  <a:gd name="T62" fmla="*/ 282 w 650"/>
                  <a:gd name="T63" fmla="*/ 32 h 348"/>
                  <a:gd name="T64" fmla="*/ 300 w 650"/>
                  <a:gd name="T65" fmla="*/ 23 h 348"/>
                  <a:gd name="T66" fmla="*/ 344 w 650"/>
                  <a:gd name="T67" fmla="*/ 12 h 348"/>
                  <a:gd name="T68" fmla="*/ 359 w 650"/>
                  <a:gd name="T69" fmla="*/ 2 h 348"/>
                  <a:gd name="T70" fmla="*/ 375 w 650"/>
                  <a:gd name="T71" fmla="*/ 3 h 348"/>
                  <a:gd name="T72" fmla="*/ 391 w 650"/>
                  <a:gd name="T73" fmla="*/ 16 h 348"/>
                  <a:gd name="T74" fmla="*/ 398 w 650"/>
                  <a:gd name="T75" fmla="*/ 34 h 348"/>
                  <a:gd name="T76" fmla="*/ 412 w 650"/>
                  <a:gd name="T77" fmla="*/ 34 h 348"/>
                  <a:gd name="T78" fmla="*/ 428 w 650"/>
                  <a:gd name="T79" fmla="*/ 41 h 348"/>
                  <a:gd name="T80" fmla="*/ 428 w 650"/>
                  <a:gd name="T81" fmla="*/ 46 h 348"/>
                  <a:gd name="T82" fmla="*/ 442 w 650"/>
                  <a:gd name="T83" fmla="*/ 50 h 348"/>
                  <a:gd name="T84" fmla="*/ 460 w 650"/>
                  <a:gd name="T85" fmla="*/ 41 h 348"/>
                  <a:gd name="T86" fmla="*/ 485 w 650"/>
                  <a:gd name="T87" fmla="*/ 30 h 348"/>
                  <a:gd name="T88" fmla="*/ 501 w 650"/>
                  <a:gd name="T89" fmla="*/ 59 h 348"/>
                  <a:gd name="T90" fmla="*/ 551 w 650"/>
                  <a:gd name="T91" fmla="*/ 114 h 348"/>
                  <a:gd name="T92" fmla="*/ 573 w 650"/>
                  <a:gd name="T93" fmla="*/ 125 h 348"/>
                  <a:gd name="T94" fmla="*/ 592 w 650"/>
                  <a:gd name="T95" fmla="*/ 119 h 348"/>
                  <a:gd name="T96" fmla="*/ 603 w 650"/>
                  <a:gd name="T97" fmla="*/ 135 h 348"/>
                  <a:gd name="T98" fmla="*/ 619 w 650"/>
                  <a:gd name="T99" fmla="*/ 152 h 348"/>
                  <a:gd name="T100" fmla="*/ 642 w 650"/>
                  <a:gd name="T101" fmla="*/ 153 h 348"/>
                  <a:gd name="T102" fmla="*/ 639 w 650"/>
                  <a:gd name="T103" fmla="*/ 182 h 348"/>
                  <a:gd name="T104" fmla="*/ 598 w 650"/>
                  <a:gd name="T105" fmla="*/ 216 h 348"/>
                  <a:gd name="T106" fmla="*/ 535 w 650"/>
                  <a:gd name="T107" fmla="*/ 266 h 348"/>
                  <a:gd name="T108" fmla="*/ 539 w 650"/>
                  <a:gd name="T109" fmla="*/ 321 h 348"/>
                  <a:gd name="T110" fmla="*/ 489 w 650"/>
                  <a:gd name="T111" fmla="*/ 305 h 348"/>
                  <a:gd name="T112" fmla="*/ 439 w 650"/>
                  <a:gd name="T113" fmla="*/ 302 h 348"/>
                  <a:gd name="T114" fmla="*/ 403 w 650"/>
                  <a:gd name="T115" fmla="*/ 310 h 348"/>
                  <a:gd name="T116" fmla="*/ 382 w 650"/>
                  <a:gd name="T117" fmla="*/ 325 h 348"/>
                  <a:gd name="T118" fmla="*/ 342 w 650"/>
                  <a:gd name="T119" fmla="*/ 343 h 348"/>
                  <a:gd name="T120" fmla="*/ 305 w 650"/>
                  <a:gd name="T121" fmla="*/ 29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0" h="348">
                    <a:moveTo>
                      <a:pt x="151" y="262"/>
                    </a:moveTo>
                    <a:lnTo>
                      <a:pt x="151" y="341"/>
                    </a:lnTo>
                    <a:lnTo>
                      <a:pt x="148" y="343"/>
                    </a:lnTo>
                    <a:lnTo>
                      <a:pt x="142" y="343"/>
                    </a:lnTo>
                    <a:lnTo>
                      <a:pt x="139" y="341"/>
                    </a:lnTo>
                    <a:lnTo>
                      <a:pt x="135" y="332"/>
                    </a:lnTo>
                    <a:lnTo>
                      <a:pt x="134" y="330"/>
                    </a:lnTo>
                    <a:lnTo>
                      <a:pt x="132" y="325"/>
                    </a:lnTo>
                    <a:lnTo>
                      <a:pt x="130" y="323"/>
                    </a:lnTo>
                    <a:lnTo>
                      <a:pt x="121" y="319"/>
                    </a:lnTo>
                    <a:lnTo>
                      <a:pt x="119" y="319"/>
                    </a:lnTo>
                    <a:lnTo>
                      <a:pt x="103" y="323"/>
                    </a:lnTo>
                    <a:lnTo>
                      <a:pt x="94" y="332"/>
                    </a:lnTo>
                    <a:lnTo>
                      <a:pt x="94" y="319"/>
                    </a:lnTo>
                    <a:lnTo>
                      <a:pt x="98" y="316"/>
                    </a:lnTo>
                    <a:lnTo>
                      <a:pt x="98" y="310"/>
                    </a:lnTo>
                    <a:lnTo>
                      <a:pt x="94" y="309"/>
                    </a:lnTo>
                    <a:lnTo>
                      <a:pt x="91" y="309"/>
                    </a:lnTo>
                    <a:lnTo>
                      <a:pt x="85" y="307"/>
                    </a:lnTo>
                    <a:lnTo>
                      <a:pt x="82" y="302"/>
                    </a:lnTo>
                    <a:lnTo>
                      <a:pt x="76" y="302"/>
                    </a:lnTo>
                    <a:lnTo>
                      <a:pt x="75" y="291"/>
                    </a:lnTo>
                    <a:lnTo>
                      <a:pt x="73" y="285"/>
                    </a:lnTo>
                    <a:lnTo>
                      <a:pt x="69" y="284"/>
                    </a:lnTo>
                    <a:lnTo>
                      <a:pt x="67" y="278"/>
                    </a:lnTo>
                    <a:lnTo>
                      <a:pt x="60" y="277"/>
                    </a:lnTo>
                    <a:lnTo>
                      <a:pt x="57" y="271"/>
                    </a:lnTo>
                    <a:lnTo>
                      <a:pt x="60" y="269"/>
                    </a:lnTo>
                    <a:lnTo>
                      <a:pt x="66" y="269"/>
                    </a:lnTo>
                    <a:lnTo>
                      <a:pt x="73" y="271"/>
                    </a:lnTo>
                    <a:lnTo>
                      <a:pt x="75" y="271"/>
                    </a:lnTo>
                    <a:lnTo>
                      <a:pt x="80" y="271"/>
                    </a:lnTo>
                    <a:lnTo>
                      <a:pt x="76" y="266"/>
                    </a:lnTo>
                    <a:lnTo>
                      <a:pt x="76" y="260"/>
                    </a:lnTo>
                    <a:lnTo>
                      <a:pt x="78" y="257"/>
                    </a:lnTo>
                    <a:lnTo>
                      <a:pt x="80" y="257"/>
                    </a:lnTo>
                    <a:lnTo>
                      <a:pt x="80" y="259"/>
                    </a:lnTo>
                    <a:lnTo>
                      <a:pt x="84" y="259"/>
                    </a:lnTo>
                    <a:lnTo>
                      <a:pt x="87" y="257"/>
                    </a:lnTo>
                    <a:lnTo>
                      <a:pt x="87" y="255"/>
                    </a:lnTo>
                    <a:lnTo>
                      <a:pt x="91" y="252"/>
                    </a:lnTo>
                    <a:lnTo>
                      <a:pt x="96" y="252"/>
                    </a:lnTo>
                    <a:lnTo>
                      <a:pt x="105" y="257"/>
                    </a:lnTo>
                    <a:lnTo>
                      <a:pt x="109" y="255"/>
                    </a:lnTo>
                    <a:lnTo>
                      <a:pt x="112" y="253"/>
                    </a:lnTo>
                    <a:lnTo>
                      <a:pt x="114" y="253"/>
                    </a:lnTo>
                    <a:lnTo>
                      <a:pt x="116" y="255"/>
                    </a:lnTo>
                    <a:lnTo>
                      <a:pt x="123" y="259"/>
                    </a:lnTo>
                    <a:lnTo>
                      <a:pt x="126" y="259"/>
                    </a:lnTo>
                    <a:lnTo>
                      <a:pt x="130" y="259"/>
                    </a:lnTo>
                    <a:lnTo>
                      <a:pt x="132" y="257"/>
                    </a:lnTo>
                    <a:lnTo>
                      <a:pt x="130" y="253"/>
                    </a:lnTo>
                    <a:lnTo>
                      <a:pt x="132" y="253"/>
                    </a:lnTo>
                    <a:lnTo>
                      <a:pt x="126" y="244"/>
                    </a:lnTo>
                    <a:lnTo>
                      <a:pt x="125" y="243"/>
                    </a:lnTo>
                    <a:lnTo>
                      <a:pt x="123" y="241"/>
                    </a:lnTo>
                    <a:lnTo>
                      <a:pt x="119" y="241"/>
                    </a:lnTo>
                    <a:lnTo>
                      <a:pt x="116" y="235"/>
                    </a:lnTo>
                    <a:lnTo>
                      <a:pt x="114" y="228"/>
                    </a:lnTo>
                    <a:lnTo>
                      <a:pt x="112" y="225"/>
                    </a:lnTo>
                    <a:lnTo>
                      <a:pt x="112" y="227"/>
                    </a:lnTo>
                    <a:lnTo>
                      <a:pt x="109" y="221"/>
                    </a:lnTo>
                    <a:lnTo>
                      <a:pt x="109" y="221"/>
                    </a:lnTo>
                    <a:lnTo>
                      <a:pt x="107" y="218"/>
                    </a:lnTo>
                    <a:lnTo>
                      <a:pt x="101" y="214"/>
                    </a:lnTo>
                    <a:lnTo>
                      <a:pt x="98" y="212"/>
                    </a:lnTo>
                    <a:lnTo>
                      <a:pt x="98" y="212"/>
                    </a:lnTo>
                    <a:lnTo>
                      <a:pt x="94" y="210"/>
                    </a:lnTo>
                    <a:lnTo>
                      <a:pt x="85" y="214"/>
                    </a:lnTo>
                    <a:lnTo>
                      <a:pt x="84" y="212"/>
                    </a:lnTo>
                    <a:lnTo>
                      <a:pt x="71" y="210"/>
                    </a:lnTo>
                    <a:lnTo>
                      <a:pt x="60" y="219"/>
                    </a:lnTo>
                    <a:lnTo>
                      <a:pt x="34" y="225"/>
                    </a:lnTo>
                    <a:lnTo>
                      <a:pt x="39" y="230"/>
                    </a:lnTo>
                    <a:lnTo>
                      <a:pt x="35" y="232"/>
                    </a:lnTo>
                    <a:lnTo>
                      <a:pt x="32" y="230"/>
                    </a:lnTo>
                    <a:lnTo>
                      <a:pt x="32" y="228"/>
                    </a:lnTo>
                    <a:lnTo>
                      <a:pt x="30" y="228"/>
                    </a:lnTo>
                    <a:lnTo>
                      <a:pt x="26" y="228"/>
                    </a:lnTo>
                    <a:lnTo>
                      <a:pt x="25" y="227"/>
                    </a:lnTo>
                    <a:lnTo>
                      <a:pt x="25" y="225"/>
                    </a:lnTo>
                    <a:lnTo>
                      <a:pt x="26" y="223"/>
                    </a:lnTo>
                    <a:lnTo>
                      <a:pt x="26" y="221"/>
                    </a:lnTo>
                    <a:lnTo>
                      <a:pt x="28" y="221"/>
                    </a:lnTo>
                    <a:lnTo>
                      <a:pt x="32" y="223"/>
                    </a:lnTo>
                    <a:lnTo>
                      <a:pt x="35" y="221"/>
                    </a:lnTo>
                    <a:lnTo>
                      <a:pt x="32" y="205"/>
                    </a:lnTo>
                    <a:lnTo>
                      <a:pt x="30" y="203"/>
                    </a:lnTo>
                    <a:lnTo>
                      <a:pt x="28" y="202"/>
                    </a:lnTo>
                    <a:lnTo>
                      <a:pt x="28" y="200"/>
                    </a:lnTo>
                    <a:lnTo>
                      <a:pt x="25" y="196"/>
                    </a:lnTo>
                    <a:lnTo>
                      <a:pt x="17" y="196"/>
                    </a:lnTo>
                    <a:lnTo>
                      <a:pt x="14" y="196"/>
                    </a:lnTo>
                    <a:lnTo>
                      <a:pt x="14" y="198"/>
                    </a:lnTo>
                    <a:lnTo>
                      <a:pt x="10" y="194"/>
                    </a:lnTo>
                    <a:lnTo>
                      <a:pt x="10" y="193"/>
                    </a:lnTo>
                    <a:lnTo>
                      <a:pt x="9" y="191"/>
                    </a:lnTo>
                    <a:lnTo>
                      <a:pt x="10" y="189"/>
                    </a:lnTo>
                    <a:lnTo>
                      <a:pt x="9" y="185"/>
                    </a:lnTo>
                    <a:lnTo>
                      <a:pt x="9" y="184"/>
                    </a:lnTo>
                    <a:lnTo>
                      <a:pt x="0" y="182"/>
                    </a:lnTo>
                    <a:lnTo>
                      <a:pt x="3" y="168"/>
                    </a:lnTo>
                    <a:lnTo>
                      <a:pt x="7" y="166"/>
                    </a:lnTo>
                    <a:lnTo>
                      <a:pt x="9" y="164"/>
                    </a:lnTo>
                    <a:lnTo>
                      <a:pt x="7" y="162"/>
                    </a:lnTo>
                    <a:lnTo>
                      <a:pt x="5" y="159"/>
                    </a:lnTo>
                    <a:lnTo>
                      <a:pt x="7" y="146"/>
                    </a:lnTo>
                    <a:lnTo>
                      <a:pt x="12" y="143"/>
                    </a:lnTo>
                    <a:lnTo>
                      <a:pt x="12" y="141"/>
                    </a:lnTo>
                    <a:lnTo>
                      <a:pt x="12" y="139"/>
                    </a:lnTo>
                    <a:lnTo>
                      <a:pt x="14" y="137"/>
                    </a:lnTo>
                    <a:lnTo>
                      <a:pt x="14" y="134"/>
                    </a:lnTo>
                    <a:lnTo>
                      <a:pt x="16" y="130"/>
                    </a:lnTo>
                    <a:lnTo>
                      <a:pt x="17" y="132"/>
                    </a:lnTo>
                    <a:lnTo>
                      <a:pt x="17" y="134"/>
                    </a:lnTo>
                    <a:lnTo>
                      <a:pt x="23" y="137"/>
                    </a:lnTo>
                    <a:lnTo>
                      <a:pt x="26" y="148"/>
                    </a:lnTo>
                    <a:lnTo>
                      <a:pt x="30" y="148"/>
                    </a:lnTo>
                    <a:lnTo>
                      <a:pt x="37" y="143"/>
                    </a:lnTo>
                    <a:lnTo>
                      <a:pt x="32" y="127"/>
                    </a:lnTo>
                    <a:lnTo>
                      <a:pt x="35" y="128"/>
                    </a:lnTo>
                    <a:lnTo>
                      <a:pt x="44" y="121"/>
                    </a:lnTo>
                    <a:lnTo>
                      <a:pt x="46" y="119"/>
                    </a:lnTo>
                    <a:lnTo>
                      <a:pt x="46" y="114"/>
                    </a:lnTo>
                    <a:lnTo>
                      <a:pt x="48" y="114"/>
                    </a:lnTo>
                    <a:lnTo>
                      <a:pt x="51" y="114"/>
                    </a:lnTo>
                    <a:lnTo>
                      <a:pt x="53" y="114"/>
                    </a:lnTo>
                    <a:lnTo>
                      <a:pt x="55" y="112"/>
                    </a:lnTo>
                    <a:lnTo>
                      <a:pt x="59" y="110"/>
                    </a:lnTo>
                    <a:lnTo>
                      <a:pt x="60" y="109"/>
                    </a:lnTo>
                    <a:lnTo>
                      <a:pt x="62" y="107"/>
                    </a:lnTo>
                    <a:lnTo>
                      <a:pt x="64" y="105"/>
                    </a:lnTo>
                    <a:lnTo>
                      <a:pt x="64" y="103"/>
                    </a:lnTo>
                    <a:lnTo>
                      <a:pt x="66" y="102"/>
                    </a:lnTo>
                    <a:lnTo>
                      <a:pt x="71" y="100"/>
                    </a:lnTo>
                    <a:lnTo>
                      <a:pt x="75" y="100"/>
                    </a:lnTo>
                    <a:lnTo>
                      <a:pt x="76" y="105"/>
                    </a:lnTo>
                    <a:lnTo>
                      <a:pt x="82" y="103"/>
                    </a:lnTo>
                    <a:lnTo>
                      <a:pt x="84" y="105"/>
                    </a:lnTo>
                    <a:lnTo>
                      <a:pt x="84" y="103"/>
                    </a:lnTo>
                    <a:lnTo>
                      <a:pt x="85" y="102"/>
                    </a:lnTo>
                    <a:lnTo>
                      <a:pt x="85" y="98"/>
                    </a:lnTo>
                    <a:lnTo>
                      <a:pt x="89" y="100"/>
                    </a:lnTo>
                    <a:lnTo>
                      <a:pt x="91" y="98"/>
                    </a:lnTo>
                    <a:lnTo>
                      <a:pt x="92" y="98"/>
                    </a:lnTo>
                    <a:lnTo>
                      <a:pt x="94" y="103"/>
                    </a:lnTo>
                    <a:lnTo>
                      <a:pt x="96" y="105"/>
                    </a:lnTo>
                    <a:lnTo>
                      <a:pt x="101" y="103"/>
                    </a:lnTo>
                    <a:lnTo>
                      <a:pt x="103" y="105"/>
                    </a:lnTo>
                    <a:lnTo>
                      <a:pt x="107" y="103"/>
                    </a:lnTo>
                    <a:lnTo>
                      <a:pt x="110" y="103"/>
                    </a:lnTo>
                    <a:lnTo>
                      <a:pt x="114" y="107"/>
                    </a:lnTo>
                    <a:lnTo>
                      <a:pt x="116" y="110"/>
                    </a:lnTo>
                    <a:lnTo>
                      <a:pt x="121" y="114"/>
                    </a:lnTo>
                    <a:lnTo>
                      <a:pt x="123" y="116"/>
                    </a:lnTo>
                    <a:lnTo>
                      <a:pt x="123" y="118"/>
                    </a:lnTo>
                    <a:lnTo>
                      <a:pt x="126" y="121"/>
                    </a:lnTo>
                    <a:lnTo>
                      <a:pt x="126" y="127"/>
                    </a:lnTo>
                    <a:lnTo>
                      <a:pt x="128" y="128"/>
                    </a:lnTo>
                    <a:lnTo>
                      <a:pt x="130" y="128"/>
                    </a:lnTo>
                    <a:lnTo>
                      <a:pt x="130" y="121"/>
                    </a:lnTo>
                    <a:lnTo>
                      <a:pt x="128" y="119"/>
                    </a:lnTo>
                    <a:lnTo>
                      <a:pt x="130" y="118"/>
                    </a:lnTo>
                    <a:lnTo>
                      <a:pt x="134" y="118"/>
                    </a:lnTo>
                    <a:lnTo>
                      <a:pt x="134" y="119"/>
                    </a:lnTo>
                    <a:lnTo>
                      <a:pt x="135" y="121"/>
                    </a:lnTo>
                    <a:lnTo>
                      <a:pt x="135" y="123"/>
                    </a:lnTo>
                    <a:lnTo>
                      <a:pt x="137" y="125"/>
                    </a:lnTo>
                    <a:lnTo>
                      <a:pt x="146" y="128"/>
                    </a:lnTo>
                    <a:lnTo>
                      <a:pt x="150" y="128"/>
                    </a:lnTo>
                    <a:lnTo>
                      <a:pt x="155" y="123"/>
                    </a:lnTo>
                    <a:lnTo>
                      <a:pt x="155" y="121"/>
                    </a:lnTo>
                    <a:lnTo>
                      <a:pt x="157" y="119"/>
                    </a:lnTo>
                    <a:lnTo>
                      <a:pt x="159" y="119"/>
                    </a:lnTo>
                    <a:lnTo>
                      <a:pt x="160" y="118"/>
                    </a:lnTo>
                    <a:lnTo>
                      <a:pt x="162" y="119"/>
                    </a:lnTo>
                    <a:lnTo>
                      <a:pt x="164" y="116"/>
                    </a:lnTo>
                    <a:lnTo>
                      <a:pt x="167" y="118"/>
                    </a:lnTo>
                    <a:lnTo>
                      <a:pt x="169" y="116"/>
                    </a:lnTo>
                    <a:lnTo>
                      <a:pt x="175" y="121"/>
                    </a:lnTo>
                    <a:lnTo>
                      <a:pt x="180" y="118"/>
                    </a:lnTo>
                    <a:lnTo>
                      <a:pt x="180" y="116"/>
                    </a:lnTo>
                    <a:lnTo>
                      <a:pt x="185" y="116"/>
                    </a:lnTo>
                    <a:lnTo>
                      <a:pt x="187" y="114"/>
                    </a:lnTo>
                    <a:lnTo>
                      <a:pt x="191" y="116"/>
                    </a:lnTo>
                    <a:lnTo>
                      <a:pt x="192" y="118"/>
                    </a:lnTo>
                    <a:lnTo>
                      <a:pt x="192" y="123"/>
                    </a:lnTo>
                    <a:lnTo>
                      <a:pt x="196" y="127"/>
                    </a:lnTo>
                    <a:lnTo>
                      <a:pt x="201" y="127"/>
                    </a:lnTo>
                    <a:lnTo>
                      <a:pt x="205" y="127"/>
                    </a:lnTo>
                    <a:lnTo>
                      <a:pt x="205" y="127"/>
                    </a:lnTo>
                    <a:lnTo>
                      <a:pt x="207" y="130"/>
                    </a:lnTo>
                    <a:lnTo>
                      <a:pt x="212" y="130"/>
                    </a:lnTo>
                    <a:lnTo>
                      <a:pt x="214" y="128"/>
                    </a:lnTo>
                    <a:lnTo>
                      <a:pt x="216" y="121"/>
                    </a:lnTo>
                    <a:lnTo>
                      <a:pt x="219" y="123"/>
                    </a:lnTo>
                    <a:lnTo>
                      <a:pt x="221" y="127"/>
                    </a:lnTo>
                    <a:lnTo>
                      <a:pt x="232" y="127"/>
                    </a:lnTo>
                    <a:lnTo>
                      <a:pt x="234" y="125"/>
                    </a:lnTo>
                    <a:lnTo>
                      <a:pt x="237" y="123"/>
                    </a:lnTo>
                    <a:lnTo>
                      <a:pt x="242" y="110"/>
                    </a:lnTo>
                    <a:lnTo>
                      <a:pt x="241" y="107"/>
                    </a:lnTo>
                    <a:lnTo>
                      <a:pt x="232" y="105"/>
                    </a:lnTo>
                    <a:lnTo>
                      <a:pt x="228" y="102"/>
                    </a:lnTo>
                    <a:lnTo>
                      <a:pt x="221" y="100"/>
                    </a:lnTo>
                    <a:lnTo>
                      <a:pt x="221" y="98"/>
                    </a:lnTo>
                    <a:lnTo>
                      <a:pt x="221" y="96"/>
                    </a:lnTo>
                    <a:lnTo>
                      <a:pt x="216" y="94"/>
                    </a:lnTo>
                    <a:lnTo>
                      <a:pt x="216" y="93"/>
                    </a:lnTo>
                    <a:lnTo>
                      <a:pt x="217" y="93"/>
                    </a:lnTo>
                    <a:lnTo>
                      <a:pt x="221" y="89"/>
                    </a:lnTo>
                    <a:lnTo>
                      <a:pt x="230" y="85"/>
                    </a:lnTo>
                    <a:lnTo>
                      <a:pt x="232" y="84"/>
                    </a:lnTo>
                    <a:lnTo>
                      <a:pt x="232" y="80"/>
                    </a:lnTo>
                    <a:lnTo>
                      <a:pt x="226" y="73"/>
                    </a:lnTo>
                    <a:lnTo>
                      <a:pt x="228" y="71"/>
                    </a:lnTo>
                    <a:lnTo>
                      <a:pt x="230" y="69"/>
                    </a:lnTo>
                    <a:lnTo>
                      <a:pt x="232" y="68"/>
                    </a:lnTo>
                    <a:lnTo>
                      <a:pt x="234" y="66"/>
                    </a:lnTo>
                    <a:lnTo>
                      <a:pt x="246" y="66"/>
                    </a:lnTo>
                    <a:lnTo>
                      <a:pt x="250" y="66"/>
                    </a:lnTo>
                    <a:lnTo>
                      <a:pt x="250" y="64"/>
                    </a:lnTo>
                    <a:lnTo>
                      <a:pt x="250" y="62"/>
                    </a:lnTo>
                    <a:lnTo>
                      <a:pt x="244" y="59"/>
                    </a:lnTo>
                    <a:lnTo>
                      <a:pt x="235" y="59"/>
                    </a:lnTo>
                    <a:lnTo>
                      <a:pt x="234" y="55"/>
                    </a:lnTo>
                    <a:lnTo>
                      <a:pt x="234" y="53"/>
                    </a:lnTo>
                    <a:lnTo>
                      <a:pt x="237" y="53"/>
                    </a:lnTo>
                    <a:lnTo>
                      <a:pt x="239" y="53"/>
                    </a:lnTo>
                    <a:lnTo>
                      <a:pt x="241" y="50"/>
                    </a:lnTo>
                    <a:lnTo>
                      <a:pt x="239" y="50"/>
                    </a:lnTo>
                    <a:lnTo>
                      <a:pt x="237" y="50"/>
                    </a:lnTo>
                    <a:lnTo>
                      <a:pt x="232" y="50"/>
                    </a:lnTo>
                    <a:lnTo>
                      <a:pt x="232" y="48"/>
                    </a:lnTo>
                    <a:lnTo>
                      <a:pt x="232" y="46"/>
                    </a:lnTo>
                    <a:lnTo>
                      <a:pt x="234" y="44"/>
                    </a:lnTo>
                    <a:lnTo>
                      <a:pt x="230" y="41"/>
                    </a:lnTo>
                    <a:lnTo>
                      <a:pt x="235" y="41"/>
                    </a:lnTo>
                    <a:lnTo>
                      <a:pt x="237" y="39"/>
                    </a:lnTo>
                    <a:lnTo>
                      <a:pt x="239" y="39"/>
                    </a:lnTo>
                    <a:lnTo>
                      <a:pt x="241" y="41"/>
                    </a:lnTo>
                    <a:lnTo>
                      <a:pt x="242" y="39"/>
                    </a:lnTo>
                    <a:lnTo>
                      <a:pt x="246" y="41"/>
                    </a:lnTo>
                    <a:lnTo>
                      <a:pt x="248" y="39"/>
                    </a:lnTo>
                    <a:lnTo>
                      <a:pt x="255" y="39"/>
                    </a:lnTo>
                    <a:lnTo>
                      <a:pt x="257" y="41"/>
                    </a:lnTo>
                    <a:lnTo>
                      <a:pt x="259" y="37"/>
                    </a:lnTo>
                    <a:lnTo>
                      <a:pt x="262" y="37"/>
                    </a:lnTo>
                    <a:lnTo>
                      <a:pt x="266" y="37"/>
                    </a:lnTo>
                    <a:lnTo>
                      <a:pt x="267" y="35"/>
                    </a:lnTo>
                    <a:lnTo>
                      <a:pt x="269" y="35"/>
                    </a:lnTo>
                    <a:lnTo>
                      <a:pt x="275" y="32"/>
                    </a:lnTo>
                    <a:lnTo>
                      <a:pt x="276" y="34"/>
                    </a:lnTo>
                    <a:lnTo>
                      <a:pt x="278" y="34"/>
                    </a:lnTo>
                    <a:lnTo>
                      <a:pt x="280" y="34"/>
                    </a:lnTo>
                    <a:lnTo>
                      <a:pt x="282" y="32"/>
                    </a:lnTo>
                    <a:lnTo>
                      <a:pt x="285" y="30"/>
                    </a:lnTo>
                    <a:lnTo>
                      <a:pt x="287" y="30"/>
                    </a:lnTo>
                    <a:lnTo>
                      <a:pt x="291" y="30"/>
                    </a:lnTo>
                    <a:lnTo>
                      <a:pt x="292" y="28"/>
                    </a:lnTo>
                    <a:lnTo>
                      <a:pt x="294" y="28"/>
                    </a:lnTo>
                    <a:lnTo>
                      <a:pt x="296" y="30"/>
                    </a:lnTo>
                    <a:lnTo>
                      <a:pt x="298" y="27"/>
                    </a:lnTo>
                    <a:lnTo>
                      <a:pt x="300" y="23"/>
                    </a:lnTo>
                    <a:lnTo>
                      <a:pt x="301" y="21"/>
                    </a:lnTo>
                    <a:lnTo>
                      <a:pt x="303" y="21"/>
                    </a:lnTo>
                    <a:lnTo>
                      <a:pt x="307" y="23"/>
                    </a:lnTo>
                    <a:lnTo>
                      <a:pt x="312" y="21"/>
                    </a:lnTo>
                    <a:lnTo>
                      <a:pt x="310" y="21"/>
                    </a:lnTo>
                    <a:lnTo>
                      <a:pt x="339" y="14"/>
                    </a:lnTo>
                    <a:lnTo>
                      <a:pt x="341" y="12"/>
                    </a:lnTo>
                    <a:lnTo>
                      <a:pt x="344" y="12"/>
                    </a:lnTo>
                    <a:lnTo>
                      <a:pt x="346" y="12"/>
                    </a:lnTo>
                    <a:lnTo>
                      <a:pt x="348" y="10"/>
                    </a:lnTo>
                    <a:lnTo>
                      <a:pt x="348" y="5"/>
                    </a:lnTo>
                    <a:lnTo>
                      <a:pt x="350" y="7"/>
                    </a:lnTo>
                    <a:lnTo>
                      <a:pt x="351" y="5"/>
                    </a:lnTo>
                    <a:lnTo>
                      <a:pt x="353" y="3"/>
                    </a:lnTo>
                    <a:lnTo>
                      <a:pt x="355" y="2"/>
                    </a:lnTo>
                    <a:lnTo>
                      <a:pt x="359" y="2"/>
                    </a:lnTo>
                    <a:lnTo>
                      <a:pt x="359" y="0"/>
                    </a:lnTo>
                    <a:lnTo>
                      <a:pt x="362" y="0"/>
                    </a:lnTo>
                    <a:lnTo>
                      <a:pt x="364" y="2"/>
                    </a:lnTo>
                    <a:lnTo>
                      <a:pt x="366" y="2"/>
                    </a:lnTo>
                    <a:lnTo>
                      <a:pt x="367" y="2"/>
                    </a:lnTo>
                    <a:lnTo>
                      <a:pt x="369" y="2"/>
                    </a:lnTo>
                    <a:lnTo>
                      <a:pt x="373" y="2"/>
                    </a:lnTo>
                    <a:lnTo>
                      <a:pt x="375" y="3"/>
                    </a:lnTo>
                    <a:lnTo>
                      <a:pt x="378" y="7"/>
                    </a:lnTo>
                    <a:lnTo>
                      <a:pt x="380" y="5"/>
                    </a:lnTo>
                    <a:lnTo>
                      <a:pt x="382" y="3"/>
                    </a:lnTo>
                    <a:lnTo>
                      <a:pt x="387" y="3"/>
                    </a:lnTo>
                    <a:lnTo>
                      <a:pt x="389" y="5"/>
                    </a:lnTo>
                    <a:lnTo>
                      <a:pt x="391" y="7"/>
                    </a:lnTo>
                    <a:lnTo>
                      <a:pt x="391" y="9"/>
                    </a:lnTo>
                    <a:lnTo>
                      <a:pt x="391" y="16"/>
                    </a:lnTo>
                    <a:lnTo>
                      <a:pt x="392" y="18"/>
                    </a:lnTo>
                    <a:lnTo>
                      <a:pt x="396" y="21"/>
                    </a:lnTo>
                    <a:lnTo>
                      <a:pt x="394" y="23"/>
                    </a:lnTo>
                    <a:lnTo>
                      <a:pt x="394" y="27"/>
                    </a:lnTo>
                    <a:lnTo>
                      <a:pt x="392" y="32"/>
                    </a:lnTo>
                    <a:lnTo>
                      <a:pt x="392" y="34"/>
                    </a:lnTo>
                    <a:lnTo>
                      <a:pt x="394" y="35"/>
                    </a:lnTo>
                    <a:lnTo>
                      <a:pt x="398" y="34"/>
                    </a:lnTo>
                    <a:lnTo>
                      <a:pt x="400" y="35"/>
                    </a:lnTo>
                    <a:lnTo>
                      <a:pt x="403" y="35"/>
                    </a:lnTo>
                    <a:lnTo>
                      <a:pt x="403" y="34"/>
                    </a:lnTo>
                    <a:lnTo>
                      <a:pt x="407" y="34"/>
                    </a:lnTo>
                    <a:lnTo>
                      <a:pt x="409" y="34"/>
                    </a:lnTo>
                    <a:lnTo>
                      <a:pt x="409" y="28"/>
                    </a:lnTo>
                    <a:lnTo>
                      <a:pt x="410" y="30"/>
                    </a:lnTo>
                    <a:lnTo>
                      <a:pt x="412" y="34"/>
                    </a:lnTo>
                    <a:lnTo>
                      <a:pt x="414" y="35"/>
                    </a:lnTo>
                    <a:lnTo>
                      <a:pt x="414" y="41"/>
                    </a:lnTo>
                    <a:lnTo>
                      <a:pt x="417" y="41"/>
                    </a:lnTo>
                    <a:lnTo>
                      <a:pt x="417" y="39"/>
                    </a:lnTo>
                    <a:lnTo>
                      <a:pt x="416" y="37"/>
                    </a:lnTo>
                    <a:lnTo>
                      <a:pt x="417" y="35"/>
                    </a:lnTo>
                    <a:lnTo>
                      <a:pt x="423" y="37"/>
                    </a:lnTo>
                    <a:lnTo>
                      <a:pt x="428" y="41"/>
                    </a:lnTo>
                    <a:lnTo>
                      <a:pt x="430" y="41"/>
                    </a:lnTo>
                    <a:lnTo>
                      <a:pt x="432" y="39"/>
                    </a:lnTo>
                    <a:lnTo>
                      <a:pt x="434" y="37"/>
                    </a:lnTo>
                    <a:lnTo>
                      <a:pt x="435" y="41"/>
                    </a:lnTo>
                    <a:lnTo>
                      <a:pt x="435" y="43"/>
                    </a:lnTo>
                    <a:lnTo>
                      <a:pt x="432" y="43"/>
                    </a:lnTo>
                    <a:lnTo>
                      <a:pt x="430" y="44"/>
                    </a:lnTo>
                    <a:lnTo>
                      <a:pt x="428" y="46"/>
                    </a:lnTo>
                    <a:lnTo>
                      <a:pt x="428" y="48"/>
                    </a:lnTo>
                    <a:lnTo>
                      <a:pt x="428" y="52"/>
                    </a:lnTo>
                    <a:lnTo>
                      <a:pt x="430" y="53"/>
                    </a:lnTo>
                    <a:lnTo>
                      <a:pt x="432" y="53"/>
                    </a:lnTo>
                    <a:lnTo>
                      <a:pt x="434" y="52"/>
                    </a:lnTo>
                    <a:lnTo>
                      <a:pt x="439" y="50"/>
                    </a:lnTo>
                    <a:lnTo>
                      <a:pt x="441" y="50"/>
                    </a:lnTo>
                    <a:lnTo>
                      <a:pt x="442" y="50"/>
                    </a:lnTo>
                    <a:lnTo>
                      <a:pt x="444" y="52"/>
                    </a:lnTo>
                    <a:lnTo>
                      <a:pt x="446" y="52"/>
                    </a:lnTo>
                    <a:lnTo>
                      <a:pt x="446" y="50"/>
                    </a:lnTo>
                    <a:lnTo>
                      <a:pt x="448" y="48"/>
                    </a:lnTo>
                    <a:lnTo>
                      <a:pt x="450" y="48"/>
                    </a:lnTo>
                    <a:lnTo>
                      <a:pt x="453" y="44"/>
                    </a:lnTo>
                    <a:lnTo>
                      <a:pt x="457" y="43"/>
                    </a:lnTo>
                    <a:lnTo>
                      <a:pt x="460" y="41"/>
                    </a:lnTo>
                    <a:lnTo>
                      <a:pt x="462" y="35"/>
                    </a:lnTo>
                    <a:lnTo>
                      <a:pt x="464" y="34"/>
                    </a:lnTo>
                    <a:lnTo>
                      <a:pt x="467" y="35"/>
                    </a:lnTo>
                    <a:lnTo>
                      <a:pt x="473" y="34"/>
                    </a:lnTo>
                    <a:lnTo>
                      <a:pt x="475" y="30"/>
                    </a:lnTo>
                    <a:lnTo>
                      <a:pt x="480" y="30"/>
                    </a:lnTo>
                    <a:lnTo>
                      <a:pt x="484" y="28"/>
                    </a:lnTo>
                    <a:lnTo>
                      <a:pt x="485" y="30"/>
                    </a:lnTo>
                    <a:lnTo>
                      <a:pt x="485" y="32"/>
                    </a:lnTo>
                    <a:lnTo>
                      <a:pt x="484" y="34"/>
                    </a:lnTo>
                    <a:lnTo>
                      <a:pt x="482" y="35"/>
                    </a:lnTo>
                    <a:lnTo>
                      <a:pt x="478" y="35"/>
                    </a:lnTo>
                    <a:lnTo>
                      <a:pt x="478" y="37"/>
                    </a:lnTo>
                    <a:lnTo>
                      <a:pt x="480" y="39"/>
                    </a:lnTo>
                    <a:lnTo>
                      <a:pt x="482" y="41"/>
                    </a:lnTo>
                    <a:lnTo>
                      <a:pt x="501" y="59"/>
                    </a:lnTo>
                    <a:lnTo>
                      <a:pt x="537" y="123"/>
                    </a:lnTo>
                    <a:lnTo>
                      <a:pt x="541" y="119"/>
                    </a:lnTo>
                    <a:lnTo>
                      <a:pt x="542" y="118"/>
                    </a:lnTo>
                    <a:lnTo>
                      <a:pt x="542" y="116"/>
                    </a:lnTo>
                    <a:lnTo>
                      <a:pt x="544" y="112"/>
                    </a:lnTo>
                    <a:lnTo>
                      <a:pt x="548" y="110"/>
                    </a:lnTo>
                    <a:lnTo>
                      <a:pt x="548" y="114"/>
                    </a:lnTo>
                    <a:lnTo>
                      <a:pt x="551" y="114"/>
                    </a:lnTo>
                    <a:lnTo>
                      <a:pt x="555" y="116"/>
                    </a:lnTo>
                    <a:lnTo>
                      <a:pt x="553" y="118"/>
                    </a:lnTo>
                    <a:lnTo>
                      <a:pt x="555" y="121"/>
                    </a:lnTo>
                    <a:lnTo>
                      <a:pt x="557" y="121"/>
                    </a:lnTo>
                    <a:lnTo>
                      <a:pt x="559" y="125"/>
                    </a:lnTo>
                    <a:lnTo>
                      <a:pt x="566" y="125"/>
                    </a:lnTo>
                    <a:lnTo>
                      <a:pt x="571" y="125"/>
                    </a:lnTo>
                    <a:lnTo>
                      <a:pt x="573" y="125"/>
                    </a:lnTo>
                    <a:lnTo>
                      <a:pt x="576" y="125"/>
                    </a:lnTo>
                    <a:lnTo>
                      <a:pt x="578" y="123"/>
                    </a:lnTo>
                    <a:lnTo>
                      <a:pt x="580" y="121"/>
                    </a:lnTo>
                    <a:lnTo>
                      <a:pt x="582" y="121"/>
                    </a:lnTo>
                    <a:lnTo>
                      <a:pt x="584" y="121"/>
                    </a:lnTo>
                    <a:lnTo>
                      <a:pt x="585" y="119"/>
                    </a:lnTo>
                    <a:lnTo>
                      <a:pt x="587" y="118"/>
                    </a:lnTo>
                    <a:lnTo>
                      <a:pt x="592" y="119"/>
                    </a:lnTo>
                    <a:lnTo>
                      <a:pt x="594" y="119"/>
                    </a:lnTo>
                    <a:lnTo>
                      <a:pt x="594" y="121"/>
                    </a:lnTo>
                    <a:lnTo>
                      <a:pt x="596" y="123"/>
                    </a:lnTo>
                    <a:lnTo>
                      <a:pt x="600" y="127"/>
                    </a:lnTo>
                    <a:lnTo>
                      <a:pt x="601" y="128"/>
                    </a:lnTo>
                    <a:lnTo>
                      <a:pt x="603" y="130"/>
                    </a:lnTo>
                    <a:lnTo>
                      <a:pt x="603" y="132"/>
                    </a:lnTo>
                    <a:lnTo>
                      <a:pt x="603" y="135"/>
                    </a:lnTo>
                    <a:lnTo>
                      <a:pt x="603" y="137"/>
                    </a:lnTo>
                    <a:lnTo>
                      <a:pt x="607" y="137"/>
                    </a:lnTo>
                    <a:lnTo>
                      <a:pt x="612" y="141"/>
                    </a:lnTo>
                    <a:lnTo>
                      <a:pt x="614" y="143"/>
                    </a:lnTo>
                    <a:lnTo>
                      <a:pt x="614" y="144"/>
                    </a:lnTo>
                    <a:lnTo>
                      <a:pt x="616" y="146"/>
                    </a:lnTo>
                    <a:lnTo>
                      <a:pt x="617" y="148"/>
                    </a:lnTo>
                    <a:lnTo>
                      <a:pt x="619" y="152"/>
                    </a:lnTo>
                    <a:lnTo>
                      <a:pt x="621" y="153"/>
                    </a:lnTo>
                    <a:lnTo>
                      <a:pt x="626" y="153"/>
                    </a:lnTo>
                    <a:lnTo>
                      <a:pt x="628" y="155"/>
                    </a:lnTo>
                    <a:lnTo>
                      <a:pt x="635" y="155"/>
                    </a:lnTo>
                    <a:lnTo>
                      <a:pt x="635" y="153"/>
                    </a:lnTo>
                    <a:lnTo>
                      <a:pt x="637" y="152"/>
                    </a:lnTo>
                    <a:lnTo>
                      <a:pt x="642" y="150"/>
                    </a:lnTo>
                    <a:lnTo>
                      <a:pt x="642" y="153"/>
                    </a:lnTo>
                    <a:lnTo>
                      <a:pt x="644" y="155"/>
                    </a:lnTo>
                    <a:lnTo>
                      <a:pt x="646" y="157"/>
                    </a:lnTo>
                    <a:lnTo>
                      <a:pt x="648" y="160"/>
                    </a:lnTo>
                    <a:lnTo>
                      <a:pt x="650" y="162"/>
                    </a:lnTo>
                    <a:lnTo>
                      <a:pt x="650" y="164"/>
                    </a:lnTo>
                    <a:lnTo>
                      <a:pt x="648" y="171"/>
                    </a:lnTo>
                    <a:lnTo>
                      <a:pt x="644" y="177"/>
                    </a:lnTo>
                    <a:lnTo>
                      <a:pt x="639" y="182"/>
                    </a:lnTo>
                    <a:lnTo>
                      <a:pt x="633" y="184"/>
                    </a:lnTo>
                    <a:lnTo>
                      <a:pt x="628" y="184"/>
                    </a:lnTo>
                    <a:lnTo>
                      <a:pt x="626" y="189"/>
                    </a:lnTo>
                    <a:lnTo>
                      <a:pt x="625" y="214"/>
                    </a:lnTo>
                    <a:lnTo>
                      <a:pt x="617" y="216"/>
                    </a:lnTo>
                    <a:lnTo>
                      <a:pt x="614" y="219"/>
                    </a:lnTo>
                    <a:lnTo>
                      <a:pt x="607" y="214"/>
                    </a:lnTo>
                    <a:lnTo>
                      <a:pt x="598" y="216"/>
                    </a:lnTo>
                    <a:lnTo>
                      <a:pt x="592" y="214"/>
                    </a:lnTo>
                    <a:lnTo>
                      <a:pt x="589" y="212"/>
                    </a:lnTo>
                    <a:lnTo>
                      <a:pt x="582" y="212"/>
                    </a:lnTo>
                    <a:lnTo>
                      <a:pt x="571" y="246"/>
                    </a:lnTo>
                    <a:lnTo>
                      <a:pt x="573" y="255"/>
                    </a:lnTo>
                    <a:lnTo>
                      <a:pt x="571" y="257"/>
                    </a:lnTo>
                    <a:lnTo>
                      <a:pt x="537" y="262"/>
                    </a:lnTo>
                    <a:lnTo>
                      <a:pt x="535" y="266"/>
                    </a:lnTo>
                    <a:lnTo>
                      <a:pt x="537" y="268"/>
                    </a:lnTo>
                    <a:lnTo>
                      <a:pt x="546" y="298"/>
                    </a:lnTo>
                    <a:lnTo>
                      <a:pt x="546" y="303"/>
                    </a:lnTo>
                    <a:lnTo>
                      <a:pt x="542" y="305"/>
                    </a:lnTo>
                    <a:lnTo>
                      <a:pt x="542" y="309"/>
                    </a:lnTo>
                    <a:lnTo>
                      <a:pt x="541" y="312"/>
                    </a:lnTo>
                    <a:lnTo>
                      <a:pt x="539" y="316"/>
                    </a:lnTo>
                    <a:lnTo>
                      <a:pt x="539" y="321"/>
                    </a:lnTo>
                    <a:lnTo>
                      <a:pt x="537" y="321"/>
                    </a:lnTo>
                    <a:lnTo>
                      <a:pt x="532" y="318"/>
                    </a:lnTo>
                    <a:lnTo>
                      <a:pt x="526" y="316"/>
                    </a:lnTo>
                    <a:lnTo>
                      <a:pt x="523" y="310"/>
                    </a:lnTo>
                    <a:lnTo>
                      <a:pt x="514" y="309"/>
                    </a:lnTo>
                    <a:lnTo>
                      <a:pt x="512" y="309"/>
                    </a:lnTo>
                    <a:lnTo>
                      <a:pt x="492" y="307"/>
                    </a:lnTo>
                    <a:lnTo>
                      <a:pt x="489" y="305"/>
                    </a:lnTo>
                    <a:lnTo>
                      <a:pt x="485" y="305"/>
                    </a:lnTo>
                    <a:lnTo>
                      <a:pt x="482" y="307"/>
                    </a:lnTo>
                    <a:lnTo>
                      <a:pt x="459" y="307"/>
                    </a:lnTo>
                    <a:lnTo>
                      <a:pt x="457" y="305"/>
                    </a:lnTo>
                    <a:lnTo>
                      <a:pt x="455" y="305"/>
                    </a:lnTo>
                    <a:lnTo>
                      <a:pt x="450" y="305"/>
                    </a:lnTo>
                    <a:lnTo>
                      <a:pt x="441" y="300"/>
                    </a:lnTo>
                    <a:lnTo>
                      <a:pt x="439" y="302"/>
                    </a:lnTo>
                    <a:lnTo>
                      <a:pt x="437" y="302"/>
                    </a:lnTo>
                    <a:lnTo>
                      <a:pt x="435" y="303"/>
                    </a:lnTo>
                    <a:lnTo>
                      <a:pt x="432" y="305"/>
                    </a:lnTo>
                    <a:lnTo>
                      <a:pt x="432" y="309"/>
                    </a:lnTo>
                    <a:lnTo>
                      <a:pt x="430" y="310"/>
                    </a:lnTo>
                    <a:lnTo>
                      <a:pt x="428" y="314"/>
                    </a:lnTo>
                    <a:lnTo>
                      <a:pt x="428" y="318"/>
                    </a:lnTo>
                    <a:lnTo>
                      <a:pt x="403" y="310"/>
                    </a:lnTo>
                    <a:lnTo>
                      <a:pt x="401" y="310"/>
                    </a:lnTo>
                    <a:lnTo>
                      <a:pt x="400" y="309"/>
                    </a:lnTo>
                    <a:lnTo>
                      <a:pt x="392" y="310"/>
                    </a:lnTo>
                    <a:lnTo>
                      <a:pt x="391" y="312"/>
                    </a:lnTo>
                    <a:lnTo>
                      <a:pt x="391" y="316"/>
                    </a:lnTo>
                    <a:lnTo>
                      <a:pt x="385" y="325"/>
                    </a:lnTo>
                    <a:lnTo>
                      <a:pt x="384" y="327"/>
                    </a:lnTo>
                    <a:lnTo>
                      <a:pt x="382" y="325"/>
                    </a:lnTo>
                    <a:lnTo>
                      <a:pt x="378" y="330"/>
                    </a:lnTo>
                    <a:lnTo>
                      <a:pt x="376" y="332"/>
                    </a:lnTo>
                    <a:lnTo>
                      <a:pt x="366" y="337"/>
                    </a:lnTo>
                    <a:lnTo>
                      <a:pt x="366" y="339"/>
                    </a:lnTo>
                    <a:lnTo>
                      <a:pt x="360" y="341"/>
                    </a:lnTo>
                    <a:lnTo>
                      <a:pt x="359" y="344"/>
                    </a:lnTo>
                    <a:lnTo>
                      <a:pt x="355" y="348"/>
                    </a:lnTo>
                    <a:lnTo>
                      <a:pt x="342" y="343"/>
                    </a:lnTo>
                    <a:lnTo>
                      <a:pt x="325" y="344"/>
                    </a:lnTo>
                    <a:lnTo>
                      <a:pt x="323" y="330"/>
                    </a:lnTo>
                    <a:lnTo>
                      <a:pt x="312" y="328"/>
                    </a:lnTo>
                    <a:lnTo>
                      <a:pt x="312" y="319"/>
                    </a:lnTo>
                    <a:lnTo>
                      <a:pt x="316" y="319"/>
                    </a:lnTo>
                    <a:lnTo>
                      <a:pt x="314" y="307"/>
                    </a:lnTo>
                    <a:lnTo>
                      <a:pt x="310" y="307"/>
                    </a:lnTo>
                    <a:lnTo>
                      <a:pt x="305" y="298"/>
                    </a:lnTo>
                    <a:lnTo>
                      <a:pt x="294" y="289"/>
                    </a:lnTo>
                    <a:lnTo>
                      <a:pt x="291" y="291"/>
                    </a:lnTo>
                    <a:lnTo>
                      <a:pt x="248" y="294"/>
                    </a:lnTo>
                    <a:lnTo>
                      <a:pt x="192" y="248"/>
                    </a:lnTo>
                    <a:lnTo>
                      <a:pt x="151" y="26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35" name="Freeform 3090"/>
              <p:cNvSpPr>
                <a:spLocks/>
              </p:cNvSpPr>
              <p:nvPr/>
            </p:nvSpPr>
            <p:spPr bwMode="auto">
              <a:xfrm>
                <a:off x="3441" y="1647"/>
                <a:ext cx="650" cy="348"/>
              </a:xfrm>
              <a:custGeom>
                <a:avLst/>
                <a:gdLst>
                  <a:gd name="T0" fmla="*/ 132 w 650"/>
                  <a:gd name="T1" fmla="*/ 325 h 348"/>
                  <a:gd name="T2" fmla="*/ 98 w 650"/>
                  <a:gd name="T3" fmla="*/ 310 h 348"/>
                  <a:gd name="T4" fmla="*/ 69 w 650"/>
                  <a:gd name="T5" fmla="*/ 284 h 348"/>
                  <a:gd name="T6" fmla="*/ 80 w 650"/>
                  <a:gd name="T7" fmla="*/ 271 h 348"/>
                  <a:gd name="T8" fmla="*/ 87 w 650"/>
                  <a:gd name="T9" fmla="*/ 255 h 348"/>
                  <a:gd name="T10" fmla="*/ 123 w 650"/>
                  <a:gd name="T11" fmla="*/ 259 h 348"/>
                  <a:gd name="T12" fmla="*/ 123 w 650"/>
                  <a:gd name="T13" fmla="*/ 241 h 348"/>
                  <a:gd name="T14" fmla="*/ 107 w 650"/>
                  <a:gd name="T15" fmla="*/ 218 h 348"/>
                  <a:gd name="T16" fmla="*/ 60 w 650"/>
                  <a:gd name="T17" fmla="*/ 219 h 348"/>
                  <a:gd name="T18" fmla="*/ 25 w 650"/>
                  <a:gd name="T19" fmla="*/ 227 h 348"/>
                  <a:gd name="T20" fmla="*/ 30 w 650"/>
                  <a:gd name="T21" fmla="*/ 203 h 348"/>
                  <a:gd name="T22" fmla="*/ 10 w 650"/>
                  <a:gd name="T23" fmla="*/ 193 h 348"/>
                  <a:gd name="T24" fmla="*/ 9 w 650"/>
                  <a:gd name="T25" fmla="*/ 164 h 348"/>
                  <a:gd name="T26" fmla="*/ 14 w 650"/>
                  <a:gd name="T27" fmla="*/ 134 h 348"/>
                  <a:gd name="T28" fmla="*/ 32 w 650"/>
                  <a:gd name="T29" fmla="*/ 127 h 348"/>
                  <a:gd name="T30" fmla="*/ 55 w 650"/>
                  <a:gd name="T31" fmla="*/ 112 h 348"/>
                  <a:gd name="T32" fmla="*/ 75 w 650"/>
                  <a:gd name="T33" fmla="*/ 100 h 348"/>
                  <a:gd name="T34" fmla="*/ 91 w 650"/>
                  <a:gd name="T35" fmla="*/ 98 h 348"/>
                  <a:gd name="T36" fmla="*/ 114 w 650"/>
                  <a:gd name="T37" fmla="*/ 107 h 348"/>
                  <a:gd name="T38" fmla="*/ 130 w 650"/>
                  <a:gd name="T39" fmla="*/ 128 h 348"/>
                  <a:gd name="T40" fmla="*/ 137 w 650"/>
                  <a:gd name="T41" fmla="*/ 125 h 348"/>
                  <a:gd name="T42" fmla="*/ 162 w 650"/>
                  <a:gd name="T43" fmla="*/ 119 h 348"/>
                  <a:gd name="T44" fmla="*/ 187 w 650"/>
                  <a:gd name="T45" fmla="*/ 114 h 348"/>
                  <a:gd name="T46" fmla="*/ 207 w 650"/>
                  <a:gd name="T47" fmla="*/ 130 h 348"/>
                  <a:gd name="T48" fmla="*/ 237 w 650"/>
                  <a:gd name="T49" fmla="*/ 123 h 348"/>
                  <a:gd name="T50" fmla="*/ 216 w 650"/>
                  <a:gd name="T51" fmla="*/ 94 h 348"/>
                  <a:gd name="T52" fmla="*/ 228 w 650"/>
                  <a:gd name="T53" fmla="*/ 71 h 348"/>
                  <a:gd name="T54" fmla="*/ 244 w 650"/>
                  <a:gd name="T55" fmla="*/ 59 h 348"/>
                  <a:gd name="T56" fmla="*/ 237 w 650"/>
                  <a:gd name="T57" fmla="*/ 50 h 348"/>
                  <a:gd name="T58" fmla="*/ 239 w 650"/>
                  <a:gd name="T59" fmla="*/ 39 h 348"/>
                  <a:gd name="T60" fmla="*/ 262 w 650"/>
                  <a:gd name="T61" fmla="*/ 37 h 348"/>
                  <a:gd name="T62" fmla="*/ 282 w 650"/>
                  <a:gd name="T63" fmla="*/ 32 h 348"/>
                  <a:gd name="T64" fmla="*/ 300 w 650"/>
                  <a:gd name="T65" fmla="*/ 23 h 348"/>
                  <a:gd name="T66" fmla="*/ 344 w 650"/>
                  <a:gd name="T67" fmla="*/ 12 h 348"/>
                  <a:gd name="T68" fmla="*/ 359 w 650"/>
                  <a:gd name="T69" fmla="*/ 2 h 348"/>
                  <a:gd name="T70" fmla="*/ 375 w 650"/>
                  <a:gd name="T71" fmla="*/ 3 h 348"/>
                  <a:gd name="T72" fmla="*/ 391 w 650"/>
                  <a:gd name="T73" fmla="*/ 16 h 348"/>
                  <a:gd name="T74" fmla="*/ 398 w 650"/>
                  <a:gd name="T75" fmla="*/ 34 h 348"/>
                  <a:gd name="T76" fmla="*/ 412 w 650"/>
                  <a:gd name="T77" fmla="*/ 34 h 348"/>
                  <a:gd name="T78" fmla="*/ 428 w 650"/>
                  <a:gd name="T79" fmla="*/ 41 h 348"/>
                  <a:gd name="T80" fmla="*/ 428 w 650"/>
                  <a:gd name="T81" fmla="*/ 46 h 348"/>
                  <a:gd name="T82" fmla="*/ 442 w 650"/>
                  <a:gd name="T83" fmla="*/ 50 h 348"/>
                  <a:gd name="T84" fmla="*/ 460 w 650"/>
                  <a:gd name="T85" fmla="*/ 41 h 348"/>
                  <a:gd name="T86" fmla="*/ 485 w 650"/>
                  <a:gd name="T87" fmla="*/ 30 h 348"/>
                  <a:gd name="T88" fmla="*/ 501 w 650"/>
                  <a:gd name="T89" fmla="*/ 59 h 348"/>
                  <a:gd name="T90" fmla="*/ 551 w 650"/>
                  <a:gd name="T91" fmla="*/ 114 h 348"/>
                  <a:gd name="T92" fmla="*/ 573 w 650"/>
                  <a:gd name="T93" fmla="*/ 125 h 348"/>
                  <a:gd name="T94" fmla="*/ 592 w 650"/>
                  <a:gd name="T95" fmla="*/ 119 h 348"/>
                  <a:gd name="T96" fmla="*/ 603 w 650"/>
                  <a:gd name="T97" fmla="*/ 135 h 348"/>
                  <a:gd name="T98" fmla="*/ 619 w 650"/>
                  <a:gd name="T99" fmla="*/ 152 h 348"/>
                  <a:gd name="T100" fmla="*/ 642 w 650"/>
                  <a:gd name="T101" fmla="*/ 153 h 348"/>
                  <a:gd name="T102" fmla="*/ 639 w 650"/>
                  <a:gd name="T103" fmla="*/ 182 h 348"/>
                  <a:gd name="T104" fmla="*/ 598 w 650"/>
                  <a:gd name="T105" fmla="*/ 216 h 348"/>
                  <a:gd name="T106" fmla="*/ 535 w 650"/>
                  <a:gd name="T107" fmla="*/ 266 h 348"/>
                  <a:gd name="T108" fmla="*/ 539 w 650"/>
                  <a:gd name="T109" fmla="*/ 321 h 348"/>
                  <a:gd name="T110" fmla="*/ 489 w 650"/>
                  <a:gd name="T111" fmla="*/ 305 h 348"/>
                  <a:gd name="T112" fmla="*/ 439 w 650"/>
                  <a:gd name="T113" fmla="*/ 302 h 348"/>
                  <a:gd name="T114" fmla="*/ 403 w 650"/>
                  <a:gd name="T115" fmla="*/ 310 h 348"/>
                  <a:gd name="T116" fmla="*/ 382 w 650"/>
                  <a:gd name="T117" fmla="*/ 325 h 348"/>
                  <a:gd name="T118" fmla="*/ 342 w 650"/>
                  <a:gd name="T119" fmla="*/ 343 h 348"/>
                  <a:gd name="T120" fmla="*/ 305 w 650"/>
                  <a:gd name="T121" fmla="*/ 29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50" h="348">
                    <a:moveTo>
                      <a:pt x="151" y="262"/>
                    </a:moveTo>
                    <a:lnTo>
                      <a:pt x="151" y="341"/>
                    </a:lnTo>
                    <a:lnTo>
                      <a:pt x="148" y="343"/>
                    </a:lnTo>
                    <a:lnTo>
                      <a:pt x="142" y="343"/>
                    </a:lnTo>
                    <a:lnTo>
                      <a:pt x="139" y="341"/>
                    </a:lnTo>
                    <a:lnTo>
                      <a:pt x="135" y="332"/>
                    </a:lnTo>
                    <a:lnTo>
                      <a:pt x="134" y="330"/>
                    </a:lnTo>
                    <a:lnTo>
                      <a:pt x="132" y="325"/>
                    </a:lnTo>
                    <a:lnTo>
                      <a:pt x="130" y="323"/>
                    </a:lnTo>
                    <a:lnTo>
                      <a:pt x="121" y="319"/>
                    </a:lnTo>
                    <a:lnTo>
                      <a:pt x="119" y="319"/>
                    </a:lnTo>
                    <a:lnTo>
                      <a:pt x="103" y="323"/>
                    </a:lnTo>
                    <a:lnTo>
                      <a:pt x="94" y="332"/>
                    </a:lnTo>
                    <a:lnTo>
                      <a:pt x="94" y="319"/>
                    </a:lnTo>
                    <a:lnTo>
                      <a:pt x="98" y="316"/>
                    </a:lnTo>
                    <a:lnTo>
                      <a:pt x="98" y="310"/>
                    </a:lnTo>
                    <a:lnTo>
                      <a:pt x="94" y="309"/>
                    </a:lnTo>
                    <a:lnTo>
                      <a:pt x="91" y="309"/>
                    </a:lnTo>
                    <a:lnTo>
                      <a:pt x="85" y="307"/>
                    </a:lnTo>
                    <a:lnTo>
                      <a:pt x="82" y="302"/>
                    </a:lnTo>
                    <a:lnTo>
                      <a:pt x="76" y="302"/>
                    </a:lnTo>
                    <a:lnTo>
                      <a:pt x="75" y="291"/>
                    </a:lnTo>
                    <a:lnTo>
                      <a:pt x="73" y="285"/>
                    </a:lnTo>
                    <a:lnTo>
                      <a:pt x="69" y="284"/>
                    </a:lnTo>
                    <a:lnTo>
                      <a:pt x="67" y="278"/>
                    </a:lnTo>
                    <a:lnTo>
                      <a:pt x="60" y="277"/>
                    </a:lnTo>
                    <a:lnTo>
                      <a:pt x="57" y="271"/>
                    </a:lnTo>
                    <a:lnTo>
                      <a:pt x="60" y="269"/>
                    </a:lnTo>
                    <a:lnTo>
                      <a:pt x="66" y="269"/>
                    </a:lnTo>
                    <a:lnTo>
                      <a:pt x="73" y="271"/>
                    </a:lnTo>
                    <a:lnTo>
                      <a:pt x="75" y="271"/>
                    </a:lnTo>
                    <a:lnTo>
                      <a:pt x="80" y="271"/>
                    </a:lnTo>
                    <a:lnTo>
                      <a:pt x="76" y="266"/>
                    </a:lnTo>
                    <a:lnTo>
                      <a:pt x="76" y="260"/>
                    </a:lnTo>
                    <a:lnTo>
                      <a:pt x="78" y="257"/>
                    </a:lnTo>
                    <a:lnTo>
                      <a:pt x="80" y="257"/>
                    </a:lnTo>
                    <a:lnTo>
                      <a:pt x="80" y="259"/>
                    </a:lnTo>
                    <a:lnTo>
                      <a:pt x="84" y="259"/>
                    </a:lnTo>
                    <a:lnTo>
                      <a:pt x="87" y="257"/>
                    </a:lnTo>
                    <a:lnTo>
                      <a:pt x="87" y="255"/>
                    </a:lnTo>
                    <a:lnTo>
                      <a:pt x="91" y="252"/>
                    </a:lnTo>
                    <a:lnTo>
                      <a:pt x="96" y="252"/>
                    </a:lnTo>
                    <a:lnTo>
                      <a:pt x="105" y="257"/>
                    </a:lnTo>
                    <a:lnTo>
                      <a:pt x="109" y="255"/>
                    </a:lnTo>
                    <a:lnTo>
                      <a:pt x="112" y="253"/>
                    </a:lnTo>
                    <a:lnTo>
                      <a:pt x="114" y="253"/>
                    </a:lnTo>
                    <a:lnTo>
                      <a:pt x="116" y="255"/>
                    </a:lnTo>
                    <a:lnTo>
                      <a:pt x="123" y="259"/>
                    </a:lnTo>
                    <a:lnTo>
                      <a:pt x="126" y="259"/>
                    </a:lnTo>
                    <a:lnTo>
                      <a:pt x="130" y="259"/>
                    </a:lnTo>
                    <a:lnTo>
                      <a:pt x="132" y="257"/>
                    </a:lnTo>
                    <a:lnTo>
                      <a:pt x="130" y="253"/>
                    </a:lnTo>
                    <a:lnTo>
                      <a:pt x="132" y="253"/>
                    </a:lnTo>
                    <a:lnTo>
                      <a:pt x="126" y="244"/>
                    </a:lnTo>
                    <a:lnTo>
                      <a:pt x="125" y="243"/>
                    </a:lnTo>
                    <a:lnTo>
                      <a:pt x="123" y="241"/>
                    </a:lnTo>
                    <a:lnTo>
                      <a:pt x="119" y="241"/>
                    </a:lnTo>
                    <a:lnTo>
                      <a:pt x="116" y="235"/>
                    </a:lnTo>
                    <a:lnTo>
                      <a:pt x="114" y="228"/>
                    </a:lnTo>
                    <a:lnTo>
                      <a:pt x="112" y="225"/>
                    </a:lnTo>
                    <a:lnTo>
                      <a:pt x="112" y="227"/>
                    </a:lnTo>
                    <a:lnTo>
                      <a:pt x="109" y="221"/>
                    </a:lnTo>
                    <a:lnTo>
                      <a:pt x="109" y="221"/>
                    </a:lnTo>
                    <a:lnTo>
                      <a:pt x="107" y="218"/>
                    </a:lnTo>
                    <a:lnTo>
                      <a:pt x="101" y="214"/>
                    </a:lnTo>
                    <a:lnTo>
                      <a:pt x="98" y="212"/>
                    </a:lnTo>
                    <a:lnTo>
                      <a:pt x="98" y="212"/>
                    </a:lnTo>
                    <a:lnTo>
                      <a:pt x="94" y="210"/>
                    </a:lnTo>
                    <a:lnTo>
                      <a:pt x="85" y="214"/>
                    </a:lnTo>
                    <a:lnTo>
                      <a:pt x="84" y="212"/>
                    </a:lnTo>
                    <a:lnTo>
                      <a:pt x="71" y="210"/>
                    </a:lnTo>
                    <a:lnTo>
                      <a:pt x="60" y="219"/>
                    </a:lnTo>
                    <a:lnTo>
                      <a:pt x="34" y="225"/>
                    </a:lnTo>
                    <a:lnTo>
                      <a:pt x="39" y="230"/>
                    </a:lnTo>
                    <a:lnTo>
                      <a:pt x="35" y="232"/>
                    </a:lnTo>
                    <a:lnTo>
                      <a:pt x="32" y="230"/>
                    </a:lnTo>
                    <a:lnTo>
                      <a:pt x="32" y="228"/>
                    </a:lnTo>
                    <a:lnTo>
                      <a:pt x="30" y="228"/>
                    </a:lnTo>
                    <a:lnTo>
                      <a:pt x="26" y="228"/>
                    </a:lnTo>
                    <a:lnTo>
                      <a:pt x="25" y="227"/>
                    </a:lnTo>
                    <a:lnTo>
                      <a:pt x="25" y="225"/>
                    </a:lnTo>
                    <a:lnTo>
                      <a:pt x="26" y="223"/>
                    </a:lnTo>
                    <a:lnTo>
                      <a:pt x="26" y="221"/>
                    </a:lnTo>
                    <a:lnTo>
                      <a:pt x="28" y="221"/>
                    </a:lnTo>
                    <a:lnTo>
                      <a:pt x="32" y="223"/>
                    </a:lnTo>
                    <a:lnTo>
                      <a:pt x="35" y="221"/>
                    </a:lnTo>
                    <a:lnTo>
                      <a:pt x="32" y="205"/>
                    </a:lnTo>
                    <a:lnTo>
                      <a:pt x="30" y="203"/>
                    </a:lnTo>
                    <a:lnTo>
                      <a:pt x="28" y="202"/>
                    </a:lnTo>
                    <a:lnTo>
                      <a:pt x="28" y="200"/>
                    </a:lnTo>
                    <a:lnTo>
                      <a:pt x="25" y="196"/>
                    </a:lnTo>
                    <a:lnTo>
                      <a:pt x="17" y="196"/>
                    </a:lnTo>
                    <a:lnTo>
                      <a:pt x="14" y="196"/>
                    </a:lnTo>
                    <a:lnTo>
                      <a:pt x="14" y="198"/>
                    </a:lnTo>
                    <a:lnTo>
                      <a:pt x="10" y="194"/>
                    </a:lnTo>
                    <a:lnTo>
                      <a:pt x="10" y="193"/>
                    </a:lnTo>
                    <a:lnTo>
                      <a:pt x="9" y="191"/>
                    </a:lnTo>
                    <a:lnTo>
                      <a:pt x="10" y="189"/>
                    </a:lnTo>
                    <a:lnTo>
                      <a:pt x="9" y="185"/>
                    </a:lnTo>
                    <a:lnTo>
                      <a:pt x="9" y="184"/>
                    </a:lnTo>
                    <a:lnTo>
                      <a:pt x="0" y="182"/>
                    </a:lnTo>
                    <a:lnTo>
                      <a:pt x="3" y="168"/>
                    </a:lnTo>
                    <a:lnTo>
                      <a:pt x="7" y="166"/>
                    </a:lnTo>
                    <a:lnTo>
                      <a:pt x="9" y="164"/>
                    </a:lnTo>
                    <a:lnTo>
                      <a:pt x="7" y="162"/>
                    </a:lnTo>
                    <a:lnTo>
                      <a:pt x="5" y="159"/>
                    </a:lnTo>
                    <a:lnTo>
                      <a:pt x="7" y="146"/>
                    </a:lnTo>
                    <a:lnTo>
                      <a:pt x="12" y="143"/>
                    </a:lnTo>
                    <a:lnTo>
                      <a:pt x="12" y="141"/>
                    </a:lnTo>
                    <a:lnTo>
                      <a:pt x="12" y="139"/>
                    </a:lnTo>
                    <a:lnTo>
                      <a:pt x="14" y="137"/>
                    </a:lnTo>
                    <a:lnTo>
                      <a:pt x="14" y="134"/>
                    </a:lnTo>
                    <a:lnTo>
                      <a:pt x="16" y="130"/>
                    </a:lnTo>
                    <a:lnTo>
                      <a:pt x="17" y="132"/>
                    </a:lnTo>
                    <a:lnTo>
                      <a:pt x="17" y="134"/>
                    </a:lnTo>
                    <a:lnTo>
                      <a:pt x="23" y="137"/>
                    </a:lnTo>
                    <a:lnTo>
                      <a:pt x="26" y="148"/>
                    </a:lnTo>
                    <a:lnTo>
                      <a:pt x="30" y="148"/>
                    </a:lnTo>
                    <a:lnTo>
                      <a:pt x="37" y="143"/>
                    </a:lnTo>
                    <a:lnTo>
                      <a:pt x="32" y="127"/>
                    </a:lnTo>
                    <a:lnTo>
                      <a:pt x="35" y="128"/>
                    </a:lnTo>
                    <a:lnTo>
                      <a:pt x="44" y="121"/>
                    </a:lnTo>
                    <a:lnTo>
                      <a:pt x="46" y="119"/>
                    </a:lnTo>
                    <a:lnTo>
                      <a:pt x="46" y="114"/>
                    </a:lnTo>
                    <a:lnTo>
                      <a:pt x="48" y="114"/>
                    </a:lnTo>
                    <a:lnTo>
                      <a:pt x="51" y="114"/>
                    </a:lnTo>
                    <a:lnTo>
                      <a:pt x="53" y="114"/>
                    </a:lnTo>
                    <a:lnTo>
                      <a:pt x="55" y="112"/>
                    </a:lnTo>
                    <a:lnTo>
                      <a:pt x="59" y="110"/>
                    </a:lnTo>
                    <a:lnTo>
                      <a:pt x="60" y="109"/>
                    </a:lnTo>
                    <a:lnTo>
                      <a:pt x="62" y="107"/>
                    </a:lnTo>
                    <a:lnTo>
                      <a:pt x="64" y="105"/>
                    </a:lnTo>
                    <a:lnTo>
                      <a:pt x="64" y="103"/>
                    </a:lnTo>
                    <a:lnTo>
                      <a:pt x="66" y="102"/>
                    </a:lnTo>
                    <a:lnTo>
                      <a:pt x="71" y="100"/>
                    </a:lnTo>
                    <a:lnTo>
                      <a:pt x="75" y="100"/>
                    </a:lnTo>
                    <a:lnTo>
                      <a:pt x="76" y="105"/>
                    </a:lnTo>
                    <a:lnTo>
                      <a:pt x="82" y="103"/>
                    </a:lnTo>
                    <a:lnTo>
                      <a:pt x="84" y="105"/>
                    </a:lnTo>
                    <a:lnTo>
                      <a:pt x="84" y="103"/>
                    </a:lnTo>
                    <a:lnTo>
                      <a:pt x="85" y="102"/>
                    </a:lnTo>
                    <a:lnTo>
                      <a:pt x="85" y="98"/>
                    </a:lnTo>
                    <a:lnTo>
                      <a:pt x="89" y="100"/>
                    </a:lnTo>
                    <a:lnTo>
                      <a:pt x="91" y="98"/>
                    </a:lnTo>
                    <a:lnTo>
                      <a:pt x="92" y="98"/>
                    </a:lnTo>
                    <a:lnTo>
                      <a:pt x="94" y="103"/>
                    </a:lnTo>
                    <a:lnTo>
                      <a:pt x="96" y="105"/>
                    </a:lnTo>
                    <a:lnTo>
                      <a:pt x="101" y="103"/>
                    </a:lnTo>
                    <a:lnTo>
                      <a:pt x="103" y="105"/>
                    </a:lnTo>
                    <a:lnTo>
                      <a:pt x="107" y="103"/>
                    </a:lnTo>
                    <a:lnTo>
                      <a:pt x="110" y="103"/>
                    </a:lnTo>
                    <a:lnTo>
                      <a:pt x="114" y="107"/>
                    </a:lnTo>
                    <a:lnTo>
                      <a:pt x="116" y="110"/>
                    </a:lnTo>
                    <a:lnTo>
                      <a:pt x="121" y="114"/>
                    </a:lnTo>
                    <a:lnTo>
                      <a:pt x="123" y="116"/>
                    </a:lnTo>
                    <a:lnTo>
                      <a:pt x="123" y="118"/>
                    </a:lnTo>
                    <a:lnTo>
                      <a:pt x="126" y="121"/>
                    </a:lnTo>
                    <a:lnTo>
                      <a:pt x="126" y="127"/>
                    </a:lnTo>
                    <a:lnTo>
                      <a:pt x="128" y="128"/>
                    </a:lnTo>
                    <a:lnTo>
                      <a:pt x="130" y="128"/>
                    </a:lnTo>
                    <a:lnTo>
                      <a:pt x="130" y="121"/>
                    </a:lnTo>
                    <a:lnTo>
                      <a:pt x="128" y="119"/>
                    </a:lnTo>
                    <a:lnTo>
                      <a:pt x="130" y="118"/>
                    </a:lnTo>
                    <a:lnTo>
                      <a:pt x="134" y="118"/>
                    </a:lnTo>
                    <a:lnTo>
                      <a:pt x="134" y="119"/>
                    </a:lnTo>
                    <a:lnTo>
                      <a:pt x="135" y="121"/>
                    </a:lnTo>
                    <a:lnTo>
                      <a:pt x="135" y="123"/>
                    </a:lnTo>
                    <a:lnTo>
                      <a:pt x="137" y="125"/>
                    </a:lnTo>
                    <a:lnTo>
                      <a:pt x="146" y="128"/>
                    </a:lnTo>
                    <a:lnTo>
                      <a:pt x="150" y="128"/>
                    </a:lnTo>
                    <a:lnTo>
                      <a:pt x="155" y="123"/>
                    </a:lnTo>
                    <a:lnTo>
                      <a:pt x="155" y="121"/>
                    </a:lnTo>
                    <a:lnTo>
                      <a:pt x="157" y="119"/>
                    </a:lnTo>
                    <a:lnTo>
                      <a:pt x="159" y="119"/>
                    </a:lnTo>
                    <a:lnTo>
                      <a:pt x="160" y="118"/>
                    </a:lnTo>
                    <a:lnTo>
                      <a:pt x="162" y="119"/>
                    </a:lnTo>
                    <a:lnTo>
                      <a:pt x="164" y="116"/>
                    </a:lnTo>
                    <a:lnTo>
                      <a:pt x="167" y="118"/>
                    </a:lnTo>
                    <a:lnTo>
                      <a:pt x="169" y="116"/>
                    </a:lnTo>
                    <a:lnTo>
                      <a:pt x="175" y="121"/>
                    </a:lnTo>
                    <a:lnTo>
                      <a:pt x="180" y="118"/>
                    </a:lnTo>
                    <a:lnTo>
                      <a:pt x="180" y="116"/>
                    </a:lnTo>
                    <a:lnTo>
                      <a:pt x="185" y="116"/>
                    </a:lnTo>
                    <a:lnTo>
                      <a:pt x="187" y="114"/>
                    </a:lnTo>
                    <a:lnTo>
                      <a:pt x="191" y="116"/>
                    </a:lnTo>
                    <a:lnTo>
                      <a:pt x="192" y="118"/>
                    </a:lnTo>
                    <a:lnTo>
                      <a:pt x="192" y="123"/>
                    </a:lnTo>
                    <a:lnTo>
                      <a:pt x="196" y="127"/>
                    </a:lnTo>
                    <a:lnTo>
                      <a:pt x="201" y="127"/>
                    </a:lnTo>
                    <a:lnTo>
                      <a:pt x="205" y="127"/>
                    </a:lnTo>
                    <a:lnTo>
                      <a:pt x="205" y="127"/>
                    </a:lnTo>
                    <a:lnTo>
                      <a:pt x="207" y="130"/>
                    </a:lnTo>
                    <a:lnTo>
                      <a:pt x="212" y="130"/>
                    </a:lnTo>
                    <a:lnTo>
                      <a:pt x="214" y="128"/>
                    </a:lnTo>
                    <a:lnTo>
                      <a:pt x="216" y="121"/>
                    </a:lnTo>
                    <a:lnTo>
                      <a:pt x="219" y="123"/>
                    </a:lnTo>
                    <a:lnTo>
                      <a:pt x="221" y="127"/>
                    </a:lnTo>
                    <a:lnTo>
                      <a:pt x="232" y="127"/>
                    </a:lnTo>
                    <a:lnTo>
                      <a:pt x="234" y="125"/>
                    </a:lnTo>
                    <a:lnTo>
                      <a:pt x="237" y="123"/>
                    </a:lnTo>
                    <a:lnTo>
                      <a:pt x="242" y="110"/>
                    </a:lnTo>
                    <a:lnTo>
                      <a:pt x="241" y="107"/>
                    </a:lnTo>
                    <a:lnTo>
                      <a:pt x="232" y="105"/>
                    </a:lnTo>
                    <a:lnTo>
                      <a:pt x="228" y="102"/>
                    </a:lnTo>
                    <a:lnTo>
                      <a:pt x="221" y="100"/>
                    </a:lnTo>
                    <a:lnTo>
                      <a:pt x="221" y="98"/>
                    </a:lnTo>
                    <a:lnTo>
                      <a:pt x="221" y="96"/>
                    </a:lnTo>
                    <a:lnTo>
                      <a:pt x="216" y="94"/>
                    </a:lnTo>
                    <a:lnTo>
                      <a:pt x="216" y="93"/>
                    </a:lnTo>
                    <a:lnTo>
                      <a:pt x="217" y="93"/>
                    </a:lnTo>
                    <a:lnTo>
                      <a:pt x="221" y="89"/>
                    </a:lnTo>
                    <a:lnTo>
                      <a:pt x="230" y="85"/>
                    </a:lnTo>
                    <a:lnTo>
                      <a:pt x="232" y="84"/>
                    </a:lnTo>
                    <a:lnTo>
                      <a:pt x="232" y="80"/>
                    </a:lnTo>
                    <a:lnTo>
                      <a:pt x="226" y="73"/>
                    </a:lnTo>
                    <a:lnTo>
                      <a:pt x="228" y="71"/>
                    </a:lnTo>
                    <a:lnTo>
                      <a:pt x="230" y="69"/>
                    </a:lnTo>
                    <a:lnTo>
                      <a:pt x="232" y="68"/>
                    </a:lnTo>
                    <a:lnTo>
                      <a:pt x="234" y="66"/>
                    </a:lnTo>
                    <a:lnTo>
                      <a:pt x="246" y="66"/>
                    </a:lnTo>
                    <a:lnTo>
                      <a:pt x="250" y="66"/>
                    </a:lnTo>
                    <a:lnTo>
                      <a:pt x="250" y="64"/>
                    </a:lnTo>
                    <a:lnTo>
                      <a:pt x="250" y="62"/>
                    </a:lnTo>
                    <a:lnTo>
                      <a:pt x="244" y="59"/>
                    </a:lnTo>
                    <a:lnTo>
                      <a:pt x="235" y="59"/>
                    </a:lnTo>
                    <a:lnTo>
                      <a:pt x="234" y="55"/>
                    </a:lnTo>
                    <a:lnTo>
                      <a:pt x="234" y="53"/>
                    </a:lnTo>
                    <a:lnTo>
                      <a:pt x="237" y="53"/>
                    </a:lnTo>
                    <a:lnTo>
                      <a:pt x="239" y="53"/>
                    </a:lnTo>
                    <a:lnTo>
                      <a:pt x="241" y="50"/>
                    </a:lnTo>
                    <a:lnTo>
                      <a:pt x="239" y="50"/>
                    </a:lnTo>
                    <a:lnTo>
                      <a:pt x="237" y="50"/>
                    </a:lnTo>
                    <a:lnTo>
                      <a:pt x="232" y="50"/>
                    </a:lnTo>
                    <a:lnTo>
                      <a:pt x="232" y="48"/>
                    </a:lnTo>
                    <a:lnTo>
                      <a:pt x="232" y="46"/>
                    </a:lnTo>
                    <a:lnTo>
                      <a:pt x="234" y="44"/>
                    </a:lnTo>
                    <a:lnTo>
                      <a:pt x="230" y="41"/>
                    </a:lnTo>
                    <a:lnTo>
                      <a:pt x="235" y="41"/>
                    </a:lnTo>
                    <a:lnTo>
                      <a:pt x="237" y="39"/>
                    </a:lnTo>
                    <a:lnTo>
                      <a:pt x="239" y="39"/>
                    </a:lnTo>
                    <a:lnTo>
                      <a:pt x="241" y="41"/>
                    </a:lnTo>
                    <a:lnTo>
                      <a:pt x="242" y="39"/>
                    </a:lnTo>
                    <a:lnTo>
                      <a:pt x="246" y="41"/>
                    </a:lnTo>
                    <a:lnTo>
                      <a:pt x="248" y="39"/>
                    </a:lnTo>
                    <a:lnTo>
                      <a:pt x="255" y="39"/>
                    </a:lnTo>
                    <a:lnTo>
                      <a:pt x="257" y="41"/>
                    </a:lnTo>
                    <a:lnTo>
                      <a:pt x="259" y="37"/>
                    </a:lnTo>
                    <a:lnTo>
                      <a:pt x="262" y="37"/>
                    </a:lnTo>
                    <a:lnTo>
                      <a:pt x="266" y="37"/>
                    </a:lnTo>
                    <a:lnTo>
                      <a:pt x="267" y="35"/>
                    </a:lnTo>
                    <a:lnTo>
                      <a:pt x="269" y="35"/>
                    </a:lnTo>
                    <a:lnTo>
                      <a:pt x="275" y="32"/>
                    </a:lnTo>
                    <a:lnTo>
                      <a:pt x="276" y="34"/>
                    </a:lnTo>
                    <a:lnTo>
                      <a:pt x="278" y="34"/>
                    </a:lnTo>
                    <a:lnTo>
                      <a:pt x="280" y="34"/>
                    </a:lnTo>
                    <a:lnTo>
                      <a:pt x="282" y="32"/>
                    </a:lnTo>
                    <a:lnTo>
                      <a:pt x="285" y="30"/>
                    </a:lnTo>
                    <a:lnTo>
                      <a:pt x="287" y="30"/>
                    </a:lnTo>
                    <a:lnTo>
                      <a:pt x="291" y="30"/>
                    </a:lnTo>
                    <a:lnTo>
                      <a:pt x="292" y="28"/>
                    </a:lnTo>
                    <a:lnTo>
                      <a:pt x="294" y="28"/>
                    </a:lnTo>
                    <a:lnTo>
                      <a:pt x="296" y="30"/>
                    </a:lnTo>
                    <a:lnTo>
                      <a:pt x="298" y="27"/>
                    </a:lnTo>
                    <a:lnTo>
                      <a:pt x="300" y="23"/>
                    </a:lnTo>
                    <a:lnTo>
                      <a:pt x="301" y="21"/>
                    </a:lnTo>
                    <a:lnTo>
                      <a:pt x="303" y="21"/>
                    </a:lnTo>
                    <a:lnTo>
                      <a:pt x="307" y="23"/>
                    </a:lnTo>
                    <a:lnTo>
                      <a:pt x="312" y="21"/>
                    </a:lnTo>
                    <a:lnTo>
                      <a:pt x="310" y="21"/>
                    </a:lnTo>
                    <a:lnTo>
                      <a:pt x="339" y="14"/>
                    </a:lnTo>
                    <a:lnTo>
                      <a:pt x="341" y="12"/>
                    </a:lnTo>
                    <a:lnTo>
                      <a:pt x="344" y="12"/>
                    </a:lnTo>
                    <a:lnTo>
                      <a:pt x="346" y="12"/>
                    </a:lnTo>
                    <a:lnTo>
                      <a:pt x="348" y="10"/>
                    </a:lnTo>
                    <a:lnTo>
                      <a:pt x="348" y="5"/>
                    </a:lnTo>
                    <a:lnTo>
                      <a:pt x="350" y="7"/>
                    </a:lnTo>
                    <a:lnTo>
                      <a:pt x="351" y="5"/>
                    </a:lnTo>
                    <a:lnTo>
                      <a:pt x="353" y="3"/>
                    </a:lnTo>
                    <a:lnTo>
                      <a:pt x="355" y="2"/>
                    </a:lnTo>
                    <a:lnTo>
                      <a:pt x="359" y="2"/>
                    </a:lnTo>
                    <a:lnTo>
                      <a:pt x="359" y="0"/>
                    </a:lnTo>
                    <a:lnTo>
                      <a:pt x="362" y="0"/>
                    </a:lnTo>
                    <a:lnTo>
                      <a:pt x="364" y="2"/>
                    </a:lnTo>
                    <a:lnTo>
                      <a:pt x="366" y="2"/>
                    </a:lnTo>
                    <a:lnTo>
                      <a:pt x="367" y="2"/>
                    </a:lnTo>
                    <a:lnTo>
                      <a:pt x="369" y="2"/>
                    </a:lnTo>
                    <a:lnTo>
                      <a:pt x="373" y="2"/>
                    </a:lnTo>
                    <a:lnTo>
                      <a:pt x="375" y="3"/>
                    </a:lnTo>
                    <a:lnTo>
                      <a:pt x="378" y="7"/>
                    </a:lnTo>
                    <a:lnTo>
                      <a:pt x="380" y="5"/>
                    </a:lnTo>
                    <a:lnTo>
                      <a:pt x="382" y="3"/>
                    </a:lnTo>
                    <a:lnTo>
                      <a:pt x="387" y="3"/>
                    </a:lnTo>
                    <a:lnTo>
                      <a:pt x="389" y="5"/>
                    </a:lnTo>
                    <a:lnTo>
                      <a:pt x="391" y="7"/>
                    </a:lnTo>
                    <a:lnTo>
                      <a:pt x="391" y="9"/>
                    </a:lnTo>
                    <a:lnTo>
                      <a:pt x="391" y="16"/>
                    </a:lnTo>
                    <a:lnTo>
                      <a:pt x="392" y="18"/>
                    </a:lnTo>
                    <a:lnTo>
                      <a:pt x="396" y="21"/>
                    </a:lnTo>
                    <a:lnTo>
                      <a:pt x="394" y="23"/>
                    </a:lnTo>
                    <a:lnTo>
                      <a:pt x="394" y="27"/>
                    </a:lnTo>
                    <a:lnTo>
                      <a:pt x="392" y="32"/>
                    </a:lnTo>
                    <a:lnTo>
                      <a:pt x="392" y="34"/>
                    </a:lnTo>
                    <a:lnTo>
                      <a:pt x="394" y="35"/>
                    </a:lnTo>
                    <a:lnTo>
                      <a:pt x="398" y="34"/>
                    </a:lnTo>
                    <a:lnTo>
                      <a:pt x="400" y="35"/>
                    </a:lnTo>
                    <a:lnTo>
                      <a:pt x="403" y="35"/>
                    </a:lnTo>
                    <a:lnTo>
                      <a:pt x="403" y="34"/>
                    </a:lnTo>
                    <a:lnTo>
                      <a:pt x="407" y="34"/>
                    </a:lnTo>
                    <a:lnTo>
                      <a:pt x="409" y="34"/>
                    </a:lnTo>
                    <a:lnTo>
                      <a:pt x="409" y="28"/>
                    </a:lnTo>
                    <a:lnTo>
                      <a:pt x="410" y="30"/>
                    </a:lnTo>
                    <a:lnTo>
                      <a:pt x="412" y="34"/>
                    </a:lnTo>
                    <a:lnTo>
                      <a:pt x="414" y="35"/>
                    </a:lnTo>
                    <a:lnTo>
                      <a:pt x="414" y="41"/>
                    </a:lnTo>
                    <a:lnTo>
                      <a:pt x="417" y="41"/>
                    </a:lnTo>
                    <a:lnTo>
                      <a:pt x="417" y="39"/>
                    </a:lnTo>
                    <a:lnTo>
                      <a:pt x="416" y="37"/>
                    </a:lnTo>
                    <a:lnTo>
                      <a:pt x="417" y="35"/>
                    </a:lnTo>
                    <a:lnTo>
                      <a:pt x="423" y="37"/>
                    </a:lnTo>
                    <a:lnTo>
                      <a:pt x="428" y="41"/>
                    </a:lnTo>
                    <a:lnTo>
                      <a:pt x="430" y="41"/>
                    </a:lnTo>
                    <a:lnTo>
                      <a:pt x="432" y="39"/>
                    </a:lnTo>
                    <a:lnTo>
                      <a:pt x="434" y="37"/>
                    </a:lnTo>
                    <a:lnTo>
                      <a:pt x="435" y="41"/>
                    </a:lnTo>
                    <a:lnTo>
                      <a:pt x="435" y="43"/>
                    </a:lnTo>
                    <a:lnTo>
                      <a:pt x="432" y="43"/>
                    </a:lnTo>
                    <a:lnTo>
                      <a:pt x="430" y="44"/>
                    </a:lnTo>
                    <a:lnTo>
                      <a:pt x="428" y="46"/>
                    </a:lnTo>
                    <a:lnTo>
                      <a:pt x="428" y="48"/>
                    </a:lnTo>
                    <a:lnTo>
                      <a:pt x="428" y="52"/>
                    </a:lnTo>
                    <a:lnTo>
                      <a:pt x="430" y="53"/>
                    </a:lnTo>
                    <a:lnTo>
                      <a:pt x="432" y="53"/>
                    </a:lnTo>
                    <a:lnTo>
                      <a:pt x="434" y="52"/>
                    </a:lnTo>
                    <a:lnTo>
                      <a:pt x="439" y="50"/>
                    </a:lnTo>
                    <a:lnTo>
                      <a:pt x="441" y="50"/>
                    </a:lnTo>
                    <a:lnTo>
                      <a:pt x="442" y="50"/>
                    </a:lnTo>
                    <a:lnTo>
                      <a:pt x="444" y="52"/>
                    </a:lnTo>
                    <a:lnTo>
                      <a:pt x="446" y="52"/>
                    </a:lnTo>
                    <a:lnTo>
                      <a:pt x="446" y="50"/>
                    </a:lnTo>
                    <a:lnTo>
                      <a:pt x="448" y="48"/>
                    </a:lnTo>
                    <a:lnTo>
                      <a:pt x="450" y="48"/>
                    </a:lnTo>
                    <a:lnTo>
                      <a:pt x="453" y="44"/>
                    </a:lnTo>
                    <a:lnTo>
                      <a:pt x="457" y="43"/>
                    </a:lnTo>
                    <a:lnTo>
                      <a:pt x="460" y="41"/>
                    </a:lnTo>
                    <a:lnTo>
                      <a:pt x="462" y="35"/>
                    </a:lnTo>
                    <a:lnTo>
                      <a:pt x="464" y="34"/>
                    </a:lnTo>
                    <a:lnTo>
                      <a:pt x="467" y="35"/>
                    </a:lnTo>
                    <a:lnTo>
                      <a:pt x="473" y="34"/>
                    </a:lnTo>
                    <a:lnTo>
                      <a:pt x="475" y="30"/>
                    </a:lnTo>
                    <a:lnTo>
                      <a:pt x="480" y="30"/>
                    </a:lnTo>
                    <a:lnTo>
                      <a:pt x="484" y="28"/>
                    </a:lnTo>
                    <a:lnTo>
                      <a:pt x="485" y="30"/>
                    </a:lnTo>
                    <a:lnTo>
                      <a:pt x="485" y="32"/>
                    </a:lnTo>
                    <a:lnTo>
                      <a:pt x="484" y="34"/>
                    </a:lnTo>
                    <a:lnTo>
                      <a:pt x="482" y="35"/>
                    </a:lnTo>
                    <a:lnTo>
                      <a:pt x="478" y="35"/>
                    </a:lnTo>
                    <a:lnTo>
                      <a:pt x="478" y="37"/>
                    </a:lnTo>
                    <a:lnTo>
                      <a:pt x="480" y="39"/>
                    </a:lnTo>
                    <a:lnTo>
                      <a:pt x="482" y="41"/>
                    </a:lnTo>
                    <a:lnTo>
                      <a:pt x="501" y="59"/>
                    </a:lnTo>
                    <a:lnTo>
                      <a:pt x="537" y="123"/>
                    </a:lnTo>
                    <a:lnTo>
                      <a:pt x="541" y="119"/>
                    </a:lnTo>
                    <a:lnTo>
                      <a:pt x="542" y="118"/>
                    </a:lnTo>
                    <a:lnTo>
                      <a:pt x="542" y="116"/>
                    </a:lnTo>
                    <a:lnTo>
                      <a:pt x="544" y="112"/>
                    </a:lnTo>
                    <a:lnTo>
                      <a:pt x="548" y="110"/>
                    </a:lnTo>
                    <a:lnTo>
                      <a:pt x="548" y="114"/>
                    </a:lnTo>
                    <a:lnTo>
                      <a:pt x="551" y="114"/>
                    </a:lnTo>
                    <a:lnTo>
                      <a:pt x="555" y="116"/>
                    </a:lnTo>
                    <a:lnTo>
                      <a:pt x="553" y="118"/>
                    </a:lnTo>
                    <a:lnTo>
                      <a:pt x="555" y="121"/>
                    </a:lnTo>
                    <a:lnTo>
                      <a:pt x="557" y="121"/>
                    </a:lnTo>
                    <a:lnTo>
                      <a:pt x="559" y="125"/>
                    </a:lnTo>
                    <a:lnTo>
                      <a:pt x="566" y="125"/>
                    </a:lnTo>
                    <a:lnTo>
                      <a:pt x="571" y="125"/>
                    </a:lnTo>
                    <a:lnTo>
                      <a:pt x="573" y="125"/>
                    </a:lnTo>
                    <a:lnTo>
                      <a:pt x="576" y="125"/>
                    </a:lnTo>
                    <a:lnTo>
                      <a:pt x="578" y="123"/>
                    </a:lnTo>
                    <a:lnTo>
                      <a:pt x="580" y="121"/>
                    </a:lnTo>
                    <a:lnTo>
                      <a:pt x="582" y="121"/>
                    </a:lnTo>
                    <a:lnTo>
                      <a:pt x="584" y="121"/>
                    </a:lnTo>
                    <a:lnTo>
                      <a:pt x="585" y="119"/>
                    </a:lnTo>
                    <a:lnTo>
                      <a:pt x="587" y="118"/>
                    </a:lnTo>
                    <a:lnTo>
                      <a:pt x="592" y="119"/>
                    </a:lnTo>
                    <a:lnTo>
                      <a:pt x="594" y="119"/>
                    </a:lnTo>
                    <a:lnTo>
                      <a:pt x="594" y="121"/>
                    </a:lnTo>
                    <a:lnTo>
                      <a:pt x="596" y="123"/>
                    </a:lnTo>
                    <a:lnTo>
                      <a:pt x="600" y="127"/>
                    </a:lnTo>
                    <a:lnTo>
                      <a:pt x="601" y="128"/>
                    </a:lnTo>
                    <a:lnTo>
                      <a:pt x="603" y="130"/>
                    </a:lnTo>
                    <a:lnTo>
                      <a:pt x="603" y="132"/>
                    </a:lnTo>
                    <a:lnTo>
                      <a:pt x="603" y="135"/>
                    </a:lnTo>
                    <a:lnTo>
                      <a:pt x="603" y="137"/>
                    </a:lnTo>
                    <a:lnTo>
                      <a:pt x="607" y="137"/>
                    </a:lnTo>
                    <a:lnTo>
                      <a:pt x="612" y="141"/>
                    </a:lnTo>
                    <a:lnTo>
                      <a:pt x="614" y="143"/>
                    </a:lnTo>
                    <a:lnTo>
                      <a:pt x="614" y="144"/>
                    </a:lnTo>
                    <a:lnTo>
                      <a:pt x="616" y="146"/>
                    </a:lnTo>
                    <a:lnTo>
                      <a:pt x="617" y="148"/>
                    </a:lnTo>
                    <a:lnTo>
                      <a:pt x="619" y="152"/>
                    </a:lnTo>
                    <a:lnTo>
                      <a:pt x="621" y="153"/>
                    </a:lnTo>
                    <a:lnTo>
                      <a:pt x="626" y="153"/>
                    </a:lnTo>
                    <a:lnTo>
                      <a:pt x="628" y="155"/>
                    </a:lnTo>
                    <a:lnTo>
                      <a:pt x="635" y="155"/>
                    </a:lnTo>
                    <a:lnTo>
                      <a:pt x="635" y="153"/>
                    </a:lnTo>
                    <a:lnTo>
                      <a:pt x="637" y="152"/>
                    </a:lnTo>
                    <a:lnTo>
                      <a:pt x="642" y="150"/>
                    </a:lnTo>
                    <a:lnTo>
                      <a:pt x="642" y="153"/>
                    </a:lnTo>
                    <a:lnTo>
                      <a:pt x="644" y="155"/>
                    </a:lnTo>
                    <a:lnTo>
                      <a:pt x="646" y="157"/>
                    </a:lnTo>
                    <a:lnTo>
                      <a:pt x="648" y="160"/>
                    </a:lnTo>
                    <a:lnTo>
                      <a:pt x="650" y="162"/>
                    </a:lnTo>
                    <a:lnTo>
                      <a:pt x="650" y="164"/>
                    </a:lnTo>
                    <a:lnTo>
                      <a:pt x="648" y="171"/>
                    </a:lnTo>
                    <a:lnTo>
                      <a:pt x="644" y="177"/>
                    </a:lnTo>
                    <a:lnTo>
                      <a:pt x="639" y="182"/>
                    </a:lnTo>
                    <a:lnTo>
                      <a:pt x="633" y="184"/>
                    </a:lnTo>
                    <a:lnTo>
                      <a:pt x="628" y="184"/>
                    </a:lnTo>
                    <a:lnTo>
                      <a:pt x="626" y="189"/>
                    </a:lnTo>
                    <a:lnTo>
                      <a:pt x="625" y="214"/>
                    </a:lnTo>
                    <a:lnTo>
                      <a:pt x="617" y="216"/>
                    </a:lnTo>
                    <a:lnTo>
                      <a:pt x="614" y="219"/>
                    </a:lnTo>
                    <a:lnTo>
                      <a:pt x="607" y="214"/>
                    </a:lnTo>
                    <a:lnTo>
                      <a:pt x="598" y="216"/>
                    </a:lnTo>
                    <a:lnTo>
                      <a:pt x="592" y="214"/>
                    </a:lnTo>
                    <a:lnTo>
                      <a:pt x="589" y="212"/>
                    </a:lnTo>
                    <a:lnTo>
                      <a:pt x="582" y="212"/>
                    </a:lnTo>
                    <a:lnTo>
                      <a:pt x="571" y="246"/>
                    </a:lnTo>
                    <a:lnTo>
                      <a:pt x="573" y="255"/>
                    </a:lnTo>
                    <a:lnTo>
                      <a:pt x="571" y="257"/>
                    </a:lnTo>
                    <a:lnTo>
                      <a:pt x="537" y="262"/>
                    </a:lnTo>
                    <a:lnTo>
                      <a:pt x="535" y="266"/>
                    </a:lnTo>
                    <a:lnTo>
                      <a:pt x="537" y="268"/>
                    </a:lnTo>
                    <a:lnTo>
                      <a:pt x="546" y="298"/>
                    </a:lnTo>
                    <a:lnTo>
                      <a:pt x="546" y="303"/>
                    </a:lnTo>
                    <a:lnTo>
                      <a:pt x="542" y="305"/>
                    </a:lnTo>
                    <a:lnTo>
                      <a:pt x="542" y="309"/>
                    </a:lnTo>
                    <a:lnTo>
                      <a:pt x="541" y="312"/>
                    </a:lnTo>
                    <a:lnTo>
                      <a:pt x="539" y="316"/>
                    </a:lnTo>
                    <a:lnTo>
                      <a:pt x="539" y="321"/>
                    </a:lnTo>
                    <a:lnTo>
                      <a:pt x="537" y="321"/>
                    </a:lnTo>
                    <a:lnTo>
                      <a:pt x="532" y="318"/>
                    </a:lnTo>
                    <a:lnTo>
                      <a:pt x="526" y="316"/>
                    </a:lnTo>
                    <a:lnTo>
                      <a:pt x="523" y="310"/>
                    </a:lnTo>
                    <a:lnTo>
                      <a:pt x="514" y="309"/>
                    </a:lnTo>
                    <a:lnTo>
                      <a:pt x="512" y="309"/>
                    </a:lnTo>
                    <a:lnTo>
                      <a:pt x="492" y="307"/>
                    </a:lnTo>
                    <a:lnTo>
                      <a:pt x="489" y="305"/>
                    </a:lnTo>
                    <a:lnTo>
                      <a:pt x="485" y="305"/>
                    </a:lnTo>
                    <a:lnTo>
                      <a:pt x="482" y="307"/>
                    </a:lnTo>
                    <a:lnTo>
                      <a:pt x="459" y="307"/>
                    </a:lnTo>
                    <a:lnTo>
                      <a:pt x="457" y="305"/>
                    </a:lnTo>
                    <a:lnTo>
                      <a:pt x="455" y="305"/>
                    </a:lnTo>
                    <a:lnTo>
                      <a:pt x="450" y="305"/>
                    </a:lnTo>
                    <a:lnTo>
                      <a:pt x="441" y="300"/>
                    </a:lnTo>
                    <a:lnTo>
                      <a:pt x="439" y="302"/>
                    </a:lnTo>
                    <a:lnTo>
                      <a:pt x="437" y="302"/>
                    </a:lnTo>
                    <a:lnTo>
                      <a:pt x="435" y="303"/>
                    </a:lnTo>
                    <a:lnTo>
                      <a:pt x="432" y="305"/>
                    </a:lnTo>
                    <a:lnTo>
                      <a:pt x="432" y="309"/>
                    </a:lnTo>
                    <a:lnTo>
                      <a:pt x="430" y="310"/>
                    </a:lnTo>
                    <a:lnTo>
                      <a:pt x="428" y="314"/>
                    </a:lnTo>
                    <a:lnTo>
                      <a:pt x="428" y="318"/>
                    </a:lnTo>
                    <a:lnTo>
                      <a:pt x="403" y="310"/>
                    </a:lnTo>
                    <a:lnTo>
                      <a:pt x="401" y="310"/>
                    </a:lnTo>
                    <a:lnTo>
                      <a:pt x="400" y="309"/>
                    </a:lnTo>
                    <a:lnTo>
                      <a:pt x="392" y="310"/>
                    </a:lnTo>
                    <a:lnTo>
                      <a:pt x="391" y="312"/>
                    </a:lnTo>
                    <a:lnTo>
                      <a:pt x="391" y="316"/>
                    </a:lnTo>
                    <a:lnTo>
                      <a:pt x="385" y="325"/>
                    </a:lnTo>
                    <a:lnTo>
                      <a:pt x="384" y="327"/>
                    </a:lnTo>
                    <a:lnTo>
                      <a:pt x="382" y="325"/>
                    </a:lnTo>
                    <a:lnTo>
                      <a:pt x="378" y="330"/>
                    </a:lnTo>
                    <a:lnTo>
                      <a:pt x="376" y="332"/>
                    </a:lnTo>
                    <a:lnTo>
                      <a:pt x="366" y="337"/>
                    </a:lnTo>
                    <a:lnTo>
                      <a:pt x="366" y="339"/>
                    </a:lnTo>
                    <a:lnTo>
                      <a:pt x="360" y="341"/>
                    </a:lnTo>
                    <a:lnTo>
                      <a:pt x="359" y="344"/>
                    </a:lnTo>
                    <a:lnTo>
                      <a:pt x="355" y="348"/>
                    </a:lnTo>
                    <a:lnTo>
                      <a:pt x="342" y="343"/>
                    </a:lnTo>
                    <a:lnTo>
                      <a:pt x="325" y="344"/>
                    </a:lnTo>
                    <a:lnTo>
                      <a:pt x="323" y="330"/>
                    </a:lnTo>
                    <a:lnTo>
                      <a:pt x="312" y="328"/>
                    </a:lnTo>
                    <a:lnTo>
                      <a:pt x="312" y="319"/>
                    </a:lnTo>
                    <a:lnTo>
                      <a:pt x="316" y="319"/>
                    </a:lnTo>
                    <a:lnTo>
                      <a:pt x="314" y="307"/>
                    </a:lnTo>
                    <a:lnTo>
                      <a:pt x="310" y="307"/>
                    </a:lnTo>
                    <a:lnTo>
                      <a:pt x="305" y="298"/>
                    </a:lnTo>
                    <a:lnTo>
                      <a:pt x="294" y="289"/>
                    </a:lnTo>
                    <a:lnTo>
                      <a:pt x="291" y="291"/>
                    </a:lnTo>
                    <a:lnTo>
                      <a:pt x="248" y="294"/>
                    </a:lnTo>
                    <a:lnTo>
                      <a:pt x="192" y="248"/>
                    </a:lnTo>
                    <a:lnTo>
                      <a:pt x="151" y="262"/>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36" name="Freeform 3091"/>
              <p:cNvSpPr>
                <a:spLocks/>
              </p:cNvSpPr>
              <p:nvPr/>
            </p:nvSpPr>
            <p:spPr bwMode="auto">
              <a:xfrm>
                <a:off x="2910" y="1866"/>
                <a:ext cx="52" cy="36"/>
              </a:xfrm>
              <a:custGeom>
                <a:avLst/>
                <a:gdLst>
                  <a:gd name="T0" fmla="*/ 41 w 52"/>
                  <a:gd name="T1" fmla="*/ 0 h 36"/>
                  <a:gd name="T2" fmla="*/ 34 w 52"/>
                  <a:gd name="T3" fmla="*/ 2 h 36"/>
                  <a:gd name="T4" fmla="*/ 32 w 52"/>
                  <a:gd name="T5" fmla="*/ 6 h 36"/>
                  <a:gd name="T6" fmla="*/ 24 w 52"/>
                  <a:gd name="T7" fmla="*/ 4 h 36"/>
                  <a:gd name="T8" fmla="*/ 18 w 52"/>
                  <a:gd name="T9" fmla="*/ 9 h 36"/>
                  <a:gd name="T10" fmla="*/ 2 w 52"/>
                  <a:gd name="T11" fmla="*/ 11 h 36"/>
                  <a:gd name="T12" fmla="*/ 0 w 52"/>
                  <a:gd name="T13" fmla="*/ 15 h 36"/>
                  <a:gd name="T14" fmla="*/ 2 w 52"/>
                  <a:gd name="T15" fmla="*/ 15 h 36"/>
                  <a:gd name="T16" fmla="*/ 4 w 52"/>
                  <a:gd name="T17" fmla="*/ 22 h 36"/>
                  <a:gd name="T18" fmla="*/ 4 w 52"/>
                  <a:gd name="T19" fmla="*/ 24 h 36"/>
                  <a:gd name="T20" fmla="*/ 7 w 52"/>
                  <a:gd name="T21" fmla="*/ 27 h 36"/>
                  <a:gd name="T22" fmla="*/ 9 w 52"/>
                  <a:gd name="T23" fmla="*/ 29 h 36"/>
                  <a:gd name="T24" fmla="*/ 7 w 52"/>
                  <a:gd name="T25" fmla="*/ 31 h 36"/>
                  <a:gd name="T26" fmla="*/ 4 w 52"/>
                  <a:gd name="T27" fmla="*/ 31 h 36"/>
                  <a:gd name="T28" fmla="*/ 4 w 52"/>
                  <a:gd name="T29" fmla="*/ 33 h 36"/>
                  <a:gd name="T30" fmla="*/ 9 w 52"/>
                  <a:gd name="T31" fmla="*/ 33 h 36"/>
                  <a:gd name="T32" fmla="*/ 16 w 52"/>
                  <a:gd name="T33" fmla="*/ 33 h 36"/>
                  <a:gd name="T34" fmla="*/ 18 w 52"/>
                  <a:gd name="T35" fmla="*/ 29 h 36"/>
                  <a:gd name="T36" fmla="*/ 24 w 52"/>
                  <a:gd name="T37" fmla="*/ 34 h 36"/>
                  <a:gd name="T38" fmla="*/ 25 w 52"/>
                  <a:gd name="T39" fmla="*/ 33 h 36"/>
                  <a:gd name="T40" fmla="*/ 27 w 52"/>
                  <a:gd name="T41" fmla="*/ 34 h 36"/>
                  <a:gd name="T42" fmla="*/ 29 w 52"/>
                  <a:gd name="T43" fmla="*/ 36 h 36"/>
                  <a:gd name="T44" fmla="*/ 31 w 52"/>
                  <a:gd name="T45" fmla="*/ 31 h 36"/>
                  <a:gd name="T46" fmla="*/ 31 w 52"/>
                  <a:gd name="T47" fmla="*/ 27 h 36"/>
                  <a:gd name="T48" fmla="*/ 36 w 52"/>
                  <a:gd name="T49" fmla="*/ 25 h 36"/>
                  <a:gd name="T50" fmla="*/ 36 w 52"/>
                  <a:gd name="T51" fmla="*/ 20 h 36"/>
                  <a:gd name="T52" fmla="*/ 34 w 52"/>
                  <a:gd name="T53" fmla="*/ 16 h 36"/>
                  <a:gd name="T54" fmla="*/ 41 w 52"/>
                  <a:gd name="T55" fmla="*/ 13 h 36"/>
                  <a:gd name="T56" fmla="*/ 43 w 52"/>
                  <a:gd name="T57" fmla="*/ 11 h 36"/>
                  <a:gd name="T58" fmla="*/ 45 w 52"/>
                  <a:gd name="T59" fmla="*/ 11 h 36"/>
                  <a:gd name="T60" fmla="*/ 45 w 52"/>
                  <a:gd name="T61" fmla="*/ 9 h 36"/>
                  <a:gd name="T62" fmla="*/ 47 w 52"/>
                  <a:gd name="T63" fmla="*/ 6 h 36"/>
                  <a:gd name="T64" fmla="*/ 50 w 52"/>
                  <a:gd name="T65" fmla="*/ 9 h 36"/>
                  <a:gd name="T66" fmla="*/ 52 w 52"/>
                  <a:gd name="T67" fmla="*/ 9 h 36"/>
                  <a:gd name="T68" fmla="*/ 45 w 52"/>
                  <a:gd name="T6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6">
                    <a:moveTo>
                      <a:pt x="43" y="0"/>
                    </a:moveTo>
                    <a:lnTo>
                      <a:pt x="41" y="0"/>
                    </a:lnTo>
                    <a:lnTo>
                      <a:pt x="40" y="2"/>
                    </a:lnTo>
                    <a:lnTo>
                      <a:pt x="34" y="2"/>
                    </a:lnTo>
                    <a:lnTo>
                      <a:pt x="34" y="2"/>
                    </a:lnTo>
                    <a:lnTo>
                      <a:pt x="32" y="6"/>
                    </a:lnTo>
                    <a:lnTo>
                      <a:pt x="27" y="4"/>
                    </a:lnTo>
                    <a:lnTo>
                      <a:pt x="24" y="4"/>
                    </a:lnTo>
                    <a:lnTo>
                      <a:pt x="20" y="8"/>
                    </a:lnTo>
                    <a:lnTo>
                      <a:pt x="18" y="9"/>
                    </a:lnTo>
                    <a:lnTo>
                      <a:pt x="4" y="9"/>
                    </a:lnTo>
                    <a:lnTo>
                      <a:pt x="2" y="11"/>
                    </a:lnTo>
                    <a:lnTo>
                      <a:pt x="0" y="13"/>
                    </a:lnTo>
                    <a:lnTo>
                      <a:pt x="0" y="15"/>
                    </a:lnTo>
                    <a:lnTo>
                      <a:pt x="2" y="15"/>
                    </a:lnTo>
                    <a:lnTo>
                      <a:pt x="2" y="15"/>
                    </a:lnTo>
                    <a:lnTo>
                      <a:pt x="2" y="20"/>
                    </a:lnTo>
                    <a:lnTo>
                      <a:pt x="4" y="22"/>
                    </a:lnTo>
                    <a:lnTo>
                      <a:pt x="4" y="24"/>
                    </a:lnTo>
                    <a:lnTo>
                      <a:pt x="4" y="24"/>
                    </a:lnTo>
                    <a:lnTo>
                      <a:pt x="6" y="25"/>
                    </a:lnTo>
                    <a:lnTo>
                      <a:pt x="7" y="27"/>
                    </a:lnTo>
                    <a:lnTo>
                      <a:pt x="7" y="27"/>
                    </a:lnTo>
                    <a:lnTo>
                      <a:pt x="9" y="29"/>
                    </a:lnTo>
                    <a:lnTo>
                      <a:pt x="9" y="29"/>
                    </a:lnTo>
                    <a:lnTo>
                      <a:pt x="7" y="31"/>
                    </a:lnTo>
                    <a:lnTo>
                      <a:pt x="6" y="31"/>
                    </a:lnTo>
                    <a:lnTo>
                      <a:pt x="4" y="31"/>
                    </a:lnTo>
                    <a:lnTo>
                      <a:pt x="2" y="33"/>
                    </a:lnTo>
                    <a:lnTo>
                      <a:pt x="4" y="33"/>
                    </a:lnTo>
                    <a:lnTo>
                      <a:pt x="9" y="33"/>
                    </a:lnTo>
                    <a:lnTo>
                      <a:pt x="9" y="33"/>
                    </a:lnTo>
                    <a:lnTo>
                      <a:pt x="11" y="33"/>
                    </a:lnTo>
                    <a:lnTo>
                      <a:pt x="16" y="33"/>
                    </a:lnTo>
                    <a:lnTo>
                      <a:pt x="18" y="29"/>
                    </a:lnTo>
                    <a:lnTo>
                      <a:pt x="18" y="29"/>
                    </a:lnTo>
                    <a:lnTo>
                      <a:pt x="22" y="34"/>
                    </a:lnTo>
                    <a:lnTo>
                      <a:pt x="24" y="34"/>
                    </a:lnTo>
                    <a:lnTo>
                      <a:pt x="24" y="33"/>
                    </a:lnTo>
                    <a:lnTo>
                      <a:pt x="25" y="33"/>
                    </a:lnTo>
                    <a:lnTo>
                      <a:pt x="25" y="34"/>
                    </a:lnTo>
                    <a:lnTo>
                      <a:pt x="27" y="34"/>
                    </a:lnTo>
                    <a:lnTo>
                      <a:pt x="27" y="36"/>
                    </a:lnTo>
                    <a:lnTo>
                      <a:pt x="29" y="36"/>
                    </a:lnTo>
                    <a:lnTo>
                      <a:pt x="31" y="34"/>
                    </a:lnTo>
                    <a:lnTo>
                      <a:pt x="31" y="31"/>
                    </a:lnTo>
                    <a:lnTo>
                      <a:pt x="31" y="29"/>
                    </a:lnTo>
                    <a:lnTo>
                      <a:pt x="31" y="27"/>
                    </a:lnTo>
                    <a:lnTo>
                      <a:pt x="32" y="25"/>
                    </a:lnTo>
                    <a:lnTo>
                      <a:pt x="36" y="25"/>
                    </a:lnTo>
                    <a:lnTo>
                      <a:pt x="36" y="24"/>
                    </a:lnTo>
                    <a:lnTo>
                      <a:pt x="36" y="20"/>
                    </a:lnTo>
                    <a:lnTo>
                      <a:pt x="34" y="18"/>
                    </a:lnTo>
                    <a:lnTo>
                      <a:pt x="34" y="16"/>
                    </a:lnTo>
                    <a:lnTo>
                      <a:pt x="36" y="15"/>
                    </a:lnTo>
                    <a:lnTo>
                      <a:pt x="41" y="13"/>
                    </a:lnTo>
                    <a:lnTo>
                      <a:pt x="43" y="13"/>
                    </a:lnTo>
                    <a:lnTo>
                      <a:pt x="43" y="11"/>
                    </a:lnTo>
                    <a:lnTo>
                      <a:pt x="45" y="11"/>
                    </a:lnTo>
                    <a:lnTo>
                      <a:pt x="45" y="11"/>
                    </a:lnTo>
                    <a:lnTo>
                      <a:pt x="47" y="11"/>
                    </a:lnTo>
                    <a:lnTo>
                      <a:pt x="45" y="9"/>
                    </a:lnTo>
                    <a:lnTo>
                      <a:pt x="45" y="8"/>
                    </a:lnTo>
                    <a:lnTo>
                      <a:pt x="47" y="6"/>
                    </a:lnTo>
                    <a:lnTo>
                      <a:pt x="49" y="6"/>
                    </a:lnTo>
                    <a:lnTo>
                      <a:pt x="50" y="9"/>
                    </a:lnTo>
                    <a:lnTo>
                      <a:pt x="50" y="8"/>
                    </a:lnTo>
                    <a:lnTo>
                      <a:pt x="52" y="9"/>
                    </a:lnTo>
                    <a:lnTo>
                      <a:pt x="47" y="0"/>
                    </a:lnTo>
                    <a:lnTo>
                      <a:pt x="45" y="0"/>
                    </a:lnTo>
                    <a:lnTo>
                      <a:pt x="4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37" name="Freeform 3092"/>
              <p:cNvSpPr>
                <a:spLocks/>
              </p:cNvSpPr>
              <p:nvPr/>
            </p:nvSpPr>
            <p:spPr bwMode="auto">
              <a:xfrm>
                <a:off x="2910" y="1866"/>
                <a:ext cx="52" cy="36"/>
              </a:xfrm>
              <a:custGeom>
                <a:avLst/>
                <a:gdLst>
                  <a:gd name="T0" fmla="*/ 41 w 52"/>
                  <a:gd name="T1" fmla="*/ 0 h 36"/>
                  <a:gd name="T2" fmla="*/ 34 w 52"/>
                  <a:gd name="T3" fmla="*/ 2 h 36"/>
                  <a:gd name="T4" fmla="*/ 32 w 52"/>
                  <a:gd name="T5" fmla="*/ 6 h 36"/>
                  <a:gd name="T6" fmla="*/ 24 w 52"/>
                  <a:gd name="T7" fmla="*/ 4 h 36"/>
                  <a:gd name="T8" fmla="*/ 18 w 52"/>
                  <a:gd name="T9" fmla="*/ 9 h 36"/>
                  <a:gd name="T10" fmla="*/ 2 w 52"/>
                  <a:gd name="T11" fmla="*/ 11 h 36"/>
                  <a:gd name="T12" fmla="*/ 0 w 52"/>
                  <a:gd name="T13" fmla="*/ 15 h 36"/>
                  <a:gd name="T14" fmla="*/ 2 w 52"/>
                  <a:gd name="T15" fmla="*/ 15 h 36"/>
                  <a:gd name="T16" fmla="*/ 4 w 52"/>
                  <a:gd name="T17" fmla="*/ 22 h 36"/>
                  <a:gd name="T18" fmla="*/ 4 w 52"/>
                  <a:gd name="T19" fmla="*/ 24 h 36"/>
                  <a:gd name="T20" fmla="*/ 7 w 52"/>
                  <a:gd name="T21" fmla="*/ 27 h 36"/>
                  <a:gd name="T22" fmla="*/ 9 w 52"/>
                  <a:gd name="T23" fmla="*/ 29 h 36"/>
                  <a:gd name="T24" fmla="*/ 7 w 52"/>
                  <a:gd name="T25" fmla="*/ 31 h 36"/>
                  <a:gd name="T26" fmla="*/ 4 w 52"/>
                  <a:gd name="T27" fmla="*/ 31 h 36"/>
                  <a:gd name="T28" fmla="*/ 4 w 52"/>
                  <a:gd name="T29" fmla="*/ 33 h 36"/>
                  <a:gd name="T30" fmla="*/ 9 w 52"/>
                  <a:gd name="T31" fmla="*/ 33 h 36"/>
                  <a:gd name="T32" fmla="*/ 16 w 52"/>
                  <a:gd name="T33" fmla="*/ 33 h 36"/>
                  <a:gd name="T34" fmla="*/ 18 w 52"/>
                  <a:gd name="T35" fmla="*/ 29 h 36"/>
                  <a:gd name="T36" fmla="*/ 24 w 52"/>
                  <a:gd name="T37" fmla="*/ 34 h 36"/>
                  <a:gd name="T38" fmla="*/ 25 w 52"/>
                  <a:gd name="T39" fmla="*/ 33 h 36"/>
                  <a:gd name="T40" fmla="*/ 27 w 52"/>
                  <a:gd name="T41" fmla="*/ 34 h 36"/>
                  <a:gd name="T42" fmla="*/ 29 w 52"/>
                  <a:gd name="T43" fmla="*/ 36 h 36"/>
                  <a:gd name="T44" fmla="*/ 31 w 52"/>
                  <a:gd name="T45" fmla="*/ 31 h 36"/>
                  <a:gd name="T46" fmla="*/ 31 w 52"/>
                  <a:gd name="T47" fmla="*/ 27 h 36"/>
                  <a:gd name="T48" fmla="*/ 36 w 52"/>
                  <a:gd name="T49" fmla="*/ 25 h 36"/>
                  <a:gd name="T50" fmla="*/ 36 w 52"/>
                  <a:gd name="T51" fmla="*/ 20 h 36"/>
                  <a:gd name="T52" fmla="*/ 34 w 52"/>
                  <a:gd name="T53" fmla="*/ 16 h 36"/>
                  <a:gd name="T54" fmla="*/ 41 w 52"/>
                  <a:gd name="T55" fmla="*/ 13 h 36"/>
                  <a:gd name="T56" fmla="*/ 43 w 52"/>
                  <a:gd name="T57" fmla="*/ 11 h 36"/>
                  <a:gd name="T58" fmla="*/ 45 w 52"/>
                  <a:gd name="T59" fmla="*/ 11 h 36"/>
                  <a:gd name="T60" fmla="*/ 45 w 52"/>
                  <a:gd name="T61" fmla="*/ 9 h 36"/>
                  <a:gd name="T62" fmla="*/ 47 w 52"/>
                  <a:gd name="T63" fmla="*/ 6 h 36"/>
                  <a:gd name="T64" fmla="*/ 50 w 52"/>
                  <a:gd name="T65" fmla="*/ 9 h 36"/>
                  <a:gd name="T66" fmla="*/ 52 w 52"/>
                  <a:gd name="T67" fmla="*/ 9 h 36"/>
                  <a:gd name="T68" fmla="*/ 45 w 52"/>
                  <a:gd name="T6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36">
                    <a:moveTo>
                      <a:pt x="43" y="0"/>
                    </a:moveTo>
                    <a:lnTo>
                      <a:pt x="41" y="0"/>
                    </a:lnTo>
                    <a:lnTo>
                      <a:pt x="40" y="2"/>
                    </a:lnTo>
                    <a:lnTo>
                      <a:pt x="34" y="2"/>
                    </a:lnTo>
                    <a:lnTo>
                      <a:pt x="34" y="2"/>
                    </a:lnTo>
                    <a:lnTo>
                      <a:pt x="32" y="6"/>
                    </a:lnTo>
                    <a:lnTo>
                      <a:pt x="27" y="4"/>
                    </a:lnTo>
                    <a:lnTo>
                      <a:pt x="24" y="4"/>
                    </a:lnTo>
                    <a:lnTo>
                      <a:pt x="20" y="8"/>
                    </a:lnTo>
                    <a:lnTo>
                      <a:pt x="18" y="9"/>
                    </a:lnTo>
                    <a:lnTo>
                      <a:pt x="4" y="9"/>
                    </a:lnTo>
                    <a:lnTo>
                      <a:pt x="2" y="11"/>
                    </a:lnTo>
                    <a:lnTo>
                      <a:pt x="0" y="13"/>
                    </a:lnTo>
                    <a:lnTo>
                      <a:pt x="0" y="15"/>
                    </a:lnTo>
                    <a:lnTo>
                      <a:pt x="2" y="15"/>
                    </a:lnTo>
                    <a:lnTo>
                      <a:pt x="2" y="15"/>
                    </a:lnTo>
                    <a:lnTo>
                      <a:pt x="2" y="20"/>
                    </a:lnTo>
                    <a:lnTo>
                      <a:pt x="4" y="22"/>
                    </a:lnTo>
                    <a:lnTo>
                      <a:pt x="4" y="24"/>
                    </a:lnTo>
                    <a:lnTo>
                      <a:pt x="4" y="24"/>
                    </a:lnTo>
                    <a:lnTo>
                      <a:pt x="6" y="25"/>
                    </a:lnTo>
                    <a:lnTo>
                      <a:pt x="7" y="27"/>
                    </a:lnTo>
                    <a:lnTo>
                      <a:pt x="7" y="27"/>
                    </a:lnTo>
                    <a:lnTo>
                      <a:pt x="9" y="29"/>
                    </a:lnTo>
                    <a:lnTo>
                      <a:pt x="9" y="29"/>
                    </a:lnTo>
                    <a:lnTo>
                      <a:pt x="7" y="31"/>
                    </a:lnTo>
                    <a:lnTo>
                      <a:pt x="6" y="31"/>
                    </a:lnTo>
                    <a:lnTo>
                      <a:pt x="4" y="31"/>
                    </a:lnTo>
                    <a:lnTo>
                      <a:pt x="2" y="33"/>
                    </a:lnTo>
                    <a:lnTo>
                      <a:pt x="4" y="33"/>
                    </a:lnTo>
                    <a:lnTo>
                      <a:pt x="9" y="33"/>
                    </a:lnTo>
                    <a:lnTo>
                      <a:pt x="9" y="33"/>
                    </a:lnTo>
                    <a:lnTo>
                      <a:pt x="11" y="33"/>
                    </a:lnTo>
                    <a:lnTo>
                      <a:pt x="16" y="33"/>
                    </a:lnTo>
                    <a:lnTo>
                      <a:pt x="18" y="29"/>
                    </a:lnTo>
                    <a:lnTo>
                      <a:pt x="18" y="29"/>
                    </a:lnTo>
                    <a:lnTo>
                      <a:pt x="22" y="34"/>
                    </a:lnTo>
                    <a:lnTo>
                      <a:pt x="24" y="34"/>
                    </a:lnTo>
                    <a:lnTo>
                      <a:pt x="24" y="33"/>
                    </a:lnTo>
                    <a:lnTo>
                      <a:pt x="25" y="33"/>
                    </a:lnTo>
                    <a:lnTo>
                      <a:pt x="25" y="34"/>
                    </a:lnTo>
                    <a:lnTo>
                      <a:pt x="27" y="34"/>
                    </a:lnTo>
                    <a:lnTo>
                      <a:pt x="27" y="36"/>
                    </a:lnTo>
                    <a:lnTo>
                      <a:pt x="29" y="36"/>
                    </a:lnTo>
                    <a:lnTo>
                      <a:pt x="31" y="34"/>
                    </a:lnTo>
                    <a:lnTo>
                      <a:pt x="31" y="31"/>
                    </a:lnTo>
                    <a:lnTo>
                      <a:pt x="31" y="29"/>
                    </a:lnTo>
                    <a:lnTo>
                      <a:pt x="31" y="27"/>
                    </a:lnTo>
                    <a:lnTo>
                      <a:pt x="32" y="25"/>
                    </a:lnTo>
                    <a:lnTo>
                      <a:pt x="36" y="25"/>
                    </a:lnTo>
                    <a:lnTo>
                      <a:pt x="36" y="24"/>
                    </a:lnTo>
                    <a:lnTo>
                      <a:pt x="36" y="20"/>
                    </a:lnTo>
                    <a:lnTo>
                      <a:pt x="34" y="18"/>
                    </a:lnTo>
                    <a:lnTo>
                      <a:pt x="34" y="16"/>
                    </a:lnTo>
                    <a:lnTo>
                      <a:pt x="36" y="15"/>
                    </a:lnTo>
                    <a:lnTo>
                      <a:pt x="41" y="13"/>
                    </a:lnTo>
                    <a:lnTo>
                      <a:pt x="43" y="13"/>
                    </a:lnTo>
                    <a:lnTo>
                      <a:pt x="43" y="11"/>
                    </a:lnTo>
                    <a:lnTo>
                      <a:pt x="45" y="11"/>
                    </a:lnTo>
                    <a:lnTo>
                      <a:pt x="45" y="11"/>
                    </a:lnTo>
                    <a:lnTo>
                      <a:pt x="47" y="11"/>
                    </a:lnTo>
                    <a:lnTo>
                      <a:pt x="45" y="9"/>
                    </a:lnTo>
                    <a:lnTo>
                      <a:pt x="45" y="8"/>
                    </a:lnTo>
                    <a:lnTo>
                      <a:pt x="47" y="6"/>
                    </a:lnTo>
                    <a:lnTo>
                      <a:pt x="49" y="6"/>
                    </a:lnTo>
                    <a:lnTo>
                      <a:pt x="50" y="9"/>
                    </a:lnTo>
                    <a:lnTo>
                      <a:pt x="50" y="8"/>
                    </a:lnTo>
                    <a:lnTo>
                      <a:pt x="52" y="9"/>
                    </a:lnTo>
                    <a:lnTo>
                      <a:pt x="47" y="0"/>
                    </a:lnTo>
                    <a:lnTo>
                      <a:pt x="45" y="0"/>
                    </a:lnTo>
                    <a:lnTo>
                      <a:pt x="43" y="0"/>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38" name="Freeform 3093"/>
              <p:cNvSpPr>
                <a:spLocks/>
              </p:cNvSpPr>
              <p:nvPr/>
            </p:nvSpPr>
            <p:spPr bwMode="auto">
              <a:xfrm>
                <a:off x="3025" y="1968"/>
                <a:ext cx="39" cy="31"/>
              </a:xfrm>
              <a:custGeom>
                <a:avLst/>
                <a:gdLst>
                  <a:gd name="T0" fmla="*/ 7 w 39"/>
                  <a:gd name="T1" fmla="*/ 31 h 31"/>
                  <a:gd name="T2" fmla="*/ 3 w 39"/>
                  <a:gd name="T3" fmla="*/ 25 h 31"/>
                  <a:gd name="T4" fmla="*/ 0 w 39"/>
                  <a:gd name="T5" fmla="*/ 20 h 31"/>
                  <a:gd name="T6" fmla="*/ 1 w 39"/>
                  <a:gd name="T7" fmla="*/ 6 h 31"/>
                  <a:gd name="T8" fmla="*/ 1 w 39"/>
                  <a:gd name="T9" fmla="*/ 6 h 31"/>
                  <a:gd name="T10" fmla="*/ 3 w 39"/>
                  <a:gd name="T11" fmla="*/ 6 h 31"/>
                  <a:gd name="T12" fmla="*/ 3 w 39"/>
                  <a:gd name="T13" fmla="*/ 4 h 31"/>
                  <a:gd name="T14" fmla="*/ 5 w 39"/>
                  <a:gd name="T15" fmla="*/ 2 h 31"/>
                  <a:gd name="T16" fmla="*/ 9 w 39"/>
                  <a:gd name="T17" fmla="*/ 0 h 31"/>
                  <a:gd name="T18" fmla="*/ 10 w 39"/>
                  <a:gd name="T19" fmla="*/ 0 h 31"/>
                  <a:gd name="T20" fmla="*/ 12 w 39"/>
                  <a:gd name="T21" fmla="*/ 2 h 31"/>
                  <a:gd name="T22" fmla="*/ 12 w 39"/>
                  <a:gd name="T23" fmla="*/ 2 h 31"/>
                  <a:gd name="T24" fmla="*/ 12 w 39"/>
                  <a:gd name="T25" fmla="*/ 2 h 31"/>
                  <a:gd name="T26" fmla="*/ 16 w 39"/>
                  <a:gd name="T27" fmla="*/ 0 h 31"/>
                  <a:gd name="T28" fmla="*/ 19 w 39"/>
                  <a:gd name="T29" fmla="*/ 0 h 31"/>
                  <a:gd name="T30" fmla="*/ 21 w 39"/>
                  <a:gd name="T31" fmla="*/ 0 h 31"/>
                  <a:gd name="T32" fmla="*/ 25 w 39"/>
                  <a:gd name="T33" fmla="*/ 0 h 31"/>
                  <a:gd name="T34" fmla="*/ 28 w 39"/>
                  <a:gd name="T35" fmla="*/ 0 h 31"/>
                  <a:gd name="T36" fmla="*/ 30 w 39"/>
                  <a:gd name="T37" fmla="*/ 0 h 31"/>
                  <a:gd name="T38" fmla="*/ 37 w 39"/>
                  <a:gd name="T39" fmla="*/ 6 h 31"/>
                  <a:gd name="T40" fmla="*/ 39 w 39"/>
                  <a:gd name="T41" fmla="*/ 20 h 31"/>
                  <a:gd name="T42" fmla="*/ 37 w 39"/>
                  <a:gd name="T43" fmla="*/ 20 h 31"/>
                  <a:gd name="T44" fmla="*/ 32 w 39"/>
                  <a:gd name="T45" fmla="*/ 25 h 31"/>
                  <a:gd name="T46" fmla="*/ 26 w 39"/>
                  <a:gd name="T47" fmla="*/ 25 h 31"/>
                  <a:gd name="T48" fmla="*/ 21 w 39"/>
                  <a:gd name="T49" fmla="*/ 27 h 31"/>
                  <a:gd name="T50" fmla="*/ 17 w 39"/>
                  <a:gd name="T51" fmla="*/ 29 h 31"/>
                  <a:gd name="T52" fmla="*/ 7 w 39"/>
                  <a:gd name="T5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31">
                    <a:moveTo>
                      <a:pt x="7" y="31"/>
                    </a:moveTo>
                    <a:lnTo>
                      <a:pt x="3" y="25"/>
                    </a:lnTo>
                    <a:lnTo>
                      <a:pt x="0" y="20"/>
                    </a:lnTo>
                    <a:lnTo>
                      <a:pt x="1" y="6"/>
                    </a:lnTo>
                    <a:lnTo>
                      <a:pt x="1" y="6"/>
                    </a:lnTo>
                    <a:lnTo>
                      <a:pt x="3" y="6"/>
                    </a:lnTo>
                    <a:lnTo>
                      <a:pt x="3" y="4"/>
                    </a:lnTo>
                    <a:lnTo>
                      <a:pt x="5" y="2"/>
                    </a:lnTo>
                    <a:lnTo>
                      <a:pt x="9" y="0"/>
                    </a:lnTo>
                    <a:lnTo>
                      <a:pt x="10" y="0"/>
                    </a:lnTo>
                    <a:lnTo>
                      <a:pt x="12" y="2"/>
                    </a:lnTo>
                    <a:lnTo>
                      <a:pt x="12" y="2"/>
                    </a:lnTo>
                    <a:lnTo>
                      <a:pt x="12" y="2"/>
                    </a:lnTo>
                    <a:lnTo>
                      <a:pt x="16" y="0"/>
                    </a:lnTo>
                    <a:lnTo>
                      <a:pt x="19" y="0"/>
                    </a:lnTo>
                    <a:lnTo>
                      <a:pt x="21" y="0"/>
                    </a:lnTo>
                    <a:lnTo>
                      <a:pt x="25" y="0"/>
                    </a:lnTo>
                    <a:lnTo>
                      <a:pt x="28" y="0"/>
                    </a:lnTo>
                    <a:lnTo>
                      <a:pt x="30" y="0"/>
                    </a:lnTo>
                    <a:lnTo>
                      <a:pt x="37" y="6"/>
                    </a:lnTo>
                    <a:lnTo>
                      <a:pt x="39" y="20"/>
                    </a:lnTo>
                    <a:lnTo>
                      <a:pt x="37" y="20"/>
                    </a:lnTo>
                    <a:lnTo>
                      <a:pt x="32" y="25"/>
                    </a:lnTo>
                    <a:lnTo>
                      <a:pt x="26" y="25"/>
                    </a:lnTo>
                    <a:lnTo>
                      <a:pt x="21" y="27"/>
                    </a:lnTo>
                    <a:lnTo>
                      <a:pt x="17" y="29"/>
                    </a:lnTo>
                    <a:lnTo>
                      <a:pt x="7" y="3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39" name="Freeform 3094"/>
              <p:cNvSpPr>
                <a:spLocks/>
              </p:cNvSpPr>
              <p:nvPr/>
            </p:nvSpPr>
            <p:spPr bwMode="auto">
              <a:xfrm>
                <a:off x="3025" y="1968"/>
                <a:ext cx="39" cy="31"/>
              </a:xfrm>
              <a:custGeom>
                <a:avLst/>
                <a:gdLst>
                  <a:gd name="T0" fmla="*/ 7 w 39"/>
                  <a:gd name="T1" fmla="*/ 31 h 31"/>
                  <a:gd name="T2" fmla="*/ 3 w 39"/>
                  <a:gd name="T3" fmla="*/ 25 h 31"/>
                  <a:gd name="T4" fmla="*/ 0 w 39"/>
                  <a:gd name="T5" fmla="*/ 20 h 31"/>
                  <a:gd name="T6" fmla="*/ 1 w 39"/>
                  <a:gd name="T7" fmla="*/ 6 h 31"/>
                  <a:gd name="T8" fmla="*/ 1 w 39"/>
                  <a:gd name="T9" fmla="*/ 6 h 31"/>
                  <a:gd name="T10" fmla="*/ 3 w 39"/>
                  <a:gd name="T11" fmla="*/ 6 h 31"/>
                  <a:gd name="T12" fmla="*/ 3 w 39"/>
                  <a:gd name="T13" fmla="*/ 4 h 31"/>
                  <a:gd name="T14" fmla="*/ 5 w 39"/>
                  <a:gd name="T15" fmla="*/ 2 h 31"/>
                  <a:gd name="T16" fmla="*/ 9 w 39"/>
                  <a:gd name="T17" fmla="*/ 0 h 31"/>
                  <a:gd name="T18" fmla="*/ 10 w 39"/>
                  <a:gd name="T19" fmla="*/ 0 h 31"/>
                  <a:gd name="T20" fmla="*/ 12 w 39"/>
                  <a:gd name="T21" fmla="*/ 2 h 31"/>
                  <a:gd name="T22" fmla="*/ 12 w 39"/>
                  <a:gd name="T23" fmla="*/ 2 h 31"/>
                  <a:gd name="T24" fmla="*/ 12 w 39"/>
                  <a:gd name="T25" fmla="*/ 2 h 31"/>
                  <a:gd name="T26" fmla="*/ 16 w 39"/>
                  <a:gd name="T27" fmla="*/ 0 h 31"/>
                  <a:gd name="T28" fmla="*/ 19 w 39"/>
                  <a:gd name="T29" fmla="*/ 0 h 31"/>
                  <a:gd name="T30" fmla="*/ 21 w 39"/>
                  <a:gd name="T31" fmla="*/ 0 h 31"/>
                  <a:gd name="T32" fmla="*/ 25 w 39"/>
                  <a:gd name="T33" fmla="*/ 0 h 31"/>
                  <a:gd name="T34" fmla="*/ 28 w 39"/>
                  <a:gd name="T35" fmla="*/ 0 h 31"/>
                  <a:gd name="T36" fmla="*/ 30 w 39"/>
                  <a:gd name="T37" fmla="*/ 0 h 31"/>
                  <a:gd name="T38" fmla="*/ 37 w 39"/>
                  <a:gd name="T39" fmla="*/ 6 h 31"/>
                  <a:gd name="T40" fmla="*/ 39 w 39"/>
                  <a:gd name="T41" fmla="*/ 20 h 31"/>
                  <a:gd name="T42" fmla="*/ 37 w 39"/>
                  <a:gd name="T43" fmla="*/ 20 h 31"/>
                  <a:gd name="T44" fmla="*/ 32 w 39"/>
                  <a:gd name="T45" fmla="*/ 25 h 31"/>
                  <a:gd name="T46" fmla="*/ 26 w 39"/>
                  <a:gd name="T47" fmla="*/ 25 h 31"/>
                  <a:gd name="T48" fmla="*/ 21 w 39"/>
                  <a:gd name="T49" fmla="*/ 27 h 31"/>
                  <a:gd name="T50" fmla="*/ 17 w 39"/>
                  <a:gd name="T51" fmla="*/ 29 h 31"/>
                  <a:gd name="T52" fmla="*/ 7 w 39"/>
                  <a:gd name="T53"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9" h="31">
                    <a:moveTo>
                      <a:pt x="7" y="31"/>
                    </a:moveTo>
                    <a:lnTo>
                      <a:pt x="3" y="25"/>
                    </a:lnTo>
                    <a:lnTo>
                      <a:pt x="0" y="20"/>
                    </a:lnTo>
                    <a:lnTo>
                      <a:pt x="1" y="6"/>
                    </a:lnTo>
                    <a:lnTo>
                      <a:pt x="1" y="6"/>
                    </a:lnTo>
                    <a:lnTo>
                      <a:pt x="3" y="6"/>
                    </a:lnTo>
                    <a:lnTo>
                      <a:pt x="3" y="4"/>
                    </a:lnTo>
                    <a:lnTo>
                      <a:pt x="5" y="2"/>
                    </a:lnTo>
                    <a:lnTo>
                      <a:pt x="9" y="0"/>
                    </a:lnTo>
                    <a:lnTo>
                      <a:pt x="10" y="0"/>
                    </a:lnTo>
                    <a:lnTo>
                      <a:pt x="12" y="2"/>
                    </a:lnTo>
                    <a:lnTo>
                      <a:pt x="12" y="2"/>
                    </a:lnTo>
                    <a:lnTo>
                      <a:pt x="12" y="2"/>
                    </a:lnTo>
                    <a:lnTo>
                      <a:pt x="16" y="0"/>
                    </a:lnTo>
                    <a:lnTo>
                      <a:pt x="19" y="0"/>
                    </a:lnTo>
                    <a:lnTo>
                      <a:pt x="21" y="0"/>
                    </a:lnTo>
                    <a:lnTo>
                      <a:pt x="25" y="0"/>
                    </a:lnTo>
                    <a:lnTo>
                      <a:pt x="28" y="0"/>
                    </a:lnTo>
                    <a:lnTo>
                      <a:pt x="30" y="0"/>
                    </a:lnTo>
                    <a:lnTo>
                      <a:pt x="37" y="6"/>
                    </a:lnTo>
                    <a:lnTo>
                      <a:pt x="39" y="20"/>
                    </a:lnTo>
                    <a:lnTo>
                      <a:pt x="37" y="20"/>
                    </a:lnTo>
                    <a:lnTo>
                      <a:pt x="32" y="25"/>
                    </a:lnTo>
                    <a:lnTo>
                      <a:pt x="26" y="25"/>
                    </a:lnTo>
                    <a:lnTo>
                      <a:pt x="21" y="27"/>
                    </a:lnTo>
                    <a:lnTo>
                      <a:pt x="17" y="29"/>
                    </a:lnTo>
                    <a:lnTo>
                      <a:pt x="7" y="31"/>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40" name="Freeform 3095"/>
              <p:cNvSpPr>
                <a:spLocks/>
              </p:cNvSpPr>
              <p:nvPr/>
            </p:nvSpPr>
            <p:spPr bwMode="auto">
              <a:xfrm>
                <a:off x="3019" y="1832"/>
                <a:ext cx="152" cy="106"/>
              </a:xfrm>
              <a:custGeom>
                <a:avLst/>
                <a:gdLst>
                  <a:gd name="T0" fmla="*/ 131 w 152"/>
                  <a:gd name="T1" fmla="*/ 104 h 106"/>
                  <a:gd name="T2" fmla="*/ 116 w 152"/>
                  <a:gd name="T3" fmla="*/ 99 h 106"/>
                  <a:gd name="T4" fmla="*/ 109 w 152"/>
                  <a:gd name="T5" fmla="*/ 97 h 106"/>
                  <a:gd name="T6" fmla="*/ 47 w 152"/>
                  <a:gd name="T7" fmla="*/ 104 h 106"/>
                  <a:gd name="T8" fmla="*/ 45 w 152"/>
                  <a:gd name="T9" fmla="*/ 97 h 106"/>
                  <a:gd name="T10" fmla="*/ 36 w 152"/>
                  <a:gd name="T11" fmla="*/ 90 h 106"/>
                  <a:gd name="T12" fmla="*/ 36 w 152"/>
                  <a:gd name="T13" fmla="*/ 83 h 106"/>
                  <a:gd name="T14" fmla="*/ 25 w 152"/>
                  <a:gd name="T15" fmla="*/ 83 h 106"/>
                  <a:gd name="T16" fmla="*/ 20 w 152"/>
                  <a:gd name="T17" fmla="*/ 72 h 106"/>
                  <a:gd name="T18" fmla="*/ 15 w 152"/>
                  <a:gd name="T19" fmla="*/ 70 h 106"/>
                  <a:gd name="T20" fmla="*/ 9 w 152"/>
                  <a:gd name="T21" fmla="*/ 58 h 106"/>
                  <a:gd name="T22" fmla="*/ 0 w 152"/>
                  <a:gd name="T23" fmla="*/ 50 h 106"/>
                  <a:gd name="T24" fmla="*/ 15 w 152"/>
                  <a:gd name="T25" fmla="*/ 45 h 106"/>
                  <a:gd name="T26" fmla="*/ 27 w 152"/>
                  <a:gd name="T27" fmla="*/ 25 h 106"/>
                  <a:gd name="T28" fmla="*/ 29 w 152"/>
                  <a:gd name="T29" fmla="*/ 18 h 106"/>
                  <a:gd name="T30" fmla="*/ 32 w 152"/>
                  <a:gd name="T31" fmla="*/ 13 h 106"/>
                  <a:gd name="T32" fmla="*/ 38 w 152"/>
                  <a:gd name="T33" fmla="*/ 11 h 106"/>
                  <a:gd name="T34" fmla="*/ 43 w 152"/>
                  <a:gd name="T35" fmla="*/ 8 h 106"/>
                  <a:gd name="T36" fmla="*/ 75 w 152"/>
                  <a:gd name="T37" fmla="*/ 11 h 106"/>
                  <a:gd name="T38" fmla="*/ 86 w 152"/>
                  <a:gd name="T39" fmla="*/ 8 h 106"/>
                  <a:gd name="T40" fmla="*/ 100 w 152"/>
                  <a:gd name="T41" fmla="*/ 0 h 106"/>
                  <a:gd name="T42" fmla="*/ 115 w 152"/>
                  <a:gd name="T43" fmla="*/ 11 h 106"/>
                  <a:gd name="T44" fmla="*/ 127 w 152"/>
                  <a:gd name="T45" fmla="*/ 34 h 106"/>
                  <a:gd name="T46" fmla="*/ 127 w 152"/>
                  <a:gd name="T47" fmla="*/ 54 h 106"/>
                  <a:gd name="T48" fmla="*/ 131 w 152"/>
                  <a:gd name="T49" fmla="*/ 67 h 106"/>
                  <a:gd name="T50" fmla="*/ 138 w 152"/>
                  <a:gd name="T51" fmla="*/ 70 h 106"/>
                  <a:gd name="T52" fmla="*/ 147 w 152"/>
                  <a:gd name="T53" fmla="*/ 67 h 106"/>
                  <a:gd name="T54" fmla="*/ 152 w 152"/>
                  <a:gd name="T55" fmla="*/ 68 h 106"/>
                  <a:gd name="T56" fmla="*/ 152 w 152"/>
                  <a:gd name="T57" fmla="*/ 77 h 106"/>
                  <a:gd name="T58" fmla="*/ 147 w 152"/>
                  <a:gd name="T59" fmla="*/ 83 h 106"/>
                  <a:gd name="T60" fmla="*/ 138 w 152"/>
                  <a:gd name="T61" fmla="*/ 86 h 106"/>
                  <a:gd name="T62" fmla="*/ 141 w 152"/>
                  <a:gd name="T63" fmla="*/ 81 h 106"/>
                  <a:gd name="T64" fmla="*/ 140 w 152"/>
                  <a:gd name="T65" fmla="*/ 7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06">
                    <a:moveTo>
                      <a:pt x="136" y="104"/>
                    </a:moveTo>
                    <a:lnTo>
                      <a:pt x="131" y="104"/>
                    </a:lnTo>
                    <a:lnTo>
                      <a:pt x="125" y="100"/>
                    </a:lnTo>
                    <a:lnTo>
                      <a:pt x="116" y="99"/>
                    </a:lnTo>
                    <a:lnTo>
                      <a:pt x="115" y="97"/>
                    </a:lnTo>
                    <a:lnTo>
                      <a:pt x="109" y="97"/>
                    </a:lnTo>
                    <a:lnTo>
                      <a:pt x="84" y="106"/>
                    </a:lnTo>
                    <a:lnTo>
                      <a:pt x="47" y="104"/>
                    </a:lnTo>
                    <a:lnTo>
                      <a:pt x="43" y="100"/>
                    </a:lnTo>
                    <a:lnTo>
                      <a:pt x="45" y="97"/>
                    </a:lnTo>
                    <a:lnTo>
                      <a:pt x="38" y="95"/>
                    </a:lnTo>
                    <a:lnTo>
                      <a:pt x="36" y="90"/>
                    </a:lnTo>
                    <a:lnTo>
                      <a:pt x="40" y="86"/>
                    </a:lnTo>
                    <a:lnTo>
                      <a:pt x="36" y="83"/>
                    </a:lnTo>
                    <a:lnTo>
                      <a:pt x="34" y="86"/>
                    </a:lnTo>
                    <a:lnTo>
                      <a:pt x="25" y="83"/>
                    </a:lnTo>
                    <a:lnTo>
                      <a:pt x="20" y="79"/>
                    </a:lnTo>
                    <a:lnTo>
                      <a:pt x="20" y="72"/>
                    </a:lnTo>
                    <a:lnTo>
                      <a:pt x="18" y="70"/>
                    </a:lnTo>
                    <a:lnTo>
                      <a:pt x="15" y="70"/>
                    </a:lnTo>
                    <a:lnTo>
                      <a:pt x="11" y="67"/>
                    </a:lnTo>
                    <a:lnTo>
                      <a:pt x="9" y="58"/>
                    </a:lnTo>
                    <a:lnTo>
                      <a:pt x="6" y="54"/>
                    </a:lnTo>
                    <a:lnTo>
                      <a:pt x="0" y="50"/>
                    </a:lnTo>
                    <a:lnTo>
                      <a:pt x="0" y="50"/>
                    </a:lnTo>
                    <a:lnTo>
                      <a:pt x="15" y="45"/>
                    </a:lnTo>
                    <a:lnTo>
                      <a:pt x="23" y="29"/>
                    </a:lnTo>
                    <a:lnTo>
                      <a:pt x="27" y="25"/>
                    </a:lnTo>
                    <a:lnTo>
                      <a:pt x="27" y="22"/>
                    </a:lnTo>
                    <a:lnTo>
                      <a:pt x="29" y="18"/>
                    </a:lnTo>
                    <a:lnTo>
                      <a:pt x="29" y="17"/>
                    </a:lnTo>
                    <a:lnTo>
                      <a:pt x="32" y="13"/>
                    </a:lnTo>
                    <a:lnTo>
                      <a:pt x="36" y="11"/>
                    </a:lnTo>
                    <a:lnTo>
                      <a:pt x="38" y="11"/>
                    </a:lnTo>
                    <a:lnTo>
                      <a:pt x="41" y="8"/>
                    </a:lnTo>
                    <a:lnTo>
                      <a:pt x="43" y="8"/>
                    </a:lnTo>
                    <a:lnTo>
                      <a:pt x="70" y="8"/>
                    </a:lnTo>
                    <a:lnTo>
                      <a:pt x="75" y="11"/>
                    </a:lnTo>
                    <a:lnTo>
                      <a:pt x="81" y="8"/>
                    </a:lnTo>
                    <a:lnTo>
                      <a:pt x="86" y="8"/>
                    </a:lnTo>
                    <a:lnTo>
                      <a:pt x="91" y="6"/>
                    </a:lnTo>
                    <a:lnTo>
                      <a:pt x="100" y="0"/>
                    </a:lnTo>
                    <a:lnTo>
                      <a:pt x="104" y="0"/>
                    </a:lnTo>
                    <a:lnTo>
                      <a:pt x="115" y="11"/>
                    </a:lnTo>
                    <a:lnTo>
                      <a:pt x="116" y="17"/>
                    </a:lnTo>
                    <a:lnTo>
                      <a:pt x="127" y="34"/>
                    </a:lnTo>
                    <a:lnTo>
                      <a:pt x="127" y="49"/>
                    </a:lnTo>
                    <a:lnTo>
                      <a:pt x="127" y="54"/>
                    </a:lnTo>
                    <a:lnTo>
                      <a:pt x="129" y="67"/>
                    </a:lnTo>
                    <a:lnTo>
                      <a:pt x="131" y="67"/>
                    </a:lnTo>
                    <a:lnTo>
                      <a:pt x="134" y="70"/>
                    </a:lnTo>
                    <a:lnTo>
                      <a:pt x="138" y="70"/>
                    </a:lnTo>
                    <a:lnTo>
                      <a:pt x="141" y="68"/>
                    </a:lnTo>
                    <a:lnTo>
                      <a:pt x="147" y="67"/>
                    </a:lnTo>
                    <a:lnTo>
                      <a:pt x="150" y="67"/>
                    </a:lnTo>
                    <a:lnTo>
                      <a:pt x="152" y="68"/>
                    </a:lnTo>
                    <a:lnTo>
                      <a:pt x="152" y="70"/>
                    </a:lnTo>
                    <a:lnTo>
                      <a:pt x="152" y="77"/>
                    </a:lnTo>
                    <a:lnTo>
                      <a:pt x="150" y="81"/>
                    </a:lnTo>
                    <a:lnTo>
                      <a:pt x="147" y="83"/>
                    </a:lnTo>
                    <a:lnTo>
                      <a:pt x="140" y="88"/>
                    </a:lnTo>
                    <a:lnTo>
                      <a:pt x="138" y="86"/>
                    </a:lnTo>
                    <a:lnTo>
                      <a:pt x="140" y="84"/>
                    </a:lnTo>
                    <a:lnTo>
                      <a:pt x="141" y="81"/>
                    </a:lnTo>
                    <a:lnTo>
                      <a:pt x="141" y="77"/>
                    </a:lnTo>
                    <a:lnTo>
                      <a:pt x="140" y="77"/>
                    </a:lnTo>
                    <a:lnTo>
                      <a:pt x="136" y="10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41" name="Freeform 3096"/>
              <p:cNvSpPr>
                <a:spLocks/>
              </p:cNvSpPr>
              <p:nvPr/>
            </p:nvSpPr>
            <p:spPr bwMode="auto">
              <a:xfrm>
                <a:off x="3019" y="1832"/>
                <a:ext cx="152" cy="106"/>
              </a:xfrm>
              <a:custGeom>
                <a:avLst/>
                <a:gdLst>
                  <a:gd name="T0" fmla="*/ 131 w 152"/>
                  <a:gd name="T1" fmla="*/ 104 h 106"/>
                  <a:gd name="T2" fmla="*/ 116 w 152"/>
                  <a:gd name="T3" fmla="*/ 99 h 106"/>
                  <a:gd name="T4" fmla="*/ 109 w 152"/>
                  <a:gd name="T5" fmla="*/ 97 h 106"/>
                  <a:gd name="T6" fmla="*/ 47 w 152"/>
                  <a:gd name="T7" fmla="*/ 104 h 106"/>
                  <a:gd name="T8" fmla="*/ 45 w 152"/>
                  <a:gd name="T9" fmla="*/ 97 h 106"/>
                  <a:gd name="T10" fmla="*/ 36 w 152"/>
                  <a:gd name="T11" fmla="*/ 90 h 106"/>
                  <a:gd name="T12" fmla="*/ 36 w 152"/>
                  <a:gd name="T13" fmla="*/ 83 h 106"/>
                  <a:gd name="T14" fmla="*/ 25 w 152"/>
                  <a:gd name="T15" fmla="*/ 83 h 106"/>
                  <a:gd name="T16" fmla="*/ 20 w 152"/>
                  <a:gd name="T17" fmla="*/ 72 h 106"/>
                  <a:gd name="T18" fmla="*/ 15 w 152"/>
                  <a:gd name="T19" fmla="*/ 70 h 106"/>
                  <a:gd name="T20" fmla="*/ 9 w 152"/>
                  <a:gd name="T21" fmla="*/ 58 h 106"/>
                  <a:gd name="T22" fmla="*/ 0 w 152"/>
                  <a:gd name="T23" fmla="*/ 50 h 106"/>
                  <a:gd name="T24" fmla="*/ 15 w 152"/>
                  <a:gd name="T25" fmla="*/ 45 h 106"/>
                  <a:gd name="T26" fmla="*/ 27 w 152"/>
                  <a:gd name="T27" fmla="*/ 25 h 106"/>
                  <a:gd name="T28" fmla="*/ 29 w 152"/>
                  <a:gd name="T29" fmla="*/ 18 h 106"/>
                  <a:gd name="T30" fmla="*/ 32 w 152"/>
                  <a:gd name="T31" fmla="*/ 13 h 106"/>
                  <a:gd name="T32" fmla="*/ 38 w 152"/>
                  <a:gd name="T33" fmla="*/ 11 h 106"/>
                  <a:gd name="T34" fmla="*/ 43 w 152"/>
                  <a:gd name="T35" fmla="*/ 8 h 106"/>
                  <a:gd name="T36" fmla="*/ 75 w 152"/>
                  <a:gd name="T37" fmla="*/ 11 h 106"/>
                  <a:gd name="T38" fmla="*/ 86 w 152"/>
                  <a:gd name="T39" fmla="*/ 8 h 106"/>
                  <a:gd name="T40" fmla="*/ 100 w 152"/>
                  <a:gd name="T41" fmla="*/ 0 h 106"/>
                  <a:gd name="T42" fmla="*/ 115 w 152"/>
                  <a:gd name="T43" fmla="*/ 11 h 106"/>
                  <a:gd name="T44" fmla="*/ 127 w 152"/>
                  <a:gd name="T45" fmla="*/ 34 h 106"/>
                  <a:gd name="T46" fmla="*/ 127 w 152"/>
                  <a:gd name="T47" fmla="*/ 54 h 106"/>
                  <a:gd name="T48" fmla="*/ 131 w 152"/>
                  <a:gd name="T49" fmla="*/ 67 h 106"/>
                  <a:gd name="T50" fmla="*/ 138 w 152"/>
                  <a:gd name="T51" fmla="*/ 70 h 106"/>
                  <a:gd name="T52" fmla="*/ 147 w 152"/>
                  <a:gd name="T53" fmla="*/ 67 h 106"/>
                  <a:gd name="T54" fmla="*/ 152 w 152"/>
                  <a:gd name="T55" fmla="*/ 68 h 106"/>
                  <a:gd name="T56" fmla="*/ 152 w 152"/>
                  <a:gd name="T57" fmla="*/ 77 h 106"/>
                  <a:gd name="T58" fmla="*/ 147 w 152"/>
                  <a:gd name="T59" fmla="*/ 83 h 106"/>
                  <a:gd name="T60" fmla="*/ 138 w 152"/>
                  <a:gd name="T61" fmla="*/ 86 h 106"/>
                  <a:gd name="T62" fmla="*/ 141 w 152"/>
                  <a:gd name="T63" fmla="*/ 81 h 106"/>
                  <a:gd name="T64" fmla="*/ 140 w 152"/>
                  <a:gd name="T65" fmla="*/ 7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2" h="106">
                    <a:moveTo>
                      <a:pt x="136" y="104"/>
                    </a:moveTo>
                    <a:lnTo>
                      <a:pt x="131" y="104"/>
                    </a:lnTo>
                    <a:lnTo>
                      <a:pt x="125" y="100"/>
                    </a:lnTo>
                    <a:lnTo>
                      <a:pt x="116" y="99"/>
                    </a:lnTo>
                    <a:lnTo>
                      <a:pt x="115" y="97"/>
                    </a:lnTo>
                    <a:lnTo>
                      <a:pt x="109" y="97"/>
                    </a:lnTo>
                    <a:lnTo>
                      <a:pt x="84" y="106"/>
                    </a:lnTo>
                    <a:lnTo>
                      <a:pt x="47" y="104"/>
                    </a:lnTo>
                    <a:lnTo>
                      <a:pt x="43" y="100"/>
                    </a:lnTo>
                    <a:lnTo>
                      <a:pt x="45" y="97"/>
                    </a:lnTo>
                    <a:lnTo>
                      <a:pt x="38" y="95"/>
                    </a:lnTo>
                    <a:lnTo>
                      <a:pt x="36" y="90"/>
                    </a:lnTo>
                    <a:lnTo>
                      <a:pt x="40" y="86"/>
                    </a:lnTo>
                    <a:lnTo>
                      <a:pt x="36" y="83"/>
                    </a:lnTo>
                    <a:lnTo>
                      <a:pt x="34" y="86"/>
                    </a:lnTo>
                    <a:lnTo>
                      <a:pt x="25" y="83"/>
                    </a:lnTo>
                    <a:lnTo>
                      <a:pt x="20" y="79"/>
                    </a:lnTo>
                    <a:lnTo>
                      <a:pt x="20" y="72"/>
                    </a:lnTo>
                    <a:lnTo>
                      <a:pt x="18" y="70"/>
                    </a:lnTo>
                    <a:lnTo>
                      <a:pt x="15" y="70"/>
                    </a:lnTo>
                    <a:lnTo>
                      <a:pt x="11" y="67"/>
                    </a:lnTo>
                    <a:lnTo>
                      <a:pt x="9" y="58"/>
                    </a:lnTo>
                    <a:lnTo>
                      <a:pt x="6" y="54"/>
                    </a:lnTo>
                    <a:lnTo>
                      <a:pt x="0" y="50"/>
                    </a:lnTo>
                    <a:lnTo>
                      <a:pt x="0" y="50"/>
                    </a:lnTo>
                    <a:lnTo>
                      <a:pt x="15" y="45"/>
                    </a:lnTo>
                    <a:lnTo>
                      <a:pt x="23" y="29"/>
                    </a:lnTo>
                    <a:lnTo>
                      <a:pt x="27" y="25"/>
                    </a:lnTo>
                    <a:lnTo>
                      <a:pt x="27" y="22"/>
                    </a:lnTo>
                    <a:lnTo>
                      <a:pt x="29" y="18"/>
                    </a:lnTo>
                    <a:lnTo>
                      <a:pt x="29" y="17"/>
                    </a:lnTo>
                    <a:lnTo>
                      <a:pt x="32" y="13"/>
                    </a:lnTo>
                    <a:lnTo>
                      <a:pt x="36" y="11"/>
                    </a:lnTo>
                    <a:lnTo>
                      <a:pt x="38" y="11"/>
                    </a:lnTo>
                    <a:lnTo>
                      <a:pt x="41" y="8"/>
                    </a:lnTo>
                    <a:lnTo>
                      <a:pt x="43" y="8"/>
                    </a:lnTo>
                    <a:lnTo>
                      <a:pt x="70" y="8"/>
                    </a:lnTo>
                    <a:lnTo>
                      <a:pt x="75" y="11"/>
                    </a:lnTo>
                    <a:lnTo>
                      <a:pt x="81" y="8"/>
                    </a:lnTo>
                    <a:lnTo>
                      <a:pt x="86" y="8"/>
                    </a:lnTo>
                    <a:lnTo>
                      <a:pt x="91" y="6"/>
                    </a:lnTo>
                    <a:lnTo>
                      <a:pt x="100" y="0"/>
                    </a:lnTo>
                    <a:lnTo>
                      <a:pt x="104" y="0"/>
                    </a:lnTo>
                    <a:lnTo>
                      <a:pt x="115" y="11"/>
                    </a:lnTo>
                    <a:lnTo>
                      <a:pt x="116" y="17"/>
                    </a:lnTo>
                    <a:lnTo>
                      <a:pt x="127" y="34"/>
                    </a:lnTo>
                    <a:lnTo>
                      <a:pt x="127" y="49"/>
                    </a:lnTo>
                    <a:lnTo>
                      <a:pt x="127" y="54"/>
                    </a:lnTo>
                    <a:lnTo>
                      <a:pt x="129" y="67"/>
                    </a:lnTo>
                    <a:lnTo>
                      <a:pt x="131" y="67"/>
                    </a:lnTo>
                    <a:lnTo>
                      <a:pt x="134" y="70"/>
                    </a:lnTo>
                    <a:lnTo>
                      <a:pt x="138" y="70"/>
                    </a:lnTo>
                    <a:lnTo>
                      <a:pt x="141" y="68"/>
                    </a:lnTo>
                    <a:lnTo>
                      <a:pt x="147" y="67"/>
                    </a:lnTo>
                    <a:lnTo>
                      <a:pt x="150" y="67"/>
                    </a:lnTo>
                    <a:lnTo>
                      <a:pt x="152" y="68"/>
                    </a:lnTo>
                    <a:lnTo>
                      <a:pt x="152" y="70"/>
                    </a:lnTo>
                    <a:lnTo>
                      <a:pt x="152" y="77"/>
                    </a:lnTo>
                    <a:lnTo>
                      <a:pt x="150" y="81"/>
                    </a:lnTo>
                    <a:lnTo>
                      <a:pt x="147" y="83"/>
                    </a:lnTo>
                    <a:lnTo>
                      <a:pt x="140" y="88"/>
                    </a:lnTo>
                    <a:lnTo>
                      <a:pt x="138" y="86"/>
                    </a:lnTo>
                    <a:lnTo>
                      <a:pt x="140" y="84"/>
                    </a:lnTo>
                    <a:lnTo>
                      <a:pt x="141" y="81"/>
                    </a:lnTo>
                    <a:lnTo>
                      <a:pt x="141" y="77"/>
                    </a:lnTo>
                    <a:lnTo>
                      <a:pt x="140" y="77"/>
                    </a:lnTo>
                    <a:lnTo>
                      <a:pt x="136" y="10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42" name="Freeform 3097"/>
              <p:cNvSpPr>
                <a:spLocks/>
              </p:cNvSpPr>
              <p:nvPr/>
            </p:nvSpPr>
            <p:spPr bwMode="auto">
              <a:xfrm>
                <a:off x="3214" y="2104"/>
                <a:ext cx="37" cy="21"/>
              </a:xfrm>
              <a:custGeom>
                <a:avLst/>
                <a:gdLst>
                  <a:gd name="T0" fmla="*/ 36 w 37"/>
                  <a:gd name="T1" fmla="*/ 0 h 21"/>
                  <a:gd name="T2" fmla="*/ 27 w 37"/>
                  <a:gd name="T3" fmla="*/ 5 h 21"/>
                  <a:gd name="T4" fmla="*/ 12 w 37"/>
                  <a:gd name="T5" fmla="*/ 7 h 21"/>
                  <a:gd name="T6" fmla="*/ 11 w 37"/>
                  <a:gd name="T7" fmla="*/ 7 h 21"/>
                  <a:gd name="T8" fmla="*/ 11 w 37"/>
                  <a:gd name="T9" fmla="*/ 9 h 21"/>
                  <a:gd name="T10" fmla="*/ 9 w 37"/>
                  <a:gd name="T11" fmla="*/ 11 h 21"/>
                  <a:gd name="T12" fmla="*/ 0 w 37"/>
                  <a:gd name="T13" fmla="*/ 12 h 21"/>
                  <a:gd name="T14" fmla="*/ 3 w 37"/>
                  <a:gd name="T15" fmla="*/ 20 h 21"/>
                  <a:gd name="T16" fmla="*/ 7 w 37"/>
                  <a:gd name="T17" fmla="*/ 21 h 21"/>
                  <a:gd name="T18" fmla="*/ 12 w 37"/>
                  <a:gd name="T19" fmla="*/ 21 h 21"/>
                  <a:gd name="T20" fmla="*/ 16 w 37"/>
                  <a:gd name="T21" fmla="*/ 20 h 21"/>
                  <a:gd name="T22" fmla="*/ 20 w 37"/>
                  <a:gd name="T23" fmla="*/ 20 h 21"/>
                  <a:gd name="T24" fmla="*/ 23 w 37"/>
                  <a:gd name="T25" fmla="*/ 16 h 21"/>
                  <a:gd name="T26" fmla="*/ 27 w 37"/>
                  <a:gd name="T27" fmla="*/ 14 h 21"/>
                  <a:gd name="T28" fmla="*/ 28 w 37"/>
                  <a:gd name="T29" fmla="*/ 12 h 21"/>
                  <a:gd name="T30" fmla="*/ 28 w 37"/>
                  <a:gd name="T31" fmla="*/ 11 h 21"/>
                  <a:gd name="T32" fmla="*/ 32 w 37"/>
                  <a:gd name="T33" fmla="*/ 5 h 21"/>
                  <a:gd name="T34" fmla="*/ 34 w 37"/>
                  <a:gd name="T35" fmla="*/ 5 h 21"/>
                  <a:gd name="T36" fmla="*/ 36 w 37"/>
                  <a:gd name="T37" fmla="*/ 2 h 21"/>
                  <a:gd name="T38" fmla="*/ 37 w 37"/>
                  <a:gd name="T39" fmla="*/ 0 h 21"/>
                  <a:gd name="T40" fmla="*/ 36 w 37"/>
                  <a:gd name="T41" fmla="*/ 0 h 21"/>
                  <a:gd name="T42" fmla="*/ 36 w 37"/>
                  <a:gd name="T43"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 h="21">
                    <a:moveTo>
                      <a:pt x="36" y="0"/>
                    </a:moveTo>
                    <a:lnTo>
                      <a:pt x="27" y="5"/>
                    </a:lnTo>
                    <a:lnTo>
                      <a:pt x="12" y="7"/>
                    </a:lnTo>
                    <a:lnTo>
                      <a:pt x="11" y="7"/>
                    </a:lnTo>
                    <a:lnTo>
                      <a:pt x="11" y="9"/>
                    </a:lnTo>
                    <a:lnTo>
                      <a:pt x="9" y="11"/>
                    </a:lnTo>
                    <a:lnTo>
                      <a:pt x="0" y="12"/>
                    </a:lnTo>
                    <a:lnTo>
                      <a:pt x="3" y="20"/>
                    </a:lnTo>
                    <a:lnTo>
                      <a:pt x="7" y="21"/>
                    </a:lnTo>
                    <a:lnTo>
                      <a:pt x="12" y="21"/>
                    </a:lnTo>
                    <a:lnTo>
                      <a:pt x="16" y="20"/>
                    </a:lnTo>
                    <a:lnTo>
                      <a:pt x="20" y="20"/>
                    </a:lnTo>
                    <a:lnTo>
                      <a:pt x="23" y="16"/>
                    </a:lnTo>
                    <a:lnTo>
                      <a:pt x="27" y="14"/>
                    </a:lnTo>
                    <a:lnTo>
                      <a:pt x="28" y="12"/>
                    </a:lnTo>
                    <a:lnTo>
                      <a:pt x="28" y="11"/>
                    </a:lnTo>
                    <a:lnTo>
                      <a:pt x="32" y="5"/>
                    </a:lnTo>
                    <a:lnTo>
                      <a:pt x="34" y="5"/>
                    </a:lnTo>
                    <a:lnTo>
                      <a:pt x="36" y="2"/>
                    </a:lnTo>
                    <a:lnTo>
                      <a:pt x="37" y="0"/>
                    </a:lnTo>
                    <a:lnTo>
                      <a:pt x="36" y="0"/>
                    </a:lnTo>
                    <a:lnTo>
                      <a:pt x="36"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43" name="Freeform 3098"/>
              <p:cNvSpPr>
                <a:spLocks/>
              </p:cNvSpPr>
              <p:nvPr/>
            </p:nvSpPr>
            <p:spPr bwMode="auto">
              <a:xfrm>
                <a:off x="3135" y="677"/>
                <a:ext cx="2607" cy="1313"/>
              </a:xfrm>
              <a:custGeom>
                <a:avLst/>
                <a:gdLst>
                  <a:gd name="T0" fmla="*/ 2523 w 2607"/>
                  <a:gd name="T1" fmla="*/ 664 h 1313"/>
                  <a:gd name="T2" fmla="*/ 2568 w 2607"/>
                  <a:gd name="T3" fmla="*/ 659 h 1313"/>
                  <a:gd name="T4" fmla="*/ 2550 w 2607"/>
                  <a:gd name="T5" fmla="*/ 582 h 1313"/>
                  <a:gd name="T6" fmla="*/ 2516 w 2607"/>
                  <a:gd name="T7" fmla="*/ 555 h 1313"/>
                  <a:gd name="T8" fmla="*/ 2414 w 2607"/>
                  <a:gd name="T9" fmla="*/ 479 h 1313"/>
                  <a:gd name="T10" fmla="*/ 2221 w 2607"/>
                  <a:gd name="T11" fmla="*/ 473 h 1313"/>
                  <a:gd name="T12" fmla="*/ 2029 w 2607"/>
                  <a:gd name="T13" fmla="*/ 407 h 1313"/>
                  <a:gd name="T14" fmla="*/ 1895 w 2607"/>
                  <a:gd name="T15" fmla="*/ 323 h 1313"/>
                  <a:gd name="T16" fmla="*/ 1759 w 2607"/>
                  <a:gd name="T17" fmla="*/ 384 h 1313"/>
                  <a:gd name="T18" fmla="*/ 1632 w 2607"/>
                  <a:gd name="T19" fmla="*/ 389 h 1313"/>
                  <a:gd name="T20" fmla="*/ 1614 w 2607"/>
                  <a:gd name="T21" fmla="*/ 279 h 1313"/>
                  <a:gd name="T22" fmla="*/ 1509 w 2607"/>
                  <a:gd name="T23" fmla="*/ 300 h 1313"/>
                  <a:gd name="T24" fmla="*/ 1366 w 2607"/>
                  <a:gd name="T25" fmla="*/ 255 h 1313"/>
                  <a:gd name="T26" fmla="*/ 1282 w 2607"/>
                  <a:gd name="T27" fmla="*/ 291 h 1313"/>
                  <a:gd name="T28" fmla="*/ 1332 w 2607"/>
                  <a:gd name="T29" fmla="*/ 211 h 1313"/>
                  <a:gd name="T30" fmla="*/ 1377 w 2607"/>
                  <a:gd name="T31" fmla="*/ 147 h 1313"/>
                  <a:gd name="T32" fmla="*/ 1284 w 2607"/>
                  <a:gd name="T33" fmla="*/ 82 h 1313"/>
                  <a:gd name="T34" fmla="*/ 1243 w 2607"/>
                  <a:gd name="T35" fmla="*/ 13 h 1313"/>
                  <a:gd name="T36" fmla="*/ 1157 w 2607"/>
                  <a:gd name="T37" fmla="*/ 105 h 1313"/>
                  <a:gd name="T38" fmla="*/ 1073 w 2607"/>
                  <a:gd name="T39" fmla="*/ 113 h 1313"/>
                  <a:gd name="T40" fmla="*/ 970 w 2607"/>
                  <a:gd name="T41" fmla="*/ 173 h 1313"/>
                  <a:gd name="T42" fmla="*/ 947 w 2607"/>
                  <a:gd name="T43" fmla="*/ 241 h 1313"/>
                  <a:gd name="T44" fmla="*/ 854 w 2607"/>
                  <a:gd name="T45" fmla="*/ 314 h 1313"/>
                  <a:gd name="T46" fmla="*/ 863 w 2607"/>
                  <a:gd name="T47" fmla="*/ 363 h 1313"/>
                  <a:gd name="T48" fmla="*/ 766 w 2607"/>
                  <a:gd name="T49" fmla="*/ 355 h 1313"/>
                  <a:gd name="T50" fmla="*/ 813 w 2607"/>
                  <a:gd name="T51" fmla="*/ 555 h 1313"/>
                  <a:gd name="T52" fmla="*/ 702 w 2607"/>
                  <a:gd name="T53" fmla="*/ 607 h 1313"/>
                  <a:gd name="T54" fmla="*/ 723 w 2607"/>
                  <a:gd name="T55" fmla="*/ 464 h 1313"/>
                  <a:gd name="T56" fmla="*/ 638 w 2607"/>
                  <a:gd name="T57" fmla="*/ 413 h 1313"/>
                  <a:gd name="T58" fmla="*/ 532 w 2607"/>
                  <a:gd name="T59" fmla="*/ 464 h 1313"/>
                  <a:gd name="T60" fmla="*/ 422 w 2607"/>
                  <a:gd name="T61" fmla="*/ 504 h 1313"/>
                  <a:gd name="T62" fmla="*/ 282 w 2607"/>
                  <a:gd name="T63" fmla="*/ 568 h 1313"/>
                  <a:gd name="T64" fmla="*/ 218 w 2607"/>
                  <a:gd name="T65" fmla="*/ 623 h 1313"/>
                  <a:gd name="T66" fmla="*/ 116 w 2607"/>
                  <a:gd name="T67" fmla="*/ 679 h 1313"/>
                  <a:gd name="T68" fmla="*/ 182 w 2607"/>
                  <a:gd name="T69" fmla="*/ 620 h 1313"/>
                  <a:gd name="T70" fmla="*/ 79 w 2607"/>
                  <a:gd name="T71" fmla="*/ 472 h 1313"/>
                  <a:gd name="T72" fmla="*/ 41 w 2607"/>
                  <a:gd name="T73" fmla="*/ 557 h 1313"/>
                  <a:gd name="T74" fmla="*/ 16 w 2607"/>
                  <a:gd name="T75" fmla="*/ 839 h 1313"/>
                  <a:gd name="T76" fmla="*/ 41 w 2607"/>
                  <a:gd name="T77" fmla="*/ 957 h 1313"/>
                  <a:gd name="T78" fmla="*/ 79 w 2607"/>
                  <a:gd name="T79" fmla="*/ 1055 h 1313"/>
                  <a:gd name="T80" fmla="*/ 202 w 2607"/>
                  <a:gd name="T81" fmla="*/ 1136 h 1313"/>
                  <a:gd name="T82" fmla="*/ 156 w 2607"/>
                  <a:gd name="T83" fmla="*/ 1230 h 1313"/>
                  <a:gd name="T84" fmla="*/ 323 w 2607"/>
                  <a:gd name="T85" fmla="*/ 1255 h 1313"/>
                  <a:gd name="T86" fmla="*/ 306 w 2607"/>
                  <a:gd name="T87" fmla="*/ 1152 h 1313"/>
                  <a:gd name="T88" fmla="*/ 413 w 2607"/>
                  <a:gd name="T89" fmla="*/ 1073 h 1313"/>
                  <a:gd name="T90" fmla="*/ 543 w 2607"/>
                  <a:gd name="T91" fmla="*/ 1093 h 1313"/>
                  <a:gd name="T92" fmla="*/ 563 w 2607"/>
                  <a:gd name="T93" fmla="*/ 1011 h 1313"/>
                  <a:gd name="T94" fmla="*/ 702 w 2607"/>
                  <a:gd name="T95" fmla="*/ 991 h 1313"/>
                  <a:gd name="T96" fmla="*/ 768 w 2607"/>
                  <a:gd name="T97" fmla="*/ 1005 h 1313"/>
                  <a:gd name="T98" fmla="*/ 918 w 2607"/>
                  <a:gd name="T99" fmla="*/ 1111 h 1313"/>
                  <a:gd name="T100" fmla="*/ 1173 w 2607"/>
                  <a:gd name="T101" fmla="*/ 1072 h 1313"/>
                  <a:gd name="T102" fmla="*/ 1563 w 2607"/>
                  <a:gd name="T103" fmla="*/ 1036 h 1313"/>
                  <a:gd name="T104" fmla="*/ 1654 w 2607"/>
                  <a:gd name="T105" fmla="*/ 1289 h 1313"/>
                  <a:gd name="T106" fmla="*/ 1825 w 2607"/>
                  <a:gd name="T107" fmla="*/ 1059 h 1313"/>
                  <a:gd name="T108" fmla="*/ 1757 w 2607"/>
                  <a:gd name="T109" fmla="*/ 1004 h 1313"/>
                  <a:gd name="T110" fmla="*/ 1927 w 2607"/>
                  <a:gd name="T111" fmla="*/ 855 h 1313"/>
                  <a:gd name="T112" fmla="*/ 2039 w 2607"/>
                  <a:gd name="T113" fmla="*/ 863 h 1313"/>
                  <a:gd name="T114" fmla="*/ 2163 w 2607"/>
                  <a:gd name="T115" fmla="*/ 780 h 1313"/>
                  <a:gd name="T116" fmla="*/ 2080 w 2607"/>
                  <a:gd name="T117" fmla="*/ 904 h 1313"/>
                  <a:gd name="T118" fmla="*/ 2173 w 2607"/>
                  <a:gd name="T119" fmla="*/ 947 h 1313"/>
                  <a:gd name="T120" fmla="*/ 2218 w 2607"/>
                  <a:gd name="T121" fmla="*/ 838 h 1313"/>
                  <a:gd name="T122" fmla="*/ 2327 w 2607"/>
                  <a:gd name="T123" fmla="*/ 791 h 1313"/>
                  <a:gd name="T124" fmla="*/ 2429 w 2607"/>
                  <a:gd name="T125" fmla="*/ 752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607" h="1313">
                    <a:moveTo>
                      <a:pt x="2441" y="657"/>
                    </a:moveTo>
                    <a:lnTo>
                      <a:pt x="2450" y="647"/>
                    </a:lnTo>
                    <a:lnTo>
                      <a:pt x="2450" y="643"/>
                    </a:lnTo>
                    <a:lnTo>
                      <a:pt x="2452" y="639"/>
                    </a:lnTo>
                    <a:lnTo>
                      <a:pt x="2452" y="636"/>
                    </a:lnTo>
                    <a:lnTo>
                      <a:pt x="2443" y="627"/>
                    </a:lnTo>
                    <a:lnTo>
                      <a:pt x="2443" y="616"/>
                    </a:lnTo>
                    <a:lnTo>
                      <a:pt x="2445" y="616"/>
                    </a:lnTo>
                    <a:lnTo>
                      <a:pt x="2446" y="616"/>
                    </a:lnTo>
                    <a:lnTo>
                      <a:pt x="2448" y="618"/>
                    </a:lnTo>
                    <a:lnTo>
                      <a:pt x="2452" y="616"/>
                    </a:lnTo>
                    <a:lnTo>
                      <a:pt x="2452" y="609"/>
                    </a:lnTo>
                    <a:lnTo>
                      <a:pt x="2454" y="611"/>
                    </a:lnTo>
                    <a:lnTo>
                      <a:pt x="2455" y="609"/>
                    </a:lnTo>
                    <a:lnTo>
                      <a:pt x="2455" y="611"/>
                    </a:lnTo>
                    <a:lnTo>
                      <a:pt x="2459" y="616"/>
                    </a:lnTo>
                    <a:lnTo>
                      <a:pt x="2461" y="614"/>
                    </a:lnTo>
                    <a:lnTo>
                      <a:pt x="2463" y="607"/>
                    </a:lnTo>
                    <a:lnTo>
                      <a:pt x="2464" y="607"/>
                    </a:lnTo>
                    <a:lnTo>
                      <a:pt x="2466" y="609"/>
                    </a:lnTo>
                    <a:lnTo>
                      <a:pt x="2464" y="618"/>
                    </a:lnTo>
                    <a:lnTo>
                      <a:pt x="2463" y="620"/>
                    </a:lnTo>
                    <a:lnTo>
                      <a:pt x="2461" y="620"/>
                    </a:lnTo>
                    <a:lnTo>
                      <a:pt x="2457" y="620"/>
                    </a:lnTo>
                    <a:lnTo>
                      <a:pt x="2463" y="629"/>
                    </a:lnTo>
                    <a:lnTo>
                      <a:pt x="2464" y="629"/>
                    </a:lnTo>
                    <a:lnTo>
                      <a:pt x="2466" y="634"/>
                    </a:lnTo>
                    <a:lnTo>
                      <a:pt x="2466" y="639"/>
                    </a:lnTo>
                    <a:lnTo>
                      <a:pt x="2468" y="639"/>
                    </a:lnTo>
                    <a:lnTo>
                      <a:pt x="2473" y="639"/>
                    </a:lnTo>
                    <a:lnTo>
                      <a:pt x="2479" y="641"/>
                    </a:lnTo>
                    <a:lnTo>
                      <a:pt x="2484" y="639"/>
                    </a:lnTo>
                    <a:lnTo>
                      <a:pt x="2486" y="638"/>
                    </a:lnTo>
                    <a:lnTo>
                      <a:pt x="2488" y="638"/>
                    </a:lnTo>
                    <a:lnTo>
                      <a:pt x="2495" y="638"/>
                    </a:lnTo>
                    <a:lnTo>
                      <a:pt x="2496" y="638"/>
                    </a:lnTo>
                    <a:lnTo>
                      <a:pt x="2500" y="641"/>
                    </a:lnTo>
                    <a:lnTo>
                      <a:pt x="2504" y="641"/>
                    </a:lnTo>
                    <a:lnTo>
                      <a:pt x="2507" y="643"/>
                    </a:lnTo>
                    <a:lnTo>
                      <a:pt x="2507" y="648"/>
                    </a:lnTo>
                    <a:lnTo>
                      <a:pt x="2507" y="652"/>
                    </a:lnTo>
                    <a:lnTo>
                      <a:pt x="2507" y="659"/>
                    </a:lnTo>
                    <a:lnTo>
                      <a:pt x="2514" y="664"/>
                    </a:lnTo>
                    <a:lnTo>
                      <a:pt x="2514" y="666"/>
                    </a:lnTo>
                    <a:lnTo>
                      <a:pt x="2516" y="668"/>
                    </a:lnTo>
                    <a:lnTo>
                      <a:pt x="2518" y="670"/>
                    </a:lnTo>
                    <a:lnTo>
                      <a:pt x="2521" y="670"/>
                    </a:lnTo>
                    <a:lnTo>
                      <a:pt x="2523" y="670"/>
                    </a:lnTo>
                    <a:lnTo>
                      <a:pt x="2521" y="668"/>
                    </a:lnTo>
                    <a:lnTo>
                      <a:pt x="2523" y="664"/>
                    </a:lnTo>
                    <a:lnTo>
                      <a:pt x="2523" y="666"/>
                    </a:lnTo>
                    <a:lnTo>
                      <a:pt x="2527" y="668"/>
                    </a:lnTo>
                    <a:lnTo>
                      <a:pt x="2527" y="663"/>
                    </a:lnTo>
                    <a:lnTo>
                      <a:pt x="2527" y="661"/>
                    </a:lnTo>
                    <a:lnTo>
                      <a:pt x="2529" y="663"/>
                    </a:lnTo>
                    <a:lnTo>
                      <a:pt x="2527" y="666"/>
                    </a:lnTo>
                    <a:lnTo>
                      <a:pt x="2525" y="670"/>
                    </a:lnTo>
                    <a:lnTo>
                      <a:pt x="2530" y="673"/>
                    </a:lnTo>
                    <a:lnTo>
                      <a:pt x="2532" y="673"/>
                    </a:lnTo>
                    <a:lnTo>
                      <a:pt x="2534" y="675"/>
                    </a:lnTo>
                    <a:lnTo>
                      <a:pt x="2534" y="677"/>
                    </a:lnTo>
                    <a:lnTo>
                      <a:pt x="2538" y="679"/>
                    </a:lnTo>
                    <a:lnTo>
                      <a:pt x="2538" y="682"/>
                    </a:lnTo>
                    <a:lnTo>
                      <a:pt x="2541" y="682"/>
                    </a:lnTo>
                    <a:lnTo>
                      <a:pt x="2541" y="679"/>
                    </a:lnTo>
                    <a:lnTo>
                      <a:pt x="2541" y="684"/>
                    </a:lnTo>
                    <a:lnTo>
                      <a:pt x="2545" y="684"/>
                    </a:lnTo>
                    <a:lnTo>
                      <a:pt x="2546" y="684"/>
                    </a:lnTo>
                    <a:lnTo>
                      <a:pt x="2548" y="680"/>
                    </a:lnTo>
                    <a:lnTo>
                      <a:pt x="2548" y="675"/>
                    </a:lnTo>
                    <a:lnTo>
                      <a:pt x="2550" y="677"/>
                    </a:lnTo>
                    <a:lnTo>
                      <a:pt x="2546" y="686"/>
                    </a:lnTo>
                    <a:lnTo>
                      <a:pt x="2550" y="688"/>
                    </a:lnTo>
                    <a:lnTo>
                      <a:pt x="2552" y="689"/>
                    </a:lnTo>
                    <a:lnTo>
                      <a:pt x="2554" y="688"/>
                    </a:lnTo>
                    <a:lnTo>
                      <a:pt x="2555" y="686"/>
                    </a:lnTo>
                    <a:lnTo>
                      <a:pt x="2555" y="680"/>
                    </a:lnTo>
                    <a:lnTo>
                      <a:pt x="2554" y="680"/>
                    </a:lnTo>
                    <a:lnTo>
                      <a:pt x="2552" y="679"/>
                    </a:lnTo>
                    <a:lnTo>
                      <a:pt x="2555" y="679"/>
                    </a:lnTo>
                    <a:lnTo>
                      <a:pt x="2557" y="680"/>
                    </a:lnTo>
                    <a:lnTo>
                      <a:pt x="2561" y="682"/>
                    </a:lnTo>
                    <a:lnTo>
                      <a:pt x="2564" y="682"/>
                    </a:lnTo>
                    <a:lnTo>
                      <a:pt x="2561" y="677"/>
                    </a:lnTo>
                    <a:lnTo>
                      <a:pt x="2561" y="675"/>
                    </a:lnTo>
                    <a:lnTo>
                      <a:pt x="2559" y="673"/>
                    </a:lnTo>
                    <a:lnTo>
                      <a:pt x="2555" y="673"/>
                    </a:lnTo>
                    <a:lnTo>
                      <a:pt x="2555" y="673"/>
                    </a:lnTo>
                    <a:lnTo>
                      <a:pt x="2554" y="672"/>
                    </a:lnTo>
                    <a:lnTo>
                      <a:pt x="2554" y="672"/>
                    </a:lnTo>
                    <a:lnTo>
                      <a:pt x="2557" y="670"/>
                    </a:lnTo>
                    <a:lnTo>
                      <a:pt x="2557" y="670"/>
                    </a:lnTo>
                    <a:lnTo>
                      <a:pt x="2555" y="666"/>
                    </a:lnTo>
                    <a:lnTo>
                      <a:pt x="2552" y="668"/>
                    </a:lnTo>
                    <a:lnTo>
                      <a:pt x="2554" y="666"/>
                    </a:lnTo>
                    <a:lnTo>
                      <a:pt x="2559" y="666"/>
                    </a:lnTo>
                    <a:lnTo>
                      <a:pt x="2559" y="664"/>
                    </a:lnTo>
                    <a:lnTo>
                      <a:pt x="2559" y="663"/>
                    </a:lnTo>
                    <a:lnTo>
                      <a:pt x="2563" y="664"/>
                    </a:lnTo>
                    <a:lnTo>
                      <a:pt x="2568" y="659"/>
                    </a:lnTo>
                    <a:lnTo>
                      <a:pt x="2564" y="652"/>
                    </a:lnTo>
                    <a:lnTo>
                      <a:pt x="2563" y="652"/>
                    </a:lnTo>
                    <a:lnTo>
                      <a:pt x="2559" y="652"/>
                    </a:lnTo>
                    <a:lnTo>
                      <a:pt x="2566" y="650"/>
                    </a:lnTo>
                    <a:lnTo>
                      <a:pt x="2566" y="648"/>
                    </a:lnTo>
                    <a:lnTo>
                      <a:pt x="2568" y="645"/>
                    </a:lnTo>
                    <a:lnTo>
                      <a:pt x="2571" y="641"/>
                    </a:lnTo>
                    <a:lnTo>
                      <a:pt x="2575" y="639"/>
                    </a:lnTo>
                    <a:lnTo>
                      <a:pt x="2584" y="641"/>
                    </a:lnTo>
                    <a:lnTo>
                      <a:pt x="2586" y="639"/>
                    </a:lnTo>
                    <a:lnTo>
                      <a:pt x="2584" y="638"/>
                    </a:lnTo>
                    <a:lnTo>
                      <a:pt x="2579" y="634"/>
                    </a:lnTo>
                    <a:lnTo>
                      <a:pt x="2579" y="630"/>
                    </a:lnTo>
                    <a:lnTo>
                      <a:pt x="2580" y="629"/>
                    </a:lnTo>
                    <a:lnTo>
                      <a:pt x="2582" y="632"/>
                    </a:lnTo>
                    <a:lnTo>
                      <a:pt x="2586" y="634"/>
                    </a:lnTo>
                    <a:lnTo>
                      <a:pt x="2588" y="636"/>
                    </a:lnTo>
                    <a:lnTo>
                      <a:pt x="2591" y="638"/>
                    </a:lnTo>
                    <a:lnTo>
                      <a:pt x="2593" y="634"/>
                    </a:lnTo>
                    <a:lnTo>
                      <a:pt x="2593" y="630"/>
                    </a:lnTo>
                    <a:lnTo>
                      <a:pt x="2593" y="625"/>
                    </a:lnTo>
                    <a:lnTo>
                      <a:pt x="2596" y="623"/>
                    </a:lnTo>
                    <a:lnTo>
                      <a:pt x="2600" y="620"/>
                    </a:lnTo>
                    <a:lnTo>
                      <a:pt x="2602" y="620"/>
                    </a:lnTo>
                    <a:lnTo>
                      <a:pt x="2605" y="620"/>
                    </a:lnTo>
                    <a:lnTo>
                      <a:pt x="2607" y="618"/>
                    </a:lnTo>
                    <a:lnTo>
                      <a:pt x="2604" y="616"/>
                    </a:lnTo>
                    <a:lnTo>
                      <a:pt x="2602" y="618"/>
                    </a:lnTo>
                    <a:lnTo>
                      <a:pt x="2600" y="616"/>
                    </a:lnTo>
                    <a:lnTo>
                      <a:pt x="2598" y="614"/>
                    </a:lnTo>
                    <a:lnTo>
                      <a:pt x="2598" y="613"/>
                    </a:lnTo>
                    <a:lnTo>
                      <a:pt x="2596" y="611"/>
                    </a:lnTo>
                    <a:lnTo>
                      <a:pt x="2593" y="614"/>
                    </a:lnTo>
                    <a:lnTo>
                      <a:pt x="2591" y="613"/>
                    </a:lnTo>
                    <a:lnTo>
                      <a:pt x="2593" y="611"/>
                    </a:lnTo>
                    <a:lnTo>
                      <a:pt x="2593" y="609"/>
                    </a:lnTo>
                    <a:lnTo>
                      <a:pt x="2586" y="604"/>
                    </a:lnTo>
                    <a:lnTo>
                      <a:pt x="2584" y="600"/>
                    </a:lnTo>
                    <a:lnTo>
                      <a:pt x="2580" y="597"/>
                    </a:lnTo>
                    <a:lnTo>
                      <a:pt x="2579" y="593"/>
                    </a:lnTo>
                    <a:lnTo>
                      <a:pt x="2579" y="591"/>
                    </a:lnTo>
                    <a:lnTo>
                      <a:pt x="2575" y="589"/>
                    </a:lnTo>
                    <a:lnTo>
                      <a:pt x="2573" y="588"/>
                    </a:lnTo>
                    <a:lnTo>
                      <a:pt x="2573" y="584"/>
                    </a:lnTo>
                    <a:lnTo>
                      <a:pt x="2559" y="580"/>
                    </a:lnTo>
                    <a:lnTo>
                      <a:pt x="2557" y="582"/>
                    </a:lnTo>
                    <a:lnTo>
                      <a:pt x="2563" y="584"/>
                    </a:lnTo>
                    <a:lnTo>
                      <a:pt x="2561" y="586"/>
                    </a:lnTo>
                    <a:lnTo>
                      <a:pt x="2559" y="586"/>
                    </a:lnTo>
                    <a:lnTo>
                      <a:pt x="2550" y="582"/>
                    </a:lnTo>
                    <a:lnTo>
                      <a:pt x="2550" y="586"/>
                    </a:lnTo>
                    <a:lnTo>
                      <a:pt x="2550" y="589"/>
                    </a:lnTo>
                    <a:lnTo>
                      <a:pt x="2548" y="589"/>
                    </a:lnTo>
                    <a:lnTo>
                      <a:pt x="2548" y="586"/>
                    </a:lnTo>
                    <a:lnTo>
                      <a:pt x="2546" y="584"/>
                    </a:lnTo>
                    <a:lnTo>
                      <a:pt x="2546" y="580"/>
                    </a:lnTo>
                    <a:lnTo>
                      <a:pt x="2550" y="580"/>
                    </a:lnTo>
                    <a:lnTo>
                      <a:pt x="2546" y="579"/>
                    </a:lnTo>
                    <a:lnTo>
                      <a:pt x="2545" y="579"/>
                    </a:lnTo>
                    <a:lnTo>
                      <a:pt x="2543" y="577"/>
                    </a:lnTo>
                    <a:lnTo>
                      <a:pt x="2541" y="575"/>
                    </a:lnTo>
                    <a:lnTo>
                      <a:pt x="2541" y="579"/>
                    </a:lnTo>
                    <a:lnTo>
                      <a:pt x="2541" y="580"/>
                    </a:lnTo>
                    <a:lnTo>
                      <a:pt x="2539" y="580"/>
                    </a:lnTo>
                    <a:lnTo>
                      <a:pt x="2539" y="579"/>
                    </a:lnTo>
                    <a:lnTo>
                      <a:pt x="2534" y="577"/>
                    </a:lnTo>
                    <a:lnTo>
                      <a:pt x="2532" y="579"/>
                    </a:lnTo>
                    <a:lnTo>
                      <a:pt x="2529" y="579"/>
                    </a:lnTo>
                    <a:lnTo>
                      <a:pt x="2530" y="582"/>
                    </a:lnTo>
                    <a:lnTo>
                      <a:pt x="2530" y="579"/>
                    </a:lnTo>
                    <a:lnTo>
                      <a:pt x="2534" y="579"/>
                    </a:lnTo>
                    <a:lnTo>
                      <a:pt x="2534" y="580"/>
                    </a:lnTo>
                    <a:lnTo>
                      <a:pt x="2532" y="580"/>
                    </a:lnTo>
                    <a:lnTo>
                      <a:pt x="2536" y="582"/>
                    </a:lnTo>
                    <a:lnTo>
                      <a:pt x="2534" y="597"/>
                    </a:lnTo>
                    <a:lnTo>
                      <a:pt x="2538" y="598"/>
                    </a:lnTo>
                    <a:lnTo>
                      <a:pt x="2538" y="597"/>
                    </a:lnTo>
                    <a:lnTo>
                      <a:pt x="2539" y="597"/>
                    </a:lnTo>
                    <a:lnTo>
                      <a:pt x="2541" y="600"/>
                    </a:lnTo>
                    <a:lnTo>
                      <a:pt x="2541" y="607"/>
                    </a:lnTo>
                    <a:lnTo>
                      <a:pt x="2538" y="607"/>
                    </a:lnTo>
                    <a:lnTo>
                      <a:pt x="2538" y="609"/>
                    </a:lnTo>
                    <a:lnTo>
                      <a:pt x="2538" y="607"/>
                    </a:lnTo>
                    <a:lnTo>
                      <a:pt x="2538" y="605"/>
                    </a:lnTo>
                    <a:lnTo>
                      <a:pt x="2538" y="602"/>
                    </a:lnTo>
                    <a:lnTo>
                      <a:pt x="2534" y="600"/>
                    </a:lnTo>
                    <a:lnTo>
                      <a:pt x="2532" y="600"/>
                    </a:lnTo>
                    <a:lnTo>
                      <a:pt x="2530" y="597"/>
                    </a:lnTo>
                    <a:lnTo>
                      <a:pt x="2530" y="595"/>
                    </a:lnTo>
                    <a:lnTo>
                      <a:pt x="2527" y="593"/>
                    </a:lnTo>
                    <a:lnTo>
                      <a:pt x="2525" y="591"/>
                    </a:lnTo>
                    <a:lnTo>
                      <a:pt x="2527" y="588"/>
                    </a:lnTo>
                    <a:lnTo>
                      <a:pt x="2521" y="566"/>
                    </a:lnTo>
                    <a:lnTo>
                      <a:pt x="2521" y="563"/>
                    </a:lnTo>
                    <a:lnTo>
                      <a:pt x="2523" y="566"/>
                    </a:lnTo>
                    <a:lnTo>
                      <a:pt x="2523" y="570"/>
                    </a:lnTo>
                    <a:lnTo>
                      <a:pt x="2525" y="568"/>
                    </a:lnTo>
                    <a:lnTo>
                      <a:pt x="2523" y="564"/>
                    </a:lnTo>
                    <a:lnTo>
                      <a:pt x="2516" y="559"/>
                    </a:lnTo>
                    <a:lnTo>
                      <a:pt x="2516" y="555"/>
                    </a:lnTo>
                    <a:lnTo>
                      <a:pt x="2514" y="554"/>
                    </a:lnTo>
                    <a:lnTo>
                      <a:pt x="2507" y="550"/>
                    </a:lnTo>
                    <a:lnTo>
                      <a:pt x="2507" y="550"/>
                    </a:lnTo>
                    <a:lnTo>
                      <a:pt x="2507" y="554"/>
                    </a:lnTo>
                    <a:lnTo>
                      <a:pt x="2511" y="559"/>
                    </a:lnTo>
                    <a:lnTo>
                      <a:pt x="2513" y="559"/>
                    </a:lnTo>
                    <a:lnTo>
                      <a:pt x="2514" y="561"/>
                    </a:lnTo>
                    <a:lnTo>
                      <a:pt x="2514" y="563"/>
                    </a:lnTo>
                    <a:lnTo>
                      <a:pt x="2504" y="555"/>
                    </a:lnTo>
                    <a:lnTo>
                      <a:pt x="2500" y="555"/>
                    </a:lnTo>
                    <a:lnTo>
                      <a:pt x="2498" y="554"/>
                    </a:lnTo>
                    <a:lnTo>
                      <a:pt x="2500" y="552"/>
                    </a:lnTo>
                    <a:lnTo>
                      <a:pt x="2502" y="550"/>
                    </a:lnTo>
                    <a:lnTo>
                      <a:pt x="2502" y="548"/>
                    </a:lnTo>
                    <a:lnTo>
                      <a:pt x="2504" y="547"/>
                    </a:lnTo>
                    <a:lnTo>
                      <a:pt x="2496" y="545"/>
                    </a:lnTo>
                    <a:lnTo>
                      <a:pt x="2493" y="545"/>
                    </a:lnTo>
                    <a:lnTo>
                      <a:pt x="2491" y="543"/>
                    </a:lnTo>
                    <a:lnTo>
                      <a:pt x="2489" y="543"/>
                    </a:lnTo>
                    <a:lnTo>
                      <a:pt x="2489" y="539"/>
                    </a:lnTo>
                    <a:lnTo>
                      <a:pt x="2491" y="539"/>
                    </a:lnTo>
                    <a:lnTo>
                      <a:pt x="2491" y="538"/>
                    </a:lnTo>
                    <a:lnTo>
                      <a:pt x="2489" y="536"/>
                    </a:lnTo>
                    <a:lnTo>
                      <a:pt x="2486" y="536"/>
                    </a:lnTo>
                    <a:lnTo>
                      <a:pt x="2486" y="534"/>
                    </a:lnTo>
                    <a:lnTo>
                      <a:pt x="2484" y="530"/>
                    </a:lnTo>
                    <a:lnTo>
                      <a:pt x="2480" y="530"/>
                    </a:lnTo>
                    <a:lnTo>
                      <a:pt x="2480" y="529"/>
                    </a:lnTo>
                    <a:lnTo>
                      <a:pt x="2477" y="527"/>
                    </a:lnTo>
                    <a:lnTo>
                      <a:pt x="2471" y="529"/>
                    </a:lnTo>
                    <a:lnTo>
                      <a:pt x="2471" y="529"/>
                    </a:lnTo>
                    <a:lnTo>
                      <a:pt x="2471" y="525"/>
                    </a:lnTo>
                    <a:lnTo>
                      <a:pt x="2471" y="523"/>
                    </a:lnTo>
                    <a:lnTo>
                      <a:pt x="2470" y="522"/>
                    </a:lnTo>
                    <a:lnTo>
                      <a:pt x="2468" y="518"/>
                    </a:lnTo>
                    <a:lnTo>
                      <a:pt x="2470" y="522"/>
                    </a:lnTo>
                    <a:lnTo>
                      <a:pt x="2466" y="520"/>
                    </a:lnTo>
                    <a:lnTo>
                      <a:pt x="2464" y="520"/>
                    </a:lnTo>
                    <a:lnTo>
                      <a:pt x="2461" y="516"/>
                    </a:lnTo>
                    <a:lnTo>
                      <a:pt x="2459" y="507"/>
                    </a:lnTo>
                    <a:lnTo>
                      <a:pt x="2457" y="507"/>
                    </a:lnTo>
                    <a:lnTo>
                      <a:pt x="2450" y="504"/>
                    </a:lnTo>
                    <a:lnTo>
                      <a:pt x="2448" y="502"/>
                    </a:lnTo>
                    <a:lnTo>
                      <a:pt x="2445" y="502"/>
                    </a:lnTo>
                    <a:lnTo>
                      <a:pt x="2441" y="500"/>
                    </a:lnTo>
                    <a:lnTo>
                      <a:pt x="2441" y="500"/>
                    </a:lnTo>
                    <a:lnTo>
                      <a:pt x="2420" y="482"/>
                    </a:lnTo>
                    <a:lnTo>
                      <a:pt x="2418" y="480"/>
                    </a:lnTo>
                    <a:lnTo>
                      <a:pt x="2414" y="477"/>
                    </a:lnTo>
                    <a:lnTo>
                      <a:pt x="2414" y="479"/>
                    </a:lnTo>
                    <a:lnTo>
                      <a:pt x="2404" y="473"/>
                    </a:lnTo>
                    <a:lnTo>
                      <a:pt x="2398" y="468"/>
                    </a:lnTo>
                    <a:lnTo>
                      <a:pt x="2396" y="468"/>
                    </a:lnTo>
                    <a:lnTo>
                      <a:pt x="2391" y="466"/>
                    </a:lnTo>
                    <a:lnTo>
                      <a:pt x="2388" y="466"/>
                    </a:lnTo>
                    <a:lnTo>
                      <a:pt x="2379" y="457"/>
                    </a:lnTo>
                    <a:lnTo>
                      <a:pt x="2359" y="455"/>
                    </a:lnTo>
                    <a:lnTo>
                      <a:pt x="2359" y="457"/>
                    </a:lnTo>
                    <a:lnTo>
                      <a:pt x="2354" y="459"/>
                    </a:lnTo>
                    <a:lnTo>
                      <a:pt x="2352" y="457"/>
                    </a:lnTo>
                    <a:lnTo>
                      <a:pt x="2346" y="455"/>
                    </a:lnTo>
                    <a:lnTo>
                      <a:pt x="2343" y="457"/>
                    </a:lnTo>
                    <a:lnTo>
                      <a:pt x="2336" y="455"/>
                    </a:lnTo>
                    <a:lnTo>
                      <a:pt x="2332" y="457"/>
                    </a:lnTo>
                    <a:lnTo>
                      <a:pt x="2329" y="457"/>
                    </a:lnTo>
                    <a:lnTo>
                      <a:pt x="2320" y="452"/>
                    </a:lnTo>
                    <a:lnTo>
                      <a:pt x="2318" y="454"/>
                    </a:lnTo>
                    <a:lnTo>
                      <a:pt x="2291" y="448"/>
                    </a:lnTo>
                    <a:lnTo>
                      <a:pt x="2288" y="450"/>
                    </a:lnTo>
                    <a:lnTo>
                      <a:pt x="2288" y="454"/>
                    </a:lnTo>
                    <a:lnTo>
                      <a:pt x="2289" y="457"/>
                    </a:lnTo>
                    <a:lnTo>
                      <a:pt x="2288" y="463"/>
                    </a:lnTo>
                    <a:lnTo>
                      <a:pt x="2284" y="464"/>
                    </a:lnTo>
                    <a:lnTo>
                      <a:pt x="2282" y="468"/>
                    </a:lnTo>
                    <a:lnTo>
                      <a:pt x="2291" y="470"/>
                    </a:lnTo>
                    <a:lnTo>
                      <a:pt x="2293" y="480"/>
                    </a:lnTo>
                    <a:lnTo>
                      <a:pt x="2295" y="482"/>
                    </a:lnTo>
                    <a:lnTo>
                      <a:pt x="2295" y="486"/>
                    </a:lnTo>
                    <a:lnTo>
                      <a:pt x="2296" y="491"/>
                    </a:lnTo>
                    <a:lnTo>
                      <a:pt x="2288" y="504"/>
                    </a:lnTo>
                    <a:lnTo>
                      <a:pt x="2282" y="507"/>
                    </a:lnTo>
                    <a:lnTo>
                      <a:pt x="2275" y="505"/>
                    </a:lnTo>
                    <a:lnTo>
                      <a:pt x="2273" y="505"/>
                    </a:lnTo>
                    <a:lnTo>
                      <a:pt x="2270" y="495"/>
                    </a:lnTo>
                    <a:lnTo>
                      <a:pt x="2264" y="493"/>
                    </a:lnTo>
                    <a:lnTo>
                      <a:pt x="2264" y="491"/>
                    </a:lnTo>
                    <a:lnTo>
                      <a:pt x="2263" y="489"/>
                    </a:lnTo>
                    <a:lnTo>
                      <a:pt x="2255" y="488"/>
                    </a:lnTo>
                    <a:lnTo>
                      <a:pt x="2254" y="486"/>
                    </a:lnTo>
                    <a:lnTo>
                      <a:pt x="2252" y="470"/>
                    </a:lnTo>
                    <a:lnTo>
                      <a:pt x="2246" y="468"/>
                    </a:lnTo>
                    <a:lnTo>
                      <a:pt x="2246" y="466"/>
                    </a:lnTo>
                    <a:lnTo>
                      <a:pt x="2248" y="464"/>
                    </a:lnTo>
                    <a:lnTo>
                      <a:pt x="2248" y="464"/>
                    </a:lnTo>
                    <a:lnTo>
                      <a:pt x="2245" y="461"/>
                    </a:lnTo>
                    <a:lnTo>
                      <a:pt x="2243" y="463"/>
                    </a:lnTo>
                    <a:lnTo>
                      <a:pt x="2232" y="473"/>
                    </a:lnTo>
                    <a:lnTo>
                      <a:pt x="2230" y="475"/>
                    </a:lnTo>
                    <a:lnTo>
                      <a:pt x="2229" y="473"/>
                    </a:lnTo>
                    <a:lnTo>
                      <a:pt x="2221" y="473"/>
                    </a:lnTo>
                    <a:lnTo>
                      <a:pt x="2214" y="470"/>
                    </a:lnTo>
                    <a:lnTo>
                      <a:pt x="2205" y="470"/>
                    </a:lnTo>
                    <a:lnTo>
                      <a:pt x="2202" y="470"/>
                    </a:lnTo>
                    <a:lnTo>
                      <a:pt x="2202" y="472"/>
                    </a:lnTo>
                    <a:lnTo>
                      <a:pt x="2200" y="470"/>
                    </a:lnTo>
                    <a:lnTo>
                      <a:pt x="2195" y="472"/>
                    </a:lnTo>
                    <a:lnTo>
                      <a:pt x="2189" y="468"/>
                    </a:lnTo>
                    <a:lnTo>
                      <a:pt x="2186" y="461"/>
                    </a:lnTo>
                    <a:lnTo>
                      <a:pt x="2179" y="464"/>
                    </a:lnTo>
                    <a:lnTo>
                      <a:pt x="2171" y="464"/>
                    </a:lnTo>
                    <a:lnTo>
                      <a:pt x="2166" y="466"/>
                    </a:lnTo>
                    <a:lnTo>
                      <a:pt x="2161" y="464"/>
                    </a:lnTo>
                    <a:lnTo>
                      <a:pt x="2159" y="464"/>
                    </a:lnTo>
                    <a:lnTo>
                      <a:pt x="2157" y="466"/>
                    </a:lnTo>
                    <a:lnTo>
                      <a:pt x="2157" y="468"/>
                    </a:lnTo>
                    <a:lnTo>
                      <a:pt x="2154" y="468"/>
                    </a:lnTo>
                    <a:lnTo>
                      <a:pt x="2154" y="473"/>
                    </a:lnTo>
                    <a:lnTo>
                      <a:pt x="2148" y="473"/>
                    </a:lnTo>
                    <a:lnTo>
                      <a:pt x="2146" y="477"/>
                    </a:lnTo>
                    <a:lnTo>
                      <a:pt x="2143" y="480"/>
                    </a:lnTo>
                    <a:lnTo>
                      <a:pt x="2141" y="479"/>
                    </a:lnTo>
                    <a:lnTo>
                      <a:pt x="2141" y="473"/>
                    </a:lnTo>
                    <a:lnTo>
                      <a:pt x="2141" y="472"/>
                    </a:lnTo>
                    <a:lnTo>
                      <a:pt x="2138" y="472"/>
                    </a:lnTo>
                    <a:lnTo>
                      <a:pt x="2138" y="472"/>
                    </a:lnTo>
                    <a:lnTo>
                      <a:pt x="2132" y="466"/>
                    </a:lnTo>
                    <a:lnTo>
                      <a:pt x="2129" y="463"/>
                    </a:lnTo>
                    <a:lnTo>
                      <a:pt x="2121" y="463"/>
                    </a:lnTo>
                    <a:lnTo>
                      <a:pt x="2121" y="461"/>
                    </a:lnTo>
                    <a:lnTo>
                      <a:pt x="2116" y="459"/>
                    </a:lnTo>
                    <a:lnTo>
                      <a:pt x="2116" y="457"/>
                    </a:lnTo>
                    <a:lnTo>
                      <a:pt x="2121" y="439"/>
                    </a:lnTo>
                    <a:lnTo>
                      <a:pt x="2121" y="430"/>
                    </a:lnTo>
                    <a:lnTo>
                      <a:pt x="2118" y="425"/>
                    </a:lnTo>
                    <a:lnTo>
                      <a:pt x="2118" y="423"/>
                    </a:lnTo>
                    <a:lnTo>
                      <a:pt x="2107" y="411"/>
                    </a:lnTo>
                    <a:lnTo>
                      <a:pt x="2105" y="409"/>
                    </a:lnTo>
                    <a:lnTo>
                      <a:pt x="2102" y="405"/>
                    </a:lnTo>
                    <a:lnTo>
                      <a:pt x="2098" y="404"/>
                    </a:lnTo>
                    <a:lnTo>
                      <a:pt x="2088" y="404"/>
                    </a:lnTo>
                    <a:lnTo>
                      <a:pt x="2084" y="402"/>
                    </a:lnTo>
                    <a:lnTo>
                      <a:pt x="2057" y="404"/>
                    </a:lnTo>
                    <a:lnTo>
                      <a:pt x="2055" y="404"/>
                    </a:lnTo>
                    <a:lnTo>
                      <a:pt x="2050" y="404"/>
                    </a:lnTo>
                    <a:lnTo>
                      <a:pt x="2048" y="405"/>
                    </a:lnTo>
                    <a:lnTo>
                      <a:pt x="2045" y="405"/>
                    </a:lnTo>
                    <a:lnTo>
                      <a:pt x="2038" y="404"/>
                    </a:lnTo>
                    <a:lnTo>
                      <a:pt x="2034" y="404"/>
                    </a:lnTo>
                    <a:lnTo>
                      <a:pt x="2032" y="407"/>
                    </a:lnTo>
                    <a:lnTo>
                      <a:pt x="2029" y="407"/>
                    </a:lnTo>
                    <a:lnTo>
                      <a:pt x="2025" y="407"/>
                    </a:lnTo>
                    <a:lnTo>
                      <a:pt x="2020" y="407"/>
                    </a:lnTo>
                    <a:lnTo>
                      <a:pt x="2018" y="407"/>
                    </a:lnTo>
                    <a:lnTo>
                      <a:pt x="2014" y="407"/>
                    </a:lnTo>
                    <a:lnTo>
                      <a:pt x="2007" y="411"/>
                    </a:lnTo>
                    <a:lnTo>
                      <a:pt x="2005" y="411"/>
                    </a:lnTo>
                    <a:lnTo>
                      <a:pt x="2002" y="413"/>
                    </a:lnTo>
                    <a:lnTo>
                      <a:pt x="1995" y="405"/>
                    </a:lnTo>
                    <a:lnTo>
                      <a:pt x="1991" y="405"/>
                    </a:lnTo>
                    <a:lnTo>
                      <a:pt x="1989" y="404"/>
                    </a:lnTo>
                    <a:lnTo>
                      <a:pt x="1997" y="402"/>
                    </a:lnTo>
                    <a:lnTo>
                      <a:pt x="1998" y="398"/>
                    </a:lnTo>
                    <a:lnTo>
                      <a:pt x="1998" y="395"/>
                    </a:lnTo>
                    <a:lnTo>
                      <a:pt x="1989" y="386"/>
                    </a:lnTo>
                    <a:lnTo>
                      <a:pt x="1988" y="382"/>
                    </a:lnTo>
                    <a:lnTo>
                      <a:pt x="1988" y="380"/>
                    </a:lnTo>
                    <a:lnTo>
                      <a:pt x="1975" y="384"/>
                    </a:lnTo>
                    <a:lnTo>
                      <a:pt x="1973" y="384"/>
                    </a:lnTo>
                    <a:lnTo>
                      <a:pt x="1972" y="380"/>
                    </a:lnTo>
                    <a:lnTo>
                      <a:pt x="1972" y="379"/>
                    </a:lnTo>
                    <a:lnTo>
                      <a:pt x="1966" y="375"/>
                    </a:lnTo>
                    <a:lnTo>
                      <a:pt x="1964" y="372"/>
                    </a:lnTo>
                    <a:lnTo>
                      <a:pt x="1963" y="372"/>
                    </a:lnTo>
                    <a:lnTo>
                      <a:pt x="1957" y="368"/>
                    </a:lnTo>
                    <a:lnTo>
                      <a:pt x="1955" y="370"/>
                    </a:lnTo>
                    <a:lnTo>
                      <a:pt x="1952" y="370"/>
                    </a:lnTo>
                    <a:lnTo>
                      <a:pt x="1952" y="370"/>
                    </a:lnTo>
                    <a:lnTo>
                      <a:pt x="1947" y="368"/>
                    </a:lnTo>
                    <a:lnTo>
                      <a:pt x="1945" y="370"/>
                    </a:lnTo>
                    <a:lnTo>
                      <a:pt x="1945" y="366"/>
                    </a:lnTo>
                    <a:lnTo>
                      <a:pt x="1950" y="359"/>
                    </a:lnTo>
                    <a:lnTo>
                      <a:pt x="1952" y="357"/>
                    </a:lnTo>
                    <a:lnTo>
                      <a:pt x="1955" y="361"/>
                    </a:lnTo>
                    <a:lnTo>
                      <a:pt x="1957" y="363"/>
                    </a:lnTo>
                    <a:lnTo>
                      <a:pt x="1961" y="361"/>
                    </a:lnTo>
                    <a:lnTo>
                      <a:pt x="1961" y="354"/>
                    </a:lnTo>
                    <a:lnTo>
                      <a:pt x="1957" y="345"/>
                    </a:lnTo>
                    <a:lnTo>
                      <a:pt x="1948" y="338"/>
                    </a:lnTo>
                    <a:lnTo>
                      <a:pt x="1945" y="338"/>
                    </a:lnTo>
                    <a:lnTo>
                      <a:pt x="1943" y="336"/>
                    </a:lnTo>
                    <a:lnTo>
                      <a:pt x="1936" y="332"/>
                    </a:lnTo>
                    <a:lnTo>
                      <a:pt x="1930" y="334"/>
                    </a:lnTo>
                    <a:lnTo>
                      <a:pt x="1930" y="336"/>
                    </a:lnTo>
                    <a:lnTo>
                      <a:pt x="1929" y="334"/>
                    </a:lnTo>
                    <a:lnTo>
                      <a:pt x="1918" y="332"/>
                    </a:lnTo>
                    <a:lnTo>
                      <a:pt x="1916" y="334"/>
                    </a:lnTo>
                    <a:lnTo>
                      <a:pt x="1909" y="332"/>
                    </a:lnTo>
                    <a:lnTo>
                      <a:pt x="1905" y="329"/>
                    </a:lnTo>
                    <a:lnTo>
                      <a:pt x="1900" y="329"/>
                    </a:lnTo>
                    <a:lnTo>
                      <a:pt x="1895" y="323"/>
                    </a:lnTo>
                    <a:lnTo>
                      <a:pt x="1893" y="323"/>
                    </a:lnTo>
                    <a:lnTo>
                      <a:pt x="1880" y="322"/>
                    </a:lnTo>
                    <a:lnTo>
                      <a:pt x="1873" y="318"/>
                    </a:lnTo>
                    <a:lnTo>
                      <a:pt x="1861" y="318"/>
                    </a:lnTo>
                    <a:lnTo>
                      <a:pt x="1857" y="316"/>
                    </a:lnTo>
                    <a:lnTo>
                      <a:pt x="1829" y="314"/>
                    </a:lnTo>
                    <a:lnTo>
                      <a:pt x="1825" y="313"/>
                    </a:lnTo>
                    <a:lnTo>
                      <a:pt x="1825" y="311"/>
                    </a:lnTo>
                    <a:lnTo>
                      <a:pt x="1822" y="309"/>
                    </a:lnTo>
                    <a:lnTo>
                      <a:pt x="1816" y="307"/>
                    </a:lnTo>
                    <a:lnTo>
                      <a:pt x="1814" y="311"/>
                    </a:lnTo>
                    <a:lnTo>
                      <a:pt x="1814" y="313"/>
                    </a:lnTo>
                    <a:lnTo>
                      <a:pt x="1816" y="316"/>
                    </a:lnTo>
                    <a:lnTo>
                      <a:pt x="1818" y="318"/>
                    </a:lnTo>
                    <a:lnTo>
                      <a:pt x="1820" y="322"/>
                    </a:lnTo>
                    <a:lnTo>
                      <a:pt x="1818" y="323"/>
                    </a:lnTo>
                    <a:lnTo>
                      <a:pt x="1813" y="329"/>
                    </a:lnTo>
                    <a:lnTo>
                      <a:pt x="1811" y="336"/>
                    </a:lnTo>
                    <a:lnTo>
                      <a:pt x="1807" y="343"/>
                    </a:lnTo>
                    <a:lnTo>
                      <a:pt x="1804" y="343"/>
                    </a:lnTo>
                    <a:lnTo>
                      <a:pt x="1800" y="347"/>
                    </a:lnTo>
                    <a:lnTo>
                      <a:pt x="1797" y="352"/>
                    </a:lnTo>
                    <a:lnTo>
                      <a:pt x="1797" y="354"/>
                    </a:lnTo>
                    <a:lnTo>
                      <a:pt x="1798" y="357"/>
                    </a:lnTo>
                    <a:lnTo>
                      <a:pt x="1798" y="359"/>
                    </a:lnTo>
                    <a:lnTo>
                      <a:pt x="1797" y="359"/>
                    </a:lnTo>
                    <a:lnTo>
                      <a:pt x="1797" y="366"/>
                    </a:lnTo>
                    <a:lnTo>
                      <a:pt x="1798" y="370"/>
                    </a:lnTo>
                    <a:lnTo>
                      <a:pt x="1800" y="373"/>
                    </a:lnTo>
                    <a:lnTo>
                      <a:pt x="1802" y="375"/>
                    </a:lnTo>
                    <a:lnTo>
                      <a:pt x="1802" y="379"/>
                    </a:lnTo>
                    <a:lnTo>
                      <a:pt x="1800" y="380"/>
                    </a:lnTo>
                    <a:lnTo>
                      <a:pt x="1798" y="380"/>
                    </a:lnTo>
                    <a:lnTo>
                      <a:pt x="1793" y="377"/>
                    </a:lnTo>
                    <a:lnTo>
                      <a:pt x="1789" y="382"/>
                    </a:lnTo>
                    <a:lnTo>
                      <a:pt x="1786" y="380"/>
                    </a:lnTo>
                    <a:lnTo>
                      <a:pt x="1784" y="382"/>
                    </a:lnTo>
                    <a:lnTo>
                      <a:pt x="1784" y="382"/>
                    </a:lnTo>
                    <a:lnTo>
                      <a:pt x="1779" y="386"/>
                    </a:lnTo>
                    <a:lnTo>
                      <a:pt x="1777" y="388"/>
                    </a:lnTo>
                    <a:lnTo>
                      <a:pt x="1775" y="391"/>
                    </a:lnTo>
                    <a:lnTo>
                      <a:pt x="1773" y="393"/>
                    </a:lnTo>
                    <a:lnTo>
                      <a:pt x="1770" y="393"/>
                    </a:lnTo>
                    <a:lnTo>
                      <a:pt x="1768" y="395"/>
                    </a:lnTo>
                    <a:lnTo>
                      <a:pt x="1766" y="393"/>
                    </a:lnTo>
                    <a:lnTo>
                      <a:pt x="1764" y="393"/>
                    </a:lnTo>
                    <a:lnTo>
                      <a:pt x="1763" y="391"/>
                    </a:lnTo>
                    <a:lnTo>
                      <a:pt x="1763" y="388"/>
                    </a:lnTo>
                    <a:lnTo>
                      <a:pt x="1761" y="388"/>
                    </a:lnTo>
                    <a:lnTo>
                      <a:pt x="1759" y="384"/>
                    </a:lnTo>
                    <a:lnTo>
                      <a:pt x="1757" y="382"/>
                    </a:lnTo>
                    <a:lnTo>
                      <a:pt x="1755" y="382"/>
                    </a:lnTo>
                    <a:lnTo>
                      <a:pt x="1747" y="377"/>
                    </a:lnTo>
                    <a:lnTo>
                      <a:pt x="1743" y="377"/>
                    </a:lnTo>
                    <a:lnTo>
                      <a:pt x="1738" y="375"/>
                    </a:lnTo>
                    <a:lnTo>
                      <a:pt x="1736" y="373"/>
                    </a:lnTo>
                    <a:lnTo>
                      <a:pt x="1734" y="373"/>
                    </a:lnTo>
                    <a:lnTo>
                      <a:pt x="1730" y="370"/>
                    </a:lnTo>
                    <a:lnTo>
                      <a:pt x="1722" y="372"/>
                    </a:lnTo>
                    <a:lnTo>
                      <a:pt x="1718" y="377"/>
                    </a:lnTo>
                    <a:lnTo>
                      <a:pt x="1718" y="380"/>
                    </a:lnTo>
                    <a:lnTo>
                      <a:pt x="1718" y="384"/>
                    </a:lnTo>
                    <a:lnTo>
                      <a:pt x="1718" y="386"/>
                    </a:lnTo>
                    <a:lnTo>
                      <a:pt x="1714" y="382"/>
                    </a:lnTo>
                    <a:lnTo>
                      <a:pt x="1714" y="382"/>
                    </a:lnTo>
                    <a:lnTo>
                      <a:pt x="1705" y="382"/>
                    </a:lnTo>
                    <a:lnTo>
                      <a:pt x="1702" y="382"/>
                    </a:lnTo>
                    <a:lnTo>
                      <a:pt x="1700" y="382"/>
                    </a:lnTo>
                    <a:lnTo>
                      <a:pt x="1697" y="377"/>
                    </a:lnTo>
                    <a:lnTo>
                      <a:pt x="1693" y="375"/>
                    </a:lnTo>
                    <a:lnTo>
                      <a:pt x="1691" y="368"/>
                    </a:lnTo>
                    <a:lnTo>
                      <a:pt x="1688" y="364"/>
                    </a:lnTo>
                    <a:lnTo>
                      <a:pt x="1686" y="355"/>
                    </a:lnTo>
                    <a:lnTo>
                      <a:pt x="1684" y="354"/>
                    </a:lnTo>
                    <a:lnTo>
                      <a:pt x="1682" y="355"/>
                    </a:lnTo>
                    <a:lnTo>
                      <a:pt x="1675" y="375"/>
                    </a:lnTo>
                    <a:lnTo>
                      <a:pt x="1673" y="395"/>
                    </a:lnTo>
                    <a:lnTo>
                      <a:pt x="1672" y="397"/>
                    </a:lnTo>
                    <a:lnTo>
                      <a:pt x="1668" y="402"/>
                    </a:lnTo>
                    <a:lnTo>
                      <a:pt x="1668" y="404"/>
                    </a:lnTo>
                    <a:lnTo>
                      <a:pt x="1666" y="409"/>
                    </a:lnTo>
                    <a:lnTo>
                      <a:pt x="1663" y="413"/>
                    </a:lnTo>
                    <a:lnTo>
                      <a:pt x="1663" y="418"/>
                    </a:lnTo>
                    <a:lnTo>
                      <a:pt x="1659" y="416"/>
                    </a:lnTo>
                    <a:lnTo>
                      <a:pt x="1655" y="407"/>
                    </a:lnTo>
                    <a:lnTo>
                      <a:pt x="1655" y="405"/>
                    </a:lnTo>
                    <a:lnTo>
                      <a:pt x="1654" y="409"/>
                    </a:lnTo>
                    <a:lnTo>
                      <a:pt x="1652" y="409"/>
                    </a:lnTo>
                    <a:lnTo>
                      <a:pt x="1650" y="407"/>
                    </a:lnTo>
                    <a:lnTo>
                      <a:pt x="1648" y="407"/>
                    </a:lnTo>
                    <a:lnTo>
                      <a:pt x="1647" y="405"/>
                    </a:lnTo>
                    <a:lnTo>
                      <a:pt x="1645" y="404"/>
                    </a:lnTo>
                    <a:lnTo>
                      <a:pt x="1645" y="402"/>
                    </a:lnTo>
                    <a:lnTo>
                      <a:pt x="1641" y="398"/>
                    </a:lnTo>
                    <a:lnTo>
                      <a:pt x="1639" y="400"/>
                    </a:lnTo>
                    <a:lnTo>
                      <a:pt x="1639" y="398"/>
                    </a:lnTo>
                    <a:lnTo>
                      <a:pt x="1638" y="398"/>
                    </a:lnTo>
                    <a:lnTo>
                      <a:pt x="1636" y="391"/>
                    </a:lnTo>
                    <a:lnTo>
                      <a:pt x="1634" y="389"/>
                    </a:lnTo>
                    <a:lnTo>
                      <a:pt x="1632" y="389"/>
                    </a:lnTo>
                    <a:lnTo>
                      <a:pt x="1630" y="380"/>
                    </a:lnTo>
                    <a:lnTo>
                      <a:pt x="1629" y="379"/>
                    </a:lnTo>
                    <a:lnTo>
                      <a:pt x="1629" y="375"/>
                    </a:lnTo>
                    <a:lnTo>
                      <a:pt x="1627" y="370"/>
                    </a:lnTo>
                    <a:lnTo>
                      <a:pt x="1627" y="372"/>
                    </a:lnTo>
                    <a:lnTo>
                      <a:pt x="1623" y="373"/>
                    </a:lnTo>
                    <a:lnTo>
                      <a:pt x="1623" y="370"/>
                    </a:lnTo>
                    <a:lnTo>
                      <a:pt x="1623" y="368"/>
                    </a:lnTo>
                    <a:lnTo>
                      <a:pt x="1623" y="366"/>
                    </a:lnTo>
                    <a:lnTo>
                      <a:pt x="1622" y="364"/>
                    </a:lnTo>
                    <a:lnTo>
                      <a:pt x="1620" y="357"/>
                    </a:lnTo>
                    <a:lnTo>
                      <a:pt x="1627" y="350"/>
                    </a:lnTo>
                    <a:lnTo>
                      <a:pt x="1629" y="350"/>
                    </a:lnTo>
                    <a:lnTo>
                      <a:pt x="1629" y="350"/>
                    </a:lnTo>
                    <a:lnTo>
                      <a:pt x="1629" y="348"/>
                    </a:lnTo>
                    <a:lnTo>
                      <a:pt x="1629" y="347"/>
                    </a:lnTo>
                    <a:lnTo>
                      <a:pt x="1632" y="347"/>
                    </a:lnTo>
                    <a:lnTo>
                      <a:pt x="1634" y="343"/>
                    </a:lnTo>
                    <a:lnTo>
                      <a:pt x="1632" y="345"/>
                    </a:lnTo>
                    <a:lnTo>
                      <a:pt x="1632" y="343"/>
                    </a:lnTo>
                    <a:lnTo>
                      <a:pt x="1632" y="341"/>
                    </a:lnTo>
                    <a:lnTo>
                      <a:pt x="1632" y="341"/>
                    </a:lnTo>
                    <a:lnTo>
                      <a:pt x="1632" y="338"/>
                    </a:lnTo>
                    <a:lnTo>
                      <a:pt x="1636" y="332"/>
                    </a:lnTo>
                    <a:lnTo>
                      <a:pt x="1629" y="327"/>
                    </a:lnTo>
                    <a:lnTo>
                      <a:pt x="1629" y="327"/>
                    </a:lnTo>
                    <a:lnTo>
                      <a:pt x="1630" y="323"/>
                    </a:lnTo>
                    <a:lnTo>
                      <a:pt x="1629" y="322"/>
                    </a:lnTo>
                    <a:lnTo>
                      <a:pt x="1629" y="318"/>
                    </a:lnTo>
                    <a:lnTo>
                      <a:pt x="1630" y="318"/>
                    </a:lnTo>
                    <a:lnTo>
                      <a:pt x="1630" y="314"/>
                    </a:lnTo>
                    <a:lnTo>
                      <a:pt x="1632" y="313"/>
                    </a:lnTo>
                    <a:lnTo>
                      <a:pt x="1630" y="313"/>
                    </a:lnTo>
                    <a:lnTo>
                      <a:pt x="1630" y="311"/>
                    </a:lnTo>
                    <a:lnTo>
                      <a:pt x="1630" y="309"/>
                    </a:lnTo>
                    <a:lnTo>
                      <a:pt x="1630" y="305"/>
                    </a:lnTo>
                    <a:lnTo>
                      <a:pt x="1632" y="305"/>
                    </a:lnTo>
                    <a:lnTo>
                      <a:pt x="1632" y="304"/>
                    </a:lnTo>
                    <a:lnTo>
                      <a:pt x="1632" y="302"/>
                    </a:lnTo>
                    <a:lnTo>
                      <a:pt x="1634" y="300"/>
                    </a:lnTo>
                    <a:lnTo>
                      <a:pt x="1632" y="300"/>
                    </a:lnTo>
                    <a:lnTo>
                      <a:pt x="1632" y="298"/>
                    </a:lnTo>
                    <a:lnTo>
                      <a:pt x="1629" y="295"/>
                    </a:lnTo>
                    <a:lnTo>
                      <a:pt x="1627" y="291"/>
                    </a:lnTo>
                    <a:lnTo>
                      <a:pt x="1623" y="289"/>
                    </a:lnTo>
                    <a:lnTo>
                      <a:pt x="1623" y="288"/>
                    </a:lnTo>
                    <a:lnTo>
                      <a:pt x="1616" y="282"/>
                    </a:lnTo>
                    <a:lnTo>
                      <a:pt x="1618" y="280"/>
                    </a:lnTo>
                    <a:lnTo>
                      <a:pt x="1616" y="279"/>
                    </a:lnTo>
                    <a:lnTo>
                      <a:pt x="1614" y="279"/>
                    </a:lnTo>
                    <a:lnTo>
                      <a:pt x="1613" y="277"/>
                    </a:lnTo>
                    <a:lnTo>
                      <a:pt x="1613" y="275"/>
                    </a:lnTo>
                    <a:lnTo>
                      <a:pt x="1611" y="273"/>
                    </a:lnTo>
                    <a:lnTo>
                      <a:pt x="1605" y="272"/>
                    </a:lnTo>
                    <a:lnTo>
                      <a:pt x="1604" y="272"/>
                    </a:lnTo>
                    <a:lnTo>
                      <a:pt x="1598" y="272"/>
                    </a:lnTo>
                    <a:lnTo>
                      <a:pt x="1593" y="270"/>
                    </a:lnTo>
                    <a:lnTo>
                      <a:pt x="1593" y="270"/>
                    </a:lnTo>
                    <a:lnTo>
                      <a:pt x="1591" y="273"/>
                    </a:lnTo>
                    <a:lnTo>
                      <a:pt x="1589" y="273"/>
                    </a:lnTo>
                    <a:lnTo>
                      <a:pt x="1588" y="277"/>
                    </a:lnTo>
                    <a:lnTo>
                      <a:pt x="1586" y="275"/>
                    </a:lnTo>
                    <a:lnTo>
                      <a:pt x="1586" y="273"/>
                    </a:lnTo>
                    <a:lnTo>
                      <a:pt x="1580" y="268"/>
                    </a:lnTo>
                    <a:lnTo>
                      <a:pt x="1579" y="270"/>
                    </a:lnTo>
                    <a:lnTo>
                      <a:pt x="1575" y="268"/>
                    </a:lnTo>
                    <a:lnTo>
                      <a:pt x="1573" y="268"/>
                    </a:lnTo>
                    <a:lnTo>
                      <a:pt x="1572" y="266"/>
                    </a:lnTo>
                    <a:lnTo>
                      <a:pt x="1570" y="266"/>
                    </a:lnTo>
                    <a:lnTo>
                      <a:pt x="1568" y="264"/>
                    </a:lnTo>
                    <a:lnTo>
                      <a:pt x="1568" y="268"/>
                    </a:lnTo>
                    <a:lnTo>
                      <a:pt x="1564" y="264"/>
                    </a:lnTo>
                    <a:lnTo>
                      <a:pt x="1564" y="261"/>
                    </a:lnTo>
                    <a:lnTo>
                      <a:pt x="1563" y="259"/>
                    </a:lnTo>
                    <a:lnTo>
                      <a:pt x="1561" y="261"/>
                    </a:lnTo>
                    <a:lnTo>
                      <a:pt x="1557" y="257"/>
                    </a:lnTo>
                    <a:lnTo>
                      <a:pt x="1555" y="257"/>
                    </a:lnTo>
                    <a:lnTo>
                      <a:pt x="1554" y="255"/>
                    </a:lnTo>
                    <a:lnTo>
                      <a:pt x="1548" y="255"/>
                    </a:lnTo>
                    <a:lnTo>
                      <a:pt x="1545" y="252"/>
                    </a:lnTo>
                    <a:lnTo>
                      <a:pt x="1543" y="252"/>
                    </a:lnTo>
                    <a:lnTo>
                      <a:pt x="1543" y="255"/>
                    </a:lnTo>
                    <a:lnTo>
                      <a:pt x="1543" y="259"/>
                    </a:lnTo>
                    <a:lnTo>
                      <a:pt x="1541" y="261"/>
                    </a:lnTo>
                    <a:lnTo>
                      <a:pt x="1538" y="259"/>
                    </a:lnTo>
                    <a:lnTo>
                      <a:pt x="1534" y="255"/>
                    </a:lnTo>
                    <a:lnTo>
                      <a:pt x="1530" y="275"/>
                    </a:lnTo>
                    <a:lnTo>
                      <a:pt x="1532" y="275"/>
                    </a:lnTo>
                    <a:lnTo>
                      <a:pt x="1532" y="277"/>
                    </a:lnTo>
                    <a:lnTo>
                      <a:pt x="1532" y="279"/>
                    </a:lnTo>
                    <a:lnTo>
                      <a:pt x="1536" y="291"/>
                    </a:lnTo>
                    <a:lnTo>
                      <a:pt x="1536" y="295"/>
                    </a:lnTo>
                    <a:lnTo>
                      <a:pt x="1532" y="297"/>
                    </a:lnTo>
                    <a:lnTo>
                      <a:pt x="1525" y="298"/>
                    </a:lnTo>
                    <a:lnTo>
                      <a:pt x="1520" y="302"/>
                    </a:lnTo>
                    <a:lnTo>
                      <a:pt x="1518" y="300"/>
                    </a:lnTo>
                    <a:lnTo>
                      <a:pt x="1518" y="302"/>
                    </a:lnTo>
                    <a:lnTo>
                      <a:pt x="1516" y="300"/>
                    </a:lnTo>
                    <a:lnTo>
                      <a:pt x="1511" y="302"/>
                    </a:lnTo>
                    <a:lnTo>
                      <a:pt x="1509" y="300"/>
                    </a:lnTo>
                    <a:lnTo>
                      <a:pt x="1498" y="302"/>
                    </a:lnTo>
                    <a:lnTo>
                      <a:pt x="1498" y="304"/>
                    </a:lnTo>
                    <a:lnTo>
                      <a:pt x="1491" y="300"/>
                    </a:lnTo>
                    <a:lnTo>
                      <a:pt x="1480" y="298"/>
                    </a:lnTo>
                    <a:lnTo>
                      <a:pt x="1480" y="300"/>
                    </a:lnTo>
                    <a:lnTo>
                      <a:pt x="1480" y="302"/>
                    </a:lnTo>
                    <a:lnTo>
                      <a:pt x="1457" y="289"/>
                    </a:lnTo>
                    <a:lnTo>
                      <a:pt x="1456" y="288"/>
                    </a:lnTo>
                    <a:lnTo>
                      <a:pt x="1456" y="284"/>
                    </a:lnTo>
                    <a:lnTo>
                      <a:pt x="1457" y="282"/>
                    </a:lnTo>
                    <a:lnTo>
                      <a:pt x="1456" y="279"/>
                    </a:lnTo>
                    <a:lnTo>
                      <a:pt x="1456" y="275"/>
                    </a:lnTo>
                    <a:lnTo>
                      <a:pt x="1459" y="275"/>
                    </a:lnTo>
                    <a:lnTo>
                      <a:pt x="1461" y="275"/>
                    </a:lnTo>
                    <a:lnTo>
                      <a:pt x="1463" y="273"/>
                    </a:lnTo>
                    <a:lnTo>
                      <a:pt x="1464" y="273"/>
                    </a:lnTo>
                    <a:lnTo>
                      <a:pt x="1463" y="272"/>
                    </a:lnTo>
                    <a:lnTo>
                      <a:pt x="1461" y="270"/>
                    </a:lnTo>
                    <a:lnTo>
                      <a:pt x="1452" y="270"/>
                    </a:lnTo>
                    <a:lnTo>
                      <a:pt x="1450" y="268"/>
                    </a:lnTo>
                    <a:lnTo>
                      <a:pt x="1445" y="270"/>
                    </a:lnTo>
                    <a:lnTo>
                      <a:pt x="1438" y="268"/>
                    </a:lnTo>
                    <a:lnTo>
                      <a:pt x="1434" y="266"/>
                    </a:lnTo>
                    <a:lnTo>
                      <a:pt x="1431" y="266"/>
                    </a:lnTo>
                    <a:lnTo>
                      <a:pt x="1427" y="264"/>
                    </a:lnTo>
                    <a:lnTo>
                      <a:pt x="1423" y="264"/>
                    </a:lnTo>
                    <a:lnTo>
                      <a:pt x="1411" y="261"/>
                    </a:lnTo>
                    <a:lnTo>
                      <a:pt x="1406" y="263"/>
                    </a:lnTo>
                    <a:lnTo>
                      <a:pt x="1406" y="264"/>
                    </a:lnTo>
                    <a:lnTo>
                      <a:pt x="1395" y="268"/>
                    </a:lnTo>
                    <a:lnTo>
                      <a:pt x="1388" y="268"/>
                    </a:lnTo>
                    <a:lnTo>
                      <a:pt x="1379" y="272"/>
                    </a:lnTo>
                    <a:lnTo>
                      <a:pt x="1382" y="279"/>
                    </a:lnTo>
                    <a:lnTo>
                      <a:pt x="1382" y="282"/>
                    </a:lnTo>
                    <a:lnTo>
                      <a:pt x="1375" y="288"/>
                    </a:lnTo>
                    <a:lnTo>
                      <a:pt x="1372" y="286"/>
                    </a:lnTo>
                    <a:lnTo>
                      <a:pt x="1372" y="284"/>
                    </a:lnTo>
                    <a:lnTo>
                      <a:pt x="1375" y="286"/>
                    </a:lnTo>
                    <a:lnTo>
                      <a:pt x="1377" y="282"/>
                    </a:lnTo>
                    <a:lnTo>
                      <a:pt x="1373" y="280"/>
                    </a:lnTo>
                    <a:lnTo>
                      <a:pt x="1373" y="279"/>
                    </a:lnTo>
                    <a:lnTo>
                      <a:pt x="1372" y="275"/>
                    </a:lnTo>
                    <a:lnTo>
                      <a:pt x="1375" y="268"/>
                    </a:lnTo>
                    <a:lnTo>
                      <a:pt x="1375" y="264"/>
                    </a:lnTo>
                    <a:lnTo>
                      <a:pt x="1373" y="261"/>
                    </a:lnTo>
                    <a:lnTo>
                      <a:pt x="1372" y="259"/>
                    </a:lnTo>
                    <a:lnTo>
                      <a:pt x="1372" y="254"/>
                    </a:lnTo>
                    <a:lnTo>
                      <a:pt x="1366" y="243"/>
                    </a:lnTo>
                    <a:lnTo>
                      <a:pt x="1366" y="250"/>
                    </a:lnTo>
                    <a:lnTo>
                      <a:pt x="1366" y="255"/>
                    </a:lnTo>
                    <a:lnTo>
                      <a:pt x="1364" y="259"/>
                    </a:lnTo>
                    <a:lnTo>
                      <a:pt x="1359" y="261"/>
                    </a:lnTo>
                    <a:lnTo>
                      <a:pt x="1350" y="261"/>
                    </a:lnTo>
                    <a:lnTo>
                      <a:pt x="1348" y="261"/>
                    </a:lnTo>
                    <a:lnTo>
                      <a:pt x="1347" y="259"/>
                    </a:lnTo>
                    <a:lnTo>
                      <a:pt x="1341" y="254"/>
                    </a:lnTo>
                    <a:lnTo>
                      <a:pt x="1339" y="247"/>
                    </a:lnTo>
                    <a:lnTo>
                      <a:pt x="1341" y="243"/>
                    </a:lnTo>
                    <a:lnTo>
                      <a:pt x="1341" y="247"/>
                    </a:lnTo>
                    <a:lnTo>
                      <a:pt x="1345" y="243"/>
                    </a:lnTo>
                    <a:lnTo>
                      <a:pt x="1345" y="241"/>
                    </a:lnTo>
                    <a:lnTo>
                      <a:pt x="1338" y="243"/>
                    </a:lnTo>
                    <a:lnTo>
                      <a:pt x="1336" y="245"/>
                    </a:lnTo>
                    <a:lnTo>
                      <a:pt x="1334" y="248"/>
                    </a:lnTo>
                    <a:lnTo>
                      <a:pt x="1334" y="248"/>
                    </a:lnTo>
                    <a:lnTo>
                      <a:pt x="1332" y="247"/>
                    </a:lnTo>
                    <a:lnTo>
                      <a:pt x="1329" y="245"/>
                    </a:lnTo>
                    <a:lnTo>
                      <a:pt x="1325" y="241"/>
                    </a:lnTo>
                    <a:lnTo>
                      <a:pt x="1318" y="245"/>
                    </a:lnTo>
                    <a:lnTo>
                      <a:pt x="1316" y="248"/>
                    </a:lnTo>
                    <a:lnTo>
                      <a:pt x="1313" y="255"/>
                    </a:lnTo>
                    <a:lnTo>
                      <a:pt x="1313" y="257"/>
                    </a:lnTo>
                    <a:lnTo>
                      <a:pt x="1316" y="266"/>
                    </a:lnTo>
                    <a:lnTo>
                      <a:pt x="1318" y="264"/>
                    </a:lnTo>
                    <a:lnTo>
                      <a:pt x="1316" y="263"/>
                    </a:lnTo>
                    <a:lnTo>
                      <a:pt x="1316" y="261"/>
                    </a:lnTo>
                    <a:lnTo>
                      <a:pt x="1318" y="263"/>
                    </a:lnTo>
                    <a:lnTo>
                      <a:pt x="1323" y="263"/>
                    </a:lnTo>
                    <a:lnTo>
                      <a:pt x="1325" y="259"/>
                    </a:lnTo>
                    <a:lnTo>
                      <a:pt x="1329" y="259"/>
                    </a:lnTo>
                    <a:lnTo>
                      <a:pt x="1331" y="255"/>
                    </a:lnTo>
                    <a:lnTo>
                      <a:pt x="1332" y="257"/>
                    </a:lnTo>
                    <a:lnTo>
                      <a:pt x="1334" y="263"/>
                    </a:lnTo>
                    <a:lnTo>
                      <a:pt x="1325" y="266"/>
                    </a:lnTo>
                    <a:lnTo>
                      <a:pt x="1323" y="270"/>
                    </a:lnTo>
                    <a:lnTo>
                      <a:pt x="1322" y="270"/>
                    </a:lnTo>
                    <a:lnTo>
                      <a:pt x="1316" y="275"/>
                    </a:lnTo>
                    <a:lnTo>
                      <a:pt x="1313" y="275"/>
                    </a:lnTo>
                    <a:lnTo>
                      <a:pt x="1307" y="270"/>
                    </a:lnTo>
                    <a:lnTo>
                      <a:pt x="1311" y="277"/>
                    </a:lnTo>
                    <a:lnTo>
                      <a:pt x="1309" y="277"/>
                    </a:lnTo>
                    <a:lnTo>
                      <a:pt x="1307" y="275"/>
                    </a:lnTo>
                    <a:lnTo>
                      <a:pt x="1307" y="277"/>
                    </a:lnTo>
                    <a:lnTo>
                      <a:pt x="1307" y="280"/>
                    </a:lnTo>
                    <a:lnTo>
                      <a:pt x="1297" y="282"/>
                    </a:lnTo>
                    <a:lnTo>
                      <a:pt x="1293" y="282"/>
                    </a:lnTo>
                    <a:lnTo>
                      <a:pt x="1293" y="286"/>
                    </a:lnTo>
                    <a:lnTo>
                      <a:pt x="1293" y="288"/>
                    </a:lnTo>
                    <a:lnTo>
                      <a:pt x="1288" y="286"/>
                    </a:lnTo>
                    <a:lnTo>
                      <a:pt x="1282" y="291"/>
                    </a:lnTo>
                    <a:lnTo>
                      <a:pt x="1281" y="291"/>
                    </a:lnTo>
                    <a:lnTo>
                      <a:pt x="1273" y="289"/>
                    </a:lnTo>
                    <a:lnTo>
                      <a:pt x="1270" y="291"/>
                    </a:lnTo>
                    <a:lnTo>
                      <a:pt x="1263" y="289"/>
                    </a:lnTo>
                    <a:lnTo>
                      <a:pt x="1259" y="293"/>
                    </a:lnTo>
                    <a:lnTo>
                      <a:pt x="1259" y="297"/>
                    </a:lnTo>
                    <a:lnTo>
                      <a:pt x="1261" y="302"/>
                    </a:lnTo>
                    <a:lnTo>
                      <a:pt x="1272" y="307"/>
                    </a:lnTo>
                    <a:lnTo>
                      <a:pt x="1270" y="307"/>
                    </a:lnTo>
                    <a:lnTo>
                      <a:pt x="1259" y="304"/>
                    </a:lnTo>
                    <a:lnTo>
                      <a:pt x="1257" y="302"/>
                    </a:lnTo>
                    <a:lnTo>
                      <a:pt x="1256" y="305"/>
                    </a:lnTo>
                    <a:lnTo>
                      <a:pt x="1254" y="307"/>
                    </a:lnTo>
                    <a:lnTo>
                      <a:pt x="1252" y="309"/>
                    </a:lnTo>
                    <a:lnTo>
                      <a:pt x="1248" y="313"/>
                    </a:lnTo>
                    <a:lnTo>
                      <a:pt x="1245" y="313"/>
                    </a:lnTo>
                    <a:lnTo>
                      <a:pt x="1234" y="323"/>
                    </a:lnTo>
                    <a:lnTo>
                      <a:pt x="1236" y="322"/>
                    </a:lnTo>
                    <a:lnTo>
                      <a:pt x="1234" y="322"/>
                    </a:lnTo>
                    <a:lnTo>
                      <a:pt x="1231" y="322"/>
                    </a:lnTo>
                    <a:lnTo>
                      <a:pt x="1229" y="323"/>
                    </a:lnTo>
                    <a:lnTo>
                      <a:pt x="1227" y="323"/>
                    </a:lnTo>
                    <a:lnTo>
                      <a:pt x="1227" y="322"/>
                    </a:lnTo>
                    <a:lnTo>
                      <a:pt x="1234" y="314"/>
                    </a:lnTo>
                    <a:lnTo>
                      <a:pt x="1236" y="314"/>
                    </a:lnTo>
                    <a:lnTo>
                      <a:pt x="1238" y="313"/>
                    </a:lnTo>
                    <a:lnTo>
                      <a:pt x="1241" y="309"/>
                    </a:lnTo>
                    <a:lnTo>
                      <a:pt x="1245" y="311"/>
                    </a:lnTo>
                    <a:lnTo>
                      <a:pt x="1250" y="304"/>
                    </a:lnTo>
                    <a:lnTo>
                      <a:pt x="1256" y="293"/>
                    </a:lnTo>
                    <a:lnTo>
                      <a:pt x="1257" y="291"/>
                    </a:lnTo>
                    <a:lnTo>
                      <a:pt x="1259" y="284"/>
                    </a:lnTo>
                    <a:lnTo>
                      <a:pt x="1263" y="284"/>
                    </a:lnTo>
                    <a:lnTo>
                      <a:pt x="1270" y="280"/>
                    </a:lnTo>
                    <a:lnTo>
                      <a:pt x="1270" y="277"/>
                    </a:lnTo>
                    <a:lnTo>
                      <a:pt x="1273" y="270"/>
                    </a:lnTo>
                    <a:lnTo>
                      <a:pt x="1275" y="266"/>
                    </a:lnTo>
                    <a:lnTo>
                      <a:pt x="1289" y="264"/>
                    </a:lnTo>
                    <a:lnTo>
                      <a:pt x="1291" y="266"/>
                    </a:lnTo>
                    <a:lnTo>
                      <a:pt x="1300" y="252"/>
                    </a:lnTo>
                    <a:lnTo>
                      <a:pt x="1300" y="247"/>
                    </a:lnTo>
                    <a:lnTo>
                      <a:pt x="1309" y="239"/>
                    </a:lnTo>
                    <a:lnTo>
                      <a:pt x="1313" y="236"/>
                    </a:lnTo>
                    <a:lnTo>
                      <a:pt x="1320" y="229"/>
                    </a:lnTo>
                    <a:lnTo>
                      <a:pt x="1322" y="223"/>
                    </a:lnTo>
                    <a:lnTo>
                      <a:pt x="1327" y="218"/>
                    </a:lnTo>
                    <a:lnTo>
                      <a:pt x="1327" y="216"/>
                    </a:lnTo>
                    <a:lnTo>
                      <a:pt x="1327" y="214"/>
                    </a:lnTo>
                    <a:lnTo>
                      <a:pt x="1331" y="213"/>
                    </a:lnTo>
                    <a:lnTo>
                      <a:pt x="1332" y="211"/>
                    </a:lnTo>
                    <a:lnTo>
                      <a:pt x="1332" y="211"/>
                    </a:lnTo>
                    <a:lnTo>
                      <a:pt x="1334" y="211"/>
                    </a:lnTo>
                    <a:lnTo>
                      <a:pt x="1334" y="211"/>
                    </a:lnTo>
                    <a:lnTo>
                      <a:pt x="1338" y="209"/>
                    </a:lnTo>
                    <a:lnTo>
                      <a:pt x="1339" y="205"/>
                    </a:lnTo>
                    <a:lnTo>
                      <a:pt x="1341" y="205"/>
                    </a:lnTo>
                    <a:lnTo>
                      <a:pt x="1345" y="202"/>
                    </a:lnTo>
                    <a:lnTo>
                      <a:pt x="1350" y="205"/>
                    </a:lnTo>
                    <a:lnTo>
                      <a:pt x="1350" y="202"/>
                    </a:lnTo>
                    <a:lnTo>
                      <a:pt x="1352" y="200"/>
                    </a:lnTo>
                    <a:lnTo>
                      <a:pt x="1350" y="197"/>
                    </a:lnTo>
                    <a:lnTo>
                      <a:pt x="1359" y="193"/>
                    </a:lnTo>
                    <a:lnTo>
                      <a:pt x="1356" y="193"/>
                    </a:lnTo>
                    <a:lnTo>
                      <a:pt x="1356" y="191"/>
                    </a:lnTo>
                    <a:lnTo>
                      <a:pt x="1363" y="188"/>
                    </a:lnTo>
                    <a:lnTo>
                      <a:pt x="1361" y="191"/>
                    </a:lnTo>
                    <a:lnTo>
                      <a:pt x="1363" y="188"/>
                    </a:lnTo>
                    <a:lnTo>
                      <a:pt x="1366" y="188"/>
                    </a:lnTo>
                    <a:lnTo>
                      <a:pt x="1368" y="184"/>
                    </a:lnTo>
                    <a:lnTo>
                      <a:pt x="1366" y="184"/>
                    </a:lnTo>
                    <a:lnTo>
                      <a:pt x="1368" y="180"/>
                    </a:lnTo>
                    <a:lnTo>
                      <a:pt x="1372" y="180"/>
                    </a:lnTo>
                    <a:lnTo>
                      <a:pt x="1373" y="177"/>
                    </a:lnTo>
                    <a:lnTo>
                      <a:pt x="1373" y="173"/>
                    </a:lnTo>
                    <a:lnTo>
                      <a:pt x="1377" y="170"/>
                    </a:lnTo>
                    <a:lnTo>
                      <a:pt x="1379" y="166"/>
                    </a:lnTo>
                    <a:lnTo>
                      <a:pt x="1381" y="164"/>
                    </a:lnTo>
                    <a:lnTo>
                      <a:pt x="1381" y="159"/>
                    </a:lnTo>
                    <a:lnTo>
                      <a:pt x="1379" y="159"/>
                    </a:lnTo>
                    <a:lnTo>
                      <a:pt x="1379" y="155"/>
                    </a:lnTo>
                    <a:lnTo>
                      <a:pt x="1381" y="155"/>
                    </a:lnTo>
                    <a:lnTo>
                      <a:pt x="1381" y="150"/>
                    </a:lnTo>
                    <a:lnTo>
                      <a:pt x="1377" y="150"/>
                    </a:lnTo>
                    <a:lnTo>
                      <a:pt x="1373" y="147"/>
                    </a:lnTo>
                    <a:lnTo>
                      <a:pt x="1372" y="143"/>
                    </a:lnTo>
                    <a:lnTo>
                      <a:pt x="1370" y="143"/>
                    </a:lnTo>
                    <a:lnTo>
                      <a:pt x="1368" y="147"/>
                    </a:lnTo>
                    <a:lnTo>
                      <a:pt x="1368" y="147"/>
                    </a:lnTo>
                    <a:lnTo>
                      <a:pt x="1366" y="145"/>
                    </a:lnTo>
                    <a:lnTo>
                      <a:pt x="1366" y="143"/>
                    </a:lnTo>
                    <a:lnTo>
                      <a:pt x="1364" y="139"/>
                    </a:lnTo>
                    <a:lnTo>
                      <a:pt x="1366" y="138"/>
                    </a:lnTo>
                    <a:lnTo>
                      <a:pt x="1363" y="134"/>
                    </a:lnTo>
                    <a:lnTo>
                      <a:pt x="1359" y="132"/>
                    </a:lnTo>
                    <a:lnTo>
                      <a:pt x="1361" y="130"/>
                    </a:lnTo>
                    <a:lnTo>
                      <a:pt x="1363" y="130"/>
                    </a:lnTo>
                    <a:lnTo>
                      <a:pt x="1368" y="136"/>
                    </a:lnTo>
                    <a:lnTo>
                      <a:pt x="1377" y="143"/>
                    </a:lnTo>
                    <a:lnTo>
                      <a:pt x="1375" y="147"/>
                    </a:lnTo>
                    <a:lnTo>
                      <a:pt x="1377" y="147"/>
                    </a:lnTo>
                    <a:lnTo>
                      <a:pt x="1382" y="132"/>
                    </a:lnTo>
                    <a:lnTo>
                      <a:pt x="1382" y="129"/>
                    </a:lnTo>
                    <a:lnTo>
                      <a:pt x="1381" y="125"/>
                    </a:lnTo>
                    <a:lnTo>
                      <a:pt x="1379" y="125"/>
                    </a:lnTo>
                    <a:lnTo>
                      <a:pt x="1377" y="125"/>
                    </a:lnTo>
                    <a:lnTo>
                      <a:pt x="1375" y="116"/>
                    </a:lnTo>
                    <a:lnTo>
                      <a:pt x="1375" y="113"/>
                    </a:lnTo>
                    <a:lnTo>
                      <a:pt x="1372" y="104"/>
                    </a:lnTo>
                    <a:lnTo>
                      <a:pt x="1368" y="105"/>
                    </a:lnTo>
                    <a:lnTo>
                      <a:pt x="1370" y="109"/>
                    </a:lnTo>
                    <a:lnTo>
                      <a:pt x="1368" y="113"/>
                    </a:lnTo>
                    <a:lnTo>
                      <a:pt x="1368" y="114"/>
                    </a:lnTo>
                    <a:lnTo>
                      <a:pt x="1366" y="114"/>
                    </a:lnTo>
                    <a:lnTo>
                      <a:pt x="1364" y="109"/>
                    </a:lnTo>
                    <a:lnTo>
                      <a:pt x="1361" y="105"/>
                    </a:lnTo>
                    <a:lnTo>
                      <a:pt x="1363" y="104"/>
                    </a:lnTo>
                    <a:lnTo>
                      <a:pt x="1364" y="98"/>
                    </a:lnTo>
                    <a:lnTo>
                      <a:pt x="1356" y="91"/>
                    </a:lnTo>
                    <a:lnTo>
                      <a:pt x="1354" y="93"/>
                    </a:lnTo>
                    <a:lnTo>
                      <a:pt x="1354" y="89"/>
                    </a:lnTo>
                    <a:lnTo>
                      <a:pt x="1350" y="82"/>
                    </a:lnTo>
                    <a:lnTo>
                      <a:pt x="1343" y="79"/>
                    </a:lnTo>
                    <a:lnTo>
                      <a:pt x="1345" y="77"/>
                    </a:lnTo>
                    <a:lnTo>
                      <a:pt x="1343" y="75"/>
                    </a:lnTo>
                    <a:lnTo>
                      <a:pt x="1341" y="73"/>
                    </a:lnTo>
                    <a:lnTo>
                      <a:pt x="1339" y="75"/>
                    </a:lnTo>
                    <a:lnTo>
                      <a:pt x="1338" y="73"/>
                    </a:lnTo>
                    <a:lnTo>
                      <a:pt x="1338" y="70"/>
                    </a:lnTo>
                    <a:lnTo>
                      <a:pt x="1334" y="72"/>
                    </a:lnTo>
                    <a:lnTo>
                      <a:pt x="1325" y="70"/>
                    </a:lnTo>
                    <a:lnTo>
                      <a:pt x="1320" y="73"/>
                    </a:lnTo>
                    <a:lnTo>
                      <a:pt x="1318" y="73"/>
                    </a:lnTo>
                    <a:lnTo>
                      <a:pt x="1316" y="73"/>
                    </a:lnTo>
                    <a:lnTo>
                      <a:pt x="1311" y="70"/>
                    </a:lnTo>
                    <a:lnTo>
                      <a:pt x="1307" y="72"/>
                    </a:lnTo>
                    <a:lnTo>
                      <a:pt x="1304" y="72"/>
                    </a:lnTo>
                    <a:lnTo>
                      <a:pt x="1297" y="73"/>
                    </a:lnTo>
                    <a:lnTo>
                      <a:pt x="1295" y="72"/>
                    </a:lnTo>
                    <a:lnTo>
                      <a:pt x="1291" y="73"/>
                    </a:lnTo>
                    <a:lnTo>
                      <a:pt x="1293" y="72"/>
                    </a:lnTo>
                    <a:lnTo>
                      <a:pt x="1293" y="70"/>
                    </a:lnTo>
                    <a:lnTo>
                      <a:pt x="1293" y="68"/>
                    </a:lnTo>
                    <a:lnTo>
                      <a:pt x="1291" y="68"/>
                    </a:lnTo>
                    <a:lnTo>
                      <a:pt x="1291" y="70"/>
                    </a:lnTo>
                    <a:lnTo>
                      <a:pt x="1288" y="72"/>
                    </a:lnTo>
                    <a:lnTo>
                      <a:pt x="1286" y="77"/>
                    </a:lnTo>
                    <a:lnTo>
                      <a:pt x="1289" y="75"/>
                    </a:lnTo>
                    <a:lnTo>
                      <a:pt x="1288" y="79"/>
                    </a:lnTo>
                    <a:lnTo>
                      <a:pt x="1284" y="79"/>
                    </a:lnTo>
                    <a:lnTo>
                      <a:pt x="1284" y="82"/>
                    </a:lnTo>
                    <a:lnTo>
                      <a:pt x="1284" y="86"/>
                    </a:lnTo>
                    <a:lnTo>
                      <a:pt x="1281" y="86"/>
                    </a:lnTo>
                    <a:lnTo>
                      <a:pt x="1279" y="86"/>
                    </a:lnTo>
                    <a:lnTo>
                      <a:pt x="1279" y="89"/>
                    </a:lnTo>
                    <a:lnTo>
                      <a:pt x="1272" y="89"/>
                    </a:lnTo>
                    <a:lnTo>
                      <a:pt x="1270" y="89"/>
                    </a:lnTo>
                    <a:lnTo>
                      <a:pt x="1264" y="89"/>
                    </a:lnTo>
                    <a:lnTo>
                      <a:pt x="1259" y="89"/>
                    </a:lnTo>
                    <a:lnTo>
                      <a:pt x="1259" y="88"/>
                    </a:lnTo>
                    <a:lnTo>
                      <a:pt x="1259" y="86"/>
                    </a:lnTo>
                    <a:lnTo>
                      <a:pt x="1263" y="84"/>
                    </a:lnTo>
                    <a:lnTo>
                      <a:pt x="1264" y="84"/>
                    </a:lnTo>
                    <a:lnTo>
                      <a:pt x="1270" y="70"/>
                    </a:lnTo>
                    <a:lnTo>
                      <a:pt x="1275" y="68"/>
                    </a:lnTo>
                    <a:lnTo>
                      <a:pt x="1277" y="63"/>
                    </a:lnTo>
                    <a:lnTo>
                      <a:pt x="1277" y="61"/>
                    </a:lnTo>
                    <a:lnTo>
                      <a:pt x="1275" y="59"/>
                    </a:lnTo>
                    <a:lnTo>
                      <a:pt x="1275" y="59"/>
                    </a:lnTo>
                    <a:lnTo>
                      <a:pt x="1279" y="59"/>
                    </a:lnTo>
                    <a:lnTo>
                      <a:pt x="1279" y="57"/>
                    </a:lnTo>
                    <a:lnTo>
                      <a:pt x="1277" y="55"/>
                    </a:lnTo>
                    <a:lnTo>
                      <a:pt x="1277" y="54"/>
                    </a:lnTo>
                    <a:lnTo>
                      <a:pt x="1277" y="54"/>
                    </a:lnTo>
                    <a:lnTo>
                      <a:pt x="1270" y="50"/>
                    </a:lnTo>
                    <a:lnTo>
                      <a:pt x="1268" y="52"/>
                    </a:lnTo>
                    <a:lnTo>
                      <a:pt x="1266" y="48"/>
                    </a:lnTo>
                    <a:lnTo>
                      <a:pt x="1263" y="48"/>
                    </a:lnTo>
                    <a:lnTo>
                      <a:pt x="1261" y="48"/>
                    </a:lnTo>
                    <a:lnTo>
                      <a:pt x="1259" y="50"/>
                    </a:lnTo>
                    <a:lnTo>
                      <a:pt x="1257" y="47"/>
                    </a:lnTo>
                    <a:lnTo>
                      <a:pt x="1252" y="50"/>
                    </a:lnTo>
                    <a:lnTo>
                      <a:pt x="1254" y="45"/>
                    </a:lnTo>
                    <a:lnTo>
                      <a:pt x="1254" y="41"/>
                    </a:lnTo>
                    <a:lnTo>
                      <a:pt x="1252" y="47"/>
                    </a:lnTo>
                    <a:lnTo>
                      <a:pt x="1245" y="47"/>
                    </a:lnTo>
                    <a:lnTo>
                      <a:pt x="1229" y="54"/>
                    </a:lnTo>
                    <a:lnTo>
                      <a:pt x="1232" y="48"/>
                    </a:lnTo>
                    <a:lnTo>
                      <a:pt x="1234" y="48"/>
                    </a:lnTo>
                    <a:lnTo>
                      <a:pt x="1241" y="36"/>
                    </a:lnTo>
                    <a:lnTo>
                      <a:pt x="1245" y="34"/>
                    </a:lnTo>
                    <a:lnTo>
                      <a:pt x="1248" y="32"/>
                    </a:lnTo>
                    <a:lnTo>
                      <a:pt x="1250" y="27"/>
                    </a:lnTo>
                    <a:lnTo>
                      <a:pt x="1250" y="25"/>
                    </a:lnTo>
                    <a:lnTo>
                      <a:pt x="1256" y="25"/>
                    </a:lnTo>
                    <a:lnTo>
                      <a:pt x="1257" y="27"/>
                    </a:lnTo>
                    <a:lnTo>
                      <a:pt x="1256" y="23"/>
                    </a:lnTo>
                    <a:lnTo>
                      <a:pt x="1252" y="13"/>
                    </a:lnTo>
                    <a:lnTo>
                      <a:pt x="1250" y="11"/>
                    </a:lnTo>
                    <a:lnTo>
                      <a:pt x="1248" y="13"/>
                    </a:lnTo>
                    <a:lnTo>
                      <a:pt x="1243" y="13"/>
                    </a:lnTo>
                    <a:lnTo>
                      <a:pt x="1238" y="9"/>
                    </a:lnTo>
                    <a:lnTo>
                      <a:pt x="1234" y="2"/>
                    </a:lnTo>
                    <a:lnTo>
                      <a:pt x="1231" y="4"/>
                    </a:lnTo>
                    <a:lnTo>
                      <a:pt x="1229" y="4"/>
                    </a:lnTo>
                    <a:lnTo>
                      <a:pt x="1229" y="4"/>
                    </a:lnTo>
                    <a:lnTo>
                      <a:pt x="1229" y="0"/>
                    </a:lnTo>
                    <a:lnTo>
                      <a:pt x="1227" y="0"/>
                    </a:lnTo>
                    <a:lnTo>
                      <a:pt x="1223" y="0"/>
                    </a:lnTo>
                    <a:lnTo>
                      <a:pt x="1220" y="4"/>
                    </a:lnTo>
                    <a:lnTo>
                      <a:pt x="1218" y="5"/>
                    </a:lnTo>
                    <a:lnTo>
                      <a:pt x="1216" y="7"/>
                    </a:lnTo>
                    <a:lnTo>
                      <a:pt x="1209" y="5"/>
                    </a:lnTo>
                    <a:lnTo>
                      <a:pt x="1207" y="9"/>
                    </a:lnTo>
                    <a:lnTo>
                      <a:pt x="1197" y="25"/>
                    </a:lnTo>
                    <a:lnTo>
                      <a:pt x="1195" y="29"/>
                    </a:lnTo>
                    <a:lnTo>
                      <a:pt x="1188" y="34"/>
                    </a:lnTo>
                    <a:lnTo>
                      <a:pt x="1188" y="36"/>
                    </a:lnTo>
                    <a:lnTo>
                      <a:pt x="1181" y="48"/>
                    </a:lnTo>
                    <a:lnTo>
                      <a:pt x="1179" y="52"/>
                    </a:lnTo>
                    <a:lnTo>
                      <a:pt x="1181" y="54"/>
                    </a:lnTo>
                    <a:lnTo>
                      <a:pt x="1179" y="55"/>
                    </a:lnTo>
                    <a:lnTo>
                      <a:pt x="1177" y="55"/>
                    </a:lnTo>
                    <a:lnTo>
                      <a:pt x="1177" y="57"/>
                    </a:lnTo>
                    <a:lnTo>
                      <a:pt x="1173" y="64"/>
                    </a:lnTo>
                    <a:lnTo>
                      <a:pt x="1175" y="64"/>
                    </a:lnTo>
                    <a:lnTo>
                      <a:pt x="1175" y="66"/>
                    </a:lnTo>
                    <a:lnTo>
                      <a:pt x="1175" y="70"/>
                    </a:lnTo>
                    <a:lnTo>
                      <a:pt x="1181" y="70"/>
                    </a:lnTo>
                    <a:lnTo>
                      <a:pt x="1181" y="75"/>
                    </a:lnTo>
                    <a:lnTo>
                      <a:pt x="1182" y="75"/>
                    </a:lnTo>
                    <a:lnTo>
                      <a:pt x="1182" y="77"/>
                    </a:lnTo>
                    <a:lnTo>
                      <a:pt x="1179" y="77"/>
                    </a:lnTo>
                    <a:lnTo>
                      <a:pt x="1179" y="75"/>
                    </a:lnTo>
                    <a:lnTo>
                      <a:pt x="1179" y="82"/>
                    </a:lnTo>
                    <a:lnTo>
                      <a:pt x="1179" y="82"/>
                    </a:lnTo>
                    <a:lnTo>
                      <a:pt x="1179" y="82"/>
                    </a:lnTo>
                    <a:lnTo>
                      <a:pt x="1166" y="89"/>
                    </a:lnTo>
                    <a:lnTo>
                      <a:pt x="1161" y="88"/>
                    </a:lnTo>
                    <a:lnTo>
                      <a:pt x="1156" y="91"/>
                    </a:lnTo>
                    <a:lnTo>
                      <a:pt x="1141" y="88"/>
                    </a:lnTo>
                    <a:lnTo>
                      <a:pt x="1143" y="89"/>
                    </a:lnTo>
                    <a:lnTo>
                      <a:pt x="1143" y="91"/>
                    </a:lnTo>
                    <a:lnTo>
                      <a:pt x="1145" y="93"/>
                    </a:lnTo>
                    <a:lnTo>
                      <a:pt x="1145" y="97"/>
                    </a:lnTo>
                    <a:lnTo>
                      <a:pt x="1148" y="97"/>
                    </a:lnTo>
                    <a:lnTo>
                      <a:pt x="1150" y="100"/>
                    </a:lnTo>
                    <a:lnTo>
                      <a:pt x="1150" y="102"/>
                    </a:lnTo>
                    <a:lnTo>
                      <a:pt x="1156" y="102"/>
                    </a:lnTo>
                    <a:lnTo>
                      <a:pt x="1157" y="104"/>
                    </a:lnTo>
                    <a:lnTo>
                      <a:pt x="1157" y="105"/>
                    </a:lnTo>
                    <a:lnTo>
                      <a:pt x="1157" y="109"/>
                    </a:lnTo>
                    <a:lnTo>
                      <a:pt x="1157" y="114"/>
                    </a:lnTo>
                    <a:lnTo>
                      <a:pt x="1156" y="118"/>
                    </a:lnTo>
                    <a:lnTo>
                      <a:pt x="1152" y="116"/>
                    </a:lnTo>
                    <a:lnTo>
                      <a:pt x="1152" y="113"/>
                    </a:lnTo>
                    <a:lnTo>
                      <a:pt x="1150" y="111"/>
                    </a:lnTo>
                    <a:lnTo>
                      <a:pt x="1145" y="111"/>
                    </a:lnTo>
                    <a:lnTo>
                      <a:pt x="1145" y="109"/>
                    </a:lnTo>
                    <a:lnTo>
                      <a:pt x="1147" y="105"/>
                    </a:lnTo>
                    <a:lnTo>
                      <a:pt x="1145" y="105"/>
                    </a:lnTo>
                    <a:lnTo>
                      <a:pt x="1139" y="105"/>
                    </a:lnTo>
                    <a:lnTo>
                      <a:pt x="1141" y="102"/>
                    </a:lnTo>
                    <a:lnTo>
                      <a:pt x="1139" y="102"/>
                    </a:lnTo>
                    <a:lnTo>
                      <a:pt x="1129" y="111"/>
                    </a:lnTo>
                    <a:lnTo>
                      <a:pt x="1129" y="113"/>
                    </a:lnTo>
                    <a:lnTo>
                      <a:pt x="1129" y="114"/>
                    </a:lnTo>
                    <a:lnTo>
                      <a:pt x="1127" y="114"/>
                    </a:lnTo>
                    <a:lnTo>
                      <a:pt x="1127" y="113"/>
                    </a:lnTo>
                    <a:lnTo>
                      <a:pt x="1123" y="114"/>
                    </a:lnTo>
                    <a:lnTo>
                      <a:pt x="1122" y="118"/>
                    </a:lnTo>
                    <a:lnTo>
                      <a:pt x="1123" y="118"/>
                    </a:lnTo>
                    <a:lnTo>
                      <a:pt x="1125" y="118"/>
                    </a:lnTo>
                    <a:lnTo>
                      <a:pt x="1125" y="122"/>
                    </a:lnTo>
                    <a:lnTo>
                      <a:pt x="1123" y="122"/>
                    </a:lnTo>
                    <a:lnTo>
                      <a:pt x="1120" y="120"/>
                    </a:lnTo>
                    <a:lnTo>
                      <a:pt x="1114" y="125"/>
                    </a:lnTo>
                    <a:lnTo>
                      <a:pt x="1114" y="120"/>
                    </a:lnTo>
                    <a:lnTo>
                      <a:pt x="1114" y="120"/>
                    </a:lnTo>
                    <a:lnTo>
                      <a:pt x="1113" y="120"/>
                    </a:lnTo>
                    <a:lnTo>
                      <a:pt x="1111" y="125"/>
                    </a:lnTo>
                    <a:lnTo>
                      <a:pt x="1107" y="125"/>
                    </a:lnTo>
                    <a:lnTo>
                      <a:pt x="1104" y="129"/>
                    </a:lnTo>
                    <a:lnTo>
                      <a:pt x="1104" y="127"/>
                    </a:lnTo>
                    <a:lnTo>
                      <a:pt x="1106" y="123"/>
                    </a:lnTo>
                    <a:lnTo>
                      <a:pt x="1106" y="122"/>
                    </a:lnTo>
                    <a:lnTo>
                      <a:pt x="1104" y="122"/>
                    </a:lnTo>
                    <a:lnTo>
                      <a:pt x="1104" y="120"/>
                    </a:lnTo>
                    <a:lnTo>
                      <a:pt x="1102" y="122"/>
                    </a:lnTo>
                    <a:lnTo>
                      <a:pt x="1097" y="123"/>
                    </a:lnTo>
                    <a:lnTo>
                      <a:pt x="1095" y="127"/>
                    </a:lnTo>
                    <a:lnTo>
                      <a:pt x="1091" y="129"/>
                    </a:lnTo>
                    <a:lnTo>
                      <a:pt x="1091" y="127"/>
                    </a:lnTo>
                    <a:lnTo>
                      <a:pt x="1097" y="120"/>
                    </a:lnTo>
                    <a:lnTo>
                      <a:pt x="1098" y="114"/>
                    </a:lnTo>
                    <a:lnTo>
                      <a:pt x="1093" y="111"/>
                    </a:lnTo>
                    <a:lnTo>
                      <a:pt x="1084" y="111"/>
                    </a:lnTo>
                    <a:lnTo>
                      <a:pt x="1084" y="113"/>
                    </a:lnTo>
                    <a:lnTo>
                      <a:pt x="1082" y="114"/>
                    </a:lnTo>
                    <a:lnTo>
                      <a:pt x="1073" y="111"/>
                    </a:lnTo>
                    <a:lnTo>
                      <a:pt x="1073" y="113"/>
                    </a:lnTo>
                    <a:lnTo>
                      <a:pt x="1070" y="116"/>
                    </a:lnTo>
                    <a:lnTo>
                      <a:pt x="1068" y="113"/>
                    </a:lnTo>
                    <a:lnTo>
                      <a:pt x="1059" y="113"/>
                    </a:lnTo>
                    <a:lnTo>
                      <a:pt x="1059" y="114"/>
                    </a:lnTo>
                    <a:lnTo>
                      <a:pt x="1061" y="116"/>
                    </a:lnTo>
                    <a:lnTo>
                      <a:pt x="1061" y="116"/>
                    </a:lnTo>
                    <a:lnTo>
                      <a:pt x="1054" y="118"/>
                    </a:lnTo>
                    <a:lnTo>
                      <a:pt x="1054" y="118"/>
                    </a:lnTo>
                    <a:lnTo>
                      <a:pt x="1054" y="116"/>
                    </a:lnTo>
                    <a:lnTo>
                      <a:pt x="1052" y="116"/>
                    </a:lnTo>
                    <a:lnTo>
                      <a:pt x="1048" y="120"/>
                    </a:lnTo>
                    <a:lnTo>
                      <a:pt x="1047" y="116"/>
                    </a:lnTo>
                    <a:lnTo>
                      <a:pt x="1045" y="118"/>
                    </a:lnTo>
                    <a:lnTo>
                      <a:pt x="1045" y="123"/>
                    </a:lnTo>
                    <a:lnTo>
                      <a:pt x="1047" y="123"/>
                    </a:lnTo>
                    <a:lnTo>
                      <a:pt x="1052" y="122"/>
                    </a:lnTo>
                    <a:lnTo>
                      <a:pt x="1052" y="125"/>
                    </a:lnTo>
                    <a:lnTo>
                      <a:pt x="1054" y="127"/>
                    </a:lnTo>
                    <a:lnTo>
                      <a:pt x="1054" y="125"/>
                    </a:lnTo>
                    <a:lnTo>
                      <a:pt x="1054" y="123"/>
                    </a:lnTo>
                    <a:lnTo>
                      <a:pt x="1056" y="123"/>
                    </a:lnTo>
                    <a:lnTo>
                      <a:pt x="1056" y="125"/>
                    </a:lnTo>
                    <a:lnTo>
                      <a:pt x="1057" y="127"/>
                    </a:lnTo>
                    <a:lnTo>
                      <a:pt x="1056" y="129"/>
                    </a:lnTo>
                    <a:lnTo>
                      <a:pt x="1027" y="138"/>
                    </a:lnTo>
                    <a:lnTo>
                      <a:pt x="1027" y="138"/>
                    </a:lnTo>
                    <a:lnTo>
                      <a:pt x="1025" y="139"/>
                    </a:lnTo>
                    <a:lnTo>
                      <a:pt x="1025" y="143"/>
                    </a:lnTo>
                    <a:lnTo>
                      <a:pt x="1025" y="143"/>
                    </a:lnTo>
                    <a:lnTo>
                      <a:pt x="1022" y="141"/>
                    </a:lnTo>
                    <a:lnTo>
                      <a:pt x="1018" y="145"/>
                    </a:lnTo>
                    <a:lnTo>
                      <a:pt x="1014" y="143"/>
                    </a:lnTo>
                    <a:lnTo>
                      <a:pt x="1009" y="147"/>
                    </a:lnTo>
                    <a:lnTo>
                      <a:pt x="1002" y="147"/>
                    </a:lnTo>
                    <a:lnTo>
                      <a:pt x="998" y="150"/>
                    </a:lnTo>
                    <a:lnTo>
                      <a:pt x="1002" y="152"/>
                    </a:lnTo>
                    <a:lnTo>
                      <a:pt x="997" y="154"/>
                    </a:lnTo>
                    <a:lnTo>
                      <a:pt x="993" y="157"/>
                    </a:lnTo>
                    <a:lnTo>
                      <a:pt x="988" y="154"/>
                    </a:lnTo>
                    <a:lnTo>
                      <a:pt x="986" y="155"/>
                    </a:lnTo>
                    <a:lnTo>
                      <a:pt x="982" y="157"/>
                    </a:lnTo>
                    <a:lnTo>
                      <a:pt x="982" y="157"/>
                    </a:lnTo>
                    <a:lnTo>
                      <a:pt x="984" y="157"/>
                    </a:lnTo>
                    <a:lnTo>
                      <a:pt x="984" y="159"/>
                    </a:lnTo>
                    <a:lnTo>
                      <a:pt x="979" y="161"/>
                    </a:lnTo>
                    <a:lnTo>
                      <a:pt x="979" y="164"/>
                    </a:lnTo>
                    <a:lnTo>
                      <a:pt x="977" y="164"/>
                    </a:lnTo>
                    <a:lnTo>
                      <a:pt x="973" y="170"/>
                    </a:lnTo>
                    <a:lnTo>
                      <a:pt x="970" y="172"/>
                    </a:lnTo>
                    <a:lnTo>
                      <a:pt x="970" y="173"/>
                    </a:lnTo>
                    <a:lnTo>
                      <a:pt x="970" y="175"/>
                    </a:lnTo>
                    <a:lnTo>
                      <a:pt x="968" y="177"/>
                    </a:lnTo>
                    <a:lnTo>
                      <a:pt x="964" y="179"/>
                    </a:lnTo>
                    <a:lnTo>
                      <a:pt x="963" y="177"/>
                    </a:lnTo>
                    <a:lnTo>
                      <a:pt x="954" y="175"/>
                    </a:lnTo>
                    <a:lnTo>
                      <a:pt x="950" y="179"/>
                    </a:lnTo>
                    <a:lnTo>
                      <a:pt x="957" y="182"/>
                    </a:lnTo>
                    <a:lnTo>
                      <a:pt x="963" y="182"/>
                    </a:lnTo>
                    <a:lnTo>
                      <a:pt x="963" y="184"/>
                    </a:lnTo>
                    <a:lnTo>
                      <a:pt x="959" y="188"/>
                    </a:lnTo>
                    <a:lnTo>
                      <a:pt x="957" y="186"/>
                    </a:lnTo>
                    <a:lnTo>
                      <a:pt x="957" y="184"/>
                    </a:lnTo>
                    <a:lnTo>
                      <a:pt x="956" y="186"/>
                    </a:lnTo>
                    <a:lnTo>
                      <a:pt x="956" y="188"/>
                    </a:lnTo>
                    <a:lnTo>
                      <a:pt x="950" y="198"/>
                    </a:lnTo>
                    <a:lnTo>
                      <a:pt x="948" y="198"/>
                    </a:lnTo>
                    <a:lnTo>
                      <a:pt x="948" y="202"/>
                    </a:lnTo>
                    <a:lnTo>
                      <a:pt x="950" y="204"/>
                    </a:lnTo>
                    <a:lnTo>
                      <a:pt x="947" y="205"/>
                    </a:lnTo>
                    <a:lnTo>
                      <a:pt x="945" y="202"/>
                    </a:lnTo>
                    <a:lnTo>
                      <a:pt x="941" y="198"/>
                    </a:lnTo>
                    <a:lnTo>
                      <a:pt x="939" y="197"/>
                    </a:lnTo>
                    <a:lnTo>
                      <a:pt x="936" y="193"/>
                    </a:lnTo>
                    <a:lnTo>
                      <a:pt x="934" y="195"/>
                    </a:lnTo>
                    <a:lnTo>
                      <a:pt x="936" y="198"/>
                    </a:lnTo>
                    <a:lnTo>
                      <a:pt x="932" y="200"/>
                    </a:lnTo>
                    <a:lnTo>
                      <a:pt x="932" y="204"/>
                    </a:lnTo>
                    <a:lnTo>
                      <a:pt x="932" y="204"/>
                    </a:lnTo>
                    <a:lnTo>
                      <a:pt x="932" y="205"/>
                    </a:lnTo>
                    <a:lnTo>
                      <a:pt x="941" y="207"/>
                    </a:lnTo>
                    <a:lnTo>
                      <a:pt x="943" y="209"/>
                    </a:lnTo>
                    <a:lnTo>
                      <a:pt x="947" y="211"/>
                    </a:lnTo>
                    <a:lnTo>
                      <a:pt x="945" y="211"/>
                    </a:lnTo>
                    <a:lnTo>
                      <a:pt x="945" y="214"/>
                    </a:lnTo>
                    <a:lnTo>
                      <a:pt x="947" y="214"/>
                    </a:lnTo>
                    <a:lnTo>
                      <a:pt x="945" y="216"/>
                    </a:lnTo>
                    <a:lnTo>
                      <a:pt x="941" y="216"/>
                    </a:lnTo>
                    <a:lnTo>
                      <a:pt x="941" y="216"/>
                    </a:lnTo>
                    <a:lnTo>
                      <a:pt x="938" y="218"/>
                    </a:lnTo>
                    <a:lnTo>
                      <a:pt x="938" y="220"/>
                    </a:lnTo>
                    <a:lnTo>
                      <a:pt x="936" y="220"/>
                    </a:lnTo>
                    <a:lnTo>
                      <a:pt x="934" y="222"/>
                    </a:lnTo>
                    <a:lnTo>
                      <a:pt x="934" y="225"/>
                    </a:lnTo>
                    <a:lnTo>
                      <a:pt x="936" y="227"/>
                    </a:lnTo>
                    <a:lnTo>
                      <a:pt x="947" y="229"/>
                    </a:lnTo>
                    <a:lnTo>
                      <a:pt x="950" y="239"/>
                    </a:lnTo>
                    <a:lnTo>
                      <a:pt x="952" y="241"/>
                    </a:lnTo>
                    <a:lnTo>
                      <a:pt x="950" y="243"/>
                    </a:lnTo>
                    <a:lnTo>
                      <a:pt x="947" y="241"/>
                    </a:lnTo>
                    <a:lnTo>
                      <a:pt x="947" y="241"/>
                    </a:lnTo>
                    <a:lnTo>
                      <a:pt x="947" y="245"/>
                    </a:lnTo>
                    <a:lnTo>
                      <a:pt x="945" y="245"/>
                    </a:lnTo>
                    <a:lnTo>
                      <a:pt x="947" y="247"/>
                    </a:lnTo>
                    <a:lnTo>
                      <a:pt x="948" y="247"/>
                    </a:lnTo>
                    <a:lnTo>
                      <a:pt x="948" y="248"/>
                    </a:lnTo>
                    <a:lnTo>
                      <a:pt x="945" y="250"/>
                    </a:lnTo>
                    <a:lnTo>
                      <a:pt x="938" y="252"/>
                    </a:lnTo>
                    <a:lnTo>
                      <a:pt x="934" y="254"/>
                    </a:lnTo>
                    <a:lnTo>
                      <a:pt x="931" y="254"/>
                    </a:lnTo>
                    <a:lnTo>
                      <a:pt x="929" y="254"/>
                    </a:lnTo>
                    <a:lnTo>
                      <a:pt x="929" y="257"/>
                    </a:lnTo>
                    <a:lnTo>
                      <a:pt x="923" y="261"/>
                    </a:lnTo>
                    <a:lnTo>
                      <a:pt x="918" y="259"/>
                    </a:lnTo>
                    <a:lnTo>
                      <a:pt x="918" y="257"/>
                    </a:lnTo>
                    <a:lnTo>
                      <a:pt x="918" y="257"/>
                    </a:lnTo>
                    <a:lnTo>
                      <a:pt x="886" y="264"/>
                    </a:lnTo>
                    <a:lnTo>
                      <a:pt x="882" y="263"/>
                    </a:lnTo>
                    <a:lnTo>
                      <a:pt x="877" y="263"/>
                    </a:lnTo>
                    <a:lnTo>
                      <a:pt x="872" y="263"/>
                    </a:lnTo>
                    <a:lnTo>
                      <a:pt x="863" y="266"/>
                    </a:lnTo>
                    <a:lnTo>
                      <a:pt x="863" y="266"/>
                    </a:lnTo>
                    <a:lnTo>
                      <a:pt x="861" y="268"/>
                    </a:lnTo>
                    <a:lnTo>
                      <a:pt x="857" y="266"/>
                    </a:lnTo>
                    <a:lnTo>
                      <a:pt x="856" y="268"/>
                    </a:lnTo>
                    <a:lnTo>
                      <a:pt x="854" y="268"/>
                    </a:lnTo>
                    <a:lnTo>
                      <a:pt x="850" y="270"/>
                    </a:lnTo>
                    <a:lnTo>
                      <a:pt x="850" y="273"/>
                    </a:lnTo>
                    <a:lnTo>
                      <a:pt x="852" y="275"/>
                    </a:lnTo>
                    <a:lnTo>
                      <a:pt x="852" y="275"/>
                    </a:lnTo>
                    <a:lnTo>
                      <a:pt x="852" y="273"/>
                    </a:lnTo>
                    <a:lnTo>
                      <a:pt x="854" y="273"/>
                    </a:lnTo>
                    <a:lnTo>
                      <a:pt x="854" y="275"/>
                    </a:lnTo>
                    <a:lnTo>
                      <a:pt x="850" y="279"/>
                    </a:lnTo>
                    <a:lnTo>
                      <a:pt x="850" y="280"/>
                    </a:lnTo>
                    <a:lnTo>
                      <a:pt x="848" y="279"/>
                    </a:lnTo>
                    <a:lnTo>
                      <a:pt x="847" y="282"/>
                    </a:lnTo>
                    <a:lnTo>
                      <a:pt x="848" y="284"/>
                    </a:lnTo>
                    <a:lnTo>
                      <a:pt x="850" y="284"/>
                    </a:lnTo>
                    <a:lnTo>
                      <a:pt x="850" y="288"/>
                    </a:lnTo>
                    <a:lnTo>
                      <a:pt x="847" y="289"/>
                    </a:lnTo>
                    <a:lnTo>
                      <a:pt x="852" y="295"/>
                    </a:lnTo>
                    <a:lnTo>
                      <a:pt x="852" y="295"/>
                    </a:lnTo>
                    <a:lnTo>
                      <a:pt x="854" y="297"/>
                    </a:lnTo>
                    <a:lnTo>
                      <a:pt x="854" y="297"/>
                    </a:lnTo>
                    <a:lnTo>
                      <a:pt x="856" y="304"/>
                    </a:lnTo>
                    <a:lnTo>
                      <a:pt x="857" y="305"/>
                    </a:lnTo>
                    <a:lnTo>
                      <a:pt x="856" y="305"/>
                    </a:lnTo>
                    <a:lnTo>
                      <a:pt x="856" y="309"/>
                    </a:lnTo>
                    <a:lnTo>
                      <a:pt x="856" y="311"/>
                    </a:lnTo>
                    <a:lnTo>
                      <a:pt x="854" y="314"/>
                    </a:lnTo>
                    <a:lnTo>
                      <a:pt x="854" y="320"/>
                    </a:lnTo>
                    <a:lnTo>
                      <a:pt x="856" y="322"/>
                    </a:lnTo>
                    <a:lnTo>
                      <a:pt x="856" y="327"/>
                    </a:lnTo>
                    <a:lnTo>
                      <a:pt x="857" y="330"/>
                    </a:lnTo>
                    <a:lnTo>
                      <a:pt x="861" y="334"/>
                    </a:lnTo>
                    <a:lnTo>
                      <a:pt x="872" y="338"/>
                    </a:lnTo>
                    <a:lnTo>
                      <a:pt x="877" y="339"/>
                    </a:lnTo>
                    <a:lnTo>
                      <a:pt x="879" y="339"/>
                    </a:lnTo>
                    <a:lnTo>
                      <a:pt x="881" y="345"/>
                    </a:lnTo>
                    <a:lnTo>
                      <a:pt x="879" y="348"/>
                    </a:lnTo>
                    <a:lnTo>
                      <a:pt x="877" y="350"/>
                    </a:lnTo>
                    <a:lnTo>
                      <a:pt x="881" y="350"/>
                    </a:lnTo>
                    <a:lnTo>
                      <a:pt x="882" y="352"/>
                    </a:lnTo>
                    <a:lnTo>
                      <a:pt x="884" y="357"/>
                    </a:lnTo>
                    <a:lnTo>
                      <a:pt x="888" y="359"/>
                    </a:lnTo>
                    <a:lnTo>
                      <a:pt x="893" y="361"/>
                    </a:lnTo>
                    <a:lnTo>
                      <a:pt x="897" y="363"/>
                    </a:lnTo>
                    <a:lnTo>
                      <a:pt x="897" y="361"/>
                    </a:lnTo>
                    <a:lnTo>
                      <a:pt x="900" y="372"/>
                    </a:lnTo>
                    <a:lnTo>
                      <a:pt x="898" y="379"/>
                    </a:lnTo>
                    <a:lnTo>
                      <a:pt x="897" y="382"/>
                    </a:lnTo>
                    <a:lnTo>
                      <a:pt x="895" y="388"/>
                    </a:lnTo>
                    <a:lnTo>
                      <a:pt x="893" y="391"/>
                    </a:lnTo>
                    <a:lnTo>
                      <a:pt x="895" y="397"/>
                    </a:lnTo>
                    <a:lnTo>
                      <a:pt x="893" y="400"/>
                    </a:lnTo>
                    <a:lnTo>
                      <a:pt x="898" y="405"/>
                    </a:lnTo>
                    <a:lnTo>
                      <a:pt x="902" y="429"/>
                    </a:lnTo>
                    <a:lnTo>
                      <a:pt x="900" y="434"/>
                    </a:lnTo>
                    <a:lnTo>
                      <a:pt x="897" y="438"/>
                    </a:lnTo>
                    <a:lnTo>
                      <a:pt x="895" y="439"/>
                    </a:lnTo>
                    <a:lnTo>
                      <a:pt x="891" y="438"/>
                    </a:lnTo>
                    <a:lnTo>
                      <a:pt x="891" y="439"/>
                    </a:lnTo>
                    <a:lnTo>
                      <a:pt x="893" y="447"/>
                    </a:lnTo>
                    <a:lnTo>
                      <a:pt x="893" y="448"/>
                    </a:lnTo>
                    <a:lnTo>
                      <a:pt x="886" y="445"/>
                    </a:lnTo>
                    <a:lnTo>
                      <a:pt x="881" y="445"/>
                    </a:lnTo>
                    <a:lnTo>
                      <a:pt x="877" y="441"/>
                    </a:lnTo>
                    <a:lnTo>
                      <a:pt x="877" y="425"/>
                    </a:lnTo>
                    <a:lnTo>
                      <a:pt x="879" y="416"/>
                    </a:lnTo>
                    <a:lnTo>
                      <a:pt x="879" y="414"/>
                    </a:lnTo>
                    <a:lnTo>
                      <a:pt x="877" y="393"/>
                    </a:lnTo>
                    <a:lnTo>
                      <a:pt x="881" y="389"/>
                    </a:lnTo>
                    <a:lnTo>
                      <a:pt x="890" y="384"/>
                    </a:lnTo>
                    <a:lnTo>
                      <a:pt x="891" y="375"/>
                    </a:lnTo>
                    <a:lnTo>
                      <a:pt x="893" y="375"/>
                    </a:lnTo>
                    <a:lnTo>
                      <a:pt x="893" y="370"/>
                    </a:lnTo>
                    <a:lnTo>
                      <a:pt x="888" y="364"/>
                    </a:lnTo>
                    <a:lnTo>
                      <a:pt x="870" y="370"/>
                    </a:lnTo>
                    <a:lnTo>
                      <a:pt x="866" y="366"/>
                    </a:lnTo>
                    <a:lnTo>
                      <a:pt x="863" y="363"/>
                    </a:lnTo>
                    <a:lnTo>
                      <a:pt x="861" y="364"/>
                    </a:lnTo>
                    <a:lnTo>
                      <a:pt x="854" y="354"/>
                    </a:lnTo>
                    <a:lnTo>
                      <a:pt x="854" y="350"/>
                    </a:lnTo>
                    <a:lnTo>
                      <a:pt x="841" y="341"/>
                    </a:lnTo>
                    <a:lnTo>
                      <a:pt x="838" y="339"/>
                    </a:lnTo>
                    <a:lnTo>
                      <a:pt x="831" y="334"/>
                    </a:lnTo>
                    <a:lnTo>
                      <a:pt x="811" y="336"/>
                    </a:lnTo>
                    <a:lnTo>
                      <a:pt x="806" y="341"/>
                    </a:lnTo>
                    <a:lnTo>
                      <a:pt x="800" y="345"/>
                    </a:lnTo>
                    <a:lnTo>
                      <a:pt x="798" y="350"/>
                    </a:lnTo>
                    <a:lnTo>
                      <a:pt x="807" y="350"/>
                    </a:lnTo>
                    <a:lnTo>
                      <a:pt x="811" y="354"/>
                    </a:lnTo>
                    <a:lnTo>
                      <a:pt x="809" y="357"/>
                    </a:lnTo>
                    <a:lnTo>
                      <a:pt x="806" y="361"/>
                    </a:lnTo>
                    <a:lnTo>
                      <a:pt x="800" y="363"/>
                    </a:lnTo>
                    <a:lnTo>
                      <a:pt x="797" y="366"/>
                    </a:lnTo>
                    <a:lnTo>
                      <a:pt x="791" y="368"/>
                    </a:lnTo>
                    <a:lnTo>
                      <a:pt x="791" y="364"/>
                    </a:lnTo>
                    <a:lnTo>
                      <a:pt x="782" y="354"/>
                    </a:lnTo>
                    <a:lnTo>
                      <a:pt x="781" y="355"/>
                    </a:lnTo>
                    <a:lnTo>
                      <a:pt x="777" y="359"/>
                    </a:lnTo>
                    <a:lnTo>
                      <a:pt x="779" y="361"/>
                    </a:lnTo>
                    <a:lnTo>
                      <a:pt x="782" y="375"/>
                    </a:lnTo>
                    <a:lnTo>
                      <a:pt x="784" y="375"/>
                    </a:lnTo>
                    <a:lnTo>
                      <a:pt x="791" y="380"/>
                    </a:lnTo>
                    <a:lnTo>
                      <a:pt x="795" y="382"/>
                    </a:lnTo>
                    <a:lnTo>
                      <a:pt x="798" y="386"/>
                    </a:lnTo>
                    <a:lnTo>
                      <a:pt x="800" y="388"/>
                    </a:lnTo>
                    <a:lnTo>
                      <a:pt x="802" y="389"/>
                    </a:lnTo>
                    <a:lnTo>
                      <a:pt x="806" y="388"/>
                    </a:lnTo>
                    <a:lnTo>
                      <a:pt x="807" y="384"/>
                    </a:lnTo>
                    <a:lnTo>
                      <a:pt x="807" y="389"/>
                    </a:lnTo>
                    <a:lnTo>
                      <a:pt x="807" y="391"/>
                    </a:lnTo>
                    <a:lnTo>
                      <a:pt x="811" y="389"/>
                    </a:lnTo>
                    <a:lnTo>
                      <a:pt x="813" y="398"/>
                    </a:lnTo>
                    <a:lnTo>
                      <a:pt x="816" y="402"/>
                    </a:lnTo>
                    <a:lnTo>
                      <a:pt x="816" y="405"/>
                    </a:lnTo>
                    <a:lnTo>
                      <a:pt x="811" y="405"/>
                    </a:lnTo>
                    <a:lnTo>
                      <a:pt x="809" y="404"/>
                    </a:lnTo>
                    <a:lnTo>
                      <a:pt x="806" y="402"/>
                    </a:lnTo>
                    <a:lnTo>
                      <a:pt x="806" y="398"/>
                    </a:lnTo>
                    <a:lnTo>
                      <a:pt x="802" y="395"/>
                    </a:lnTo>
                    <a:lnTo>
                      <a:pt x="770" y="388"/>
                    </a:lnTo>
                    <a:lnTo>
                      <a:pt x="765" y="382"/>
                    </a:lnTo>
                    <a:lnTo>
                      <a:pt x="765" y="380"/>
                    </a:lnTo>
                    <a:lnTo>
                      <a:pt x="768" y="380"/>
                    </a:lnTo>
                    <a:lnTo>
                      <a:pt x="768" y="373"/>
                    </a:lnTo>
                    <a:lnTo>
                      <a:pt x="765" y="366"/>
                    </a:lnTo>
                    <a:lnTo>
                      <a:pt x="765" y="363"/>
                    </a:lnTo>
                    <a:lnTo>
                      <a:pt x="766" y="355"/>
                    </a:lnTo>
                    <a:lnTo>
                      <a:pt x="765" y="352"/>
                    </a:lnTo>
                    <a:lnTo>
                      <a:pt x="766" y="350"/>
                    </a:lnTo>
                    <a:lnTo>
                      <a:pt x="772" y="339"/>
                    </a:lnTo>
                    <a:lnTo>
                      <a:pt x="768" y="327"/>
                    </a:lnTo>
                    <a:lnTo>
                      <a:pt x="770" y="325"/>
                    </a:lnTo>
                    <a:lnTo>
                      <a:pt x="768" y="320"/>
                    </a:lnTo>
                    <a:lnTo>
                      <a:pt x="766" y="318"/>
                    </a:lnTo>
                    <a:lnTo>
                      <a:pt x="768" y="314"/>
                    </a:lnTo>
                    <a:lnTo>
                      <a:pt x="763" y="311"/>
                    </a:lnTo>
                    <a:lnTo>
                      <a:pt x="761" y="307"/>
                    </a:lnTo>
                    <a:lnTo>
                      <a:pt x="757" y="309"/>
                    </a:lnTo>
                    <a:lnTo>
                      <a:pt x="761" y="338"/>
                    </a:lnTo>
                    <a:lnTo>
                      <a:pt x="759" y="343"/>
                    </a:lnTo>
                    <a:lnTo>
                      <a:pt x="734" y="361"/>
                    </a:lnTo>
                    <a:lnTo>
                      <a:pt x="734" y="368"/>
                    </a:lnTo>
                    <a:lnTo>
                      <a:pt x="734" y="372"/>
                    </a:lnTo>
                    <a:lnTo>
                      <a:pt x="729" y="375"/>
                    </a:lnTo>
                    <a:lnTo>
                      <a:pt x="729" y="379"/>
                    </a:lnTo>
                    <a:lnTo>
                      <a:pt x="741" y="397"/>
                    </a:lnTo>
                    <a:lnTo>
                      <a:pt x="743" y="405"/>
                    </a:lnTo>
                    <a:lnTo>
                      <a:pt x="750" y="420"/>
                    </a:lnTo>
                    <a:lnTo>
                      <a:pt x="747" y="436"/>
                    </a:lnTo>
                    <a:lnTo>
                      <a:pt x="741" y="441"/>
                    </a:lnTo>
                    <a:lnTo>
                      <a:pt x="741" y="450"/>
                    </a:lnTo>
                    <a:lnTo>
                      <a:pt x="740" y="454"/>
                    </a:lnTo>
                    <a:lnTo>
                      <a:pt x="738" y="463"/>
                    </a:lnTo>
                    <a:lnTo>
                      <a:pt x="743" y="475"/>
                    </a:lnTo>
                    <a:lnTo>
                      <a:pt x="741" y="488"/>
                    </a:lnTo>
                    <a:lnTo>
                      <a:pt x="743" y="493"/>
                    </a:lnTo>
                    <a:lnTo>
                      <a:pt x="747" y="493"/>
                    </a:lnTo>
                    <a:lnTo>
                      <a:pt x="752" y="491"/>
                    </a:lnTo>
                    <a:lnTo>
                      <a:pt x="756" y="491"/>
                    </a:lnTo>
                    <a:lnTo>
                      <a:pt x="763" y="493"/>
                    </a:lnTo>
                    <a:lnTo>
                      <a:pt x="765" y="491"/>
                    </a:lnTo>
                    <a:lnTo>
                      <a:pt x="772" y="486"/>
                    </a:lnTo>
                    <a:lnTo>
                      <a:pt x="777" y="488"/>
                    </a:lnTo>
                    <a:lnTo>
                      <a:pt x="804" y="502"/>
                    </a:lnTo>
                    <a:lnTo>
                      <a:pt x="806" y="505"/>
                    </a:lnTo>
                    <a:lnTo>
                      <a:pt x="806" y="513"/>
                    </a:lnTo>
                    <a:lnTo>
                      <a:pt x="811" y="525"/>
                    </a:lnTo>
                    <a:lnTo>
                      <a:pt x="811" y="525"/>
                    </a:lnTo>
                    <a:lnTo>
                      <a:pt x="811" y="529"/>
                    </a:lnTo>
                    <a:lnTo>
                      <a:pt x="809" y="530"/>
                    </a:lnTo>
                    <a:lnTo>
                      <a:pt x="806" y="532"/>
                    </a:lnTo>
                    <a:lnTo>
                      <a:pt x="802" y="534"/>
                    </a:lnTo>
                    <a:lnTo>
                      <a:pt x="802" y="538"/>
                    </a:lnTo>
                    <a:lnTo>
                      <a:pt x="802" y="550"/>
                    </a:lnTo>
                    <a:lnTo>
                      <a:pt x="804" y="552"/>
                    </a:lnTo>
                    <a:lnTo>
                      <a:pt x="806" y="552"/>
                    </a:lnTo>
                    <a:lnTo>
                      <a:pt x="813" y="555"/>
                    </a:lnTo>
                    <a:lnTo>
                      <a:pt x="818" y="554"/>
                    </a:lnTo>
                    <a:lnTo>
                      <a:pt x="823" y="557"/>
                    </a:lnTo>
                    <a:lnTo>
                      <a:pt x="822" y="559"/>
                    </a:lnTo>
                    <a:lnTo>
                      <a:pt x="815" y="561"/>
                    </a:lnTo>
                    <a:lnTo>
                      <a:pt x="811" y="559"/>
                    </a:lnTo>
                    <a:lnTo>
                      <a:pt x="804" y="559"/>
                    </a:lnTo>
                    <a:lnTo>
                      <a:pt x="802" y="555"/>
                    </a:lnTo>
                    <a:lnTo>
                      <a:pt x="797" y="552"/>
                    </a:lnTo>
                    <a:lnTo>
                      <a:pt x="795" y="548"/>
                    </a:lnTo>
                    <a:lnTo>
                      <a:pt x="797" y="547"/>
                    </a:lnTo>
                    <a:lnTo>
                      <a:pt x="798" y="538"/>
                    </a:lnTo>
                    <a:lnTo>
                      <a:pt x="800" y="532"/>
                    </a:lnTo>
                    <a:lnTo>
                      <a:pt x="798" y="530"/>
                    </a:lnTo>
                    <a:lnTo>
                      <a:pt x="797" y="532"/>
                    </a:lnTo>
                    <a:lnTo>
                      <a:pt x="797" y="529"/>
                    </a:lnTo>
                    <a:lnTo>
                      <a:pt x="797" y="525"/>
                    </a:lnTo>
                    <a:lnTo>
                      <a:pt x="798" y="523"/>
                    </a:lnTo>
                    <a:lnTo>
                      <a:pt x="798" y="522"/>
                    </a:lnTo>
                    <a:lnTo>
                      <a:pt x="798" y="520"/>
                    </a:lnTo>
                    <a:lnTo>
                      <a:pt x="798" y="518"/>
                    </a:lnTo>
                    <a:lnTo>
                      <a:pt x="797" y="514"/>
                    </a:lnTo>
                    <a:lnTo>
                      <a:pt x="793" y="514"/>
                    </a:lnTo>
                    <a:lnTo>
                      <a:pt x="791" y="511"/>
                    </a:lnTo>
                    <a:lnTo>
                      <a:pt x="790" y="509"/>
                    </a:lnTo>
                    <a:lnTo>
                      <a:pt x="788" y="507"/>
                    </a:lnTo>
                    <a:lnTo>
                      <a:pt x="788" y="504"/>
                    </a:lnTo>
                    <a:lnTo>
                      <a:pt x="786" y="498"/>
                    </a:lnTo>
                    <a:lnTo>
                      <a:pt x="765" y="502"/>
                    </a:lnTo>
                    <a:lnTo>
                      <a:pt x="752" y="511"/>
                    </a:lnTo>
                    <a:lnTo>
                      <a:pt x="752" y="516"/>
                    </a:lnTo>
                    <a:lnTo>
                      <a:pt x="750" y="523"/>
                    </a:lnTo>
                    <a:lnTo>
                      <a:pt x="750" y="527"/>
                    </a:lnTo>
                    <a:lnTo>
                      <a:pt x="752" y="527"/>
                    </a:lnTo>
                    <a:lnTo>
                      <a:pt x="752" y="530"/>
                    </a:lnTo>
                    <a:lnTo>
                      <a:pt x="756" y="532"/>
                    </a:lnTo>
                    <a:lnTo>
                      <a:pt x="754" y="534"/>
                    </a:lnTo>
                    <a:lnTo>
                      <a:pt x="756" y="538"/>
                    </a:lnTo>
                    <a:lnTo>
                      <a:pt x="757" y="547"/>
                    </a:lnTo>
                    <a:lnTo>
                      <a:pt x="756" y="554"/>
                    </a:lnTo>
                    <a:lnTo>
                      <a:pt x="743" y="568"/>
                    </a:lnTo>
                    <a:lnTo>
                      <a:pt x="741" y="579"/>
                    </a:lnTo>
                    <a:lnTo>
                      <a:pt x="738" y="588"/>
                    </a:lnTo>
                    <a:lnTo>
                      <a:pt x="729" y="593"/>
                    </a:lnTo>
                    <a:lnTo>
                      <a:pt x="727" y="595"/>
                    </a:lnTo>
                    <a:lnTo>
                      <a:pt x="718" y="598"/>
                    </a:lnTo>
                    <a:lnTo>
                      <a:pt x="718" y="600"/>
                    </a:lnTo>
                    <a:lnTo>
                      <a:pt x="720" y="605"/>
                    </a:lnTo>
                    <a:lnTo>
                      <a:pt x="718" y="611"/>
                    </a:lnTo>
                    <a:lnTo>
                      <a:pt x="715" y="613"/>
                    </a:lnTo>
                    <a:lnTo>
                      <a:pt x="702" y="607"/>
                    </a:lnTo>
                    <a:lnTo>
                      <a:pt x="697" y="607"/>
                    </a:lnTo>
                    <a:lnTo>
                      <a:pt x="690" y="609"/>
                    </a:lnTo>
                    <a:lnTo>
                      <a:pt x="682" y="607"/>
                    </a:lnTo>
                    <a:lnTo>
                      <a:pt x="681" y="605"/>
                    </a:lnTo>
                    <a:lnTo>
                      <a:pt x="681" y="604"/>
                    </a:lnTo>
                    <a:lnTo>
                      <a:pt x="682" y="602"/>
                    </a:lnTo>
                    <a:lnTo>
                      <a:pt x="682" y="595"/>
                    </a:lnTo>
                    <a:lnTo>
                      <a:pt x="677" y="595"/>
                    </a:lnTo>
                    <a:lnTo>
                      <a:pt x="677" y="591"/>
                    </a:lnTo>
                    <a:lnTo>
                      <a:pt x="677" y="591"/>
                    </a:lnTo>
                    <a:lnTo>
                      <a:pt x="681" y="589"/>
                    </a:lnTo>
                    <a:lnTo>
                      <a:pt x="684" y="591"/>
                    </a:lnTo>
                    <a:lnTo>
                      <a:pt x="686" y="595"/>
                    </a:lnTo>
                    <a:lnTo>
                      <a:pt x="690" y="593"/>
                    </a:lnTo>
                    <a:lnTo>
                      <a:pt x="691" y="591"/>
                    </a:lnTo>
                    <a:lnTo>
                      <a:pt x="693" y="591"/>
                    </a:lnTo>
                    <a:lnTo>
                      <a:pt x="697" y="586"/>
                    </a:lnTo>
                    <a:lnTo>
                      <a:pt x="698" y="588"/>
                    </a:lnTo>
                    <a:lnTo>
                      <a:pt x="702" y="586"/>
                    </a:lnTo>
                    <a:lnTo>
                      <a:pt x="704" y="584"/>
                    </a:lnTo>
                    <a:lnTo>
                      <a:pt x="706" y="584"/>
                    </a:lnTo>
                    <a:lnTo>
                      <a:pt x="707" y="584"/>
                    </a:lnTo>
                    <a:lnTo>
                      <a:pt x="713" y="582"/>
                    </a:lnTo>
                    <a:lnTo>
                      <a:pt x="715" y="580"/>
                    </a:lnTo>
                    <a:lnTo>
                      <a:pt x="713" y="579"/>
                    </a:lnTo>
                    <a:lnTo>
                      <a:pt x="707" y="579"/>
                    </a:lnTo>
                    <a:lnTo>
                      <a:pt x="706" y="579"/>
                    </a:lnTo>
                    <a:lnTo>
                      <a:pt x="702" y="579"/>
                    </a:lnTo>
                    <a:lnTo>
                      <a:pt x="704" y="573"/>
                    </a:lnTo>
                    <a:lnTo>
                      <a:pt x="709" y="577"/>
                    </a:lnTo>
                    <a:lnTo>
                      <a:pt x="715" y="577"/>
                    </a:lnTo>
                    <a:lnTo>
                      <a:pt x="716" y="575"/>
                    </a:lnTo>
                    <a:lnTo>
                      <a:pt x="716" y="570"/>
                    </a:lnTo>
                    <a:lnTo>
                      <a:pt x="718" y="570"/>
                    </a:lnTo>
                    <a:lnTo>
                      <a:pt x="720" y="568"/>
                    </a:lnTo>
                    <a:lnTo>
                      <a:pt x="723" y="557"/>
                    </a:lnTo>
                    <a:lnTo>
                      <a:pt x="729" y="555"/>
                    </a:lnTo>
                    <a:lnTo>
                      <a:pt x="731" y="552"/>
                    </a:lnTo>
                    <a:lnTo>
                      <a:pt x="729" y="550"/>
                    </a:lnTo>
                    <a:lnTo>
                      <a:pt x="731" y="547"/>
                    </a:lnTo>
                    <a:lnTo>
                      <a:pt x="731" y="534"/>
                    </a:lnTo>
                    <a:lnTo>
                      <a:pt x="732" y="529"/>
                    </a:lnTo>
                    <a:lnTo>
                      <a:pt x="736" y="522"/>
                    </a:lnTo>
                    <a:lnTo>
                      <a:pt x="736" y="514"/>
                    </a:lnTo>
                    <a:lnTo>
                      <a:pt x="720" y="497"/>
                    </a:lnTo>
                    <a:lnTo>
                      <a:pt x="722" y="482"/>
                    </a:lnTo>
                    <a:lnTo>
                      <a:pt x="722" y="479"/>
                    </a:lnTo>
                    <a:lnTo>
                      <a:pt x="723" y="475"/>
                    </a:lnTo>
                    <a:lnTo>
                      <a:pt x="722" y="468"/>
                    </a:lnTo>
                    <a:lnTo>
                      <a:pt x="723" y="464"/>
                    </a:lnTo>
                    <a:lnTo>
                      <a:pt x="723" y="457"/>
                    </a:lnTo>
                    <a:lnTo>
                      <a:pt x="723" y="455"/>
                    </a:lnTo>
                    <a:lnTo>
                      <a:pt x="723" y="454"/>
                    </a:lnTo>
                    <a:lnTo>
                      <a:pt x="722" y="454"/>
                    </a:lnTo>
                    <a:lnTo>
                      <a:pt x="722" y="450"/>
                    </a:lnTo>
                    <a:lnTo>
                      <a:pt x="722" y="447"/>
                    </a:lnTo>
                    <a:lnTo>
                      <a:pt x="722" y="445"/>
                    </a:lnTo>
                    <a:lnTo>
                      <a:pt x="720" y="443"/>
                    </a:lnTo>
                    <a:lnTo>
                      <a:pt x="720" y="438"/>
                    </a:lnTo>
                    <a:lnTo>
                      <a:pt x="722" y="436"/>
                    </a:lnTo>
                    <a:lnTo>
                      <a:pt x="725" y="432"/>
                    </a:lnTo>
                    <a:lnTo>
                      <a:pt x="723" y="420"/>
                    </a:lnTo>
                    <a:lnTo>
                      <a:pt x="725" y="416"/>
                    </a:lnTo>
                    <a:lnTo>
                      <a:pt x="725" y="409"/>
                    </a:lnTo>
                    <a:lnTo>
                      <a:pt x="722" y="400"/>
                    </a:lnTo>
                    <a:lnTo>
                      <a:pt x="722" y="393"/>
                    </a:lnTo>
                    <a:lnTo>
                      <a:pt x="713" y="386"/>
                    </a:lnTo>
                    <a:lnTo>
                      <a:pt x="709" y="377"/>
                    </a:lnTo>
                    <a:lnTo>
                      <a:pt x="709" y="373"/>
                    </a:lnTo>
                    <a:lnTo>
                      <a:pt x="709" y="373"/>
                    </a:lnTo>
                    <a:lnTo>
                      <a:pt x="715" y="370"/>
                    </a:lnTo>
                    <a:lnTo>
                      <a:pt x="715" y="366"/>
                    </a:lnTo>
                    <a:lnTo>
                      <a:pt x="718" y="364"/>
                    </a:lnTo>
                    <a:lnTo>
                      <a:pt x="716" y="359"/>
                    </a:lnTo>
                    <a:lnTo>
                      <a:pt x="723" y="341"/>
                    </a:lnTo>
                    <a:lnTo>
                      <a:pt x="723" y="318"/>
                    </a:lnTo>
                    <a:lnTo>
                      <a:pt x="722" y="316"/>
                    </a:lnTo>
                    <a:lnTo>
                      <a:pt x="723" y="314"/>
                    </a:lnTo>
                    <a:lnTo>
                      <a:pt x="711" y="309"/>
                    </a:lnTo>
                    <a:lnTo>
                      <a:pt x="706" y="305"/>
                    </a:lnTo>
                    <a:lnTo>
                      <a:pt x="681" y="305"/>
                    </a:lnTo>
                    <a:lnTo>
                      <a:pt x="677" y="304"/>
                    </a:lnTo>
                    <a:lnTo>
                      <a:pt x="679" y="302"/>
                    </a:lnTo>
                    <a:lnTo>
                      <a:pt x="672" y="304"/>
                    </a:lnTo>
                    <a:lnTo>
                      <a:pt x="670" y="305"/>
                    </a:lnTo>
                    <a:lnTo>
                      <a:pt x="656" y="363"/>
                    </a:lnTo>
                    <a:lnTo>
                      <a:pt x="638" y="386"/>
                    </a:lnTo>
                    <a:lnTo>
                      <a:pt x="631" y="389"/>
                    </a:lnTo>
                    <a:lnTo>
                      <a:pt x="629" y="400"/>
                    </a:lnTo>
                    <a:lnTo>
                      <a:pt x="631" y="400"/>
                    </a:lnTo>
                    <a:lnTo>
                      <a:pt x="632" y="395"/>
                    </a:lnTo>
                    <a:lnTo>
                      <a:pt x="634" y="397"/>
                    </a:lnTo>
                    <a:lnTo>
                      <a:pt x="634" y="400"/>
                    </a:lnTo>
                    <a:lnTo>
                      <a:pt x="632" y="404"/>
                    </a:lnTo>
                    <a:lnTo>
                      <a:pt x="627" y="407"/>
                    </a:lnTo>
                    <a:lnTo>
                      <a:pt x="625" y="413"/>
                    </a:lnTo>
                    <a:lnTo>
                      <a:pt x="627" y="416"/>
                    </a:lnTo>
                    <a:lnTo>
                      <a:pt x="631" y="414"/>
                    </a:lnTo>
                    <a:lnTo>
                      <a:pt x="634" y="413"/>
                    </a:lnTo>
                    <a:lnTo>
                      <a:pt x="638" y="413"/>
                    </a:lnTo>
                    <a:lnTo>
                      <a:pt x="640" y="418"/>
                    </a:lnTo>
                    <a:lnTo>
                      <a:pt x="638" y="422"/>
                    </a:lnTo>
                    <a:lnTo>
                      <a:pt x="638" y="434"/>
                    </a:lnTo>
                    <a:lnTo>
                      <a:pt x="636" y="438"/>
                    </a:lnTo>
                    <a:lnTo>
                      <a:pt x="636" y="443"/>
                    </a:lnTo>
                    <a:lnTo>
                      <a:pt x="638" y="447"/>
                    </a:lnTo>
                    <a:lnTo>
                      <a:pt x="636" y="452"/>
                    </a:lnTo>
                    <a:lnTo>
                      <a:pt x="634" y="452"/>
                    </a:lnTo>
                    <a:lnTo>
                      <a:pt x="632" y="448"/>
                    </a:lnTo>
                    <a:lnTo>
                      <a:pt x="631" y="468"/>
                    </a:lnTo>
                    <a:lnTo>
                      <a:pt x="632" y="472"/>
                    </a:lnTo>
                    <a:lnTo>
                      <a:pt x="632" y="468"/>
                    </a:lnTo>
                    <a:lnTo>
                      <a:pt x="638" y="466"/>
                    </a:lnTo>
                    <a:lnTo>
                      <a:pt x="647" y="475"/>
                    </a:lnTo>
                    <a:lnTo>
                      <a:pt x="650" y="473"/>
                    </a:lnTo>
                    <a:lnTo>
                      <a:pt x="652" y="473"/>
                    </a:lnTo>
                    <a:lnTo>
                      <a:pt x="650" y="480"/>
                    </a:lnTo>
                    <a:lnTo>
                      <a:pt x="657" y="497"/>
                    </a:lnTo>
                    <a:lnTo>
                      <a:pt x="663" y="500"/>
                    </a:lnTo>
                    <a:lnTo>
                      <a:pt x="665" y="500"/>
                    </a:lnTo>
                    <a:lnTo>
                      <a:pt x="665" y="502"/>
                    </a:lnTo>
                    <a:lnTo>
                      <a:pt x="666" y="504"/>
                    </a:lnTo>
                    <a:lnTo>
                      <a:pt x="665" y="507"/>
                    </a:lnTo>
                    <a:lnTo>
                      <a:pt x="657" y="529"/>
                    </a:lnTo>
                    <a:lnTo>
                      <a:pt x="654" y="530"/>
                    </a:lnTo>
                    <a:lnTo>
                      <a:pt x="652" y="529"/>
                    </a:lnTo>
                    <a:lnTo>
                      <a:pt x="652" y="525"/>
                    </a:lnTo>
                    <a:lnTo>
                      <a:pt x="650" y="522"/>
                    </a:lnTo>
                    <a:lnTo>
                      <a:pt x="645" y="518"/>
                    </a:lnTo>
                    <a:lnTo>
                      <a:pt x="631" y="502"/>
                    </a:lnTo>
                    <a:lnTo>
                      <a:pt x="625" y="502"/>
                    </a:lnTo>
                    <a:lnTo>
                      <a:pt x="618" y="497"/>
                    </a:lnTo>
                    <a:lnTo>
                      <a:pt x="611" y="493"/>
                    </a:lnTo>
                    <a:lnTo>
                      <a:pt x="611" y="489"/>
                    </a:lnTo>
                    <a:lnTo>
                      <a:pt x="613" y="489"/>
                    </a:lnTo>
                    <a:lnTo>
                      <a:pt x="613" y="489"/>
                    </a:lnTo>
                    <a:lnTo>
                      <a:pt x="607" y="488"/>
                    </a:lnTo>
                    <a:lnTo>
                      <a:pt x="600" y="482"/>
                    </a:lnTo>
                    <a:lnTo>
                      <a:pt x="597" y="482"/>
                    </a:lnTo>
                    <a:lnTo>
                      <a:pt x="588" y="473"/>
                    </a:lnTo>
                    <a:lnTo>
                      <a:pt x="573" y="466"/>
                    </a:lnTo>
                    <a:lnTo>
                      <a:pt x="572" y="466"/>
                    </a:lnTo>
                    <a:lnTo>
                      <a:pt x="565" y="463"/>
                    </a:lnTo>
                    <a:lnTo>
                      <a:pt x="547" y="463"/>
                    </a:lnTo>
                    <a:lnTo>
                      <a:pt x="545" y="461"/>
                    </a:lnTo>
                    <a:lnTo>
                      <a:pt x="540" y="459"/>
                    </a:lnTo>
                    <a:lnTo>
                      <a:pt x="536" y="459"/>
                    </a:lnTo>
                    <a:lnTo>
                      <a:pt x="534" y="459"/>
                    </a:lnTo>
                    <a:lnTo>
                      <a:pt x="534" y="463"/>
                    </a:lnTo>
                    <a:lnTo>
                      <a:pt x="532" y="464"/>
                    </a:lnTo>
                    <a:lnTo>
                      <a:pt x="527" y="468"/>
                    </a:lnTo>
                    <a:lnTo>
                      <a:pt x="527" y="472"/>
                    </a:lnTo>
                    <a:lnTo>
                      <a:pt x="534" y="493"/>
                    </a:lnTo>
                    <a:lnTo>
                      <a:pt x="534" y="489"/>
                    </a:lnTo>
                    <a:lnTo>
                      <a:pt x="536" y="491"/>
                    </a:lnTo>
                    <a:lnTo>
                      <a:pt x="534" y="502"/>
                    </a:lnTo>
                    <a:lnTo>
                      <a:pt x="529" y="509"/>
                    </a:lnTo>
                    <a:lnTo>
                      <a:pt x="520" y="509"/>
                    </a:lnTo>
                    <a:lnTo>
                      <a:pt x="520" y="514"/>
                    </a:lnTo>
                    <a:lnTo>
                      <a:pt x="520" y="516"/>
                    </a:lnTo>
                    <a:lnTo>
                      <a:pt x="522" y="520"/>
                    </a:lnTo>
                    <a:lnTo>
                      <a:pt x="518" y="525"/>
                    </a:lnTo>
                    <a:lnTo>
                      <a:pt x="515" y="527"/>
                    </a:lnTo>
                    <a:lnTo>
                      <a:pt x="511" y="523"/>
                    </a:lnTo>
                    <a:lnTo>
                      <a:pt x="507" y="522"/>
                    </a:lnTo>
                    <a:lnTo>
                      <a:pt x="507" y="516"/>
                    </a:lnTo>
                    <a:lnTo>
                      <a:pt x="507" y="513"/>
                    </a:lnTo>
                    <a:lnTo>
                      <a:pt x="511" y="511"/>
                    </a:lnTo>
                    <a:lnTo>
                      <a:pt x="513" y="509"/>
                    </a:lnTo>
                    <a:lnTo>
                      <a:pt x="506" y="500"/>
                    </a:lnTo>
                    <a:lnTo>
                      <a:pt x="506" y="497"/>
                    </a:lnTo>
                    <a:lnTo>
                      <a:pt x="504" y="497"/>
                    </a:lnTo>
                    <a:lnTo>
                      <a:pt x="491" y="502"/>
                    </a:lnTo>
                    <a:lnTo>
                      <a:pt x="490" y="505"/>
                    </a:lnTo>
                    <a:lnTo>
                      <a:pt x="484" y="507"/>
                    </a:lnTo>
                    <a:lnTo>
                      <a:pt x="479" y="516"/>
                    </a:lnTo>
                    <a:lnTo>
                      <a:pt x="475" y="518"/>
                    </a:lnTo>
                    <a:lnTo>
                      <a:pt x="473" y="514"/>
                    </a:lnTo>
                    <a:lnTo>
                      <a:pt x="470" y="514"/>
                    </a:lnTo>
                    <a:lnTo>
                      <a:pt x="463" y="514"/>
                    </a:lnTo>
                    <a:lnTo>
                      <a:pt x="459" y="513"/>
                    </a:lnTo>
                    <a:lnTo>
                      <a:pt x="452" y="516"/>
                    </a:lnTo>
                    <a:lnTo>
                      <a:pt x="448" y="516"/>
                    </a:lnTo>
                    <a:lnTo>
                      <a:pt x="441" y="522"/>
                    </a:lnTo>
                    <a:lnTo>
                      <a:pt x="440" y="525"/>
                    </a:lnTo>
                    <a:lnTo>
                      <a:pt x="440" y="534"/>
                    </a:lnTo>
                    <a:lnTo>
                      <a:pt x="436" y="534"/>
                    </a:lnTo>
                    <a:lnTo>
                      <a:pt x="434" y="532"/>
                    </a:lnTo>
                    <a:lnTo>
                      <a:pt x="432" y="529"/>
                    </a:lnTo>
                    <a:lnTo>
                      <a:pt x="429" y="530"/>
                    </a:lnTo>
                    <a:lnTo>
                      <a:pt x="425" y="527"/>
                    </a:lnTo>
                    <a:lnTo>
                      <a:pt x="425" y="518"/>
                    </a:lnTo>
                    <a:lnTo>
                      <a:pt x="423" y="516"/>
                    </a:lnTo>
                    <a:lnTo>
                      <a:pt x="423" y="514"/>
                    </a:lnTo>
                    <a:lnTo>
                      <a:pt x="425" y="511"/>
                    </a:lnTo>
                    <a:lnTo>
                      <a:pt x="425" y="505"/>
                    </a:lnTo>
                    <a:lnTo>
                      <a:pt x="423" y="502"/>
                    </a:lnTo>
                    <a:lnTo>
                      <a:pt x="423" y="502"/>
                    </a:lnTo>
                    <a:lnTo>
                      <a:pt x="422" y="504"/>
                    </a:lnTo>
                    <a:lnTo>
                      <a:pt x="422" y="504"/>
                    </a:lnTo>
                    <a:lnTo>
                      <a:pt x="422" y="502"/>
                    </a:lnTo>
                    <a:lnTo>
                      <a:pt x="423" y="500"/>
                    </a:lnTo>
                    <a:lnTo>
                      <a:pt x="431" y="500"/>
                    </a:lnTo>
                    <a:lnTo>
                      <a:pt x="434" y="498"/>
                    </a:lnTo>
                    <a:lnTo>
                      <a:pt x="436" y="497"/>
                    </a:lnTo>
                    <a:lnTo>
                      <a:pt x="429" y="498"/>
                    </a:lnTo>
                    <a:lnTo>
                      <a:pt x="427" y="498"/>
                    </a:lnTo>
                    <a:lnTo>
                      <a:pt x="422" y="498"/>
                    </a:lnTo>
                    <a:lnTo>
                      <a:pt x="416" y="502"/>
                    </a:lnTo>
                    <a:lnTo>
                      <a:pt x="416" y="504"/>
                    </a:lnTo>
                    <a:lnTo>
                      <a:pt x="413" y="505"/>
                    </a:lnTo>
                    <a:lnTo>
                      <a:pt x="413" y="507"/>
                    </a:lnTo>
                    <a:lnTo>
                      <a:pt x="415" y="513"/>
                    </a:lnTo>
                    <a:lnTo>
                      <a:pt x="411" y="514"/>
                    </a:lnTo>
                    <a:lnTo>
                      <a:pt x="407" y="513"/>
                    </a:lnTo>
                    <a:lnTo>
                      <a:pt x="407" y="511"/>
                    </a:lnTo>
                    <a:lnTo>
                      <a:pt x="409" y="507"/>
                    </a:lnTo>
                    <a:lnTo>
                      <a:pt x="406" y="507"/>
                    </a:lnTo>
                    <a:lnTo>
                      <a:pt x="400" y="514"/>
                    </a:lnTo>
                    <a:lnTo>
                      <a:pt x="402" y="514"/>
                    </a:lnTo>
                    <a:lnTo>
                      <a:pt x="404" y="518"/>
                    </a:lnTo>
                    <a:lnTo>
                      <a:pt x="402" y="523"/>
                    </a:lnTo>
                    <a:lnTo>
                      <a:pt x="400" y="525"/>
                    </a:lnTo>
                    <a:lnTo>
                      <a:pt x="398" y="525"/>
                    </a:lnTo>
                    <a:lnTo>
                      <a:pt x="395" y="518"/>
                    </a:lnTo>
                    <a:lnTo>
                      <a:pt x="388" y="520"/>
                    </a:lnTo>
                    <a:lnTo>
                      <a:pt x="388" y="522"/>
                    </a:lnTo>
                    <a:lnTo>
                      <a:pt x="377" y="527"/>
                    </a:lnTo>
                    <a:lnTo>
                      <a:pt x="377" y="525"/>
                    </a:lnTo>
                    <a:lnTo>
                      <a:pt x="345" y="548"/>
                    </a:lnTo>
                    <a:lnTo>
                      <a:pt x="343" y="548"/>
                    </a:lnTo>
                    <a:lnTo>
                      <a:pt x="341" y="552"/>
                    </a:lnTo>
                    <a:lnTo>
                      <a:pt x="343" y="554"/>
                    </a:lnTo>
                    <a:lnTo>
                      <a:pt x="341" y="555"/>
                    </a:lnTo>
                    <a:lnTo>
                      <a:pt x="334" y="555"/>
                    </a:lnTo>
                    <a:lnTo>
                      <a:pt x="331" y="559"/>
                    </a:lnTo>
                    <a:lnTo>
                      <a:pt x="329" y="557"/>
                    </a:lnTo>
                    <a:lnTo>
                      <a:pt x="325" y="575"/>
                    </a:lnTo>
                    <a:lnTo>
                      <a:pt x="325" y="582"/>
                    </a:lnTo>
                    <a:lnTo>
                      <a:pt x="323" y="586"/>
                    </a:lnTo>
                    <a:lnTo>
                      <a:pt x="318" y="588"/>
                    </a:lnTo>
                    <a:lnTo>
                      <a:pt x="315" y="588"/>
                    </a:lnTo>
                    <a:lnTo>
                      <a:pt x="309" y="589"/>
                    </a:lnTo>
                    <a:lnTo>
                      <a:pt x="307" y="597"/>
                    </a:lnTo>
                    <a:lnTo>
                      <a:pt x="306" y="588"/>
                    </a:lnTo>
                    <a:lnTo>
                      <a:pt x="302" y="589"/>
                    </a:lnTo>
                    <a:lnTo>
                      <a:pt x="299" y="589"/>
                    </a:lnTo>
                    <a:lnTo>
                      <a:pt x="297" y="588"/>
                    </a:lnTo>
                    <a:lnTo>
                      <a:pt x="291" y="579"/>
                    </a:lnTo>
                    <a:lnTo>
                      <a:pt x="282" y="568"/>
                    </a:lnTo>
                    <a:lnTo>
                      <a:pt x="281" y="564"/>
                    </a:lnTo>
                    <a:lnTo>
                      <a:pt x="281" y="559"/>
                    </a:lnTo>
                    <a:lnTo>
                      <a:pt x="284" y="559"/>
                    </a:lnTo>
                    <a:lnTo>
                      <a:pt x="286" y="557"/>
                    </a:lnTo>
                    <a:lnTo>
                      <a:pt x="288" y="554"/>
                    </a:lnTo>
                    <a:lnTo>
                      <a:pt x="307" y="548"/>
                    </a:lnTo>
                    <a:lnTo>
                      <a:pt x="306" y="543"/>
                    </a:lnTo>
                    <a:lnTo>
                      <a:pt x="304" y="532"/>
                    </a:lnTo>
                    <a:lnTo>
                      <a:pt x="300" y="534"/>
                    </a:lnTo>
                    <a:lnTo>
                      <a:pt x="299" y="529"/>
                    </a:lnTo>
                    <a:lnTo>
                      <a:pt x="297" y="527"/>
                    </a:lnTo>
                    <a:lnTo>
                      <a:pt x="297" y="522"/>
                    </a:lnTo>
                    <a:lnTo>
                      <a:pt x="293" y="520"/>
                    </a:lnTo>
                    <a:lnTo>
                      <a:pt x="286" y="518"/>
                    </a:lnTo>
                    <a:lnTo>
                      <a:pt x="272" y="516"/>
                    </a:lnTo>
                    <a:lnTo>
                      <a:pt x="268" y="518"/>
                    </a:lnTo>
                    <a:lnTo>
                      <a:pt x="254" y="511"/>
                    </a:lnTo>
                    <a:lnTo>
                      <a:pt x="254" y="514"/>
                    </a:lnTo>
                    <a:lnTo>
                      <a:pt x="268" y="527"/>
                    </a:lnTo>
                    <a:lnTo>
                      <a:pt x="268" y="539"/>
                    </a:lnTo>
                    <a:lnTo>
                      <a:pt x="266" y="547"/>
                    </a:lnTo>
                    <a:lnTo>
                      <a:pt x="268" y="550"/>
                    </a:lnTo>
                    <a:lnTo>
                      <a:pt x="263" y="570"/>
                    </a:lnTo>
                    <a:lnTo>
                      <a:pt x="263" y="575"/>
                    </a:lnTo>
                    <a:lnTo>
                      <a:pt x="265" y="575"/>
                    </a:lnTo>
                    <a:lnTo>
                      <a:pt x="268" y="575"/>
                    </a:lnTo>
                    <a:lnTo>
                      <a:pt x="272" y="579"/>
                    </a:lnTo>
                    <a:lnTo>
                      <a:pt x="274" y="584"/>
                    </a:lnTo>
                    <a:lnTo>
                      <a:pt x="274" y="588"/>
                    </a:lnTo>
                    <a:lnTo>
                      <a:pt x="272" y="591"/>
                    </a:lnTo>
                    <a:lnTo>
                      <a:pt x="274" y="595"/>
                    </a:lnTo>
                    <a:lnTo>
                      <a:pt x="272" y="598"/>
                    </a:lnTo>
                    <a:lnTo>
                      <a:pt x="270" y="604"/>
                    </a:lnTo>
                    <a:lnTo>
                      <a:pt x="268" y="611"/>
                    </a:lnTo>
                    <a:lnTo>
                      <a:pt x="270" y="616"/>
                    </a:lnTo>
                    <a:lnTo>
                      <a:pt x="268" y="627"/>
                    </a:lnTo>
                    <a:lnTo>
                      <a:pt x="265" y="622"/>
                    </a:lnTo>
                    <a:lnTo>
                      <a:pt x="265" y="620"/>
                    </a:lnTo>
                    <a:lnTo>
                      <a:pt x="263" y="616"/>
                    </a:lnTo>
                    <a:lnTo>
                      <a:pt x="259" y="616"/>
                    </a:lnTo>
                    <a:lnTo>
                      <a:pt x="256" y="620"/>
                    </a:lnTo>
                    <a:lnTo>
                      <a:pt x="259" y="616"/>
                    </a:lnTo>
                    <a:lnTo>
                      <a:pt x="259" y="613"/>
                    </a:lnTo>
                    <a:lnTo>
                      <a:pt x="252" y="607"/>
                    </a:lnTo>
                    <a:lnTo>
                      <a:pt x="245" y="607"/>
                    </a:lnTo>
                    <a:lnTo>
                      <a:pt x="238" y="602"/>
                    </a:lnTo>
                    <a:lnTo>
                      <a:pt x="236" y="604"/>
                    </a:lnTo>
                    <a:lnTo>
                      <a:pt x="234" y="607"/>
                    </a:lnTo>
                    <a:lnTo>
                      <a:pt x="225" y="620"/>
                    </a:lnTo>
                    <a:lnTo>
                      <a:pt x="218" y="623"/>
                    </a:lnTo>
                    <a:lnTo>
                      <a:pt x="215" y="623"/>
                    </a:lnTo>
                    <a:lnTo>
                      <a:pt x="211" y="625"/>
                    </a:lnTo>
                    <a:lnTo>
                      <a:pt x="209" y="629"/>
                    </a:lnTo>
                    <a:lnTo>
                      <a:pt x="202" y="636"/>
                    </a:lnTo>
                    <a:lnTo>
                      <a:pt x="199" y="636"/>
                    </a:lnTo>
                    <a:lnTo>
                      <a:pt x="200" y="648"/>
                    </a:lnTo>
                    <a:lnTo>
                      <a:pt x="216" y="679"/>
                    </a:lnTo>
                    <a:lnTo>
                      <a:pt x="216" y="680"/>
                    </a:lnTo>
                    <a:lnTo>
                      <a:pt x="211" y="677"/>
                    </a:lnTo>
                    <a:lnTo>
                      <a:pt x="209" y="679"/>
                    </a:lnTo>
                    <a:lnTo>
                      <a:pt x="200" y="675"/>
                    </a:lnTo>
                    <a:lnTo>
                      <a:pt x="200" y="677"/>
                    </a:lnTo>
                    <a:lnTo>
                      <a:pt x="200" y="677"/>
                    </a:lnTo>
                    <a:lnTo>
                      <a:pt x="191" y="675"/>
                    </a:lnTo>
                    <a:lnTo>
                      <a:pt x="186" y="670"/>
                    </a:lnTo>
                    <a:lnTo>
                      <a:pt x="181" y="670"/>
                    </a:lnTo>
                    <a:lnTo>
                      <a:pt x="179" y="668"/>
                    </a:lnTo>
                    <a:lnTo>
                      <a:pt x="174" y="672"/>
                    </a:lnTo>
                    <a:lnTo>
                      <a:pt x="172" y="675"/>
                    </a:lnTo>
                    <a:lnTo>
                      <a:pt x="170" y="670"/>
                    </a:lnTo>
                    <a:lnTo>
                      <a:pt x="175" y="668"/>
                    </a:lnTo>
                    <a:lnTo>
                      <a:pt x="166" y="664"/>
                    </a:lnTo>
                    <a:lnTo>
                      <a:pt x="166" y="661"/>
                    </a:lnTo>
                    <a:lnTo>
                      <a:pt x="156" y="655"/>
                    </a:lnTo>
                    <a:lnTo>
                      <a:pt x="152" y="654"/>
                    </a:lnTo>
                    <a:lnTo>
                      <a:pt x="152" y="661"/>
                    </a:lnTo>
                    <a:lnTo>
                      <a:pt x="149" y="663"/>
                    </a:lnTo>
                    <a:lnTo>
                      <a:pt x="147" y="664"/>
                    </a:lnTo>
                    <a:lnTo>
                      <a:pt x="149" y="672"/>
                    </a:lnTo>
                    <a:lnTo>
                      <a:pt x="150" y="673"/>
                    </a:lnTo>
                    <a:lnTo>
                      <a:pt x="154" y="680"/>
                    </a:lnTo>
                    <a:lnTo>
                      <a:pt x="159" y="684"/>
                    </a:lnTo>
                    <a:lnTo>
                      <a:pt x="168" y="680"/>
                    </a:lnTo>
                    <a:lnTo>
                      <a:pt x="172" y="700"/>
                    </a:lnTo>
                    <a:lnTo>
                      <a:pt x="174" y="702"/>
                    </a:lnTo>
                    <a:lnTo>
                      <a:pt x="168" y="700"/>
                    </a:lnTo>
                    <a:lnTo>
                      <a:pt x="165" y="702"/>
                    </a:lnTo>
                    <a:lnTo>
                      <a:pt x="163" y="705"/>
                    </a:lnTo>
                    <a:lnTo>
                      <a:pt x="163" y="705"/>
                    </a:lnTo>
                    <a:lnTo>
                      <a:pt x="141" y="697"/>
                    </a:lnTo>
                    <a:lnTo>
                      <a:pt x="140" y="691"/>
                    </a:lnTo>
                    <a:lnTo>
                      <a:pt x="136" y="689"/>
                    </a:lnTo>
                    <a:lnTo>
                      <a:pt x="134" y="686"/>
                    </a:lnTo>
                    <a:lnTo>
                      <a:pt x="132" y="684"/>
                    </a:lnTo>
                    <a:lnTo>
                      <a:pt x="131" y="686"/>
                    </a:lnTo>
                    <a:lnTo>
                      <a:pt x="127" y="688"/>
                    </a:lnTo>
                    <a:lnTo>
                      <a:pt x="122" y="682"/>
                    </a:lnTo>
                    <a:lnTo>
                      <a:pt x="120" y="679"/>
                    </a:lnTo>
                    <a:lnTo>
                      <a:pt x="116" y="680"/>
                    </a:lnTo>
                    <a:lnTo>
                      <a:pt x="116" y="679"/>
                    </a:lnTo>
                    <a:lnTo>
                      <a:pt x="120" y="675"/>
                    </a:lnTo>
                    <a:lnTo>
                      <a:pt x="120" y="664"/>
                    </a:lnTo>
                    <a:lnTo>
                      <a:pt x="116" y="663"/>
                    </a:lnTo>
                    <a:lnTo>
                      <a:pt x="116" y="659"/>
                    </a:lnTo>
                    <a:lnTo>
                      <a:pt x="111" y="648"/>
                    </a:lnTo>
                    <a:lnTo>
                      <a:pt x="113" y="645"/>
                    </a:lnTo>
                    <a:lnTo>
                      <a:pt x="116" y="645"/>
                    </a:lnTo>
                    <a:lnTo>
                      <a:pt x="118" y="630"/>
                    </a:lnTo>
                    <a:lnTo>
                      <a:pt x="118" y="627"/>
                    </a:lnTo>
                    <a:lnTo>
                      <a:pt x="116" y="625"/>
                    </a:lnTo>
                    <a:lnTo>
                      <a:pt x="113" y="618"/>
                    </a:lnTo>
                    <a:lnTo>
                      <a:pt x="113" y="616"/>
                    </a:lnTo>
                    <a:lnTo>
                      <a:pt x="107" y="616"/>
                    </a:lnTo>
                    <a:lnTo>
                      <a:pt x="106" y="613"/>
                    </a:lnTo>
                    <a:lnTo>
                      <a:pt x="104" y="613"/>
                    </a:lnTo>
                    <a:lnTo>
                      <a:pt x="99" y="611"/>
                    </a:lnTo>
                    <a:lnTo>
                      <a:pt x="99" y="605"/>
                    </a:lnTo>
                    <a:lnTo>
                      <a:pt x="99" y="604"/>
                    </a:lnTo>
                    <a:lnTo>
                      <a:pt x="93" y="604"/>
                    </a:lnTo>
                    <a:lnTo>
                      <a:pt x="84" y="595"/>
                    </a:lnTo>
                    <a:lnTo>
                      <a:pt x="86" y="593"/>
                    </a:lnTo>
                    <a:lnTo>
                      <a:pt x="81" y="589"/>
                    </a:lnTo>
                    <a:lnTo>
                      <a:pt x="79" y="584"/>
                    </a:lnTo>
                    <a:lnTo>
                      <a:pt x="77" y="580"/>
                    </a:lnTo>
                    <a:lnTo>
                      <a:pt x="74" y="579"/>
                    </a:lnTo>
                    <a:lnTo>
                      <a:pt x="75" y="577"/>
                    </a:lnTo>
                    <a:lnTo>
                      <a:pt x="81" y="575"/>
                    </a:lnTo>
                    <a:lnTo>
                      <a:pt x="86" y="579"/>
                    </a:lnTo>
                    <a:lnTo>
                      <a:pt x="88" y="582"/>
                    </a:lnTo>
                    <a:lnTo>
                      <a:pt x="90" y="588"/>
                    </a:lnTo>
                    <a:lnTo>
                      <a:pt x="99" y="593"/>
                    </a:lnTo>
                    <a:lnTo>
                      <a:pt x="99" y="591"/>
                    </a:lnTo>
                    <a:lnTo>
                      <a:pt x="100" y="589"/>
                    </a:lnTo>
                    <a:lnTo>
                      <a:pt x="102" y="593"/>
                    </a:lnTo>
                    <a:lnTo>
                      <a:pt x="106" y="595"/>
                    </a:lnTo>
                    <a:lnTo>
                      <a:pt x="107" y="593"/>
                    </a:lnTo>
                    <a:lnTo>
                      <a:pt x="107" y="595"/>
                    </a:lnTo>
                    <a:lnTo>
                      <a:pt x="109" y="593"/>
                    </a:lnTo>
                    <a:lnTo>
                      <a:pt x="111" y="593"/>
                    </a:lnTo>
                    <a:lnTo>
                      <a:pt x="113" y="600"/>
                    </a:lnTo>
                    <a:lnTo>
                      <a:pt x="118" y="598"/>
                    </a:lnTo>
                    <a:lnTo>
                      <a:pt x="124" y="600"/>
                    </a:lnTo>
                    <a:lnTo>
                      <a:pt x="125" y="604"/>
                    </a:lnTo>
                    <a:lnTo>
                      <a:pt x="129" y="604"/>
                    </a:lnTo>
                    <a:lnTo>
                      <a:pt x="131" y="605"/>
                    </a:lnTo>
                    <a:lnTo>
                      <a:pt x="145" y="611"/>
                    </a:lnTo>
                    <a:lnTo>
                      <a:pt x="152" y="611"/>
                    </a:lnTo>
                    <a:lnTo>
                      <a:pt x="161" y="614"/>
                    </a:lnTo>
                    <a:lnTo>
                      <a:pt x="163" y="616"/>
                    </a:lnTo>
                    <a:lnTo>
                      <a:pt x="182" y="620"/>
                    </a:lnTo>
                    <a:lnTo>
                      <a:pt x="186" y="618"/>
                    </a:lnTo>
                    <a:lnTo>
                      <a:pt x="190" y="616"/>
                    </a:lnTo>
                    <a:lnTo>
                      <a:pt x="202" y="611"/>
                    </a:lnTo>
                    <a:lnTo>
                      <a:pt x="220" y="589"/>
                    </a:lnTo>
                    <a:lnTo>
                      <a:pt x="224" y="575"/>
                    </a:lnTo>
                    <a:lnTo>
                      <a:pt x="220" y="575"/>
                    </a:lnTo>
                    <a:lnTo>
                      <a:pt x="220" y="573"/>
                    </a:lnTo>
                    <a:lnTo>
                      <a:pt x="218" y="555"/>
                    </a:lnTo>
                    <a:lnTo>
                      <a:pt x="215" y="552"/>
                    </a:lnTo>
                    <a:lnTo>
                      <a:pt x="211" y="550"/>
                    </a:lnTo>
                    <a:lnTo>
                      <a:pt x="209" y="550"/>
                    </a:lnTo>
                    <a:lnTo>
                      <a:pt x="207" y="548"/>
                    </a:lnTo>
                    <a:lnTo>
                      <a:pt x="207" y="547"/>
                    </a:lnTo>
                    <a:lnTo>
                      <a:pt x="202" y="541"/>
                    </a:lnTo>
                    <a:lnTo>
                      <a:pt x="202" y="538"/>
                    </a:lnTo>
                    <a:lnTo>
                      <a:pt x="199" y="534"/>
                    </a:lnTo>
                    <a:lnTo>
                      <a:pt x="199" y="539"/>
                    </a:lnTo>
                    <a:lnTo>
                      <a:pt x="197" y="539"/>
                    </a:lnTo>
                    <a:lnTo>
                      <a:pt x="188" y="532"/>
                    </a:lnTo>
                    <a:lnTo>
                      <a:pt x="188" y="534"/>
                    </a:lnTo>
                    <a:lnTo>
                      <a:pt x="186" y="532"/>
                    </a:lnTo>
                    <a:lnTo>
                      <a:pt x="184" y="529"/>
                    </a:lnTo>
                    <a:lnTo>
                      <a:pt x="181" y="525"/>
                    </a:lnTo>
                    <a:lnTo>
                      <a:pt x="184" y="530"/>
                    </a:lnTo>
                    <a:lnTo>
                      <a:pt x="177" y="529"/>
                    </a:lnTo>
                    <a:lnTo>
                      <a:pt x="175" y="525"/>
                    </a:lnTo>
                    <a:lnTo>
                      <a:pt x="175" y="523"/>
                    </a:lnTo>
                    <a:lnTo>
                      <a:pt x="134" y="489"/>
                    </a:lnTo>
                    <a:lnTo>
                      <a:pt x="125" y="486"/>
                    </a:lnTo>
                    <a:lnTo>
                      <a:pt x="125" y="488"/>
                    </a:lnTo>
                    <a:lnTo>
                      <a:pt x="125" y="489"/>
                    </a:lnTo>
                    <a:lnTo>
                      <a:pt x="124" y="489"/>
                    </a:lnTo>
                    <a:lnTo>
                      <a:pt x="104" y="482"/>
                    </a:lnTo>
                    <a:lnTo>
                      <a:pt x="102" y="484"/>
                    </a:lnTo>
                    <a:lnTo>
                      <a:pt x="97" y="486"/>
                    </a:lnTo>
                    <a:lnTo>
                      <a:pt x="95" y="486"/>
                    </a:lnTo>
                    <a:lnTo>
                      <a:pt x="95" y="484"/>
                    </a:lnTo>
                    <a:lnTo>
                      <a:pt x="93" y="482"/>
                    </a:lnTo>
                    <a:lnTo>
                      <a:pt x="93" y="479"/>
                    </a:lnTo>
                    <a:lnTo>
                      <a:pt x="93" y="479"/>
                    </a:lnTo>
                    <a:lnTo>
                      <a:pt x="88" y="482"/>
                    </a:lnTo>
                    <a:lnTo>
                      <a:pt x="88" y="477"/>
                    </a:lnTo>
                    <a:lnTo>
                      <a:pt x="86" y="479"/>
                    </a:lnTo>
                    <a:lnTo>
                      <a:pt x="86" y="477"/>
                    </a:lnTo>
                    <a:lnTo>
                      <a:pt x="86" y="475"/>
                    </a:lnTo>
                    <a:lnTo>
                      <a:pt x="82" y="475"/>
                    </a:lnTo>
                    <a:lnTo>
                      <a:pt x="79" y="477"/>
                    </a:lnTo>
                    <a:lnTo>
                      <a:pt x="79" y="475"/>
                    </a:lnTo>
                    <a:lnTo>
                      <a:pt x="79" y="473"/>
                    </a:lnTo>
                    <a:lnTo>
                      <a:pt x="79" y="472"/>
                    </a:lnTo>
                    <a:lnTo>
                      <a:pt x="74" y="472"/>
                    </a:lnTo>
                    <a:lnTo>
                      <a:pt x="75" y="463"/>
                    </a:lnTo>
                    <a:lnTo>
                      <a:pt x="77" y="466"/>
                    </a:lnTo>
                    <a:lnTo>
                      <a:pt x="79" y="468"/>
                    </a:lnTo>
                    <a:lnTo>
                      <a:pt x="81" y="468"/>
                    </a:lnTo>
                    <a:lnTo>
                      <a:pt x="82" y="470"/>
                    </a:lnTo>
                    <a:lnTo>
                      <a:pt x="86" y="470"/>
                    </a:lnTo>
                    <a:lnTo>
                      <a:pt x="88" y="472"/>
                    </a:lnTo>
                    <a:lnTo>
                      <a:pt x="90" y="466"/>
                    </a:lnTo>
                    <a:lnTo>
                      <a:pt x="90" y="463"/>
                    </a:lnTo>
                    <a:lnTo>
                      <a:pt x="86" y="461"/>
                    </a:lnTo>
                    <a:lnTo>
                      <a:pt x="82" y="463"/>
                    </a:lnTo>
                    <a:lnTo>
                      <a:pt x="81" y="461"/>
                    </a:lnTo>
                    <a:lnTo>
                      <a:pt x="81" y="459"/>
                    </a:lnTo>
                    <a:lnTo>
                      <a:pt x="72" y="454"/>
                    </a:lnTo>
                    <a:lnTo>
                      <a:pt x="74" y="457"/>
                    </a:lnTo>
                    <a:lnTo>
                      <a:pt x="72" y="461"/>
                    </a:lnTo>
                    <a:lnTo>
                      <a:pt x="70" y="461"/>
                    </a:lnTo>
                    <a:lnTo>
                      <a:pt x="68" y="461"/>
                    </a:lnTo>
                    <a:lnTo>
                      <a:pt x="68" y="463"/>
                    </a:lnTo>
                    <a:lnTo>
                      <a:pt x="68" y="466"/>
                    </a:lnTo>
                    <a:lnTo>
                      <a:pt x="68" y="468"/>
                    </a:lnTo>
                    <a:lnTo>
                      <a:pt x="65" y="468"/>
                    </a:lnTo>
                    <a:lnTo>
                      <a:pt x="61" y="464"/>
                    </a:lnTo>
                    <a:lnTo>
                      <a:pt x="56" y="461"/>
                    </a:lnTo>
                    <a:lnTo>
                      <a:pt x="56" y="463"/>
                    </a:lnTo>
                    <a:lnTo>
                      <a:pt x="56" y="463"/>
                    </a:lnTo>
                    <a:lnTo>
                      <a:pt x="56" y="466"/>
                    </a:lnTo>
                    <a:lnTo>
                      <a:pt x="54" y="472"/>
                    </a:lnTo>
                    <a:lnTo>
                      <a:pt x="50" y="472"/>
                    </a:lnTo>
                    <a:lnTo>
                      <a:pt x="45" y="468"/>
                    </a:lnTo>
                    <a:lnTo>
                      <a:pt x="43" y="477"/>
                    </a:lnTo>
                    <a:lnTo>
                      <a:pt x="41" y="479"/>
                    </a:lnTo>
                    <a:lnTo>
                      <a:pt x="31" y="484"/>
                    </a:lnTo>
                    <a:lnTo>
                      <a:pt x="31" y="486"/>
                    </a:lnTo>
                    <a:lnTo>
                      <a:pt x="31" y="489"/>
                    </a:lnTo>
                    <a:lnTo>
                      <a:pt x="31" y="491"/>
                    </a:lnTo>
                    <a:lnTo>
                      <a:pt x="27" y="493"/>
                    </a:lnTo>
                    <a:lnTo>
                      <a:pt x="27" y="493"/>
                    </a:lnTo>
                    <a:lnTo>
                      <a:pt x="18" y="502"/>
                    </a:lnTo>
                    <a:lnTo>
                      <a:pt x="20" y="504"/>
                    </a:lnTo>
                    <a:lnTo>
                      <a:pt x="20" y="504"/>
                    </a:lnTo>
                    <a:lnTo>
                      <a:pt x="16" y="516"/>
                    </a:lnTo>
                    <a:lnTo>
                      <a:pt x="18" y="529"/>
                    </a:lnTo>
                    <a:lnTo>
                      <a:pt x="20" y="530"/>
                    </a:lnTo>
                    <a:lnTo>
                      <a:pt x="24" y="532"/>
                    </a:lnTo>
                    <a:lnTo>
                      <a:pt x="27" y="534"/>
                    </a:lnTo>
                    <a:lnTo>
                      <a:pt x="32" y="536"/>
                    </a:lnTo>
                    <a:lnTo>
                      <a:pt x="40" y="550"/>
                    </a:lnTo>
                    <a:lnTo>
                      <a:pt x="41" y="557"/>
                    </a:lnTo>
                    <a:lnTo>
                      <a:pt x="29" y="584"/>
                    </a:lnTo>
                    <a:lnTo>
                      <a:pt x="29" y="591"/>
                    </a:lnTo>
                    <a:lnTo>
                      <a:pt x="43" y="634"/>
                    </a:lnTo>
                    <a:lnTo>
                      <a:pt x="40" y="638"/>
                    </a:lnTo>
                    <a:lnTo>
                      <a:pt x="38" y="648"/>
                    </a:lnTo>
                    <a:lnTo>
                      <a:pt x="38" y="652"/>
                    </a:lnTo>
                    <a:lnTo>
                      <a:pt x="40" y="657"/>
                    </a:lnTo>
                    <a:lnTo>
                      <a:pt x="38" y="661"/>
                    </a:lnTo>
                    <a:lnTo>
                      <a:pt x="38" y="666"/>
                    </a:lnTo>
                    <a:lnTo>
                      <a:pt x="41" y="668"/>
                    </a:lnTo>
                    <a:lnTo>
                      <a:pt x="45" y="673"/>
                    </a:lnTo>
                    <a:lnTo>
                      <a:pt x="43" y="679"/>
                    </a:lnTo>
                    <a:lnTo>
                      <a:pt x="47" y="684"/>
                    </a:lnTo>
                    <a:lnTo>
                      <a:pt x="50" y="688"/>
                    </a:lnTo>
                    <a:lnTo>
                      <a:pt x="50" y="693"/>
                    </a:lnTo>
                    <a:lnTo>
                      <a:pt x="45" y="707"/>
                    </a:lnTo>
                    <a:lnTo>
                      <a:pt x="47" y="713"/>
                    </a:lnTo>
                    <a:lnTo>
                      <a:pt x="49" y="716"/>
                    </a:lnTo>
                    <a:lnTo>
                      <a:pt x="57" y="723"/>
                    </a:lnTo>
                    <a:lnTo>
                      <a:pt x="59" y="729"/>
                    </a:lnTo>
                    <a:lnTo>
                      <a:pt x="63" y="734"/>
                    </a:lnTo>
                    <a:lnTo>
                      <a:pt x="63" y="732"/>
                    </a:lnTo>
                    <a:lnTo>
                      <a:pt x="63" y="743"/>
                    </a:lnTo>
                    <a:lnTo>
                      <a:pt x="4" y="814"/>
                    </a:lnTo>
                    <a:lnTo>
                      <a:pt x="11" y="816"/>
                    </a:lnTo>
                    <a:lnTo>
                      <a:pt x="13" y="813"/>
                    </a:lnTo>
                    <a:lnTo>
                      <a:pt x="18" y="809"/>
                    </a:lnTo>
                    <a:lnTo>
                      <a:pt x="20" y="811"/>
                    </a:lnTo>
                    <a:lnTo>
                      <a:pt x="18" y="813"/>
                    </a:lnTo>
                    <a:lnTo>
                      <a:pt x="18" y="818"/>
                    </a:lnTo>
                    <a:lnTo>
                      <a:pt x="18" y="816"/>
                    </a:lnTo>
                    <a:lnTo>
                      <a:pt x="16" y="816"/>
                    </a:lnTo>
                    <a:lnTo>
                      <a:pt x="16" y="820"/>
                    </a:lnTo>
                    <a:lnTo>
                      <a:pt x="18" y="822"/>
                    </a:lnTo>
                    <a:lnTo>
                      <a:pt x="20" y="822"/>
                    </a:lnTo>
                    <a:lnTo>
                      <a:pt x="25" y="827"/>
                    </a:lnTo>
                    <a:lnTo>
                      <a:pt x="34" y="827"/>
                    </a:lnTo>
                    <a:lnTo>
                      <a:pt x="38" y="827"/>
                    </a:lnTo>
                    <a:lnTo>
                      <a:pt x="40" y="829"/>
                    </a:lnTo>
                    <a:lnTo>
                      <a:pt x="40" y="832"/>
                    </a:lnTo>
                    <a:lnTo>
                      <a:pt x="41" y="834"/>
                    </a:lnTo>
                    <a:lnTo>
                      <a:pt x="45" y="834"/>
                    </a:lnTo>
                    <a:lnTo>
                      <a:pt x="45" y="834"/>
                    </a:lnTo>
                    <a:lnTo>
                      <a:pt x="43" y="836"/>
                    </a:lnTo>
                    <a:lnTo>
                      <a:pt x="27" y="834"/>
                    </a:lnTo>
                    <a:lnTo>
                      <a:pt x="25" y="836"/>
                    </a:lnTo>
                    <a:lnTo>
                      <a:pt x="25" y="838"/>
                    </a:lnTo>
                    <a:lnTo>
                      <a:pt x="20" y="839"/>
                    </a:lnTo>
                    <a:lnTo>
                      <a:pt x="18" y="839"/>
                    </a:lnTo>
                    <a:lnTo>
                      <a:pt x="16" y="839"/>
                    </a:lnTo>
                    <a:lnTo>
                      <a:pt x="15" y="843"/>
                    </a:lnTo>
                    <a:lnTo>
                      <a:pt x="13" y="843"/>
                    </a:lnTo>
                    <a:lnTo>
                      <a:pt x="11" y="841"/>
                    </a:lnTo>
                    <a:lnTo>
                      <a:pt x="9" y="841"/>
                    </a:lnTo>
                    <a:lnTo>
                      <a:pt x="9" y="843"/>
                    </a:lnTo>
                    <a:lnTo>
                      <a:pt x="9" y="848"/>
                    </a:lnTo>
                    <a:lnTo>
                      <a:pt x="11" y="848"/>
                    </a:lnTo>
                    <a:lnTo>
                      <a:pt x="13" y="850"/>
                    </a:lnTo>
                    <a:lnTo>
                      <a:pt x="13" y="852"/>
                    </a:lnTo>
                    <a:lnTo>
                      <a:pt x="13" y="854"/>
                    </a:lnTo>
                    <a:lnTo>
                      <a:pt x="9" y="857"/>
                    </a:lnTo>
                    <a:lnTo>
                      <a:pt x="6" y="866"/>
                    </a:lnTo>
                    <a:lnTo>
                      <a:pt x="6" y="870"/>
                    </a:lnTo>
                    <a:lnTo>
                      <a:pt x="6" y="875"/>
                    </a:lnTo>
                    <a:lnTo>
                      <a:pt x="6" y="879"/>
                    </a:lnTo>
                    <a:lnTo>
                      <a:pt x="6" y="880"/>
                    </a:lnTo>
                    <a:lnTo>
                      <a:pt x="6" y="882"/>
                    </a:lnTo>
                    <a:lnTo>
                      <a:pt x="2" y="886"/>
                    </a:lnTo>
                    <a:lnTo>
                      <a:pt x="0" y="888"/>
                    </a:lnTo>
                    <a:lnTo>
                      <a:pt x="2" y="891"/>
                    </a:lnTo>
                    <a:lnTo>
                      <a:pt x="9" y="891"/>
                    </a:lnTo>
                    <a:lnTo>
                      <a:pt x="11" y="895"/>
                    </a:lnTo>
                    <a:lnTo>
                      <a:pt x="11" y="900"/>
                    </a:lnTo>
                    <a:lnTo>
                      <a:pt x="7" y="900"/>
                    </a:lnTo>
                    <a:lnTo>
                      <a:pt x="4" y="895"/>
                    </a:lnTo>
                    <a:lnTo>
                      <a:pt x="4" y="898"/>
                    </a:lnTo>
                    <a:lnTo>
                      <a:pt x="0" y="905"/>
                    </a:lnTo>
                    <a:lnTo>
                      <a:pt x="0" y="907"/>
                    </a:lnTo>
                    <a:lnTo>
                      <a:pt x="2" y="909"/>
                    </a:lnTo>
                    <a:lnTo>
                      <a:pt x="4" y="911"/>
                    </a:lnTo>
                    <a:lnTo>
                      <a:pt x="6" y="913"/>
                    </a:lnTo>
                    <a:lnTo>
                      <a:pt x="7" y="914"/>
                    </a:lnTo>
                    <a:lnTo>
                      <a:pt x="7" y="916"/>
                    </a:lnTo>
                    <a:lnTo>
                      <a:pt x="4" y="927"/>
                    </a:lnTo>
                    <a:lnTo>
                      <a:pt x="7" y="927"/>
                    </a:lnTo>
                    <a:lnTo>
                      <a:pt x="9" y="929"/>
                    </a:lnTo>
                    <a:lnTo>
                      <a:pt x="9" y="930"/>
                    </a:lnTo>
                    <a:lnTo>
                      <a:pt x="15" y="941"/>
                    </a:lnTo>
                    <a:lnTo>
                      <a:pt x="15" y="948"/>
                    </a:lnTo>
                    <a:lnTo>
                      <a:pt x="15" y="950"/>
                    </a:lnTo>
                    <a:lnTo>
                      <a:pt x="20" y="950"/>
                    </a:lnTo>
                    <a:lnTo>
                      <a:pt x="22" y="950"/>
                    </a:lnTo>
                    <a:lnTo>
                      <a:pt x="24" y="954"/>
                    </a:lnTo>
                    <a:lnTo>
                      <a:pt x="27" y="952"/>
                    </a:lnTo>
                    <a:lnTo>
                      <a:pt x="31" y="952"/>
                    </a:lnTo>
                    <a:lnTo>
                      <a:pt x="34" y="955"/>
                    </a:lnTo>
                    <a:lnTo>
                      <a:pt x="32" y="961"/>
                    </a:lnTo>
                    <a:lnTo>
                      <a:pt x="38" y="959"/>
                    </a:lnTo>
                    <a:lnTo>
                      <a:pt x="40" y="959"/>
                    </a:lnTo>
                    <a:lnTo>
                      <a:pt x="41" y="957"/>
                    </a:lnTo>
                    <a:lnTo>
                      <a:pt x="49" y="957"/>
                    </a:lnTo>
                    <a:lnTo>
                      <a:pt x="50" y="959"/>
                    </a:lnTo>
                    <a:lnTo>
                      <a:pt x="54" y="964"/>
                    </a:lnTo>
                    <a:lnTo>
                      <a:pt x="57" y="964"/>
                    </a:lnTo>
                    <a:lnTo>
                      <a:pt x="57" y="968"/>
                    </a:lnTo>
                    <a:lnTo>
                      <a:pt x="56" y="970"/>
                    </a:lnTo>
                    <a:lnTo>
                      <a:pt x="56" y="972"/>
                    </a:lnTo>
                    <a:lnTo>
                      <a:pt x="57" y="973"/>
                    </a:lnTo>
                    <a:lnTo>
                      <a:pt x="59" y="977"/>
                    </a:lnTo>
                    <a:lnTo>
                      <a:pt x="57" y="980"/>
                    </a:lnTo>
                    <a:lnTo>
                      <a:pt x="56" y="982"/>
                    </a:lnTo>
                    <a:lnTo>
                      <a:pt x="56" y="984"/>
                    </a:lnTo>
                    <a:lnTo>
                      <a:pt x="56" y="988"/>
                    </a:lnTo>
                    <a:lnTo>
                      <a:pt x="59" y="989"/>
                    </a:lnTo>
                    <a:lnTo>
                      <a:pt x="65" y="1004"/>
                    </a:lnTo>
                    <a:lnTo>
                      <a:pt x="70" y="1005"/>
                    </a:lnTo>
                    <a:lnTo>
                      <a:pt x="70" y="1007"/>
                    </a:lnTo>
                    <a:lnTo>
                      <a:pt x="72" y="1009"/>
                    </a:lnTo>
                    <a:lnTo>
                      <a:pt x="70" y="1013"/>
                    </a:lnTo>
                    <a:lnTo>
                      <a:pt x="72" y="1014"/>
                    </a:lnTo>
                    <a:lnTo>
                      <a:pt x="79" y="1013"/>
                    </a:lnTo>
                    <a:lnTo>
                      <a:pt x="81" y="1014"/>
                    </a:lnTo>
                    <a:lnTo>
                      <a:pt x="82" y="1016"/>
                    </a:lnTo>
                    <a:lnTo>
                      <a:pt x="82" y="1018"/>
                    </a:lnTo>
                    <a:lnTo>
                      <a:pt x="82" y="1020"/>
                    </a:lnTo>
                    <a:lnTo>
                      <a:pt x="86" y="1020"/>
                    </a:lnTo>
                    <a:lnTo>
                      <a:pt x="86" y="1023"/>
                    </a:lnTo>
                    <a:lnTo>
                      <a:pt x="77" y="1032"/>
                    </a:lnTo>
                    <a:lnTo>
                      <a:pt x="74" y="1030"/>
                    </a:lnTo>
                    <a:lnTo>
                      <a:pt x="70" y="1029"/>
                    </a:lnTo>
                    <a:lnTo>
                      <a:pt x="66" y="1027"/>
                    </a:lnTo>
                    <a:lnTo>
                      <a:pt x="65" y="1029"/>
                    </a:lnTo>
                    <a:lnTo>
                      <a:pt x="65" y="1030"/>
                    </a:lnTo>
                    <a:lnTo>
                      <a:pt x="63" y="1032"/>
                    </a:lnTo>
                    <a:lnTo>
                      <a:pt x="63" y="1034"/>
                    </a:lnTo>
                    <a:lnTo>
                      <a:pt x="66" y="1038"/>
                    </a:lnTo>
                    <a:lnTo>
                      <a:pt x="66" y="1039"/>
                    </a:lnTo>
                    <a:lnTo>
                      <a:pt x="66" y="1041"/>
                    </a:lnTo>
                    <a:lnTo>
                      <a:pt x="66" y="1043"/>
                    </a:lnTo>
                    <a:lnTo>
                      <a:pt x="66" y="1047"/>
                    </a:lnTo>
                    <a:lnTo>
                      <a:pt x="68" y="1047"/>
                    </a:lnTo>
                    <a:lnTo>
                      <a:pt x="70" y="1048"/>
                    </a:lnTo>
                    <a:lnTo>
                      <a:pt x="70" y="1052"/>
                    </a:lnTo>
                    <a:lnTo>
                      <a:pt x="72" y="1057"/>
                    </a:lnTo>
                    <a:lnTo>
                      <a:pt x="70" y="1057"/>
                    </a:lnTo>
                    <a:lnTo>
                      <a:pt x="72" y="1059"/>
                    </a:lnTo>
                    <a:lnTo>
                      <a:pt x="75" y="1061"/>
                    </a:lnTo>
                    <a:lnTo>
                      <a:pt x="77" y="1059"/>
                    </a:lnTo>
                    <a:lnTo>
                      <a:pt x="79" y="1057"/>
                    </a:lnTo>
                    <a:lnTo>
                      <a:pt x="79" y="1055"/>
                    </a:lnTo>
                    <a:lnTo>
                      <a:pt x="81" y="1054"/>
                    </a:lnTo>
                    <a:lnTo>
                      <a:pt x="88" y="1054"/>
                    </a:lnTo>
                    <a:lnTo>
                      <a:pt x="93" y="1054"/>
                    </a:lnTo>
                    <a:lnTo>
                      <a:pt x="99" y="1054"/>
                    </a:lnTo>
                    <a:lnTo>
                      <a:pt x="102" y="1052"/>
                    </a:lnTo>
                    <a:lnTo>
                      <a:pt x="106" y="1055"/>
                    </a:lnTo>
                    <a:lnTo>
                      <a:pt x="107" y="1057"/>
                    </a:lnTo>
                    <a:lnTo>
                      <a:pt x="107" y="1061"/>
                    </a:lnTo>
                    <a:lnTo>
                      <a:pt x="113" y="1066"/>
                    </a:lnTo>
                    <a:lnTo>
                      <a:pt x="113" y="1068"/>
                    </a:lnTo>
                    <a:lnTo>
                      <a:pt x="109" y="1070"/>
                    </a:lnTo>
                    <a:lnTo>
                      <a:pt x="107" y="1070"/>
                    </a:lnTo>
                    <a:lnTo>
                      <a:pt x="109" y="1072"/>
                    </a:lnTo>
                    <a:lnTo>
                      <a:pt x="109" y="1073"/>
                    </a:lnTo>
                    <a:lnTo>
                      <a:pt x="109" y="1079"/>
                    </a:lnTo>
                    <a:lnTo>
                      <a:pt x="115" y="1080"/>
                    </a:lnTo>
                    <a:lnTo>
                      <a:pt x="118" y="1082"/>
                    </a:lnTo>
                    <a:lnTo>
                      <a:pt x="122" y="1080"/>
                    </a:lnTo>
                    <a:lnTo>
                      <a:pt x="124" y="1080"/>
                    </a:lnTo>
                    <a:lnTo>
                      <a:pt x="124" y="1084"/>
                    </a:lnTo>
                    <a:lnTo>
                      <a:pt x="127" y="1088"/>
                    </a:lnTo>
                    <a:lnTo>
                      <a:pt x="129" y="1095"/>
                    </a:lnTo>
                    <a:lnTo>
                      <a:pt x="129" y="1097"/>
                    </a:lnTo>
                    <a:lnTo>
                      <a:pt x="129" y="1100"/>
                    </a:lnTo>
                    <a:lnTo>
                      <a:pt x="132" y="1102"/>
                    </a:lnTo>
                    <a:lnTo>
                      <a:pt x="136" y="1102"/>
                    </a:lnTo>
                    <a:lnTo>
                      <a:pt x="138" y="1100"/>
                    </a:lnTo>
                    <a:lnTo>
                      <a:pt x="140" y="1102"/>
                    </a:lnTo>
                    <a:lnTo>
                      <a:pt x="143" y="1104"/>
                    </a:lnTo>
                    <a:lnTo>
                      <a:pt x="147" y="1104"/>
                    </a:lnTo>
                    <a:lnTo>
                      <a:pt x="149" y="1105"/>
                    </a:lnTo>
                    <a:lnTo>
                      <a:pt x="159" y="1100"/>
                    </a:lnTo>
                    <a:lnTo>
                      <a:pt x="161" y="1102"/>
                    </a:lnTo>
                    <a:lnTo>
                      <a:pt x="170" y="1113"/>
                    </a:lnTo>
                    <a:lnTo>
                      <a:pt x="172" y="1113"/>
                    </a:lnTo>
                    <a:lnTo>
                      <a:pt x="174" y="1111"/>
                    </a:lnTo>
                    <a:lnTo>
                      <a:pt x="175" y="1111"/>
                    </a:lnTo>
                    <a:lnTo>
                      <a:pt x="177" y="1113"/>
                    </a:lnTo>
                    <a:lnTo>
                      <a:pt x="179" y="1113"/>
                    </a:lnTo>
                    <a:lnTo>
                      <a:pt x="181" y="1114"/>
                    </a:lnTo>
                    <a:lnTo>
                      <a:pt x="182" y="1116"/>
                    </a:lnTo>
                    <a:lnTo>
                      <a:pt x="188" y="1116"/>
                    </a:lnTo>
                    <a:lnTo>
                      <a:pt x="191" y="1118"/>
                    </a:lnTo>
                    <a:lnTo>
                      <a:pt x="193" y="1118"/>
                    </a:lnTo>
                    <a:lnTo>
                      <a:pt x="197" y="1122"/>
                    </a:lnTo>
                    <a:lnTo>
                      <a:pt x="202" y="1122"/>
                    </a:lnTo>
                    <a:lnTo>
                      <a:pt x="204" y="1123"/>
                    </a:lnTo>
                    <a:lnTo>
                      <a:pt x="202" y="1123"/>
                    </a:lnTo>
                    <a:lnTo>
                      <a:pt x="204" y="1130"/>
                    </a:lnTo>
                    <a:lnTo>
                      <a:pt x="202" y="1136"/>
                    </a:lnTo>
                    <a:lnTo>
                      <a:pt x="197" y="1136"/>
                    </a:lnTo>
                    <a:lnTo>
                      <a:pt x="199" y="1138"/>
                    </a:lnTo>
                    <a:lnTo>
                      <a:pt x="200" y="1139"/>
                    </a:lnTo>
                    <a:lnTo>
                      <a:pt x="202" y="1141"/>
                    </a:lnTo>
                    <a:lnTo>
                      <a:pt x="199" y="1141"/>
                    </a:lnTo>
                    <a:lnTo>
                      <a:pt x="197" y="1145"/>
                    </a:lnTo>
                    <a:lnTo>
                      <a:pt x="197" y="1147"/>
                    </a:lnTo>
                    <a:lnTo>
                      <a:pt x="199" y="1148"/>
                    </a:lnTo>
                    <a:lnTo>
                      <a:pt x="199" y="1150"/>
                    </a:lnTo>
                    <a:lnTo>
                      <a:pt x="199" y="1152"/>
                    </a:lnTo>
                    <a:lnTo>
                      <a:pt x="200" y="1154"/>
                    </a:lnTo>
                    <a:lnTo>
                      <a:pt x="197" y="1166"/>
                    </a:lnTo>
                    <a:lnTo>
                      <a:pt x="195" y="1166"/>
                    </a:lnTo>
                    <a:lnTo>
                      <a:pt x="191" y="1164"/>
                    </a:lnTo>
                    <a:lnTo>
                      <a:pt x="188" y="1166"/>
                    </a:lnTo>
                    <a:lnTo>
                      <a:pt x="184" y="1163"/>
                    </a:lnTo>
                    <a:lnTo>
                      <a:pt x="179" y="1170"/>
                    </a:lnTo>
                    <a:lnTo>
                      <a:pt x="175" y="1172"/>
                    </a:lnTo>
                    <a:lnTo>
                      <a:pt x="174" y="1175"/>
                    </a:lnTo>
                    <a:lnTo>
                      <a:pt x="174" y="1182"/>
                    </a:lnTo>
                    <a:lnTo>
                      <a:pt x="177" y="1180"/>
                    </a:lnTo>
                    <a:lnTo>
                      <a:pt x="181" y="1180"/>
                    </a:lnTo>
                    <a:lnTo>
                      <a:pt x="182" y="1179"/>
                    </a:lnTo>
                    <a:lnTo>
                      <a:pt x="186" y="1179"/>
                    </a:lnTo>
                    <a:lnTo>
                      <a:pt x="188" y="1179"/>
                    </a:lnTo>
                    <a:lnTo>
                      <a:pt x="188" y="1180"/>
                    </a:lnTo>
                    <a:lnTo>
                      <a:pt x="191" y="1180"/>
                    </a:lnTo>
                    <a:lnTo>
                      <a:pt x="191" y="1182"/>
                    </a:lnTo>
                    <a:lnTo>
                      <a:pt x="191" y="1184"/>
                    </a:lnTo>
                    <a:lnTo>
                      <a:pt x="188" y="1184"/>
                    </a:lnTo>
                    <a:lnTo>
                      <a:pt x="177" y="1189"/>
                    </a:lnTo>
                    <a:lnTo>
                      <a:pt x="177" y="1189"/>
                    </a:lnTo>
                    <a:lnTo>
                      <a:pt x="179" y="1191"/>
                    </a:lnTo>
                    <a:lnTo>
                      <a:pt x="177" y="1193"/>
                    </a:lnTo>
                    <a:lnTo>
                      <a:pt x="174" y="1191"/>
                    </a:lnTo>
                    <a:lnTo>
                      <a:pt x="166" y="1193"/>
                    </a:lnTo>
                    <a:lnTo>
                      <a:pt x="166" y="1195"/>
                    </a:lnTo>
                    <a:lnTo>
                      <a:pt x="168" y="1198"/>
                    </a:lnTo>
                    <a:lnTo>
                      <a:pt x="172" y="1200"/>
                    </a:lnTo>
                    <a:lnTo>
                      <a:pt x="177" y="1205"/>
                    </a:lnTo>
                    <a:lnTo>
                      <a:pt x="177" y="1207"/>
                    </a:lnTo>
                    <a:lnTo>
                      <a:pt x="174" y="1205"/>
                    </a:lnTo>
                    <a:lnTo>
                      <a:pt x="172" y="1209"/>
                    </a:lnTo>
                    <a:lnTo>
                      <a:pt x="170" y="1207"/>
                    </a:lnTo>
                    <a:lnTo>
                      <a:pt x="161" y="1222"/>
                    </a:lnTo>
                    <a:lnTo>
                      <a:pt x="152" y="1222"/>
                    </a:lnTo>
                    <a:lnTo>
                      <a:pt x="150" y="1223"/>
                    </a:lnTo>
                    <a:lnTo>
                      <a:pt x="150" y="1225"/>
                    </a:lnTo>
                    <a:lnTo>
                      <a:pt x="149" y="1227"/>
                    </a:lnTo>
                    <a:lnTo>
                      <a:pt x="156" y="1230"/>
                    </a:lnTo>
                    <a:lnTo>
                      <a:pt x="157" y="1236"/>
                    </a:lnTo>
                    <a:lnTo>
                      <a:pt x="159" y="1238"/>
                    </a:lnTo>
                    <a:lnTo>
                      <a:pt x="163" y="1239"/>
                    </a:lnTo>
                    <a:lnTo>
                      <a:pt x="165" y="1238"/>
                    </a:lnTo>
                    <a:lnTo>
                      <a:pt x="190" y="1254"/>
                    </a:lnTo>
                    <a:lnTo>
                      <a:pt x="193" y="1261"/>
                    </a:lnTo>
                    <a:lnTo>
                      <a:pt x="197" y="1261"/>
                    </a:lnTo>
                    <a:lnTo>
                      <a:pt x="200" y="1264"/>
                    </a:lnTo>
                    <a:lnTo>
                      <a:pt x="207" y="1263"/>
                    </a:lnTo>
                    <a:lnTo>
                      <a:pt x="209" y="1263"/>
                    </a:lnTo>
                    <a:lnTo>
                      <a:pt x="211" y="1263"/>
                    </a:lnTo>
                    <a:lnTo>
                      <a:pt x="216" y="1264"/>
                    </a:lnTo>
                    <a:lnTo>
                      <a:pt x="218" y="1266"/>
                    </a:lnTo>
                    <a:lnTo>
                      <a:pt x="229" y="1270"/>
                    </a:lnTo>
                    <a:lnTo>
                      <a:pt x="238" y="1270"/>
                    </a:lnTo>
                    <a:lnTo>
                      <a:pt x="243" y="1272"/>
                    </a:lnTo>
                    <a:lnTo>
                      <a:pt x="249" y="1272"/>
                    </a:lnTo>
                    <a:lnTo>
                      <a:pt x="261" y="1280"/>
                    </a:lnTo>
                    <a:lnTo>
                      <a:pt x="263" y="1282"/>
                    </a:lnTo>
                    <a:lnTo>
                      <a:pt x="265" y="1284"/>
                    </a:lnTo>
                    <a:lnTo>
                      <a:pt x="274" y="1280"/>
                    </a:lnTo>
                    <a:lnTo>
                      <a:pt x="275" y="1280"/>
                    </a:lnTo>
                    <a:lnTo>
                      <a:pt x="277" y="1280"/>
                    </a:lnTo>
                    <a:lnTo>
                      <a:pt x="281" y="1280"/>
                    </a:lnTo>
                    <a:lnTo>
                      <a:pt x="284" y="1282"/>
                    </a:lnTo>
                    <a:lnTo>
                      <a:pt x="286" y="1284"/>
                    </a:lnTo>
                    <a:lnTo>
                      <a:pt x="288" y="1284"/>
                    </a:lnTo>
                    <a:lnTo>
                      <a:pt x="290" y="1284"/>
                    </a:lnTo>
                    <a:lnTo>
                      <a:pt x="293" y="1286"/>
                    </a:lnTo>
                    <a:lnTo>
                      <a:pt x="293" y="1288"/>
                    </a:lnTo>
                    <a:lnTo>
                      <a:pt x="291" y="1293"/>
                    </a:lnTo>
                    <a:lnTo>
                      <a:pt x="297" y="1295"/>
                    </a:lnTo>
                    <a:lnTo>
                      <a:pt x="300" y="1297"/>
                    </a:lnTo>
                    <a:lnTo>
                      <a:pt x="306" y="1300"/>
                    </a:lnTo>
                    <a:lnTo>
                      <a:pt x="309" y="1300"/>
                    </a:lnTo>
                    <a:lnTo>
                      <a:pt x="311" y="1304"/>
                    </a:lnTo>
                    <a:lnTo>
                      <a:pt x="313" y="1305"/>
                    </a:lnTo>
                    <a:lnTo>
                      <a:pt x="315" y="1305"/>
                    </a:lnTo>
                    <a:lnTo>
                      <a:pt x="318" y="1313"/>
                    </a:lnTo>
                    <a:lnTo>
                      <a:pt x="325" y="1313"/>
                    </a:lnTo>
                    <a:lnTo>
                      <a:pt x="327" y="1313"/>
                    </a:lnTo>
                    <a:lnTo>
                      <a:pt x="329" y="1311"/>
                    </a:lnTo>
                    <a:lnTo>
                      <a:pt x="331" y="1307"/>
                    </a:lnTo>
                    <a:lnTo>
                      <a:pt x="334" y="1305"/>
                    </a:lnTo>
                    <a:lnTo>
                      <a:pt x="338" y="1300"/>
                    </a:lnTo>
                    <a:lnTo>
                      <a:pt x="334" y="1298"/>
                    </a:lnTo>
                    <a:lnTo>
                      <a:pt x="322" y="1273"/>
                    </a:lnTo>
                    <a:lnTo>
                      <a:pt x="322" y="1268"/>
                    </a:lnTo>
                    <a:lnTo>
                      <a:pt x="323" y="1259"/>
                    </a:lnTo>
                    <a:lnTo>
                      <a:pt x="323" y="1255"/>
                    </a:lnTo>
                    <a:lnTo>
                      <a:pt x="320" y="1261"/>
                    </a:lnTo>
                    <a:lnTo>
                      <a:pt x="320" y="1259"/>
                    </a:lnTo>
                    <a:lnTo>
                      <a:pt x="318" y="1255"/>
                    </a:lnTo>
                    <a:lnTo>
                      <a:pt x="313" y="1245"/>
                    </a:lnTo>
                    <a:lnTo>
                      <a:pt x="309" y="1245"/>
                    </a:lnTo>
                    <a:lnTo>
                      <a:pt x="307" y="1241"/>
                    </a:lnTo>
                    <a:lnTo>
                      <a:pt x="311" y="1236"/>
                    </a:lnTo>
                    <a:lnTo>
                      <a:pt x="311" y="1234"/>
                    </a:lnTo>
                    <a:lnTo>
                      <a:pt x="313" y="1230"/>
                    </a:lnTo>
                    <a:lnTo>
                      <a:pt x="315" y="1230"/>
                    </a:lnTo>
                    <a:lnTo>
                      <a:pt x="315" y="1229"/>
                    </a:lnTo>
                    <a:lnTo>
                      <a:pt x="315" y="1227"/>
                    </a:lnTo>
                    <a:lnTo>
                      <a:pt x="318" y="1223"/>
                    </a:lnTo>
                    <a:lnTo>
                      <a:pt x="320" y="1214"/>
                    </a:lnTo>
                    <a:lnTo>
                      <a:pt x="322" y="1214"/>
                    </a:lnTo>
                    <a:lnTo>
                      <a:pt x="323" y="1205"/>
                    </a:lnTo>
                    <a:lnTo>
                      <a:pt x="320" y="1200"/>
                    </a:lnTo>
                    <a:lnTo>
                      <a:pt x="327" y="1202"/>
                    </a:lnTo>
                    <a:lnTo>
                      <a:pt x="327" y="1204"/>
                    </a:lnTo>
                    <a:lnTo>
                      <a:pt x="331" y="1211"/>
                    </a:lnTo>
                    <a:lnTo>
                      <a:pt x="332" y="1211"/>
                    </a:lnTo>
                    <a:lnTo>
                      <a:pt x="334" y="1211"/>
                    </a:lnTo>
                    <a:lnTo>
                      <a:pt x="336" y="1211"/>
                    </a:lnTo>
                    <a:lnTo>
                      <a:pt x="340" y="1202"/>
                    </a:lnTo>
                    <a:lnTo>
                      <a:pt x="341" y="1202"/>
                    </a:lnTo>
                    <a:lnTo>
                      <a:pt x="338" y="1200"/>
                    </a:lnTo>
                    <a:lnTo>
                      <a:pt x="338" y="1198"/>
                    </a:lnTo>
                    <a:lnTo>
                      <a:pt x="336" y="1198"/>
                    </a:lnTo>
                    <a:lnTo>
                      <a:pt x="332" y="1198"/>
                    </a:lnTo>
                    <a:lnTo>
                      <a:pt x="331" y="1197"/>
                    </a:lnTo>
                    <a:lnTo>
                      <a:pt x="331" y="1195"/>
                    </a:lnTo>
                    <a:lnTo>
                      <a:pt x="332" y="1193"/>
                    </a:lnTo>
                    <a:lnTo>
                      <a:pt x="332" y="1191"/>
                    </a:lnTo>
                    <a:lnTo>
                      <a:pt x="334" y="1191"/>
                    </a:lnTo>
                    <a:lnTo>
                      <a:pt x="338" y="1191"/>
                    </a:lnTo>
                    <a:lnTo>
                      <a:pt x="341" y="1191"/>
                    </a:lnTo>
                    <a:lnTo>
                      <a:pt x="338" y="1175"/>
                    </a:lnTo>
                    <a:lnTo>
                      <a:pt x="336" y="1173"/>
                    </a:lnTo>
                    <a:lnTo>
                      <a:pt x="332" y="1168"/>
                    </a:lnTo>
                    <a:lnTo>
                      <a:pt x="331" y="1166"/>
                    </a:lnTo>
                    <a:lnTo>
                      <a:pt x="323" y="1166"/>
                    </a:lnTo>
                    <a:lnTo>
                      <a:pt x="320" y="1166"/>
                    </a:lnTo>
                    <a:lnTo>
                      <a:pt x="320" y="1168"/>
                    </a:lnTo>
                    <a:lnTo>
                      <a:pt x="316" y="1164"/>
                    </a:lnTo>
                    <a:lnTo>
                      <a:pt x="316" y="1163"/>
                    </a:lnTo>
                    <a:lnTo>
                      <a:pt x="315" y="1161"/>
                    </a:lnTo>
                    <a:lnTo>
                      <a:pt x="316" y="1159"/>
                    </a:lnTo>
                    <a:lnTo>
                      <a:pt x="315" y="1155"/>
                    </a:lnTo>
                    <a:lnTo>
                      <a:pt x="315" y="1154"/>
                    </a:lnTo>
                    <a:lnTo>
                      <a:pt x="306" y="1152"/>
                    </a:lnTo>
                    <a:lnTo>
                      <a:pt x="309" y="1138"/>
                    </a:lnTo>
                    <a:lnTo>
                      <a:pt x="313" y="1136"/>
                    </a:lnTo>
                    <a:lnTo>
                      <a:pt x="315" y="1134"/>
                    </a:lnTo>
                    <a:lnTo>
                      <a:pt x="315" y="1132"/>
                    </a:lnTo>
                    <a:lnTo>
                      <a:pt x="311" y="1129"/>
                    </a:lnTo>
                    <a:lnTo>
                      <a:pt x="313" y="1116"/>
                    </a:lnTo>
                    <a:lnTo>
                      <a:pt x="318" y="1113"/>
                    </a:lnTo>
                    <a:lnTo>
                      <a:pt x="318" y="1111"/>
                    </a:lnTo>
                    <a:lnTo>
                      <a:pt x="318" y="1109"/>
                    </a:lnTo>
                    <a:lnTo>
                      <a:pt x="320" y="1107"/>
                    </a:lnTo>
                    <a:lnTo>
                      <a:pt x="320" y="1104"/>
                    </a:lnTo>
                    <a:lnTo>
                      <a:pt x="320" y="1102"/>
                    </a:lnTo>
                    <a:lnTo>
                      <a:pt x="322" y="1100"/>
                    </a:lnTo>
                    <a:lnTo>
                      <a:pt x="323" y="1102"/>
                    </a:lnTo>
                    <a:lnTo>
                      <a:pt x="323" y="1104"/>
                    </a:lnTo>
                    <a:lnTo>
                      <a:pt x="329" y="1107"/>
                    </a:lnTo>
                    <a:lnTo>
                      <a:pt x="332" y="1118"/>
                    </a:lnTo>
                    <a:lnTo>
                      <a:pt x="336" y="1118"/>
                    </a:lnTo>
                    <a:lnTo>
                      <a:pt x="343" y="1113"/>
                    </a:lnTo>
                    <a:lnTo>
                      <a:pt x="338" y="1097"/>
                    </a:lnTo>
                    <a:lnTo>
                      <a:pt x="341" y="1098"/>
                    </a:lnTo>
                    <a:lnTo>
                      <a:pt x="350" y="1091"/>
                    </a:lnTo>
                    <a:lnTo>
                      <a:pt x="352" y="1089"/>
                    </a:lnTo>
                    <a:lnTo>
                      <a:pt x="352" y="1084"/>
                    </a:lnTo>
                    <a:lnTo>
                      <a:pt x="354" y="1084"/>
                    </a:lnTo>
                    <a:lnTo>
                      <a:pt x="357" y="1084"/>
                    </a:lnTo>
                    <a:lnTo>
                      <a:pt x="359" y="1084"/>
                    </a:lnTo>
                    <a:lnTo>
                      <a:pt x="361" y="1082"/>
                    </a:lnTo>
                    <a:lnTo>
                      <a:pt x="365" y="1080"/>
                    </a:lnTo>
                    <a:lnTo>
                      <a:pt x="366" y="1079"/>
                    </a:lnTo>
                    <a:lnTo>
                      <a:pt x="368" y="1077"/>
                    </a:lnTo>
                    <a:lnTo>
                      <a:pt x="370" y="1075"/>
                    </a:lnTo>
                    <a:lnTo>
                      <a:pt x="370" y="1073"/>
                    </a:lnTo>
                    <a:lnTo>
                      <a:pt x="372" y="1072"/>
                    </a:lnTo>
                    <a:lnTo>
                      <a:pt x="377" y="1070"/>
                    </a:lnTo>
                    <a:lnTo>
                      <a:pt x="381" y="1070"/>
                    </a:lnTo>
                    <a:lnTo>
                      <a:pt x="382" y="1075"/>
                    </a:lnTo>
                    <a:lnTo>
                      <a:pt x="388" y="1073"/>
                    </a:lnTo>
                    <a:lnTo>
                      <a:pt x="390" y="1075"/>
                    </a:lnTo>
                    <a:lnTo>
                      <a:pt x="390" y="1073"/>
                    </a:lnTo>
                    <a:lnTo>
                      <a:pt x="391" y="1072"/>
                    </a:lnTo>
                    <a:lnTo>
                      <a:pt x="391" y="1068"/>
                    </a:lnTo>
                    <a:lnTo>
                      <a:pt x="395" y="1070"/>
                    </a:lnTo>
                    <a:lnTo>
                      <a:pt x="397" y="1068"/>
                    </a:lnTo>
                    <a:lnTo>
                      <a:pt x="398" y="1068"/>
                    </a:lnTo>
                    <a:lnTo>
                      <a:pt x="400" y="1073"/>
                    </a:lnTo>
                    <a:lnTo>
                      <a:pt x="402" y="1075"/>
                    </a:lnTo>
                    <a:lnTo>
                      <a:pt x="407" y="1073"/>
                    </a:lnTo>
                    <a:lnTo>
                      <a:pt x="409" y="1075"/>
                    </a:lnTo>
                    <a:lnTo>
                      <a:pt x="413" y="1073"/>
                    </a:lnTo>
                    <a:lnTo>
                      <a:pt x="416" y="1073"/>
                    </a:lnTo>
                    <a:lnTo>
                      <a:pt x="420" y="1077"/>
                    </a:lnTo>
                    <a:lnTo>
                      <a:pt x="422" y="1080"/>
                    </a:lnTo>
                    <a:lnTo>
                      <a:pt x="427" y="1084"/>
                    </a:lnTo>
                    <a:lnTo>
                      <a:pt x="429" y="1086"/>
                    </a:lnTo>
                    <a:lnTo>
                      <a:pt x="429" y="1088"/>
                    </a:lnTo>
                    <a:lnTo>
                      <a:pt x="432" y="1091"/>
                    </a:lnTo>
                    <a:lnTo>
                      <a:pt x="432" y="1097"/>
                    </a:lnTo>
                    <a:lnTo>
                      <a:pt x="434" y="1098"/>
                    </a:lnTo>
                    <a:lnTo>
                      <a:pt x="436" y="1098"/>
                    </a:lnTo>
                    <a:lnTo>
                      <a:pt x="436" y="1091"/>
                    </a:lnTo>
                    <a:lnTo>
                      <a:pt x="434" y="1089"/>
                    </a:lnTo>
                    <a:lnTo>
                      <a:pt x="436" y="1088"/>
                    </a:lnTo>
                    <a:lnTo>
                      <a:pt x="440" y="1088"/>
                    </a:lnTo>
                    <a:lnTo>
                      <a:pt x="440" y="1089"/>
                    </a:lnTo>
                    <a:lnTo>
                      <a:pt x="441" y="1091"/>
                    </a:lnTo>
                    <a:lnTo>
                      <a:pt x="441" y="1093"/>
                    </a:lnTo>
                    <a:lnTo>
                      <a:pt x="443" y="1095"/>
                    </a:lnTo>
                    <a:lnTo>
                      <a:pt x="452" y="1098"/>
                    </a:lnTo>
                    <a:lnTo>
                      <a:pt x="456" y="1098"/>
                    </a:lnTo>
                    <a:lnTo>
                      <a:pt x="461" y="1093"/>
                    </a:lnTo>
                    <a:lnTo>
                      <a:pt x="461" y="1091"/>
                    </a:lnTo>
                    <a:lnTo>
                      <a:pt x="463" y="1089"/>
                    </a:lnTo>
                    <a:lnTo>
                      <a:pt x="465" y="1089"/>
                    </a:lnTo>
                    <a:lnTo>
                      <a:pt x="466" y="1088"/>
                    </a:lnTo>
                    <a:lnTo>
                      <a:pt x="468" y="1089"/>
                    </a:lnTo>
                    <a:lnTo>
                      <a:pt x="470" y="1086"/>
                    </a:lnTo>
                    <a:lnTo>
                      <a:pt x="473" y="1088"/>
                    </a:lnTo>
                    <a:lnTo>
                      <a:pt x="475" y="1086"/>
                    </a:lnTo>
                    <a:lnTo>
                      <a:pt x="481" y="1091"/>
                    </a:lnTo>
                    <a:lnTo>
                      <a:pt x="486" y="1088"/>
                    </a:lnTo>
                    <a:lnTo>
                      <a:pt x="486" y="1086"/>
                    </a:lnTo>
                    <a:lnTo>
                      <a:pt x="491" y="1086"/>
                    </a:lnTo>
                    <a:lnTo>
                      <a:pt x="493" y="1084"/>
                    </a:lnTo>
                    <a:lnTo>
                      <a:pt x="497" y="1086"/>
                    </a:lnTo>
                    <a:lnTo>
                      <a:pt x="498" y="1088"/>
                    </a:lnTo>
                    <a:lnTo>
                      <a:pt x="498" y="1093"/>
                    </a:lnTo>
                    <a:lnTo>
                      <a:pt x="502" y="1097"/>
                    </a:lnTo>
                    <a:lnTo>
                      <a:pt x="507" y="1097"/>
                    </a:lnTo>
                    <a:lnTo>
                      <a:pt x="511" y="1097"/>
                    </a:lnTo>
                    <a:lnTo>
                      <a:pt x="511" y="1097"/>
                    </a:lnTo>
                    <a:lnTo>
                      <a:pt x="513" y="1100"/>
                    </a:lnTo>
                    <a:lnTo>
                      <a:pt x="518" y="1100"/>
                    </a:lnTo>
                    <a:lnTo>
                      <a:pt x="520" y="1098"/>
                    </a:lnTo>
                    <a:lnTo>
                      <a:pt x="522" y="1091"/>
                    </a:lnTo>
                    <a:lnTo>
                      <a:pt x="525" y="1093"/>
                    </a:lnTo>
                    <a:lnTo>
                      <a:pt x="527" y="1097"/>
                    </a:lnTo>
                    <a:lnTo>
                      <a:pt x="538" y="1097"/>
                    </a:lnTo>
                    <a:lnTo>
                      <a:pt x="540" y="1095"/>
                    </a:lnTo>
                    <a:lnTo>
                      <a:pt x="543" y="1093"/>
                    </a:lnTo>
                    <a:lnTo>
                      <a:pt x="548" y="1080"/>
                    </a:lnTo>
                    <a:lnTo>
                      <a:pt x="547" y="1077"/>
                    </a:lnTo>
                    <a:lnTo>
                      <a:pt x="538" y="1075"/>
                    </a:lnTo>
                    <a:lnTo>
                      <a:pt x="534" y="1072"/>
                    </a:lnTo>
                    <a:lnTo>
                      <a:pt x="527" y="1070"/>
                    </a:lnTo>
                    <a:lnTo>
                      <a:pt x="527" y="1068"/>
                    </a:lnTo>
                    <a:lnTo>
                      <a:pt x="527" y="1066"/>
                    </a:lnTo>
                    <a:lnTo>
                      <a:pt x="522" y="1064"/>
                    </a:lnTo>
                    <a:lnTo>
                      <a:pt x="522" y="1063"/>
                    </a:lnTo>
                    <a:lnTo>
                      <a:pt x="523" y="1063"/>
                    </a:lnTo>
                    <a:lnTo>
                      <a:pt x="527" y="1059"/>
                    </a:lnTo>
                    <a:lnTo>
                      <a:pt x="536" y="1055"/>
                    </a:lnTo>
                    <a:lnTo>
                      <a:pt x="538" y="1054"/>
                    </a:lnTo>
                    <a:lnTo>
                      <a:pt x="538" y="1050"/>
                    </a:lnTo>
                    <a:lnTo>
                      <a:pt x="532" y="1043"/>
                    </a:lnTo>
                    <a:lnTo>
                      <a:pt x="534" y="1041"/>
                    </a:lnTo>
                    <a:lnTo>
                      <a:pt x="536" y="1039"/>
                    </a:lnTo>
                    <a:lnTo>
                      <a:pt x="538" y="1038"/>
                    </a:lnTo>
                    <a:lnTo>
                      <a:pt x="540" y="1036"/>
                    </a:lnTo>
                    <a:lnTo>
                      <a:pt x="541" y="1036"/>
                    </a:lnTo>
                    <a:lnTo>
                      <a:pt x="543" y="1036"/>
                    </a:lnTo>
                    <a:lnTo>
                      <a:pt x="547" y="1036"/>
                    </a:lnTo>
                    <a:lnTo>
                      <a:pt x="548" y="1036"/>
                    </a:lnTo>
                    <a:lnTo>
                      <a:pt x="552" y="1036"/>
                    </a:lnTo>
                    <a:lnTo>
                      <a:pt x="556" y="1036"/>
                    </a:lnTo>
                    <a:lnTo>
                      <a:pt x="556" y="1034"/>
                    </a:lnTo>
                    <a:lnTo>
                      <a:pt x="556" y="1032"/>
                    </a:lnTo>
                    <a:lnTo>
                      <a:pt x="550" y="1029"/>
                    </a:lnTo>
                    <a:lnTo>
                      <a:pt x="541" y="1029"/>
                    </a:lnTo>
                    <a:lnTo>
                      <a:pt x="540" y="1025"/>
                    </a:lnTo>
                    <a:lnTo>
                      <a:pt x="541" y="1023"/>
                    </a:lnTo>
                    <a:lnTo>
                      <a:pt x="543" y="1023"/>
                    </a:lnTo>
                    <a:lnTo>
                      <a:pt x="545" y="1023"/>
                    </a:lnTo>
                    <a:lnTo>
                      <a:pt x="547" y="1020"/>
                    </a:lnTo>
                    <a:lnTo>
                      <a:pt x="545" y="1018"/>
                    </a:lnTo>
                    <a:lnTo>
                      <a:pt x="543" y="1020"/>
                    </a:lnTo>
                    <a:lnTo>
                      <a:pt x="538" y="1020"/>
                    </a:lnTo>
                    <a:lnTo>
                      <a:pt x="538" y="1018"/>
                    </a:lnTo>
                    <a:lnTo>
                      <a:pt x="538" y="1016"/>
                    </a:lnTo>
                    <a:lnTo>
                      <a:pt x="540" y="1014"/>
                    </a:lnTo>
                    <a:lnTo>
                      <a:pt x="538" y="1011"/>
                    </a:lnTo>
                    <a:lnTo>
                      <a:pt x="541" y="1011"/>
                    </a:lnTo>
                    <a:lnTo>
                      <a:pt x="543" y="1007"/>
                    </a:lnTo>
                    <a:lnTo>
                      <a:pt x="545" y="1007"/>
                    </a:lnTo>
                    <a:lnTo>
                      <a:pt x="547" y="1011"/>
                    </a:lnTo>
                    <a:lnTo>
                      <a:pt x="548" y="1009"/>
                    </a:lnTo>
                    <a:lnTo>
                      <a:pt x="552" y="1009"/>
                    </a:lnTo>
                    <a:lnTo>
                      <a:pt x="554" y="1009"/>
                    </a:lnTo>
                    <a:lnTo>
                      <a:pt x="561" y="1009"/>
                    </a:lnTo>
                    <a:lnTo>
                      <a:pt x="563" y="1011"/>
                    </a:lnTo>
                    <a:lnTo>
                      <a:pt x="565" y="1007"/>
                    </a:lnTo>
                    <a:lnTo>
                      <a:pt x="568" y="1007"/>
                    </a:lnTo>
                    <a:lnTo>
                      <a:pt x="572" y="1007"/>
                    </a:lnTo>
                    <a:lnTo>
                      <a:pt x="573" y="1005"/>
                    </a:lnTo>
                    <a:lnTo>
                      <a:pt x="577" y="1005"/>
                    </a:lnTo>
                    <a:lnTo>
                      <a:pt x="581" y="1002"/>
                    </a:lnTo>
                    <a:lnTo>
                      <a:pt x="582" y="1004"/>
                    </a:lnTo>
                    <a:lnTo>
                      <a:pt x="584" y="1004"/>
                    </a:lnTo>
                    <a:lnTo>
                      <a:pt x="586" y="1004"/>
                    </a:lnTo>
                    <a:lnTo>
                      <a:pt x="588" y="1002"/>
                    </a:lnTo>
                    <a:lnTo>
                      <a:pt x="591" y="1000"/>
                    </a:lnTo>
                    <a:lnTo>
                      <a:pt x="593" y="1000"/>
                    </a:lnTo>
                    <a:lnTo>
                      <a:pt x="597" y="1000"/>
                    </a:lnTo>
                    <a:lnTo>
                      <a:pt x="598" y="998"/>
                    </a:lnTo>
                    <a:lnTo>
                      <a:pt x="600" y="998"/>
                    </a:lnTo>
                    <a:lnTo>
                      <a:pt x="602" y="1000"/>
                    </a:lnTo>
                    <a:lnTo>
                      <a:pt x="606" y="993"/>
                    </a:lnTo>
                    <a:lnTo>
                      <a:pt x="607" y="991"/>
                    </a:lnTo>
                    <a:lnTo>
                      <a:pt x="609" y="991"/>
                    </a:lnTo>
                    <a:lnTo>
                      <a:pt x="613" y="991"/>
                    </a:lnTo>
                    <a:lnTo>
                      <a:pt x="618" y="991"/>
                    </a:lnTo>
                    <a:lnTo>
                      <a:pt x="618" y="991"/>
                    </a:lnTo>
                    <a:lnTo>
                      <a:pt x="645" y="984"/>
                    </a:lnTo>
                    <a:lnTo>
                      <a:pt x="647" y="982"/>
                    </a:lnTo>
                    <a:lnTo>
                      <a:pt x="650" y="982"/>
                    </a:lnTo>
                    <a:lnTo>
                      <a:pt x="652" y="982"/>
                    </a:lnTo>
                    <a:lnTo>
                      <a:pt x="654" y="980"/>
                    </a:lnTo>
                    <a:lnTo>
                      <a:pt x="654" y="975"/>
                    </a:lnTo>
                    <a:lnTo>
                      <a:pt x="656" y="975"/>
                    </a:lnTo>
                    <a:lnTo>
                      <a:pt x="657" y="975"/>
                    </a:lnTo>
                    <a:lnTo>
                      <a:pt x="659" y="973"/>
                    </a:lnTo>
                    <a:lnTo>
                      <a:pt x="661" y="972"/>
                    </a:lnTo>
                    <a:lnTo>
                      <a:pt x="665" y="972"/>
                    </a:lnTo>
                    <a:lnTo>
                      <a:pt x="665" y="970"/>
                    </a:lnTo>
                    <a:lnTo>
                      <a:pt x="668" y="970"/>
                    </a:lnTo>
                    <a:lnTo>
                      <a:pt x="670" y="972"/>
                    </a:lnTo>
                    <a:lnTo>
                      <a:pt x="672" y="972"/>
                    </a:lnTo>
                    <a:lnTo>
                      <a:pt x="673" y="972"/>
                    </a:lnTo>
                    <a:lnTo>
                      <a:pt x="675" y="972"/>
                    </a:lnTo>
                    <a:lnTo>
                      <a:pt x="679" y="972"/>
                    </a:lnTo>
                    <a:lnTo>
                      <a:pt x="681" y="973"/>
                    </a:lnTo>
                    <a:lnTo>
                      <a:pt x="684" y="977"/>
                    </a:lnTo>
                    <a:lnTo>
                      <a:pt x="688" y="973"/>
                    </a:lnTo>
                    <a:lnTo>
                      <a:pt x="693" y="973"/>
                    </a:lnTo>
                    <a:lnTo>
                      <a:pt x="695" y="973"/>
                    </a:lnTo>
                    <a:lnTo>
                      <a:pt x="697" y="975"/>
                    </a:lnTo>
                    <a:lnTo>
                      <a:pt x="697" y="979"/>
                    </a:lnTo>
                    <a:lnTo>
                      <a:pt x="697" y="986"/>
                    </a:lnTo>
                    <a:lnTo>
                      <a:pt x="698" y="988"/>
                    </a:lnTo>
                    <a:lnTo>
                      <a:pt x="702" y="991"/>
                    </a:lnTo>
                    <a:lnTo>
                      <a:pt x="700" y="993"/>
                    </a:lnTo>
                    <a:lnTo>
                      <a:pt x="700" y="997"/>
                    </a:lnTo>
                    <a:lnTo>
                      <a:pt x="698" y="1002"/>
                    </a:lnTo>
                    <a:lnTo>
                      <a:pt x="698" y="1004"/>
                    </a:lnTo>
                    <a:lnTo>
                      <a:pt x="700" y="1005"/>
                    </a:lnTo>
                    <a:lnTo>
                      <a:pt x="704" y="1004"/>
                    </a:lnTo>
                    <a:lnTo>
                      <a:pt x="706" y="1005"/>
                    </a:lnTo>
                    <a:lnTo>
                      <a:pt x="709" y="1005"/>
                    </a:lnTo>
                    <a:lnTo>
                      <a:pt x="709" y="1004"/>
                    </a:lnTo>
                    <a:lnTo>
                      <a:pt x="713" y="1002"/>
                    </a:lnTo>
                    <a:lnTo>
                      <a:pt x="715" y="1004"/>
                    </a:lnTo>
                    <a:lnTo>
                      <a:pt x="715" y="998"/>
                    </a:lnTo>
                    <a:lnTo>
                      <a:pt x="716" y="1000"/>
                    </a:lnTo>
                    <a:lnTo>
                      <a:pt x="718" y="1004"/>
                    </a:lnTo>
                    <a:lnTo>
                      <a:pt x="720" y="1005"/>
                    </a:lnTo>
                    <a:lnTo>
                      <a:pt x="720" y="1007"/>
                    </a:lnTo>
                    <a:lnTo>
                      <a:pt x="720" y="1011"/>
                    </a:lnTo>
                    <a:lnTo>
                      <a:pt x="723" y="1011"/>
                    </a:lnTo>
                    <a:lnTo>
                      <a:pt x="723" y="1009"/>
                    </a:lnTo>
                    <a:lnTo>
                      <a:pt x="722" y="1007"/>
                    </a:lnTo>
                    <a:lnTo>
                      <a:pt x="723" y="1005"/>
                    </a:lnTo>
                    <a:lnTo>
                      <a:pt x="729" y="1007"/>
                    </a:lnTo>
                    <a:lnTo>
                      <a:pt x="731" y="1007"/>
                    </a:lnTo>
                    <a:lnTo>
                      <a:pt x="732" y="1009"/>
                    </a:lnTo>
                    <a:lnTo>
                      <a:pt x="734" y="1011"/>
                    </a:lnTo>
                    <a:lnTo>
                      <a:pt x="736" y="1011"/>
                    </a:lnTo>
                    <a:lnTo>
                      <a:pt x="738" y="1009"/>
                    </a:lnTo>
                    <a:lnTo>
                      <a:pt x="740" y="1007"/>
                    </a:lnTo>
                    <a:lnTo>
                      <a:pt x="741" y="1009"/>
                    </a:lnTo>
                    <a:lnTo>
                      <a:pt x="741" y="1013"/>
                    </a:lnTo>
                    <a:lnTo>
                      <a:pt x="738" y="1013"/>
                    </a:lnTo>
                    <a:lnTo>
                      <a:pt x="736" y="1014"/>
                    </a:lnTo>
                    <a:lnTo>
                      <a:pt x="734" y="1016"/>
                    </a:lnTo>
                    <a:lnTo>
                      <a:pt x="734" y="1018"/>
                    </a:lnTo>
                    <a:lnTo>
                      <a:pt x="734" y="1022"/>
                    </a:lnTo>
                    <a:lnTo>
                      <a:pt x="736" y="1023"/>
                    </a:lnTo>
                    <a:lnTo>
                      <a:pt x="738" y="1023"/>
                    </a:lnTo>
                    <a:lnTo>
                      <a:pt x="740" y="1022"/>
                    </a:lnTo>
                    <a:lnTo>
                      <a:pt x="745" y="1020"/>
                    </a:lnTo>
                    <a:lnTo>
                      <a:pt x="747" y="1020"/>
                    </a:lnTo>
                    <a:lnTo>
                      <a:pt x="748" y="1020"/>
                    </a:lnTo>
                    <a:lnTo>
                      <a:pt x="750" y="1022"/>
                    </a:lnTo>
                    <a:lnTo>
                      <a:pt x="752" y="1022"/>
                    </a:lnTo>
                    <a:lnTo>
                      <a:pt x="752" y="1020"/>
                    </a:lnTo>
                    <a:lnTo>
                      <a:pt x="754" y="1018"/>
                    </a:lnTo>
                    <a:lnTo>
                      <a:pt x="756" y="1018"/>
                    </a:lnTo>
                    <a:lnTo>
                      <a:pt x="759" y="1014"/>
                    </a:lnTo>
                    <a:lnTo>
                      <a:pt x="763" y="1013"/>
                    </a:lnTo>
                    <a:lnTo>
                      <a:pt x="766" y="1011"/>
                    </a:lnTo>
                    <a:lnTo>
                      <a:pt x="768" y="1005"/>
                    </a:lnTo>
                    <a:lnTo>
                      <a:pt x="770" y="1004"/>
                    </a:lnTo>
                    <a:lnTo>
                      <a:pt x="773" y="1005"/>
                    </a:lnTo>
                    <a:lnTo>
                      <a:pt x="779" y="1002"/>
                    </a:lnTo>
                    <a:lnTo>
                      <a:pt x="781" y="1000"/>
                    </a:lnTo>
                    <a:lnTo>
                      <a:pt x="786" y="1000"/>
                    </a:lnTo>
                    <a:lnTo>
                      <a:pt x="790" y="998"/>
                    </a:lnTo>
                    <a:lnTo>
                      <a:pt x="791" y="1000"/>
                    </a:lnTo>
                    <a:lnTo>
                      <a:pt x="791" y="1002"/>
                    </a:lnTo>
                    <a:lnTo>
                      <a:pt x="790" y="1004"/>
                    </a:lnTo>
                    <a:lnTo>
                      <a:pt x="788" y="1005"/>
                    </a:lnTo>
                    <a:lnTo>
                      <a:pt x="784" y="1005"/>
                    </a:lnTo>
                    <a:lnTo>
                      <a:pt x="784" y="1007"/>
                    </a:lnTo>
                    <a:lnTo>
                      <a:pt x="786" y="1009"/>
                    </a:lnTo>
                    <a:lnTo>
                      <a:pt x="788" y="1011"/>
                    </a:lnTo>
                    <a:lnTo>
                      <a:pt x="807" y="1029"/>
                    </a:lnTo>
                    <a:lnTo>
                      <a:pt x="843" y="1093"/>
                    </a:lnTo>
                    <a:lnTo>
                      <a:pt x="847" y="1089"/>
                    </a:lnTo>
                    <a:lnTo>
                      <a:pt x="848" y="1088"/>
                    </a:lnTo>
                    <a:lnTo>
                      <a:pt x="848" y="1086"/>
                    </a:lnTo>
                    <a:lnTo>
                      <a:pt x="850" y="1082"/>
                    </a:lnTo>
                    <a:lnTo>
                      <a:pt x="854" y="1080"/>
                    </a:lnTo>
                    <a:lnTo>
                      <a:pt x="856" y="1084"/>
                    </a:lnTo>
                    <a:lnTo>
                      <a:pt x="857" y="1084"/>
                    </a:lnTo>
                    <a:lnTo>
                      <a:pt x="861" y="1086"/>
                    </a:lnTo>
                    <a:lnTo>
                      <a:pt x="861" y="1088"/>
                    </a:lnTo>
                    <a:lnTo>
                      <a:pt x="861" y="1091"/>
                    </a:lnTo>
                    <a:lnTo>
                      <a:pt x="863" y="1091"/>
                    </a:lnTo>
                    <a:lnTo>
                      <a:pt x="865" y="1095"/>
                    </a:lnTo>
                    <a:lnTo>
                      <a:pt x="872" y="1093"/>
                    </a:lnTo>
                    <a:lnTo>
                      <a:pt x="877" y="1095"/>
                    </a:lnTo>
                    <a:lnTo>
                      <a:pt x="879" y="1095"/>
                    </a:lnTo>
                    <a:lnTo>
                      <a:pt x="882" y="1095"/>
                    </a:lnTo>
                    <a:lnTo>
                      <a:pt x="884" y="1093"/>
                    </a:lnTo>
                    <a:lnTo>
                      <a:pt x="886" y="1091"/>
                    </a:lnTo>
                    <a:lnTo>
                      <a:pt x="888" y="1091"/>
                    </a:lnTo>
                    <a:lnTo>
                      <a:pt x="890" y="1091"/>
                    </a:lnTo>
                    <a:lnTo>
                      <a:pt x="891" y="1089"/>
                    </a:lnTo>
                    <a:lnTo>
                      <a:pt x="893" y="1088"/>
                    </a:lnTo>
                    <a:lnTo>
                      <a:pt x="898" y="1089"/>
                    </a:lnTo>
                    <a:lnTo>
                      <a:pt x="900" y="1089"/>
                    </a:lnTo>
                    <a:lnTo>
                      <a:pt x="900" y="1091"/>
                    </a:lnTo>
                    <a:lnTo>
                      <a:pt x="902" y="1093"/>
                    </a:lnTo>
                    <a:lnTo>
                      <a:pt x="906" y="1097"/>
                    </a:lnTo>
                    <a:lnTo>
                      <a:pt x="907" y="1098"/>
                    </a:lnTo>
                    <a:lnTo>
                      <a:pt x="909" y="1100"/>
                    </a:lnTo>
                    <a:lnTo>
                      <a:pt x="909" y="1102"/>
                    </a:lnTo>
                    <a:lnTo>
                      <a:pt x="909" y="1105"/>
                    </a:lnTo>
                    <a:lnTo>
                      <a:pt x="909" y="1107"/>
                    </a:lnTo>
                    <a:lnTo>
                      <a:pt x="913" y="1107"/>
                    </a:lnTo>
                    <a:lnTo>
                      <a:pt x="918" y="1111"/>
                    </a:lnTo>
                    <a:lnTo>
                      <a:pt x="920" y="1113"/>
                    </a:lnTo>
                    <a:lnTo>
                      <a:pt x="920" y="1114"/>
                    </a:lnTo>
                    <a:lnTo>
                      <a:pt x="922" y="1116"/>
                    </a:lnTo>
                    <a:lnTo>
                      <a:pt x="923" y="1118"/>
                    </a:lnTo>
                    <a:lnTo>
                      <a:pt x="925" y="1122"/>
                    </a:lnTo>
                    <a:lnTo>
                      <a:pt x="927" y="1123"/>
                    </a:lnTo>
                    <a:lnTo>
                      <a:pt x="932" y="1123"/>
                    </a:lnTo>
                    <a:lnTo>
                      <a:pt x="936" y="1125"/>
                    </a:lnTo>
                    <a:lnTo>
                      <a:pt x="941" y="1125"/>
                    </a:lnTo>
                    <a:lnTo>
                      <a:pt x="941" y="1123"/>
                    </a:lnTo>
                    <a:lnTo>
                      <a:pt x="943" y="1122"/>
                    </a:lnTo>
                    <a:lnTo>
                      <a:pt x="948" y="1120"/>
                    </a:lnTo>
                    <a:lnTo>
                      <a:pt x="948" y="1123"/>
                    </a:lnTo>
                    <a:lnTo>
                      <a:pt x="950" y="1125"/>
                    </a:lnTo>
                    <a:lnTo>
                      <a:pt x="952" y="1127"/>
                    </a:lnTo>
                    <a:lnTo>
                      <a:pt x="954" y="1130"/>
                    </a:lnTo>
                    <a:lnTo>
                      <a:pt x="956" y="1132"/>
                    </a:lnTo>
                    <a:lnTo>
                      <a:pt x="956" y="1134"/>
                    </a:lnTo>
                    <a:lnTo>
                      <a:pt x="954" y="1141"/>
                    </a:lnTo>
                    <a:lnTo>
                      <a:pt x="959" y="1143"/>
                    </a:lnTo>
                    <a:lnTo>
                      <a:pt x="964" y="1139"/>
                    </a:lnTo>
                    <a:lnTo>
                      <a:pt x="966" y="1139"/>
                    </a:lnTo>
                    <a:lnTo>
                      <a:pt x="970" y="1132"/>
                    </a:lnTo>
                    <a:lnTo>
                      <a:pt x="975" y="1127"/>
                    </a:lnTo>
                    <a:lnTo>
                      <a:pt x="984" y="1123"/>
                    </a:lnTo>
                    <a:lnTo>
                      <a:pt x="1011" y="1105"/>
                    </a:lnTo>
                    <a:lnTo>
                      <a:pt x="1038" y="1098"/>
                    </a:lnTo>
                    <a:lnTo>
                      <a:pt x="1048" y="1100"/>
                    </a:lnTo>
                    <a:lnTo>
                      <a:pt x="1052" y="1104"/>
                    </a:lnTo>
                    <a:lnTo>
                      <a:pt x="1063" y="1102"/>
                    </a:lnTo>
                    <a:lnTo>
                      <a:pt x="1068" y="1104"/>
                    </a:lnTo>
                    <a:lnTo>
                      <a:pt x="1079" y="1114"/>
                    </a:lnTo>
                    <a:lnTo>
                      <a:pt x="1084" y="1114"/>
                    </a:lnTo>
                    <a:lnTo>
                      <a:pt x="1098" y="1113"/>
                    </a:lnTo>
                    <a:lnTo>
                      <a:pt x="1102" y="1114"/>
                    </a:lnTo>
                    <a:lnTo>
                      <a:pt x="1125" y="1113"/>
                    </a:lnTo>
                    <a:lnTo>
                      <a:pt x="1129" y="1111"/>
                    </a:lnTo>
                    <a:lnTo>
                      <a:pt x="1127" y="1105"/>
                    </a:lnTo>
                    <a:lnTo>
                      <a:pt x="1129" y="1102"/>
                    </a:lnTo>
                    <a:lnTo>
                      <a:pt x="1131" y="1097"/>
                    </a:lnTo>
                    <a:lnTo>
                      <a:pt x="1131" y="1093"/>
                    </a:lnTo>
                    <a:lnTo>
                      <a:pt x="1127" y="1088"/>
                    </a:lnTo>
                    <a:lnTo>
                      <a:pt x="1127" y="1082"/>
                    </a:lnTo>
                    <a:lnTo>
                      <a:pt x="1127" y="1077"/>
                    </a:lnTo>
                    <a:lnTo>
                      <a:pt x="1145" y="1059"/>
                    </a:lnTo>
                    <a:lnTo>
                      <a:pt x="1148" y="1059"/>
                    </a:lnTo>
                    <a:lnTo>
                      <a:pt x="1154" y="1061"/>
                    </a:lnTo>
                    <a:lnTo>
                      <a:pt x="1159" y="1064"/>
                    </a:lnTo>
                    <a:lnTo>
                      <a:pt x="1170" y="1066"/>
                    </a:lnTo>
                    <a:lnTo>
                      <a:pt x="1173" y="1072"/>
                    </a:lnTo>
                    <a:lnTo>
                      <a:pt x="1191" y="1075"/>
                    </a:lnTo>
                    <a:lnTo>
                      <a:pt x="1195" y="1080"/>
                    </a:lnTo>
                    <a:lnTo>
                      <a:pt x="1197" y="1095"/>
                    </a:lnTo>
                    <a:lnTo>
                      <a:pt x="1197" y="1095"/>
                    </a:lnTo>
                    <a:lnTo>
                      <a:pt x="1209" y="1104"/>
                    </a:lnTo>
                    <a:lnTo>
                      <a:pt x="1218" y="1107"/>
                    </a:lnTo>
                    <a:lnTo>
                      <a:pt x="1227" y="1105"/>
                    </a:lnTo>
                    <a:lnTo>
                      <a:pt x="1241" y="1098"/>
                    </a:lnTo>
                    <a:lnTo>
                      <a:pt x="1264" y="1105"/>
                    </a:lnTo>
                    <a:lnTo>
                      <a:pt x="1268" y="1107"/>
                    </a:lnTo>
                    <a:lnTo>
                      <a:pt x="1268" y="1107"/>
                    </a:lnTo>
                    <a:lnTo>
                      <a:pt x="1275" y="1113"/>
                    </a:lnTo>
                    <a:lnTo>
                      <a:pt x="1288" y="1118"/>
                    </a:lnTo>
                    <a:lnTo>
                      <a:pt x="1293" y="1123"/>
                    </a:lnTo>
                    <a:lnTo>
                      <a:pt x="1300" y="1129"/>
                    </a:lnTo>
                    <a:lnTo>
                      <a:pt x="1329" y="1130"/>
                    </a:lnTo>
                    <a:lnTo>
                      <a:pt x="1334" y="1134"/>
                    </a:lnTo>
                    <a:lnTo>
                      <a:pt x="1368" y="1125"/>
                    </a:lnTo>
                    <a:lnTo>
                      <a:pt x="1386" y="1111"/>
                    </a:lnTo>
                    <a:lnTo>
                      <a:pt x="1393" y="1109"/>
                    </a:lnTo>
                    <a:lnTo>
                      <a:pt x="1400" y="1111"/>
                    </a:lnTo>
                    <a:lnTo>
                      <a:pt x="1406" y="1116"/>
                    </a:lnTo>
                    <a:lnTo>
                      <a:pt x="1413" y="1116"/>
                    </a:lnTo>
                    <a:lnTo>
                      <a:pt x="1416" y="1116"/>
                    </a:lnTo>
                    <a:lnTo>
                      <a:pt x="1422" y="1114"/>
                    </a:lnTo>
                    <a:lnTo>
                      <a:pt x="1423" y="1114"/>
                    </a:lnTo>
                    <a:lnTo>
                      <a:pt x="1447" y="1125"/>
                    </a:lnTo>
                    <a:lnTo>
                      <a:pt x="1450" y="1123"/>
                    </a:lnTo>
                    <a:lnTo>
                      <a:pt x="1468" y="1111"/>
                    </a:lnTo>
                    <a:lnTo>
                      <a:pt x="1470" y="1109"/>
                    </a:lnTo>
                    <a:lnTo>
                      <a:pt x="1468" y="1105"/>
                    </a:lnTo>
                    <a:lnTo>
                      <a:pt x="1470" y="1102"/>
                    </a:lnTo>
                    <a:lnTo>
                      <a:pt x="1473" y="1095"/>
                    </a:lnTo>
                    <a:lnTo>
                      <a:pt x="1480" y="1075"/>
                    </a:lnTo>
                    <a:lnTo>
                      <a:pt x="1486" y="1072"/>
                    </a:lnTo>
                    <a:lnTo>
                      <a:pt x="1493" y="1064"/>
                    </a:lnTo>
                    <a:lnTo>
                      <a:pt x="1493" y="1063"/>
                    </a:lnTo>
                    <a:lnTo>
                      <a:pt x="1491" y="1059"/>
                    </a:lnTo>
                    <a:lnTo>
                      <a:pt x="1491" y="1052"/>
                    </a:lnTo>
                    <a:lnTo>
                      <a:pt x="1489" y="1050"/>
                    </a:lnTo>
                    <a:lnTo>
                      <a:pt x="1480" y="1052"/>
                    </a:lnTo>
                    <a:lnTo>
                      <a:pt x="1480" y="1050"/>
                    </a:lnTo>
                    <a:lnTo>
                      <a:pt x="1480" y="1047"/>
                    </a:lnTo>
                    <a:lnTo>
                      <a:pt x="1488" y="1039"/>
                    </a:lnTo>
                    <a:lnTo>
                      <a:pt x="1491" y="1036"/>
                    </a:lnTo>
                    <a:lnTo>
                      <a:pt x="1495" y="1032"/>
                    </a:lnTo>
                    <a:lnTo>
                      <a:pt x="1538" y="1025"/>
                    </a:lnTo>
                    <a:lnTo>
                      <a:pt x="1552" y="1034"/>
                    </a:lnTo>
                    <a:lnTo>
                      <a:pt x="1557" y="1036"/>
                    </a:lnTo>
                    <a:lnTo>
                      <a:pt x="1563" y="1036"/>
                    </a:lnTo>
                    <a:lnTo>
                      <a:pt x="1572" y="1038"/>
                    </a:lnTo>
                    <a:lnTo>
                      <a:pt x="1577" y="1048"/>
                    </a:lnTo>
                    <a:lnTo>
                      <a:pt x="1577" y="1050"/>
                    </a:lnTo>
                    <a:lnTo>
                      <a:pt x="1582" y="1055"/>
                    </a:lnTo>
                    <a:lnTo>
                      <a:pt x="1582" y="1057"/>
                    </a:lnTo>
                    <a:lnTo>
                      <a:pt x="1582" y="1055"/>
                    </a:lnTo>
                    <a:lnTo>
                      <a:pt x="1600" y="1109"/>
                    </a:lnTo>
                    <a:lnTo>
                      <a:pt x="1600" y="1111"/>
                    </a:lnTo>
                    <a:lnTo>
                      <a:pt x="1600" y="1111"/>
                    </a:lnTo>
                    <a:lnTo>
                      <a:pt x="1600" y="1123"/>
                    </a:lnTo>
                    <a:lnTo>
                      <a:pt x="1604" y="1125"/>
                    </a:lnTo>
                    <a:lnTo>
                      <a:pt x="1611" y="1127"/>
                    </a:lnTo>
                    <a:lnTo>
                      <a:pt x="1618" y="1125"/>
                    </a:lnTo>
                    <a:lnTo>
                      <a:pt x="1632" y="1130"/>
                    </a:lnTo>
                    <a:lnTo>
                      <a:pt x="1641" y="1138"/>
                    </a:lnTo>
                    <a:lnTo>
                      <a:pt x="1647" y="1139"/>
                    </a:lnTo>
                    <a:lnTo>
                      <a:pt x="1650" y="1141"/>
                    </a:lnTo>
                    <a:lnTo>
                      <a:pt x="1652" y="1143"/>
                    </a:lnTo>
                    <a:lnTo>
                      <a:pt x="1652" y="1145"/>
                    </a:lnTo>
                    <a:lnTo>
                      <a:pt x="1652" y="1145"/>
                    </a:lnTo>
                    <a:lnTo>
                      <a:pt x="1652" y="1148"/>
                    </a:lnTo>
                    <a:lnTo>
                      <a:pt x="1654" y="1152"/>
                    </a:lnTo>
                    <a:lnTo>
                      <a:pt x="1654" y="1161"/>
                    </a:lnTo>
                    <a:lnTo>
                      <a:pt x="1659" y="1170"/>
                    </a:lnTo>
                    <a:lnTo>
                      <a:pt x="1664" y="1170"/>
                    </a:lnTo>
                    <a:lnTo>
                      <a:pt x="1670" y="1172"/>
                    </a:lnTo>
                    <a:lnTo>
                      <a:pt x="1675" y="1170"/>
                    </a:lnTo>
                    <a:lnTo>
                      <a:pt x="1695" y="1159"/>
                    </a:lnTo>
                    <a:lnTo>
                      <a:pt x="1700" y="1159"/>
                    </a:lnTo>
                    <a:lnTo>
                      <a:pt x="1718" y="1152"/>
                    </a:lnTo>
                    <a:lnTo>
                      <a:pt x="1718" y="1152"/>
                    </a:lnTo>
                    <a:lnTo>
                      <a:pt x="1716" y="1155"/>
                    </a:lnTo>
                    <a:lnTo>
                      <a:pt x="1716" y="1161"/>
                    </a:lnTo>
                    <a:lnTo>
                      <a:pt x="1718" y="1166"/>
                    </a:lnTo>
                    <a:lnTo>
                      <a:pt x="1716" y="1172"/>
                    </a:lnTo>
                    <a:lnTo>
                      <a:pt x="1709" y="1179"/>
                    </a:lnTo>
                    <a:lnTo>
                      <a:pt x="1702" y="1207"/>
                    </a:lnTo>
                    <a:lnTo>
                      <a:pt x="1693" y="1223"/>
                    </a:lnTo>
                    <a:lnTo>
                      <a:pt x="1691" y="1229"/>
                    </a:lnTo>
                    <a:lnTo>
                      <a:pt x="1688" y="1232"/>
                    </a:lnTo>
                    <a:lnTo>
                      <a:pt x="1686" y="1230"/>
                    </a:lnTo>
                    <a:lnTo>
                      <a:pt x="1672" y="1227"/>
                    </a:lnTo>
                    <a:lnTo>
                      <a:pt x="1657" y="1239"/>
                    </a:lnTo>
                    <a:lnTo>
                      <a:pt x="1659" y="1243"/>
                    </a:lnTo>
                    <a:lnTo>
                      <a:pt x="1661" y="1268"/>
                    </a:lnTo>
                    <a:lnTo>
                      <a:pt x="1657" y="1275"/>
                    </a:lnTo>
                    <a:lnTo>
                      <a:pt x="1650" y="1280"/>
                    </a:lnTo>
                    <a:lnTo>
                      <a:pt x="1652" y="1288"/>
                    </a:lnTo>
                    <a:lnTo>
                      <a:pt x="1652" y="1289"/>
                    </a:lnTo>
                    <a:lnTo>
                      <a:pt x="1654" y="1289"/>
                    </a:lnTo>
                    <a:lnTo>
                      <a:pt x="1654" y="1286"/>
                    </a:lnTo>
                    <a:lnTo>
                      <a:pt x="1654" y="1286"/>
                    </a:lnTo>
                    <a:lnTo>
                      <a:pt x="1661" y="1286"/>
                    </a:lnTo>
                    <a:lnTo>
                      <a:pt x="1663" y="1282"/>
                    </a:lnTo>
                    <a:lnTo>
                      <a:pt x="1664" y="1280"/>
                    </a:lnTo>
                    <a:lnTo>
                      <a:pt x="1666" y="1279"/>
                    </a:lnTo>
                    <a:lnTo>
                      <a:pt x="1670" y="1273"/>
                    </a:lnTo>
                    <a:lnTo>
                      <a:pt x="1672" y="1268"/>
                    </a:lnTo>
                    <a:lnTo>
                      <a:pt x="1672" y="1270"/>
                    </a:lnTo>
                    <a:lnTo>
                      <a:pt x="1675" y="1270"/>
                    </a:lnTo>
                    <a:lnTo>
                      <a:pt x="1673" y="1273"/>
                    </a:lnTo>
                    <a:lnTo>
                      <a:pt x="1673" y="1275"/>
                    </a:lnTo>
                    <a:lnTo>
                      <a:pt x="1677" y="1272"/>
                    </a:lnTo>
                    <a:lnTo>
                      <a:pt x="1679" y="1272"/>
                    </a:lnTo>
                    <a:lnTo>
                      <a:pt x="1679" y="1279"/>
                    </a:lnTo>
                    <a:lnTo>
                      <a:pt x="1679" y="1280"/>
                    </a:lnTo>
                    <a:lnTo>
                      <a:pt x="1686" y="1280"/>
                    </a:lnTo>
                    <a:lnTo>
                      <a:pt x="1688" y="1282"/>
                    </a:lnTo>
                    <a:lnTo>
                      <a:pt x="1689" y="1282"/>
                    </a:lnTo>
                    <a:lnTo>
                      <a:pt x="1691" y="1282"/>
                    </a:lnTo>
                    <a:lnTo>
                      <a:pt x="1695" y="1284"/>
                    </a:lnTo>
                    <a:lnTo>
                      <a:pt x="1700" y="1280"/>
                    </a:lnTo>
                    <a:lnTo>
                      <a:pt x="1704" y="1280"/>
                    </a:lnTo>
                    <a:lnTo>
                      <a:pt x="1727" y="1263"/>
                    </a:lnTo>
                    <a:lnTo>
                      <a:pt x="1732" y="1254"/>
                    </a:lnTo>
                    <a:lnTo>
                      <a:pt x="1734" y="1252"/>
                    </a:lnTo>
                    <a:lnTo>
                      <a:pt x="1739" y="1245"/>
                    </a:lnTo>
                    <a:lnTo>
                      <a:pt x="1741" y="1243"/>
                    </a:lnTo>
                    <a:lnTo>
                      <a:pt x="1802" y="1155"/>
                    </a:lnTo>
                    <a:lnTo>
                      <a:pt x="1804" y="1154"/>
                    </a:lnTo>
                    <a:lnTo>
                      <a:pt x="1805" y="1152"/>
                    </a:lnTo>
                    <a:lnTo>
                      <a:pt x="1807" y="1141"/>
                    </a:lnTo>
                    <a:lnTo>
                      <a:pt x="1807" y="1138"/>
                    </a:lnTo>
                    <a:lnTo>
                      <a:pt x="1811" y="1129"/>
                    </a:lnTo>
                    <a:lnTo>
                      <a:pt x="1809" y="1116"/>
                    </a:lnTo>
                    <a:lnTo>
                      <a:pt x="1813" y="1113"/>
                    </a:lnTo>
                    <a:lnTo>
                      <a:pt x="1813" y="1111"/>
                    </a:lnTo>
                    <a:lnTo>
                      <a:pt x="1811" y="1109"/>
                    </a:lnTo>
                    <a:lnTo>
                      <a:pt x="1809" y="1097"/>
                    </a:lnTo>
                    <a:lnTo>
                      <a:pt x="1811" y="1093"/>
                    </a:lnTo>
                    <a:lnTo>
                      <a:pt x="1813" y="1082"/>
                    </a:lnTo>
                    <a:lnTo>
                      <a:pt x="1813" y="1082"/>
                    </a:lnTo>
                    <a:lnTo>
                      <a:pt x="1813" y="1080"/>
                    </a:lnTo>
                    <a:lnTo>
                      <a:pt x="1814" y="1080"/>
                    </a:lnTo>
                    <a:lnTo>
                      <a:pt x="1814" y="1079"/>
                    </a:lnTo>
                    <a:lnTo>
                      <a:pt x="1818" y="1072"/>
                    </a:lnTo>
                    <a:lnTo>
                      <a:pt x="1820" y="1072"/>
                    </a:lnTo>
                    <a:lnTo>
                      <a:pt x="1823" y="1066"/>
                    </a:lnTo>
                    <a:lnTo>
                      <a:pt x="1823" y="1063"/>
                    </a:lnTo>
                    <a:lnTo>
                      <a:pt x="1825" y="1059"/>
                    </a:lnTo>
                    <a:lnTo>
                      <a:pt x="1820" y="1052"/>
                    </a:lnTo>
                    <a:lnTo>
                      <a:pt x="1822" y="1047"/>
                    </a:lnTo>
                    <a:lnTo>
                      <a:pt x="1820" y="1039"/>
                    </a:lnTo>
                    <a:lnTo>
                      <a:pt x="1813" y="1036"/>
                    </a:lnTo>
                    <a:lnTo>
                      <a:pt x="1811" y="1036"/>
                    </a:lnTo>
                    <a:lnTo>
                      <a:pt x="1807" y="1032"/>
                    </a:lnTo>
                    <a:lnTo>
                      <a:pt x="1802" y="1032"/>
                    </a:lnTo>
                    <a:lnTo>
                      <a:pt x="1800" y="1032"/>
                    </a:lnTo>
                    <a:lnTo>
                      <a:pt x="1802" y="1030"/>
                    </a:lnTo>
                    <a:lnTo>
                      <a:pt x="1805" y="1030"/>
                    </a:lnTo>
                    <a:lnTo>
                      <a:pt x="1809" y="1032"/>
                    </a:lnTo>
                    <a:lnTo>
                      <a:pt x="1813" y="1034"/>
                    </a:lnTo>
                    <a:lnTo>
                      <a:pt x="1814" y="1032"/>
                    </a:lnTo>
                    <a:lnTo>
                      <a:pt x="1820" y="1036"/>
                    </a:lnTo>
                    <a:lnTo>
                      <a:pt x="1822" y="1036"/>
                    </a:lnTo>
                    <a:lnTo>
                      <a:pt x="1823" y="1032"/>
                    </a:lnTo>
                    <a:lnTo>
                      <a:pt x="1823" y="1029"/>
                    </a:lnTo>
                    <a:lnTo>
                      <a:pt x="1822" y="1029"/>
                    </a:lnTo>
                    <a:lnTo>
                      <a:pt x="1807" y="1016"/>
                    </a:lnTo>
                    <a:lnTo>
                      <a:pt x="1805" y="1014"/>
                    </a:lnTo>
                    <a:lnTo>
                      <a:pt x="1805" y="1011"/>
                    </a:lnTo>
                    <a:lnTo>
                      <a:pt x="1802" y="1007"/>
                    </a:lnTo>
                    <a:lnTo>
                      <a:pt x="1798" y="1005"/>
                    </a:lnTo>
                    <a:lnTo>
                      <a:pt x="1798" y="1004"/>
                    </a:lnTo>
                    <a:lnTo>
                      <a:pt x="1798" y="1004"/>
                    </a:lnTo>
                    <a:lnTo>
                      <a:pt x="1795" y="1004"/>
                    </a:lnTo>
                    <a:lnTo>
                      <a:pt x="1791" y="1005"/>
                    </a:lnTo>
                    <a:lnTo>
                      <a:pt x="1788" y="1005"/>
                    </a:lnTo>
                    <a:lnTo>
                      <a:pt x="1780" y="1002"/>
                    </a:lnTo>
                    <a:lnTo>
                      <a:pt x="1780" y="1009"/>
                    </a:lnTo>
                    <a:lnTo>
                      <a:pt x="1782" y="1009"/>
                    </a:lnTo>
                    <a:lnTo>
                      <a:pt x="1779" y="1022"/>
                    </a:lnTo>
                    <a:lnTo>
                      <a:pt x="1775" y="1023"/>
                    </a:lnTo>
                    <a:lnTo>
                      <a:pt x="1775" y="1020"/>
                    </a:lnTo>
                    <a:lnTo>
                      <a:pt x="1779" y="1014"/>
                    </a:lnTo>
                    <a:lnTo>
                      <a:pt x="1777" y="1013"/>
                    </a:lnTo>
                    <a:lnTo>
                      <a:pt x="1772" y="1018"/>
                    </a:lnTo>
                    <a:lnTo>
                      <a:pt x="1763" y="1022"/>
                    </a:lnTo>
                    <a:lnTo>
                      <a:pt x="1757" y="1022"/>
                    </a:lnTo>
                    <a:lnTo>
                      <a:pt x="1757" y="1020"/>
                    </a:lnTo>
                    <a:lnTo>
                      <a:pt x="1761" y="1020"/>
                    </a:lnTo>
                    <a:lnTo>
                      <a:pt x="1764" y="1014"/>
                    </a:lnTo>
                    <a:lnTo>
                      <a:pt x="1764" y="1013"/>
                    </a:lnTo>
                    <a:lnTo>
                      <a:pt x="1761" y="1011"/>
                    </a:lnTo>
                    <a:lnTo>
                      <a:pt x="1759" y="1007"/>
                    </a:lnTo>
                    <a:lnTo>
                      <a:pt x="1761" y="1007"/>
                    </a:lnTo>
                    <a:lnTo>
                      <a:pt x="1764" y="1004"/>
                    </a:lnTo>
                    <a:lnTo>
                      <a:pt x="1764" y="1002"/>
                    </a:lnTo>
                    <a:lnTo>
                      <a:pt x="1759" y="1002"/>
                    </a:lnTo>
                    <a:lnTo>
                      <a:pt x="1757" y="1004"/>
                    </a:lnTo>
                    <a:lnTo>
                      <a:pt x="1755" y="1007"/>
                    </a:lnTo>
                    <a:lnTo>
                      <a:pt x="1757" y="1009"/>
                    </a:lnTo>
                    <a:lnTo>
                      <a:pt x="1755" y="1013"/>
                    </a:lnTo>
                    <a:lnTo>
                      <a:pt x="1754" y="1014"/>
                    </a:lnTo>
                    <a:lnTo>
                      <a:pt x="1752" y="1014"/>
                    </a:lnTo>
                    <a:lnTo>
                      <a:pt x="1750" y="1016"/>
                    </a:lnTo>
                    <a:lnTo>
                      <a:pt x="1748" y="1016"/>
                    </a:lnTo>
                    <a:lnTo>
                      <a:pt x="1750" y="1002"/>
                    </a:lnTo>
                    <a:lnTo>
                      <a:pt x="1750" y="1000"/>
                    </a:lnTo>
                    <a:lnTo>
                      <a:pt x="1750" y="997"/>
                    </a:lnTo>
                    <a:lnTo>
                      <a:pt x="1750" y="993"/>
                    </a:lnTo>
                    <a:lnTo>
                      <a:pt x="1747" y="993"/>
                    </a:lnTo>
                    <a:lnTo>
                      <a:pt x="1732" y="995"/>
                    </a:lnTo>
                    <a:lnTo>
                      <a:pt x="1725" y="989"/>
                    </a:lnTo>
                    <a:lnTo>
                      <a:pt x="1727" y="984"/>
                    </a:lnTo>
                    <a:lnTo>
                      <a:pt x="1734" y="979"/>
                    </a:lnTo>
                    <a:lnTo>
                      <a:pt x="1736" y="977"/>
                    </a:lnTo>
                    <a:lnTo>
                      <a:pt x="1741" y="973"/>
                    </a:lnTo>
                    <a:lnTo>
                      <a:pt x="1745" y="968"/>
                    </a:lnTo>
                    <a:lnTo>
                      <a:pt x="1747" y="966"/>
                    </a:lnTo>
                    <a:lnTo>
                      <a:pt x="1748" y="966"/>
                    </a:lnTo>
                    <a:lnTo>
                      <a:pt x="1764" y="950"/>
                    </a:lnTo>
                    <a:lnTo>
                      <a:pt x="1768" y="945"/>
                    </a:lnTo>
                    <a:lnTo>
                      <a:pt x="1770" y="943"/>
                    </a:lnTo>
                    <a:lnTo>
                      <a:pt x="1772" y="941"/>
                    </a:lnTo>
                    <a:lnTo>
                      <a:pt x="1772" y="938"/>
                    </a:lnTo>
                    <a:lnTo>
                      <a:pt x="1775" y="934"/>
                    </a:lnTo>
                    <a:lnTo>
                      <a:pt x="1777" y="932"/>
                    </a:lnTo>
                    <a:lnTo>
                      <a:pt x="1779" y="932"/>
                    </a:lnTo>
                    <a:lnTo>
                      <a:pt x="1780" y="929"/>
                    </a:lnTo>
                    <a:lnTo>
                      <a:pt x="1789" y="918"/>
                    </a:lnTo>
                    <a:lnTo>
                      <a:pt x="1791" y="918"/>
                    </a:lnTo>
                    <a:lnTo>
                      <a:pt x="1797" y="911"/>
                    </a:lnTo>
                    <a:lnTo>
                      <a:pt x="1800" y="907"/>
                    </a:lnTo>
                    <a:lnTo>
                      <a:pt x="1800" y="907"/>
                    </a:lnTo>
                    <a:lnTo>
                      <a:pt x="1807" y="902"/>
                    </a:lnTo>
                    <a:lnTo>
                      <a:pt x="1809" y="898"/>
                    </a:lnTo>
                    <a:lnTo>
                      <a:pt x="1811" y="893"/>
                    </a:lnTo>
                    <a:lnTo>
                      <a:pt x="1852" y="855"/>
                    </a:lnTo>
                    <a:lnTo>
                      <a:pt x="1895" y="854"/>
                    </a:lnTo>
                    <a:lnTo>
                      <a:pt x="1895" y="857"/>
                    </a:lnTo>
                    <a:lnTo>
                      <a:pt x="1897" y="861"/>
                    </a:lnTo>
                    <a:lnTo>
                      <a:pt x="1898" y="861"/>
                    </a:lnTo>
                    <a:lnTo>
                      <a:pt x="1902" y="859"/>
                    </a:lnTo>
                    <a:lnTo>
                      <a:pt x="1904" y="859"/>
                    </a:lnTo>
                    <a:lnTo>
                      <a:pt x="1904" y="852"/>
                    </a:lnTo>
                    <a:lnTo>
                      <a:pt x="1905" y="852"/>
                    </a:lnTo>
                    <a:lnTo>
                      <a:pt x="1922" y="857"/>
                    </a:lnTo>
                    <a:lnTo>
                      <a:pt x="1927" y="857"/>
                    </a:lnTo>
                    <a:lnTo>
                      <a:pt x="1927" y="855"/>
                    </a:lnTo>
                    <a:lnTo>
                      <a:pt x="1929" y="854"/>
                    </a:lnTo>
                    <a:lnTo>
                      <a:pt x="1934" y="854"/>
                    </a:lnTo>
                    <a:lnTo>
                      <a:pt x="1938" y="859"/>
                    </a:lnTo>
                    <a:lnTo>
                      <a:pt x="1939" y="859"/>
                    </a:lnTo>
                    <a:lnTo>
                      <a:pt x="1943" y="857"/>
                    </a:lnTo>
                    <a:lnTo>
                      <a:pt x="1943" y="855"/>
                    </a:lnTo>
                    <a:lnTo>
                      <a:pt x="1943" y="855"/>
                    </a:lnTo>
                    <a:lnTo>
                      <a:pt x="1941" y="852"/>
                    </a:lnTo>
                    <a:lnTo>
                      <a:pt x="1943" y="850"/>
                    </a:lnTo>
                    <a:lnTo>
                      <a:pt x="1947" y="850"/>
                    </a:lnTo>
                    <a:lnTo>
                      <a:pt x="1947" y="848"/>
                    </a:lnTo>
                    <a:lnTo>
                      <a:pt x="1945" y="847"/>
                    </a:lnTo>
                    <a:lnTo>
                      <a:pt x="1947" y="845"/>
                    </a:lnTo>
                    <a:lnTo>
                      <a:pt x="1950" y="843"/>
                    </a:lnTo>
                    <a:lnTo>
                      <a:pt x="1952" y="843"/>
                    </a:lnTo>
                    <a:lnTo>
                      <a:pt x="1966" y="847"/>
                    </a:lnTo>
                    <a:lnTo>
                      <a:pt x="1970" y="847"/>
                    </a:lnTo>
                    <a:lnTo>
                      <a:pt x="1973" y="850"/>
                    </a:lnTo>
                    <a:lnTo>
                      <a:pt x="1973" y="850"/>
                    </a:lnTo>
                    <a:lnTo>
                      <a:pt x="1975" y="852"/>
                    </a:lnTo>
                    <a:lnTo>
                      <a:pt x="1977" y="848"/>
                    </a:lnTo>
                    <a:lnTo>
                      <a:pt x="1980" y="847"/>
                    </a:lnTo>
                    <a:lnTo>
                      <a:pt x="1984" y="848"/>
                    </a:lnTo>
                    <a:lnTo>
                      <a:pt x="1989" y="854"/>
                    </a:lnTo>
                    <a:lnTo>
                      <a:pt x="1991" y="855"/>
                    </a:lnTo>
                    <a:lnTo>
                      <a:pt x="1997" y="857"/>
                    </a:lnTo>
                    <a:lnTo>
                      <a:pt x="1998" y="859"/>
                    </a:lnTo>
                    <a:lnTo>
                      <a:pt x="1995" y="861"/>
                    </a:lnTo>
                    <a:lnTo>
                      <a:pt x="1982" y="861"/>
                    </a:lnTo>
                    <a:lnTo>
                      <a:pt x="1980" y="863"/>
                    </a:lnTo>
                    <a:lnTo>
                      <a:pt x="1980" y="864"/>
                    </a:lnTo>
                    <a:lnTo>
                      <a:pt x="1984" y="870"/>
                    </a:lnTo>
                    <a:lnTo>
                      <a:pt x="1993" y="870"/>
                    </a:lnTo>
                    <a:lnTo>
                      <a:pt x="1997" y="870"/>
                    </a:lnTo>
                    <a:lnTo>
                      <a:pt x="1998" y="866"/>
                    </a:lnTo>
                    <a:lnTo>
                      <a:pt x="2002" y="864"/>
                    </a:lnTo>
                    <a:lnTo>
                      <a:pt x="2004" y="866"/>
                    </a:lnTo>
                    <a:lnTo>
                      <a:pt x="2007" y="868"/>
                    </a:lnTo>
                    <a:lnTo>
                      <a:pt x="2009" y="866"/>
                    </a:lnTo>
                    <a:lnTo>
                      <a:pt x="2011" y="864"/>
                    </a:lnTo>
                    <a:lnTo>
                      <a:pt x="2014" y="863"/>
                    </a:lnTo>
                    <a:lnTo>
                      <a:pt x="2016" y="861"/>
                    </a:lnTo>
                    <a:lnTo>
                      <a:pt x="2020" y="859"/>
                    </a:lnTo>
                    <a:lnTo>
                      <a:pt x="2023" y="861"/>
                    </a:lnTo>
                    <a:lnTo>
                      <a:pt x="2025" y="864"/>
                    </a:lnTo>
                    <a:lnTo>
                      <a:pt x="2029" y="864"/>
                    </a:lnTo>
                    <a:lnTo>
                      <a:pt x="2032" y="863"/>
                    </a:lnTo>
                    <a:lnTo>
                      <a:pt x="2032" y="861"/>
                    </a:lnTo>
                    <a:lnTo>
                      <a:pt x="2038" y="861"/>
                    </a:lnTo>
                    <a:lnTo>
                      <a:pt x="2039" y="863"/>
                    </a:lnTo>
                    <a:lnTo>
                      <a:pt x="2039" y="861"/>
                    </a:lnTo>
                    <a:lnTo>
                      <a:pt x="2043" y="861"/>
                    </a:lnTo>
                    <a:lnTo>
                      <a:pt x="2043" y="857"/>
                    </a:lnTo>
                    <a:lnTo>
                      <a:pt x="2043" y="855"/>
                    </a:lnTo>
                    <a:lnTo>
                      <a:pt x="2041" y="852"/>
                    </a:lnTo>
                    <a:lnTo>
                      <a:pt x="2034" y="850"/>
                    </a:lnTo>
                    <a:lnTo>
                      <a:pt x="2029" y="850"/>
                    </a:lnTo>
                    <a:lnTo>
                      <a:pt x="2029" y="848"/>
                    </a:lnTo>
                    <a:lnTo>
                      <a:pt x="2030" y="847"/>
                    </a:lnTo>
                    <a:lnTo>
                      <a:pt x="2029" y="839"/>
                    </a:lnTo>
                    <a:lnTo>
                      <a:pt x="2029" y="838"/>
                    </a:lnTo>
                    <a:lnTo>
                      <a:pt x="2030" y="839"/>
                    </a:lnTo>
                    <a:lnTo>
                      <a:pt x="2032" y="839"/>
                    </a:lnTo>
                    <a:lnTo>
                      <a:pt x="2039" y="825"/>
                    </a:lnTo>
                    <a:lnTo>
                      <a:pt x="2043" y="822"/>
                    </a:lnTo>
                    <a:lnTo>
                      <a:pt x="2047" y="820"/>
                    </a:lnTo>
                    <a:lnTo>
                      <a:pt x="2055" y="809"/>
                    </a:lnTo>
                    <a:lnTo>
                      <a:pt x="2057" y="807"/>
                    </a:lnTo>
                    <a:lnTo>
                      <a:pt x="2068" y="795"/>
                    </a:lnTo>
                    <a:lnTo>
                      <a:pt x="2068" y="786"/>
                    </a:lnTo>
                    <a:lnTo>
                      <a:pt x="2077" y="779"/>
                    </a:lnTo>
                    <a:lnTo>
                      <a:pt x="2080" y="777"/>
                    </a:lnTo>
                    <a:lnTo>
                      <a:pt x="2082" y="775"/>
                    </a:lnTo>
                    <a:lnTo>
                      <a:pt x="2091" y="775"/>
                    </a:lnTo>
                    <a:lnTo>
                      <a:pt x="2102" y="773"/>
                    </a:lnTo>
                    <a:lnTo>
                      <a:pt x="2104" y="772"/>
                    </a:lnTo>
                    <a:lnTo>
                      <a:pt x="2105" y="770"/>
                    </a:lnTo>
                    <a:lnTo>
                      <a:pt x="2107" y="770"/>
                    </a:lnTo>
                    <a:lnTo>
                      <a:pt x="2111" y="773"/>
                    </a:lnTo>
                    <a:lnTo>
                      <a:pt x="2113" y="775"/>
                    </a:lnTo>
                    <a:lnTo>
                      <a:pt x="2114" y="779"/>
                    </a:lnTo>
                    <a:lnTo>
                      <a:pt x="2118" y="779"/>
                    </a:lnTo>
                    <a:lnTo>
                      <a:pt x="2127" y="770"/>
                    </a:lnTo>
                    <a:lnTo>
                      <a:pt x="2125" y="782"/>
                    </a:lnTo>
                    <a:lnTo>
                      <a:pt x="2123" y="786"/>
                    </a:lnTo>
                    <a:lnTo>
                      <a:pt x="2120" y="791"/>
                    </a:lnTo>
                    <a:lnTo>
                      <a:pt x="2120" y="795"/>
                    </a:lnTo>
                    <a:lnTo>
                      <a:pt x="2121" y="797"/>
                    </a:lnTo>
                    <a:lnTo>
                      <a:pt x="2121" y="798"/>
                    </a:lnTo>
                    <a:lnTo>
                      <a:pt x="2120" y="800"/>
                    </a:lnTo>
                    <a:lnTo>
                      <a:pt x="2118" y="802"/>
                    </a:lnTo>
                    <a:lnTo>
                      <a:pt x="2120" y="804"/>
                    </a:lnTo>
                    <a:lnTo>
                      <a:pt x="2129" y="800"/>
                    </a:lnTo>
                    <a:lnTo>
                      <a:pt x="2123" y="813"/>
                    </a:lnTo>
                    <a:lnTo>
                      <a:pt x="2123" y="816"/>
                    </a:lnTo>
                    <a:lnTo>
                      <a:pt x="2127" y="814"/>
                    </a:lnTo>
                    <a:lnTo>
                      <a:pt x="2130" y="811"/>
                    </a:lnTo>
                    <a:lnTo>
                      <a:pt x="2132" y="811"/>
                    </a:lnTo>
                    <a:lnTo>
                      <a:pt x="2159" y="780"/>
                    </a:lnTo>
                    <a:lnTo>
                      <a:pt x="2163" y="780"/>
                    </a:lnTo>
                    <a:lnTo>
                      <a:pt x="2164" y="780"/>
                    </a:lnTo>
                    <a:lnTo>
                      <a:pt x="2166" y="777"/>
                    </a:lnTo>
                    <a:lnTo>
                      <a:pt x="2168" y="779"/>
                    </a:lnTo>
                    <a:lnTo>
                      <a:pt x="2168" y="782"/>
                    </a:lnTo>
                    <a:lnTo>
                      <a:pt x="2168" y="784"/>
                    </a:lnTo>
                    <a:lnTo>
                      <a:pt x="2171" y="784"/>
                    </a:lnTo>
                    <a:lnTo>
                      <a:pt x="2173" y="779"/>
                    </a:lnTo>
                    <a:lnTo>
                      <a:pt x="2170" y="777"/>
                    </a:lnTo>
                    <a:lnTo>
                      <a:pt x="2170" y="775"/>
                    </a:lnTo>
                    <a:lnTo>
                      <a:pt x="2171" y="766"/>
                    </a:lnTo>
                    <a:lnTo>
                      <a:pt x="2171" y="763"/>
                    </a:lnTo>
                    <a:lnTo>
                      <a:pt x="2173" y="759"/>
                    </a:lnTo>
                    <a:lnTo>
                      <a:pt x="2173" y="755"/>
                    </a:lnTo>
                    <a:lnTo>
                      <a:pt x="2175" y="754"/>
                    </a:lnTo>
                    <a:lnTo>
                      <a:pt x="2179" y="748"/>
                    </a:lnTo>
                    <a:lnTo>
                      <a:pt x="2191" y="745"/>
                    </a:lnTo>
                    <a:lnTo>
                      <a:pt x="2196" y="745"/>
                    </a:lnTo>
                    <a:lnTo>
                      <a:pt x="2200" y="750"/>
                    </a:lnTo>
                    <a:lnTo>
                      <a:pt x="2198" y="754"/>
                    </a:lnTo>
                    <a:lnTo>
                      <a:pt x="2196" y="752"/>
                    </a:lnTo>
                    <a:lnTo>
                      <a:pt x="2188" y="761"/>
                    </a:lnTo>
                    <a:lnTo>
                      <a:pt x="2186" y="779"/>
                    </a:lnTo>
                    <a:lnTo>
                      <a:pt x="2182" y="782"/>
                    </a:lnTo>
                    <a:lnTo>
                      <a:pt x="2182" y="788"/>
                    </a:lnTo>
                    <a:lnTo>
                      <a:pt x="2182" y="789"/>
                    </a:lnTo>
                    <a:lnTo>
                      <a:pt x="2182" y="793"/>
                    </a:lnTo>
                    <a:lnTo>
                      <a:pt x="2180" y="795"/>
                    </a:lnTo>
                    <a:lnTo>
                      <a:pt x="2179" y="797"/>
                    </a:lnTo>
                    <a:lnTo>
                      <a:pt x="2179" y="802"/>
                    </a:lnTo>
                    <a:lnTo>
                      <a:pt x="2180" y="804"/>
                    </a:lnTo>
                    <a:lnTo>
                      <a:pt x="2180" y="805"/>
                    </a:lnTo>
                    <a:lnTo>
                      <a:pt x="2175" y="809"/>
                    </a:lnTo>
                    <a:lnTo>
                      <a:pt x="2171" y="809"/>
                    </a:lnTo>
                    <a:lnTo>
                      <a:pt x="2168" y="811"/>
                    </a:lnTo>
                    <a:lnTo>
                      <a:pt x="2164" y="816"/>
                    </a:lnTo>
                    <a:lnTo>
                      <a:pt x="2161" y="816"/>
                    </a:lnTo>
                    <a:lnTo>
                      <a:pt x="2152" y="820"/>
                    </a:lnTo>
                    <a:lnTo>
                      <a:pt x="2152" y="820"/>
                    </a:lnTo>
                    <a:lnTo>
                      <a:pt x="2152" y="823"/>
                    </a:lnTo>
                    <a:lnTo>
                      <a:pt x="2150" y="827"/>
                    </a:lnTo>
                    <a:lnTo>
                      <a:pt x="2136" y="845"/>
                    </a:lnTo>
                    <a:lnTo>
                      <a:pt x="2129" y="848"/>
                    </a:lnTo>
                    <a:lnTo>
                      <a:pt x="2127" y="854"/>
                    </a:lnTo>
                    <a:lnTo>
                      <a:pt x="2123" y="855"/>
                    </a:lnTo>
                    <a:lnTo>
                      <a:pt x="2118" y="863"/>
                    </a:lnTo>
                    <a:lnTo>
                      <a:pt x="2118" y="868"/>
                    </a:lnTo>
                    <a:lnTo>
                      <a:pt x="2095" y="893"/>
                    </a:lnTo>
                    <a:lnTo>
                      <a:pt x="2089" y="897"/>
                    </a:lnTo>
                    <a:lnTo>
                      <a:pt x="2084" y="897"/>
                    </a:lnTo>
                    <a:lnTo>
                      <a:pt x="2080" y="904"/>
                    </a:lnTo>
                    <a:lnTo>
                      <a:pt x="2073" y="902"/>
                    </a:lnTo>
                    <a:lnTo>
                      <a:pt x="2071" y="902"/>
                    </a:lnTo>
                    <a:lnTo>
                      <a:pt x="2073" y="911"/>
                    </a:lnTo>
                    <a:lnTo>
                      <a:pt x="2070" y="923"/>
                    </a:lnTo>
                    <a:lnTo>
                      <a:pt x="2057" y="930"/>
                    </a:lnTo>
                    <a:lnTo>
                      <a:pt x="2050" y="957"/>
                    </a:lnTo>
                    <a:lnTo>
                      <a:pt x="2055" y="1011"/>
                    </a:lnTo>
                    <a:lnTo>
                      <a:pt x="2055" y="1011"/>
                    </a:lnTo>
                    <a:lnTo>
                      <a:pt x="2070" y="1091"/>
                    </a:lnTo>
                    <a:lnTo>
                      <a:pt x="2093" y="1066"/>
                    </a:lnTo>
                    <a:lnTo>
                      <a:pt x="2096" y="1054"/>
                    </a:lnTo>
                    <a:lnTo>
                      <a:pt x="2096" y="1048"/>
                    </a:lnTo>
                    <a:lnTo>
                      <a:pt x="2098" y="1047"/>
                    </a:lnTo>
                    <a:lnTo>
                      <a:pt x="2098" y="1041"/>
                    </a:lnTo>
                    <a:lnTo>
                      <a:pt x="2096" y="1041"/>
                    </a:lnTo>
                    <a:lnTo>
                      <a:pt x="2098" y="1039"/>
                    </a:lnTo>
                    <a:lnTo>
                      <a:pt x="2100" y="1039"/>
                    </a:lnTo>
                    <a:lnTo>
                      <a:pt x="2102" y="1039"/>
                    </a:lnTo>
                    <a:lnTo>
                      <a:pt x="2109" y="1034"/>
                    </a:lnTo>
                    <a:lnTo>
                      <a:pt x="2116" y="1030"/>
                    </a:lnTo>
                    <a:lnTo>
                      <a:pt x="2121" y="1032"/>
                    </a:lnTo>
                    <a:lnTo>
                      <a:pt x="2121" y="1030"/>
                    </a:lnTo>
                    <a:lnTo>
                      <a:pt x="2120" y="1029"/>
                    </a:lnTo>
                    <a:lnTo>
                      <a:pt x="2120" y="1011"/>
                    </a:lnTo>
                    <a:lnTo>
                      <a:pt x="2130" y="998"/>
                    </a:lnTo>
                    <a:lnTo>
                      <a:pt x="2136" y="995"/>
                    </a:lnTo>
                    <a:lnTo>
                      <a:pt x="2141" y="995"/>
                    </a:lnTo>
                    <a:lnTo>
                      <a:pt x="2143" y="997"/>
                    </a:lnTo>
                    <a:lnTo>
                      <a:pt x="2146" y="997"/>
                    </a:lnTo>
                    <a:lnTo>
                      <a:pt x="2150" y="997"/>
                    </a:lnTo>
                    <a:lnTo>
                      <a:pt x="2154" y="991"/>
                    </a:lnTo>
                    <a:lnTo>
                      <a:pt x="2155" y="989"/>
                    </a:lnTo>
                    <a:lnTo>
                      <a:pt x="2150" y="980"/>
                    </a:lnTo>
                    <a:lnTo>
                      <a:pt x="2146" y="972"/>
                    </a:lnTo>
                    <a:lnTo>
                      <a:pt x="2152" y="957"/>
                    </a:lnTo>
                    <a:lnTo>
                      <a:pt x="2154" y="952"/>
                    </a:lnTo>
                    <a:lnTo>
                      <a:pt x="2159" y="950"/>
                    </a:lnTo>
                    <a:lnTo>
                      <a:pt x="2157" y="945"/>
                    </a:lnTo>
                    <a:lnTo>
                      <a:pt x="2157" y="945"/>
                    </a:lnTo>
                    <a:lnTo>
                      <a:pt x="2166" y="941"/>
                    </a:lnTo>
                    <a:lnTo>
                      <a:pt x="2168" y="939"/>
                    </a:lnTo>
                    <a:lnTo>
                      <a:pt x="2168" y="941"/>
                    </a:lnTo>
                    <a:lnTo>
                      <a:pt x="2166" y="945"/>
                    </a:lnTo>
                    <a:lnTo>
                      <a:pt x="2164" y="945"/>
                    </a:lnTo>
                    <a:lnTo>
                      <a:pt x="2163" y="948"/>
                    </a:lnTo>
                    <a:lnTo>
                      <a:pt x="2166" y="954"/>
                    </a:lnTo>
                    <a:lnTo>
                      <a:pt x="2168" y="955"/>
                    </a:lnTo>
                    <a:lnTo>
                      <a:pt x="2170" y="955"/>
                    </a:lnTo>
                    <a:lnTo>
                      <a:pt x="2173" y="950"/>
                    </a:lnTo>
                    <a:lnTo>
                      <a:pt x="2173" y="947"/>
                    </a:lnTo>
                    <a:lnTo>
                      <a:pt x="2171" y="936"/>
                    </a:lnTo>
                    <a:lnTo>
                      <a:pt x="2170" y="934"/>
                    </a:lnTo>
                    <a:lnTo>
                      <a:pt x="2166" y="934"/>
                    </a:lnTo>
                    <a:lnTo>
                      <a:pt x="2164" y="934"/>
                    </a:lnTo>
                    <a:lnTo>
                      <a:pt x="2164" y="918"/>
                    </a:lnTo>
                    <a:lnTo>
                      <a:pt x="2166" y="914"/>
                    </a:lnTo>
                    <a:lnTo>
                      <a:pt x="2170" y="911"/>
                    </a:lnTo>
                    <a:lnTo>
                      <a:pt x="2173" y="905"/>
                    </a:lnTo>
                    <a:lnTo>
                      <a:pt x="2171" y="904"/>
                    </a:lnTo>
                    <a:lnTo>
                      <a:pt x="2163" y="898"/>
                    </a:lnTo>
                    <a:lnTo>
                      <a:pt x="2159" y="898"/>
                    </a:lnTo>
                    <a:lnTo>
                      <a:pt x="2159" y="904"/>
                    </a:lnTo>
                    <a:lnTo>
                      <a:pt x="2157" y="904"/>
                    </a:lnTo>
                    <a:lnTo>
                      <a:pt x="2155" y="904"/>
                    </a:lnTo>
                    <a:lnTo>
                      <a:pt x="2154" y="902"/>
                    </a:lnTo>
                    <a:lnTo>
                      <a:pt x="2152" y="898"/>
                    </a:lnTo>
                    <a:lnTo>
                      <a:pt x="2152" y="893"/>
                    </a:lnTo>
                    <a:lnTo>
                      <a:pt x="2168" y="866"/>
                    </a:lnTo>
                    <a:lnTo>
                      <a:pt x="2166" y="863"/>
                    </a:lnTo>
                    <a:lnTo>
                      <a:pt x="2168" y="861"/>
                    </a:lnTo>
                    <a:lnTo>
                      <a:pt x="2171" y="863"/>
                    </a:lnTo>
                    <a:lnTo>
                      <a:pt x="2170" y="861"/>
                    </a:lnTo>
                    <a:lnTo>
                      <a:pt x="2170" y="857"/>
                    </a:lnTo>
                    <a:lnTo>
                      <a:pt x="2173" y="857"/>
                    </a:lnTo>
                    <a:lnTo>
                      <a:pt x="2173" y="855"/>
                    </a:lnTo>
                    <a:lnTo>
                      <a:pt x="2173" y="850"/>
                    </a:lnTo>
                    <a:lnTo>
                      <a:pt x="2173" y="847"/>
                    </a:lnTo>
                    <a:lnTo>
                      <a:pt x="2175" y="843"/>
                    </a:lnTo>
                    <a:lnTo>
                      <a:pt x="2175" y="841"/>
                    </a:lnTo>
                    <a:lnTo>
                      <a:pt x="2177" y="838"/>
                    </a:lnTo>
                    <a:lnTo>
                      <a:pt x="2180" y="838"/>
                    </a:lnTo>
                    <a:lnTo>
                      <a:pt x="2184" y="834"/>
                    </a:lnTo>
                    <a:lnTo>
                      <a:pt x="2186" y="836"/>
                    </a:lnTo>
                    <a:lnTo>
                      <a:pt x="2188" y="839"/>
                    </a:lnTo>
                    <a:lnTo>
                      <a:pt x="2189" y="836"/>
                    </a:lnTo>
                    <a:lnTo>
                      <a:pt x="2193" y="832"/>
                    </a:lnTo>
                    <a:lnTo>
                      <a:pt x="2196" y="836"/>
                    </a:lnTo>
                    <a:lnTo>
                      <a:pt x="2198" y="839"/>
                    </a:lnTo>
                    <a:lnTo>
                      <a:pt x="2200" y="839"/>
                    </a:lnTo>
                    <a:lnTo>
                      <a:pt x="2202" y="836"/>
                    </a:lnTo>
                    <a:lnTo>
                      <a:pt x="2202" y="832"/>
                    </a:lnTo>
                    <a:lnTo>
                      <a:pt x="2205" y="829"/>
                    </a:lnTo>
                    <a:lnTo>
                      <a:pt x="2214" y="823"/>
                    </a:lnTo>
                    <a:lnTo>
                      <a:pt x="2220" y="818"/>
                    </a:lnTo>
                    <a:lnTo>
                      <a:pt x="2221" y="818"/>
                    </a:lnTo>
                    <a:lnTo>
                      <a:pt x="2221" y="820"/>
                    </a:lnTo>
                    <a:lnTo>
                      <a:pt x="2220" y="823"/>
                    </a:lnTo>
                    <a:lnTo>
                      <a:pt x="2221" y="829"/>
                    </a:lnTo>
                    <a:lnTo>
                      <a:pt x="2220" y="838"/>
                    </a:lnTo>
                    <a:lnTo>
                      <a:pt x="2218" y="838"/>
                    </a:lnTo>
                    <a:lnTo>
                      <a:pt x="2218" y="839"/>
                    </a:lnTo>
                    <a:lnTo>
                      <a:pt x="2220" y="839"/>
                    </a:lnTo>
                    <a:lnTo>
                      <a:pt x="2232" y="827"/>
                    </a:lnTo>
                    <a:lnTo>
                      <a:pt x="2232" y="825"/>
                    </a:lnTo>
                    <a:lnTo>
                      <a:pt x="2232" y="822"/>
                    </a:lnTo>
                    <a:lnTo>
                      <a:pt x="2232" y="822"/>
                    </a:lnTo>
                    <a:lnTo>
                      <a:pt x="2234" y="823"/>
                    </a:lnTo>
                    <a:lnTo>
                      <a:pt x="2238" y="820"/>
                    </a:lnTo>
                    <a:lnTo>
                      <a:pt x="2241" y="820"/>
                    </a:lnTo>
                    <a:lnTo>
                      <a:pt x="2245" y="816"/>
                    </a:lnTo>
                    <a:lnTo>
                      <a:pt x="2248" y="816"/>
                    </a:lnTo>
                    <a:lnTo>
                      <a:pt x="2252" y="814"/>
                    </a:lnTo>
                    <a:lnTo>
                      <a:pt x="2252" y="814"/>
                    </a:lnTo>
                    <a:lnTo>
                      <a:pt x="2263" y="814"/>
                    </a:lnTo>
                    <a:lnTo>
                      <a:pt x="2271" y="818"/>
                    </a:lnTo>
                    <a:lnTo>
                      <a:pt x="2275" y="822"/>
                    </a:lnTo>
                    <a:lnTo>
                      <a:pt x="2275" y="825"/>
                    </a:lnTo>
                    <a:lnTo>
                      <a:pt x="2282" y="832"/>
                    </a:lnTo>
                    <a:lnTo>
                      <a:pt x="2282" y="834"/>
                    </a:lnTo>
                    <a:lnTo>
                      <a:pt x="2286" y="836"/>
                    </a:lnTo>
                    <a:lnTo>
                      <a:pt x="2288" y="834"/>
                    </a:lnTo>
                    <a:lnTo>
                      <a:pt x="2288" y="830"/>
                    </a:lnTo>
                    <a:lnTo>
                      <a:pt x="2289" y="822"/>
                    </a:lnTo>
                    <a:lnTo>
                      <a:pt x="2289" y="820"/>
                    </a:lnTo>
                    <a:lnTo>
                      <a:pt x="2289" y="820"/>
                    </a:lnTo>
                    <a:lnTo>
                      <a:pt x="2295" y="816"/>
                    </a:lnTo>
                    <a:lnTo>
                      <a:pt x="2296" y="816"/>
                    </a:lnTo>
                    <a:lnTo>
                      <a:pt x="2298" y="814"/>
                    </a:lnTo>
                    <a:lnTo>
                      <a:pt x="2300" y="814"/>
                    </a:lnTo>
                    <a:lnTo>
                      <a:pt x="2302" y="814"/>
                    </a:lnTo>
                    <a:lnTo>
                      <a:pt x="2305" y="811"/>
                    </a:lnTo>
                    <a:lnTo>
                      <a:pt x="2307" y="809"/>
                    </a:lnTo>
                    <a:lnTo>
                      <a:pt x="2307" y="809"/>
                    </a:lnTo>
                    <a:lnTo>
                      <a:pt x="2309" y="805"/>
                    </a:lnTo>
                    <a:lnTo>
                      <a:pt x="2311" y="805"/>
                    </a:lnTo>
                    <a:lnTo>
                      <a:pt x="2313" y="804"/>
                    </a:lnTo>
                    <a:lnTo>
                      <a:pt x="2314" y="804"/>
                    </a:lnTo>
                    <a:lnTo>
                      <a:pt x="2314" y="804"/>
                    </a:lnTo>
                    <a:lnTo>
                      <a:pt x="2314" y="802"/>
                    </a:lnTo>
                    <a:lnTo>
                      <a:pt x="2313" y="800"/>
                    </a:lnTo>
                    <a:lnTo>
                      <a:pt x="2313" y="798"/>
                    </a:lnTo>
                    <a:lnTo>
                      <a:pt x="2316" y="800"/>
                    </a:lnTo>
                    <a:lnTo>
                      <a:pt x="2318" y="802"/>
                    </a:lnTo>
                    <a:lnTo>
                      <a:pt x="2320" y="800"/>
                    </a:lnTo>
                    <a:lnTo>
                      <a:pt x="2320" y="797"/>
                    </a:lnTo>
                    <a:lnTo>
                      <a:pt x="2318" y="795"/>
                    </a:lnTo>
                    <a:lnTo>
                      <a:pt x="2321" y="795"/>
                    </a:lnTo>
                    <a:lnTo>
                      <a:pt x="2325" y="793"/>
                    </a:lnTo>
                    <a:lnTo>
                      <a:pt x="2325" y="793"/>
                    </a:lnTo>
                    <a:lnTo>
                      <a:pt x="2327" y="791"/>
                    </a:lnTo>
                    <a:lnTo>
                      <a:pt x="2325" y="788"/>
                    </a:lnTo>
                    <a:lnTo>
                      <a:pt x="2327" y="788"/>
                    </a:lnTo>
                    <a:lnTo>
                      <a:pt x="2329" y="789"/>
                    </a:lnTo>
                    <a:lnTo>
                      <a:pt x="2329" y="789"/>
                    </a:lnTo>
                    <a:lnTo>
                      <a:pt x="2330" y="788"/>
                    </a:lnTo>
                    <a:lnTo>
                      <a:pt x="2332" y="786"/>
                    </a:lnTo>
                    <a:lnTo>
                      <a:pt x="2334" y="784"/>
                    </a:lnTo>
                    <a:lnTo>
                      <a:pt x="2334" y="784"/>
                    </a:lnTo>
                    <a:lnTo>
                      <a:pt x="2336" y="782"/>
                    </a:lnTo>
                    <a:lnTo>
                      <a:pt x="2336" y="779"/>
                    </a:lnTo>
                    <a:lnTo>
                      <a:pt x="2336" y="777"/>
                    </a:lnTo>
                    <a:lnTo>
                      <a:pt x="2338" y="777"/>
                    </a:lnTo>
                    <a:lnTo>
                      <a:pt x="2339" y="779"/>
                    </a:lnTo>
                    <a:lnTo>
                      <a:pt x="2341" y="780"/>
                    </a:lnTo>
                    <a:lnTo>
                      <a:pt x="2343" y="779"/>
                    </a:lnTo>
                    <a:lnTo>
                      <a:pt x="2346" y="775"/>
                    </a:lnTo>
                    <a:lnTo>
                      <a:pt x="2354" y="773"/>
                    </a:lnTo>
                    <a:lnTo>
                      <a:pt x="2357" y="772"/>
                    </a:lnTo>
                    <a:lnTo>
                      <a:pt x="2361" y="768"/>
                    </a:lnTo>
                    <a:lnTo>
                      <a:pt x="2363" y="766"/>
                    </a:lnTo>
                    <a:lnTo>
                      <a:pt x="2363" y="764"/>
                    </a:lnTo>
                    <a:lnTo>
                      <a:pt x="2363" y="763"/>
                    </a:lnTo>
                    <a:lnTo>
                      <a:pt x="2364" y="763"/>
                    </a:lnTo>
                    <a:lnTo>
                      <a:pt x="2364" y="764"/>
                    </a:lnTo>
                    <a:lnTo>
                      <a:pt x="2364" y="764"/>
                    </a:lnTo>
                    <a:lnTo>
                      <a:pt x="2371" y="761"/>
                    </a:lnTo>
                    <a:lnTo>
                      <a:pt x="2373" y="761"/>
                    </a:lnTo>
                    <a:lnTo>
                      <a:pt x="2388" y="752"/>
                    </a:lnTo>
                    <a:lnTo>
                      <a:pt x="2395" y="750"/>
                    </a:lnTo>
                    <a:lnTo>
                      <a:pt x="2396" y="748"/>
                    </a:lnTo>
                    <a:lnTo>
                      <a:pt x="2396" y="747"/>
                    </a:lnTo>
                    <a:lnTo>
                      <a:pt x="2395" y="747"/>
                    </a:lnTo>
                    <a:lnTo>
                      <a:pt x="2391" y="739"/>
                    </a:lnTo>
                    <a:lnTo>
                      <a:pt x="2393" y="738"/>
                    </a:lnTo>
                    <a:lnTo>
                      <a:pt x="2396" y="745"/>
                    </a:lnTo>
                    <a:lnTo>
                      <a:pt x="2398" y="747"/>
                    </a:lnTo>
                    <a:lnTo>
                      <a:pt x="2398" y="747"/>
                    </a:lnTo>
                    <a:lnTo>
                      <a:pt x="2398" y="748"/>
                    </a:lnTo>
                    <a:lnTo>
                      <a:pt x="2402" y="748"/>
                    </a:lnTo>
                    <a:lnTo>
                      <a:pt x="2402" y="747"/>
                    </a:lnTo>
                    <a:lnTo>
                      <a:pt x="2400" y="745"/>
                    </a:lnTo>
                    <a:lnTo>
                      <a:pt x="2402" y="745"/>
                    </a:lnTo>
                    <a:lnTo>
                      <a:pt x="2404" y="747"/>
                    </a:lnTo>
                    <a:lnTo>
                      <a:pt x="2405" y="748"/>
                    </a:lnTo>
                    <a:lnTo>
                      <a:pt x="2413" y="750"/>
                    </a:lnTo>
                    <a:lnTo>
                      <a:pt x="2420" y="755"/>
                    </a:lnTo>
                    <a:lnTo>
                      <a:pt x="2423" y="757"/>
                    </a:lnTo>
                    <a:lnTo>
                      <a:pt x="2425" y="757"/>
                    </a:lnTo>
                    <a:lnTo>
                      <a:pt x="2427" y="752"/>
                    </a:lnTo>
                    <a:lnTo>
                      <a:pt x="2429" y="752"/>
                    </a:lnTo>
                    <a:lnTo>
                      <a:pt x="2432" y="747"/>
                    </a:lnTo>
                    <a:lnTo>
                      <a:pt x="2432" y="741"/>
                    </a:lnTo>
                    <a:lnTo>
                      <a:pt x="2432" y="739"/>
                    </a:lnTo>
                    <a:lnTo>
                      <a:pt x="2425" y="736"/>
                    </a:lnTo>
                    <a:lnTo>
                      <a:pt x="2425" y="734"/>
                    </a:lnTo>
                    <a:lnTo>
                      <a:pt x="2423" y="732"/>
                    </a:lnTo>
                    <a:lnTo>
                      <a:pt x="2425" y="732"/>
                    </a:lnTo>
                    <a:lnTo>
                      <a:pt x="2427" y="732"/>
                    </a:lnTo>
                    <a:lnTo>
                      <a:pt x="2430" y="732"/>
                    </a:lnTo>
                    <a:lnTo>
                      <a:pt x="2432" y="730"/>
                    </a:lnTo>
                    <a:lnTo>
                      <a:pt x="2429" y="727"/>
                    </a:lnTo>
                    <a:lnTo>
                      <a:pt x="2427" y="727"/>
                    </a:lnTo>
                    <a:lnTo>
                      <a:pt x="2421" y="718"/>
                    </a:lnTo>
                    <a:lnTo>
                      <a:pt x="2420" y="698"/>
                    </a:lnTo>
                    <a:lnTo>
                      <a:pt x="2416" y="700"/>
                    </a:lnTo>
                    <a:lnTo>
                      <a:pt x="2414" y="697"/>
                    </a:lnTo>
                    <a:lnTo>
                      <a:pt x="2414" y="695"/>
                    </a:lnTo>
                    <a:lnTo>
                      <a:pt x="2416" y="695"/>
                    </a:lnTo>
                    <a:lnTo>
                      <a:pt x="2418" y="695"/>
                    </a:lnTo>
                    <a:lnTo>
                      <a:pt x="2414" y="684"/>
                    </a:lnTo>
                    <a:lnTo>
                      <a:pt x="2413" y="688"/>
                    </a:lnTo>
                    <a:lnTo>
                      <a:pt x="2411" y="689"/>
                    </a:lnTo>
                    <a:lnTo>
                      <a:pt x="2407" y="688"/>
                    </a:lnTo>
                    <a:lnTo>
                      <a:pt x="2405" y="684"/>
                    </a:lnTo>
                    <a:lnTo>
                      <a:pt x="2402" y="684"/>
                    </a:lnTo>
                    <a:lnTo>
                      <a:pt x="2400" y="680"/>
                    </a:lnTo>
                    <a:lnTo>
                      <a:pt x="2400" y="670"/>
                    </a:lnTo>
                    <a:lnTo>
                      <a:pt x="2402" y="668"/>
                    </a:lnTo>
                    <a:lnTo>
                      <a:pt x="2404" y="670"/>
                    </a:lnTo>
                    <a:lnTo>
                      <a:pt x="2409" y="672"/>
                    </a:lnTo>
                    <a:lnTo>
                      <a:pt x="2413" y="670"/>
                    </a:lnTo>
                    <a:lnTo>
                      <a:pt x="2413" y="672"/>
                    </a:lnTo>
                    <a:lnTo>
                      <a:pt x="2414" y="673"/>
                    </a:lnTo>
                    <a:lnTo>
                      <a:pt x="2420" y="672"/>
                    </a:lnTo>
                    <a:lnTo>
                      <a:pt x="2418" y="675"/>
                    </a:lnTo>
                    <a:lnTo>
                      <a:pt x="2418" y="677"/>
                    </a:lnTo>
                    <a:lnTo>
                      <a:pt x="2421" y="673"/>
                    </a:lnTo>
                    <a:lnTo>
                      <a:pt x="2423" y="670"/>
                    </a:lnTo>
                    <a:lnTo>
                      <a:pt x="2432" y="668"/>
                    </a:lnTo>
                    <a:lnTo>
                      <a:pt x="2441" y="657"/>
                    </a:lnTo>
                    <a:lnTo>
                      <a:pt x="2441" y="657"/>
                    </a:lnTo>
                    <a:lnTo>
                      <a:pt x="2441" y="65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44" name="Freeform 3099"/>
              <p:cNvSpPr>
                <a:spLocks/>
              </p:cNvSpPr>
              <p:nvPr/>
            </p:nvSpPr>
            <p:spPr bwMode="auto">
              <a:xfrm>
                <a:off x="2991" y="1940"/>
                <a:ext cx="32" cy="37"/>
              </a:xfrm>
              <a:custGeom>
                <a:avLst/>
                <a:gdLst>
                  <a:gd name="T0" fmla="*/ 26 w 32"/>
                  <a:gd name="T1" fmla="*/ 23 h 37"/>
                  <a:gd name="T2" fmla="*/ 28 w 32"/>
                  <a:gd name="T3" fmla="*/ 21 h 37"/>
                  <a:gd name="T4" fmla="*/ 26 w 32"/>
                  <a:gd name="T5" fmla="*/ 19 h 37"/>
                  <a:gd name="T6" fmla="*/ 28 w 32"/>
                  <a:gd name="T7" fmla="*/ 17 h 37"/>
                  <a:gd name="T8" fmla="*/ 30 w 32"/>
                  <a:gd name="T9" fmla="*/ 19 h 37"/>
                  <a:gd name="T10" fmla="*/ 32 w 32"/>
                  <a:gd name="T11" fmla="*/ 17 h 37"/>
                  <a:gd name="T12" fmla="*/ 32 w 32"/>
                  <a:gd name="T13" fmla="*/ 16 h 37"/>
                  <a:gd name="T14" fmla="*/ 30 w 32"/>
                  <a:gd name="T15" fmla="*/ 14 h 37"/>
                  <a:gd name="T16" fmla="*/ 30 w 32"/>
                  <a:gd name="T17" fmla="*/ 14 h 37"/>
                  <a:gd name="T18" fmla="*/ 28 w 32"/>
                  <a:gd name="T19" fmla="*/ 14 h 37"/>
                  <a:gd name="T20" fmla="*/ 26 w 32"/>
                  <a:gd name="T21" fmla="*/ 12 h 37"/>
                  <a:gd name="T22" fmla="*/ 25 w 32"/>
                  <a:gd name="T23" fmla="*/ 10 h 37"/>
                  <a:gd name="T24" fmla="*/ 25 w 32"/>
                  <a:gd name="T25" fmla="*/ 10 h 37"/>
                  <a:gd name="T26" fmla="*/ 25 w 32"/>
                  <a:gd name="T27" fmla="*/ 10 h 37"/>
                  <a:gd name="T28" fmla="*/ 23 w 32"/>
                  <a:gd name="T29" fmla="*/ 10 h 37"/>
                  <a:gd name="T30" fmla="*/ 23 w 32"/>
                  <a:gd name="T31" fmla="*/ 10 h 37"/>
                  <a:gd name="T32" fmla="*/ 21 w 32"/>
                  <a:gd name="T33" fmla="*/ 9 h 37"/>
                  <a:gd name="T34" fmla="*/ 21 w 32"/>
                  <a:gd name="T35" fmla="*/ 9 h 37"/>
                  <a:gd name="T36" fmla="*/ 21 w 32"/>
                  <a:gd name="T37" fmla="*/ 9 h 37"/>
                  <a:gd name="T38" fmla="*/ 19 w 32"/>
                  <a:gd name="T39" fmla="*/ 9 h 37"/>
                  <a:gd name="T40" fmla="*/ 19 w 32"/>
                  <a:gd name="T41" fmla="*/ 7 h 37"/>
                  <a:gd name="T42" fmla="*/ 18 w 32"/>
                  <a:gd name="T43" fmla="*/ 7 h 37"/>
                  <a:gd name="T44" fmla="*/ 18 w 32"/>
                  <a:gd name="T45" fmla="*/ 5 h 37"/>
                  <a:gd name="T46" fmla="*/ 16 w 32"/>
                  <a:gd name="T47" fmla="*/ 3 h 37"/>
                  <a:gd name="T48" fmla="*/ 14 w 32"/>
                  <a:gd name="T49" fmla="*/ 1 h 37"/>
                  <a:gd name="T50" fmla="*/ 14 w 32"/>
                  <a:gd name="T51" fmla="*/ 1 h 37"/>
                  <a:gd name="T52" fmla="*/ 12 w 32"/>
                  <a:gd name="T53" fmla="*/ 0 h 37"/>
                  <a:gd name="T54" fmla="*/ 10 w 32"/>
                  <a:gd name="T55" fmla="*/ 0 h 37"/>
                  <a:gd name="T56" fmla="*/ 9 w 32"/>
                  <a:gd name="T57" fmla="*/ 0 h 37"/>
                  <a:gd name="T58" fmla="*/ 9 w 32"/>
                  <a:gd name="T59" fmla="*/ 1 h 37"/>
                  <a:gd name="T60" fmla="*/ 10 w 32"/>
                  <a:gd name="T61" fmla="*/ 3 h 37"/>
                  <a:gd name="T62" fmla="*/ 10 w 32"/>
                  <a:gd name="T63" fmla="*/ 7 h 37"/>
                  <a:gd name="T64" fmla="*/ 10 w 32"/>
                  <a:gd name="T65" fmla="*/ 7 h 37"/>
                  <a:gd name="T66" fmla="*/ 9 w 32"/>
                  <a:gd name="T67" fmla="*/ 5 h 37"/>
                  <a:gd name="T68" fmla="*/ 7 w 32"/>
                  <a:gd name="T69" fmla="*/ 3 h 37"/>
                  <a:gd name="T70" fmla="*/ 3 w 32"/>
                  <a:gd name="T71" fmla="*/ 7 h 37"/>
                  <a:gd name="T72" fmla="*/ 3 w 32"/>
                  <a:gd name="T73" fmla="*/ 10 h 37"/>
                  <a:gd name="T74" fmla="*/ 1 w 32"/>
                  <a:gd name="T75" fmla="*/ 10 h 37"/>
                  <a:gd name="T76" fmla="*/ 1 w 32"/>
                  <a:gd name="T77" fmla="*/ 14 h 37"/>
                  <a:gd name="T78" fmla="*/ 0 w 32"/>
                  <a:gd name="T79" fmla="*/ 16 h 37"/>
                  <a:gd name="T80" fmla="*/ 1 w 32"/>
                  <a:gd name="T81" fmla="*/ 19 h 37"/>
                  <a:gd name="T82" fmla="*/ 0 w 32"/>
                  <a:gd name="T83" fmla="*/ 25 h 37"/>
                  <a:gd name="T84" fmla="*/ 12 w 32"/>
                  <a:gd name="T85" fmla="*/ 35 h 37"/>
                  <a:gd name="T86" fmla="*/ 16 w 32"/>
                  <a:gd name="T87" fmla="*/ 34 h 37"/>
                  <a:gd name="T88" fmla="*/ 16 w 32"/>
                  <a:gd name="T89" fmla="*/ 25 h 37"/>
                  <a:gd name="T90" fmla="*/ 21 w 32"/>
                  <a:gd name="T91" fmla="*/ 21 h 37"/>
                  <a:gd name="T92" fmla="*/ 26 w 32"/>
                  <a:gd name="T93" fmla="*/ 23 h 37"/>
                  <a:gd name="T94" fmla="*/ 26 w 32"/>
                  <a:gd name="T95" fmla="*/ 23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 h="37">
                    <a:moveTo>
                      <a:pt x="26" y="23"/>
                    </a:moveTo>
                    <a:lnTo>
                      <a:pt x="26" y="23"/>
                    </a:lnTo>
                    <a:lnTo>
                      <a:pt x="28" y="21"/>
                    </a:lnTo>
                    <a:lnTo>
                      <a:pt x="28" y="21"/>
                    </a:lnTo>
                    <a:lnTo>
                      <a:pt x="26" y="19"/>
                    </a:lnTo>
                    <a:lnTo>
                      <a:pt x="26" y="19"/>
                    </a:lnTo>
                    <a:lnTo>
                      <a:pt x="26" y="17"/>
                    </a:lnTo>
                    <a:lnTo>
                      <a:pt x="28" y="17"/>
                    </a:lnTo>
                    <a:lnTo>
                      <a:pt x="28" y="19"/>
                    </a:lnTo>
                    <a:lnTo>
                      <a:pt x="30" y="19"/>
                    </a:lnTo>
                    <a:lnTo>
                      <a:pt x="30" y="17"/>
                    </a:lnTo>
                    <a:lnTo>
                      <a:pt x="32" y="17"/>
                    </a:lnTo>
                    <a:lnTo>
                      <a:pt x="32" y="16"/>
                    </a:lnTo>
                    <a:lnTo>
                      <a:pt x="32" y="16"/>
                    </a:lnTo>
                    <a:lnTo>
                      <a:pt x="32" y="14"/>
                    </a:lnTo>
                    <a:lnTo>
                      <a:pt x="30" y="14"/>
                    </a:lnTo>
                    <a:lnTo>
                      <a:pt x="30" y="14"/>
                    </a:lnTo>
                    <a:lnTo>
                      <a:pt x="30" y="14"/>
                    </a:lnTo>
                    <a:lnTo>
                      <a:pt x="28" y="14"/>
                    </a:lnTo>
                    <a:lnTo>
                      <a:pt x="28" y="14"/>
                    </a:lnTo>
                    <a:lnTo>
                      <a:pt x="26" y="12"/>
                    </a:lnTo>
                    <a:lnTo>
                      <a:pt x="26" y="12"/>
                    </a:lnTo>
                    <a:lnTo>
                      <a:pt x="26" y="10"/>
                    </a:lnTo>
                    <a:lnTo>
                      <a:pt x="25" y="10"/>
                    </a:lnTo>
                    <a:lnTo>
                      <a:pt x="25" y="10"/>
                    </a:lnTo>
                    <a:lnTo>
                      <a:pt x="25" y="10"/>
                    </a:lnTo>
                    <a:lnTo>
                      <a:pt x="25" y="10"/>
                    </a:lnTo>
                    <a:lnTo>
                      <a:pt x="25" y="10"/>
                    </a:lnTo>
                    <a:lnTo>
                      <a:pt x="23" y="10"/>
                    </a:lnTo>
                    <a:lnTo>
                      <a:pt x="23" y="10"/>
                    </a:lnTo>
                    <a:lnTo>
                      <a:pt x="23" y="10"/>
                    </a:lnTo>
                    <a:lnTo>
                      <a:pt x="23" y="10"/>
                    </a:lnTo>
                    <a:lnTo>
                      <a:pt x="23" y="10"/>
                    </a:lnTo>
                    <a:lnTo>
                      <a:pt x="21" y="9"/>
                    </a:lnTo>
                    <a:lnTo>
                      <a:pt x="21" y="9"/>
                    </a:lnTo>
                    <a:lnTo>
                      <a:pt x="21" y="9"/>
                    </a:lnTo>
                    <a:lnTo>
                      <a:pt x="21" y="9"/>
                    </a:lnTo>
                    <a:lnTo>
                      <a:pt x="21" y="9"/>
                    </a:lnTo>
                    <a:lnTo>
                      <a:pt x="19" y="9"/>
                    </a:lnTo>
                    <a:lnTo>
                      <a:pt x="19" y="9"/>
                    </a:lnTo>
                    <a:lnTo>
                      <a:pt x="19" y="7"/>
                    </a:lnTo>
                    <a:lnTo>
                      <a:pt x="19" y="7"/>
                    </a:lnTo>
                    <a:lnTo>
                      <a:pt x="19" y="7"/>
                    </a:lnTo>
                    <a:lnTo>
                      <a:pt x="18" y="7"/>
                    </a:lnTo>
                    <a:lnTo>
                      <a:pt x="18" y="5"/>
                    </a:lnTo>
                    <a:lnTo>
                      <a:pt x="18" y="5"/>
                    </a:lnTo>
                    <a:lnTo>
                      <a:pt x="18" y="3"/>
                    </a:lnTo>
                    <a:lnTo>
                      <a:pt x="16" y="3"/>
                    </a:lnTo>
                    <a:lnTo>
                      <a:pt x="16" y="3"/>
                    </a:lnTo>
                    <a:lnTo>
                      <a:pt x="14" y="1"/>
                    </a:lnTo>
                    <a:lnTo>
                      <a:pt x="14" y="1"/>
                    </a:lnTo>
                    <a:lnTo>
                      <a:pt x="14" y="1"/>
                    </a:lnTo>
                    <a:lnTo>
                      <a:pt x="14" y="0"/>
                    </a:lnTo>
                    <a:lnTo>
                      <a:pt x="12" y="0"/>
                    </a:lnTo>
                    <a:lnTo>
                      <a:pt x="12" y="0"/>
                    </a:lnTo>
                    <a:lnTo>
                      <a:pt x="10" y="0"/>
                    </a:lnTo>
                    <a:lnTo>
                      <a:pt x="10" y="0"/>
                    </a:lnTo>
                    <a:lnTo>
                      <a:pt x="9" y="0"/>
                    </a:lnTo>
                    <a:lnTo>
                      <a:pt x="9" y="1"/>
                    </a:lnTo>
                    <a:lnTo>
                      <a:pt x="9" y="1"/>
                    </a:lnTo>
                    <a:lnTo>
                      <a:pt x="10" y="1"/>
                    </a:lnTo>
                    <a:lnTo>
                      <a:pt x="10" y="3"/>
                    </a:lnTo>
                    <a:lnTo>
                      <a:pt x="10" y="5"/>
                    </a:lnTo>
                    <a:lnTo>
                      <a:pt x="10" y="7"/>
                    </a:lnTo>
                    <a:lnTo>
                      <a:pt x="10" y="7"/>
                    </a:lnTo>
                    <a:lnTo>
                      <a:pt x="10" y="7"/>
                    </a:lnTo>
                    <a:lnTo>
                      <a:pt x="9" y="7"/>
                    </a:lnTo>
                    <a:lnTo>
                      <a:pt x="9" y="5"/>
                    </a:lnTo>
                    <a:lnTo>
                      <a:pt x="9" y="3"/>
                    </a:lnTo>
                    <a:lnTo>
                      <a:pt x="7" y="3"/>
                    </a:lnTo>
                    <a:lnTo>
                      <a:pt x="5" y="7"/>
                    </a:lnTo>
                    <a:lnTo>
                      <a:pt x="3" y="7"/>
                    </a:lnTo>
                    <a:lnTo>
                      <a:pt x="3" y="9"/>
                    </a:lnTo>
                    <a:lnTo>
                      <a:pt x="3" y="10"/>
                    </a:lnTo>
                    <a:lnTo>
                      <a:pt x="3" y="10"/>
                    </a:lnTo>
                    <a:lnTo>
                      <a:pt x="1" y="10"/>
                    </a:lnTo>
                    <a:lnTo>
                      <a:pt x="1" y="12"/>
                    </a:lnTo>
                    <a:lnTo>
                      <a:pt x="1" y="14"/>
                    </a:lnTo>
                    <a:lnTo>
                      <a:pt x="0" y="16"/>
                    </a:lnTo>
                    <a:lnTo>
                      <a:pt x="0" y="16"/>
                    </a:lnTo>
                    <a:lnTo>
                      <a:pt x="1" y="17"/>
                    </a:lnTo>
                    <a:lnTo>
                      <a:pt x="1" y="19"/>
                    </a:lnTo>
                    <a:lnTo>
                      <a:pt x="0" y="21"/>
                    </a:lnTo>
                    <a:lnTo>
                      <a:pt x="0" y="25"/>
                    </a:lnTo>
                    <a:lnTo>
                      <a:pt x="10" y="32"/>
                    </a:lnTo>
                    <a:lnTo>
                      <a:pt x="12" y="35"/>
                    </a:lnTo>
                    <a:lnTo>
                      <a:pt x="14" y="37"/>
                    </a:lnTo>
                    <a:lnTo>
                      <a:pt x="16" y="34"/>
                    </a:lnTo>
                    <a:lnTo>
                      <a:pt x="16" y="30"/>
                    </a:lnTo>
                    <a:lnTo>
                      <a:pt x="16" y="25"/>
                    </a:lnTo>
                    <a:lnTo>
                      <a:pt x="19" y="23"/>
                    </a:lnTo>
                    <a:lnTo>
                      <a:pt x="21" y="21"/>
                    </a:lnTo>
                    <a:lnTo>
                      <a:pt x="23" y="23"/>
                    </a:lnTo>
                    <a:lnTo>
                      <a:pt x="26" y="23"/>
                    </a:lnTo>
                    <a:lnTo>
                      <a:pt x="26" y="23"/>
                    </a:lnTo>
                    <a:lnTo>
                      <a:pt x="26" y="23"/>
                    </a:lnTo>
                    <a:lnTo>
                      <a:pt x="26" y="23"/>
                    </a:lnTo>
                    <a:close/>
                  </a:path>
                </a:pathLst>
              </a:custGeom>
              <a:solidFill>
                <a:srgbClr val="D9D9D9"/>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45" name="Freeform 3100"/>
              <p:cNvSpPr>
                <a:spLocks/>
              </p:cNvSpPr>
              <p:nvPr/>
            </p:nvSpPr>
            <p:spPr bwMode="auto">
              <a:xfrm>
                <a:off x="3032" y="1616"/>
                <a:ext cx="93" cy="72"/>
              </a:xfrm>
              <a:custGeom>
                <a:avLst/>
                <a:gdLst>
                  <a:gd name="T0" fmla="*/ 2 w 93"/>
                  <a:gd name="T1" fmla="*/ 24 h 72"/>
                  <a:gd name="T2" fmla="*/ 3 w 93"/>
                  <a:gd name="T3" fmla="*/ 31 h 72"/>
                  <a:gd name="T4" fmla="*/ 3 w 93"/>
                  <a:gd name="T5" fmla="*/ 33 h 72"/>
                  <a:gd name="T6" fmla="*/ 7 w 93"/>
                  <a:gd name="T7" fmla="*/ 34 h 72"/>
                  <a:gd name="T8" fmla="*/ 10 w 93"/>
                  <a:gd name="T9" fmla="*/ 36 h 72"/>
                  <a:gd name="T10" fmla="*/ 19 w 93"/>
                  <a:gd name="T11" fmla="*/ 40 h 72"/>
                  <a:gd name="T12" fmla="*/ 27 w 93"/>
                  <a:gd name="T13" fmla="*/ 41 h 72"/>
                  <a:gd name="T14" fmla="*/ 28 w 93"/>
                  <a:gd name="T15" fmla="*/ 52 h 72"/>
                  <a:gd name="T16" fmla="*/ 39 w 93"/>
                  <a:gd name="T17" fmla="*/ 66 h 72"/>
                  <a:gd name="T18" fmla="*/ 44 w 93"/>
                  <a:gd name="T19" fmla="*/ 72 h 72"/>
                  <a:gd name="T20" fmla="*/ 53 w 93"/>
                  <a:gd name="T21" fmla="*/ 72 h 72"/>
                  <a:gd name="T22" fmla="*/ 57 w 93"/>
                  <a:gd name="T23" fmla="*/ 70 h 72"/>
                  <a:gd name="T24" fmla="*/ 62 w 93"/>
                  <a:gd name="T25" fmla="*/ 70 h 72"/>
                  <a:gd name="T26" fmla="*/ 62 w 93"/>
                  <a:gd name="T27" fmla="*/ 65 h 72"/>
                  <a:gd name="T28" fmla="*/ 66 w 93"/>
                  <a:gd name="T29" fmla="*/ 63 h 72"/>
                  <a:gd name="T30" fmla="*/ 71 w 93"/>
                  <a:gd name="T31" fmla="*/ 63 h 72"/>
                  <a:gd name="T32" fmla="*/ 75 w 93"/>
                  <a:gd name="T33" fmla="*/ 66 h 72"/>
                  <a:gd name="T34" fmla="*/ 77 w 93"/>
                  <a:gd name="T35" fmla="*/ 63 h 72"/>
                  <a:gd name="T36" fmla="*/ 73 w 93"/>
                  <a:gd name="T37" fmla="*/ 59 h 72"/>
                  <a:gd name="T38" fmla="*/ 77 w 93"/>
                  <a:gd name="T39" fmla="*/ 52 h 72"/>
                  <a:gd name="T40" fmla="*/ 77 w 93"/>
                  <a:gd name="T41" fmla="*/ 47 h 72"/>
                  <a:gd name="T42" fmla="*/ 78 w 93"/>
                  <a:gd name="T43" fmla="*/ 43 h 72"/>
                  <a:gd name="T44" fmla="*/ 82 w 93"/>
                  <a:gd name="T45" fmla="*/ 41 h 72"/>
                  <a:gd name="T46" fmla="*/ 85 w 93"/>
                  <a:gd name="T47" fmla="*/ 38 h 72"/>
                  <a:gd name="T48" fmla="*/ 93 w 93"/>
                  <a:gd name="T49" fmla="*/ 33 h 72"/>
                  <a:gd name="T50" fmla="*/ 87 w 93"/>
                  <a:gd name="T51" fmla="*/ 33 h 72"/>
                  <a:gd name="T52" fmla="*/ 91 w 93"/>
                  <a:gd name="T53" fmla="*/ 25 h 72"/>
                  <a:gd name="T54" fmla="*/ 91 w 93"/>
                  <a:gd name="T55" fmla="*/ 24 h 72"/>
                  <a:gd name="T56" fmla="*/ 87 w 93"/>
                  <a:gd name="T57" fmla="*/ 22 h 72"/>
                  <a:gd name="T58" fmla="*/ 75 w 93"/>
                  <a:gd name="T59" fmla="*/ 9 h 72"/>
                  <a:gd name="T60" fmla="*/ 68 w 93"/>
                  <a:gd name="T61" fmla="*/ 9 h 72"/>
                  <a:gd name="T62" fmla="*/ 62 w 93"/>
                  <a:gd name="T63" fmla="*/ 0 h 72"/>
                  <a:gd name="T64" fmla="*/ 57 w 93"/>
                  <a:gd name="T65" fmla="*/ 6 h 72"/>
                  <a:gd name="T66" fmla="*/ 44 w 93"/>
                  <a:gd name="T67" fmla="*/ 2 h 72"/>
                  <a:gd name="T68" fmla="*/ 34 w 93"/>
                  <a:gd name="T69" fmla="*/ 2 h 72"/>
                  <a:gd name="T70" fmla="*/ 30 w 93"/>
                  <a:gd name="T71" fmla="*/ 2 h 72"/>
                  <a:gd name="T72" fmla="*/ 25 w 93"/>
                  <a:gd name="T73" fmla="*/ 2 h 72"/>
                  <a:gd name="T74" fmla="*/ 7 w 93"/>
                  <a:gd name="T75" fmla="*/ 6 h 72"/>
                  <a:gd name="T76" fmla="*/ 3 w 93"/>
                  <a:gd name="T77"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72">
                    <a:moveTo>
                      <a:pt x="0" y="11"/>
                    </a:moveTo>
                    <a:lnTo>
                      <a:pt x="2" y="24"/>
                    </a:lnTo>
                    <a:lnTo>
                      <a:pt x="2" y="16"/>
                    </a:lnTo>
                    <a:lnTo>
                      <a:pt x="3" y="31"/>
                    </a:lnTo>
                    <a:lnTo>
                      <a:pt x="3" y="33"/>
                    </a:lnTo>
                    <a:lnTo>
                      <a:pt x="3" y="33"/>
                    </a:lnTo>
                    <a:lnTo>
                      <a:pt x="5" y="34"/>
                    </a:lnTo>
                    <a:lnTo>
                      <a:pt x="7" y="34"/>
                    </a:lnTo>
                    <a:lnTo>
                      <a:pt x="9" y="36"/>
                    </a:lnTo>
                    <a:lnTo>
                      <a:pt x="10" y="36"/>
                    </a:lnTo>
                    <a:lnTo>
                      <a:pt x="12" y="38"/>
                    </a:lnTo>
                    <a:lnTo>
                      <a:pt x="19" y="40"/>
                    </a:lnTo>
                    <a:lnTo>
                      <a:pt x="25" y="40"/>
                    </a:lnTo>
                    <a:lnTo>
                      <a:pt x="27" y="41"/>
                    </a:lnTo>
                    <a:lnTo>
                      <a:pt x="30" y="47"/>
                    </a:lnTo>
                    <a:lnTo>
                      <a:pt x="28" y="52"/>
                    </a:lnTo>
                    <a:lnTo>
                      <a:pt x="28" y="59"/>
                    </a:lnTo>
                    <a:lnTo>
                      <a:pt x="39" y="66"/>
                    </a:lnTo>
                    <a:lnTo>
                      <a:pt x="39" y="70"/>
                    </a:lnTo>
                    <a:lnTo>
                      <a:pt x="44" y="72"/>
                    </a:lnTo>
                    <a:lnTo>
                      <a:pt x="48" y="72"/>
                    </a:lnTo>
                    <a:lnTo>
                      <a:pt x="53" y="72"/>
                    </a:lnTo>
                    <a:lnTo>
                      <a:pt x="55" y="70"/>
                    </a:lnTo>
                    <a:lnTo>
                      <a:pt x="57" y="70"/>
                    </a:lnTo>
                    <a:lnTo>
                      <a:pt x="59" y="70"/>
                    </a:lnTo>
                    <a:lnTo>
                      <a:pt x="62" y="70"/>
                    </a:lnTo>
                    <a:lnTo>
                      <a:pt x="60" y="66"/>
                    </a:lnTo>
                    <a:lnTo>
                      <a:pt x="62" y="65"/>
                    </a:lnTo>
                    <a:lnTo>
                      <a:pt x="66" y="65"/>
                    </a:lnTo>
                    <a:lnTo>
                      <a:pt x="66" y="63"/>
                    </a:lnTo>
                    <a:lnTo>
                      <a:pt x="69" y="61"/>
                    </a:lnTo>
                    <a:lnTo>
                      <a:pt x="71" y="63"/>
                    </a:lnTo>
                    <a:lnTo>
                      <a:pt x="73" y="65"/>
                    </a:lnTo>
                    <a:lnTo>
                      <a:pt x="75" y="66"/>
                    </a:lnTo>
                    <a:lnTo>
                      <a:pt x="77" y="65"/>
                    </a:lnTo>
                    <a:lnTo>
                      <a:pt x="77" y="63"/>
                    </a:lnTo>
                    <a:lnTo>
                      <a:pt x="75" y="61"/>
                    </a:lnTo>
                    <a:lnTo>
                      <a:pt x="73" y="59"/>
                    </a:lnTo>
                    <a:lnTo>
                      <a:pt x="75" y="56"/>
                    </a:lnTo>
                    <a:lnTo>
                      <a:pt x="77" y="52"/>
                    </a:lnTo>
                    <a:lnTo>
                      <a:pt x="77" y="50"/>
                    </a:lnTo>
                    <a:lnTo>
                      <a:pt x="77" y="47"/>
                    </a:lnTo>
                    <a:lnTo>
                      <a:pt x="77" y="45"/>
                    </a:lnTo>
                    <a:lnTo>
                      <a:pt x="78" y="43"/>
                    </a:lnTo>
                    <a:lnTo>
                      <a:pt x="80" y="41"/>
                    </a:lnTo>
                    <a:lnTo>
                      <a:pt x="82" y="41"/>
                    </a:lnTo>
                    <a:lnTo>
                      <a:pt x="84" y="40"/>
                    </a:lnTo>
                    <a:lnTo>
                      <a:pt x="85" y="38"/>
                    </a:lnTo>
                    <a:lnTo>
                      <a:pt x="89" y="38"/>
                    </a:lnTo>
                    <a:lnTo>
                      <a:pt x="93" y="33"/>
                    </a:lnTo>
                    <a:lnTo>
                      <a:pt x="91" y="33"/>
                    </a:lnTo>
                    <a:lnTo>
                      <a:pt x="87" y="33"/>
                    </a:lnTo>
                    <a:lnTo>
                      <a:pt x="87" y="27"/>
                    </a:lnTo>
                    <a:lnTo>
                      <a:pt x="91" y="25"/>
                    </a:lnTo>
                    <a:lnTo>
                      <a:pt x="91" y="25"/>
                    </a:lnTo>
                    <a:lnTo>
                      <a:pt x="91" y="24"/>
                    </a:lnTo>
                    <a:lnTo>
                      <a:pt x="89" y="22"/>
                    </a:lnTo>
                    <a:lnTo>
                      <a:pt x="87" y="22"/>
                    </a:lnTo>
                    <a:lnTo>
                      <a:pt x="82" y="15"/>
                    </a:lnTo>
                    <a:lnTo>
                      <a:pt x="75" y="9"/>
                    </a:lnTo>
                    <a:lnTo>
                      <a:pt x="69" y="9"/>
                    </a:lnTo>
                    <a:lnTo>
                      <a:pt x="68" y="9"/>
                    </a:lnTo>
                    <a:lnTo>
                      <a:pt x="64" y="2"/>
                    </a:lnTo>
                    <a:lnTo>
                      <a:pt x="62" y="0"/>
                    </a:lnTo>
                    <a:lnTo>
                      <a:pt x="60" y="2"/>
                    </a:lnTo>
                    <a:lnTo>
                      <a:pt x="57" y="6"/>
                    </a:lnTo>
                    <a:lnTo>
                      <a:pt x="53" y="6"/>
                    </a:lnTo>
                    <a:lnTo>
                      <a:pt x="44" y="2"/>
                    </a:lnTo>
                    <a:lnTo>
                      <a:pt x="37" y="2"/>
                    </a:lnTo>
                    <a:lnTo>
                      <a:pt x="34" y="2"/>
                    </a:lnTo>
                    <a:lnTo>
                      <a:pt x="32" y="2"/>
                    </a:lnTo>
                    <a:lnTo>
                      <a:pt x="30" y="2"/>
                    </a:lnTo>
                    <a:lnTo>
                      <a:pt x="28" y="2"/>
                    </a:lnTo>
                    <a:lnTo>
                      <a:pt x="25" y="2"/>
                    </a:lnTo>
                    <a:lnTo>
                      <a:pt x="18" y="2"/>
                    </a:lnTo>
                    <a:lnTo>
                      <a:pt x="7" y="6"/>
                    </a:lnTo>
                    <a:lnTo>
                      <a:pt x="5" y="11"/>
                    </a:lnTo>
                    <a:lnTo>
                      <a:pt x="3" y="11"/>
                    </a:lnTo>
                    <a:lnTo>
                      <a:pt x="0"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46" name="Freeform 3101"/>
              <p:cNvSpPr>
                <a:spLocks/>
              </p:cNvSpPr>
              <p:nvPr/>
            </p:nvSpPr>
            <p:spPr bwMode="auto">
              <a:xfrm>
                <a:off x="3032" y="1616"/>
                <a:ext cx="93" cy="72"/>
              </a:xfrm>
              <a:custGeom>
                <a:avLst/>
                <a:gdLst>
                  <a:gd name="T0" fmla="*/ 2 w 93"/>
                  <a:gd name="T1" fmla="*/ 24 h 72"/>
                  <a:gd name="T2" fmla="*/ 3 w 93"/>
                  <a:gd name="T3" fmla="*/ 31 h 72"/>
                  <a:gd name="T4" fmla="*/ 3 w 93"/>
                  <a:gd name="T5" fmla="*/ 33 h 72"/>
                  <a:gd name="T6" fmla="*/ 7 w 93"/>
                  <a:gd name="T7" fmla="*/ 34 h 72"/>
                  <a:gd name="T8" fmla="*/ 10 w 93"/>
                  <a:gd name="T9" fmla="*/ 36 h 72"/>
                  <a:gd name="T10" fmla="*/ 19 w 93"/>
                  <a:gd name="T11" fmla="*/ 40 h 72"/>
                  <a:gd name="T12" fmla="*/ 27 w 93"/>
                  <a:gd name="T13" fmla="*/ 41 h 72"/>
                  <a:gd name="T14" fmla="*/ 28 w 93"/>
                  <a:gd name="T15" fmla="*/ 52 h 72"/>
                  <a:gd name="T16" fmla="*/ 39 w 93"/>
                  <a:gd name="T17" fmla="*/ 66 h 72"/>
                  <a:gd name="T18" fmla="*/ 44 w 93"/>
                  <a:gd name="T19" fmla="*/ 72 h 72"/>
                  <a:gd name="T20" fmla="*/ 53 w 93"/>
                  <a:gd name="T21" fmla="*/ 72 h 72"/>
                  <a:gd name="T22" fmla="*/ 57 w 93"/>
                  <a:gd name="T23" fmla="*/ 70 h 72"/>
                  <a:gd name="T24" fmla="*/ 62 w 93"/>
                  <a:gd name="T25" fmla="*/ 70 h 72"/>
                  <a:gd name="T26" fmla="*/ 62 w 93"/>
                  <a:gd name="T27" fmla="*/ 65 h 72"/>
                  <a:gd name="T28" fmla="*/ 66 w 93"/>
                  <a:gd name="T29" fmla="*/ 63 h 72"/>
                  <a:gd name="T30" fmla="*/ 71 w 93"/>
                  <a:gd name="T31" fmla="*/ 63 h 72"/>
                  <a:gd name="T32" fmla="*/ 75 w 93"/>
                  <a:gd name="T33" fmla="*/ 66 h 72"/>
                  <a:gd name="T34" fmla="*/ 77 w 93"/>
                  <a:gd name="T35" fmla="*/ 63 h 72"/>
                  <a:gd name="T36" fmla="*/ 73 w 93"/>
                  <a:gd name="T37" fmla="*/ 59 h 72"/>
                  <a:gd name="T38" fmla="*/ 77 w 93"/>
                  <a:gd name="T39" fmla="*/ 52 h 72"/>
                  <a:gd name="T40" fmla="*/ 77 w 93"/>
                  <a:gd name="T41" fmla="*/ 47 h 72"/>
                  <a:gd name="T42" fmla="*/ 78 w 93"/>
                  <a:gd name="T43" fmla="*/ 43 h 72"/>
                  <a:gd name="T44" fmla="*/ 82 w 93"/>
                  <a:gd name="T45" fmla="*/ 41 h 72"/>
                  <a:gd name="T46" fmla="*/ 85 w 93"/>
                  <a:gd name="T47" fmla="*/ 38 h 72"/>
                  <a:gd name="T48" fmla="*/ 93 w 93"/>
                  <a:gd name="T49" fmla="*/ 33 h 72"/>
                  <a:gd name="T50" fmla="*/ 87 w 93"/>
                  <a:gd name="T51" fmla="*/ 33 h 72"/>
                  <a:gd name="T52" fmla="*/ 91 w 93"/>
                  <a:gd name="T53" fmla="*/ 25 h 72"/>
                  <a:gd name="T54" fmla="*/ 91 w 93"/>
                  <a:gd name="T55" fmla="*/ 24 h 72"/>
                  <a:gd name="T56" fmla="*/ 87 w 93"/>
                  <a:gd name="T57" fmla="*/ 22 h 72"/>
                  <a:gd name="T58" fmla="*/ 75 w 93"/>
                  <a:gd name="T59" fmla="*/ 9 h 72"/>
                  <a:gd name="T60" fmla="*/ 68 w 93"/>
                  <a:gd name="T61" fmla="*/ 9 h 72"/>
                  <a:gd name="T62" fmla="*/ 62 w 93"/>
                  <a:gd name="T63" fmla="*/ 0 h 72"/>
                  <a:gd name="T64" fmla="*/ 57 w 93"/>
                  <a:gd name="T65" fmla="*/ 6 h 72"/>
                  <a:gd name="T66" fmla="*/ 44 w 93"/>
                  <a:gd name="T67" fmla="*/ 2 h 72"/>
                  <a:gd name="T68" fmla="*/ 34 w 93"/>
                  <a:gd name="T69" fmla="*/ 2 h 72"/>
                  <a:gd name="T70" fmla="*/ 30 w 93"/>
                  <a:gd name="T71" fmla="*/ 2 h 72"/>
                  <a:gd name="T72" fmla="*/ 25 w 93"/>
                  <a:gd name="T73" fmla="*/ 2 h 72"/>
                  <a:gd name="T74" fmla="*/ 7 w 93"/>
                  <a:gd name="T75" fmla="*/ 6 h 72"/>
                  <a:gd name="T76" fmla="*/ 3 w 93"/>
                  <a:gd name="T77"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3" h="72">
                    <a:moveTo>
                      <a:pt x="0" y="11"/>
                    </a:moveTo>
                    <a:lnTo>
                      <a:pt x="2" y="24"/>
                    </a:lnTo>
                    <a:lnTo>
                      <a:pt x="2" y="16"/>
                    </a:lnTo>
                    <a:lnTo>
                      <a:pt x="3" y="31"/>
                    </a:lnTo>
                    <a:lnTo>
                      <a:pt x="3" y="33"/>
                    </a:lnTo>
                    <a:lnTo>
                      <a:pt x="3" y="33"/>
                    </a:lnTo>
                    <a:lnTo>
                      <a:pt x="5" y="34"/>
                    </a:lnTo>
                    <a:lnTo>
                      <a:pt x="7" y="34"/>
                    </a:lnTo>
                    <a:lnTo>
                      <a:pt x="9" y="36"/>
                    </a:lnTo>
                    <a:lnTo>
                      <a:pt x="10" y="36"/>
                    </a:lnTo>
                    <a:lnTo>
                      <a:pt x="12" y="38"/>
                    </a:lnTo>
                    <a:lnTo>
                      <a:pt x="19" y="40"/>
                    </a:lnTo>
                    <a:lnTo>
                      <a:pt x="25" y="40"/>
                    </a:lnTo>
                    <a:lnTo>
                      <a:pt x="27" y="41"/>
                    </a:lnTo>
                    <a:lnTo>
                      <a:pt x="30" y="47"/>
                    </a:lnTo>
                    <a:lnTo>
                      <a:pt x="28" y="52"/>
                    </a:lnTo>
                    <a:lnTo>
                      <a:pt x="28" y="59"/>
                    </a:lnTo>
                    <a:lnTo>
                      <a:pt x="39" y="66"/>
                    </a:lnTo>
                    <a:lnTo>
                      <a:pt x="39" y="70"/>
                    </a:lnTo>
                    <a:lnTo>
                      <a:pt x="44" y="72"/>
                    </a:lnTo>
                    <a:lnTo>
                      <a:pt x="48" y="72"/>
                    </a:lnTo>
                    <a:lnTo>
                      <a:pt x="53" y="72"/>
                    </a:lnTo>
                    <a:lnTo>
                      <a:pt x="55" y="70"/>
                    </a:lnTo>
                    <a:lnTo>
                      <a:pt x="57" y="70"/>
                    </a:lnTo>
                    <a:lnTo>
                      <a:pt x="59" y="70"/>
                    </a:lnTo>
                    <a:lnTo>
                      <a:pt x="62" y="70"/>
                    </a:lnTo>
                    <a:lnTo>
                      <a:pt x="60" y="66"/>
                    </a:lnTo>
                    <a:lnTo>
                      <a:pt x="62" y="65"/>
                    </a:lnTo>
                    <a:lnTo>
                      <a:pt x="66" y="65"/>
                    </a:lnTo>
                    <a:lnTo>
                      <a:pt x="66" y="63"/>
                    </a:lnTo>
                    <a:lnTo>
                      <a:pt x="69" y="61"/>
                    </a:lnTo>
                    <a:lnTo>
                      <a:pt x="71" y="63"/>
                    </a:lnTo>
                    <a:lnTo>
                      <a:pt x="73" y="65"/>
                    </a:lnTo>
                    <a:lnTo>
                      <a:pt x="75" y="66"/>
                    </a:lnTo>
                    <a:lnTo>
                      <a:pt x="77" y="65"/>
                    </a:lnTo>
                    <a:lnTo>
                      <a:pt x="77" y="63"/>
                    </a:lnTo>
                    <a:lnTo>
                      <a:pt x="75" y="61"/>
                    </a:lnTo>
                    <a:lnTo>
                      <a:pt x="73" y="59"/>
                    </a:lnTo>
                    <a:lnTo>
                      <a:pt x="75" y="56"/>
                    </a:lnTo>
                    <a:lnTo>
                      <a:pt x="77" y="52"/>
                    </a:lnTo>
                    <a:lnTo>
                      <a:pt x="77" y="50"/>
                    </a:lnTo>
                    <a:lnTo>
                      <a:pt x="77" y="47"/>
                    </a:lnTo>
                    <a:lnTo>
                      <a:pt x="77" y="45"/>
                    </a:lnTo>
                    <a:lnTo>
                      <a:pt x="78" y="43"/>
                    </a:lnTo>
                    <a:lnTo>
                      <a:pt x="80" y="41"/>
                    </a:lnTo>
                    <a:lnTo>
                      <a:pt x="82" y="41"/>
                    </a:lnTo>
                    <a:lnTo>
                      <a:pt x="84" y="40"/>
                    </a:lnTo>
                    <a:lnTo>
                      <a:pt x="85" y="38"/>
                    </a:lnTo>
                    <a:lnTo>
                      <a:pt x="89" y="38"/>
                    </a:lnTo>
                    <a:lnTo>
                      <a:pt x="93" y="33"/>
                    </a:lnTo>
                    <a:lnTo>
                      <a:pt x="91" y="33"/>
                    </a:lnTo>
                    <a:lnTo>
                      <a:pt x="87" y="33"/>
                    </a:lnTo>
                    <a:lnTo>
                      <a:pt x="87" y="27"/>
                    </a:lnTo>
                    <a:lnTo>
                      <a:pt x="91" y="25"/>
                    </a:lnTo>
                    <a:lnTo>
                      <a:pt x="91" y="25"/>
                    </a:lnTo>
                    <a:lnTo>
                      <a:pt x="91" y="24"/>
                    </a:lnTo>
                    <a:lnTo>
                      <a:pt x="89" y="22"/>
                    </a:lnTo>
                    <a:lnTo>
                      <a:pt x="87" y="22"/>
                    </a:lnTo>
                    <a:lnTo>
                      <a:pt x="82" y="15"/>
                    </a:lnTo>
                    <a:lnTo>
                      <a:pt x="75" y="9"/>
                    </a:lnTo>
                    <a:lnTo>
                      <a:pt x="69" y="9"/>
                    </a:lnTo>
                    <a:lnTo>
                      <a:pt x="68" y="9"/>
                    </a:lnTo>
                    <a:lnTo>
                      <a:pt x="64" y="2"/>
                    </a:lnTo>
                    <a:lnTo>
                      <a:pt x="62" y="0"/>
                    </a:lnTo>
                    <a:lnTo>
                      <a:pt x="60" y="2"/>
                    </a:lnTo>
                    <a:lnTo>
                      <a:pt x="57" y="6"/>
                    </a:lnTo>
                    <a:lnTo>
                      <a:pt x="53" y="6"/>
                    </a:lnTo>
                    <a:lnTo>
                      <a:pt x="44" y="2"/>
                    </a:lnTo>
                    <a:lnTo>
                      <a:pt x="37" y="2"/>
                    </a:lnTo>
                    <a:lnTo>
                      <a:pt x="34" y="2"/>
                    </a:lnTo>
                    <a:lnTo>
                      <a:pt x="32" y="2"/>
                    </a:lnTo>
                    <a:lnTo>
                      <a:pt x="30" y="2"/>
                    </a:lnTo>
                    <a:lnTo>
                      <a:pt x="28" y="2"/>
                    </a:lnTo>
                    <a:lnTo>
                      <a:pt x="25" y="2"/>
                    </a:lnTo>
                    <a:lnTo>
                      <a:pt x="18" y="2"/>
                    </a:lnTo>
                    <a:lnTo>
                      <a:pt x="7" y="6"/>
                    </a:lnTo>
                    <a:lnTo>
                      <a:pt x="5" y="11"/>
                    </a:lnTo>
                    <a:lnTo>
                      <a:pt x="3" y="11"/>
                    </a:lnTo>
                    <a:lnTo>
                      <a:pt x="0"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47" name="Freeform 3102"/>
              <p:cNvSpPr>
                <a:spLocks/>
              </p:cNvSpPr>
              <p:nvPr/>
            </p:nvSpPr>
            <p:spPr bwMode="auto">
              <a:xfrm>
                <a:off x="3017" y="1950"/>
                <a:ext cx="25" cy="24"/>
              </a:xfrm>
              <a:custGeom>
                <a:avLst/>
                <a:gdLst>
                  <a:gd name="T0" fmla="*/ 24 w 25"/>
                  <a:gd name="T1" fmla="*/ 18 h 24"/>
                  <a:gd name="T2" fmla="*/ 24 w 25"/>
                  <a:gd name="T3" fmla="*/ 18 h 24"/>
                  <a:gd name="T4" fmla="*/ 24 w 25"/>
                  <a:gd name="T5" fmla="*/ 16 h 24"/>
                  <a:gd name="T6" fmla="*/ 24 w 25"/>
                  <a:gd name="T7" fmla="*/ 16 h 24"/>
                  <a:gd name="T8" fmla="*/ 24 w 25"/>
                  <a:gd name="T9" fmla="*/ 15 h 24"/>
                  <a:gd name="T10" fmla="*/ 25 w 25"/>
                  <a:gd name="T11" fmla="*/ 13 h 24"/>
                  <a:gd name="T12" fmla="*/ 25 w 25"/>
                  <a:gd name="T13" fmla="*/ 13 h 24"/>
                  <a:gd name="T14" fmla="*/ 24 w 25"/>
                  <a:gd name="T15" fmla="*/ 13 h 24"/>
                  <a:gd name="T16" fmla="*/ 22 w 25"/>
                  <a:gd name="T17" fmla="*/ 13 h 24"/>
                  <a:gd name="T18" fmla="*/ 22 w 25"/>
                  <a:gd name="T19" fmla="*/ 13 h 24"/>
                  <a:gd name="T20" fmla="*/ 20 w 25"/>
                  <a:gd name="T21" fmla="*/ 13 h 24"/>
                  <a:gd name="T22" fmla="*/ 20 w 25"/>
                  <a:gd name="T23" fmla="*/ 11 h 24"/>
                  <a:gd name="T24" fmla="*/ 20 w 25"/>
                  <a:gd name="T25" fmla="*/ 11 h 24"/>
                  <a:gd name="T26" fmla="*/ 17 w 25"/>
                  <a:gd name="T27" fmla="*/ 7 h 24"/>
                  <a:gd name="T28" fmla="*/ 17 w 25"/>
                  <a:gd name="T29" fmla="*/ 7 h 24"/>
                  <a:gd name="T30" fmla="*/ 17 w 25"/>
                  <a:gd name="T31" fmla="*/ 6 h 24"/>
                  <a:gd name="T32" fmla="*/ 17 w 25"/>
                  <a:gd name="T33" fmla="*/ 6 h 24"/>
                  <a:gd name="T34" fmla="*/ 15 w 25"/>
                  <a:gd name="T35" fmla="*/ 2 h 24"/>
                  <a:gd name="T36" fmla="*/ 15 w 25"/>
                  <a:gd name="T37" fmla="*/ 2 h 24"/>
                  <a:gd name="T38" fmla="*/ 15 w 25"/>
                  <a:gd name="T39" fmla="*/ 0 h 24"/>
                  <a:gd name="T40" fmla="*/ 15 w 25"/>
                  <a:gd name="T41" fmla="*/ 0 h 24"/>
                  <a:gd name="T42" fmla="*/ 13 w 25"/>
                  <a:gd name="T43" fmla="*/ 0 h 24"/>
                  <a:gd name="T44" fmla="*/ 13 w 25"/>
                  <a:gd name="T45" fmla="*/ 0 h 24"/>
                  <a:gd name="T46" fmla="*/ 11 w 25"/>
                  <a:gd name="T47" fmla="*/ 0 h 24"/>
                  <a:gd name="T48" fmla="*/ 11 w 25"/>
                  <a:gd name="T49" fmla="*/ 2 h 24"/>
                  <a:gd name="T50" fmla="*/ 11 w 25"/>
                  <a:gd name="T51" fmla="*/ 2 h 24"/>
                  <a:gd name="T52" fmla="*/ 8 w 25"/>
                  <a:gd name="T53" fmla="*/ 4 h 24"/>
                  <a:gd name="T54" fmla="*/ 8 w 25"/>
                  <a:gd name="T55" fmla="*/ 4 h 24"/>
                  <a:gd name="T56" fmla="*/ 6 w 25"/>
                  <a:gd name="T57" fmla="*/ 6 h 24"/>
                  <a:gd name="T58" fmla="*/ 6 w 25"/>
                  <a:gd name="T59" fmla="*/ 7 h 24"/>
                  <a:gd name="T60" fmla="*/ 4 w 25"/>
                  <a:gd name="T61" fmla="*/ 7 h 24"/>
                  <a:gd name="T62" fmla="*/ 4 w 25"/>
                  <a:gd name="T63" fmla="*/ 9 h 24"/>
                  <a:gd name="T64" fmla="*/ 2 w 25"/>
                  <a:gd name="T65" fmla="*/ 9 h 24"/>
                  <a:gd name="T66" fmla="*/ 2 w 25"/>
                  <a:gd name="T67" fmla="*/ 7 h 24"/>
                  <a:gd name="T68" fmla="*/ 0 w 25"/>
                  <a:gd name="T69" fmla="*/ 7 h 24"/>
                  <a:gd name="T70" fmla="*/ 0 w 25"/>
                  <a:gd name="T71" fmla="*/ 9 h 24"/>
                  <a:gd name="T72" fmla="*/ 0 w 25"/>
                  <a:gd name="T73" fmla="*/ 9 h 24"/>
                  <a:gd name="T74" fmla="*/ 2 w 25"/>
                  <a:gd name="T75" fmla="*/ 11 h 24"/>
                  <a:gd name="T76" fmla="*/ 2 w 25"/>
                  <a:gd name="T77" fmla="*/ 11 h 24"/>
                  <a:gd name="T78" fmla="*/ 0 w 25"/>
                  <a:gd name="T79" fmla="*/ 13 h 24"/>
                  <a:gd name="T80" fmla="*/ 0 w 25"/>
                  <a:gd name="T81" fmla="*/ 13 h 24"/>
                  <a:gd name="T82" fmla="*/ 0 w 25"/>
                  <a:gd name="T83" fmla="*/ 13 h 24"/>
                  <a:gd name="T84" fmla="*/ 0 w 25"/>
                  <a:gd name="T85" fmla="*/ 13 h 24"/>
                  <a:gd name="T86" fmla="*/ 2 w 25"/>
                  <a:gd name="T87" fmla="*/ 16 h 24"/>
                  <a:gd name="T88" fmla="*/ 6 w 25"/>
                  <a:gd name="T89" fmla="*/ 18 h 24"/>
                  <a:gd name="T90" fmla="*/ 9 w 25"/>
                  <a:gd name="T91" fmla="*/ 24 h 24"/>
                  <a:gd name="T92" fmla="*/ 11 w 25"/>
                  <a:gd name="T93" fmla="*/ 24 h 24"/>
                  <a:gd name="T94" fmla="*/ 11 w 25"/>
                  <a:gd name="T95" fmla="*/ 22 h 24"/>
                  <a:gd name="T96" fmla="*/ 13 w 25"/>
                  <a:gd name="T97" fmla="*/ 20 h 24"/>
                  <a:gd name="T98" fmla="*/ 17 w 25"/>
                  <a:gd name="T99" fmla="*/ 18 h 24"/>
                  <a:gd name="T100" fmla="*/ 18 w 25"/>
                  <a:gd name="T101" fmla="*/ 18 h 24"/>
                  <a:gd name="T102" fmla="*/ 20 w 25"/>
                  <a:gd name="T103" fmla="*/ 20 h 24"/>
                  <a:gd name="T104" fmla="*/ 20 w 25"/>
                  <a:gd name="T105" fmla="*/ 20 h 24"/>
                  <a:gd name="T106" fmla="*/ 20 w 25"/>
                  <a:gd name="T107" fmla="*/ 20 h 24"/>
                  <a:gd name="T108" fmla="*/ 22 w 25"/>
                  <a:gd name="T109" fmla="*/ 18 h 24"/>
                  <a:gd name="T110" fmla="*/ 24 w 25"/>
                  <a:gd name="T111" fmla="*/ 1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 h="24">
                    <a:moveTo>
                      <a:pt x="24" y="18"/>
                    </a:moveTo>
                    <a:lnTo>
                      <a:pt x="24" y="18"/>
                    </a:lnTo>
                    <a:lnTo>
                      <a:pt x="24" y="16"/>
                    </a:lnTo>
                    <a:lnTo>
                      <a:pt x="24" y="16"/>
                    </a:lnTo>
                    <a:lnTo>
                      <a:pt x="24" y="15"/>
                    </a:lnTo>
                    <a:lnTo>
                      <a:pt x="25" y="13"/>
                    </a:lnTo>
                    <a:lnTo>
                      <a:pt x="25" y="13"/>
                    </a:lnTo>
                    <a:lnTo>
                      <a:pt x="24" y="13"/>
                    </a:lnTo>
                    <a:lnTo>
                      <a:pt x="22" y="13"/>
                    </a:lnTo>
                    <a:lnTo>
                      <a:pt x="22" y="13"/>
                    </a:lnTo>
                    <a:lnTo>
                      <a:pt x="20" y="13"/>
                    </a:lnTo>
                    <a:lnTo>
                      <a:pt x="20" y="11"/>
                    </a:lnTo>
                    <a:lnTo>
                      <a:pt x="20" y="11"/>
                    </a:lnTo>
                    <a:lnTo>
                      <a:pt x="17" y="7"/>
                    </a:lnTo>
                    <a:lnTo>
                      <a:pt x="17" y="7"/>
                    </a:lnTo>
                    <a:lnTo>
                      <a:pt x="17" y="6"/>
                    </a:lnTo>
                    <a:lnTo>
                      <a:pt x="17" y="6"/>
                    </a:lnTo>
                    <a:lnTo>
                      <a:pt x="15" y="2"/>
                    </a:lnTo>
                    <a:lnTo>
                      <a:pt x="15" y="2"/>
                    </a:lnTo>
                    <a:lnTo>
                      <a:pt x="15" y="0"/>
                    </a:lnTo>
                    <a:lnTo>
                      <a:pt x="15" y="0"/>
                    </a:lnTo>
                    <a:lnTo>
                      <a:pt x="13" y="0"/>
                    </a:lnTo>
                    <a:lnTo>
                      <a:pt x="13" y="0"/>
                    </a:lnTo>
                    <a:lnTo>
                      <a:pt x="11" y="0"/>
                    </a:lnTo>
                    <a:lnTo>
                      <a:pt x="11" y="2"/>
                    </a:lnTo>
                    <a:lnTo>
                      <a:pt x="11" y="2"/>
                    </a:lnTo>
                    <a:lnTo>
                      <a:pt x="8" y="4"/>
                    </a:lnTo>
                    <a:lnTo>
                      <a:pt x="8" y="4"/>
                    </a:lnTo>
                    <a:lnTo>
                      <a:pt x="6" y="6"/>
                    </a:lnTo>
                    <a:lnTo>
                      <a:pt x="6" y="7"/>
                    </a:lnTo>
                    <a:lnTo>
                      <a:pt x="4" y="7"/>
                    </a:lnTo>
                    <a:lnTo>
                      <a:pt x="4" y="9"/>
                    </a:lnTo>
                    <a:lnTo>
                      <a:pt x="2" y="9"/>
                    </a:lnTo>
                    <a:lnTo>
                      <a:pt x="2" y="7"/>
                    </a:lnTo>
                    <a:lnTo>
                      <a:pt x="0" y="7"/>
                    </a:lnTo>
                    <a:lnTo>
                      <a:pt x="0" y="9"/>
                    </a:lnTo>
                    <a:lnTo>
                      <a:pt x="0" y="9"/>
                    </a:lnTo>
                    <a:lnTo>
                      <a:pt x="2" y="11"/>
                    </a:lnTo>
                    <a:lnTo>
                      <a:pt x="2" y="11"/>
                    </a:lnTo>
                    <a:lnTo>
                      <a:pt x="0" y="13"/>
                    </a:lnTo>
                    <a:lnTo>
                      <a:pt x="0" y="13"/>
                    </a:lnTo>
                    <a:lnTo>
                      <a:pt x="0" y="13"/>
                    </a:lnTo>
                    <a:lnTo>
                      <a:pt x="0" y="13"/>
                    </a:lnTo>
                    <a:lnTo>
                      <a:pt x="2" y="16"/>
                    </a:lnTo>
                    <a:lnTo>
                      <a:pt x="6" y="18"/>
                    </a:lnTo>
                    <a:lnTo>
                      <a:pt x="9" y="24"/>
                    </a:lnTo>
                    <a:lnTo>
                      <a:pt x="11" y="24"/>
                    </a:lnTo>
                    <a:lnTo>
                      <a:pt x="11" y="22"/>
                    </a:lnTo>
                    <a:lnTo>
                      <a:pt x="13" y="20"/>
                    </a:lnTo>
                    <a:lnTo>
                      <a:pt x="17" y="18"/>
                    </a:lnTo>
                    <a:lnTo>
                      <a:pt x="18" y="18"/>
                    </a:lnTo>
                    <a:lnTo>
                      <a:pt x="20" y="20"/>
                    </a:lnTo>
                    <a:lnTo>
                      <a:pt x="20" y="20"/>
                    </a:lnTo>
                    <a:lnTo>
                      <a:pt x="20" y="20"/>
                    </a:lnTo>
                    <a:lnTo>
                      <a:pt x="22" y="18"/>
                    </a:lnTo>
                    <a:lnTo>
                      <a:pt x="24" y="18"/>
                    </a:lnTo>
                    <a:close/>
                  </a:path>
                </a:pathLst>
              </a:custGeom>
              <a:solidFill>
                <a:srgbClr val="D9D9D9"/>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48" name="Freeform 3103"/>
              <p:cNvSpPr>
                <a:spLocks/>
              </p:cNvSpPr>
              <p:nvPr/>
            </p:nvSpPr>
            <p:spPr bwMode="auto">
              <a:xfrm>
                <a:off x="2996" y="1881"/>
                <a:ext cx="66" cy="87"/>
              </a:xfrm>
              <a:custGeom>
                <a:avLst/>
                <a:gdLst>
                  <a:gd name="T0" fmla="*/ 29 w 66"/>
                  <a:gd name="T1" fmla="*/ 73 h 87"/>
                  <a:gd name="T2" fmla="*/ 32 w 66"/>
                  <a:gd name="T3" fmla="*/ 71 h 87"/>
                  <a:gd name="T4" fmla="*/ 34 w 66"/>
                  <a:gd name="T5" fmla="*/ 69 h 87"/>
                  <a:gd name="T6" fmla="*/ 36 w 66"/>
                  <a:gd name="T7" fmla="*/ 71 h 87"/>
                  <a:gd name="T8" fmla="*/ 38 w 66"/>
                  <a:gd name="T9" fmla="*/ 75 h 87"/>
                  <a:gd name="T10" fmla="*/ 41 w 66"/>
                  <a:gd name="T11" fmla="*/ 80 h 87"/>
                  <a:gd name="T12" fmla="*/ 43 w 66"/>
                  <a:gd name="T13" fmla="*/ 82 h 87"/>
                  <a:gd name="T14" fmla="*/ 46 w 66"/>
                  <a:gd name="T15" fmla="*/ 82 h 87"/>
                  <a:gd name="T16" fmla="*/ 45 w 66"/>
                  <a:gd name="T17" fmla="*/ 85 h 87"/>
                  <a:gd name="T18" fmla="*/ 45 w 66"/>
                  <a:gd name="T19" fmla="*/ 87 h 87"/>
                  <a:gd name="T20" fmla="*/ 54 w 66"/>
                  <a:gd name="T21" fmla="*/ 87 h 87"/>
                  <a:gd name="T22" fmla="*/ 59 w 66"/>
                  <a:gd name="T23" fmla="*/ 80 h 87"/>
                  <a:gd name="T24" fmla="*/ 59 w 66"/>
                  <a:gd name="T25" fmla="*/ 60 h 87"/>
                  <a:gd name="T26" fmla="*/ 64 w 66"/>
                  <a:gd name="T27" fmla="*/ 46 h 87"/>
                  <a:gd name="T28" fmla="*/ 63 w 66"/>
                  <a:gd name="T29" fmla="*/ 37 h 87"/>
                  <a:gd name="T30" fmla="*/ 48 w 66"/>
                  <a:gd name="T31" fmla="*/ 34 h 87"/>
                  <a:gd name="T32" fmla="*/ 41 w 66"/>
                  <a:gd name="T33" fmla="*/ 21 h 87"/>
                  <a:gd name="T34" fmla="*/ 32 w 66"/>
                  <a:gd name="T35" fmla="*/ 9 h 87"/>
                  <a:gd name="T36" fmla="*/ 21 w 66"/>
                  <a:gd name="T37" fmla="*/ 0 h 87"/>
                  <a:gd name="T38" fmla="*/ 9 w 66"/>
                  <a:gd name="T39" fmla="*/ 3 h 87"/>
                  <a:gd name="T40" fmla="*/ 0 w 66"/>
                  <a:gd name="T41" fmla="*/ 7 h 87"/>
                  <a:gd name="T42" fmla="*/ 2 w 66"/>
                  <a:gd name="T43" fmla="*/ 10 h 87"/>
                  <a:gd name="T44" fmla="*/ 2 w 66"/>
                  <a:gd name="T45" fmla="*/ 12 h 87"/>
                  <a:gd name="T46" fmla="*/ 4 w 66"/>
                  <a:gd name="T47" fmla="*/ 14 h 87"/>
                  <a:gd name="T48" fmla="*/ 5 w 66"/>
                  <a:gd name="T49" fmla="*/ 14 h 87"/>
                  <a:gd name="T50" fmla="*/ 4 w 66"/>
                  <a:gd name="T51" fmla="*/ 16 h 87"/>
                  <a:gd name="T52" fmla="*/ 4 w 66"/>
                  <a:gd name="T53" fmla="*/ 18 h 87"/>
                  <a:gd name="T54" fmla="*/ 7 w 66"/>
                  <a:gd name="T55" fmla="*/ 19 h 87"/>
                  <a:gd name="T56" fmla="*/ 11 w 66"/>
                  <a:gd name="T57" fmla="*/ 19 h 87"/>
                  <a:gd name="T58" fmla="*/ 7 w 66"/>
                  <a:gd name="T59" fmla="*/ 21 h 87"/>
                  <a:gd name="T60" fmla="*/ 5 w 66"/>
                  <a:gd name="T61" fmla="*/ 23 h 87"/>
                  <a:gd name="T62" fmla="*/ 7 w 66"/>
                  <a:gd name="T63" fmla="*/ 28 h 87"/>
                  <a:gd name="T64" fmla="*/ 11 w 66"/>
                  <a:gd name="T65" fmla="*/ 30 h 87"/>
                  <a:gd name="T66" fmla="*/ 7 w 66"/>
                  <a:gd name="T67" fmla="*/ 37 h 87"/>
                  <a:gd name="T68" fmla="*/ 5 w 66"/>
                  <a:gd name="T69" fmla="*/ 39 h 87"/>
                  <a:gd name="T70" fmla="*/ 9 w 66"/>
                  <a:gd name="T71" fmla="*/ 43 h 87"/>
                  <a:gd name="T72" fmla="*/ 11 w 66"/>
                  <a:gd name="T73" fmla="*/ 46 h 87"/>
                  <a:gd name="T74" fmla="*/ 13 w 66"/>
                  <a:gd name="T75" fmla="*/ 46 h 87"/>
                  <a:gd name="T76" fmla="*/ 14 w 66"/>
                  <a:gd name="T77" fmla="*/ 48 h 87"/>
                  <a:gd name="T78" fmla="*/ 9 w 66"/>
                  <a:gd name="T79" fmla="*/ 48 h 87"/>
                  <a:gd name="T80" fmla="*/ 9 w 66"/>
                  <a:gd name="T81" fmla="*/ 50 h 87"/>
                  <a:gd name="T82" fmla="*/ 13 w 66"/>
                  <a:gd name="T83" fmla="*/ 57 h 87"/>
                  <a:gd name="T84" fmla="*/ 11 w 66"/>
                  <a:gd name="T85" fmla="*/ 57 h 87"/>
                  <a:gd name="T86" fmla="*/ 9 w 66"/>
                  <a:gd name="T87" fmla="*/ 59 h 87"/>
                  <a:gd name="T88" fmla="*/ 9 w 66"/>
                  <a:gd name="T89" fmla="*/ 60 h 87"/>
                  <a:gd name="T90" fmla="*/ 13 w 66"/>
                  <a:gd name="T91" fmla="*/ 62 h 87"/>
                  <a:gd name="T92" fmla="*/ 13 w 66"/>
                  <a:gd name="T93" fmla="*/ 66 h 87"/>
                  <a:gd name="T94" fmla="*/ 14 w 66"/>
                  <a:gd name="T95" fmla="*/ 66 h 87"/>
                  <a:gd name="T96" fmla="*/ 16 w 66"/>
                  <a:gd name="T97" fmla="*/ 68 h 87"/>
                  <a:gd name="T98" fmla="*/ 16 w 66"/>
                  <a:gd name="T99" fmla="*/ 68 h 87"/>
                  <a:gd name="T100" fmla="*/ 18 w 66"/>
                  <a:gd name="T101" fmla="*/ 69 h 87"/>
                  <a:gd name="T102" fmla="*/ 18 w 66"/>
                  <a:gd name="T103" fmla="*/ 69 h 87"/>
                  <a:gd name="T104" fmla="*/ 20 w 66"/>
                  <a:gd name="T105" fmla="*/ 69 h 87"/>
                  <a:gd name="T106" fmla="*/ 21 w 66"/>
                  <a:gd name="T107" fmla="*/ 69 h 87"/>
                  <a:gd name="T108" fmla="*/ 23 w 66"/>
                  <a:gd name="T109" fmla="*/ 73 h 87"/>
                  <a:gd name="T110" fmla="*/ 25 w 66"/>
                  <a:gd name="T111" fmla="*/ 73 h 87"/>
                  <a:gd name="T112" fmla="*/ 27 w 66"/>
                  <a:gd name="T113" fmla="*/ 7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6" h="87">
                    <a:moveTo>
                      <a:pt x="27" y="75"/>
                    </a:moveTo>
                    <a:lnTo>
                      <a:pt x="27" y="75"/>
                    </a:lnTo>
                    <a:lnTo>
                      <a:pt x="29" y="73"/>
                    </a:lnTo>
                    <a:lnTo>
                      <a:pt x="29" y="73"/>
                    </a:lnTo>
                    <a:lnTo>
                      <a:pt x="32" y="71"/>
                    </a:lnTo>
                    <a:lnTo>
                      <a:pt x="32" y="71"/>
                    </a:lnTo>
                    <a:lnTo>
                      <a:pt x="32" y="69"/>
                    </a:lnTo>
                    <a:lnTo>
                      <a:pt x="34" y="69"/>
                    </a:lnTo>
                    <a:lnTo>
                      <a:pt x="34" y="69"/>
                    </a:lnTo>
                    <a:lnTo>
                      <a:pt x="36" y="69"/>
                    </a:lnTo>
                    <a:lnTo>
                      <a:pt x="36" y="69"/>
                    </a:lnTo>
                    <a:lnTo>
                      <a:pt x="36" y="71"/>
                    </a:lnTo>
                    <a:lnTo>
                      <a:pt x="36" y="71"/>
                    </a:lnTo>
                    <a:lnTo>
                      <a:pt x="38" y="75"/>
                    </a:lnTo>
                    <a:lnTo>
                      <a:pt x="38" y="75"/>
                    </a:lnTo>
                    <a:lnTo>
                      <a:pt x="38" y="76"/>
                    </a:lnTo>
                    <a:lnTo>
                      <a:pt x="38" y="76"/>
                    </a:lnTo>
                    <a:lnTo>
                      <a:pt x="41" y="80"/>
                    </a:lnTo>
                    <a:lnTo>
                      <a:pt x="41" y="80"/>
                    </a:lnTo>
                    <a:lnTo>
                      <a:pt x="41" y="82"/>
                    </a:lnTo>
                    <a:lnTo>
                      <a:pt x="43" y="82"/>
                    </a:lnTo>
                    <a:lnTo>
                      <a:pt x="43" y="82"/>
                    </a:lnTo>
                    <a:lnTo>
                      <a:pt x="45" y="82"/>
                    </a:lnTo>
                    <a:lnTo>
                      <a:pt x="46" y="82"/>
                    </a:lnTo>
                    <a:lnTo>
                      <a:pt x="46" y="82"/>
                    </a:lnTo>
                    <a:lnTo>
                      <a:pt x="45" y="84"/>
                    </a:lnTo>
                    <a:lnTo>
                      <a:pt x="45" y="85"/>
                    </a:lnTo>
                    <a:lnTo>
                      <a:pt x="45" y="85"/>
                    </a:lnTo>
                    <a:lnTo>
                      <a:pt x="45" y="87"/>
                    </a:lnTo>
                    <a:lnTo>
                      <a:pt x="45" y="87"/>
                    </a:lnTo>
                    <a:lnTo>
                      <a:pt x="48" y="87"/>
                    </a:lnTo>
                    <a:lnTo>
                      <a:pt x="50" y="87"/>
                    </a:lnTo>
                    <a:lnTo>
                      <a:pt x="54" y="87"/>
                    </a:lnTo>
                    <a:lnTo>
                      <a:pt x="57" y="87"/>
                    </a:lnTo>
                    <a:lnTo>
                      <a:pt x="59" y="87"/>
                    </a:lnTo>
                    <a:lnTo>
                      <a:pt x="59" y="80"/>
                    </a:lnTo>
                    <a:lnTo>
                      <a:pt x="63" y="73"/>
                    </a:lnTo>
                    <a:lnTo>
                      <a:pt x="66" y="69"/>
                    </a:lnTo>
                    <a:lnTo>
                      <a:pt x="59" y="60"/>
                    </a:lnTo>
                    <a:lnTo>
                      <a:pt x="59" y="60"/>
                    </a:lnTo>
                    <a:lnTo>
                      <a:pt x="59" y="48"/>
                    </a:lnTo>
                    <a:lnTo>
                      <a:pt x="64" y="46"/>
                    </a:lnTo>
                    <a:lnTo>
                      <a:pt x="61" y="46"/>
                    </a:lnTo>
                    <a:lnTo>
                      <a:pt x="59" y="41"/>
                    </a:lnTo>
                    <a:lnTo>
                      <a:pt x="63" y="37"/>
                    </a:lnTo>
                    <a:lnTo>
                      <a:pt x="59" y="34"/>
                    </a:lnTo>
                    <a:lnTo>
                      <a:pt x="57" y="37"/>
                    </a:lnTo>
                    <a:lnTo>
                      <a:pt x="48" y="34"/>
                    </a:lnTo>
                    <a:lnTo>
                      <a:pt x="43" y="30"/>
                    </a:lnTo>
                    <a:lnTo>
                      <a:pt x="43" y="23"/>
                    </a:lnTo>
                    <a:lnTo>
                      <a:pt x="41" y="21"/>
                    </a:lnTo>
                    <a:lnTo>
                      <a:pt x="38" y="21"/>
                    </a:lnTo>
                    <a:lnTo>
                      <a:pt x="34" y="18"/>
                    </a:lnTo>
                    <a:lnTo>
                      <a:pt x="32" y="9"/>
                    </a:lnTo>
                    <a:lnTo>
                      <a:pt x="29" y="5"/>
                    </a:lnTo>
                    <a:lnTo>
                      <a:pt x="23" y="1"/>
                    </a:lnTo>
                    <a:lnTo>
                      <a:pt x="21" y="0"/>
                    </a:lnTo>
                    <a:lnTo>
                      <a:pt x="18" y="1"/>
                    </a:lnTo>
                    <a:lnTo>
                      <a:pt x="14" y="1"/>
                    </a:lnTo>
                    <a:lnTo>
                      <a:pt x="9" y="3"/>
                    </a:lnTo>
                    <a:lnTo>
                      <a:pt x="5" y="5"/>
                    </a:lnTo>
                    <a:lnTo>
                      <a:pt x="4" y="5"/>
                    </a:lnTo>
                    <a:lnTo>
                      <a:pt x="0" y="7"/>
                    </a:lnTo>
                    <a:lnTo>
                      <a:pt x="2" y="9"/>
                    </a:lnTo>
                    <a:lnTo>
                      <a:pt x="2" y="9"/>
                    </a:lnTo>
                    <a:lnTo>
                      <a:pt x="2" y="10"/>
                    </a:lnTo>
                    <a:lnTo>
                      <a:pt x="2" y="10"/>
                    </a:lnTo>
                    <a:lnTo>
                      <a:pt x="2" y="12"/>
                    </a:lnTo>
                    <a:lnTo>
                      <a:pt x="2" y="12"/>
                    </a:lnTo>
                    <a:lnTo>
                      <a:pt x="2" y="14"/>
                    </a:lnTo>
                    <a:lnTo>
                      <a:pt x="2" y="14"/>
                    </a:lnTo>
                    <a:lnTo>
                      <a:pt x="4" y="14"/>
                    </a:lnTo>
                    <a:lnTo>
                      <a:pt x="4" y="14"/>
                    </a:lnTo>
                    <a:lnTo>
                      <a:pt x="5" y="14"/>
                    </a:lnTo>
                    <a:lnTo>
                      <a:pt x="5" y="14"/>
                    </a:lnTo>
                    <a:lnTo>
                      <a:pt x="4" y="16"/>
                    </a:lnTo>
                    <a:lnTo>
                      <a:pt x="4" y="16"/>
                    </a:lnTo>
                    <a:lnTo>
                      <a:pt x="4" y="16"/>
                    </a:lnTo>
                    <a:lnTo>
                      <a:pt x="4" y="16"/>
                    </a:lnTo>
                    <a:lnTo>
                      <a:pt x="4" y="18"/>
                    </a:lnTo>
                    <a:lnTo>
                      <a:pt x="4" y="18"/>
                    </a:lnTo>
                    <a:lnTo>
                      <a:pt x="5" y="18"/>
                    </a:lnTo>
                    <a:lnTo>
                      <a:pt x="5" y="19"/>
                    </a:lnTo>
                    <a:lnTo>
                      <a:pt x="7" y="19"/>
                    </a:lnTo>
                    <a:lnTo>
                      <a:pt x="9" y="19"/>
                    </a:lnTo>
                    <a:lnTo>
                      <a:pt x="9" y="19"/>
                    </a:lnTo>
                    <a:lnTo>
                      <a:pt x="11" y="19"/>
                    </a:lnTo>
                    <a:lnTo>
                      <a:pt x="11" y="21"/>
                    </a:lnTo>
                    <a:lnTo>
                      <a:pt x="9" y="21"/>
                    </a:lnTo>
                    <a:lnTo>
                      <a:pt x="7" y="21"/>
                    </a:lnTo>
                    <a:lnTo>
                      <a:pt x="7" y="21"/>
                    </a:lnTo>
                    <a:lnTo>
                      <a:pt x="7" y="23"/>
                    </a:lnTo>
                    <a:lnTo>
                      <a:pt x="5" y="23"/>
                    </a:lnTo>
                    <a:lnTo>
                      <a:pt x="5" y="26"/>
                    </a:lnTo>
                    <a:lnTo>
                      <a:pt x="7" y="26"/>
                    </a:lnTo>
                    <a:lnTo>
                      <a:pt x="7" y="28"/>
                    </a:lnTo>
                    <a:lnTo>
                      <a:pt x="9" y="28"/>
                    </a:lnTo>
                    <a:lnTo>
                      <a:pt x="11" y="28"/>
                    </a:lnTo>
                    <a:lnTo>
                      <a:pt x="11" y="30"/>
                    </a:lnTo>
                    <a:lnTo>
                      <a:pt x="11" y="32"/>
                    </a:lnTo>
                    <a:lnTo>
                      <a:pt x="7" y="37"/>
                    </a:lnTo>
                    <a:lnTo>
                      <a:pt x="7" y="37"/>
                    </a:lnTo>
                    <a:lnTo>
                      <a:pt x="7" y="37"/>
                    </a:lnTo>
                    <a:lnTo>
                      <a:pt x="7" y="39"/>
                    </a:lnTo>
                    <a:lnTo>
                      <a:pt x="5" y="39"/>
                    </a:lnTo>
                    <a:lnTo>
                      <a:pt x="7" y="43"/>
                    </a:lnTo>
                    <a:lnTo>
                      <a:pt x="7" y="43"/>
                    </a:lnTo>
                    <a:lnTo>
                      <a:pt x="9" y="43"/>
                    </a:lnTo>
                    <a:lnTo>
                      <a:pt x="9" y="43"/>
                    </a:lnTo>
                    <a:lnTo>
                      <a:pt x="11" y="44"/>
                    </a:lnTo>
                    <a:lnTo>
                      <a:pt x="11" y="46"/>
                    </a:lnTo>
                    <a:lnTo>
                      <a:pt x="13" y="44"/>
                    </a:lnTo>
                    <a:lnTo>
                      <a:pt x="13" y="46"/>
                    </a:lnTo>
                    <a:lnTo>
                      <a:pt x="13" y="46"/>
                    </a:lnTo>
                    <a:lnTo>
                      <a:pt x="14" y="46"/>
                    </a:lnTo>
                    <a:lnTo>
                      <a:pt x="14" y="48"/>
                    </a:lnTo>
                    <a:lnTo>
                      <a:pt x="14" y="48"/>
                    </a:lnTo>
                    <a:lnTo>
                      <a:pt x="13" y="50"/>
                    </a:lnTo>
                    <a:lnTo>
                      <a:pt x="11" y="50"/>
                    </a:lnTo>
                    <a:lnTo>
                      <a:pt x="9" y="48"/>
                    </a:lnTo>
                    <a:lnTo>
                      <a:pt x="9" y="48"/>
                    </a:lnTo>
                    <a:lnTo>
                      <a:pt x="9" y="50"/>
                    </a:lnTo>
                    <a:lnTo>
                      <a:pt x="9" y="50"/>
                    </a:lnTo>
                    <a:lnTo>
                      <a:pt x="13" y="53"/>
                    </a:lnTo>
                    <a:lnTo>
                      <a:pt x="13" y="55"/>
                    </a:lnTo>
                    <a:lnTo>
                      <a:pt x="13" y="57"/>
                    </a:lnTo>
                    <a:lnTo>
                      <a:pt x="13" y="57"/>
                    </a:lnTo>
                    <a:lnTo>
                      <a:pt x="11" y="59"/>
                    </a:lnTo>
                    <a:lnTo>
                      <a:pt x="11" y="57"/>
                    </a:lnTo>
                    <a:lnTo>
                      <a:pt x="11" y="57"/>
                    </a:lnTo>
                    <a:lnTo>
                      <a:pt x="9" y="59"/>
                    </a:lnTo>
                    <a:lnTo>
                      <a:pt x="9" y="59"/>
                    </a:lnTo>
                    <a:lnTo>
                      <a:pt x="9" y="60"/>
                    </a:lnTo>
                    <a:lnTo>
                      <a:pt x="9" y="60"/>
                    </a:lnTo>
                    <a:lnTo>
                      <a:pt x="9" y="60"/>
                    </a:lnTo>
                    <a:lnTo>
                      <a:pt x="11" y="62"/>
                    </a:lnTo>
                    <a:lnTo>
                      <a:pt x="11" y="62"/>
                    </a:lnTo>
                    <a:lnTo>
                      <a:pt x="13" y="62"/>
                    </a:lnTo>
                    <a:lnTo>
                      <a:pt x="13" y="64"/>
                    </a:lnTo>
                    <a:lnTo>
                      <a:pt x="13" y="64"/>
                    </a:lnTo>
                    <a:lnTo>
                      <a:pt x="13" y="66"/>
                    </a:lnTo>
                    <a:lnTo>
                      <a:pt x="14" y="66"/>
                    </a:lnTo>
                    <a:lnTo>
                      <a:pt x="14" y="66"/>
                    </a:lnTo>
                    <a:lnTo>
                      <a:pt x="14" y="66"/>
                    </a:lnTo>
                    <a:lnTo>
                      <a:pt x="14" y="68"/>
                    </a:lnTo>
                    <a:lnTo>
                      <a:pt x="14" y="68"/>
                    </a:lnTo>
                    <a:lnTo>
                      <a:pt x="16" y="68"/>
                    </a:lnTo>
                    <a:lnTo>
                      <a:pt x="16" y="68"/>
                    </a:lnTo>
                    <a:lnTo>
                      <a:pt x="16" y="68"/>
                    </a:lnTo>
                    <a:lnTo>
                      <a:pt x="16" y="68"/>
                    </a:lnTo>
                    <a:lnTo>
                      <a:pt x="16" y="68"/>
                    </a:lnTo>
                    <a:lnTo>
                      <a:pt x="18" y="69"/>
                    </a:lnTo>
                    <a:lnTo>
                      <a:pt x="18" y="69"/>
                    </a:lnTo>
                    <a:lnTo>
                      <a:pt x="18" y="69"/>
                    </a:lnTo>
                    <a:lnTo>
                      <a:pt x="18" y="69"/>
                    </a:lnTo>
                    <a:lnTo>
                      <a:pt x="18" y="69"/>
                    </a:lnTo>
                    <a:lnTo>
                      <a:pt x="20" y="69"/>
                    </a:lnTo>
                    <a:lnTo>
                      <a:pt x="20" y="69"/>
                    </a:lnTo>
                    <a:lnTo>
                      <a:pt x="20" y="69"/>
                    </a:lnTo>
                    <a:lnTo>
                      <a:pt x="20" y="69"/>
                    </a:lnTo>
                    <a:lnTo>
                      <a:pt x="20" y="69"/>
                    </a:lnTo>
                    <a:lnTo>
                      <a:pt x="21" y="69"/>
                    </a:lnTo>
                    <a:lnTo>
                      <a:pt x="21" y="71"/>
                    </a:lnTo>
                    <a:lnTo>
                      <a:pt x="21" y="71"/>
                    </a:lnTo>
                    <a:lnTo>
                      <a:pt x="23" y="73"/>
                    </a:lnTo>
                    <a:lnTo>
                      <a:pt x="23" y="73"/>
                    </a:lnTo>
                    <a:lnTo>
                      <a:pt x="25" y="73"/>
                    </a:lnTo>
                    <a:lnTo>
                      <a:pt x="25" y="73"/>
                    </a:lnTo>
                    <a:lnTo>
                      <a:pt x="25" y="73"/>
                    </a:lnTo>
                    <a:lnTo>
                      <a:pt x="27" y="73"/>
                    </a:lnTo>
                    <a:lnTo>
                      <a:pt x="27" y="75"/>
                    </a:lnTo>
                    <a:lnTo>
                      <a:pt x="27" y="75"/>
                    </a:lnTo>
                    <a:close/>
                  </a:path>
                </a:pathLst>
              </a:custGeom>
              <a:solidFill>
                <a:srgbClr val="D9D9D9"/>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49" name="Freeform 3104"/>
              <p:cNvSpPr>
                <a:spLocks/>
              </p:cNvSpPr>
              <p:nvPr/>
            </p:nvSpPr>
            <p:spPr bwMode="auto">
              <a:xfrm>
                <a:off x="1386" y="2590"/>
                <a:ext cx="3" cy="7"/>
              </a:xfrm>
              <a:custGeom>
                <a:avLst/>
                <a:gdLst>
                  <a:gd name="T0" fmla="*/ 1 w 3"/>
                  <a:gd name="T1" fmla="*/ 0 h 7"/>
                  <a:gd name="T2" fmla="*/ 3 w 3"/>
                  <a:gd name="T3" fmla="*/ 0 h 7"/>
                  <a:gd name="T4" fmla="*/ 3 w 3"/>
                  <a:gd name="T5" fmla="*/ 0 h 7"/>
                  <a:gd name="T6" fmla="*/ 1 w 3"/>
                  <a:gd name="T7" fmla="*/ 1 h 7"/>
                  <a:gd name="T8" fmla="*/ 0 w 3"/>
                  <a:gd name="T9" fmla="*/ 5 h 7"/>
                  <a:gd name="T10" fmla="*/ 3 w 3"/>
                  <a:gd name="T11" fmla="*/ 7 h 7"/>
                  <a:gd name="T12" fmla="*/ 3 w 3"/>
                  <a:gd name="T13" fmla="*/ 0 h 7"/>
                  <a:gd name="T14" fmla="*/ 1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1" y="0"/>
                    </a:moveTo>
                    <a:lnTo>
                      <a:pt x="3" y="0"/>
                    </a:lnTo>
                    <a:lnTo>
                      <a:pt x="3" y="0"/>
                    </a:lnTo>
                    <a:lnTo>
                      <a:pt x="1" y="1"/>
                    </a:lnTo>
                    <a:lnTo>
                      <a:pt x="0" y="5"/>
                    </a:lnTo>
                    <a:lnTo>
                      <a:pt x="3" y="7"/>
                    </a:lnTo>
                    <a:lnTo>
                      <a:pt x="3" y="0"/>
                    </a:lnTo>
                    <a:lnTo>
                      <a:pt x="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50" name="Freeform 3105"/>
              <p:cNvSpPr>
                <a:spLocks/>
              </p:cNvSpPr>
              <p:nvPr/>
            </p:nvSpPr>
            <p:spPr bwMode="auto">
              <a:xfrm>
                <a:off x="1386" y="2590"/>
                <a:ext cx="3" cy="7"/>
              </a:xfrm>
              <a:custGeom>
                <a:avLst/>
                <a:gdLst>
                  <a:gd name="T0" fmla="*/ 1 w 3"/>
                  <a:gd name="T1" fmla="*/ 0 h 7"/>
                  <a:gd name="T2" fmla="*/ 3 w 3"/>
                  <a:gd name="T3" fmla="*/ 0 h 7"/>
                  <a:gd name="T4" fmla="*/ 3 w 3"/>
                  <a:gd name="T5" fmla="*/ 0 h 7"/>
                  <a:gd name="T6" fmla="*/ 1 w 3"/>
                  <a:gd name="T7" fmla="*/ 1 h 7"/>
                  <a:gd name="T8" fmla="*/ 0 w 3"/>
                  <a:gd name="T9" fmla="*/ 5 h 7"/>
                  <a:gd name="T10" fmla="*/ 3 w 3"/>
                  <a:gd name="T11" fmla="*/ 7 h 7"/>
                  <a:gd name="T12" fmla="*/ 3 w 3"/>
                  <a:gd name="T13" fmla="*/ 0 h 7"/>
                  <a:gd name="T14" fmla="*/ 1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1" y="0"/>
                    </a:moveTo>
                    <a:lnTo>
                      <a:pt x="3" y="0"/>
                    </a:lnTo>
                    <a:lnTo>
                      <a:pt x="3" y="0"/>
                    </a:lnTo>
                    <a:lnTo>
                      <a:pt x="1" y="1"/>
                    </a:lnTo>
                    <a:lnTo>
                      <a:pt x="0" y="5"/>
                    </a:lnTo>
                    <a:lnTo>
                      <a:pt x="3" y="7"/>
                    </a:lnTo>
                    <a:lnTo>
                      <a:pt x="3" y="0"/>
                    </a:lnTo>
                    <a:lnTo>
                      <a:pt x="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51" name="Freeform 3106"/>
              <p:cNvSpPr>
                <a:spLocks/>
              </p:cNvSpPr>
              <p:nvPr/>
            </p:nvSpPr>
            <p:spPr bwMode="auto">
              <a:xfrm>
                <a:off x="1661" y="2166"/>
                <a:ext cx="1" cy="4"/>
              </a:xfrm>
              <a:custGeom>
                <a:avLst/>
                <a:gdLst>
                  <a:gd name="T0" fmla="*/ 1 w 1"/>
                  <a:gd name="T1" fmla="*/ 2 h 4"/>
                  <a:gd name="T2" fmla="*/ 1 w 1"/>
                  <a:gd name="T3" fmla="*/ 0 h 4"/>
                  <a:gd name="T4" fmla="*/ 1 w 1"/>
                  <a:gd name="T5" fmla="*/ 2 h 4"/>
                  <a:gd name="T6" fmla="*/ 0 w 1"/>
                  <a:gd name="T7" fmla="*/ 4 h 4"/>
                  <a:gd name="T8" fmla="*/ 0 w 1"/>
                  <a:gd name="T9" fmla="*/ 4 h 4"/>
                  <a:gd name="T10" fmla="*/ 1 w 1"/>
                  <a:gd name="T11" fmla="*/ 4 h 4"/>
                  <a:gd name="T12" fmla="*/ 1 w 1"/>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 h="4">
                    <a:moveTo>
                      <a:pt x="1" y="2"/>
                    </a:moveTo>
                    <a:lnTo>
                      <a:pt x="1" y="0"/>
                    </a:lnTo>
                    <a:lnTo>
                      <a:pt x="1" y="2"/>
                    </a:lnTo>
                    <a:lnTo>
                      <a:pt x="0" y="4"/>
                    </a:lnTo>
                    <a:lnTo>
                      <a:pt x="0" y="4"/>
                    </a:lnTo>
                    <a:lnTo>
                      <a:pt x="1" y="4"/>
                    </a:lnTo>
                    <a:lnTo>
                      <a:pt x="1"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52" name="Freeform 3107"/>
              <p:cNvSpPr>
                <a:spLocks/>
              </p:cNvSpPr>
              <p:nvPr/>
            </p:nvSpPr>
            <p:spPr bwMode="auto">
              <a:xfrm>
                <a:off x="1661" y="2166"/>
                <a:ext cx="1" cy="4"/>
              </a:xfrm>
              <a:custGeom>
                <a:avLst/>
                <a:gdLst>
                  <a:gd name="T0" fmla="*/ 1 w 1"/>
                  <a:gd name="T1" fmla="*/ 2 h 4"/>
                  <a:gd name="T2" fmla="*/ 1 w 1"/>
                  <a:gd name="T3" fmla="*/ 0 h 4"/>
                  <a:gd name="T4" fmla="*/ 1 w 1"/>
                  <a:gd name="T5" fmla="*/ 2 h 4"/>
                  <a:gd name="T6" fmla="*/ 0 w 1"/>
                  <a:gd name="T7" fmla="*/ 4 h 4"/>
                  <a:gd name="T8" fmla="*/ 0 w 1"/>
                  <a:gd name="T9" fmla="*/ 4 h 4"/>
                  <a:gd name="T10" fmla="*/ 1 w 1"/>
                  <a:gd name="T11" fmla="*/ 4 h 4"/>
                  <a:gd name="T12" fmla="*/ 1 w 1"/>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1" h="4">
                    <a:moveTo>
                      <a:pt x="1" y="2"/>
                    </a:moveTo>
                    <a:lnTo>
                      <a:pt x="1" y="0"/>
                    </a:lnTo>
                    <a:lnTo>
                      <a:pt x="1" y="2"/>
                    </a:lnTo>
                    <a:lnTo>
                      <a:pt x="0" y="4"/>
                    </a:lnTo>
                    <a:lnTo>
                      <a:pt x="0" y="4"/>
                    </a:lnTo>
                    <a:lnTo>
                      <a:pt x="1" y="4"/>
                    </a:lnTo>
                    <a:lnTo>
                      <a:pt x="1"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53" name="Freeform 3108"/>
              <p:cNvSpPr>
                <a:spLocks/>
              </p:cNvSpPr>
              <p:nvPr/>
            </p:nvSpPr>
            <p:spPr bwMode="auto">
              <a:xfrm>
                <a:off x="1443" y="2413"/>
                <a:ext cx="34" cy="12"/>
              </a:xfrm>
              <a:custGeom>
                <a:avLst/>
                <a:gdLst>
                  <a:gd name="T0" fmla="*/ 19 w 34"/>
                  <a:gd name="T1" fmla="*/ 2 h 12"/>
                  <a:gd name="T2" fmla="*/ 21 w 34"/>
                  <a:gd name="T3" fmla="*/ 2 h 12"/>
                  <a:gd name="T4" fmla="*/ 23 w 34"/>
                  <a:gd name="T5" fmla="*/ 3 h 12"/>
                  <a:gd name="T6" fmla="*/ 25 w 34"/>
                  <a:gd name="T7" fmla="*/ 5 h 12"/>
                  <a:gd name="T8" fmla="*/ 30 w 34"/>
                  <a:gd name="T9" fmla="*/ 5 h 12"/>
                  <a:gd name="T10" fmla="*/ 34 w 34"/>
                  <a:gd name="T11" fmla="*/ 11 h 12"/>
                  <a:gd name="T12" fmla="*/ 30 w 34"/>
                  <a:gd name="T13" fmla="*/ 11 h 12"/>
                  <a:gd name="T14" fmla="*/ 26 w 34"/>
                  <a:gd name="T15" fmla="*/ 9 h 12"/>
                  <a:gd name="T16" fmla="*/ 23 w 34"/>
                  <a:gd name="T17" fmla="*/ 11 h 12"/>
                  <a:gd name="T18" fmla="*/ 19 w 34"/>
                  <a:gd name="T19" fmla="*/ 11 h 12"/>
                  <a:gd name="T20" fmla="*/ 19 w 34"/>
                  <a:gd name="T21" fmla="*/ 12 h 12"/>
                  <a:gd name="T22" fmla="*/ 16 w 34"/>
                  <a:gd name="T23" fmla="*/ 12 h 12"/>
                  <a:gd name="T24" fmla="*/ 14 w 34"/>
                  <a:gd name="T25" fmla="*/ 11 h 12"/>
                  <a:gd name="T26" fmla="*/ 10 w 34"/>
                  <a:gd name="T27" fmla="*/ 11 h 12"/>
                  <a:gd name="T28" fmla="*/ 5 w 34"/>
                  <a:gd name="T29" fmla="*/ 7 h 12"/>
                  <a:gd name="T30" fmla="*/ 1 w 34"/>
                  <a:gd name="T31" fmla="*/ 5 h 12"/>
                  <a:gd name="T32" fmla="*/ 0 w 34"/>
                  <a:gd name="T33" fmla="*/ 3 h 12"/>
                  <a:gd name="T34" fmla="*/ 1 w 34"/>
                  <a:gd name="T35" fmla="*/ 2 h 12"/>
                  <a:gd name="T36" fmla="*/ 7 w 34"/>
                  <a:gd name="T37" fmla="*/ 0 h 12"/>
                  <a:gd name="T38" fmla="*/ 19 w 34"/>
                  <a:gd name="T3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12">
                    <a:moveTo>
                      <a:pt x="19" y="2"/>
                    </a:moveTo>
                    <a:lnTo>
                      <a:pt x="21" y="2"/>
                    </a:lnTo>
                    <a:lnTo>
                      <a:pt x="23" y="3"/>
                    </a:lnTo>
                    <a:lnTo>
                      <a:pt x="25" y="5"/>
                    </a:lnTo>
                    <a:lnTo>
                      <a:pt x="30" y="5"/>
                    </a:lnTo>
                    <a:lnTo>
                      <a:pt x="34" y="11"/>
                    </a:lnTo>
                    <a:lnTo>
                      <a:pt x="30" y="11"/>
                    </a:lnTo>
                    <a:lnTo>
                      <a:pt x="26" y="9"/>
                    </a:lnTo>
                    <a:lnTo>
                      <a:pt x="23" y="11"/>
                    </a:lnTo>
                    <a:lnTo>
                      <a:pt x="19" y="11"/>
                    </a:lnTo>
                    <a:lnTo>
                      <a:pt x="19" y="12"/>
                    </a:lnTo>
                    <a:lnTo>
                      <a:pt x="16" y="12"/>
                    </a:lnTo>
                    <a:lnTo>
                      <a:pt x="14" y="11"/>
                    </a:lnTo>
                    <a:lnTo>
                      <a:pt x="10" y="11"/>
                    </a:lnTo>
                    <a:lnTo>
                      <a:pt x="5" y="7"/>
                    </a:lnTo>
                    <a:lnTo>
                      <a:pt x="1" y="5"/>
                    </a:lnTo>
                    <a:lnTo>
                      <a:pt x="0" y="3"/>
                    </a:lnTo>
                    <a:lnTo>
                      <a:pt x="1" y="2"/>
                    </a:lnTo>
                    <a:lnTo>
                      <a:pt x="7" y="0"/>
                    </a:lnTo>
                    <a:lnTo>
                      <a:pt x="19"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54" name="Freeform 3109"/>
              <p:cNvSpPr>
                <a:spLocks/>
              </p:cNvSpPr>
              <p:nvPr/>
            </p:nvSpPr>
            <p:spPr bwMode="auto">
              <a:xfrm>
                <a:off x="1443" y="2413"/>
                <a:ext cx="34" cy="12"/>
              </a:xfrm>
              <a:custGeom>
                <a:avLst/>
                <a:gdLst>
                  <a:gd name="T0" fmla="*/ 19 w 34"/>
                  <a:gd name="T1" fmla="*/ 2 h 12"/>
                  <a:gd name="T2" fmla="*/ 21 w 34"/>
                  <a:gd name="T3" fmla="*/ 2 h 12"/>
                  <a:gd name="T4" fmla="*/ 23 w 34"/>
                  <a:gd name="T5" fmla="*/ 3 h 12"/>
                  <a:gd name="T6" fmla="*/ 25 w 34"/>
                  <a:gd name="T7" fmla="*/ 5 h 12"/>
                  <a:gd name="T8" fmla="*/ 30 w 34"/>
                  <a:gd name="T9" fmla="*/ 5 h 12"/>
                  <a:gd name="T10" fmla="*/ 34 w 34"/>
                  <a:gd name="T11" fmla="*/ 11 h 12"/>
                  <a:gd name="T12" fmla="*/ 30 w 34"/>
                  <a:gd name="T13" fmla="*/ 11 h 12"/>
                  <a:gd name="T14" fmla="*/ 26 w 34"/>
                  <a:gd name="T15" fmla="*/ 9 h 12"/>
                  <a:gd name="T16" fmla="*/ 23 w 34"/>
                  <a:gd name="T17" fmla="*/ 11 h 12"/>
                  <a:gd name="T18" fmla="*/ 19 w 34"/>
                  <a:gd name="T19" fmla="*/ 11 h 12"/>
                  <a:gd name="T20" fmla="*/ 19 w 34"/>
                  <a:gd name="T21" fmla="*/ 12 h 12"/>
                  <a:gd name="T22" fmla="*/ 16 w 34"/>
                  <a:gd name="T23" fmla="*/ 12 h 12"/>
                  <a:gd name="T24" fmla="*/ 14 w 34"/>
                  <a:gd name="T25" fmla="*/ 11 h 12"/>
                  <a:gd name="T26" fmla="*/ 10 w 34"/>
                  <a:gd name="T27" fmla="*/ 11 h 12"/>
                  <a:gd name="T28" fmla="*/ 5 w 34"/>
                  <a:gd name="T29" fmla="*/ 7 h 12"/>
                  <a:gd name="T30" fmla="*/ 1 w 34"/>
                  <a:gd name="T31" fmla="*/ 5 h 12"/>
                  <a:gd name="T32" fmla="*/ 0 w 34"/>
                  <a:gd name="T33" fmla="*/ 3 h 12"/>
                  <a:gd name="T34" fmla="*/ 1 w 34"/>
                  <a:gd name="T35" fmla="*/ 2 h 12"/>
                  <a:gd name="T36" fmla="*/ 7 w 34"/>
                  <a:gd name="T37" fmla="*/ 0 h 12"/>
                  <a:gd name="T38" fmla="*/ 19 w 34"/>
                  <a:gd name="T3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12">
                    <a:moveTo>
                      <a:pt x="19" y="2"/>
                    </a:moveTo>
                    <a:lnTo>
                      <a:pt x="21" y="2"/>
                    </a:lnTo>
                    <a:lnTo>
                      <a:pt x="23" y="3"/>
                    </a:lnTo>
                    <a:lnTo>
                      <a:pt x="25" y="5"/>
                    </a:lnTo>
                    <a:lnTo>
                      <a:pt x="30" y="5"/>
                    </a:lnTo>
                    <a:lnTo>
                      <a:pt x="34" y="11"/>
                    </a:lnTo>
                    <a:lnTo>
                      <a:pt x="30" y="11"/>
                    </a:lnTo>
                    <a:lnTo>
                      <a:pt x="26" y="9"/>
                    </a:lnTo>
                    <a:lnTo>
                      <a:pt x="23" y="11"/>
                    </a:lnTo>
                    <a:lnTo>
                      <a:pt x="19" y="11"/>
                    </a:lnTo>
                    <a:lnTo>
                      <a:pt x="19" y="12"/>
                    </a:lnTo>
                    <a:lnTo>
                      <a:pt x="16" y="12"/>
                    </a:lnTo>
                    <a:lnTo>
                      <a:pt x="14" y="11"/>
                    </a:lnTo>
                    <a:lnTo>
                      <a:pt x="10" y="11"/>
                    </a:lnTo>
                    <a:lnTo>
                      <a:pt x="5" y="7"/>
                    </a:lnTo>
                    <a:lnTo>
                      <a:pt x="1" y="5"/>
                    </a:lnTo>
                    <a:lnTo>
                      <a:pt x="0" y="3"/>
                    </a:lnTo>
                    <a:lnTo>
                      <a:pt x="1" y="2"/>
                    </a:lnTo>
                    <a:lnTo>
                      <a:pt x="7" y="0"/>
                    </a:lnTo>
                    <a:lnTo>
                      <a:pt x="19"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55" name="Freeform 3110"/>
              <p:cNvSpPr>
                <a:spLocks/>
              </p:cNvSpPr>
              <p:nvPr/>
            </p:nvSpPr>
            <p:spPr bwMode="auto">
              <a:xfrm>
                <a:off x="1507" y="3445"/>
                <a:ext cx="16" cy="37"/>
              </a:xfrm>
              <a:custGeom>
                <a:avLst/>
                <a:gdLst>
                  <a:gd name="T0" fmla="*/ 7 w 16"/>
                  <a:gd name="T1" fmla="*/ 0 h 37"/>
                  <a:gd name="T2" fmla="*/ 9 w 16"/>
                  <a:gd name="T3" fmla="*/ 0 h 37"/>
                  <a:gd name="T4" fmla="*/ 9 w 16"/>
                  <a:gd name="T5" fmla="*/ 4 h 37"/>
                  <a:gd name="T6" fmla="*/ 11 w 16"/>
                  <a:gd name="T7" fmla="*/ 4 h 37"/>
                  <a:gd name="T8" fmla="*/ 12 w 16"/>
                  <a:gd name="T9" fmla="*/ 4 h 37"/>
                  <a:gd name="T10" fmla="*/ 16 w 16"/>
                  <a:gd name="T11" fmla="*/ 14 h 37"/>
                  <a:gd name="T12" fmla="*/ 12 w 16"/>
                  <a:gd name="T13" fmla="*/ 14 h 37"/>
                  <a:gd name="T14" fmla="*/ 11 w 16"/>
                  <a:gd name="T15" fmla="*/ 18 h 37"/>
                  <a:gd name="T16" fmla="*/ 11 w 16"/>
                  <a:gd name="T17" fmla="*/ 18 h 37"/>
                  <a:gd name="T18" fmla="*/ 9 w 16"/>
                  <a:gd name="T19" fmla="*/ 20 h 37"/>
                  <a:gd name="T20" fmla="*/ 9 w 16"/>
                  <a:gd name="T21" fmla="*/ 20 h 37"/>
                  <a:gd name="T22" fmla="*/ 11 w 16"/>
                  <a:gd name="T23" fmla="*/ 21 h 37"/>
                  <a:gd name="T24" fmla="*/ 12 w 16"/>
                  <a:gd name="T25" fmla="*/ 23 h 37"/>
                  <a:gd name="T26" fmla="*/ 12 w 16"/>
                  <a:gd name="T27" fmla="*/ 25 h 37"/>
                  <a:gd name="T28" fmla="*/ 11 w 16"/>
                  <a:gd name="T29" fmla="*/ 25 h 37"/>
                  <a:gd name="T30" fmla="*/ 12 w 16"/>
                  <a:gd name="T31" fmla="*/ 29 h 37"/>
                  <a:gd name="T32" fmla="*/ 12 w 16"/>
                  <a:gd name="T33" fmla="*/ 32 h 37"/>
                  <a:gd name="T34" fmla="*/ 9 w 16"/>
                  <a:gd name="T35" fmla="*/ 32 h 37"/>
                  <a:gd name="T36" fmla="*/ 11 w 16"/>
                  <a:gd name="T37" fmla="*/ 36 h 37"/>
                  <a:gd name="T38" fmla="*/ 9 w 16"/>
                  <a:gd name="T39" fmla="*/ 37 h 37"/>
                  <a:gd name="T40" fmla="*/ 2 w 16"/>
                  <a:gd name="T41" fmla="*/ 36 h 37"/>
                  <a:gd name="T42" fmla="*/ 0 w 16"/>
                  <a:gd name="T43" fmla="*/ 32 h 37"/>
                  <a:gd name="T44" fmla="*/ 5 w 16"/>
                  <a:gd name="T45" fmla="*/ 4 h 37"/>
                  <a:gd name="T46" fmla="*/ 5 w 16"/>
                  <a:gd name="T47" fmla="*/ 4 h 37"/>
                  <a:gd name="T48" fmla="*/ 7 w 16"/>
                  <a:gd name="T4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37">
                    <a:moveTo>
                      <a:pt x="7" y="0"/>
                    </a:moveTo>
                    <a:lnTo>
                      <a:pt x="9" y="0"/>
                    </a:lnTo>
                    <a:lnTo>
                      <a:pt x="9" y="4"/>
                    </a:lnTo>
                    <a:lnTo>
                      <a:pt x="11" y="4"/>
                    </a:lnTo>
                    <a:lnTo>
                      <a:pt x="12" y="4"/>
                    </a:lnTo>
                    <a:lnTo>
                      <a:pt x="16" y="14"/>
                    </a:lnTo>
                    <a:lnTo>
                      <a:pt x="12" y="14"/>
                    </a:lnTo>
                    <a:lnTo>
                      <a:pt x="11" y="18"/>
                    </a:lnTo>
                    <a:lnTo>
                      <a:pt x="11" y="18"/>
                    </a:lnTo>
                    <a:lnTo>
                      <a:pt x="9" y="20"/>
                    </a:lnTo>
                    <a:lnTo>
                      <a:pt x="9" y="20"/>
                    </a:lnTo>
                    <a:lnTo>
                      <a:pt x="11" y="21"/>
                    </a:lnTo>
                    <a:lnTo>
                      <a:pt x="12" y="23"/>
                    </a:lnTo>
                    <a:lnTo>
                      <a:pt x="12" y="25"/>
                    </a:lnTo>
                    <a:lnTo>
                      <a:pt x="11" y="25"/>
                    </a:lnTo>
                    <a:lnTo>
                      <a:pt x="12" y="29"/>
                    </a:lnTo>
                    <a:lnTo>
                      <a:pt x="12" y="32"/>
                    </a:lnTo>
                    <a:lnTo>
                      <a:pt x="9" y="32"/>
                    </a:lnTo>
                    <a:lnTo>
                      <a:pt x="11" y="36"/>
                    </a:lnTo>
                    <a:lnTo>
                      <a:pt x="9" y="37"/>
                    </a:lnTo>
                    <a:lnTo>
                      <a:pt x="2" y="36"/>
                    </a:lnTo>
                    <a:lnTo>
                      <a:pt x="0" y="32"/>
                    </a:lnTo>
                    <a:lnTo>
                      <a:pt x="5" y="4"/>
                    </a:lnTo>
                    <a:lnTo>
                      <a:pt x="5" y="4"/>
                    </a:lnTo>
                    <a:lnTo>
                      <a:pt x="7"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56" name="Freeform 3111"/>
              <p:cNvSpPr>
                <a:spLocks/>
              </p:cNvSpPr>
              <p:nvPr/>
            </p:nvSpPr>
            <p:spPr bwMode="auto">
              <a:xfrm>
                <a:off x="1507" y="3445"/>
                <a:ext cx="16" cy="37"/>
              </a:xfrm>
              <a:custGeom>
                <a:avLst/>
                <a:gdLst>
                  <a:gd name="T0" fmla="*/ 7 w 16"/>
                  <a:gd name="T1" fmla="*/ 0 h 37"/>
                  <a:gd name="T2" fmla="*/ 9 w 16"/>
                  <a:gd name="T3" fmla="*/ 0 h 37"/>
                  <a:gd name="T4" fmla="*/ 9 w 16"/>
                  <a:gd name="T5" fmla="*/ 4 h 37"/>
                  <a:gd name="T6" fmla="*/ 11 w 16"/>
                  <a:gd name="T7" fmla="*/ 4 h 37"/>
                  <a:gd name="T8" fmla="*/ 12 w 16"/>
                  <a:gd name="T9" fmla="*/ 4 h 37"/>
                  <a:gd name="T10" fmla="*/ 16 w 16"/>
                  <a:gd name="T11" fmla="*/ 14 h 37"/>
                  <a:gd name="T12" fmla="*/ 12 w 16"/>
                  <a:gd name="T13" fmla="*/ 14 h 37"/>
                  <a:gd name="T14" fmla="*/ 11 w 16"/>
                  <a:gd name="T15" fmla="*/ 18 h 37"/>
                  <a:gd name="T16" fmla="*/ 11 w 16"/>
                  <a:gd name="T17" fmla="*/ 18 h 37"/>
                  <a:gd name="T18" fmla="*/ 9 w 16"/>
                  <a:gd name="T19" fmla="*/ 20 h 37"/>
                  <a:gd name="T20" fmla="*/ 9 w 16"/>
                  <a:gd name="T21" fmla="*/ 20 h 37"/>
                  <a:gd name="T22" fmla="*/ 11 w 16"/>
                  <a:gd name="T23" fmla="*/ 21 h 37"/>
                  <a:gd name="T24" fmla="*/ 12 w 16"/>
                  <a:gd name="T25" fmla="*/ 23 h 37"/>
                  <a:gd name="T26" fmla="*/ 12 w 16"/>
                  <a:gd name="T27" fmla="*/ 25 h 37"/>
                  <a:gd name="T28" fmla="*/ 11 w 16"/>
                  <a:gd name="T29" fmla="*/ 25 h 37"/>
                  <a:gd name="T30" fmla="*/ 12 w 16"/>
                  <a:gd name="T31" fmla="*/ 29 h 37"/>
                  <a:gd name="T32" fmla="*/ 12 w 16"/>
                  <a:gd name="T33" fmla="*/ 32 h 37"/>
                  <a:gd name="T34" fmla="*/ 9 w 16"/>
                  <a:gd name="T35" fmla="*/ 32 h 37"/>
                  <a:gd name="T36" fmla="*/ 11 w 16"/>
                  <a:gd name="T37" fmla="*/ 36 h 37"/>
                  <a:gd name="T38" fmla="*/ 9 w 16"/>
                  <a:gd name="T39" fmla="*/ 37 h 37"/>
                  <a:gd name="T40" fmla="*/ 2 w 16"/>
                  <a:gd name="T41" fmla="*/ 36 h 37"/>
                  <a:gd name="T42" fmla="*/ 0 w 16"/>
                  <a:gd name="T43" fmla="*/ 32 h 37"/>
                  <a:gd name="T44" fmla="*/ 5 w 16"/>
                  <a:gd name="T45" fmla="*/ 4 h 37"/>
                  <a:gd name="T46" fmla="*/ 5 w 16"/>
                  <a:gd name="T47" fmla="*/ 4 h 37"/>
                  <a:gd name="T48" fmla="*/ 7 w 16"/>
                  <a:gd name="T49"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37">
                    <a:moveTo>
                      <a:pt x="7" y="0"/>
                    </a:moveTo>
                    <a:lnTo>
                      <a:pt x="9" y="0"/>
                    </a:lnTo>
                    <a:lnTo>
                      <a:pt x="9" y="4"/>
                    </a:lnTo>
                    <a:lnTo>
                      <a:pt x="11" y="4"/>
                    </a:lnTo>
                    <a:lnTo>
                      <a:pt x="12" y="4"/>
                    </a:lnTo>
                    <a:lnTo>
                      <a:pt x="16" y="14"/>
                    </a:lnTo>
                    <a:lnTo>
                      <a:pt x="12" y="14"/>
                    </a:lnTo>
                    <a:lnTo>
                      <a:pt x="11" y="18"/>
                    </a:lnTo>
                    <a:lnTo>
                      <a:pt x="11" y="18"/>
                    </a:lnTo>
                    <a:lnTo>
                      <a:pt x="9" y="20"/>
                    </a:lnTo>
                    <a:lnTo>
                      <a:pt x="9" y="20"/>
                    </a:lnTo>
                    <a:lnTo>
                      <a:pt x="11" y="21"/>
                    </a:lnTo>
                    <a:lnTo>
                      <a:pt x="12" y="23"/>
                    </a:lnTo>
                    <a:lnTo>
                      <a:pt x="12" y="25"/>
                    </a:lnTo>
                    <a:lnTo>
                      <a:pt x="11" y="25"/>
                    </a:lnTo>
                    <a:lnTo>
                      <a:pt x="12" y="29"/>
                    </a:lnTo>
                    <a:lnTo>
                      <a:pt x="12" y="32"/>
                    </a:lnTo>
                    <a:lnTo>
                      <a:pt x="9" y="32"/>
                    </a:lnTo>
                    <a:lnTo>
                      <a:pt x="11" y="36"/>
                    </a:lnTo>
                    <a:lnTo>
                      <a:pt x="9" y="37"/>
                    </a:lnTo>
                    <a:lnTo>
                      <a:pt x="2" y="36"/>
                    </a:lnTo>
                    <a:lnTo>
                      <a:pt x="0" y="32"/>
                    </a:lnTo>
                    <a:lnTo>
                      <a:pt x="5" y="4"/>
                    </a:lnTo>
                    <a:lnTo>
                      <a:pt x="5" y="4"/>
                    </a:lnTo>
                    <a:lnTo>
                      <a:pt x="7"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57" name="Freeform 3112"/>
              <p:cNvSpPr>
                <a:spLocks/>
              </p:cNvSpPr>
              <p:nvPr/>
            </p:nvSpPr>
            <p:spPr bwMode="auto">
              <a:xfrm>
                <a:off x="1521" y="3504"/>
                <a:ext cx="11" cy="12"/>
              </a:xfrm>
              <a:custGeom>
                <a:avLst/>
                <a:gdLst>
                  <a:gd name="T0" fmla="*/ 7 w 11"/>
                  <a:gd name="T1" fmla="*/ 0 h 12"/>
                  <a:gd name="T2" fmla="*/ 7 w 11"/>
                  <a:gd name="T3" fmla="*/ 0 h 12"/>
                  <a:gd name="T4" fmla="*/ 11 w 11"/>
                  <a:gd name="T5" fmla="*/ 2 h 12"/>
                  <a:gd name="T6" fmla="*/ 11 w 11"/>
                  <a:gd name="T7" fmla="*/ 3 h 12"/>
                  <a:gd name="T8" fmla="*/ 11 w 11"/>
                  <a:gd name="T9" fmla="*/ 3 h 12"/>
                  <a:gd name="T10" fmla="*/ 11 w 11"/>
                  <a:gd name="T11" fmla="*/ 5 h 12"/>
                  <a:gd name="T12" fmla="*/ 11 w 11"/>
                  <a:gd name="T13" fmla="*/ 9 h 12"/>
                  <a:gd name="T14" fmla="*/ 7 w 11"/>
                  <a:gd name="T15" fmla="*/ 11 h 12"/>
                  <a:gd name="T16" fmla="*/ 6 w 11"/>
                  <a:gd name="T17" fmla="*/ 12 h 12"/>
                  <a:gd name="T18" fmla="*/ 4 w 11"/>
                  <a:gd name="T19" fmla="*/ 11 h 12"/>
                  <a:gd name="T20" fmla="*/ 0 w 11"/>
                  <a:gd name="T21" fmla="*/ 7 h 12"/>
                  <a:gd name="T22" fmla="*/ 0 w 11"/>
                  <a:gd name="T23" fmla="*/ 3 h 12"/>
                  <a:gd name="T24" fmla="*/ 7 w 11"/>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2">
                    <a:moveTo>
                      <a:pt x="7" y="0"/>
                    </a:moveTo>
                    <a:lnTo>
                      <a:pt x="7" y="0"/>
                    </a:lnTo>
                    <a:lnTo>
                      <a:pt x="11" y="2"/>
                    </a:lnTo>
                    <a:lnTo>
                      <a:pt x="11" y="3"/>
                    </a:lnTo>
                    <a:lnTo>
                      <a:pt x="11" y="3"/>
                    </a:lnTo>
                    <a:lnTo>
                      <a:pt x="11" y="5"/>
                    </a:lnTo>
                    <a:lnTo>
                      <a:pt x="11" y="9"/>
                    </a:lnTo>
                    <a:lnTo>
                      <a:pt x="7" y="11"/>
                    </a:lnTo>
                    <a:lnTo>
                      <a:pt x="6" y="12"/>
                    </a:lnTo>
                    <a:lnTo>
                      <a:pt x="4" y="11"/>
                    </a:lnTo>
                    <a:lnTo>
                      <a:pt x="0" y="7"/>
                    </a:lnTo>
                    <a:lnTo>
                      <a:pt x="0" y="3"/>
                    </a:lnTo>
                    <a:lnTo>
                      <a:pt x="7"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58" name="Freeform 3113"/>
              <p:cNvSpPr>
                <a:spLocks/>
              </p:cNvSpPr>
              <p:nvPr/>
            </p:nvSpPr>
            <p:spPr bwMode="auto">
              <a:xfrm>
                <a:off x="1521" y="3504"/>
                <a:ext cx="11" cy="12"/>
              </a:xfrm>
              <a:custGeom>
                <a:avLst/>
                <a:gdLst>
                  <a:gd name="T0" fmla="*/ 7 w 11"/>
                  <a:gd name="T1" fmla="*/ 0 h 12"/>
                  <a:gd name="T2" fmla="*/ 7 w 11"/>
                  <a:gd name="T3" fmla="*/ 0 h 12"/>
                  <a:gd name="T4" fmla="*/ 11 w 11"/>
                  <a:gd name="T5" fmla="*/ 2 h 12"/>
                  <a:gd name="T6" fmla="*/ 11 w 11"/>
                  <a:gd name="T7" fmla="*/ 3 h 12"/>
                  <a:gd name="T8" fmla="*/ 11 w 11"/>
                  <a:gd name="T9" fmla="*/ 3 h 12"/>
                  <a:gd name="T10" fmla="*/ 11 w 11"/>
                  <a:gd name="T11" fmla="*/ 5 h 12"/>
                  <a:gd name="T12" fmla="*/ 11 w 11"/>
                  <a:gd name="T13" fmla="*/ 9 h 12"/>
                  <a:gd name="T14" fmla="*/ 7 w 11"/>
                  <a:gd name="T15" fmla="*/ 11 h 12"/>
                  <a:gd name="T16" fmla="*/ 6 w 11"/>
                  <a:gd name="T17" fmla="*/ 12 h 12"/>
                  <a:gd name="T18" fmla="*/ 4 w 11"/>
                  <a:gd name="T19" fmla="*/ 11 h 12"/>
                  <a:gd name="T20" fmla="*/ 0 w 11"/>
                  <a:gd name="T21" fmla="*/ 7 h 12"/>
                  <a:gd name="T22" fmla="*/ 0 w 11"/>
                  <a:gd name="T23" fmla="*/ 3 h 12"/>
                  <a:gd name="T24" fmla="*/ 7 w 11"/>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2">
                    <a:moveTo>
                      <a:pt x="7" y="0"/>
                    </a:moveTo>
                    <a:lnTo>
                      <a:pt x="7" y="0"/>
                    </a:lnTo>
                    <a:lnTo>
                      <a:pt x="11" y="2"/>
                    </a:lnTo>
                    <a:lnTo>
                      <a:pt x="11" y="3"/>
                    </a:lnTo>
                    <a:lnTo>
                      <a:pt x="11" y="3"/>
                    </a:lnTo>
                    <a:lnTo>
                      <a:pt x="11" y="5"/>
                    </a:lnTo>
                    <a:lnTo>
                      <a:pt x="11" y="9"/>
                    </a:lnTo>
                    <a:lnTo>
                      <a:pt x="7" y="11"/>
                    </a:lnTo>
                    <a:lnTo>
                      <a:pt x="6" y="12"/>
                    </a:lnTo>
                    <a:lnTo>
                      <a:pt x="4" y="11"/>
                    </a:lnTo>
                    <a:lnTo>
                      <a:pt x="0" y="7"/>
                    </a:lnTo>
                    <a:lnTo>
                      <a:pt x="0" y="3"/>
                    </a:lnTo>
                    <a:lnTo>
                      <a:pt x="7"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59" name="Freeform 3114"/>
              <p:cNvSpPr>
                <a:spLocks/>
              </p:cNvSpPr>
              <p:nvPr/>
            </p:nvSpPr>
            <p:spPr bwMode="auto">
              <a:xfrm>
                <a:off x="1507" y="3509"/>
                <a:ext cx="7" cy="2"/>
              </a:xfrm>
              <a:custGeom>
                <a:avLst/>
                <a:gdLst>
                  <a:gd name="T0" fmla="*/ 0 w 7"/>
                  <a:gd name="T1" fmla="*/ 0 h 2"/>
                  <a:gd name="T2" fmla="*/ 4 w 7"/>
                  <a:gd name="T3" fmla="*/ 0 h 2"/>
                  <a:gd name="T4" fmla="*/ 5 w 7"/>
                  <a:gd name="T5" fmla="*/ 0 h 2"/>
                  <a:gd name="T6" fmla="*/ 7 w 7"/>
                  <a:gd name="T7" fmla="*/ 2 h 2"/>
                  <a:gd name="T8" fmla="*/ 2 w 7"/>
                  <a:gd name="T9" fmla="*/ 2 h 2"/>
                  <a:gd name="T10" fmla="*/ 2 w 7"/>
                  <a:gd name="T11" fmla="*/ 2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4" y="0"/>
                    </a:lnTo>
                    <a:lnTo>
                      <a:pt x="5" y="0"/>
                    </a:lnTo>
                    <a:lnTo>
                      <a:pt x="7" y="2"/>
                    </a:lnTo>
                    <a:lnTo>
                      <a:pt x="2" y="2"/>
                    </a:lnTo>
                    <a:lnTo>
                      <a:pt x="2"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60" name="Freeform 3115"/>
              <p:cNvSpPr>
                <a:spLocks/>
              </p:cNvSpPr>
              <p:nvPr/>
            </p:nvSpPr>
            <p:spPr bwMode="auto">
              <a:xfrm>
                <a:off x="1507" y="3509"/>
                <a:ext cx="7" cy="2"/>
              </a:xfrm>
              <a:custGeom>
                <a:avLst/>
                <a:gdLst>
                  <a:gd name="T0" fmla="*/ 0 w 7"/>
                  <a:gd name="T1" fmla="*/ 0 h 2"/>
                  <a:gd name="T2" fmla="*/ 4 w 7"/>
                  <a:gd name="T3" fmla="*/ 0 h 2"/>
                  <a:gd name="T4" fmla="*/ 5 w 7"/>
                  <a:gd name="T5" fmla="*/ 0 h 2"/>
                  <a:gd name="T6" fmla="*/ 7 w 7"/>
                  <a:gd name="T7" fmla="*/ 2 h 2"/>
                  <a:gd name="T8" fmla="*/ 2 w 7"/>
                  <a:gd name="T9" fmla="*/ 2 h 2"/>
                  <a:gd name="T10" fmla="*/ 2 w 7"/>
                  <a:gd name="T11" fmla="*/ 2 h 2"/>
                  <a:gd name="T12" fmla="*/ 0 w 7"/>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7" h="2">
                    <a:moveTo>
                      <a:pt x="0" y="0"/>
                    </a:moveTo>
                    <a:lnTo>
                      <a:pt x="4" y="0"/>
                    </a:lnTo>
                    <a:lnTo>
                      <a:pt x="5" y="0"/>
                    </a:lnTo>
                    <a:lnTo>
                      <a:pt x="7" y="2"/>
                    </a:lnTo>
                    <a:lnTo>
                      <a:pt x="2" y="2"/>
                    </a:lnTo>
                    <a:lnTo>
                      <a:pt x="2"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61" name="Freeform 3116"/>
              <p:cNvSpPr>
                <a:spLocks/>
              </p:cNvSpPr>
              <p:nvPr/>
            </p:nvSpPr>
            <p:spPr bwMode="auto">
              <a:xfrm>
                <a:off x="1507" y="3515"/>
                <a:ext cx="5" cy="3"/>
              </a:xfrm>
              <a:custGeom>
                <a:avLst/>
                <a:gdLst>
                  <a:gd name="T0" fmla="*/ 2 w 5"/>
                  <a:gd name="T1" fmla="*/ 3 h 3"/>
                  <a:gd name="T2" fmla="*/ 0 w 5"/>
                  <a:gd name="T3" fmla="*/ 3 h 3"/>
                  <a:gd name="T4" fmla="*/ 0 w 5"/>
                  <a:gd name="T5" fmla="*/ 1 h 3"/>
                  <a:gd name="T6" fmla="*/ 4 w 5"/>
                  <a:gd name="T7" fmla="*/ 0 h 3"/>
                  <a:gd name="T8" fmla="*/ 5 w 5"/>
                  <a:gd name="T9" fmla="*/ 0 h 3"/>
                  <a:gd name="T10" fmla="*/ 5 w 5"/>
                  <a:gd name="T11" fmla="*/ 1 h 3"/>
                  <a:gd name="T12" fmla="*/ 5 w 5"/>
                  <a:gd name="T13" fmla="*/ 1 h 3"/>
                  <a:gd name="T14" fmla="*/ 2 w 5"/>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2" y="3"/>
                    </a:moveTo>
                    <a:lnTo>
                      <a:pt x="0" y="3"/>
                    </a:lnTo>
                    <a:lnTo>
                      <a:pt x="0" y="1"/>
                    </a:lnTo>
                    <a:lnTo>
                      <a:pt x="4" y="0"/>
                    </a:lnTo>
                    <a:lnTo>
                      <a:pt x="5" y="0"/>
                    </a:lnTo>
                    <a:lnTo>
                      <a:pt x="5" y="1"/>
                    </a:lnTo>
                    <a:lnTo>
                      <a:pt x="5" y="1"/>
                    </a:lnTo>
                    <a:lnTo>
                      <a:pt x="2"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62" name="Freeform 3117"/>
              <p:cNvSpPr>
                <a:spLocks/>
              </p:cNvSpPr>
              <p:nvPr/>
            </p:nvSpPr>
            <p:spPr bwMode="auto">
              <a:xfrm>
                <a:off x="1507" y="3515"/>
                <a:ext cx="5" cy="3"/>
              </a:xfrm>
              <a:custGeom>
                <a:avLst/>
                <a:gdLst>
                  <a:gd name="T0" fmla="*/ 2 w 5"/>
                  <a:gd name="T1" fmla="*/ 3 h 3"/>
                  <a:gd name="T2" fmla="*/ 0 w 5"/>
                  <a:gd name="T3" fmla="*/ 3 h 3"/>
                  <a:gd name="T4" fmla="*/ 0 w 5"/>
                  <a:gd name="T5" fmla="*/ 1 h 3"/>
                  <a:gd name="T6" fmla="*/ 4 w 5"/>
                  <a:gd name="T7" fmla="*/ 0 h 3"/>
                  <a:gd name="T8" fmla="*/ 5 w 5"/>
                  <a:gd name="T9" fmla="*/ 0 h 3"/>
                  <a:gd name="T10" fmla="*/ 5 w 5"/>
                  <a:gd name="T11" fmla="*/ 1 h 3"/>
                  <a:gd name="T12" fmla="*/ 5 w 5"/>
                  <a:gd name="T13" fmla="*/ 1 h 3"/>
                  <a:gd name="T14" fmla="*/ 2 w 5"/>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2" y="3"/>
                    </a:moveTo>
                    <a:lnTo>
                      <a:pt x="0" y="3"/>
                    </a:lnTo>
                    <a:lnTo>
                      <a:pt x="0" y="1"/>
                    </a:lnTo>
                    <a:lnTo>
                      <a:pt x="4" y="0"/>
                    </a:lnTo>
                    <a:lnTo>
                      <a:pt x="5" y="0"/>
                    </a:lnTo>
                    <a:lnTo>
                      <a:pt x="5" y="1"/>
                    </a:lnTo>
                    <a:lnTo>
                      <a:pt x="5" y="1"/>
                    </a:lnTo>
                    <a:lnTo>
                      <a:pt x="2"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63" name="Freeform 3118"/>
              <p:cNvSpPr>
                <a:spLocks/>
              </p:cNvSpPr>
              <p:nvPr/>
            </p:nvSpPr>
            <p:spPr bwMode="auto">
              <a:xfrm>
                <a:off x="1509" y="3518"/>
                <a:ext cx="7" cy="6"/>
              </a:xfrm>
              <a:custGeom>
                <a:avLst/>
                <a:gdLst>
                  <a:gd name="T0" fmla="*/ 2 w 7"/>
                  <a:gd name="T1" fmla="*/ 2 h 6"/>
                  <a:gd name="T2" fmla="*/ 0 w 7"/>
                  <a:gd name="T3" fmla="*/ 2 h 6"/>
                  <a:gd name="T4" fmla="*/ 0 w 7"/>
                  <a:gd name="T5" fmla="*/ 2 h 6"/>
                  <a:gd name="T6" fmla="*/ 7 w 7"/>
                  <a:gd name="T7" fmla="*/ 0 h 6"/>
                  <a:gd name="T8" fmla="*/ 7 w 7"/>
                  <a:gd name="T9" fmla="*/ 4 h 6"/>
                  <a:gd name="T10" fmla="*/ 7 w 7"/>
                  <a:gd name="T11" fmla="*/ 6 h 6"/>
                  <a:gd name="T12" fmla="*/ 3 w 7"/>
                  <a:gd name="T13" fmla="*/ 2 h 6"/>
                  <a:gd name="T14" fmla="*/ 2 w 7"/>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2" y="2"/>
                    </a:moveTo>
                    <a:lnTo>
                      <a:pt x="0" y="2"/>
                    </a:lnTo>
                    <a:lnTo>
                      <a:pt x="0" y="2"/>
                    </a:lnTo>
                    <a:lnTo>
                      <a:pt x="7" y="0"/>
                    </a:lnTo>
                    <a:lnTo>
                      <a:pt x="7" y="4"/>
                    </a:lnTo>
                    <a:lnTo>
                      <a:pt x="7" y="6"/>
                    </a:lnTo>
                    <a:lnTo>
                      <a:pt x="3" y="2"/>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64" name="Freeform 3119"/>
              <p:cNvSpPr>
                <a:spLocks/>
              </p:cNvSpPr>
              <p:nvPr/>
            </p:nvSpPr>
            <p:spPr bwMode="auto">
              <a:xfrm>
                <a:off x="1509" y="3518"/>
                <a:ext cx="7" cy="6"/>
              </a:xfrm>
              <a:custGeom>
                <a:avLst/>
                <a:gdLst>
                  <a:gd name="T0" fmla="*/ 2 w 7"/>
                  <a:gd name="T1" fmla="*/ 2 h 6"/>
                  <a:gd name="T2" fmla="*/ 0 w 7"/>
                  <a:gd name="T3" fmla="*/ 2 h 6"/>
                  <a:gd name="T4" fmla="*/ 0 w 7"/>
                  <a:gd name="T5" fmla="*/ 2 h 6"/>
                  <a:gd name="T6" fmla="*/ 7 w 7"/>
                  <a:gd name="T7" fmla="*/ 0 h 6"/>
                  <a:gd name="T8" fmla="*/ 7 w 7"/>
                  <a:gd name="T9" fmla="*/ 4 h 6"/>
                  <a:gd name="T10" fmla="*/ 7 w 7"/>
                  <a:gd name="T11" fmla="*/ 6 h 6"/>
                  <a:gd name="T12" fmla="*/ 3 w 7"/>
                  <a:gd name="T13" fmla="*/ 2 h 6"/>
                  <a:gd name="T14" fmla="*/ 2 w 7"/>
                  <a:gd name="T15" fmla="*/ 2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6">
                    <a:moveTo>
                      <a:pt x="2" y="2"/>
                    </a:moveTo>
                    <a:lnTo>
                      <a:pt x="0" y="2"/>
                    </a:lnTo>
                    <a:lnTo>
                      <a:pt x="0" y="2"/>
                    </a:lnTo>
                    <a:lnTo>
                      <a:pt x="7" y="0"/>
                    </a:lnTo>
                    <a:lnTo>
                      <a:pt x="7" y="4"/>
                    </a:lnTo>
                    <a:lnTo>
                      <a:pt x="7" y="6"/>
                    </a:lnTo>
                    <a:lnTo>
                      <a:pt x="3" y="2"/>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65" name="Freeform 3120"/>
              <p:cNvSpPr>
                <a:spLocks/>
              </p:cNvSpPr>
              <p:nvPr/>
            </p:nvSpPr>
            <p:spPr bwMode="auto">
              <a:xfrm>
                <a:off x="1511" y="3522"/>
                <a:ext cx="3" cy="3"/>
              </a:xfrm>
              <a:custGeom>
                <a:avLst/>
                <a:gdLst>
                  <a:gd name="T0" fmla="*/ 0 w 3"/>
                  <a:gd name="T1" fmla="*/ 0 h 3"/>
                  <a:gd name="T2" fmla="*/ 1 w 3"/>
                  <a:gd name="T3" fmla="*/ 2 h 3"/>
                  <a:gd name="T4" fmla="*/ 3 w 3"/>
                  <a:gd name="T5" fmla="*/ 3 h 3"/>
                  <a:gd name="T6" fmla="*/ 1 w 3"/>
                  <a:gd name="T7" fmla="*/ 2 h 3"/>
                  <a:gd name="T8" fmla="*/ 0 w 3"/>
                  <a:gd name="T9" fmla="*/ 0 h 3"/>
                </a:gdLst>
                <a:ahLst/>
                <a:cxnLst>
                  <a:cxn ang="0">
                    <a:pos x="T0" y="T1"/>
                  </a:cxn>
                  <a:cxn ang="0">
                    <a:pos x="T2" y="T3"/>
                  </a:cxn>
                  <a:cxn ang="0">
                    <a:pos x="T4" y="T5"/>
                  </a:cxn>
                  <a:cxn ang="0">
                    <a:pos x="T6" y="T7"/>
                  </a:cxn>
                  <a:cxn ang="0">
                    <a:pos x="T8" y="T9"/>
                  </a:cxn>
                </a:cxnLst>
                <a:rect l="0" t="0" r="r" b="b"/>
                <a:pathLst>
                  <a:path w="3" h="3">
                    <a:moveTo>
                      <a:pt x="0" y="0"/>
                    </a:moveTo>
                    <a:lnTo>
                      <a:pt x="1" y="2"/>
                    </a:lnTo>
                    <a:lnTo>
                      <a:pt x="3" y="3"/>
                    </a:lnTo>
                    <a:lnTo>
                      <a:pt x="1"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66" name="Freeform 3121"/>
              <p:cNvSpPr>
                <a:spLocks/>
              </p:cNvSpPr>
              <p:nvPr/>
            </p:nvSpPr>
            <p:spPr bwMode="auto">
              <a:xfrm>
                <a:off x="1511" y="3522"/>
                <a:ext cx="3" cy="3"/>
              </a:xfrm>
              <a:custGeom>
                <a:avLst/>
                <a:gdLst>
                  <a:gd name="T0" fmla="*/ 0 w 3"/>
                  <a:gd name="T1" fmla="*/ 0 h 3"/>
                  <a:gd name="T2" fmla="*/ 1 w 3"/>
                  <a:gd name="T3" fmla="*/ 2 h 3"/>
                  <a:gd name="T4" fmla="*/ 3 w 3"/>
                  <a:gd name="T5" fmla="*/ 3 h 3"/>
                  <a:gd name="T6" fmla="*/ 1 w 3"/>
                  <a:gd name="T7" fmla="*/ 2 h 3"/>
                  <a:gd name="T8" fmla="*/ 0 w 3"/>
                  <a:gd name="T9" fmla="*/ 0 h 3"/>
                </a:gdLst>
                <a:ahLst/>
                <a:cxnLst>
                  <a:cxn ang="0">
                    <a:pos x="T0" y="T1"/>
                  </a:cxn>
                  <a:cxn ang="0">
                    <a:pos x="T2" y="T3"/>
                  </a:cxn>
                  <a:cxn ang="0">
                    <a:pos x="T4" y="T5"/>
                  </a:cxn>
                  <a:cxn ang="0">
                    <a:pos x="T6" y="T7"/>
                  </a:cxn>
                  <a:cxn ang="0">
                    <a:pos x="T8" y="T9"/>
                  </a:cxn>
                </a:cxnLst>
                <a:rect l="0" t="0" r="r" b="b"/>
                <a:pathLst>
                  <a:path w="3" h="3">
                    <a:moveTo>
                      <a:pt x="0" y="0"/>
                    </a:moveTo>
                    <a:lnTo>
                      <a:pt x="1" y="2"/>
                    </a:lnTo>
                    <a:lnTo>
                      <a:pt x="3" y="3"/>
                    </a:lnTo>
                    <a:lnTo>
                      <a:pt x="1"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67" name="Freeform 3122"/>
              <p:cNvSpPr>
                <a:spLocks/>
              </p:cNvSpPr>
              <p:nvPr/>
            </p:nvSpPr>
            <p:spPr bwMode="auto">
              <a:xfrm>
                <a:off x="1514" y="3534"/>
                <a:ext cx="2" cy="4"/>
              </a:xfrm>
              <a:custGeom>
                <a:avLst/>
                <a:gdLst>
                  <a:gd name="T0" fmla="*/ 0 w 2"/>
                  <a:gd name="T1" fmla="*/ 0 h 4"/>
                  <a:gd name="T2" fmla="*/ 2 w 2"/>
                  <a:gd name="T3" fmla="*/ 0 h 4"/>
                  <a:gd name="T4" fmla="*/ 2 w 2"/>
                  <a:gd name="T5" fmla="*/ 2 h 4"/>
                  <a:gd name="T6" fmla="*/ 2 w 2"/>
                  <a:gd name="T7" fmla="*/ 4 h 4"/>
                  <a:gd name="T8" fmla="*/ 0 w 2"/>
                  <a:gd name="T9" fmla="*/ 4 h 4"/>
                  <a:gd name="T10" fmla="*/ 0 w 2"/>
                  <a:gd name="T11" fmla="*/ 2 h 4"/>
                  <a:gd name="T12" fmla="*/ 0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0"/>
                    </a:moveTo>
                    <a:lnTo>
                      <a:pt x="2" y="0"/>
                    </a:lnTo>
                    <a:lnTo>
                      <a:pt x="2" y="2"/>
                    </a:lnTo>
                    <a:lnTo>
                      <a:pt x="2" y="4"/>
                    </a:lnTo>
                    <a:lnTo>
                      <a:pt x="0" y="4"/>
                    </a:lnTo>
                    <a:lnTo>
                      <a:pt x="0"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68" name="Freeform 3123"/>
              <p:cNvSpPr>
                <a:spLocks/>
              </p:cNvSpPr>
              <p:nvPr/>
            </p:nvSpPr>
            <p:spPr bwMode="auto">
              <a:xfrm>
                <a:off x="1514" y="3534"/>
                <a:ext cx="2" cy="4"/>
              </a:xfrm>
              <a:custGeom>
                <a:avLst/>
                <a:gdLst>
                  <a:gd name="T0" fmla="*/ 0 w 2"/>
                  <a:gd name="T1" fmla="*/ 0 h 4"/>
                  <a:gd name="T2" fmla="*/ 2 w 2"/>
                  <a:gd name="T3" fmla="*/ 0 h 4"/>
                  <a:gd name="T4" fmla="*/ 2 w 2"/>
                  <a:gd name="T5" fmla="*/ 2 h 4"/>
                  <a:gd name="T6" fmla="*/ 2 w 2"/>
                  <a:gd name="T7" fmla="*/ 4 h 4"/>
                  <a:gd name="T8" fmla="*/ 0 w 2"/>
                  <a:gd name="T9" fmla="*/ 4 h 4"/>
                  <a:gd name="T10" fmla="*/ 0 w 2"/>
                  <a:gd name="T11" fmla="*/ 2 h 4"/>
                  <a:gd name="T12" fmla="*/ 0 w 2"/>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0" y="0"/>
                    </a:moveTo>
                    <a:lnTo>
                      <a:pt x="2" y="0"/>
                    </a:lnTo>
                    <a:lnTo>
                      <a:pt x="2" y="2"/>
                    </a:lnTo>
                    <a:lnTo>
                      <a:pt x="2" y="4"/>
                    </a:lnTo>
                    <a:lnTo>
                      <a:pt x="0" y="4"/>
                    </a:lnTo>
                    <a:lnTo>
                      <a:pt x="0"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69" name="Freeform 3124"/>
              <p:cNvSpPr>
                <a:spLocks/>
              </p:cNvSpPr>
              <p:nvPr/>
            </p:nvSpPr>
            <p:spPr bwMode="auto">
              <a:xfrm>
                <a:off x="1503" y="3575"/>
                <a:ext cx="6" cy="6"/>
              </a:xfrm>
              <a:custGeom>
                <a:avLst/>
                <a:gdLst>
                  <a:gd name="T0" fmla="*/ 4 w 6"/>
                  <a:gd name="T1" fmla="*/ 6 h 6"/>
                  <a:gd name="T2" fmla="*/ 2 w 6"/>
                  <a:gd name="T3" fmla="*/ 6 h 6"/>
                  <a:gd name="T4" fmla="*/ 0 w 6"/>
                  <a:gd name="T5" fmla="*/ 6 h 6"/>
                  <a:gd name="T6" fmla="*/ 0 w 6"/>
                  <a:gd name="T7" fmla="*/ 2 h 6"/>
                  <a:gd name="T8" fmla="*/ 0 w 6"/>
                  <a:gd name="T9" fmla="*/ 2 h 6"/>
                  <a:gd name="T10" fmla="*/ 2 w 6"/>
                  <a:gd name="T11" fmla="*/ 0 h 6"/>
                  <a:gd name="T12" fmla="*/ 4 w 6"/>
                  <a:gd name="T13" fmla="*/ 4 h 6"/>
                  <a:gd name="T14" fmla="*/ 6 w 6"/>
                  <a:gd name="T15" fmla="*/ 6 h 6"/>
                  <a:gd name="T16" fmla="*/ 4 w 6"/>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6"/>
                    </a:moveTo>
                    <a:lnTo>
                      <a:pt x="2" y="6"/>
                    </a:lnTo>
                    <a:lnTo>
                      <a:pt x="0" y="6"/>
                    </a:lnTo>
                    <a:lnTo>
                      <a:pt x="0" y="2"/>
                    </a:lnTo>
                    <a:lnTo>
                      <a:pt x="0" y="2"/>
                    </a:lnTo>
                    <a:lnTo>
                      <a:pt x="2" y="0"/>
                    </a:lnTo>
                    <a:lnTo>
                      <a:pt x="4" y="4"/>
                    </a:lnTo>
                    <a:lnTo>
                      <a:pt x="6" y="6"/>
                    </a:lnTo>
                    <a:lnTo>
                      <a:pt x="4"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70" name="Freeform 3125"/>
              <p:cNvSpPr>
                <a:spLocks/>
              </p:cNvSpPr>
              <p:nvPr/>
            </p:nvSpPr>
            <p:spPr bwMode="auto">
              <a:xfrm>
                <a:off x="1503" y="3575"/>
                <a:ext cx="6" cy="6"/>
              </a:xfrm>
              <a:custGeom>
                <a:avLst/>
                <a:gdLst>
                  <a:gd name="T0" fmla="*/ 4 w 6"/>
                  <a:gd name="T1" fmla="*/ 6 h 6"/>
                  <a:gd name="T2" fmla="*/ 2 w 6"/>
                  <a:gd name="T3" fmla="*/ 6 h 6"/>
                  <a:gd name="T4" fmla="*/ 0 w 6"/>
                  <a:gd name="T5" fmla="*/ 6 h 6"/>
                  <a:gd name="T6" fmla="*/ 0 w 6"/>
                  <a:gd name="T7" fmla="*/ 2 h 6"/>
                  <a:gd name="T8" fmla="*/ 0 w 6"/>
                  <a:gd name="T9" fmla="*/ 2 h 6"/>
                  <a:gd name="T10" fmla="*/ 2 w 6"/>
                  <a:gd name="T11" fmla="*/ 0 h 6"/>
                  <a:gd name="T12" fmla="*/ 4 w 6"/>
                  <a:gd name="T13" fmla="*/ 4 h 6"/>
                  <a:gd name="T14" fmla="*/ 6 w 6"/>
                  <a:gd name="T15" fmla="*/ 6 h 6"/>
                  <a:gd name="T16" fmla="*/ 4 w 6"/>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4" y="6"/>
                    </a:moveTo>
                    <a:lnTo>
                      <a:pt x="2" y="6"/>
                    </a:lnTo>
                    <a:lnTo>
                      <a:pt x="0" y="6"/>
                    </a:lnTo>
                    <a:lnTo>
                      <a:pt x="0" y="2"/>
                    </a:lnTo>
                    <a:lnTo>
                      <a:pt x="0" y="2"/>
                    </a:lnTo>
                    <a:lnTo>
                      <a:pt x="2" y="0"/>
                    </a:lnTo>
                    <a:lnTo>
                      <a:pt x="4" y="4"/>
                    </a:lnTo>
                    <a:lnTo>
                      <a:pt x="6" y="6"/>
                    </a:lnTo>
                    <a:lnTo>
                      <a:pt x="4"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71" name="Freeform 3126"/>
              <p:cNvSpPr>
                <a:spLocks/>
              </p:cNvSpPr>
              <p:nvPr/>
            </p:nvSpPr>
            <p:spPr bwMode="auto">
              <a:xfrm>
                <a:off x="1491" y="3579"/>
                <a:ext cx="5" cy="3"/>
              </a:xfrm>
              <a:custGeom>
                <a:avLst/>
                <a:gdLst>
                  <a:gd name="T0" fmla="*/ 5 w 5"/>
                  <a:gd name="T1" fmla="*/ 0 h 3"/>
                  <a:gd name="T2" fmla="*/ 5 w 5"/>
                  <a:gd name="T3" fmla="*/ 2 h 3"/>
                  <a:gd name="T4" fmla="*/ 5 w 5"/>
                  <a:gd name="T5" fmla="*/ 3 h 3"/>
                  <a:gd name="T6" fmla="*/ 2 w 5"/>
                  <a:gd name="T7" fmla="*/ 3 h 3"/>
                  <a:gd name="T8" fmla="*/ 0 w 5"/>
                  <a:gd name="T9" fmla="*/ 3 h 3"/>
                  <a:gd name="T10" fmla="*/ 2 w 5"/>
                  <a:gd name="T11" fmla="*/ 2 h 3"/>
                  <a:gd name="T12" fmla="*/ 3 w 5"/>
                  <a:gd name="T13" fmla="*/ 0 h 3"/>
                  <a:gd name="T14" fmla="*/ 5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0"/>
                    </a:moveTo>
                    <a:lnTo>
                      <a:pt x="5" y="2"/>
                    </a:lnTo>
                    <a:lnTo>
                      <a:pt x="5" y="3"/>
                    </a:lnTo>
                    <a:lnTo>
                      <a:pt x="2" y="3"/>
                    </a:lnTo>
                    <a:lnTo>
                      <a:pt x="0" y="3"/>
                    </a:lnTo>
                    <a:lnTo>
                      <a:pt x="2" y="2"/>
                    </a:lnTo>
                    <a:lnTo>
                      <a:pt x="3" y="0"/>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72" name="Freeform 3127"/>
              <p:cNvSpPr>
                <a:spLocks/>
              </p:cNvSpPr>
              <p:nvPr/>
            </p:nvSpPr>
            <p:spPr bwMode="auto">
              <a:xfrm>
                <a:off x="1491" y="3579"/>
                <a:ext cx="5" cy="3"/>
              </a:xfrm>
              <a:custGeom>
                <a:avLst/>
                <a:gdLst>
                  <a:gd name="T0" fmla="*/ 5 w 5"/>
                  <a:gd name="T1" fmla="*/ 0 h 3"/>
                  <a:gd name="T2" fmla="*/ 5 w 5"/>
                  <a:gd name="T3" fmla="*/ 2 h 3"/>
                  <a:gd name="T4" fmla="*/ 5 w 5"/>
                  <a:gd name="T5" fmla="*/ 3 h 3"/>
                  <a:gd name="T6" fmla="*/ 2 w 5"/>
                  <a:gd name="T7" fmla="*/ 3 h 3"/>
                  <a:gd name="T8" fmla="*/ 0 w 5"/>
                  <a:gd name="T9" fmla="*/ 3 h 3"/>
                  <a:gd name="T10" fmla="*/ 2 w 5"/>
                  <a:gd name="T11" fmla="*/ 2 h 3"/>
                  <a:gd name="T12" fmla="*/ 3 w 5"/>
                  <a:gd name="T13" fmla="*/ 0 h 3"/>
                  <a:gd name="T14" fmla="*/ 5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5" y="0"/>
                    </a:moveTo>
                    <a:lnTo>
                      <a:pt x="5" y="2"/>
                    </a:lnTo>
                    <a:lnTo>
                      <a:pt x="5" y="3"/>
                    </a:lnTo>
                    <a:lnTo>
                      <a:pt x="2" y="3"/>
                    </a:lnTo>
                    <a:lnTo>
                      <a:pt x="0" y="3"/>
                    </a:lnTo>
                    <a:lnTo>
                      <a:pt x="2" y="2"/>
                    </a:lnTo>
                    <a:lnTo>
                      <a:pt x="3" y="0"/>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73" name="Freeform 3128"/>
              <p:cNvSpPr>
                <a:spLocks/>
              </p:cNvSpPr>
              <p:nvPr/>
            </p:nvSpPr>
            <p:spPr bwMode="auto">
              <a:xfrm>
                <a:off x="1494" y="3588"/>
                <a:ext cx="6" cy="7"/>
              </a:xfrm>
              <a:custGeom>
                <a:avLst/>
                <a:gdLst>
                  <a:gd name="T0" fmla="*/ 0 w 6"/>
                  <a:gd name="T1" fmla="*/ 0 h 7"/>
                  <a:gd name="T2" fmla="*/ 0 w 6"/>
                  <a:gd name="T3" fmla="*/ 0 h 7"/>
                  <a:gd name="T4" fmla="*/ 6 w 6"/>
                  <a:gd name="T5" fmla="*/ 2 h 7"/>
                  <a:gd name="T6" fmla="*/ 6 w 6"/>
                  <a:gd name="T7" fmla="*/ 3 h 7"/>
                  <a:gd name="T8" fmla="*/ 6 w 6"/>
                  <a:gd name="T9" fmla="*/ 5 h 7"/>
                  <a:gd name="T10" fmla="*/ 6 w 6"/>
                  <a:gd name="T11" fmla="*/ 7 h 7"/>
                  <a:gd name="T12" fmla="*/ 4 w 6"/>
                  <a:gd name="T13" fmla="*/ 7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lnTo>
                      <a:pt x="0" y="0"/>
                    </a:lnTo>
                    <a:lnTo>
                      <a:pt x="6" y="2"/>
                    </a:lnTo>
                    <a:lnTo>
                      <a:pt x="6" y="3"/>
                    </a:lnTo>
                    <a:lnTo>
                      <a:pt x="6" y="5"/>
                    </a:lnTo>
                    <a:lnTo>
                      <a:pt x="6" y="7"/>
                    </a:lnTo>
                    <a:lnTo>
                      <a:pt x="4" y="7"/>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74" name="Freeform 3129"/>
              <p:cNvSpPr>
                <a:spLocks/>
              </p:cNvSpPr>
              <p:nvPr/>
            </p:nvSpPr>
            <p:spPr bwMode="auto">
              <a:xfrm>
                <a:off x="1494" y="3588"/>
                <a:ext cx="6" cy="7"/>
              </a:xfrm>
              <a:custGeom>
                <a:avLst/>
                <a:gdLst>
                  <a:gd name="T0" fmla="*/ 0 w 6"/>
                  <a:gd name="T1" fmla="*/ 0 h 7"/>
                  <a:gd name="T2" fmla="*/ 0 w 6"/>
                  <a:gd name="T3" fmla="*/ 0 h 7"/>
                  <a:gd name="T4" fmla="*/ 6 w 6"/>
                  <a:gd name="T5" fmla="*/ 2 h 7"/>
                  <a:gd name="T6" fmla="*/ 6 w 6"/>
                  <a:gd name="T7" fmla="*/ 3 h 7"/>
                  <a:gd name="T8" fmla="*/ 6 w 6"/>
                  <a:gd name="T9" fmla="*/ 5 h 7"/>
                  <a:gd name="T10" fmla="*/ 6 w 6"/>
                  <a:gd name="T11" fmla="*/ 7 h 7"/>
                  <a:gd name="T12" fmla="*/ 4 w 6"/>
                  <a:gd name="T13" fmla="*/ 7 h 7"/>
                  <a:gd name="T14" fmla="*/ 0 w 6"/>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7">
                    <a:moveTo>
                      <a:pt x="0" y="0"/>
                    </a:moveTo>
                    <a:lnTo>
                      <a:pt x="0" y="0"/>
                    </a:lnTo>
                    <a:lnTo>
                      <a:pt x="6" y="2"/>
                    </a:lnTo>
                    <a:lnTo>
                      <a:pt x="6" y="3"/>
                    </a:lnTo>
                    <a:lnTo>
                      <a:pt x="6" y="5"/>
                    </a:lnTo>
                    <a:lnTo>
                      <a:pt x="6" y="7"/>
                    </a:lnTo>
                    <a:lnTo>
                      <a:pt x="4" y="7"/>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75" name="Freeform 3130"/>
              <p:cNvSpPr>
                <a:spLocks/>
              </p:cNvSpPr>
              <p:nvPr/>
            </p:nvSpPr>
            <p:spPr bwMode="auto">
              <a:xfrm>
                <a:off x="1489" y="3586"/>
                <a:ext cx="7" cy="14"/>
              </a:xfrm>
              <a:custGeom>
                <a:avLst/>
                <a:gdLst>
                  <a:gd name="T0" fmla="*/ 0 w 7"/>
                  <a:gd name="T1" fmla="*/ 4 h 14"/>
                  <a:gd name="T2" fmla="*/ 0 w 7"/>
                  <a:gd name="T3" fmla="*/ 2 h 14"/>
                  <a:gd name="T4" fmla="*/ 2 w 7"/>
                  <a:gd name="T5" fmla="*/ 0 h 14"/>
                  <a:gd name="T6" fmla="*/ 7 w 7"/>
                  <a:gd name="T7" fmla="*/ 13 h 14"/>
                  <a:gd name="T8" fmla="*/ 7 w 7"/>
                  <a:gd name="T9" fmla="*/ 14 h 14"/>
                  <a:gd name="T10" fmla="*/ 5 w 7"/>
                  <a:gd name="T11" fmla="*/ 14 h 14"/>
                  <a:gd name="T12" fmla="*/ 5 w 7"/>
                  <a:gd name="T13" fmla="*/ 13 h 14"/>
                  <a:gd name="T14" fmla="*/ 4 w 7"/>
                  <a:gd name="T15" fmla="*/ 11 h 14"/>
                  <a:gd name="T16" fmla="*/ 2 w 7"/>
                  <a:gd name="T17" fmla="*/ 7 h 14"/>
                  <a:gd name="T18" fmla="*/ 0 w 7"/>
                  <a:gd name="T1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4">
                    <a:moveTo>
                      <a:pt x="0" y="4"/>
                    </a:moveTo>
                    <a:lnTo>
                      <a:pt x="0" y="2"/>
                    </a:lnTo>
                    <a:lnTo>
                      <a:pt x="2" y="0"/>
                    </a:lnTo>
                    <a:lnTo>
                      <a:pt x="7" y="13"/>
                    </a:lnTo>
                    <a:lnTo>
                      <a:pt x="7" y="14"/>
                    </a:lnTo>
                    <a:lnTo>
                      <a:pt x="5" y="14"/>
                    </a:lnTo>
                    <a:lnTo>
                      <a:pt x="5" y="13"/>
                    </a:lnTo>
                    <a:lnTo>
                      <a:pt x="4" y="11"/>
                    </a:lnTo>
                    <a:lnTo>
                      <a:pt x="2" y="7"/>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76" name="Freeform 3131"/>
              <p:cNvSpPr>
                <a:spLocks/>
              </p:cNvSpPr>
              <p:nvPr/>
            </p:nvSpPr>
            <p:spPr bwMode="auto">
              <a:xfrm>
                <a:off x="1489" y="3586"/>
                <a:ext cx="7" cy="14"/>
              </a:xfrm>
              <a:custGeom>
                <a:avLst/>
                <a:gdLst>
                  <a:gd name="T0" fmla="*/ 0 w 7"/>
                  <a:gd name="T1" fmla="*/ 4 h 14"/>
                  <a:gd name="T2" fmla="*/ 0 w 7"/>
                  <a:gd name="T3" fmla="*/ 2 h 14"/>
                  <a:gd name="T4" fmla="*/ 2 w 7"/>
                  <a:gd name="T5" fmla="*/ 0 h 14"/>
                  <a:gd name="T6" fmla="*/ 7 w 7"/>
                  <a:gd name="T7" fmla="*/ 13 h 14"/>
                  <a:gd name="T8" fmla="*/ 7 w 7"/>
                  <a:gd name="T9" fmla="*/ 14 h 14"/>
                  <a:gd name="T10" fmla="*/ 5 w 7"/>
                  <a:gd name="T11" fmla="*/ 14 h 14"/>
                  <a:gd name="T12" fmla="*/ 5 w 7"/>
                  <a:gd name="T13" fmla="*/ 13 h 14"/>
                  <a:gd name="T14" fmla="*/ 4 w 7"/>
                  <a:gd name="T15" fmla="*/ 11 h 14"/>
                  <a:gd name="T16" fmla="*/ 2 w 7"/>
                  <a:gd name="T17" fmla="*/ 7 h 14"/>
                  <a:gd name="T18" fmla="*/ 0 w 7"/>
                  <a:gd name="T1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4">
                    <a:moveTo>
                      <a:pt x="0" y="4"/>
                    </a:moveTo>
                    <a:lnTo>
                      <a:pt x="0" y="2"/>
                    </a:lnTo>
                    <a:lnTo>
                      <a:pt x="2" y="0"/>
                    </a:lnTo>
                    <a:lnTo>
                      <a:pt x="7" y="13"/>
                    </a:lnTo>
                    <a:lnTo>
                      <a:pt x="7" y="14"/>
                    </a:lnTo>
                    <a:lnTo>
                      <a:pt x="5" y="14"/>
                    </a:lnTo>
                    <a:lnTo>
                      <a:pt x="5" y="13"/>
                    </a:lnTo>
                    <a:lnTo>
                      <a:pt x="4" y="11"/>
                    </a:lnTo>
                    <a:lnTo>
                      <a:pt x="2" y="7"/>
                    </a:lnTo>
                    <a:lnTo>
                      <a:pt x="0"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77" name="Freeform 3132"/>
              <p:cNvSpPr>
                <a:spLocks/>
              </p:cNvSpPr>
              <p:nvPr/>
            </p:nvSpPr>
            <p:spPr bwMode="auto">
              <a:xfrm>
                <a:off x="1498" y="3597"/>
                <a:ext cx="7" cy="5"/>
              </a:xfrm>
              <a:custGeom>
                <a:avLst/>
                <a:gdLst>
                  <a:gd name="T0" fmla="*/ 0 w 7"/>
                  <a:gd name="T1" fmla="*/ 0 h 5"/>
                  <a:gd name="T2" fmla="*/ 4 w 7"/>
                  <a:gd name="T3" fmla="*/ 0 h 5"/>
                  <a:gd name="T4" fmla="*/ 4 w 7"/>
                  <a:gd name="T5" fmla="*/ 2 h 5"/>
                  <a:gd name="T6" fmla="*/ 5 w 7"/>
                  <a:gd name="T7" fmla="*/ 3 h 5"/>
                  <a:gd name="T8" fmla="*/ 7 w 7"/>
                  <a:gd name="T9" fmla="*/ 5 h 5"/>
                  <a:gd name="T10" fmla="*/ 0 w 7"/>
                  <a:gd name="T11" fmla="*/ 2 h 5"/>
                  <a:gd name="T12" fmla="*/ 0 w 7"/>
                  <a:gd name="T13" fmla="*/ 2 h 5"/>
                  <a:gd name="T14" fmla="*/ 0 w 7"/>
                  <a:gd name="T15" fmla="*/ 0 h 5"/>
                  <a:gd name="T16" fmla="*/ 0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0" y="0"/>
                    </a:moveTo>
                    <a:lnTo>
                      <a:pt x="4" y="0"/>
                    </a:lnTo>
                    <a:lnTo>
                      <a:pt x="4" y="2"/>
                    </a:lnTo>
                    <a:lnTo>
                      <a:pt x="5" y="3"/>
                    </a:lnTo>
                    <a:lnTo>
                      <a:pt x="7" y="5"/>
                    </a:lnTo>
                    <a:lnTo>
                      <a:pt x="0" y="2"/>
                    </a:lnTo>
                    <a:lnTo>
                      <a:pt x="0" y="2"/>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78" name="Freeform 3133"/>
              <p:cNvSpPr>
                <a:spLocks/>
              </p:cNvSpPr>
              <p:nvPr/>
            </p:nvSpPr>
            <p:spPr bwMode="auto">
              <a:xfrm>
                <a:off x="1498" y="3597"/>
                <a:ext cx="7" cy="5"/>
              </a:xfrm>
              <a:custGeom>
                <a:avLst/>
                <a:gdLst>
                  <a:gd name="T0" fmla="*/ 0 w 7"/>
                  <a:gd name="T1" fmla="*/ 0 h 5"/>
                  <a:gd name="T2" fmla="*/ 4 w 7"/>
                  <a:gd name="T3" fmla="*/ 0 h 5"/>
                  <a:gd name="T4" fmla="*/ 4 w 7"/>
                  <a:gd name="T5" fmla="*/ 2 h 5"/>
                  <a:gd name="T6" fmla="*/ 5 w 7"/>
                  <a:gd name="T7" fmla="*/ 3 h 5"/>
                  <a:gd name="T8" fmla="*/ 7 w 7"/>
                  <a:gd name="T9" fmla="*/ 5 h 5"/>
                  <a:gd name="T10" fmla="*/ 0 w 7"/>
                  <a:gd name="T11" fmla="*/ 2 h 5"/>
                  <a:gd name="T12" fmla="*/ 0 w 7"/>
                  <a:gd name="T13" fmla="*/ 2 h 5"/>
                  <a:gd name="T14" fmla="*/ 0 w 7"/>
                  <a:gd name="T15" fmla="*/ 0 h 5"/>
                  <a:gd name="T16" fmla="*/ 0 w 7"/>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0" y="0"/>
                    </a:moveTo>
                    <a:lnTo>
                      <a:pt x="4" y="0"/>
                    </a:lnTo>
                    <a:lnTo>
                      <a:pt x="4" y="2"/>
                    </a:lnTo>
                    <a:lnTo>
                      <a:pt x="5" y="3"/>
                    </a:lnTo>
                    <a:lnTo>
                      <a:pt x="7" y="5"/>
                    </a:lnTo>
                    <a:lnTo>
                      <a:pt x="0" y="2"/>
                    </a:lnTo>
                    <a:lnTo>
                      <a:pt x="0" y="2"/>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79" name="Freeform 3134"/>
              <p:cNvSpPr>
                <a:spLocks/>
              </p:cNvSpPr>
              <p:nvPr/>
            </p:nvSpPr>
            <p:spPr bwMode="auto">
              <a:xfrm>
                <a:off x="1489" y="3597"/>
                <a:ext cx="4" cy="7"/>
              </a:xfrm>
              <a:custGeom>
                <a:avLst/>
                <a:gdLst>
                  <a:gd name="T0" fmla="*/ 0 w 4"/>
                  <a:gd name="T1" fmla="*/ 3 h 7"/>
                  <a:gd name="T2" fmla="*/ 0 w 4"/>
                  <a:gd name="T3" fmla="*/ 2 h 7"/>
                  <a:gd name="T4" fmla="*/ 2 w 4"/>
                  <a:gd name="T5" fmla="*/ 0 h 7"/>
                  <a:gd name="T6" fmla="*/ 2 w 4"/>
                  <a:gd name="T7" fmla="*/ 2 h 7"/>
                  <a:gd name="T8" fmla="*/ 4 w 4"/>
                  <a:gd name="T9" fmla="*/ 5 h 7"/>
                  <a:gd name="T10" fmla="*/ 2 w 4"/>
                  <a:gd name="T11" fmla="*/ 7 h 7"/>
                  <a:gd name="T12" fmla="*/ 0 w 4"/>
                  <a:gd name="T13" fmla="*/ 7 h 7"/>
                  <a:gd name="T14" fmla="*/ 0 w 4"/>
                  <a:gd name="T15" fmla="*/ 5 h 7"/>
                  <a:gd name="T16" fmla="*/ 0 w 4"/>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0" y="3"/>
                    </a:moveTo>
                    <a:lnTo>
                      <a:pt x="0" y="2"/>
                    </a:lnTo>
                    <a:lnTo>
                      <a:pt x="2" y="0"/>
                    </a:lnTo>
                    <a:lnTo>
                      <a:pt x="2" y="2"/>
                    </a:lnTo>
                    <a:lnTo>
                      <a:pt x="4" y="5"/>
                    </a:lnTo>
                    <a:lnTo>
                      <a:pt x="2" y="7"/>
                    </a:lnTo>
                    <a:lnTo>
                      <a:pt x="0" y="7"/>
                    </a:lnTo>
                    <a:lnTo>
                      <a:pt x="0" y="5"/>
                    </a:lnTo>
                    <a:lnTo>
                      <a:pt x="0"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80" name="Freeform 3135"/>
              <p:cNvSpPr>
                <a:spLocks/>
              </p:cNvSpPr>
              <p:nvPr/>
            </p:nvSpPr>
            <p:spPr bwMode="auto">
              <a:xfrm>
                <a:off x="1489" y="3597"/>
                <a:ext cx="4" cy="7"/>
              </a:xfrm>
              <a:custGeom>
                <a:avLst/>
                <a:gdLst>
                  <a:gd name="T0" fmla="*/ 0 w 4"/>
                  <a:gd name="T1" fmla="*/ 3 h 7"/>
                  <a:gd name="T2" fmla="*/ 0 w 4"/>
                  <a:gd name="T3" fmla="*/ 2 h 7"/>
                  <a:gd name="T4" fmla="*/ 2 w 4"/>
                  <a:gd name="T5" fmla="*/ 0 h 7"/>
                  <a:gd name="T6" fmla="*/ 2 w 4"/>
                  <a:gd name="T7" fmla="*/ 2 h 7"/>
                  <a:gd name="T8" fmla="*/ 4 w 4"/>
                  <a:gd name="T9" fmla="*/ 5 h 7"/>
                  <a:gd name="T10" fmla="*/ 2 w 4"/>
                  <a:gd name="T11" fmla="*/ 7 h 7"/>
                  <a:gd name="T12" fmla="*/ 0 w 4"/>
                  <a:gd name="T13" fmla="*/ 7 h 7"/>
                  <a:gd name="T14" fmla="*/ 0 w 4"/>
                  <a:gd name="T15" fmla="*/ 5 h 7"/>
                  <a:gd name="T16" fmla="*/ 0 w 4"/>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0" y="3"/>
                    </a:moveTo>
                    <a:lnTo>
                      <a:pt x="0" y="2"/>
                    </a:lnTo>
                    <a:lnTo>
                      <a:pt x="2" y="0"/>
                    </a:lnTo>
                    <a:lnTo>
                      <a:pt x="2" y="2"/>
                    </a:lnTo>
                    <a:lnTo>
                      <a:pt x="4" y="5"/>
                    </a:lnTo>
                    <a:lnTo>
                      <a:pt x="2" y="7"/>
                    </a:lnTo>
                    <a:lnTo>
                      <a:pt x="0" y="7"/>
                    </a:lnTo>
                    <a:lnTo>
                      <a:pt x="0" y="5"/>
                    </a:lnTo>
                    <a:lnTo>
                      <a:pt x="0"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81" name="Freeform 3136"/>
              <p:cNvSpPr>
                <a:spLocks/>
              </p:cNvSpPr>
              <p:nvPr/>
            </p:nvSpPr>
            <p:spPr bwMode="auto">
              <a:xfrm>
                <a:off x="1493" y="3602"/>
                <a:ext cx="12" cy="34"/>
              </a:xfrm>
              <a:custGeom>
                <a:avLst/>
                <a:gdLst>
                  <a:gd name="T0" fmla="*/ 3 w 12"/>
                  <a:gd name="T1" fmla="*/ 7 h 34"/>
                  <a:gd name="T2" fmla="*/ 3 w 12"/>
                  <a:gd name="T3" fmla="*/ 7 h 34"/>
                  <a:gd name="T4" fmla="*/ 3 w 12"/>
                  <a:gd name="T5" fmla="*/ 5 h 34"/>
                  <a:gd name="T6" fmla="*/ 3 w 12"/>
                  <a:gd name="T7" fmla="*/ 4 h 34"/>
                  <a:gd name="T8" fmla="*/ 5 w 12"/>
                  <a:gd name="T9" fmla="*/ 2 h 34"/>
                  <a:gd name="T10" fmla="*/ 7 w 12"/>
                  <a:gd name="T11" fmla="*/ 0 h 34"/>
                  <a:gd name="T12" fmla="*/ 10 w 12"/>
                  <a:gd name="T13" fmla="*/ 4 h 34"/>
                  <a:gd name="T14" fmla="*/ 12 w 12"/>
                  <a:gd name="T15" fmla="*/ 30 h 34"/>
                  <a:gd name="T16" fmla="*/ 10 w 12"/>
                  <a:gd name="T17" fmla="*/ 34 h 34"/>
                  <a:gd name="T18" fmla="*/ 9 w 12"/>
                  <a:gd name="T19" fmla="*/ 34 h 34"/>
                  <a:gd name="T20" fmla="*/ 5 w 12"/>
                  <a:gd name="T21" fmla="*/ 30 h 34"/>
                  <a:gd name="T22" fmla="*/ 5 w 12"/>
                  <a:gd name="T23" fmla="*/ 23 h 34"/>
                  <a:gd name="T24" fmla="*/ 7 w 12"/>
                  <a:gd name="T25" fmla="*/ 22 h 34"/>
                  <a:gd name="T26" fmla="*/ 7 w 12"/>
                  <a:gd name="T27" fmla="*/ 22 h 34"/>
                  <a:gd name="T28" fmla="*/ 1 w 12"/>
                  <a:gd name="T29" fmla="*/ 20 h 34"/>
                  <a:gd name="T30" fmla="*/ 0 w 12"/>
                  <a:gd name="T31" fmla="*/ 16 h 34"/>
                  <a:gd name="T32" fmla="*/ 0 w 12"/>
                  <a:gd name="T33" fmla="*/ 14 h 34"/>
                  <a:gd name="T34" fmla="*/ 1 w 12"/>
                  <a:gd name="T35" fmla="*/ 14 h 34"/>
                  <a:gd name="T36" fmla="*/ 3 w 12"/>
                  <a:gd name="T37" fmla="*/ 16 h 34"/>
                  <a:gd name="T38" fmla="*/ 5 w 12"/>
                  <a:gd name="T39" fmla="*/ 13 h 34"/>
                  <a:gd name="T40" fmla="*/ 3 w 12"/>
                  <a:gd name="T41" fmla="*/ 13 h 34"/>
                  <a:gd name="T42" fmla="*/ 1 w 12"/>
                  <a:gd name="T43" fmla="*/ 11 h 34"/>
                  <a:gd name="T44" fmla="*/ 1 w 12"/>
                  <a:gd name="T45" fmla="*/ 9 h 34"/>
                  <a:gd name="T46" fmla="*/ 3 w 12"/>
                  <a:gd name="T4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 h="34">
                    <a:moveTo>
                      <a:pt x="3" y="7"/>
                    </a:moveTo>
                    <a:lnTo>
                      <a:pt x="3" y="7"/>
                    </a:lnTo>
                    <a:lnTo>
                      <a:pt x="3" y="5"/>
                    </a:lnTo>
                    <a:lnTo>
                      <a:pt x="3" y="4"/>
                    </a:lnTo>
                    <a:lnTo>
                      <a:pt x="5" y="2"/>
                    </a:lnTo>
                    <a:lnTo>
                      <a:pt x="7" y="0"/>
                    </a:lnTo>
                    <a:lnTo>
                      <a:pt x="10" y="4"/>
                    </a:lnTo>
                    <a:lnTo>
                      <a:pt x="12" y="30"/>
                    </a:lnTo>
                    <a:lnTo>
                      <a:pt x="10" y="34"/>
                    </a:lnTo>
                    <a:lnTo>
                      <a:pt x="9" y="34"/>
                    </a:lnTo>
                    <a:lnTo>
                      <a:pt x="5" y="30"/>
                    </a:lnTo>
                    <a:lnTo>
                      <a:pt x="5" y="23"/>
                    </a:lnTo>
                    <a:lnTo>
                      <a:pt x="7" y="22"/>
                    </a:lnTo>
                    <a:lnTo>
                      <a:pt x="7" y="22"/>
                    </a:lnTo>
                    <a:lnTo>
                      <a:pt x="1" y="20"/>
                    </a:lnTo>
                    <a:lnTo>
                      <a:pt x="0" y="16"/>
                    </a:lnTo>
                    <a:lnTo>
                      <a:pt x="0" y="14"/>
                    </a:lnTo>
                    <a:lnTo>
                      <a:pt x="1" y="14"/>
                    </a:lnTo>
                    <a:lnTo>
                      <a:pt x="3" y="16"/>
                    </a:lnTo>
                    <a:lnTo>
                      <a:pt x="5" y="13"/>
                    </a:lnTo>
                    <a:lnTo>
                      <a:pt x="3" y="13"/>
                    </a:lnTo>
                    <a:lnTo>
                      <a:pt x="1" y="11"/>
                    </a:lnTo>
                    <a:lnTo>
                      <a:pt x="1" y="9"/>
                    </a:lnTo>
                    <a:lnTo>
                      <a:pt x="3"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82" name="Freeform 3137"/>
              <p:cNvSpPr>
                <a:spLocks/>
              </p:cNvSpPr>
              <p:nvPr/>
            </p:nvSpPr>
            <p:spPr bwMode="auto">
              <a:xfrm>
                <a:off x="1493" y="3602"/>
                <a:ext cx="12" cy="34"/>
              </a:xfrm>
              <a:custGeom>
                <a:avLst/>
                <a:gdLst>
                  <a:gd name="T0" fmla="*/ 3 w 12"/>
                  <a:gd name="T1" fmla="*/ 7 h 34"/>
                  <a:gd name="T2" fmla="*/ 3 w 12"/>
                  <a:gd name="T3" fmla="*/ 7 h 34"/>
                  <a:gd name="T4" fmla="*/ 3 w 12"/>
                  <a:gd name="T5" fmla="*/ 5 h 34"/>
                  <a:gd name="T6" fmla="*/ 3 w 12"/>
                  <a:gd name="T7" fmla="*/ 4 h 34"/>
                  <a:gd name="T8" fmla="*/ 5 w 12"/>
                  <a:gd name="T9" fmla="*/ 2 h 34"/>
                  <a:gd name="T10" fmla="*/ 7 w 12"/>
                  <a:gd name="T11" fmla="*/ 0 h 34"/>
                  <a:gd name="T12" fmla="*/ 10 w 12"/>
                  <a:gd name="T13" fmla="*/ 4 h 34"/>
                  <a:gd name="T14" fmla="*/ 12 w 12"/>
                  <a:gd name="T15" fmla="*/ 30 h 34"/>
                  <a:gd name="T16" fmla="*/ 10 w 12"/>
                  <a:gd name="T17" fmla="*/ 34 h 34"/>
                  <a:gd name="T18" fmla="*/ 9 w 12"/>
                  <a:gd name="T19" fmla="*/ 34 h 34"/>
                  <a:gd name="T20" fmla="*/ 5 w 12"/>
                  <a:gd name="T21" fmla="*/ 30 h 34"/>
                  <a:gd name="T22" fmla="*/ 5 w 12"/>
                  <a:gd name="T23" fmla="*/ 23 h 34"/>
                  <a:gd name="T24" fmla="*/ 7 w 12"/>
                  <a:gd name="T25" fmla="*/ 22 h 34"/>
                  <a:gd name="T26" fmla="*/ 7 w 12"/>
                  <a:gd name="T27" fmla="*/ 22 h 34"/>
                  <a:gd name="T28" fmla="*/ 1 w 12"/>
                  <a:gd name="T29" fmla="*/ 20 h 34"/>
                  <a:gd name="T30" fmla="*/ 0 w 12"/>
                  <a:gd name="T31" fmla="*/ 16 h 34"/>
                  <a:gd name="T32" fmla="*/ 0 w 12"/>
                  <a:gd name="T33" fmla="*/ 14 h 34"/>
                  <a:gd name="T34" fmla="*/ 1 w 12"/>
                  <a:gd name="T35" fmla="*/ 14 h 34"/>
                  <a:gd name="T36" fmla="*/ 3 w 12"/>
                  <a:gd name="T37" fmla="*/ 16 h 34"/>
                  <a:gd name="T38" fmla="*/ 5 w 12"/>
                  <a:gd name="T39" fmla="*/ 13 h 34"/>
                  <a:gd name="T40" fmla="*/ 3 w 12"/>
                  <a:gd name="T41" fmla="*/ 13 h 34"/>
                  <a:gd name="T42" fmla="*/ 1 w 12"/>
                  <a:gd name="T43" fmla="*/ 11 h 34"/>
                  <a:gd name="T44" fmla="*/ 1 w 12"/>
                  <a:gd name="T45" fmla="*/ 9 h 34"/>
                  <a:gd name="T46" fmla="*/ 3 w 12"/>
                  <a:gd name="T4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 h="34">
                    <a:moveTo>
                      <a:pt x="3" y="7"/>
                    </a:moveTo>
                    <a:lnTo>
                      <a:pt x="3" y="7"/>
                    </a:lnTo>
                    <a:lnTo>
                      <a:pt x="3" y="5"/>
                    </a:lnTo>
                    <a:lnTo>
                      <a:pt x="3" y="4"/>
                    </a:lnTo>
                    <a:lnTo>
                      <a:pt x="5" y="2"/>
                    </a:lnTo>
                    <a:lnTo>
                      <a:pt x="7" y="0"/>
                    </a:lnTo>
                    <a:lnTo>
                      <a:pt x="10" y="4"/>
                    </a:lnTo>
                    <a:lnTo>
                      <a:pt x="12" y="30"/>
                    </a:lnTo>
                    <a:lnTo>
                      <a:pt x="10" y="34"/>
                    </a:lnTo>
                    <a:lnTo>
                      <a:pt x="9" y="34"/>
                    </a:lnTo>
                    <a:lnTo>
                      <a:pt x="5" y="30"/>
                    </a:lnTo>
                    <a:lnTo>
                      <a:pt x="5" y="23"/>
                    </a:lnTo>
                    <a:lnTo>
                      <a:pt x="7" y="22"/>
                    </a:lnTo>
                    <a:lnTo>
                      <a:pt x="7" y="22"/>
                    </a:lnTo>
                    <a:lnTo>
                      <a:pt x="1" y="20"/>
                    </a:lnTo>
                    <a:lnTo>
                      <a:pt x="0" y="16"/>
                    </a:lnTo>
                    <a:lnTo>
                      <a:pt x="0" y="14"/>
                    </a:lnTo>
                    <a:lnTo>
                      <a:pt x="1" y="14"/>
                    </a:lnTo>
                    <a:lnTo>
                      <a:pt x="3" y="16"/>
                    </a:lnTo>
                    <a:lnTo>
                      <a:pt x="5" y="13"/>
                    </a:lnTo>
                    <a:lnTo>
                      <a:pt x="3" y="13"/>
                    </a:lnTo>
                    <a:lnTo>
                      <a:pt x="1" y="11"/>
                    </a:lnTo>
                    <a:lnTo>
                      <a:pt x="1" y="9"/>
                    </a:lnTo>
                    <a:lnTo>
                      <a:pt x="3"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83" name="Freeform 3138"/>
              <p:cNvSpPr>
                <a:spLocks/>
              </p:cNvSpPr>
              <p:nvPr/>
            </p:nvSpPr>
            <p:spPr bwMode="auto">
              <a:xfrm>
                <a:off x="1487" y="3625"/>
                <a:ext cx="6" cy="6"/>
              </a:xfrm>
              <a:custGeom>
                <a:avLst/>
                <a:gdLst>
                  <a:gd name="T0" fmla="*/ 0 w 6"/>
                  <a:gd name="T1" fmla="*/ 2 h 6"/>
                  <a:gd name="T2" fmla="*/ 0 w 6"/>
                  <a:gd name="T3" fmla="*/ 2 h 6"/>
                  <a:gd name="T4" fmla="*/ 2 w 6"/>
                  <a:gd name="T5" fmla="*/ 0 h 6"/>
                  <a:gd name="T6" fmla="*/ 4 w 6"/>
                  <a:gd name="T7" fmla="*/ 0 h 6"/>
                  <a:gd name="T8" fmla="*/ 6 w 6"/>
                  <a:gd name="T9" fmla="*/ 6 h 6"/>
                  <a:gd name="T10" fmla="*/ 6 w 6"/>
                  <a:gd name="T11" fmla="*/ 6 h 6"/>
                  <a:gd name="T12" fmla="*/ 2 w 6"/>
                  <a:gd name="T13" fmla="*/ 6 h 6"/>
                  <a:gd name="T14" fmla="*/ 0 w 6"/>
                  <a:gd name="T15" fmla="*/ 4 h 6"/>
                  <a:gd name="T16" fmla="*/ 0 w 6"/>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0" y="2"/>
                    </a:moveTo>
                    <a:lnTo>
                      <a:pt x="0" y="2"/>
                    </a:lnTo>
                    <a:lnTo>
                      <a:pt x="2" y="0"/>
                    </a:lnTo>
                    <a:lnTo>
                      <a:pt x="4" y="0"/>
                    </a:lnTo>
                    <a:lnTo>
                      <a:pt x="6" y="6"/>
                    </a:lnTo>
                    <a:lnTo>
                      <a:pt x="6" y="6"/>
                    </a:lnTo>
                    <a:lnTo>
                      <a:pt x="2" y="6"/>
                    </a:lnTo>
                    <a:lnTo>
                      <a:pt x="0" y="4"/>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84" name="Freeform 3139"/>
              <p:cNvSpPr>
                <a:spLocks/>
              </p:cNvSpPr>
              <p:nvPr/>
            </p:nvSpPr>
            <p:spPr bwMode="auto">
              <a:xfrm>
                <a:off x="1487" y="3625"/>
                <a:ext cx="6" cy="6"/>
              </a:xfrm>
              <a:custGeom>
                <a:avLst/>
                <a:gdLst>
                  <a:gd name="T0" fmla="*/ 0 w 6"/>
                  <a:gd name="T1" fmla="*/ 2 h 6"/>
                  <a:gd name="T2" fmla="*/ 0 w 6"/>
                  <a:gd name="T3" fmla="*/ 2 h 6"/>
                  <a:gd name="T4" fmla="*/ 2 w 6"/>
                  <a:gd name="T5" fmla="*/ 0 h 6"/>
                  <a:gd name="T6" fmla="*/ 4 w 6"/>
                  <a:gd name="T7" fmla="*/ 0 h 6"/>
                  <a:gd name="T8" fmla="*/ 6 w 6"/>
                  <a:gd name="T9" fmla="*/ 6 h 6"/>
                  <a:gd name="T10" fmla="*/ 6 w 6"/>
                  <a:gd name="T11" fmla="*/ 6 h 6"/>
                  <a:gd name="T12" fmla="*/ 2 w 6"/>
                  <a:gd name="T13" fmla="*/ 6 h 6"/>
                  <a:gd name="T14" fmla="*/ 0 w 6"/>
                  <a:gd name="T15" fmla="*/ 4 h 6"/>
                  <a:gd name="T16" fmla="*/ 0 w 6"/>
                  <a:gd name="T17"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6">
                    <a:moveTo>
                      <a:pt x="0" y="2"/>
                    </a:moveTo>
                    <a:lnTo>
                      <a:pt x="0" y="2"/>
                    </a:lnTo>
                    <a:lnTo>
                      <a:pt x="2" y="0"/>
                    </a:lnTo>
                    <a:lnTo>
                      <a:pt x="4" y="0"/>
                    </a:lnTo>
                    <a:lnTo>
                      <a:pt x="6" y="6"/>
                    </a:lnTo>
                    <a:lnTo>
                      <a:pt x="6" y="6"/>
                    </a:lnTo>
                    <a:lnTo>
                      <a:pt x="2" y="6"/>
                    </a:lnTo>
                    <a:lnTo>
                      <a:pt x="0" y="4"/>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85" name="Freeform 3140"/>
              <p:cNvSpPr>
                <a:spLocks/>
              </p:cNvSpPr>
              <p:nvPr/>
            </p:nvSpPr>
            <p:spPr bwMode="auto">
              <a:xfrm>
                <a:off x="1491" y="3640"/>
                <a:ext cx="7" cy="7"/>
              </a:xfrm>
              <a:custGeom>
                <a:avLst/>
                <a:gdLst>
                  <a:gd name="T0" fmla="*/ 0 w 7"/>
                  <a:gd name="T1" fmla="*/ 3 h 7"/>
                  <a:gd name="T2" fmla="*/ 0 w 7"/>
                  <a:gd name="T3" fmla="*/ 1 h 7"/>
                  <a:gd name="T4" fmla="*/ 0 w 7"/>
                  <a:gd name="T5" fmla="*/ 0 h 7"/>
                  <a:gd name="T6" fmla="*/ 3 w 7"/>
                  <a:gd name="T7" fmla="*/ 1 h 7"/>
                  <a:gd name="T8" fmla="*/ 5 w 7"/>
                  <a:gd name="T9" fmla="*/ 0 h 7"/>
                  <a:gd name="T10" fmla="*/ 7 w 7"/>
                  <a:gd name="T11" fmla="*/ 0 h 7"/>
                  <a:gd name="T12" fmla="*/ 7 w 7"/>
                  <a:gd name="T13" fmla="*/ 1 h 7"/>
                  <a:gd name="T14" fmla="*/ 7 w 7"/>
                  <a:gd name="T15" fmla="*/ 3 h 7"/>
                  <a:gd name="T16" fmla="*/ 7 w 7"/>
                  <a:gd name="T17" fmla="*/ 7 h 7"/>
                  <a:gd name="T18" fmla="*/ 3 w 7"/>
                  <a:gd name="T19" fmla="*/ 5 h 7"/>
                  <a:gd name="T20" fmla="*/ 2 w 7"/>
                  <a:gd name="T21" fmla="*/ 3 h 7"/>
                  <a:gd name="T22" fmla="*/ 0 w 7"/>
                  <a:gd name="T23" fmla="*/ 5 h 7"/>
                  <a:gd name="T24" fmla="*/ 0 w 7"/>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0" y="3"/>
                    </a:moveTo>
                    <a:lnTo>
                      <a:pt x="0" y="1"/>
                    </a:lnTo>
                    <a:lnTo>
                      <a:pt x="0" y="0"/>
                    </a:lnTo>
                    <a:lnTo>
                      <a:pt x="3" y="1"/>
                    </a:lnTo>
                    <a:lnTo>
                      <a:pt x="5" y="0"/>
                    </a:lnTo>
                    <a:lnTo>
                      <a:pt x="7" y="0"/>
                    </a:lnTo>
                    <a:lnTo>
                      <a:pt x="7" y="1"/>
                    </a:lnTo>
                    <a:lnTo>
                      <a:pt x="7" y="3"/>
                    </a:lnTo>
                    <a:lnTo>
                      <a:pt x="7" y="7"/>
                    </a:lnTo>
                    <a:lnTo>
                      <a:pt x="3" y="5"/>
                    </a:lnTo>
                    <a:lnTo>
                      <a:pt x="2" y="3"/>
                    </a:lnTo>
                    <a:lnTo>
                      <a:pt x="0" y="5"/>
                    </a:lnTo>
                    <a:lnTo>
                      <a:pt x="0"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86" name="Freeform 3141"/>
              <p:cNvSpPr>
                <a:spLocks/>
              </p:cNvSpPr>
              <p:nvPr/>
            </p:nvSpPr>
            <p:spPr bwMode="auto">
              <a:xfrm>
                <a:off x="1491" y="3640"/>
                <a:ext cx="7" cy="7"/>
              </a:xfrm>
              <a:custGeom>
                <a:avLst/>
                <a:gdLst>
                  <a:gd name="T0" fmla="*/ 0 w 7"/>
                  <a:gd name="T1" fmla="*/ 3 h 7"/>
                  <a:gd name="T2" fmla="*/ 0 w 7"/>
                  <a:gd name="T3" fmla="*/ 1 h 7"/>
                  <a:gd name="T4" fmla="*/ 0 w 7"/>
                  <a:gd name="T5" fmla="*/ 0 h 7"/>
                  <a:gd name="T6" fmla="*/ 3 w 7"/>
                  <a:gd name="T7" fmla="*/ 1 h 7"/>
                  <a:gd name="T8" fmla="*/ 5 w 7"/>
                  <a:gd name="T9" fmla="*/ 0 h 7"/>
                  <a:gd name="T10" fmla="*/ 7 w 7"/>
                  <a:gd name="T11" fmla="*/ 0 h 7"/>
                  <a:gd name="T12" fmla="*/ 7 w 7"/>
                  <a:gd name="T13" fmla="*/ 1 h 7"/>
                  <a:gd name="T14" fmla="*/ 7 w 7"/>
                  <a:gd name="T15" fmla="*/ 3 h 7"/>
                  <a:gd name="T16" fmla="*/ 7 w 7"/>
                  <a:gd name="T17" fmla="*/ 7 h 7"/>
                  <a:gd name="T18" fmla="*/ 3 w 7"/>
                  <a:gd name="T19" fmla="*/ 5 h 7"/>
                  <a:gd name="T20" fmla="*/ 2 w 7"/>
                  <a:gd name="T21" fmla="*/ 3 h 7"/>
                  <a:gd name="T22" fmla="*/ 0 w 7"/>
                  <a:gd name="T23" fmla="*/ 5 h 7"/>
                  <a:gd name="T24" fmla="*/ 0 w 7"/>
                  <a:gd name="T2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0" y="3"/>
                    </a:moveTo>
                    <a:lnTo>
                      <a:pt x="0" y="1"/>
                    </a:lnTo>
                    <a:lnTo>
                      <a:pt x="0" y="0"/>
                    </a:lnTo>
                    <a:lnTo>
                      <a:pt x="3" y="1"/>
                    </a:lnTo>
                    <a:lnTo>
                      <a:pt x="5" y="0"/>
                    </a:lnTo>
                    <a:lnTo>
                      <a:pt x="7" y="0"/>
                    </a:lnTo>
                    <a:lnTo>
                      <a:pt x="7" y="1"/>
                    </a:lnTo>
                    <a:lnTo>
                      <a:pt x="7" y="3"/>
                    </a:lnTo>
                    <a:lnTo>
                      <a:pt x="7" y="7"/>
                    </a:lnTo>
                    <a:lnTo>
                      <a:pt x="3" y="5"/>
                    </a:lnTo>
                    <a:lnTo>
                      <a:pt x="2" y="3"/>
                    </a:lnTo>
                    <a:lnTo>
                      <a:pt x="0" y="5"/>
                    </a:lnTo>
                    <a:lnTo>
                      <a:pt x="0"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87" name="Freeform 3142"/>
              <p:cNvSpPr>
                <a:spLocks/>
              </p:cNvSpPr>
              <p:nvPr/>
            </p:nvSpPr>
            <p:spPr bwMode="auto">
              <a:xfrm>
                <a:off x="1502" y="3645"/>
                <a:ext cx="9" cy="11"/>
              </a:xfrm>
              <a:custGeom>
                <a:avLst/>
                <a:gdLst>
                  <a:gd name="T0" fmla="*/ 3 w 9"/>
                  <a:gd name="T1" fmla="*/ 7 h 11"/>
                  <a:gd name="T2" fmla="*/ 1 w 9"/>
                  <a:gd name="T3" fmla="*/ 7 h 11"/>
                  <a:gd name="T4" fmla="*/ 1 w 9"/>
                  <a:gd name="T5" fmla="*/ 5 h 11"/>
                  <a:gd name="T6" fmla="*/ 0 w 9"/>
                  <a:gd name="T7" fmla="*/ 0 h 11"/>
                  <a:gd name="T8" fmla="*/ 0 w 9"/>
                  <a:gd name="T9" fmla="*/ 0 h 11"/>
                  <a:gd name="T10" fmla="*/ 1 w 9"/>
                  <a:gd name="T11" fmla="*/ 0 h 11"/>
                  <a:gd name="T12" fmla="*/ 7 w 9"/>
                  <a:gd name="T13" fmla="*/ 5 h 11"/>
                  <a:gd name="T14" fmla="*/ 9 w 9"/>
                  <a:gd name="T15" fmla="*/ 11 h 11"/>
                  <a:gd name="T16" fmla="*/ 7 w 9"/>
                  <a:gd name="T17" fmla="*/ 11 h 11"/>
                  <a:gd name="T18" fmla="*/ 3 w 9"/>
                  <a:gd name="T19"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1">
                    <a:moveTo>
                      <a:pt x="3" y="7"/>
                    </a:moveTo>
                    <a:lnTo>
                      <a:pt x="1" y="7"/>
                    </a:lnTo>
                    <a:lnTo>
                      <a:pt x="1" y="5"/>
                    </a:lnTo>
                    <a:lnTo>
                      <a:pt x="0" y="0"/>
                    </a:lnTo>
                    <a:lnTo>
                      <a:pt x="0" y="0"/>
                    </a:lnTo>
                    <a:lnTo>
                      <a:pt x="1" y="0"/>
                    </a:lnTo>
                    <a:lnTo>
                      <a:pt x="7" y="5"/>
                    </a:lnTo>
                    <a:lnTo>
                      <a:pt x="9" y="11"/>
                    </a:lnTo>
                    <a:lnTo>
                      <a:pt x="7" y="11"/>
                    </a:lnTo>
                    <a:lnTo>
                      <a:pt x="3"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688" name="Freeform 3143"/>
              <p:cNvSpPr>
                <a:spLocks/>
              </p:cNvSpPr>
              <p:nvPr/>
            </p:nvSpPr>
            <p:spPr bwMode="auto">
              <a:xfrm>
                <a:off x="1502" y="3645"/>
                <a:ext cx="9" cy="11"/>
              </a:xfrm>
              <a:custGeom>
                <a:avLst/>
                <a:gdLst>
                  <a:gd name="T0" fmla="*/ 3 w 9"/>
                  <a:gd name="T1" fmla="*/ 7 h 11"/>
                  <a:gd name="T2" fmla="*/ 1 w 9"/>
                  <a:gd name="T3" fmla="*/ 7 h 11"/>
                  <a:gd name="T4" fmla="*/ 1 w 9"/>
                  <a:gd name="T5" fmla="*/ 5 h 11"/>
                  <a:gd name="T6" fmla="*/ 0 w 9"/>
                  <a:gd name="T7" fmla="*/ 0 h 11"/>
                  <a:gd name="T8" fmla="*/ 0 w 9"/>
                  <a:gd name="T9" fmla="*/ 0 h 11"/>
                  <a:gd name="T10" fmla="*/ 1 w 9"/>
                  <a:gd name="T11" fmla="*/ 0 h 11"/>
                  <a:gd name="T12" fmla="*/ 7 w 9"/>
                  <a:gd name="T13" fmla="*/ 5 h 11"/>
                  <a:gd name="T14" fmla="*/ 9 w 9"/>
                  <a:gd name="T15" fmla="*/ 11 h 11"/>
                  <a:gd name="T16" fmla="*/ 7 w 9"/>
                  <a:gd name="T17" fmla="*/ 11 h 11"/>
                  <a:gd name="T18" fmla="*/ 3 w 9"/>
                  <a:gd name="T19"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1">
                    <a:moveTo>
                      <a:pt x="3" y="7"/>
                    </a:moveTo>
                    <a:lnTo>
                      <a:pt x="1" y="7"/>
                    </a:lnTo>
                    <a:lnTo>
                      <a:pt x="1" y="5"/>
                    </a:lnTo>
                    <a:lnTo>
                      <a:pt x="0" y="0"/>
                    </a:lnTo>
                    <a:lnTo>
                      <a:pt x="0" y="0"/>
                    </a:lnTo>
                    <a:lnTo>
                      <a:pt x="1" y="0"/>
                    </a:lnTo>
                    <a:lnTo>
                      <a:pt x="7" y="5"/>
                    </a:lnTo>
                    <a:lnTo>
                      <a:pt x="9" y="11"/>
                    </a:lnTo>
                    <a:lnTo>
                      <a:pt x="7" y="11"/>
                    </a:lnTo>
                    <a:lnTo>
                      <a:pt x="3"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grpSp>
        <p:grpSp>
          <p:nvGrpSpPr>
            <p:cNvPr id="151" name="Group 3345"/>
            <p:cNvGrpSpPr>
              <a:grpSpLocks/>
            </p:cNvGrpSpPr>
            <p:nvPr/>
          </p:nvGrpSpPr>
          <p:grpSpPr bwMode="auto">
            <a:xfrm>
              <a:off x="387723" y="3802389"/>
              <a:ext cx="3276308" cy="2612997"/>
              <a:chOff x="104" y="2163"/>
              <a:chExt cx="2035" cy="1623"/>
            </a:xfrm>
            <a:solidFill>
              <a:srgbClr val="D9D9D9"/>
            </a:solidFill>
          </p:grpSpPr>
          <p:sp>
            <p:nvSpPr>
              <p:cNvPr id="289" name="Freeform 3145"/>
              <p:cNvSpPr>
                <a:spLocks/>
              </p:cNvSpPr>
              <p:nvPr/>
            </p:nvSpPr>
            <p:spPr bwMode="auto">
              <a:xfrm>
                <a:off x="1500" y="3652"/>
                <a:ext cx="5" cy="13"/>
              </a:xfrm>
              <a:custGeom>
                <a:avLst/>
                <a:gdLst>
                  <a:gd name="T0" fmla="*/ 5 w 5"/>
                  <a:gd name="T1" fmla="*/ 7 h 13"/>
                  <a:gd name="T2" fmla="*/ 5 w 5"/>
                  <a:gd name="T3" fmla="*/ 11 h 13"/>
                  <a:gd name="T4" fmla="*/ 5 w 5"/>
                  <a:gd name="T5" fmla="*/ 13 h 13"/>
                  <a:gd name="T6" fmla="*/ 3 w 5"/>
                  <a:gd name="T7" fmla="*/ 13 h 13"/>
                  <a:gd name="T8" fmla="*/ 0 w 5"/>
                  <a:gd name="T9" fmla="*/ 5 h 13"/>
                  <a:gd name="T10" fmla="*/ 0 w 5"/>
                  <a:gd name="T11" fmla="*/ 0 h 13"/>
                  <a:gd name="T12" fmla="*/ 0 w 5"/>
                  <a:gd name="T13" fmla="*/ 0 h 13"/>
                  <a:gd name="T14" fmla="*/ 5 w 5"/>
                  <a:gd name="T15" fmla="*/ 2 h 13"/>
                  <a:gd name="T16" fmla="*/ 5 w 5"/>
                  <a:gd name="T17"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3">
                    <a:moveTo>
                      <a:pt x="5" y="7"/>
                    </a:moveTo>
                    <a:lnTo>
                      <a:pt x="5" y="11"/>
                    </a:lnTo>
                    <a:lnTo>
                      <a:pt x="5" y="13"/>
                    </a:lnTo>
                    <a:lnTo>
                      <a:pt x="3" y="13"/>
                    </a:lnTo>
                    <a:lnTo>
                      <a:pt x="0" y="5"/>
                    </a:lnTo>
                    <a:lnTo>
                      <a:pt x="0" y="0"/>
                    </a:lnTo>
                    <a:lnTo>
                      <a:pt x="0" y="0"/>
                    </a:lnTo>
                    <a:lnTo>
                      <a:pt x="5" y="2"/>
                    </a:lnTo>
                    <a:lnTo>
                      <a:pt x="5"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90" name="Freeform 3146"/>
              <p:cNvSpPr>
                <a:spLocks/>
              </p:cNvSpPr>
              <p:nvPr/>
            </p:nvSpPr>
            <p:spPr bwMode="auto">
              <a:xfrm>
                <a:off x="1500" y="3652"/>
                <a:ext cx="5" cy="13"/>
              </a:xfrm>
              <a:custGeom>
                <a:avLst/>
                <a:gdLst>
                  <a:gd name="T0" fmla="*/ 5 w 5"/>
                  <a:gd name="T1" fmla="*/ 7 h 13"/>
                  <a:gd name="T2" fmla="*/ 5 w 5"/>
                  <a:gd name="T3" fmla="*/ 11 h 13"/>
                  <a:gd name="T4" fmla="*/ 5 w 5"/>
                  <a:gd name="T5" fmla="*/ 13 h 13"/>
                  <a:gd name="T6" fmla="*/ 3 w 5"/>
                  <a:gd name="T7" fmla="*/ 13 h 13"/>
                  <a:gd name="T8" fmla="*/ 0 w 5"/>
                  <a:gd name="T9" fmla="*/ 5 h 13"/>
                  <a:gd name="T10" fmla="*/ 0 w 5"/>
                  <a:gd name="T11" fmla="*/ 0 h 13"/>
                  <a:gd name="T12" fmla="*/ 0 w 5"/>
                  <a:gd name="T13" fmla="*/ 0 h 13"/>
                  <a:gd name="T14" fmla="*/ 5 w 5"/>
                  <a:gd name="T15" fmla="*/ 2 h 13"/>
                  <a:gd name="T16" fmla="*/ 5 w 5"/>
                  <a:gd name="T17"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3">
                    <a:moveTo>
                      <a:pt x="5" y="7"/>
                    </a:moveTo>
                    <a:lnTo>
                      <a:pt x="5" y="11"/>
                    </a:lnTo>
                    <a:lnTo>
                      <a:pt x="5" y="13"/>
                    </a:lnTo>
                    <a:lnTo>
                      <a:pt x="3" y="13"/>
                    </a:lnTo>
                    <a:lnTo>
                      <a:pt x="0" y="5"/>
                    </a:lnTo>
                    <a:lnTo>
                      <a:pt x="0" y="0"/>
                    </a:lnTo>
                    <a:lnTo>
                      <a:pt x="0" y="0"/>
                    </a:lnTo>
                    <a:lnTo>
                      <a:pt x="5" y="2"/>
                    </a:lnTo>
                    <a:lnTo>
                      <a:pt x="5"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91" name="Freeform 3147"/>
              <p:cNvSpPr>
                <a:spLocks/>
              </p:cNvSpPr>
              <p:nvPr/>
            </p:nvSpPr>
            <p:spPr bwMode="auto">
              <a:xfrm>
                <a:off x="1498" y="3665"/>
                <a:ext cx="5" cy="7"/>
              </a:xfrm>
              <a:custGeom>
                <a:avLst/>
                <a:gdLst>
                  <a:gd name="T0" fmla="*/ 0 w 5"/>
                  <a:gd name="T1" fmla="*/ 7 h 7"/>
                  <a:gd name="T2" fmla="*/ 0 w 5"/>
                  <a:gd name="T3" fmla="*/ 3 h 7"/>
                  <a:gd name="T4" fmla="*/ 4 w 5"/>
                  <a:gd name="T5" fmla="*/ 0 h 7"/>
                  <a:gd name="T6" fmla="*/ 5 w 5"/>
                  <a:gd name="T7" fmla="*/ 0 h 7"/>
                  <a:gd name="T8" fmla="*/ 5 w 5"/>
                  <a:gd name="T9" fmla="*/ 5 h 7"/>
                  <a:gd name="T10" fmla="*/ 2 w 5"/>
                  <a:gd name="T11" fmla="*/ 7 h 7"/>
                  <a:gd name="T12" fmla="*/ 0 w 5"/>
                  <a:gd name="T13" fmla="*/ 5 h 7"/>
                  <a:gd name="T14" fmla="*/ 0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0" y="7"/>
                    </a:moveTo>
                    <a:lnTo>
                      <a:pt x="0" y="3"/>
                    </a:lnTo>
                    <a:lnTo>
                      <a:pt x="4" y="0"/>
                    </a:lnTo>
                    <a:lnTo>
                      <a:pt x="5" y="0"/>
                    </a:lnTo>
                    <a:lnTo>
                      <a:pt x="5" y="5"/>
                    </a:lnTo>
                    <a:lnTo>
                      <a:pt x="2" y="7"/>
                    </a:lnTo>
                    <a:lnTo>
                      <a:pt x="0" y="5"/>
                    </a:lnTo>
                    <a:lnTo>
                      <a:pt x="0"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92" name="Freeform 3148"/>
              <p:cNvSpPr>
                <a:spLocks/>
              </p:cNvSpPr>
              <p:nvPr/>
            </p:nvSpPr>
            <p:spPr bwMode="auto">
              <a:xfrm>
                <a:off x="1498" y="3665"/>
                <a:ext cx="5" cy="7"/>
              </a:xfrm>
              <a:custGeom>
                <a:avLst/>
                <a:gdLst>
                  <a:gd name="T0" fmla="*/ 0 w 5"/>
                  <a:gd name="T1" fmla="*/ 7 h 7"/>
                  <a:gd name="T2" fmla="*/ 0 w 5"/>
                  <a:gd name="T3" fmla="*/ 3 h 7"/>
                  <a:gd name="T4" fmla="*/ 4 w 5"/>
                  <a:gd name="T5" fmla="*/ 0 h 7"/>
                  <a:gd name="T6" fmla="*/ 5 w 5"/>
                  <a:gd name="T7" fmla="*/ 0 h 7"/>
                  <a:gd name="T8" fmla="*/ 5 w 5"/>
                  <a:gd name="T9" fmla="*/ 5 h 7"/>
                  <a:gd name="T10" fmla="*/ 2 w 5"/>
                  <a:gd name="T11" fmla="*/ 7 h 7"/>
                  <a:gd name="T12" fmla="*/ 0 w 5"/>
                  <a:gd name="T13" fmla="*/ 5 h 7"/>
                  <a:gd name="T14" fmla="*/ 0 w 5"/>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7">
                    <a:moveTo>
                      <a:pt x="0" y="7"/>
                    </a:moveTo>
                    <a:lnTo>
                      <a:pt x="0" y="3"/>
                    </a:lnTo>
                    <a:lnTo>
                      <a:pt x="4" y="0"/>
                    </a:lnTo>
                    <a:lnTo>
                      <a:pt x="5" y="0"/>
                    </a:lnTo>
                    <a:lnTo>
                      <a:pt x="5" y="5"/>
                    </a:lnTo>
                    <a:lnTo>
                      <a:pt x="2" y="7"/>
                    </a:lnTo>
                    <a:lnTo>
                      <a:pt x="0" y="5"/>
                    </a:lnTo>
                    <a:lnTo>
                      <a:pt x="0"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93" name="Freeform 3149"/>
              <p:cNvSpPr>
                <a:spLocks/>
              </p:cNvSpPr>
              <p:nvPr/>
            </p:nvSpPr>
            <p:spPr bwMode="auto">
              <a:xfrm>
                <a:off x="1496" y="3677"/>
                <a:ext cx="4" cy="13"/>
              </a:xfrm>
              <a:custGeom>
                <a:avLst/>
                <a:gdLst>
                  <a:gd name="T0" fmla="*/ 2 w 4"/>
                  <a:gd name="T1" fmla="*/ 13 h 13"/>
                  <a:gd name="T2" fmla="*/ 0 w 4"/>
                  <a:gd name="T3" fmla="*/ 13 h 13"/>
                  <a:gd name="T4" fmla="*/ 2 w 4"/>
                  <a:gd name="T5" fmla="*/ 4 h 13"/>
                  <a:gd name="T6" fmla="*/ 2 w 4"/>
                  <a:gd name="T7" fmla="*/ 4 h 13"/>
                  <a:gd name="T8" fmla="*/ 2 w 4"/>
                  <a:gd name="T9" fmla="*/ 0 h 13"/>
                  <a:gd name="T10" fmla="*/ 4 w 4"/>
                  <a:gd name="T11" fmla="*/ 2 h 13"/>
                  <a:gd name="T12" fmla="*/ 2 w 4"/>
                  <a:gd name="T13" fmla="*/ 13 h 13"/>
                  <a:gd name="T14" fmla="*/ 2 w 4"/>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3">
                    <a:moveTo>
                      <a:pt x="2" y="13"/>
                    </a:moveTo>
                    <a:lnTo>
                      <a:pt x="0" y="13"/>
                    </a:lnTo>
                    <a:lnTo>
                      <a:pt x="2" y="4"/>
                    </a:lnTo>
                    <a:lnTo>
                      <a:pt x="2" y="4"/>
                    </a:lnTo>
                    <a:lnTo>
                      <a:pt x="2" y="0"/>
                    </a:lnTo>
                    <a:lnTo>
                      <a:pt x="4" y="2"/>
                    </a:lnTo>
                    <a:lnTo>
                      <a:pt x="2" y="13"/>
                    </a:lnTo>
                    <a:lnTo>
                      <a:pt x="2" y="1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94" name="Freeform 3150"/>
              <p:cNvSpPr>
                <a:spLocks/>
              </p:cNvSpPr>
              <p:nvPr/>
            </p:nvSpPr>
            <p:spPr bwMode="auto">
              <a:xfrm>
                <a:off x="1496" y="3677"/>
                <a:ext cx="4" cy="13"/>
              </a:xfrm>
              <a:custGeom>
                <a:avLst/>
                <a:gdLst>
                  <a:gd name="T0" fmla="*/ 2 w 4"/>
                  <a:gd name="T1" fmla="*/ 13 h 13"/>
                  <a:gd name="T2" fmla="*/ 0 w 4"/>
                  <a:gd name="T3" fmla="*/ 13 h 13"/>
                  <a:gd name="T4" fmla="*/ 2 w 4"/>
                  <a:gd name="T5" fmla="*/ 4 h 13"/>
                  <a:gd name="T6" fmla="*/ 2 w 4"/>
                  <a:gd name="T7" fmla="*/ 4 h 13"/>
                  <a:gd name="T8" fmla="*/ 2 w 4"/>
                  <a:gd name="T9" fmla="*/ 0 h 13"/>
                  <a:gd name="T10" fmla="*/ 4 w 4"/>
                  <a:gd name="T11" fmla="*/ 2 h 13"/>
                  <a:gd name="T12" fmla="*/ 2 w 4"/>
                  <a:gd name="T13" fmla="*/ 13 h 13"/>
                  <a:gd name="T14" fmla="*/ 2 w 4"/>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3">
                    <a:moveTo>
                      <a:pt x="2" y="13"/>
                    </a:moveTo>
                    <a:lnTo>
                      <a:pt x="0" y="13"/>
                    </a:lnTo>
                    <a:lnTo>
                      <a:pt x="2" y="4"/>
                    </a:lnTo>
                    <a:lnTo>
                      <a:pt x="2" y="4"/>
                    </a:lnTo>
                    <a:lnTo>
                      <a:pt x="2" y="0"/>
                    </a:lnTo>
                    <a:lnTo>
                      <a:pt x="4" y="2"/>
                    </a:lnTo>
                    <a:lnTo>
                      <a:pt x="2" y="13"/>
                    </a:lnTo>
                    <a:lnTo>
                      <a:pt x="2" y="1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95" name="Freeform 3151"/>
              <p:cNvSpPr>
                <a:spLocks/>
              </p:cNvSpPr>
              <p:nvPr/>
            </p:nvSpPr>
            <p:spPr bwMode="auto">
              <a:xfrm>
                <a:off x="1511" y="3675"/>
                <a:ext cx="3" cy="7"/>
              </a:xfrm>
              <a:custGeom>
                <a:avLst/>
                <a:gdLst>
                  <a:gd name="T0" fmla="*/ 1 w 3"/>
                  <a:gd name="T1" fmla="*/ 2 h 7"/>
                  <a:gd name="T2" fmla="*/ 3 w 3"/>
                  <a:gd name="T3" fmla="*/ 7 h 7"/>
                  <a:gd name="T4" fmla="*/ 1 w 3"/>
                  <a:gd name="T5" fmla="*/ 7 h 7"/>
                  <a:gd name="T6" fmla="*/ 0 w 3"/>
                  <a:gd name="T7" fmla="*/ 6 h 7"/>
                  <a:gd name="T8" fmla="*/ 0 w 3"/>
                  <a:gd name="T9" fmla="*/ 4 h 7"/>
                  <a:gd name="T10" fmla="*/ 0 w 3"/>
                  <a:gd name="T11" fmla="*/ 0 h 7"/>
                  <a:gd name="T12" fmla="*/ 0 w 3"/>
                  <a:gd name="T13" fmla="*/ 0 h 7"/>
                  <a:gd name="T14" fmla="*/ 1 w 3"/>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1" y="2"/>
                    </a:moveTo>
                    <a:lnTo>
                      <a:pt x="3" y="7"/>
                    </a:lnTo>
                    <a:lnTo>
                      <a:pt x="1" y="7"/>
                    </a:lnTo>
                    <a:lnTo>
                      <a:pt x="0" y="6"/>
                    </a:lnTo>
                    <a:lnTo>
                      <a:pt x="0" y="4"/>
                    </a:lnTo>
                    <a:lnTo>
                      <a:pt x="0" y="0"/>
                    </a:lnTo>
                    <a:lnTo>
                      <a:pt x="0" y="0"/>
                    </a:lnTo>
                    <a:lnTo>
                      <a:pt x="1"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96" name="Freeform 3152"/>
              <p:cNvSpPr>
                <a:spLocks/>
              </p:cNvSpPr>
              <p:nvPr/>
            </p:nvSpPr>
            <p:spPr bwMode="auto">
              <a:xfrm>
                <a:off x="1511" y="3675"/>
                <a:ext cx="3" cy="7"/>
              </a:xfrm>
              <a:custGeom>
                <a:avLst/>
                <a:gdLst>
                  <a:gd name="T0" fmla="*/ 1 w 3"/>
                  <a:gd name="T1" fmla="*/ 2 h 7"/>
                  <a:gd name="T2" fmla="*/ 3 w 3"/>
                  <a:gd name="T3" fmla="*/ 7 h 7"/>
                  <a:gd name="T4" fmla="*/ 1 w 3"/>
                  <a:gd name="T5" fmla="*/ 7 h 7"/>
                  <a:gd name="T6" fmla="*/ 0 w 3"/>
                  <a:gd name="T7" fmla="*/ 6 h 7"/>
                  <a:gd name="T8" fmla="*/ 0 w 3"/>
                  <a:gd name="T9" fmla="*/ 4 h 7"/>
                  <a:gd name="T10" fmla="*/ 0 w 3"/>
                  <a:gd name="T11" fmla="*/ 0 h 7"/>
                  <a:gd name="T12" fmla="*/ 0 w 3"/>
                  <a:gd name="T13" fmla="*/ 0 h 7"/>
                  <a:gd name="T14" fmla="*/ 1 w 3"/>
                  <a:gd name="T15" fmla="*/ 2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1" y="2"/>
                    </a:moveTo>
                    <a:lnTo>
                      <a:pt x="3" y="7"/>
                    </a:lnTo>
                    <a:lnTo>
                      <a:pt x="1" y="7"/>
                    </a:lnTo>
                    <a:lnTo>
                      <a:pt x="0" y="6"/>
                    </a:lnTo>
                    <a:lnTo>
                      <a:pt x="0" y="4"/>
                    </a:lnTo>
                    <a:lnTo>
                      <a:pt x="0" y="0"/>
                    </a:lnTo>
                    <a:lnTo>
                      <a:pt x="0" y="0"/>
                    </a:lnTo>
                    <a:lnTo>
                      <a:pt x="1"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97" name="Freeform 3153"/>
              <p:cNvSpPr>
                <a:spLocks/>
              </p:cNvSpPr>
              <p:nvPr/>
            </p:nvSpPr>
            <p:spPr bwMode="auto">
              <a:xfrm>
                <a:off x="1514" y="3670"/>
                <a:ext cx="4" cy="9"/>
              </a:xfrm>
              <a:custGeom>
                <a:avLst/>
                <a:gdLst>
                  <a:gd name="T0" fmla="*/ 4 w 4"/>
                  <a:gd name="T1" fmla="*/ 4 h 9"/>
                  <a:gd name="T2" fmla="*/ 4 w 4"/>
                  <a:gd name="T3" fmla="*/ 5 h 9"/>
                  <a:gd name="T4" fmla="*/ 4 w 4"/>
                  <a:gd name="T5" fmla="*/ 9 h 9"/>
                  <a:gd name="T6" fmla="*/ 2 w 4"/>
                  <a:gd name="T7" fmla="*/ 5 h 9"/>
                  <a:gd name="T8" fmla="*/ 0 w 4"/>
                  <a:gd name="T9" fmla="*/ 2 h 9"/>
                  <a:gd name="T10" fmla="*/ 0 w 4"/>
                  <a:gd name="T11" fmla="*/ 0 h 9"/>
                  <a:gd name="T12" fmla="*/ 2 w 4"/>
                  <a:gd name="T13" fmla="*/ 4 h 9"/>
                  <a:gd name="T14" fmla="*/ 4 w 4"/>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4" y="4"/>
                    </a:moveTo>
                    <a:lnTo>
                      <a:pt x="4" y="5"/>
                    </a:lnTo>
                    <a:lnTo>
                      <a:pt x="4" y="9"/>
                    </a:lnTo>
                    <a:lnTo>
                      <a:pt x="2" y="5"/>
                    </a:lnTo>
                    <a:lnTo>
                      <a:pt x="0" y="2"/>
                    </a:lnTo>
                    <a:lnTo>
                      <a:pt x="0" y="0"/>
                    </a:lnTo>
                    <a:lnTo>
                      <a:pt x="2" y="4"/>
                    </a:lnTo>
                    <a:lnTo>
                      <a:pt x="4"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98" name="Freeform 3154"/>
              <p:cNvSpPr>
                <a:spLocks/>
              </p:cNvSpPr>
              <p:nvPr/>
            </p:nvSpPr>
            <p:spPr bwMode="auto">
              <a:xfrm>
                <a:off x="1514" y="3670"/>
                <a:ext cx="4" cy="9"/>
              </a:xfrm>
              <a:custGeom>
                <a:avLst/>
                <a:gdLst>
                  <a:gd name="T0" fmla="*/ 4 w 4"/>
                  <a:gd name="T1" fmla="*/ 4 h 9"/>
                  <a:gd name="T2" fmla="*/ 4 w 4"/>
                  <a:gd name="T3" fmla="*/ 5 h 9"/>
                  <a:gd name="T4" fmla="*/ 4 w 4"/>
                  <a:gd name="T5" fmla="*/ 9 h 9"/>
                  <a:gd name="T6" fmla="*/ 2 w 4"/>
                  <a:gd name="T7" fmla="*/ 5 h 9"/>
                  <a:gd name="T8" fmla="*/ 0 w 4"/>
                  <a:gd name="T9" fmla="*/ 2 h 9"/>
                  <a:gd name="T10" fmla="*/ 0 w 4"/>
                  <a:gd name="T11" fmla="*/ 0 h 9"/>
                  <a:gd name="T12" fmla="*/ 2 w 4"/>
                  <a:gd name="T13" fmla="*/ 4 h 9"/>
                  <a:gd name="T14" fmla="*/ 4 w 4"/>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9">
                    <a:moveTo>
                      <a:pt x="4" y="4"/>
                    </a:moveTo>
                    <a:lnTo>
                      <a:pt x="4" y="5"/>
                    </a:lnTo>
                    <a:lnTo>
                      <a:pt x="4" y="9"/>
                    </a:lnTo>
                    <a:lnTo>
                      <a:pt x="2" y="5"/>
                    </a:lnTo>
                    <a:lnTo>
                      <a:pt x="0" y="2"/>
                    </a:lnTo>
                    <a:lnTo>
                      <a:pt x="0" y="0"/>
                    </a:lnTo>
                    <a:lnTo>
                      <a:pt x="2" y="4"/>
                    </a:lnTo>
                    <a:lnTo>
                      <a:pt x="4"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99" name="Freeform 3155"/>
              <p:cNvSpPr>
                <a:spLocks/>
              </p:cNvSpPr>
              <p:nvPr/>
            </p:nvSpPr>
            <p:spPr bwMode="auto">
              <a:xfrm>
                <a:off x="1519" y="3686"/>
                <a:ext cx="34" cy="39"/>
              </a:xfrm>
              <a:custGeom>
                <a:avLst/>
                <a:gdLst>
                  <a:gd name="T0" fmla="*/ 0 w 34"/>
                  <a:gd name="T1" fmla="*/ 5 h 39"/>
                  <a:gd name="T2" fmla="*/ 0 w 34"/>
                  <a:gd name="T3" fmla="*/ 5 h 39"/>
                  <a:gd name="T4" fmla="*/ 2 w 34"/>
                  <a:gd name="T5" fmla="*/ 4 h 39"/>
                  <a:gd name="T6" fmla="*/ 2 w 34"/>
                  <a:gd name="T7" fmla="*/ 4 h 39"/>
                  <a:gd name="T8" fmla="*/ 4 w 34"/>
                  <a:gd name="T9" fmla="*/ 5 h 39"/>
                  <a:gd name="T10" fmla="*/ 6 w 34"/>
                  <a:gd name="T11" fmla="*/ 5 h 39"/>
                  <a:gd name="T12" fmla="*/ 6 w 34"/>
                  <a:gd name="T13" fmla="*/ 4 h 39"/>
                  <a:gd name="T14" fmla="*/ 8 w 34"/>
                  <a:gd name="T15" fmla="*/ 4 h 39"/>
                  <a:gd name="T16" fmla="*/ 9 w 34"/>
                  <a:gd name="T17" fmla="*/ 4 h 39"/>
                  <a:gd name="T18" fmla="*/ 9 w 34"/>
                  <a:gd name="T19" fmla="*/ 9 h 39"/>
                  <a:gd name="T20" fmla="*/ 11 w 34"/>
                  <a:gd name="T21" fmla="*/ 7 h 39"/>
                  <a:gd name="T22" fmla="*/ 13 w 34"/>
                  <a:gd name="T23" fmla="*/ 4 h 39"/>
                  <a:gd name="T24" fmla="*/ 13 w 34"/>
                  <a:gd name="T25" fmla="*/ 2 h 39"/>
                  <a:gd name="T26" fmla="*/ 11 w 34"/>
                  <a:gd name="T27" fmla="*/ 0 h 39"/>
                  <a:gd name="T28" fmla="*/ 13 w 34"/>
                  <a:gd name="T29" fmla="*/ 0 h 39"/>
                  <a:gd name="T30" fmla="*/ 15 w 34"/>
                  <a:gd name="T31" fmla="*/ 2 h 39"/>
                  <a:gd name="T32" fmla="*/ 17 w 34"/>
                  <a:gd name="T33" fmla="*/ 9 h 39"/>
                  <a:gd name="T34" fmla="*/ 13 w 34"/>
                  <a:gd name="T35" fmla="*/ 13 h 39"/>
                  <a:gd name="T36" fmla="*/ 11 w 34"/>
                  <a:gd name="T37" fmla="*/ 16 h 39"/>
                  <a:gd name="T38" fmla="*/ 13 w 34"/>
                  <a:gd name="T39" fmla="*/ 18 h 39"/>
                  <a:gd name="T40" fmla="*/ 15 w 34"/>
                  <a:gd name="T41" fmla="*/ 20 h 39"/>
                  <a:gd name="T42" fmla="*/ 15 w 34"/>
                  <a:gd name="T43" fmla="*/ 21 h 39"/>
                  <a:gd name="T44" fmla="*/ 18 w 34"/>
                  <a:gd name="T45" fmla="*/ 23 h 39"/>
                  <a:gd name="T46" fmla="*/ 24 w 34"/>
                  <a:gd name="T47" fmla="*/ 18 h 39"/>
                  <a:gd name="T48" fmla="*/ 33 w 34"/>
                  <a:gd name="T49" fmla="*/ 18 h 39"/>
                  <a:gd name="T50" fmla="*/ 34 w 34"/>
                  <a:gd name="T51" fmla="*/ 21 h 39"/>
                  <a:gd name="T52" fmla="*/ 34 w 34"/>
                  <a:gd name="T53" fmla="*/ 23 h 39"/>
                  <a:gd name="T54" fmla="*/ 25 w 34"/>
                  <a:gd name="T55" fmla="*/ 30 h 39"/>
                  <a:gd name="T56" fmla="*/ 22 w 34"/>
                  <a:gd name="T57" fmla="*/ 29 h 39"/>
                  <a:gd name="T58" fmla="*/ 22 w 34"/>
                  <a:gd name="T59" fmla="*/ 30 h 39"/>
                  <a:gd name="T60" fmla="*/ 22 w 34"/>
                  <a:gd name="T61" fmla="*/ 32 h 39"/>
                  <a:gd name="T62" fmla="*/ 20 w 34"/>
                  <a:gd name="T63" fmla="*/ 32 h 39"/>
                  <a:gd name="T64" fmla="*/ 20 w 34"/>
                  <a:gd name="T65" fmla="*/ 32 h 39"/>
                  <a:gd name="T66" fmla="*/ 18 w 34"/>
                  <a:gd name="T67" fmla="*/ 32 h 39"/>
                  <a:gd name="T68" fmla="*/ 18 w 34"/>
                  <a:gd name="T69" fmla="*/ 34 h 39"/>
                  <a:gd name="T70" fmla="*/ 17 w 34"/>
                  <a:gd name="T71" fmla="*/ 36 h 39"/>
                  <a:gd name="T72" fmla="*/ 17 w 34"/>
                  <a:gd name="T73" fmla="*/ 38 h 39"/>
                  <a:gd name="T74" fmla="*/ 18 w 34"/>
                  <a:gd name="T75" fmla="*/ 39 h 39"/>
                  <a:gd name="T76" fmla="*/ 15 w 34"/>
                  <a:gd name="T77" fmla="*/ 39 h 39"/>
                  <a:gd name="T78" fmla="*/ 8 w 34"/>
                  <a:gd name="T79" fmla="*/ 32 h 39"/>
                  <a:gd name="T80" fmla="*/ 8 w 34"/>
                  <a:gd name="T81" fmla="*/ 30 h 39"/>
                  <a:gd name="T82" fmla="*/ 9 w 34"/>
                  <a:gd name="T83" fmla="*/ 30 h 39"/>
                  <a:gd name="T84" fmla="*/ 13 w 34"/>
                  <a:gd name="T85" fmla="*/ 32 h 39"/>
                  <a:gd name="T86" fmla="*/ 15 w 34"/>
                  <a:gd name="T87" fmla="*/ 30 h 39"/>
                  <a:gd name="T88" fmla="*/ 15 w 34"/>
                  <a:gd name="T89" fmla="*/ 29 h 39"/>
                  <a:gd name="T90" fmla="*/ 13 w 34"/>
                  <a:gd name="T91" fmla="*/ 29 h 39"/>
                  <a:gd name="T92" fmla="*/ 11 w 34"/>
                  <a:gd name="T93" fmla="*/ 25 h 39"/>
                  <a:gd name="T94" fmla="*/ 11 w 34"/>
                  <a:gd name="T95" fmla="*/ 27 h 39"/>
                  <a:gd name="T96" fmla="*/ 9 w 34"/>
                  <a:gd name="T97" fmla="*/ 27 h 39"/>
                  <a:gd name="T98" fmla="*/ 6 w 34"/>
                  <a:gd name="T99" fmla="*/ 27 h 39"/>
                  <a:gd name="T100" fmla="*/ 6 w 34"/>
                  <a:gd name="T101" fmla="*/ 25 h 39"/>
                  <a:gd name="T102" fmla="*/ 6 w 34"/>
                  <a:gd name="T103" fmla="*/ 23 h 39"/>
                  <a:gd name="T104" fmla="*/ 2 w 34"/>
                  <a:gd name="T105" fmla="*/ 23 h 39"/>
                  <a:gd name="T106" fmla="*/ 2 w 34"/>
                  <a:gd name="T107" fmla="*/ 21 h 39"/>
                  <a:gd name="T108" fmla="*/ 2 w 34"/>
                  <a:gd name="T109" fmla="*/ 20 h 39"/>
                  <a:gd name="T110" fmla="*/ 2 w 34"/>
                  <a:gd name="T111" fmla="*/ 20 h 39"/>
                  <a:gd name="T112" fmla="*/ 0 w 34"/>
                  <a:gd name="T113" fmla="*/ 20 h 39"/>
                  <a:gd name="T114" fmla="*/ 0 w 34"/>
                  <a:gd name="T115"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 h="39">
                    <a:moveTo>
                      <a:pt x="0" y="5"/>
                    </a:moveTo>
                    <a:lnTo>
                      <a:pt x="0" y="5"/>
                    </a:lnTo>
                    <a:lnTo>
                      <a:pt x="2" y="4"/>
                    </a:lnTo>
                    <a:lnTo>
                      <a:pt x="2" y="4"/>
                    </a:lnTo>
                    <a:lnTo>
                      <a:pt x="4" y="5"/>
                    </a:lnTo>
                    <a:lnTo>
                      <a:pt x="6" y="5"/>
                    </a:lnTo>
                    <a:lnTo>
                      <a:pt x="6" y="4"/>
                    </a:lnTo>
                    <a:lnTo>
                      <a:pt x="8" y="4"/>
                    </a:lnTo>
                    <a:lnTo>
                      <a:pt x="9" y="4"/>
                    </a:lnTo>
                    <a:lnTo>
                      <a:pt x="9" y="9"/>
                    </a:lnTo>
                    <a:lnTo>
                      <a:pt x="11" y="7"/>
                    </a:lnTo>
                    <a:lnTo>
                      <a:pt x="13" y="4"/>
                    </a:lnTo>
                    <a:lnTo>
                      <a:pt x="13" y="2"/>
                    </a:lnTo>
                    <a:lnTo>
                      <a:pt x="11" y="0"/>
                    </a:lnTo>
                    <a:lnTo>
                      <a:pt x="13" y="0"/>
                    </a:lnTo>
                    <a:lnTo>
                      <a:pt x="15" y="2"/>
                    </a:lnTo>
                    <a:lnTo>
                      <a:pt x="17" y="9"/>
                    </a:lnTo>
                    <a:lnTo>
                      <a:pt x="13" y="13"/>
                    </a:lnTo>
                    <a:lnTo>
                      <a:pt x="11" y="16"/>
                    </a:lnTo>
                    <a:lnTo>
                      <a:pt x="13" y="18"/>
                    </a:lnTo>
                    <a:lnTo>
                      <a:pt x="15" y="20"/>
                    </a:lnTo>
                    <a:lnTo>
                      <a:pt x="15" y="21"/>
                    </a:lnTo>
                    <a:lnTo>
                      <a:pt x="18" y="23"/>
                    </a:lnTo>
                    <a:lnTo>
                      <a:pt x="24" y="18"/>
                    </a:lnTo>
                    <a:lnTo>
                      <a:pt x="33" y="18"/>
                    </a:lnTo>
                    <a:lnTo>
                      <a:pt x="34" y="21"/>
                    </a:lnTo>
                    <a:lnTo>
                      <a:pt x="34" y="23"/>
                    </a:lnTo>
                    <a:lnTo>
                      <a:pt x="25" y="30"/>
                    </a:lnTo>
                    <a:lnTo>
                      <a:pt x="22" y="29"/>
                    </a:lnTo>
                    <a:lnTo>
                      <a:pt x="22" y="30"/>
                    </a:lnTo>
                    <a:lnTo>
                      <a:pt x="22" y="32"/>
                    </a:lnTo>
                    <a:lnTo>
                      <a:pt x="20" y="32"/>
                    </a:lnTo>
                    <a:lnTo>
                      <a:pt x="20" y="32"/>
                    </a:lnTo>
                    <a:lnTo>
                      <a:pt x="18" y="32"/>
                    </a:lnTo>
                    <a:lnTo>
                      <a:pt x="18" y="34"/>
                    </a:lnTo>
                    <a:lnTo>
                      <a:pt x="17" y="36"/>
                    </a:lnTo>
                    <a:lnTo>
                      <a:pt x="17" y="38"/>
                    </a:lnTo>
                    <a:lnTo>
                      <a:pt x="18" y="39"/>
                    </a:lnTo>
                    <a:lnTo>
                      <a:pt x="15" y="39"/>
                    </a:lnTo>
                    <a:lnTo>
                      <a:pt x="8" y="32"/>
                    </a:lnTo>
                    <a:lnTo>
                      <a:pt x="8" y="30"/>
                    </a:lnTo>
                    <a:lnTo>
                      <a:pt x="9" y="30"/>
                    </a:lnTo>
                    <a:lnTo>
                      <a:pt x="13" y="32"/>
                    </a:lnTo>
                    <a:lnTo>
                      <a:pt x="15" y="30"/>
                    </a:lnTo>
                    <a:lnTo>
                      <a:pt x="15" y="29"/>
                    </a:lnTo>
                    <a:lnTo>
                      <a:pt x="13" y="29"/>
                    </a:lnTo>
                    <a:lnTo>
                      <a:pt x="11" y="25"/>
                    </a:lnTo>
                    <a:lnTo>
                      <a:pt x="11" y="27"/>
                    </a:lnTo>
                    <a:lnTo>
                      <a:pt x="9" y="27"/>
                    </a:lnTo>
                    <a:lnTo>
                      <a:pt x="6" y="27"/>
                    </a:lnTo>
                    <a:lnTo>
                      <a:pt x="6" y="25"/>
                    </a:lnTo>
                    <a:lnTo>
                      <a:pt x="6" y="23"/>
                    </a:lnTo>
                    <a:lnTo>
                      <a:pt x="2" y="23"/>
                    </a:lnTo>
                    <a:lnTo>
                      <a:pt x="2" y="21"/>
                    </a:lnTo>
                    <a:lnTo>
                      <a:pt x="2" y="20"/>
                    </a:lnTo>
                    <a:lnTo>
                      <a:pt x="2" y="20"/>
                    </a:lnTo>
                    <a:lnTo>
                      <a:pt x="0" y="20"/>
                    </a:lnTo>
                    <a:lnTo>
                      <a:pt x="0"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00" name="Freeform 3156"/>
              <p:cNvSpPr>
                <a:spLocks/>
              </p:cNvSpPr>
              <p:nvPr/>
            </p:nvSpPr>
            <p:spPr bwMode="auto">
              <a:xfrm>
                <a:off x="1519" y="3686"/>
                <a:ext cx="34" cy="39"/>
              </a:xfrm>
              <a:custGeom>
                <a:avLst/>
                <a:gdLst>
                  <a:gd name="T0" fmla="*/ 0 w 34"/>
                  <a:gd name="T1" fmla="*/ 5 h 39"/>
                  <a:gd name="T2" fmla="*/ 0 w 34"/>
                  <a:gd name="T3" fmla="*/ 5 h 39"/>
                  <a:gd name="T4" fmla="*/ 2 w 34"/>
                  <a:gd name="T5" fmla="*/ 4 h 39"/>
                  <a:gd name="T6" fmla="*/ 2 w 34"/>
                  <a:gd name="T7" fmla="*/ 4 h 39"/>
                  <a:gd name="T8" fmla="*/ 4 w 34"/>
                  <a:gd name="T9" fmla="*/ 5 h 39"/>
                  <a:gd name="T10" fmla="*/ 6 w 34"/>
                  <a:gd name="T11" fmla="*/ 5 h 39"/>
                  <a:gd name="T12" fmla="*/ 6 w 34"/>
                  <a:gd name="T13" fmla="*/ 4 h 39"/>
                  <a:gd name="T14" fmla="*/ 8 w 34"/>
                  <a:gd name="T15" fmla="*/ 4 h 39"/>
                  <a:gd name="T16" fmla="*/ 9 w 34"/>
                  <a:gd name="T17" fmla="*/ 4 h 39"/>
                  <a:gd name="T18" fmla="*/ 9 w 34"/>
                  <a:gd name="T19" fmla="*/ 9 h 39"/>
                  <a:gd name="T20" fmla="*/ 11 w 34"/>
                  <a:gd name="T21" fmla="*/ 7 h 39"/>
                  <a:gd name="T22" fmla="*/ 13 w 34"/>
                  <a:gd name="T23" fmla="*/ 4 h 39"/>
                  <a:gd name="T24" fmla="*/ 13 w 34"/>
                  <a:gd name="T25" fmla="*/ 2 h 39"/>
                  <a:gd name="T26" fmla="*/ 11 w 34"/>
                  <a:gd name="T27" fmla="*/ 0 h 39"/>
                  <a:gd name="T28" fmla="*/ 13 w 34"/>
                  <a:gd name="T29" fmla="*/ 0 h 39"/>
                  <a:gd name="T30" fmla="*/ 15 w 34"/>
                  <a:gd name="T31" fmla="*/ 2 h 39"/>
                  <a:gd name="T32" fmla="*/ 17 w 34"/>
                  <a:gd name="T33" fmla="*/ 9 h 39"/>
                  <a:gd name="T34" fmla="*/ 13 w 34"/>
                  <a:gd name="T35" fmla="*/ 13 h 39"/>
                  <a:gd name="T36" fmla="*/ 11 w 34"/>
                  <a:gd name="T37" fmla="*/ 16 h 39"/>
                  <a:gd name="T38" fmla="*/ 13 w 34"/>
                  <a:gd name="T39" fmla="*/ 18 h 39"/>
                  <a:gd name="T40" fmla="*/ 15 w 34"/>
                  <a:gd name="T41" fmla="*/ 20 h 39"/>
                  <a:gd name="T42" fmla="*/ 15 w 34"/>
                  <a:gd name="T43" fmla="*/ 21 h 39"/>
                  <a:gd name="T44" fmla="*/ 18 w 34"/>
                  <a:gd name="T45" fmla="*/ 23 h 39"/>
                  <a:gd name="T46" fmla="*/ 24 w 34"/>
                  <a:gd name="T47" fmla="*/ 18 h 39"/>
                  <a:gd name="T48" fmla="*/ 33 w 34"/>
                  <a:gd name="T49" fmla="*/ 18 h 39"/>
                  <a:gd name="T50" fmla="*/ 34 w 34"/>
                  <a:gd name="T51" fmla="*/ 21 h 39"/>
                  <a:gd name="T52" fmla="*/ 34 w 34"/>
                  <a:gd name="T53" fmla="*/ 23 h 39"/>
                  <a:gd name="T54" fmla="*/ 25 w 34"/>
                  <a:gd name="T55" fmla="*/ 30 h 39"/>
                  <a:gd name="T56" fmla="*/ 22 w 34"/>
                  <a:gd name="T57" fmla="*/ 29 h 39"/>
                  <a:gd name="T58" fmla="*/ 22 w 34"/>
                  <a:gd name="T59" fmla="*/ 30 h 39"/>
                  <a:gd name="T60" fmla="*/ 22 w 34"/>
                  <a:gd name="T61" fmla="*/ 32 h 39"/>
                  <a:gd name="T62" fmla="*/ 20 w 34"/>
                  <a:gd name="T63" fmla="*/ 32 h 39"/>
                  <a:gd name="T64" fmla="*/ 20 w 34"/>
                  <a:gd name="T65" fmla="*/ 32 h 39"/>
                  <a:gd name="T66" fmla="*/ 18 w 34"/>
                  <a:gd name="T67" fmla="*/ 32 h 39"/>
                  <a:gd name="T68" fmla="*/ 18 w 34"/>
                  <a:gd name="T69" fmla="*/ 34 h 39"/>
                  <a:gd name="T70" fmla="*/ 17 w 34"/>
                  <a:gd name="T71" fmla="*/ 36 h 39"/>
                  <a:gd name="T72" fmla="*/ 17 w 34"/>
                  <a:gd name="T73" fmla="*/ 38 h 39"/>
                  <a:gd name="T74" fmla="*/ 18 w 34"/>
                  <a:gd name="T75" fmla="*/ 39 h 39"/>
                  <a:gd name="T76" fmla="*/ 15 w 34"/>
                  <a:gd name="T77" fmla="*/ 39 h 39"/>
                  <a:gd name="T78" fmla="*/ 8 w 34"/>
                  <a:gd name="T79" fmla="*/ 32 h 39"/>
                  <a:gd name="T80" fmla="*/ 8 w 34"/>
                  <a:gd name="T81" fmla="*/ 30 h 39"/>
                  <a:gd name="T82" fmla="*/ 9 w 34"/>
                  <a:gd name="T83" fmla="*/ 30 h 39"/>
                  <a:gd name="T84" fmla="*/ 13 w 34"/>
                  <a:gd name="T85" fmla="*/ 32 h 39"/>
                  <a:gd name="T86" fmla="*/ 15 w 34"/>
                  <a:gd name="T87" fmla="*/ 30 h 39"/>
                  <a:gd name="T88" fmla="*/ 15 w 34"/>
                  <a:gd name="T89" fmla="*/ 29 h 39"/>
                  <a:gd name="T90" fmla="*/ 13 w 34"/>
                  <a:gd name="T91" fmla="*/ 29 h 39"/>
                  <a:gd name="T92" fmla="*/ 11 w 34"/>
                  <a:gd name="T93" fmla="*/ 25 h 39"/>
                  <a:gd name="T94" fmla="*/ 11 w 34"/>
                  <a:gd name="T95" fmla="*/ 27 h 39"/>
                  <a:gd name="T96" fmla="*/ 9 w 34"/>
                  <a:gd name="T97" fmla="*/ 27 h 39"/>
                  <a:gd name="T98" fmla="*/ 6 w 34"/>
                  <a:gd name="T99" fmla="*/ 27 h 39"/>
                  <a:gd name="T100" fmla="*/ 6 w 34"/>
                  <a:gd name="T101" fmla="*/ 25 h 39"/>
                  <a:gd name="T102" fmla="*/ 6 w 34"/>
                  <a:gd name="T103" fmla="*/ 23 h 39"/>
                  <a:gd name="T104" fmla="*/ 2 w 34"/>
                  <a:gd name="T105" fmla="*/ 23 h 39"/>
                  <a:gd name="T106" fmla="*/ 2 w 34"/>
                  <a:gd name="T107" fmla="*/ 21 h 39"/>
                  <a:gd name="T108" fmla="*/ 2 w 34"/>
                  <a:gd name="T109" fmla="*/ 20 h 39"/>
                  <a:gd name="T110" fmla="*/ 2 w 34"/>
                  <a:gd name="T111" fmla="*/ 20 h 39"/>
                  <a:gd name="T112" fmla="*/ 0 w 34"/>
                  <a:gd name="T113" fmla="*/ 20 h 39"/>
                  <a:gd name="T114" fmla="*/ 0 w 34"/>
                  <a:gd name="T115"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 h="39">
                    <a:moveTo>
                      <a:pt x="0" y="5"/>
                    </a:moveTo>
                    <a:lnTo>
                      <a:pt x="0" y="5"/>
                    </a:lnTo>
                    <a:lnTo>
                      <a:pt x="2" y="4"/>
                    </a:lnTo>
                    <a:lnTo>
                      <a:pt x="2" y="4"/>
                    </a:lnTo>
                    <a:lnTo>
                      <a:pt x="4" y="5"/>
                    </a:lnTo>
                    <a:lnTo>
                      <a:pt x="6" y="5"/>
                    </a:lnTo>
                    <a:lnTo>
                      <a:pt x="6" y="4"/>
                    </a:lnTo>
                    <a:lnTo>
                      <a:pt x="8" y="4"/>
                    </a:lnTo>
                    <a:lnTo>
                      <a:pt x="9" y="4"/>
                    </a:lnTo>
                    <a:lnTo>
                      <a:pt x="9" y="9"/>
                    </a:lnTo>
                    <a:lnTo>
                      <a:pt x="11" y="7"/>
                    </a:lnTo>
                    <a:lnTo>
                      <a:pt x="13" y="4"/>
                    </a:lnTo>
                    <a:lnTo>
                      <a:pt x="13" y="2"/>
                    </a:lnTo>
                    <a:lnTo>
                      <a:pt x="11" y="0"/>
                    </a:lnTo>
                    <a:lnTo>
                      <a:pt x="13" y="0"/>
                    </a:lnTo>
                    <a:lnTo>
                      <a:pt x="15" y="2"/>
                    </a:lnTo>
                    <a:lnTo>
                      <a:pt x="17" y="9"/>
                    </a:lnTo>
                    <a:lnTo>
                      <a:pt x="13" y="13"/>
                    </a:lnTo>
                    <a:lnTo>
                      <a:pt x="11" y="16"/>
                    </a:lnTo>
                    <a:lnTo>
                      <a:pt x="13" y="18"/>
                    </a:lnTo>
                    <a:lnTo>
                      <a:pt x="15" y="20"/>
                    </a:lnTo>
                    <a:lnTo>
                      <a:pt x="15" y="21"/>
                    </a:lnTo>
                    <a:lnTo>
                      <a:pt x="18" y="23"/>
                    </a:lnTo>
                    <a:lnTo>
                      <a:pt x="24" y="18"/>
                    </a:lnTo>
                    <a:lnTo>
                      <a:pt x="33" y="18"/>
                    </a:lnTo>
                    <a:lnTo>
                      <a:pt x="34" y="21"/>
                    </a:lnTo>
                    <a:lnTo>
                      <a:pt x="34" y="23"/>
                    </a:lnTo>
                    <a:lnTo>
                      <a:pt x="25" y="30"/>
                    </a:lnTo>
                    <a:lnTo>
                      <a:pt x="22" y="29"/>
                    </a:lnTo>
                    <a:lnTo>
                      <a:pt x="22" y="30"/>
                    </a:lnTo>
                    <a:lnTo>
                      <a:pt x="22" y="32"/>
                    </a:lnTo>
                    <a:lnTo>
                      <a:pt x="20" y="32"/>
                    </a:lnTo>
                    <a:lnTo>
                      <a:pt x="20" y="32"/>
                    </a:lnTo>
                    <a:lnTo>
                      <a:pt x="18" y="32"/>
                    </a:lnTo>
                    <a:lnTo>
                      <a:pt x="18" y="34"/>
                    </a:lnTo>
                    <a:lnTo>
                      <a:pt x="17" y="36"/>
                    </a:lnTo>
                    <a:lnTo>
                      <a:pt x="17" y="38"/>
                    </a:lnTo>
                    <a:lnTo>
                      <a:pt x="18" y="39"/>
                    </a:lnTo>
                    <a:lnTo>
                      <a:pt x="15" y="39"/>
                    </a:lnTo>
                    <a:lnTo>
                      <a:pt x="8" y="32"/>
                    </a:lnTo>
                    <a:lnTo>
                      <a:pt x="8" y="30"/>
                    </a:lnTo>
                    <a:lnTo>
                      <a:pt x="9" y="30"/>
                    </a:lnTo>
                    <a:lnTo>
                      <a:pt x="13" y="32"/>
                    </a:lnTo>
                    <a:lnTo>
                      <a:pt x="15" y="30"/>
                    </a:lnTo>
                    <a:lnTo>
                      <a:pt x="15" y="29"/>
                    </a:lnTo>
                    <a:lnTo>
                      <a:pt x="13" y="29"/>
                    </a:lnTo>
                    <a:lnTo>
                      <a:pt x="11" y="25"/>
                    </a:lnTo>
                    <a:lnTo>
                      <a:pt x="11" y="27"/>
                    </a:lnTo>
                    <a:lnTo>
                      <a:pt x="9" y="27"/>
                    </a:lnTo>
                    <a:lnTo>
                      <a:pt x="6" y="27"/>
                    </a:lnTo>
                    <a:lnTo>
                      <a:pt x="6" y="25"/>
                    </a:lnTo>
                    <a:lnTo>
                      <a:pt x="6" y="23"/>
                    </a:lnTo>
                    <a:lnTo>
                      <a:pt x="2" y="23"/>
                    </a:lnTo>
                    <a:lnTo>
                      <a:pt x="2" y="21"/>
                    </a:lnTo>
                    <a:lnTo>
                      <a:pt x="2" y="20"/>
                    </a:lnTo>
                    <a:lnTo>
                      <a:pt x="2" y="20"/>
                    </a:lnTo>
                    <a:lnTo>
                      <a:pt x="0" y="20"/>
                    </a:lnTo>
                    <a:lnTo>
                      <a:pt x="0"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01" name="Freeform 3157"/>
              <p:cNvSpPr>
                <a:spLocks/>
              </p:cNvSpPr>
              <p:nvPr/>
            </p:nvSpPr>
            <p:spPr bwMode="auto">
              <a:xfrm>
                <a:off x="1514" y="3697"/>
                <a:ext cx="4" cy="7"/>
              </a:xfrm>
              <a:custGeom>
                <a:avLst/>
                <a:gdLst>
                  <a:gd name="T0" fmla="*/ 4 w 4"/>
                  <a:gd name="T1" fmla="*/ 0 h 7"/>
                  <a:gd name="T2" fmla="*/ 4 w 4"/>
                  <a:gd name="T3" fmla="*/ 2 h 7"/>
                  <a:gd name="T4" fmla="*/ 4 w 4"/>
                  <a:gd name="T5" fmla="*/ 5 h 7"/>
                  <a:gd name="T6" fmla="*/ 2 w 4"/>
                  <a:gd name="T7" fmla="*/ 7 h 7"/>
                  <a:gd name="T8" fmla="*/ 0 w 4"/>
                  <a:gd name="T9" fmla="*/ 7 h 7"/>
                  <a:gd name="T10" fmla="*/ 0 w 4"/>
                  <a:gd name="T11" fmla="*/ 7 h 7"/>
                  <a:gd name="T12" fmla="*/ 2 w 4"/>
                  <a:gd name="T13" fmla="*/ 5 h 7"/>
                  <a:gd name="T14" fmla="*/ 2 w 4"/>
                  <a:gd name="T15" fmla="*/ 3 h 7"/>
                  <a:gd name="T16" fmla="*/ 0 w 4"/>
                  <a:gd name="T17" fmla="*/ 5 h 7"/>
                  <a:gd name="T18" fmla="*/ 0 w 4"/>
                  <a:gd name="T19" fmla="*/ 5 h 7"/>
                  <a:gd name="T20" fmla="*/ 0 w 4"/>
                  <a:gd name="T21" fmla="*/ 3 h 7"/>
                  <a:gd name="T22" fmla="*/ 0 w 4"/>
                  <a:gd name="T23" fmla="*/ 2 h 7"/>
                  <a:gd name="T24" fmla="*/ 4 w 4"/>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4" y="0"/>
                    </a:moveTo>
                    <a:lnTo>
                      <a:pt x="4" y="2"/>
                    </a:lnTo>
                    <a:lnTo>
                      <a:pt x="4" y="5"/>
                    </a:lnTo>
                    <a:lnTo>
                      <a:pt x="2" y="7"/>
                    </a:lnTo>
                    <a:lnTo>
                      <a:pt x="0" y="7"/>
                    </a:lnTo>
                    <a:lnTo>
                      <a:pt x="0" y="7"/>
                    </a:lnTo>
                    <a:lnTo>
                      <a:pt x="2" y="5"/>
                    </a:lnTo>
                    <a:lnTo>
                      <a:pt x="2" y="3"/>
                    </a:lnTo>
                    <a:lnTo>
                      <a:pt x="0" y="5"/>
                    </a:lnTo>
                    <a:lnTo>
                      <a:pt x="0" y="5"/>
                    </a:lnTo>
                    <a:lnTo>
                      <a:pt x="0" y="3"/>
                    </a:lnTo>
                    <a:lnTo>
                      <a:pt x="0" y="2"/>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02" name="Freeform 3158"/>
              <p:cNvSpPr>
                <a:spLocks/>
              </p:cNvSpPr>
              <p:nvPr/>
            </p:nvSpPr>
            <p:spPr bwMode="auto">
              <a:xfrm>
                <a:off x="1514" y="3697"/>
                <a:ext cx="4" cy="7"/>
              </a:xfrm>
              <a:custGeom>
                <a:avLst/>
                <a:gdLst>
                  <a:gd name="T0" fmla="*/ 4 w 4"/>
                  <a:gd name="T1" fmla="*/ 0 h 7"/>
                  <a:gd name="T2" fmla="*/ 4 w 4"/>
                  <a:gd name="T3" fmla="*/ 2 h 7"/>
                  <a:gd name="T4" fmla="*/ 4 w 4"/>
                  <a:gd name="T5" fmla="*/ 5 h 7"/>
                  <a:gd name="T6" fmla="*/ 2 w 4"/>
                  <a:gd name="T7" fmla="*/ 7 h 7"/>
                  <a:gd name="T8" fmla="*/ 0 w 4"/>
                  <a:gd name="T9" fmla="*/ 7 h 7"/>
                  <a:gd name="T10" fmla="*/ 0 w 4"/>
                  <a:gd name="T11" fmla="*/ 7 h 7"/>
                  <a:gd name="T12" fmla="*/ 2 w 4"/>
                  <a:gd name="T13" fmla="*/ 5 h 7"/>
                  <a:gd name="T14" fmla="*/ 2 w 4"/>
                  <a:gd name="T15" fmla="*/ 3 h 7"/>
                  <a:gd name="T16" fmla="*/ 0 w 4"/>
                  <a:gd name="T17" fmla="*/ 5 h 7"/>
                  <a:gd name="T18" fmla="*/ 0 w 4"/>
                  <a:gd name="T19" fmla="*/ 5 h 7"/>
                  <a:gd name="T20" fmla="*/ 0 w 4"/>
                  <a:gd name="T21" fmla="*/ 3 h 7"/>
                  <a:gd name="T22" fmla="*/ 0 w 4"/>
                  <a:gd name="T23" fmla="*/ 2 h 7"/>
                  <a:gd name="T24" fmla="*/ 4 w 4"/>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4" y="0"/>
                    </a:moveTo>
                    <a:lnTo>
                      <a:pt x="4" y="2"/>
                    </a:lnTo>
                    <a:lnTo>
                      <a:pt x="4" y="5"/>
                    </a:lnTo>
                    <a:lnTo>
                      <a:pt x="2" y="7"/>
                    </a:lnTo>
                    <a:lnTo>
                      <a:pt x="0" y="7"/>
                    </a:lnTo>
                    <a:lnTo>
                      <a:pt x="0" y="7"/>
                    </a:lnTo>
                    <a:lnTo>
                      <a:pt x="2" y="5"/>
                    </a:lnTo>
                    <a:lnTo>
                      <a:pt x="2" y="3"/>
                    </a:lnTo>
                    <a:lnTo>
                      <a:pt x="0" y="5"/>
                    </a:lnTo>
                    <a:lnTo>
                      <a:pt x="0" y="5"/>
                    </a:lnTo>
                    <a:lnTo>
                      <a:pt x="0" y="3"/>
                    </a:lnTo>
                    <a:lnTo>
                      <a:pt x="0" y="2"/>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03" name="Freeform 3159"/>
              <p:cNvSpPr>
                <a:spLocks/>
              </p:cNvSpPr>
              <p:nvPr/>
            </p:nvSpPr>
            <p:spPr bwMode="auto">
              <a:xfrm>
                <a:off x="1502" y="3706"/>
                <a:ext cx="25" cy="16"/>
              </a:xfrm>
              <a:custGeom>
                <a:avLst/>
                <a:gdLst>
                  <a:gd name="T0" fmla="*/ 0 w 25"/>
                  <a:gd name="T1" fmla="*/ 0 h 16"/>
                  <a:gd name="T2" fmla="*/ 1 w 25"/>
                  <a:gd name="T3" fmla="*/ 0 h 16"/>
                  <a:gd name="T4" fmla="*/ 3 w 25"/>
                  <a:gd name="T5" fmla="*/ 3 h 16"/>
                  <a:gd name="T6" fmla="*/ 17 w 25"/>
                  <a:gd name="T7" fmla="*/ 10 h 16"/>
                  <a:gd name="T8" fmla="*/ 19 w 25"/>
                  <a:gd name="T9" fmla="*/ 12 h 16"/>
                  <a:gd name="T10" fmla="*/ 19 w 25"/>
                  <a:gd name="T11" fmla="*/ 12 h 16"/>
                  <a:gd name="T12" fmla="*/ 19 w 25"/>
                  <a:gd name="T13" fmla="*/ 12 h 16"/>
                  <a:gd name="T14" fmla="*/ 21 w 25"/>
                  <a:gd name="T15" fmla="*/ 12 h 16"/>
                  <a:gd name="T16" fmla="*/ 21 w 25"/>
                  <a:gd name="T17" fmla="*/ 14 h 16"/>
                  <a:gd name="T18" fmla="*/ 25 w 25"/>
                  <a:gd name="T19" fmla="*/ 16 h 16"/>
                  <a:gd name="T20" fmla="*/ 25 w 25"/>
                  <a:gd name="T21" fmla="*/ 16 h 16"/>
                  <a:gd name="T22" fmla="*/ 21 w 25"/>
                  <a:gd name="T23" fmla="*/ 16 h 16"/>
                  <a:gd name="T24" fmla="*/ 19 w 25"/>
                  <a:gd name="T25" fmla="*/ 16 h 16"/>
                  <a:gd name="T26" fmla="*/ 17 w 25"/>
                  <a:gd name="T27" fmla="*/ 14 h 16"/>
                  <a:gd name="T28" fmla="*/ 14 w 25"/>
                  <a:gd name="T29" fmla="*/ 9 h 16"/>
                  <a:gd name="T30" fmla="*/ 14 w 25"/>
                  <a:gd name="T31" fmla="*/ 10 h 16"/>
                  <a:gd name="T32" fmla="*/ 14 w 25"/>
                  <a:gd name="T33" fmla="*/ 12 h 16"/>
                  <a:gd name="T34" fmla="*/ 12 w 25"/>
                  <a:gd name="T35" fmla="*/ 12 h 16"/>
                  <a:gd name="T36" fmla="*/ 3 w 25"/>
                  <a:gd name="T37" fmla="*/ 7 h 16"/>
                  <a:gd name="T38" fmla="*/ 0 w 25"/>
                  <a:gd name="T3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16">
                    <a:moveTo>
                      <a:pt x="0" y="0"/>
                    </a:moveTo>
                    <a:lnTo>
                      <a:pt x="1" y="0"/>
                    </a:lnTo>
                    <a:lnTo>
                      <a:pt x="3" y="3"/>
                    </a:lnTo>
                    <a:lnTo>
                      <a:pt x="17" y="10"/>
                    </a:lnTo>
                    <a:lnTo>
                      <a:pt x="19" y="12"/>
                    </a:lnTo>
                    <a:lnTo>
                      <a:pt x="19" y="12"/>
                    </a:lnTo>
                    <a:lnTo>
                      <a:pt x="19" y="12"/>
                    </a:lnTo>
                    <a:lnTo>
                      <a:pt x="21" y="12"/>
                    </a:lnTo>
                    <a:lnTo>
                      <a:pt x="21" y="14"/>
                    </a:lnTo>
                    <a:lnTo>
                      <a:pt x="25" y="16"/>
                    </a:lnTo>
                    <a:lnTo>
                      <a:pt x="25" y="16"/>
                    </a:lnTo>
                    <a:lnTo>
                      <a:pt x="21" y="16"/>
                    </a:lnTo>
                    <a:lnTo>
                      <a:pt x="19" y="16"/>
                    </a:lnTo>
                    <a:lnTo>
                      <a:pt x="17" y="14"/>
                    </a:lnTo>
                    <a:lnTo>
                      <a:pt x="14" y="9"/>
                    </a:lnTo>
                    <a:lnTo>
                      <a:pt x="14" y="10"/>
                    </a:lnTo>
                    <a:lnTo>
                      <a:pt x="14" y="12"/>
                    </a:lnTo>
                    <a:lnTo>
                      <a:pt x="12" y="12"/>
                    </a:lnTo>
                    <a:lnTo>
                      <a:pt x="3" y="7"/>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04" name="Freeform 3160"/>
              <p:cNvSpPr>
                <a:spLocks/>
              </p:cNvSpPr>
              <p:nvPr/>
            </p:nvSpPr>
            <p:spPr bwMode="auto">
              <a:xfrm>
                <a:off x="1502" y="3706"/>
                <a:ext cx="25" cy="16"/>
              </a:xfrm>
              <a:custGeom>
                <a:avLst/>
                <a:gdLst>
                  <a:gd name="T0" fmla="*/ 0 w 25"/>
                  <a:gd name="T1" fmla="*/ 0 h 16"/>
                  <a:gd name="T2" fmla="*/ 1 w 25"/>
                  <a:gd name="T3" fmla="*/ 0 h 16"/>
                  <a:gd name="T4" fmla="*/ 3 w 25"/>
                  <a:gd name="T5" fmla="*/ 3 h 16"/>
                  <a:gd name="T6" fmla="*/ 17 w 25"/>
                  <a:gd name="T7" fmla="*/ 10 h 16"/>
                  <a:gd name="T8" fmla="*/ 19 w 25"/>
                  <a:gd name="T9" fmla="*/ 12 h 16"/>
                  <a:gd name="T10" fmla="*/ 19 w 25"/>
                  <a:gd name="T11" fmla="*/ 12 h 16"/>
                  <a:gd name="T12" fmla="*/ 19 w 25"/>
                  <a:gd name="T13" fmla="*/ 12 h 16"/>
                  <a:gd name="T14" fmla="*/ 21 w 25"/>
                  <a:gd name="T15" fmla="*/ 12 h 16"/>
                  <a:gd name="T16" fmla="*/ 21 w 25"/>
                  <a:gd name="T17" fmla="*/ 14 h 16"/>
                  <a:gd name="T18" fmla="*/ 25 w 25"/>
                  <a:gd name="T19" fmla="*/ 16 h 16"/>
                  <a:gd name="T20" fmla="*/ 25 w 25"/>
                  <a:gd name="T21" fmla="*/ 16 h 16"/>
                  <a:gd name="T22" fmla="*/ 21 w 25"/>
                  <a:gd name="T23" fmla="*/ 16 h 16"/>
                  <a:gd name="T24" fmla="*/ 19 w 25"/>
                  <a:gd name="T25" fmla="*/ 16 h 16"/>
                  <a:gd name="T26" fmla="*/ 17 w 25"/>
                  <a:gd name="T27" fmla="*/ 14 h 16"/>
                  <a:gd name="T28" fmla="*/ 14 w 25"/>
                  <a:gd name="T29" fmla="*/ 9 h 16"/>
                  <a:gd name="T30" fmla="*/ 14 w 25"/>
                  <a:gd name="T31" fmla="*/ 10 h 16"/>
                  <a:gd name="T32" fmla="*/ 14 w 25"/>
                  <a:gd name="T33" fmla="*/ 12 h 16"/>
                  <a:gd name="T34" fmla="*/ 12 w 25"/>
                  <a:gd name="T35" fmla="*/ 12 h 16"/>
                  <a:gd name="T36" fmla="*/ 3 w 25"/>
                  <a:gd name="T37" fmla="*/ 7 h 16"/>
                  <a:gd name="T38" fmla="*/ 0 w 25"/>
                  <a:gd name="T3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 h="16">
                    <a:moveTo>
                      <a:pt x="0" y="0"/>
                    </a:moveTo>
                    <a:lnTo>
                      <a:pt x="1" y="0"/>
                    </a:lnTo>
                    <a:lnTo>
                      <a:pt x="3" y="3"/>
                    </a:lnTo>
                    <a:lnTo>
                      <a:pt x="17" y="10"/>
                    </a:lnTo>
                    <a:lnTo>
                      <a:pt x="19" y="12"/>
                    </a:lnTo>
                    <a:lnTo>
                      <a:pt x="19" y="12"/>
                    </a:lnTo>
                    <a:lnTo>
                      <a:pt x="19" y="12"/>
                    </a:lnTo>
                    <a:lnTo>
                      <a:pt x="21" y="12"/>
                    </a:lnTo>
                    <a:lnTo>
                      <a:pt x="21" y="14"/>
                    </a:lnTo>
                    <a:lnTo>
                      <a:pt x="25" y="16"/>
                    </a:lnTo>
                    <a:lnTo>
                      <a:pt x="25" y="16"/>
                    </a:lnTo>
                    <a:lnTo>
                      <a:pt x="21" y="16"/>
                    </a:lnTo>
                    <a:lnTo>
                      <a:pt x="19" y="16"/>
                    </a:lnTo>
                    <a:lnTo>
                      <a:pt x="17" y="14"/>
                    </a:lnTo>
                    <a:lnTo>
                      <a:pt x="14" y="9"/>
                    </a:lnTo>
                    <a:lnTo>
                      <a:pt x="14" y="10"/>
                    </a:lnTo>
                    <a:lnTo>
                      <a:pt x="14" y="12"/>
                    </a:lnTo>
                    <a:lnTo>
                      <a:pt x="12" y="12"/>
                    </a:lnTo>
                    <a:lnTo>
                      <a:pt x="3" y="7"/>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05" name="Freeform 3161"/>
              <p:cNvSpPr>
                <a:spLocks/>
              </p:cNvSpPr>
              <p:nvPr/>
            </p:nvSpPr>
            <p:spPr bwMode="auto">
              <a:xfrm>
                <a:off x="1502" y="3679"/>
                <a:ext cx="1" cy="11"/>
              </a:xfrm>
              <a:custGeom>
                <a:avLst/>
                <a:gdLst>
                  <a:gd name="T0" fmla="*/ 1 w 1"/>
                  <a:gd name="T1" fmla="*/ 0 h 11"/>
                  <a:gd name="T2" fmla="*/ 1 w 1"/>
                  <a:gd name="T3" fmla="*/ 2 h 11"/>
                  <a:gd name="T4" fmla="*/ 1 w 1"/>
                  <a:gd name="T5" fmla="*/ 7 h 11"/>
                  <a:gd name="T6" fmla="*/ 1 w 1"/>
                  <a:gd name="T7" fmla="*/ 9 h 11"/>
                  <a:gd name="T8" fmla="*/ 0 w 1"/>
                  <a:gd name="T9" fmla="*/ 11 h 11"/>
                  <a:gd name="T10" fmla="*/ 0 w 1"/>
                  <a:gd name="T11" fmla="*/ 9 h 11"/>
                  <a:gd name="T12" fmla="*/ 0 w 1"/>
                  <a:gd name="T13" fmla="*/ 5 h 11"/>
                  <a:gd name="T14" fmla="*/ 0 w 1"/>
                  <a:gd name="T15" fmla="*/ 3 h 11"/>
                  <a:gd name="T16" fmla="*/ 0 w 1"/>
                  <a:gd name="T17" fmla="*/ 0 h 11"/>
                  <a:gd name="T18" fmla="*/ 0 w 1"/>
                  <a:gd name="T19" fmla="*/ 0 h 11"/>
                  <a:gd name="T20" fmla="*/ 1 w 1"/>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1">
                    <a:moveTo>
                      <a:pt x="1" y="0"/>
                    </a:moveTo>
                    <a:lnTo>
                      <a:pt x="1" y="2"/>
                    </a:lnTo>
                    <a:lnTo>
                      <a:pt x="1" y="7"/>
                    </a:lnTo>
                    <a:lnTo>
                      <a:pt x="1" y="9"/>
                    </a:lnTo>
                    <a:lnTo>
                      <a:pt x="0" y="11"/>
                    </a:lnTo>
                    <a:lnTo>
                      <a:pt x="0" y="9"/>
                    </a:lnTo>
                    <a:lnTo>
                      <a:pt x="0" y="5"/>
                    </a:lnTo>
                    <a:lnTo>
                      <a:pt x="0" y="3"/>
                    </a:lnTo>
                    <a:lnTo>
                      <a:pt x="0" y="0"/>
                    </a:lnTo>
                    <a:lnTo>
                      <a:pt x="0" y="0"/>
                    </a:lnTo>
                    <a:lnTo>
                      <a:pt x="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06" name="Freeform 3162"/>
              <p:cNvSpPr>
                <a:spLocks/>
              </p:cNvSpPr>
              <p:nvPr/>
            </p:nvSpPr>
            <p:spPr bwMode="auto">
              <a:xfrm>
                <a:off x="1502" y="3679"/>
                <a:ext cx="1" cy="11"/>
              </a:xfrm>
              <a:custGeom>
                <a:avLst/>
                <a:gdLst>
                  <a:gd name="T0" fmla="*/ 1 w 1"/>
                  <a:gd name="T1" fmla="*/ 0 h 11"/>
                  <a:gd name="T2" fmla="*/ 1 w 1"/>
                  <a:gd name="T3" fmla="*/ 2 h 11"/>
                  <a:gd name="T4" fmla="*/ 1 w 1"/>
                  <a:gd name="T5" fmla="*/ 7 h 11"/>
                  <a:gd name="T6" fmla="*/ 1 w 1"/>
                  <a:gd name="T7" fmla="*/ 9 h 11"/>
                  <a:gd name="T8" fmla="*/ 0 w 1"/>
                  <a:gd name="T9" fmla="*/ 11 h 11"/>
                  <a:gd name="T10" fmla="*/ 0 w 1"/>
                  <a:gd name="T11" fmla="*/ 9 h 11"/>
                  <a:gd name="T12" fmla="*/ 0 w 1"/>
                  <a:gd name="T13" fmla="*/ 5 h 11"/>
                  <a:gd name="T14" fmla="*/ 0 w 1"/>
                  <a:gd name="T15" fmla="*/ 3 h 11"/>
                  <a:gd name="T16" fmla="*/ 0 w 1"/>
                  <a:gd name="T17" fmla="*/ 0 h 11"/>
                  <a:gd name="T18" fmla="*/ 0 w 1"/>
                  <a:gd name="T19" fmla="*/ 0 h 11"/>
                  <a:gd name="T20" fmla="*/ 1 w 1"/>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 h="11">
                    <a:moveTo>
                      <a:pt x="1" y="0"/>
                    </a:moveTo>
                    <a:lnTo>
                      <a:pt x="1" y="2"/>
                    </a:lnTo>
                    <a:lnTo>
                      <a:pt x="1" y="7"/>
                    </a:lnTo>
                    <a:lnTo>
                      <a:pt x="1" y="9"/>
                    </a:lnTo>
                    <a:lnTo>
                      <a:pt x="0" y="11"/>
                    </a:lnTo>
                    <a:lnTo>
                      <a:pt x="0" y="9"/>
                    </a:lnTo>
                    <a:lnTo>
                      <a:pt x="0" y="5"/>
                    </a:lnTo>
                    <a:lnTo>
                      <a:pt x="0" y="3"/>
                    </a:lnTo>
                    <a:lnTo>
                      <a:pt x="0" y="0"/>
                    </a:lnTo>
                    <a:lnTo>
                      <a:pt x="0" y="0"/>
                    </a:lnTo>
                    <a:lnTo>
                      <a:pt x="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07" name="Freeform 3163"/>
              <p:cNvSpPr>
                <a:spLocks/>
              </p:cNvSpPr>
              <p:nvPr/>
            </p:nvSpPr>
            <p:spPr bwMode="auto">
              <a:xfrm>
                <a:off x="1518" y="3722"/>
                <a:ext cx="23" cy="21"/>
              </a:xfrm>
              <a:custGeom>
                <a:avLst/>
                <a:gdLst>
                  <a:gd name="T0" fmla="*/ 1 w 23"/>
                  <a:gd name="T1" fmla="*/ 0 h 21"/>
                  <a:gd name="T2" fmla="*/ 1 w 23"/>
                  <a:gd name="T3" fmla="*/ 0 h 21"/>
                  <a:gd name="T4" fmla="*/ 3 w 23"/>
                  <a:gd name="T5" fmla="*/ 2 h 21"/>
                  <a:gd name="T6" fmla="*/ 3 w 23"/>
                  <a:gd name="T7" fmla="*/ 2 h 21"/>
                  <a:gd name="T8" fmla="*/ 7 w 23"/>
                  <a:gd name="T9" fmla="*/ 3 h 21"/>
                  <a:gd name="T10" fmla="*/ 9 w 23"/>
                  <a:gd name="T11" fmla="*/ 3 h 21"/>
                  <a:gd name="T12" fmla="*/ 9 w 23"/>
                  <a:gd name="T13" fmla="*/ 3 h 21"/>
                  <a:gd name="T14" fmla="*/ 9 w 23"/>
                  <a:gd name="T15" fmla="*/ 2 h 21"/>
                  <a:gd name="T16" fmla="*/ 10 w 23"/>
                  <a:gd name="T17" fmla="*/ 2 h 21"/>
                  <a:gd name="T18" fmla="*/ 10 w 23"/>
                  <a:gd name="T19" fmla="*/ 2 h 21"/>
                  <a:gd name="T20" fmla="*/ 12 w 23"/>
                  <a:gd name="T21" fmla="*/ 3 h 21"/>
                  <a:gd name="T22" fmla="*/ 14 w 23"/>
                  <a:gd name="T23" fmla="*/ 3 h 21"/>
                  <a:gd name="T24" fmla="*/ 16 w 23"/>
                  <a:gd name="T25" fmla="*/ 7 h 21"/>
                  <a:gd name="T26" fmla="*/ 18 w 23"/>
                  <a:gd name="T27" fmla="*/ 5 h 21"/>
                  <a:gd name="T28" fmla="*/ 19 w 23"/>
                  <a:gd name="T29" fmla="*/ 7 h 21"/>
                  <a:gd name="T30" fmla="*/ 19 w 23"/>
                  <a:gd name="T31" fmla="*/ 7 h 21"/>
                  <a:gd name="T32" fmla="*/ 19 w 23"/>
                  <a:gd name="T33" fmla="*/ 9 h 21"/>
                  <a:gd name="T34" fmla="*/ 23 w 23"/>
                  <a:gd name="T35" fmla="*/ 10 h 21"/>
                  <a:gd name="T36" fmla="*/ 23 w 23"/>
                  <a:gd name="T37" fmla="*/ 10 h 21"/>
                  <a:gd name="T38" fmla="*/ 23 w 23"/>
                  <a:gd name="T39" fmla="*/ 12 h 21"/>
                  <a:gd name="T40" fmla="*/ 21 w 23"/>
                  <a:gd name="T41" fmla="*/ 12 h 21"/>
                  <a:gd name="T42" fmla="*/ 21 w 23"/>
                  <a:gd name="T43" fmla="*/ 18 h 21"/>
                  <a:gd name="T44" fmla="*/ 19 w 23"/>
                  <a:gd name="T45" fmla="*/ 19 h 21"/>
                  <a:gd name="T46" fmla="*/ 18 w 23"/>
                  <a:gd name="T47" fmla="*/ 19 h 21"/>
                  <a:gd name="T48" fmla="*/ 18 w 23"/>
                  <a:gd name="T49" fmla="*/ 18 h 21"/>
                  <a:gd name="T50" fmla="*/ 16 w 23"/>
                  <a:gd name="T51" fmla="*/ 18 h 21"/>
                  <a:gd name="T52" fmla="*/ 18 w 23"/>
                  <a:gd name="T53" fmla="*/ 21 h 21"/>
                  <a:gd name="T54" fmla="*/ 16 w 23"/>
                  <a:gd name="T55" fmla="*/ 21 h 21"/>
                  <a:gd name="T56" fmla="*/ 14 w 23"/>
                  <a:gd name="T57" fmla="*/ 19 h 21"/>
                  <a:gd name="T58" fmla="*/ 12 w 23"/>
                  <a:gd name="T59" fmla="*/ 19 h 21"/>
                  <a:gd name="T60" fmla="*/ 10 w 23"/>
                  <a:gd name="T61" fmla="*/ 19 h 21"/>
                  <a:gd name="T62" fmla="*/ 14 w 23"/>
                  <a:gd name="T63" fmla="*/ 19 h 21"/>
                  <a:gd name="T64" fmla="*/ 7 w 23"/>
                  <a:gd name="T65" fmla="*/ 18 h 21"/>
                  <a:gd name="T66" fmla="*/ 5 w 23"/>
                  <a:gd name="T67" fmla="*/ 16 h 21"/>
                  <a:gd name="T68" fmla="*/ 7 w 23"/>
                  <a:gd name="T69" fmla="*/ 10 h 21"/>
                  <a:gd name="T70" fmla="*/ 3 w 23"/>
                  <a:gd name="T71" fmla="*/ 10 h 21"/>
                  <a:gd name="T72" fmla="*/ 1 w 23"/>
                  <a:gd name="T73" fmla="*/ 5 h 21"/>
                  <a:gd name="T74" fmla="*/ 0 w 23"/>
                  <a:gd name="T75" fmla="*/ 2 h 21"/>
                  <a:gd name="T76" fmla="*/ 0 w 23"/>
                  <a:gd name="T77" fmla="*/ 2 h 21"/>
                  <a:gd name="T78" fmla="*/ 1 w 23"/>
                  <a:gd name="T7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 h="21">
                    <a:moveTo>
                      <a:pt x="1" y="0"/>
                    </a:moveTo>
                    <a:lnTo>
                      <a:pt x="1" y="0"/>
                    </a:lnTo>
                    <a:lnTo>
                      <a:pt x="3" y="2"/>
                    </a:lnTo>
                    <a:lnTo>
                      <a:pt x="3" y="2"/>
                    </a:lnTo>
                    <a:lnTo>
                      <a:pt x="7" y="3"/>
                    </a:lnTo>
                    <a:lnTo>
                      <a:pt x="9" y="3"/>
                    </a:lnTo>
                    <a:lnTo>
                      <a:pt x="9" y="3"/>
                    </a:lnTo>
                    <a:lnTo>
                      <a:pt x="9" y="2"/>
                    </a:lnTo>
                    <a:lnTo>
                      <a:pt x="10" y="2"/>
                    </a:lnTo>
                    <a:lnTo>
                      <a:pt x="10" y="2"/>
                    </a:lnTo>
                    <a:lnTo>
                      <a:pt x="12" y="3"/>
                    </a:lnTo>
                    <a:lnTo>
                      <a:pt x="14" y="3"/>
                    </a:lnTo>
                    <a:lnTo>
                      <a:pt x="16" y="7"/>
                    </a:lnTo>
                    <a:lnTo>
                      <a:pt x="18" y="5"/>
                    </a:lnTo>
                    <a:lnTo>
                      <a:pt x="19" y="7"/>
                    </a:lnTo>
                    <a:lnTo>
                      <a:pt x="19" y="7"/>
                    </a:lnTo>
                    <a:lnTo>
                      <a:pt x="19" y="9"/>
                    </a:lnTo>
                    <a:lnTo>
                      <a:pt x="23" y="10"/>
                    </a:lnTo>
                    <a:lnTo>
                      <a:pt x="23" y="10"/>
                    </a:lnTo>
                    <a:lnTo>
                      <a:pt x="23" y="12"/>
                    </a:lnTo>
                    <a:lnTo>
                      <a:pt x="21" y="12"/>
                    </a:lnTo>
                    <a:lnTo>
                      <a:pt x="21" y="18"/>
                    </a:lnTo>
                    <a:lnTo>
                      <a:pt x="19" y="19"/>
                    </a:lnTo>
                    <a:lnTo>
                      <a:pt x="18" y="19"/>
                    </a:lnTo>
                    <a:lnTo>
                      <a:pt x="18" y="18"/>
                    </a:lnTo>
                    <a:lnTo>
                      <a:pt x="16" y="18"/>
                    </a:lnTo>
                    <a:lnTo>
                      <a:pt x="18" y="21"/>
                    </a:lnTo>
                    <a:lnTo>
                      <a:pt x="16" y="21"/>
                    </a:lnTo>
                    <a:lnTo>
                      <a:pt x="14" y="19"/>
                    </a:lnTo>
                    <a:lnTo>
                      <a:pt x="12" y="19"/>
                    </a:lnTo>
                    <a:lnTo>
                      <a:pt x="10" y="19"/>
                    </a:lnTo>
                    <a:lnTo>
                      <a:pt x="14" y="19"/>
                    </a:lnTo>
                    <a:lnTo>
                      <a:pt x="7" y="18"/>
                    </a:lnTo>
                    <a:lnTo>
                      <a:pt x="5" y="16"/>
                    </a:lnTo>
                    <a:lnTo>
                      <a:pt x="7" y="10"/>
                    </a:lnTo>
                    <a:lnTo>
                      <a:pt x="3" y="10"/>
                    </a:lnTo>
                    <a:lnTo>
                      <a:pt x="1" y="5"/>
                    </a:lnTo>
                    <a:lnTo>
                      <a:pt x="0" y="2"/>
                    </a:lnTo>
                    <a:lnTo>
                      <a:pt x="0" y="2"/>
                    </a:lnTo>
                    <a:lnTo>
                      <a:pt x="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08" name="Freeform 3164"/>
              <p:cNvSpPr>
                <a:spLocks/>
              </p:cNvSpPr>
              <p:nvPr/>
            </p:nvSpPr>
            <p:spPr bwMode="auto">
              <a:xfrm>
                <a:off x="1518" y="3722"/>
                <a:ext cx="23" cy="21"/>
              </a:xfrm>
              <a:custGeom>
                <a:avLst/>
                <a:gdLst>
                  <a:gd name="T0" fmla="*/ 1 w 23"/>
                  <a:gd name="T1" fmla="*/ 0 h 21"/>
                  <a:gd name="T2" fmla="*/ 1 w 23"/>
                  <a:gd name="T3" fmla="*/ 0 h 21"/>
                  <a:gd name="T4" fmla="*/ 3 w 23"/>
                  <a:gd name="T5" fmla="*/ 2 h 21"/>
                  <a:gd name="T6" fmla="*/ 3 w 23"/>
                  <a:gd name="T7" fmla="*/ 2 h 21"/>
                  <a:gd name="T8" fmla="*/ 7 w 23"/>
                  <a:gd name="T9" fmla="*/ 3 h 21"/>
                  <a:gd name="T10" fmla="*/ 9 w 23"/>
                  <a:gd name="T11" fmla="*/ 3 h 21"/>
                  <a:gd name="T12" fmla="*/ 9 w 23"/>
                  <a:gd name="T13" fmla="*/ 3 h 21"/>
                  <a:gd name="T14" fmla="*/ 9 w 23"/>
                  <a:gd name="T15" fmla="*/ 2 h 21"/>
                  <a:gd name="T16" fmla="*/ 10 w 23"/>
                  <a:gd name="T17" fmla="*/ 2 h 21"/>
                  <a:gd name="T18" fmla="*/ 10 w 23"/>
                  <a:gd name="T19" fmla="*/ 2 h 21"/>
                  <a:gd name="T20" fmla="*/ 12 w 23"/>
                  <a:gd name="T21" fmla="*/ 3 h 21"/>
                  <a:gd name="T22" fmla="*/ 14 w 23"/>
                  <a:gd name="T23" fmla="*/ 3 h 21"/>
                  <a:gd name="T24" fmla="*/ 16 w 23"/>
                  <a:gd name="T25" fmla="*/ 7 h 21"/>
                  <a:gd name="T26" fmla="*/ 18 w 23"/>
                  <a:gd name="T27" fmla="*/ 5 h 21"/>
                  <a:gd name="T28" fmla="*/ 19 w 23"/>
                  <a:gd name="T29" fmla="*/ 7 h 21"/>
                  <a:gd name="T30" fmla="*/ 19 w 23"/>
                  <a:gd name="T31" fmla="*/ 7 h 21"/>
                  <a:gd name="T32" fmla="*/ 19 w 23"/>
                  <a:gd name="T33" fmla="*/ 9 h 21"/>
                  <a:gd name="T34" fmla="*/ 23 w 23"/>
                  <a:gd name="T35" fmla="*/ 10 h 21"/>
                  <a:gd name="T36" fmla="*/ 23 w 23"/>
                  <a:gd name="T37" fmla="*/ 10 h 21"/>
                  <a:gd name="T38" fmla="*/ 23 w 23"/>
                  <a:gd name="T39" fmla="*/ 12 h 21"/>
                  <a:gd name="T40" fmla="*/ 21 w 23"/>
                  <a:gd name="T41" fmla="*/ 12 h 21"/>
                  <a:gd name="T42" fmla="*/ 21 w 23"/>
                  <a:gd name="T43" fmla="*/ 18 h 21"/>
                  <a:gd name="T44" fmla="*/ 19 w 23"/>
                  <a:gd name="T45" fmla="*/ 19 h 21"/>
                  <a:gd name="T46" fmla="*/ 18 w 23"/>
                  <a:gd name="T47" fmla="*/ 19 h 21"/>
                  <a:gd name="T48" fmla="*/ 18 w 23"/>
                  <a:gd name="T49" fmla="*/ 18 h 21"/>
                  <a:gd name="T50" fmla="*/ 16 w 23"/>
                  <a:gd name="T51" fmla="*/ 18 h 21"/>
                  <a:gd name="T52" fmla="*/ 18 w 23"/>
                  <a:gd name="T53" fmla="*/ 21 h 21"/>
                  <a:gd name="T54" fmla="*/ 16 w 23"/>
                  <a:gd name="T55" fmla="*/ 21 h 21"/>
                  <a:gd name="T56" fmla="*/ 14 w 23"/>
                  <a:gd name="T57" fmla="*/ 19 h 21"/>
                  <a:gd name="T58" fmla="*/ 12 w 23"/>
                  <a:gd name="T59" fmla="*/ 19 h 21"/>
                  <a:gd name="T60" fmla="*/ 10 w 23"/>
                  <a:gd name="T61" fmla="*/ 19 h 21"/>
                  <a:gd name="T62" fmla="*/ 14 w 23"/>
                  <a:gd name="T63" fmla="*/ 19 h 21"/>
                  <a:gd name="T64" fmla="*/ 7 w 23"/>
                  <a:gd name="T65" fmla="*/ 18 h 21"/>
                  <a:gd name="T66" fmla="*/ 5 w 23"/>
                  <a:gd name="T67" fmla="*/ 16 h 21"/>
                  <a:gd name="T68" fmla="*/ 7 w 23"/>
                  <a:gd name="T69" fmla="*/ 10 h 21"/>
                  <a:gd name="T70" fmla="*/ 3 w 23"/>
                  <a:gd name="T71" fmla="*/ 10 h 21"/>
                  <a:gd name="T72" fmla="*/ 1 w 23"/>
                  <a:gd name="T73" fmla="*/ 5 h 21"/>
                  <a:gd name="T74" fmla="*/ 0 w 23"/>
                  <a:gd name="T75" fmla="*/ 2 h 21"/>
                  <a:gd name="T76" fmla="*/ 0 w 23"/>
                  <a:gd name="T77" fmla="*/ 2 h 21"/>
                  <a:gd name="T78" fmla="*/ 1 w 23"/>
                  <a:gd name="T7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 h="21">
                    <a:moveTo>
                      <a:pt x="1" y="0"/>
                    </a:moveTo>
                    <a:lnTo>
                      <a:pt x="1" y="0"/>
                    </a:lnTo>
                    <a:lnTo>
                      <a:pt x="3" y="2"/>
                    </a:lnTo>
                    <a:lnTo>
                      <a:pt x="3" y="2"/>
                    </a:lnTo>
                    <a:lnTo>
                      <a:pt x="7" y="3"/>
                    </a:lnTo>
                    <a:lnTo>
                      <a:pt x="9" y="3"/>
                    </a:lnTo>
                    <a:lnTo>
                      <a:pt x="9" y="3"/>
                    </a:lnTo>
                    <a:lnTo>
                      <a:pt x="9" y="2"/>
                    </a:lnTo>
                    <a:lnTo>
                      <a:pt x="10" y="2"/>
                    </a:lnTo>
                    <a:lnTo>
                      <a:pt x="10" y="2"/>
                    </a:lnTo>
                    <a:lnTo>
                      <a:pt x="12" y="3"/>
                    </a:lnTo>
                    <a:lnTo>
                      <a:pt x="14" y="3"/>
                    </a:lnTo>
                    <a:lnTo>
                      <a:pt x="16" y="7"/>
                    </a:lnTo>
                    <a:lnTo>
                      <a:pt x="18" y="5"/>
                    </a:lnTo>
                    <a:lnTo>
                      <a:pt x="19" y="7"/>
                    </a:lnTo>
                    <a:lnTo>
                      <a:pt x="19" y="7"/>
                    </a:lnTo>
                    <a:lnTo>
                      <a:pt x="19" y="9"/>
                    </a:lnTo>
                    <a:lnTo>
                      <a:pt x="23" y="10"/>
                    </a:lnTo>
                    <a:lnTo>
                      <a:pt x="23" y="10"/>
                    </a:lnTo>
                    <a:lnTo>
                      <a:pt x="23" y="12"/>
                    </a:lnTo>
                    <a:lnTo>
                      <a:pt x="21" y="12"/>
                    </a:lnTo>
                    <a:lnTo>
                      <a:pt x="21" y="18"/>
                    </a:lnTo>
                    <a:lnTo>
                      <a:pt x="19" y="19"/>
                    </a:lnTo>
                    <a:lnTo>
                      <a:pt x="18" y="19"/>
                    </a:lnTo>
                    <a:lnTo>
                      <a:pt x="18" y="18"/>
                    </a:lnTo>
                    <a:lnTo>
                      <a:pt x="16" y="18"/>
                    </a:lnTo>
                    <a:lnTo>
                      <a:pt x="18" y="21"/>
                    </a:lnTo>
                    <a:lnTo>
                      <a:pt x="16" y="21"/>
                    </a:lnTo>
                    <a:lnTo>
                      <a:pt x="14" y="19"/>
                    </a:lnTo>
                    <a:lnTo>
                      <a:pt x="12" y="19"/>
                    </a:lnTo>
                    <a:lnTo>
                      <a:pt x="10" y="19"/>
                    </a:lnTo>
                    <a:lnTo>
                      <a:pt x="14" y="19"/>
                    </a:lnTo>
                    <a:lnTo>
                      <a:pt x="7" y="18"/>
                    </a:lnTo>
                    <a:lnTo>
                      <a:pt x="5" y="16"/>
                    </a:lnTo>
                    <a:lnTo>
                      <a:pt x="7" y="10"/>
                    </a:lnTo>
                    <a:lnTo>
                      <a:pt x="3" y="10"/>
                    </a:lnTo>
                    <a:lnTo>
                      <a:pt x="1" y="5"/>
                    </a:lnTo>
                    <a:lnTo>
                      <a:pt x="0" y="2"/>
                    </a:lnTo>
                    <a:lnTo>
                      <a:pt x="0" y="2"/>
                    </a:lnTo>
                    <a:lnTo>
                      <a:pt x="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09" name="Freeform 3165"/>
              <p:cNvSpPr>
                <a:spLocks/>
              </p:cNvSpPr>
              <p:nvPr/>
            </p:nvSpPr>
            <p:spPr bwMode="auto">
              <a:xfrm>
                <a:off x="1541" y="3734"/>
                <a:ext cx="20" cy="15"/>
              </a:xfrm>
              <a:custGeom>
                <a:avLst/>
                <a:gdLst>
                  <a:gd name="T0" fmla="*/ 5 w 20"/>
                  <a:gd name="T1" fmla="*/ 0 h 15"/>
                  <a:gd name="T2" fmla="*/ 5 w 20"/>
                  <a:gd name="T3" fmla="*/ 0 h 15"/>
                  <a:gd name="T4" fmla="*/ 7 w 20"/>
                  <a:gd name="T5" fmla="*/ 2 h 15"/>
                  <a:gd name="T6" fmla="*/ 7 w 20"/>
                  <a:gd name="T7" fmla="*/ 4 h 15"/>
                  <a:gd name="T8" fmla="*/ 9 w 20"/>
                  <a:gd name="T9" fmla="*/ 4 h 15"/>
                  <a:gd name="T10" fmla="*/ 9 w 20"/>
                  <a:gd name="T11" fmla="*/ 6 h 15"/>
                  <a:gd name="T12" fmla="*/ 9 w 20"/>
                  <a:gd name="T13" fmla="*/ 7 h 15"/>
                  <a:gd name="T14" fmla="*/ 9 w 20"/>
                  <a:gd name="T15" fmla="*/ 7 h 15"/>
                  <a:gd name="T16" fmla="*/ 9 w 20"/>
                  <a:gd name="T17" fmla="*/ 6 h 15"/>
                  <a:gd name="T18" fmla="*/ 11 w 20"/>
                  <a:gd name="T19" fmla="*/ 4 h 15"/>
                  <a:gd name="T20" fmla="*/ 12 w 20"/>
                  <a:gd name="T21" fmla="*/ 6 h 15"/>
                  <a:gd name="T22" fmla="*/ 14 w 20"/>
                  <a:gd name="T23" fmla="*/ 6 h 15"/>
                  <a:gd name="T24" fmla="*/ 14 w 20"/>
                  <a:gd name="T25" fmla="*/ 6 h 15"/>
                  <a:gd name="T26" fmla="*/ 16 w 20"/>
                  <a:gd name="T27" fmla="*/ 11 h 15"/>
                  <a:gd name="T28" fmla="*/ 18 w 20"/>
                  <a:gd name="T29" fmla="*/ 9 h 15"/>
                  <a:gd name="T30" fmla="*/ 18 w 20"/>
                  <a:gd name="T31" fmla="*/ 9 h 15"/>
                  <a:gd name="T32" fmla="*/ 20 w 20"/>
                  <a:gd name="T33" fmla="*/ 11 h 15"/>
                  <a:gd name="T34" fmla="*/ 20 w 20"/>
                  <a:gd name="T35" fmla="*/ 13 h 15"/>
                  <a:gd name="T36" fmla="*/ 18 w 20"/>
                  <a:gd name="T37" fmla="*/ 15 h 15"/>
                  <a:gd name="T38" fmla="*/ 16 w 20"/>
                  <a:gd name="T39" fmla="*/ 15 h 15"/>
                  <a:gd name="T40" fmla="*/ 14 w 20"/>
                  <a:gd name="T41" fmla="*/ 13 h 15"/>
                  <a:gd name="T42" fmla="*/ 9 w 20"/>
                  <a:gd name="T43" fmla="*/ 11 h 15"/>
                  <a:gd name="T44" fmla="*/ 9 w 20"/>
                  <a:gd name="T45" fmla="*/ 13 h 15"/>
                  <a:gd name="T46" fmla="*/ 9 w 20"/>
                  <a:gd name="T47" fmla="*/ 13 h 15"/>
                  <a:gd name="T48" fmla="*/ 9 w 20"/>
                  <a:gd name="T49" fmla="*/ 13 h 15"/>
                  <a:gd name="T50" fmla="*/ 5 w 20"/>
                  <a:gd name="T51" fmla="*/ 13 h 15"/>
                  <a:gd name="T52" fmla="*/ 5 w 20"/>
                  <a:gd name="T53" fmla="*/ 11 h 15"/>
                  <a:gd name="T54" fmla="*/ 3 w 20"/>
                  <a:gd name="T55" fmla="*/ 9 h 15"/>
                  <a:gd name="T56" fmla="*/ 2 w 20"/>
                  <a:gd name="T57" fmla="*/ 9 h 15"/>
                  <a:gd name="T58" fmla="*/ 0 w 20"/>
                  <a:gd name="T59" fmla="*/ 4 h 15"/>
                  <a:gd name="T60" fmla="*/ 2 w 20"/>
                  <a:gd name="T61" fmla="*/ 4 h 15"/>
                  <a:gd name="T62" fmla="*/ 3 w 20"/>
                  <a:gd name="T63" fmla="*/ 2 h 15"/>
                  <a:gd name="T64" fmla="*/ 5 w 20"/>
                  <a:gd name="T65" fmla="*/ 2 h 15"/>
                  <a:gd name="T66" fmla="*/ 5 w 20"/>
                  <a:gd name="T6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5">
                    <a:moveTo>
                      <a:pt x="5" y="0"/>
                    </a:moveTo>
                    <a:lnTo>
                      <a:pt x="5" y="0"/>
                    </a:lnTo>
                    <a:lnTo>
                      <a:pt x="7" y="2"/>
                    </a:lnTo>
                    <a:lnTo>
                      <a:pt x="7" y="4"/>
                    </a:lnTo>
                    <a:lnTo>
                      <a:pt x="9" y="4"/>
                    </a:lnTo>
                    <a:lnTo>
                      <a:pt x="9" y="6"/>
                    </a:lnTo>
                    <a:lnTo>
                      <a:pt x="9" y="7"/>
                    </a:lnTo>
                    <a:lnTo>
                      <a:pt x="9" y="7"/>
                    </a:lnTo>
                    <a:lnTo>
                      <a:pt x="9" y="6"/>
                    </a:lnTo>
                    <a:lnTo>
                      <a:pt x="11" y="4"/>
                    </a:lnTo>
                    <a:lnTo>
                      <a:pt x="12" y="6"/>
                    </a:lnTo>
                    <a:lnTo>
                      <a:pt x="14" y="6"/>
                    </a:lnTo>
                    <a:lnTo>
                      <a:pt x="14" y="6"/>
                    </a:lnTo>
                    <a:lnTo>
                      <a:pt x="16" y="11"/>
                    </a:lnTo>
                    <a:lnTo>
                      <a:pt x="18" y="9"/>
                    </a:lnTo>
                    <a:lnTo>
                      <a:pt x="18" y="9"/>
                    </a:lnTo>
                    <a:lnTo>
                      <a:pt x="20" y="11"/>
                    </a:lnTo>
                    <a:lnTo>
                      <a:pt x="20" y="13"/>
                    </a:lnTo>
                    <a:lnTo>
                      <a:pt x="18" y="15"/>
                    </a:lnTo>
                    <a:lnTo>
                      <a:pt x="16" y="15"/>
                    </a:lnTo>
                    <a:lnTo>
                      <a:pt x="14" y="13"/>
                    </a:lnTo>
                    <a:lnTo>
                      <a:pt x="9" y="11"/>
                    </a:lnTo>
                    <a:lnTo>
                      <a:pt x="9" y="13"/>
                    </a:lnTo>
                    <a:lnTo>
                      <a:pt x="9" y="13"/>
                    </a:lnTo>
                    <a:lnTo>
                      <a:pt x="9" y="13"/>
                    </a:lnTo>
                    <a:lnTo>
                      <a:pt x="5" y="13"/>
                    </a:lnTo>
                    <a:lnTo>
                      <a:pt x="5" y="11"/>
                    </a:lnTo>
                    <a:lnTo>
                      <a:pt x="3" y="9"/>
                    </a:lnTo>
                    <a:lnTo>
                      <a:pt x="2" y="9"/>
                    </a:lnTo>
                    <a:lnTo>
                      <a:pt x="0" y="4"/>
                    </a:lnTo>
                    <a:lnTo>
                      <a:pt x="2" y="4"/>
                    </a:lnTo>
                    <a:lnTo>
                      <a:pt x="3" y="2"/>
                    </a:lnTo>
                    <a:lnTo>
                      <a:pt x="5" y="2"/>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10" name="Freeform 3166"/>
              <p:cNvSpPr>
                <a:spLocks/>
              </p:cNvSpPr>
              <p:nvPr/>
            </p:nvSpPr>
            <p:spPr bwMode="auto">
              <a:xfrm>
                <a:off x="1541" y="3734"/>
                <a:ext cx="20" cy="15"/>
              </a:xfrm>
              <a:custGeom>
                <a:avLst/>
                <a:gdLst>
                  <a:gd name="T0" fmla="*/ 5 w 20"/>
                  <a:gd name="T1" fmla="*/ 0 h 15"/>
                  <a:gd name="T2" fmla="*/ 5 w 20"/>
                  <a:gd name="T3" fmla="*/ 0 h 15"/>
                  <a:gd name="T4" fmla="*/ 7 w 20"/>
                  <a:gd name="T5" fmla="*/ 2 h 15"/>
                  <a:gd name="T6" fmla="*/ 7 w 20"/>
                  <a:gd name="T7" fmla="*/ 4 h 15"/>
                  <a:gd name="T8" fmla="*/ 9 w 20"/>
                  <a:gd name="T9" fmla="*/ 4 h 15"/>
                  <a:gd name="T10" fmla="*/ 9 w 20"/>
                  <a:gd name="T11" fmla="*/ 6 h 15"/>
                  <a:gd name="T12" fmla="*/ 9 w 20"/>
                  <a:gd name="T13" fmla="*/ 7 h 15"/>
                  <a:gd name="T14" fmla="*/ 9 w 20"/>
                  <a:gd name="T15" fmla="*/ 7 h 15"/>
                  <a:gd name="T16" fmla="*/ 9 w 20"/>
                  <a:gd name="T17" fmla="*/ 6 h 15"/>
                  <a:gd name="T18" fmla="*/ 11 w 20"/>
                  <a:gd name="T19" fmla="*/ 4 h 15"/>
                  <a:gd name="T20" fmla="*/ 12 w 20"/>
                  <a:gd name="T21" fmla="*/ 6 h 15"/>
                  <a:gd name="T22" fmla="*/ 14 w 20"/>
                  <a:gd name="T23" fmla="*/ 6 h 15"/>
                  <a:gd name="T24" fmla="*/ 14 w 20"/>
                  <a:gd name="T25" fmla="*/ 6 h 15"/>
                  <a:gd name="T26" fmla="*/ 16 w 20"/>
                  <a:gd name="T27" fmla="*/ 11 h 15"/>
                  <a:gd name="T28" fmla="*/ 18 w 20"/>
                  <a:gd name="T29" fmla="*/ 9 h 15"/>
                  <a:gd name="T30" fmla="*/ 18 w 20"/>
                  <a:gd name="T31" fmla="*/ 9 h 15"/>
                  <a:gd name="T32" fmla="*/ 20 w 20"/>
                  <a:gd name="T33" fmla="*/ 11 h 15"/>
                  <a:gd name="T34" fmla="*/ 20 w 20"/>
                  <a:gd name="T35" fmla="*/ 13 h 15"/>
                  <a:gd name="T36" fmla="*/ 18 w 20"/>
                  <a:gd name="T37" fmla="*/ 15 h 15"/>
                  <a:gd name="T38" fmla="*/ 16 w 20"/>
                  <a:gd name="T39" fmla="*/ 15 h 15"/>
                  <a:gd name="T40" fmla="*/ 14 w 20"/>
                  <a:gd name="T41" fmla="*/ 13 h 15"/>
                  <a:gd name="T42" fmla="*/ 9 w 20"/>
                  <a:gd name="T43" fmla="*/ 11 h 15"/>
                  <a:gd name="T44" fmla="*/ 9 w 20"/>
                  <a:gd name="T45" fmla="*/ 13 h 15"/>
                  <a:gd name="T46" fmla="*/ 9 w 20"/>
                  <a:gd name="T47" fmla="*/ 13 h 15"/>
                  <a:gd name="T48" fmla="*/ 9 w 20"/>
                  <a:gd name="T49" fmla="*/ 13 h 15"/>
                  <a:gd name="T50" fmla="*/ 5 w 20"/>
                  <a:gd name="T51" fmla="*/ 13 h 15"/>
                  <a:gd name="T52" fmla="*/ 5 w 20"/>
                  <a:gd name="T53" fmla="*/ 11 h 15"/>
                  <a:gd name="T54" fmla="*/ 3 w 20"/>
                  <a:gd name="T55" fmla="*/ 9 h 15"/>
                  <a:gd name="T56" fmla="*/ 2 w 20"/>
                  <a:gd name="T57" fmla="*/ 9 h 15"/>
                  <a:gd name="T58" fmla="*/ 0 w 20"/>
                  <a:gd name="T59" fmla="*/ 4 h 15"/>
                  <a:gd name="T60" fmla="*/ 2 w 20"/>
                  <a:gd name="T61" fmla="*/ 4 h 15"/>
                  <a:gd name="T62" fmla="*/ 3 w 20"/>
                  <a:gd name="T63" fmla="*/ 2 h 15"/>
                  <a:gd name="T64" fmla="*/ 5 w 20"/>
                  <a:gd name="T65" fmla="*/ 2 h 15"/>
                  <a:gd name="T66" fmla="*/ 5 w 20"/>
                  <a:gd name="T6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5">
                    <a:moveTo>
                      <a:pt x="5" y="0"/>
                    </a:moveTo>
                    <a:lnTo>
                      <a:pt x="5" y="0"/>
                    </a:lnTo>
                    <a:lnTo>
                      <a:pt x="7" y="2"/>
                    </a:lnTo>
                    <a:lnTo>
                      <a:pt x="7" y="4"/>
                    </a:lnTo>
                    <a:lnTo>
                      <a:pt x="9" y="4"/>
                    </a:lnTo>
                    <a:lnTo>
                      <a:pt x="9" y="6"/>
                    </a:lnTo>
                    <a:lnTo>
                      <a:pt x="9" y="7"/>
                    </a:lnTo>
                    <a:lnTo>
                      <a:pt x="9" y="7"/>
                    </a:lnTo>
                    <a:lnTo>
                      <a:pt x="9" y="6"/>
                    </a:lnTo>
                    <a:lnTo>
                      <a:pt x="11" y="4"/>
                    </a:lnTo>
                    <a:lnTo>
                      <a:pt x="12" y="6"/>
                    </a:lnTo>
                    <a:lnTo>
                      <a:pt x="14" y="6"/>
                    </a:lnTo>
                    <a:lnTo>
                      <a:pt x="14" y="6"/>
                    </a:lnTo>
                    <a:lnTo>
                      <a:pt x="16" y="11"/>
                    </a:lnTo>
                    <a:lnTo>
                      <a:pt x="18" y="9"/>
                    </a:lnTo>
                    <a:lnTo>
                      <a:pt x="18" y="9"/>
                    </a:lnTo>
                    <a:lnTo>
                      <a:pt x="20" y="11"/>
                    </a:lnTo>
                    <a:lnTo>
                      <a:pt x="20" y="13"/>
                    </a:lnTo>
                    <a:lnTo>
                      <a:pt x="18" y="15"/>
                    </a:lnTo>
                    <a:lnTo>
                      <a:pt x="16" y="15"/>
                    </a:lnTo>
                    <a:lnTo>
                      <a:pt x="14" y="13"/>
                    </a:lnTo>
                    <a:lnTo>
                      <a:pt x="9" y="11"/>
                    </a:lnTo>
                    <a:lnTo>
                      <a:pt x="9" y="13"/>
                    </a:lnTo>
                    <a:lnTo>
                      <a:pt x="9" y="13"/>
                    </a:lnTo>
                    <a:lnTo>
                      <a:pt x="9" y="13"/>
                    </a:lnTo>
                    <a:lnTo>
                      <a:pt x="5" y="13"/>
                    </a:lnTo>
                    <a:lnTo>
                      <a:pt x="5" y="11"/>
                    </a:lnTo>
                    <a:lnTo>
                      <a:pt x="3" y="9"/>
                    </a:lnTo>
                    <a:lnTo>
                      <a:pt x="2" y="9"/>
                    </a:lnTo>
                    <a:lnTo>
                      <a:pt x="0" y="4"/>
                    </a:lnTo>
                    <a:lnTo>
                      <a:pt x="2" y="4"/>
                    </a:lnTo>
                    <a:lnTo>
                      <a:pt x="3" y="2"/>
                    </a:lnTo>
                    <a:lnTo>
                      <a:pt x="5" y="2"/>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11" name="Freeform 3167"/>
              <p:cNvSpPr>
                <a:spLocks/>
              </p:cNvSpPr>
              <p:nvPr/>
            </p:nvSpPr>
            <p:spPr bwMode="auto">
              <a:xfrm>
                <a:off x="1562" y="3727"/>
                <a:ext cx="9" cy="20"/>
              </a:xfrm>
              <a:custGeom>
                <a:avLst/>
                <a:gdLst>
                  <a:gd name="T0" fmla="*/ 6 w 9"/>
                  <a:gd name="T1" fmla="*/ 0 h 20"/>
                  <a:gd name="T2" fmla="*/ 7 w 9"/>
                  <a:gd name="T3" fmla="*/ 2 h 20"/>
                  <a:gd name="T4" fmla="*/ 9 w 9"/>
                  <a:gd name="T5" fmla="*/ 14 h 20"/>
                  <a:gd name="T6" fmla="*/ 7 w 9"/>
                  <a:gd name="T7" fmla="*/ 14 h 20"/>
                  <a:gd name="T8" fmla="*/ 6 w 9"/>
                  <a:gd name="T9" fmla="*/ 13 h 20"/>
                  <a:gd name="T10" fmla="*/ 4 w 9"/>
                  <a:gd name="T11" fmla="*/ 11 h 20"/>
                  <a:gd name="T12" fmla="*/ 4 w 9"/>
                  <a:gd name="T13" fmla="*/ 14 h 20"/>
                  <a:gd name="T14" fmla="*/ 6 w 9"/>
                  <a:gd name="T15" fmla="*/ 16 h 20"/>
                  <a:gd name="T16" fmla="*/ 6 w 9"/>
                  <a:gd name="T17" fmla="*/ 18 h 20"/>
                  <a:gd name="T18" fmla="*/ 9 w 9"/>
                  <a:gd name="T19" fmla="*/ 18 h 20"/>
                  <a:gd name="T20" fmla="*/ 9 w 9"/>
                  <a:gd name="T21" fmla="*/ 20 h 20"/>
                  <a:gd name="T22" fmla="*/ 7 w 9"/>
                  <a:gd name="T23" fmla="*/ 20 h 20"/>
                  <a:gd name="T24" fmla="*/ 6 w 9"/>
                  <a:gd name="T25" fmla="*/ 18 h 20"/>
                  <a:gd name="T26" fmla="*/ 2 w 9"/>
                  <a:gd name="T27" fmla="*/ 13 h 20"/>
                  <a:gd name="T28" fmla="*/ 0 w 9"/>
                  <a:gd name="T29" fmla="*/ 9 h 20"/>
                  <a:gd name="T30" fmla="*/ 2 w 9"/>
                  <a:gd name="T31" fmla="*/ 9 h 20"/>
                  <a:gd name="T32" fmla="*/ 4 w 9"/>
                  <a:gd name="T33" fmla="*/ 9 h 20"/>
                  <a:gd name="T34" fmla="*/ 4 w 9"/>
                  <a:gd name="T35" fmla="*/ 7 h 20"/>
                  <a:gd name="T36" fmla="*/ 4 w 9"/>
                  <a:gd name="T37" fmla="*/ 5 h 20"/>
                  <a:gd name="T38" fmla="*/ 4 w 9"/>
                  <a:gd name="T39" fmla="*/ 5 h 20"/>
                  <a:gd name="T40" fmla="*/ 6 w 9"/>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20">
                    <a:moveTo>
                      <a:pt x="6" y="0"/>
                    </a:moveTo>
                    <a:lnTo>
                      <a:pt x="7" y="2"/>
                    </a:lnTo>
                    <a:lnTo>
                      <a:pt x="9" y="14"/>
                    </a:lnTo>
                    <a:lnTo>
                      <a:pt x="7" y="14"/>
                    </a:lnTo>
                    <a:lnTo>
                      <a:pt x="6" y="13"/>
                    </a:lnTo>
                    <a:lnTo>
                      <a:pt x="4" y="11"/>
                    </a:lnTo>
                    <a:lnTo>
                      <a:pt x="4" y="14"/>
                    </a:lnTo>
                    <a:lnTo>
                      <a:pt x="6" y="16"/>
                    </a:lnTo>
                    <a:lnTo>
                      <a:pt x="6" y="18"/>
                    </a:lnTo>
                    <a:lnTo>
                      <a:pt x="9" y="18"/>
                    </a:lnTo>
                    <a:lnTo>
                      <a:pt x="9" y="20"/>
                    </a:lnTo>
                    <a:lnTo>
                      <a:pt x="7" y="20"/>
                    </a:lnTo>
                    <a:lnTo>
                      <a:pt x="6" y="18"/>
                    </a:lnTo>
                    <a:lnTo>
                      <a:pt x="2" y="13"/>
                    </a:lnTo>
                    <a:lnTo>
                      <a:pt x="0" y="9"/>
                    </a:lnTo>
                    <a:lnTo>
                      <a:pt x="2" y="9"/>
                    </a:lnTo>
                    <a:lnTo>
                      <a:pt x="4" y="9"/>
                    </a:lnTo>
                    <a:lnTo>
                      <a:pt x="4" y="7"/>
                    </a:lnTo>
                    <a:lnTo>
                      <a:pt x="4" y="5"/>
                    </a:lnTo>
                    <a:lnTo>
                      <a:pt x="4" y="5"/>
                    </a:lnTo>
                    <a:lnTo>
                      <a:pt x="6"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12" name="Freeform 3168"/>
              <p:cNvSpPr>
                <a:spLocks/>
              </p:cNvSpPr>
              <p:nvPr/>
            </p:nvSpPr>
            <p:spPr bwMode="auto">
              <a:xfrm>
                <a:off x="1562" y="3727"/>
                <a:ext cx="9" cy="20"/>
              </a:xfrm>
              <a:custGeom>
                <a:avLst/>
                <a:gdLst>
                  <a:gd name="T0" fmla="*/ 6 w 9"/>
                  <a:gd name="T1" fmla="*/ 0 h 20"/>
                  <a:gd name="T2" fmla="*/ 7 w 9"/>
                  <a:gd name="T3" fmla="*/ 2 h 20"/>
                  <a:gd name="T4" fmla="*/ 9 w 9"/>
                  <a:gd name="T5" fmla="*/ 14 h 20"/>
                  <a:gd name="T6" fmla="*/ 7 w 9"/>
                  <a:gd name="T7" fmla="*/ 14 h 20"/>
                  <a:gd name="T8" fmla="*/ 6 w 9"/>
                  <a:gd name="T9" fmla="*/ 13 h 20"/>
                  <a:gd name="T10" fmla="*/ 4 w 9"/>
                  <a:gd name="T11" fmla="*/ 11 h 20"/>
                  <a:gd name="T12" fmla="*/ 4 w 9"/>
                  <a:gd name="T13" fmla="*/ 14 h 20"/>
                  <a:gd name="T14" fmla="*/ 6 w 9"/>
                  <a:gd name="T15" fmla="*/ 16 h 20"/>
                  <a:gd name="T16" fmla="*/ 6 w 9"/>
                  <a:gd name="T17" fmla="*/ 18 h 20"/>
                  <a:gd name="T18" fmla="*/ 9 w 9"/>
                  <a:gd name="T19" fmla="*/ 18 h 20"/>
                  <a:gd name="T20" fmla="*/ 9 w 9"/>
                  <a:gd name="T21" fmla="*/ 20 h 20"/>
                  <a:gd name="T22" fmla="*/ 7 w 9"/>
                  <a:gd name="T23" fmla="*/ 20 h 20"/>
                  <a:gd name="T24" fmla="*/ 6 w 9"/>
                  <a:gd name="T25" fmla="*/ 18 h 20"/>
                  <a:gd name="T26" fmla="*/ 2 w 9"/>
                  <a:gd name="T27" fmla="*/ 13 h 20"/>
                  <a:gd name="T28" fmla="*/ 0 w 9"/>
                  <a:gd name="T29" fmla="*/ 9 h 20"/>
                  <a:gd name="T30" fmla="*/ 2 w 9"/>
                  <a:gd name="T31" fmla="*/ 9 h 20"/>
                  <a:gd name="T32" fmla="*/ 4 w 9"/>
                  <a:gd name="T33" fmla="*/ 9 h 20"/>
                  <a:gd name="T34" fmla="*/ 4 w 9"/>
                  <a:gd name="T35" fmla="*/ 7 h 20"/>
                  <a:gd name="T36" fmla="*/ 4 w 9"/>
                  <a:gd name="T37" fmla="*/ 5 h 20"/>
                  <a:gd name="T38" fmla="*/ 4 w 9"/>
                  <a:gd name="T39" fmla="*/ 5 h 20"/>
                  <a:gd name="T40" fmla="*/ 6 w 9"/>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 h="20">
                    <a:moveTo>
                      <a:pt x="6" y="0"/>
                    </a:moveTo>
                    <a:lnTo>
                      <a:pt x="7" y="2"/>
                    </a:lnTo>
                    <a:lnTo>
                      <a:pt x="9" y="14"/>
                    </a:lnTo>
                    <a:lnTo>
                      <a:pt x="7" y="14"/>
                    </a:lnTo>
                    <a:lnTo>
                      <a:pt x="6" y="13"/>
                    </a:lnTo>
                    <a:lnTo>
                      <a:pt x="4" y="11"/>
                    </a:lnTo>
                    <a:lnTo>
                      <a:pt x="4" y="14"/>
                    </a:lnTo>
                    <a:lnTo>
                      <a:pt x="6" y="16"/>
                    </a:lnTo>
                    <a:lnTo>
                      <a:pt x="6" y="18"/>
                    </a:lnTo>
                    <a:lnTo>
                      <a:pt x="9" y="18"/>
                    </a:lnTo>
                    <a:lnTo>
                      <a:pt x="9" y="20"/>
                    </a:lnTo>
                    <a:lnTo>
                      <a:pt x="7" y="20"/>
                    </a:lnTo>
                    <a:lnTo>
                      <a:pt x="6" y="18"/>
                    </a:lnTo>
                    <a:lnTo>
                      <a:pt x="2" y="13"/>
                    </a:lnTo>
                    <a:lnTo>
                      <a:pt x="0" y="9"/>
                    </a:lnTo>
                    <a:lnTo>
                      <a:pt x="2" y="9"/>
                    </a:lnTo>
                    <a:lnTo>
                      <a:pt x="4" y="9"/>
                    </a:lnTo>
                    <a:lnTo>
                      <a:pt x="4" y="7"/>
                    </a:lnTo>
                    <a:lnTo>
                      <a:pt x="4" y="5"/>
                    </a:lnTo>
                    <a:lnTo>
                      <a:pt x="4" y="5"/>
                    </a:lnTo>
                    <a:lnTo>
                      <a:pt x="6"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13" name="Freeform 3169"/>
              <p:cNvSpPr>
                <a:spLocks/>
              </p:cNvSpPr>
              <p:nvPr/>
            </p:nvSpPr>
            <p:spPr bwMode="auto">
              <a:xfrm>
                <a:off x="1561" y="3766"/>
                <a:ext cx="3" cy="6"/>
              </a:xfrm>
              <a:custGeom>
                <a:avLst/>
                <a:gdLst>
                  <a:gd name="T0" fmla="*/ 0 w 3"/>
                  <a:gd name="T1" fmla="*/ 4 h 6"/>
                  <a:gd name="T2" fmla="*/ 0 w 3"/>
                  <a:gd name="T3" fmla="*/ 2 h 6"/>
                  <a:gd name="T4" fmla="*/ 0 w 3"/>
                  <a:gd name="T5" fmla="*/ 2 h 6"/>
                  <a:gd name="T6" fmla="*/ 1 w 3"/>
                  <a:gd name="T7" fmla="*/ 0 h 6"/>
                  <a:gd name="T8" fmla="*/ 3 w 3"/>
                  <a:gd name="T9" fmla="*/ 0 h 6"/>
                  <a:gd name="T10" fmla="*/ 3 w 3"/>
                  <a:gd name="T11" fmla="*/ 2 h 6"/>
                  <a:gd name="T12" fmla="*/ 3 w 3"/>
                  <a:gd name="T13" fmla="*/ 4 h 6"/>
                  <a:gd name="T14" fmla="*/ 3 w 3"/>
                  <a:gd name="T15" fmla="*/ 4 h 6"/>
                  <a:gd name="T16" fmla="*/ 1 w 3"/>
                  <a:gd name="T17" fmla="*/ 6 h 6"/>
                  <a:gd name="T18" fmla="*/ 0 w 3"/>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0" y="4"/>
                    </a:moveTo>
                    <a:lnTo>
                      <a:pt x="0" y="2"/>
                    </a:lnTo>
                    <a:lnTo>
                      <a:pt x="0" y="2"/>
                    </a:lnTo>
                    <a:lnTo>
                      <a:pt x="1" y="0"/>
                    </a:lnTo>
                    <a:lnTo>
                      <a:pt x="3" y="0"/>
                    </a:lnTo>
                    <a:lnTo>
                      <a:pt x="3" y="2"/>
                    </a:lnTo>
                    <a:lnTo>
                      <a:pt x="3" y="4"/>
                    </a:lnTo>
                    <a:lnTo>
                      <a:pt x="3" y="4"/>
                    </a:lnTo>
                    <a:lnTo>
                      <a:pt x="1" y="6"/>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14" name="Freeform 3170"/>
              <p:cNvSpPr>
                <a:spLocks/>
              </p:cNvSpPr>
              <p:nvPr/>
            </p:nvSpPr>
            <p:spPr bwMode="auto">
              <a:xfrm>
                <a:off x="1561" y="3766"/>
                <a:ext cx="3" cy="6"/>
              </a:xfrm>
              <a:custGeom>
                <a:avLst/>
                <a:gdLst>
                  <a:gd name="T0" fmla="*/ 0 w 3"/>
                  <a:gd name="T1" fmla="*/ 4 h 6"/>
                  <a:gd name="T2" fmla="*/ 0 w 3"/>
                  <a:gd name="T3" fmla="*/ 2 h 6"/>
                  <a:gd name="T4" fmla="*/ 0 w 3"/>
                  <a:gd name="T5" fmla="*/ 2 h 6"/>
                  <a:gd name="T6" fmla="*/ 1 w 3"/>
                  <a:gd name="T7" fmla="*/ 0 h 6"/>
                  <a:gd name="T8" fmla="*/ 3 w 3"/>
                  <a:gd name="T9" fmla="*/ 0 h 6"/>
                  <a:gd name="T10" fmla="*/ 3 w 3"/>
                  <a:gd name="T11" fmla="*/ 2 h 6"/>
                  <a:gd name="T12" fmla="*/ 3 w 3"/>
                  <a:gd name="T13" fmla="*/ 4 h 6"/>
                  <a:gd name="T14" fmla="*/ 3 w 3"/>
                  <a:gd name="T15" fmla="*/ 4 h 6"/>
                  <a:gd name="T16" fmla="*/ 1 w 3"/>
                  <a:gd name="T17" fmla="*/ 6 h 6"/>
                  <a:gd name="T18" fmla="*/ 0 w 3"/>
                  <a:gd name="T19"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0" y="4"/>
                    </a:moveTo>
                    <a:lnTo>
                      <a:pt x="0" y="2"/>
                    </a:lnTo>
                    <a:lnTo>
                      <a:pt x="0" y="2"/>
                    </a:lnTo>
                    <a:lnTo>
                      <a:pt x="1" y="0"/>
                    </a:lnTo>
                    <a:lnTo>
                      <a:pt x="3" y="0"/>
                    </a:lnTo>
                    <a:lnTo>
                      <a:pt x="3" y="2"/>
                    </a:lnTo>
                    <a:lnTo>
                      <a:pt x="3" y="4"/>
                    </a:lnTo>
                    <a:lnTo>
                      <a:pt x="3" y="4"/>
                    </a:lnTo>
                    <a:lnTo>
                      <a:pt x="1" y="6"/>
                    </a:lnTo>
                    <a:lnTo>
                      <a:pt x="0"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15" name="Freeform 3171"/>
              <p:cNvSpPr>
                <a:spLocks/>
              </p:cNvSpPr>
              <p:nvPr/>
            </p:nvSpPr>
            <p:spPr bwMode="auto">
              <a:xfrm>
                <a:off x="1566" y="3770"/>
                <a:ext cx="5" cy="4"/>
              </a:xfrm>
              <a:custGeom>
                <a:avLst/>
                <a:gdLst>
                  <a:gd name="T0" fmla="*/ 5 w 5"/>
                  <a:gd name="T1" fmla="*/ 4 h 4"/>
                  <a:gd name="T2" fmla="*/ 3 w 5"/>
                  <a:gd name="T3" fmla="*/ 4 h 4"/>
                  <a:gd name="T4" fmla="*/ 2 w 5"/>
                  <a:gd name="T5" fmla="*/ 4 h 4"/>
                  <a:gd name="T6" fmla="*/ 2 w 5"/>
                  <a:gd name="T7" fmla="*/ 2 h 4"/>
                  <a:gd name="T8" fmla="*/ 0 w 5"/>
                  <a:gd name="T9" fmla="*/ 0 h 4"/>
                  <a:gd name="T10" fmla="*/ 2 w 5"/>
                  <a:gd name="T11" fmla="*/ 0 h 4"/>
                  <a:gd name="T12" fmla="*/ 3 w 5"/>
                  <a:gd name="T13" fmla="*/ 0 h 4"/>
                  <a:gd name="T14" fmla="*/ 5 w 5"/>
                  <a:gd name="T15" fmla="*/ 0 h 4"/>
                  <a:gd name="T16" fmla="*/ 5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2" y="4"/>
                    </a:lnTo>
                    <a:lnTo>
                      <a:pt x="2" y="2"/>
                    </a:lnTo>
                    <a:lnTo>
                      <a:pt x="0" y="0"/>
                    </a:lnTo>
                    <a:lnTo>
                      <a:pt x="2" y="0"/>
                    </a:lnTo>
                    <a:lnTo>
                      <a:pt x="3" y="0"/>
                    </a:lnTo>
                    <a:lnTo>
                      <a:pt x="5" y="0"/>
                    </a:lnTo>
                    <a:lnTo>
                      <a:pt x="5" y="2"/>
                    </a:lnTo>
                    <a:lnTo>
                      <a:pt x="5"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16" name="Freeform 3172"/>
              <p:cNvSpPr>
                <a:spLocks/>
              </p:cNvSpPr>
              <p:nvPr/>
            </p:nvSpPr>
            <p:spPr bwMode="auto">
              <a:xfrm>
                <a:off x="1566" y="3770"/>
                <a:ext cx="5" cy="4"/>
              </a:xfrm>
              <a:custGeom>
                <a:avLst/>
                <a:gdLst>
                  <a:gd name="T0" fmla="*/ 5 w 5"/>
                  <a:gd name="T1" fmla="*/ 4 h 4"/>
                  <a:gd name="T2" fmla="*/ 3 w 5"/>
                  <a:gd name="T3" fmla="*/ 4 h 4"/>
                  <a:gd name="T4" fmla="*/ 2 w 5"/>
                  <a:gd name="T5" fmla="*/ 4 h 4"/>
                  <a:gd name="T6" fmla="*/ 2 w 5"/>
                  <a:gd name="T7" fmla="*/ 2 h 4"/>
                  <a:gd name="T8" fmla="*/ 0 w 5"/>
                  <a:gd name="T9" fmla="*/ 0 h 4"/>
                  <a:gd name="T10" fmla="*/ 2 w 5"/>
                  <a:gd name="T11" fmla="*/ 0 h 4"/>
                  <a:gd name="T12" fmla="*/ 3 w 5"/>
                  <a:gd name="T13" fmla="*/ 0 h 4"/>
                  <a:gd name="T14" fmla="*/ 5 w 5"/>
                  <a:gd name="T15" fmla="*/ 0 h 4"/>
                  <a:gd name="T16" fmla="*/ 5 w 5"/>
                  <a:gd name="T17" fmla="*/ 2 h 4"/>
                  <a:gd name="T18" fmla="*/ 5 w 5"/>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4">
                    <a:moveTo>
                      <a:pt x="5" y="4"/>
                    </a:moveTo>
                    <a:lnTo>
                      <a:pt x="3" y="4"/>
                    </a:lnTo>
                    <a:lnTo>
                      <a:pt x="2" y="4"/>
                    </a:lnTo>
                    <a:lnTo>
                      <a:pt x="2" y="2"/>
                    </a:lnTo>
                    <a:lnTo>
                      <a:pt x="0" y="0"/>
                    </a:lnTo>
                    <a:lnTo>
                      <a:pt x="2" y="0"/>
                    </a:lnTo>
                    <a:lnTo>
                      <a:pt x="3" y="0"/>
                    </a:lnTo>
                    <a:lnTo>
                      <a:pt x="5" y="0"/>
                    </a:lnTo>
                    <a:lnTo>
                      <a:pt x="5" y="2"/>
                    </a:lnTo>
                    <a:lnTo>
                      <a:pt x="5"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17" name="Freeform 3173"/>
              <p:cNvSpPr>
                <a:spLocks/>
              </p:cNvSpPr>
              <p:nvPr/>
            </p:nvSpPr>
            <p:spPr bwMode="auto">
              <a:xfrm>
                <a:off x="1578" y="3765"/>
                <a:ext cx="13" cy="3"/>
              </a:xfrm>
              <a:custGeom>
                <a:avLst/>
                <a:gdLst>
                  <a:gd name="T0" fmla="*/ 13 w 13"/>
                  <a:gd name="T1" fmla="*/ 1 h 3"/>
                  <a:gd name="T2" fmla="*/ 13 w 13"/>
                  <a:gd name="T3" fmla="*/ 1 h 3"/>
                  <a:gd name="T4" fmla="*/ 2 w 13"/>
                  <a:gd name="T5" fmla="*/ 3 h 3"/>
                  <a:gd name="T6" fmla="*/ 2 w 13"/>
                  <a:gd name="T7" fmla="*/ 3 h 3"/>
                  <a:gd name="T8" fmla="*/ 0 w 13"/>
                  <a:gd name="T9" fmla="*/ 1 h 3"/>
                  <a:gd name="T10" fmla="*/ 0 w 13"/>
                  <a:gd name="T11" fmla="*/ 0 h 3"/>
                  <a:gd name="T12" fmla="*/ 2 w 13"/>
                  <a:gd name="T13" fmla="*/ 0 h 3"/>
                  <a:gd name="T14" fmla="*/ 2 w 13"/>
                  <a:gd name="T15" fmla="*/ 0 h 3"/>
                  <a:gd name="T16" fmla="*/ 6 w 13"/>
                  <a:gd name="T17" fmla="*/ 0 h 3"/>
                  <a:gd name="T18" fmla="*/ 11 w 13"/>
                  <a:gd name="T19" fmla="*/ 0 h 3"/>
                  <a:gd name="T20" fmla="*/ 13 w 13"/>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
                    <a:moveTo>
                      <a:pt x="13" y="1"/>
                    </a:moveTo>
                    <a:lnTo>
                      <a:pt x="13" y="1"/>
                    </a:lnTo>
                    <a:lnTo>
                      <a:pt x="2" y="3"/>
                    </a:lnTo>
                    <a:lnTo>
                      <a:pt x="2" y="3"/>
                    </a:lnTo>
                    <a:lnTo>
                      <a:pt x="0" y="1"/>
                    </a:lnTo>
                    <a:lnTo>
                      <a:pt x="0" y="0"/>
                    </a:lnTo>
                    <a:lnTo>
                      <a:pt x="2" y="0"/>
                    </a:lnTo>
                    <a:lnTo>
                      <a:pt x="2" y="0"/>
                    </a:lnTo>
                    <a:lnTo>
                      <a:pt x="6" y="0"/>
                    </a:lnTo>
                    <a:lnTo>
                      <a:pt x="11" y="0"/>
                    </a:lnTo>
                    <a:lnTo>
                      <a:pt x="13"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18" name="Freeform 3174"/>
              <p:cNvSpPr>
                <a:spLocks/>
              </p:cNvSpPr>
              <p:nvPr/>
            </p:nvSpPr>
            <p:spPr bwMode="auto">
              <a:xfrm>
                <a:off x="1578" y="3765"/>
                <a:ext cx="13" cy="3"/>
              </a:xfrm>
              <a:custGeom>
                <a:avLst/>
                <a:gdLst>
                  <a:gd name="T0" fmla="*/ 13 w 13"/>
                  <a:gd name="T1" fmla="*/ 1 h 3"/>
                  <a:gd name="T2" fmla="*/ 13 w 13"/>
                  <a:gd name="T3" fmla="*/ 1 h 3"/>
                  <a:gd name="T4" fmla="*/ 2 w 13"/>
                  <a:gd name="T5" fmla="*/ 3 h 3"/>
                  <a:gd name="T6" fmla="*/ 2 w 13"/>
                  <a:gd name="T7" fmla="*/ 3 h 3"/>
                  <a:gd name="T8" fmla="*/ 0 w 13"/>
                  <a:gd name="T9" fmla="*/ 1 h 3"/>
                  <a:gd name="T10" fmla="*/ 0 w 13"/>
                  <a:gd name="T11" fmla="*/ 0 h 3"/>
                  <a:gd name="T12" fmla="*/ 2 w 13"/>
                  <a:gd name="T13" fmla="*/ 0 h 3"/>
                  <a:gd name="T14" fmla="*/ 2 w 13"/>
                  <a:gd name="T15" fmla="*/ 0 h 3"/>
                  <a:gd name="T16" fmla="*/ 6 w 13"/>
                  <a:gd name="T17" fmla="*/ 0 h 3"/>
                  <a:gd name="T18" fmla="*/ 11 w 13"/>
                  <a:gd name="T19" fmla="*/ 0 h 3"/>
                  <a:gd name="T20" fmla="*/ 13 w 13"/>
                  <a:gd name="T21"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3">
                    <a:moveTo>
                      <a:pt x="13" y="1"/>
                    </a:moveTo>
                    <a:lnTo>
                      <a:pt x="13" y="1"/>
                    </a:lnTo>
                    <a:lnTo>
                      <a:pt x="2" y="3"/>
                    </a:lnTo>
                    <a:lnTo>
                      <a:pt x="2" y="3"/>
                    </a:lnTo>
                    <a:lnTo>
                      <a:pt x="0" y="1"/>
                    </a:lnTo>
                    <a:lnTo>
                      <a:pt x="0" y="0"/>
                    </a:lnTo>
                    <a:lnTo>
                      <a:pt x="2" y="0"/>
                    </a:lnTo>
                    <a:lnTo>
                      <a:pt x="2" y="0"/>
                    </a:lnTo>
                    <a:lnTo>
                      <a:pt x="6" y="0"/>
                    </a:lnTo>
                    <a:lnTo>
                      <a:pt x="11" y="0"/>
                    </a:lnTo>
                    <a:lnTo>
                      <a:pt x="13"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19" name="Freeform 3175"/>
              <p:cNvSpPr>
                <a:spLocks/>
              </p:cNvSpPr>
              <p:nvPr/>
            </p:nvSpPr>
            <p:spPr bwMode="auto">
              <a:xfrm>
                <a:off x="1577" y="3766"/>
                <a:ext cx="34" cy="20"/>
              </a:xfrm>
              <a:custGeom>
                <a:avLst/>
                <a:gdLst>
                  <a:gd name="T0" fmla="*/ 0 w 34"/>
                  <a:gd name="T1" fmla="*/ 6 h 20"/>
                  <a:gd name="T2" fmla="*/ 1 w 34"/>
                  <a:gd name="T3" fmla="*/ 4 h 20"/>
                  <a:gd name="T4" fmla="*/ 23 w 34"/>
                  <a:gd name="T5" fmla="*/ 0 h 20"/>
                  <a:gd name="T6" fmla="*/ 25 w 34"/>
                  <a:gd name="T7" fmla="*/ 0 h 20"/>
                  <a:gd name="T8" fmla="*/ 26 w 34"/>
                  <a:gd name="T9" fmla="*/ 2 h 20"/>
                  <a:gd name="T10" fmla="*/ 28 w 34"/>
                  <a:gd name="T11" fmla="*/ 4 h 20"/>
                  <a:gd name="T12" fmla="*/ 25 w 34"/>
                  <a:gd name="T13" fmla="*/ 4 h 20"/>
                  <a:gd name="T14" fmla="*/ 23 w 34"/>
                  <a:gd name="T15" fmla="*/ 4 h 20"/>
                  <a:gd name="T16" fmla="*/ 17 w 34"/>
                  <a:gd name="T17" fmla="*/ 2 h 20"/>
                  <a:gd name="T18" fmla="*/ 17 w 34"/>
                  <a:gd name="T19" fmla="*/ 4 h 20"/>
                  <a:gd name="T20" fmla="*/ 21 w 34"/>
                  <a:gd name="T21" fmla="*/ 6 h 20"/>
                  <a:gd name="T22" fmla="*/ 26 w 34"/>
                  <a:gd name="T23" fmla="*/ 6 h 20"/>
                  <a:gd name="T24" fmla="*/ 28 w 34"/>
                  <a:gd name="T25" fmla="*/ 8 h 20"/>
                  <a:gd name="T26" fmla="*/ 28 w 34"/>
                  <a:gd name="T27" fmla="*/ 8 h 20"/>
                  <a:gd name="T28" fmla="*/ 30 w 34"/>
                  <a:gd name="T29" fmla="*/ 9 h 20"/>
                  <a:gd name="T30" fmla="*/ 25 w 34"/>
                  <a:gd name="T31" fmla="*/ 9 h 20"/>
                  <a:gd name="T32" fmla="*/ 23 w 34"/>
                  <a:gd name="T33" fmla="*/ 9 h 20"/>
                  <a:gd name="T34" fmla="*/ 23 w 34"/>
                  <a:gd name="T35" fmla="*/ 11 h 20"/>
                  <a:gd name="T36" fmla="*/ 28 w 34"/>
                  <a:gd name="T37" fmla="*/ 11 h 20"/>
                  <a:gd name="T38" fmla="*/ 30 w 34"/>
                  <a:gd name="T39" fmla="*/ 13 h 20"/>
                  <a:gd name="T40" fmla="*/ 30 w 34"/>
                  <a:gd name="T41" fmla="*/ 15 h 20"/>
                  <a:gd name="T42" fmla="*/ 32 w 34"/>
                  <a:gd name="T43" fmla="*/ 15 h 20"/>
                  <a:gd name="T44" fmla="*/ 32 w 34"/>
                  <a:gd name="T45" fmla="*/ 18 h 20"/>
                  <a:gd name="T46" fmla="*/ 34 w 34"/>
                  <a:gd name="T47" fmla="*/ 20 h 20"/>
                  <a:gd name="T48" fmla="*/ 34 w 34"/>
                  <a:gd name="T49" fmla="*/ 20 h 20"/>
                  <a:gd name="T50" fmla="*/ 32 w 34"/>
                  <a:gd name="T51" fmla="*/ 20 h 20"/>
                  <a:gd name="T52" fmla="*/ 30 w 34"/>
                  <a:gd name="T53" fmla="*/ 18 h 20"/>
                  <a:gd name="T54" fmla="*/ 30 w 34"/>
                  <a:gd name="T55" fmla="*/ 18 h 20"/>
                  <a:gd name="T56" fmla="*/ 30 w 34"/>
                  <a:gd name="T57" fmla="*/ 15 h 20"/>
                  <a:gd name="T58" fmla="*/ 28 w 34"/>
                  <a:gd name="T59" fmla="*/ 15 h 20"/>
                  <a:gd name="T60" fmla="*/ 26 w 34"/>
                  <a:gd name="T61" fmla="*/ 13 h 20"/>
                  <a:gd name="T62" fmla="*/ 21 w 34"/>
                  <a:gd name="T63" fmla="*/ 15 h 20"/>
                  <a:gd name="T64" fmla="*/ 19 w 34"/>
                  <a:gd name="T65" fmla="*/ 13 h 20"/>
                  <a:gd name="T66" fmla="*/ 19 w 34"/>
                  <a:gd name="T67" fmla="*/ 11 h 20"/>
                  <a:gd name="T68" fmla="*/ 17 w 34"/>
                  <a:gd name="T69" fmla="*/ 9 h 20"/>
                  <a:gd name="T70" fmla="*/ 17 w 34"/>
                  <a:gd name="T71" fmla="*/ 9 h 20"/>
                  <a:gd name="T72" fmla="*/ 16 w 34"/>
                  <a:gd name="T73" fmla="*/ 8 h 20"/>
                  <a:gd name="T74" fmla="*/ 12 w 34"/>
                  <a:gd name="T75" fmla="*/ 8 h 20"/>
                  <a:gd name="T76" fmla="*/ 10 w 34"/>
                  <a:gd name="T77" fmla="*/ 9 h 20"/>
                  <a:gd name="T78" fmla="*/ 12 w 34"/>
                  <a:gd name="T79" fmla="*/ 11 h 20"/>
                  <a:gd name="T80" fmla="*/ 16 w 34"/>
                  <a:gd name="T81" fmla="*/ 16 h 20"/>
                  <a:gd name="T82" fmla="*/ 10 w 34"/>
                  <a:gd name="T83" fmla="*/ 15 h 20"/>
                  <a:gd name="T84" fmla="*/ 9 w 34"/>
                  <a:gd name="T85" fmla="*/ 15 h 20"/>
                  <a:gd name="T86" fmla="*/ 9 w 34"/>
                  <a:gd name="T87" fmla="*/ 13 h 20"/>
                  <a:gd name="T88" fmla="*/ 5 w 34"/>
                  <a:gd name="T89" fmla="*/ 11 h 20"/>
                  <a:gd name="T90" fmla="*/ 7 w 34"/>
                  <a:gd name="T91" fmla="*/ 9 h 20"/>
                  <a:gd name="T92" fmla="*/ 10 w 34"/>
                  <a:gd name="T93" fmla="*/ 8 h 20"/>
                  <a:gd name="T94" fmla="*/ 10 w 34"/>
                  <a:gd name="T95" fmla="*/ 8 h 20"/>
                  <a:gd name="T96" fmla="*/ 10 w 34"/>
                  <a:gd name="T97" fmla="*/ 6 h 20"/>
                  <a:gd name="T98" fmla="*/ 9 w 34"/>
                  <a:gd name="T99" fmla="*/ 8 h 20"/>
                  <a:gd name="T100" fmla="*/ 7 w 34"/>
                  <a:gd name="T101" fmla="*/ 8 h 20"/>
                  <a:gd name="T102" fmla="*/ 1 w 34"/>
                  <a:gd name="T103" fmla="*/ 9 h 20"/>
                  <a:gd name="T104" fmla="*/ 0 w 34"/>
                  <a:gd name="T105" fmla="*/ 8 h 20"/>
                  <a:gd name="T106" fmla="*/ 0 w 34"/>
                  <a:gd name="T107" fmla="*/ 6 h 20"/>
                  <a:gd name="T108" fmla="*/ 0 w 34"/>
                  <a:gd name="T109"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 h="20">
                    <a:moveTo>
                      <a:pt x="0" y="6"/>
                    </a:moveTo>
                    <a:lnTo>
                      <a:pt x="1" y="4"/>
                    </a:lnTo>
                    <a:lnTo>
                      <a:pt x="23" y="0"/>
                    </a:lnTo>
                    <a:lnTo>
                      <a:pt x="25" y="0"/>
                    </a:lnTo>
                    <a:lnTo>
                      <a:pt x="26" y="2"/>
                    </a:lnTo>
                    <a:lnTo>
                      <a:pt x="28" y="4"/>
                    </a:lnTo>
                    <a:lnTo>
                      <a:pt x="25" y="4"/>
                    </a:lnTo>
                    <a:lnTo>
                      <a:pt x="23" y="4"/>
                    </a:lnTo>
                    <a:lnTo>
                      <a:pt x="17" y="2"/>
                    </a:lnTo>
                    <a:lnTo>
                      <a:pt x="17" y="4"/>
                    </a:lnTo>
                    <a:lnTo>
                      <a:pt x="21" y="6"/>
                    </a:lnTo>
                    <a:lnTo>
                      <a:pt x="26" y="6"/>
                    </a:lnTo>
                    <a:lnTo>
                      <a:pt x="28" y="8"/>
                    </a:lnTo>
                    <a:lnTo>
                      <a:pt x="28" y="8"/>
                    </a:lnTo>
                    <a:lnTo>
                      <a:pt x="30" y="9"/>
                    </a:lnTo>
                    <a:lnTo>
                      <a:pt x="25" y="9"/>
                    </a:lnTo>
                    <a:lnTo>
                      <a:pt x="23" y="9"/>
                    </a:lnTo>
                    <a:lnTo>
                      <a:pt x="23" y="11"/>
                    </a:lnTo>
                    <a:lnTo>
                      <a:pt x="28" y="11"/>
                    </a:lnTo>
                    <a:lnTo>
                      <a:pt x="30" y="13"/>
                    </a:lnTo>
                    <a:lnTo>
                      <a:pt x="30" y="15"/>
                    </a:lnTo>
                    <a:lnTo>
                      <a:pt x="32" y="15"/>
                    </a:lnTo>
                    <a:lnTo>
                      <a:pt x="32" y="18"/>
                    </a:lnTo>
                    <a:lnTo>
                      <a:pt x="34" y="20"/>
                    </a:lnTo>
                    <a:lnTo>
                      <a:pt x="34" y="20"/>
                    </a:lnTo>
                    <a:lnTo>
                      <a:pt x="32" y="20"/>
                    </a:lnTo>
                    <a:lnTo>
                      <a:pt x="30" y="18"/>
                    </a:lnTo>
                    <a:lnTo>
                      <a:pt x="30" y="18"/>
                    </a:lnTo>
                    <a:lnTo>
                      <a:pt x="30" y="15"/>
                    </a:lnTo>
                    <a:lnTo>
                      <a:pt x="28" y="15"/>
                    </a:lnTo>
                    <a:lnTo>
                      <a:pt x="26" y="13"/>
                    </a:lnTo>
                    <a:lnTo>
                      <a:pt x="21" y="15"/>
                    </a:lnTo>
                    <a:lnTo>
                      <a:pt x="19" y="13"/>
                    </a:lnTo>
                    <a:lnTo>
                      <a:pt x="19" y="11"/>
                    </a:lnTo>
                    <a:lnTo>
                      <a:pt x="17" y="9"/>
                    </a:lnTo>
                    <a:lnTo>
                      <a:pt x="17" y="9"/>
                    </a:lnTo>
                    <a:lnTo>
                      <a:pt x="16" y="8"/>
                    </a:lnTo>
                    <a:lnTo>
                      <a:pt x="12" y="8"/>
                    </a:lnTo>
                    <a:lnTo>
                      <a:pt x="10" y="9"/>
                    </a:lnTo>
                    <a:lnTo>
                      <a:pt x="12" y="11"/>
                    </a:lnTo>
                    <a:lnTo>
                      <a:pt x="16" y="16"/>
                    </a:lnTo>
                    <a:lnTo>
                      <a:pt x="10" y="15"/>
                    </a:lnTo>
                    <a:lnTo>
                      <a:pt x="9" y="15"/>
                    </a:lnTo>
                    <a:lnTo>
                      <a:pt x="9" y="13"/>
                    </a:lnTo>
                    <a:lnTo>
                      <a:pt x="5" y="11"/>
                    </a:lnTo>
                    <a:lnTo>
                      <a:pt x="7" y="9"/>
                    </a:lnTo>
                    <a:lnTo>
                      <a:pt x="10" y="8"/>
                    </a:lnTo>
                    <a:lnTo>
                      <a:pt x="10" y="8"/>
                    </a:lnTo>
                    <a:lnTo>
                      <a:pt x="10" y="6"/>
                    </a:lnTo>
                    <a:lnTo>
                      <a:pt x="9" y="8"/>
                    </a:lnTo>
                    <a:lnTo>
                      <a:pt x="7" y="8"/>
                    </a:lnTo>
                    <a:lnTo>
                      <a:pt x="1" y="9"/>
                    </a:lnTo>
                    <a:lnTo>
                      <a:pt x="0" y="8"/>
                    </a:lnTo>
                    <a:lnTo>
                      <a:pt x="0" y="6"/>
                    </a:lnTo>
                    <a:lnTo>
                      <a:pt x="0"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20" name="Freeform 3176"/>
              <p:cNvSpPr>
                <a:spLocks/>
              </p:cNvSpPr>
              <p:nvPr/>
            </p:nvSpPr>
            <p:spPr bwMode="auto">
              <a:xfrm>
                <a:off x="1577" y="3766"/>
                <a:ext cx="34" cy="20"/>
              </a:xfrm>
              <a:custGeom>
                <a:avLst/>
                <a:gdLst>
                  <a:gd name="T0" fmla="*/ 0 w 34"/>
                  <a:gd name="T1" fmla="*/ 6 h 20"/>
                  <a:gd name="T2" fmla="*/ 1 w 34"/>
                  <a:gd name="T3" fmla="*/ 4 h 20"/>
                  <a:gd name="T4" fmla="*/ 23 w 34"/>
                  <a:gd name="T5" fmla="*/ 0 h 20"/>
                  <a:gd name="T6" fmla="*/ 25 w 34"/>
                  <a:gd name="T7" fmla="*/ 0 h 20"/>
                  <a:gd name="T8" fmla="*/ 26 w 34"/>
                  <a:gd name="T9" fmla="*/ 2 h 20"/>
                  <a:gd name="T10" fmla="*/ 28 w 34"/>
                  <a:gd name="T11" fmla="*/ 4 h 20"/>
                  <a:gd name="T12" fmla="*/ 25 w 34"/>
                  <a:gd name="T13" fmla="*/ 4 h 20"/>
                  <a:gd name="T14" fmla="*/ 23 w 34"/>
                  <a:gd name="T15" fmla="*/ 4 h 20"/>
                  <a:gd name="T16" fmla="*/ 17 w 34"/>
                  <a:gd name="T17" fmla="*/ 2 h 20"/>
                  <a:gd name="T18" fmla="*/ 17 w 34"/>
                  <a:gd name="T19" fmla="*/ 4 h 20"/>
                  <a:gd name="T20" fmla="*/ 21 w 34"/>
                  <a:gd name="T21" fmla="*/ 6 h 20"/>
                  <a:gd name="T22" fmla="*/ 26 w 34"/>
                  <a:gd name="T23" fmla="*/ 6 h 20"/>
                  <a:gd name="T24" fmla="*/ 28 w 34"/>
                  <a:gd name="T25" fmla="*/ 8 h 20"/>
                  <a:gd name="T26" fmla="*/ 28 w 34"/>
                  <a:gd name="T27" fmla="*/ 8 h 20"/>
                  <a:gd name="T28" fmla="*/ 30 w 34"/>
                  <a:gd name="T29" fmla="*/ 9 h 20"/>
                  <a:gd name="T30" fmla="*/ 25 w 34"/>
                  <a:gd name="T31" fmla="*/ 9 h 20"/>
                  <a:gd name="T32" fmla="*/ 23 w 34"/>
                  <a:gd name="T33" fmla="*/ 9 h 20"/>
                  <a:gd name="T34" fmla="*/ 23 w 34"/>
                  <a:gd name="T35" fmla="*/ 11 h 20"/>
                  <a:gd name="T36" fmla="*/ 28 w 34"/>
                  <a:gd name="T37" fmla="*/ 11 h 20"/>
                  <a:gd name="T38" fmla="*/ 30 w 34"/>
                  <a:gd name="T39" fmla="*/ 13 h 20"/>
                  <a:gd name="T40" fmla="*/ 30 w 34"/>
                  <a:gd name="T41" fmla="*/ 15 h 20"/>
                  <a:gd name="T42" fmla="*/ 32 w 34"/>
                  <a:gd name="T43" fmla="*/ 15 h 20"/>
                  <a:gd name="T44" fmla="*/ 32 w 34"/>
                  <a:gd name="T45" fmla="*/ 18 h 20"/>
                  <a:gd name="T46" fmla="*/ 34 w 34"/>
                  <a:gd name="T47" fmla="*/ 20 h 20"/>
                  <a:gd name="T48" fmla="*/ 34 w 34"/>
                  <a:gd name="T49" fmla="*/ 20 h 20"/>
                  <a:gd name="T50" fmla="*/ 32 w 34"/>
                  <a:gd name="T51" fmla="*/ 20 h 20"/>
                  <a:gd name="T52" fmla="*/ 30 w 34"/>
                  <a:gd name="T53" fmla="*/ 18 h 20"/>
                  <a:gd name="T54" fmla="*/ 30 w 34"/>
                  <a:gd name="T55" fmla="*/ 18 h 20"/>
                  <a:gd name="T56" fmla="*/ 30 w 34"/>
                  <a:gd name="T57" fmla="*/ 15 h 20"/>
                  <a:gd name="T58" fmla="*/ 28 w 34"/>
                  <a:gd name="T59" fmla="*/ 15 h 20"/>
                  <a:gd name="T60" fmla="*/ 26 w 34"/>
                  <a:gd name="T61" fmla="*/ 13 h 20"/>
                  <a:gd name="T62" fmla="*/ 21 w 34"/>
                  <a:gd name="T63" fmla="*/ 15 h 20"/>
                  <a:gd name="T64" fmla="*/ 19 w 34"/>
                  <a:gd name="T65" fmla="*/ 13 h 20"/>
                  <a:gd name="T66" fmla="*/ 19 w 34"/>
                  <a:gd name="T67" fmla="*/ 11 h 20"/>
                  <a:gd name="T68" fmla="*/ 17 w 34"/>
                  <a:gd name="T69" fmla="*/ 9 h 20"/>
                  <a:gd name="T70" fmla="*/ 17 w 34"/>
                  <a:gd name="T71" fmla="*/ 9 h 20"/>
                  <a:gd name="T72" fmla="*/ 16 w 34"/>
                  <a:gd name="T73" fmla="*/ 8 h 20"/>
                  <a:gd name="T74" fmla="*/ 12 w 34"/>
                  <a:gd name="T75" fmla="*/ 8 h 20"/>
                  <a:gd name="T76" fmla="*/ 10 w 34"/>
                  <a:gd name="T77" fmla="*/ 9 h 20"/>
                  <a:gd name="T78" fmla="*/ 12 w 34"/>
                  <a:gd name="T79" fmla="*/ 11 h 20"/>
                  <a:gd name="T80" fmla="*/ 16 w 34"/>
                  <a:gd name="T81" fmla="*/ 16 h 20"/>
                  <a:gd name="T82" fmla="*/ 10 w 34"/>
                  <a:gd name="T83" fmla="*/ 15 h 20"/>
                  <a:gd name="T84" fmla="*/ 9 w 34"/>
                  <a:gd name="T85" fmla="*/ 15 h 20"/>
                  <a:gd name="T86" fmla="*/ 9 w 34"/>
                  <a:gd name="T87" fmla="*/ 13 h 20"/>
                  <a:gd name="T88" fmla="*/ 5 w 34"/>
                  <a:gd name="T89" fmla="*/ 11 h 20"/>
                  <a:gd name="T90" fmla="*/ 7 w 34"/>
                  <a:gd name="T91" fmla="*/ 9 h 20"/>
                  <a:gd name="T92" fmla="*/ 10 w 34"/>
                  <a:gd name="T93" fmla="*/ 8 h 20"/>
                  <a:gd name="T94" fmla="*/ 10 w 34"/>
                  <a:gd name="T95" fmla="*/ 8 h 20"/>
                  <a:gd name="T96" fmla="*/ 10 w 34"/>
                  <a:gd name="T97" fmla="*/ 6 h 20"/>
                  <a:gd name="T98" fmla="*/ 9 w 34"/>
                  <a:gd name="T99" fmla="*/ 8 h 20"/>
                  <a:gd name="T100" fmla="*/ 7 w 34"/>
                  <a:gd name="T101" fmla="*/ 8 h 20"/>
                  <a:gd name="T102" fmla="*/ 1 w 34"/>
                  <a:gd name="T103" fmla="*/ 9 h 20"/>
                  <a:gd name="T104" fmla="*/ 0 w 34"/>
                  <a:gd name="T105" fmla="*/ 8 h 20"/>
                  <a:gd name="T106" fmla="*/ 0 w 34"/>
                  <a:gd name="T107" fmla="*/ 6 h 20"/>
                  <a:gd name="T108" fmla="*/ 0 w 34"/>
                  <a:gd name="T109"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4" h="20">
                    <a:moveTo>
                      <a:pt x="0" y="6"/>
                    </a:moveTo>
                    <a:lnTo>
                      <a:pt x="1" y="4"/>
                    </a:lnTo>
                    <a:lnTo>
                      <a:pt x="23" y="0"/>
                    </a:lnTo>
                    <a:lnTo>
                      <a:pt x="25" y="0"/>
                    </a:lnTo>
                    <a:lnTo>
                      <a:pt x="26" y="2"/>
                    </a:lnTo>
                    <a:lnTo>
                      <a:pt x="28" y="4"/>
                    </a:lnTo>
                    <a:lnTo>
                      <a:pt x="25" y="4"/>
                    </a:lnTo>
                    <a:lnTo>
                      <a:pt x="23" y="4"/>
                    </a:lnTo>
                    <a:lnTo>
                      <a:pt x="17" y="2"/>
                    </a:lnTo>
                    <a:lnTo>
                      <a:pt x="17" y="4"/>
                    </a:lnTo>
                    <a:lnTo>
                      <a:pt x="21" y="6"/>
                    </a:lnTo>
                    <a:lnTo>
                      <a:pt x="26" y="6"/>
                    </a:lnTo>
                    <a:lnTo>
                      <a:pt x="28" y="8"/>
                    </a:lnTo>
                    <a:lnTo>
                      <a:pt x="28" y="8"/>
                    </a:lnTo>
                    <a:lnTo>
                      <a:pt x="30" y="9"/>
                    </a:lnTo>
                    <a:lnTo>
                      <a:pt x="25" y="9"/>
                    </a:lnTo>
                    <a:lnTo>
                      <a:pt x="23" y="9"/>
                    </a:lnTo>
                    <a:lnTo>
                      <a:pt x="23" y="11"/>
                    </a:lnTo>
                    <a:lnTo>
                      <a:pt x="28" y="11"/>
                    </a:lnTo>
                    <a:lnTo>
                      <a:pt x="30" y="13"/>
                    </a:lnTo>
                    <a:lnTo>
                      <a:pt x="30" y="15"/>
                    </a:lnTo>
                    <a:lnTo>
                      <a:pt x="32" y="15"/>
                    </a:lnTo>
                    <a:lnTo>
                      <a:pt x="32" y="18"/>
                    </a:lnTo>
                    <a:lnTo>
                      <a:pt x="34" y="20"/>
                    </a:lnTo>
                    <a:lnTo>
                      <a:pt x="34" y="20"/>
                    </a:lnTo>
                    <a:lnTo>
                      <a:pt x="32" y="20"/>
                    </a:lnTo>
                    <a:lnTo>
                      <a:pt x="30" y="18"/>
                    </a:lnTo>
                    <a:lnTo>
                      <a:pt x="30" y="18"/>
                    </a:lnTo>
                    <a:lnTo>
                      <a:pt x="30" y="15"/>
                    </a:lnTo>
                    <a:lnTo>
                      <a:pt x="28" y="15"/>
                    </a:lnTo>
                    <a:lnTo>
                      <a:pt x="26" y="13"/>
                    </a:lnTo>
                    <a:lnTo>
                      <a:pt x="21" y="15"/>
                    </a:lnTo>
                    <a:lnTo>
                      <a:pt x="19" y="13"/>
                    </a:lnTo>
                    <a:lnTo>
                      <a:pt x="19" y="11"/>
                    </a:lnTo>
                    <a:lnTo>
                      <a:pt x="17" y="9"/>
                    </a:lnTo>
                    <a:lnTo>
                      <a:pt x="17" y="9"/>
                    </a:lnTo>
                    <a:lnTo>
                      <a:pt x="16" y="8"/>
                    </a:lnTo>
                    <a:lnTo>
                      <a:pt x="12" y="8"/>
                    </a:lnTo>
                    <a:lnTo>
                      <a:pt x="10" y="9"/>
                    </a:lnTo>
                    <a:lnTo>
                      <a:pt x="12" y="11"/>
                    </a:lnTo>
                    <a:lnTo>
                      <a:pt x="16" y="16"/>
                    </a:lnTo>
                    <a:lnTo>
                      <a:pt x="10" y="15"/>
                    </a:lnTo>
                    <a:lnTo>
                      <a:pt x="9" y="15"/>
                    </a:lnTo>
                    <a:lnTo>
                      <a:pt x="9" y="13"/>
                    </a:lnTo>
                    <a:lnTo>
                      <a:pt x="5" y="11"/>
                    </a:lnTo>
                    <a:lnTo>
                      <a:pt x="7" y="9"/>
                    </a:lnTo>
                    <a:lnTo>
                      <a:pt x="10" y="8"/>
                    </a:lnTo>
                    <a:lnTo>
                      <a:pt x="10" y="8"/>
                    </a:lnTo>
                    <a:lnTo>
                      <a:pt x="10" y="6"/>
                    </a:lnTo>
                    <a:lnTo>
                      <a:pt x="9" y="8"/>
                    </a:lnTo>
                    <a:lnTo>
                      <a:pt x="7" y="8"/>
                    </a:lnTo>
                    <a:lnTo>
                      <a:pt x="1" y="9"/>
                    </a:lnTo>
                    <a:lnTo>
                      <a:pt x="0" y="8"/>
                    </a:lnTo>
                    <a:lnTo>
                      <a:pt x="0" y="6"/>
                    </a:lnTo>
                    <a:lnTo>
                      <a:pt x="0"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21" name="Freeform 3177"/>
              <p:cNvSpPr>
                <a:spLocks/>
              </p:cNvSpPr>
              <p:nvPr/>
            </p:nvSpPr>
            <p:spPr bwMode="auto">
              <a:xfrm>
                <a:off x="1603" y="3765"/>
                <a:ext cx="20" cy="10"/>
              </a:xfrm>
              <a:custGeom>
                <a:avLst/>
                <a:gdLst>
                  <a:gd name="T0" fmla="*/ 4 w 20"/>
                  <a:gd name="T1" fmla="*/ 1 h 10"/>
                  <a:gd name="T2" fmla="*/ 4 w 20"/>
                  <a:gd name="T3" fmla="*/ 3 h 10"/>
                  <a:gd name="T4" fmla="*/ 2 w 20"/>
                  <a:gd name="T5" fmla="*/ 1 h 10"/>
                  <a:gd name="T6" fmla="*/ 0 w 20"/>
                  <a:gd name="T7" fmla="*/ 0 h 10"/>
                  <a:gd name="T8" fmla="*/ 9 w 20"/>
                  <a:gd name="T9" fmla="*/ 0 h 10"/>
                  <a:gd name="T10" fmla="*/ 18 w 20"/>
                  <a:gd name="T11" fmla="*/ 1 h 10"/>
                  <a:gd name="T12" fmla="*/ 20 w 20"/>
                  <a:gd name="T13" fmla="*/ 1 h 10"/>
                  <a:gd name="T14" fmla="*/ 20 w 20"/>
                  <a:gd name="T15" fmla="*/ 7 h 10"/>
                  <a:gd name="T16" fmla="*/ 20 w 20"/>
                  <a:gd name="T17" fmla="*/ 9 h 10"/>
                  <a:gd name="T18" fmla="*/ 20 w 20"/>
                  <a:gd name="T19" fmla="*/ 10 h 10"/>
                  <a:gd name="T20" fmla="*/ 18 w 20"/>
                  <a:gd name="T21" fmla="*/ 10 h 10"/>
                  <a:gd name="T22" fmla="*/ 16 w 20"/>
                  <a:gd name="T23" fmla="*/ 10 h 10"/>
                  <a:gd name="T24" fmla="*/ 16 w 20"/>
                  <a:gd name="T25" fmla="*/ 10 h 10"/>
                  <a:gd name="T26" fmla="*/ 15 w 20"/>
                  <a:gd name="T27" fmla="*/ 9 h 10"/>
                  <a:gd name="T28" fmla="*/ 13 w 20"/>
                  <a:gd name="T29" fmla="*/ 9 h 10"/>
                  <a:gd name="T30" fmla="*/ 13 w 20"/>
                  <a:gd name="T31" fmla="*/ 9 h 10"/>
                  <a:gd name="T32" fmla="*/ 13 w 20"/>
                  <a:gd name="T33" fmla="*/ 9 h 10"/>
                  <a:gd name="T34" fmla="*/ 11 w 20"/>
                  <a:gd name="T35" fmla="*/ 9 h 10"/>
                  <a:gd name="T36" fmla="*/ 9 w 20"/>
                  <a:gd name="T37" fmla="*/ 9 h 10"/>
                  <a:gd name="T38" fmla="*/ 11 w 20"/>
                  <a:gd name="T39" fmla="*/ 9 h 10"/>
                  <a:gd name="T40" fmla="*/ 6 w 20"/>
                  <a:gd name="T41" fmla="*/ 7 h 10"/>
                  <a:gd name="T42" fmla="*/ 4 w 20"/>
                  <a:gd name="T43"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0">
                    <a:moveTo>
                      <a:pt x="4" y="1"/>
                    </a:moveTo>
                    <a:lnTo>
                      <a:pt x="4" y="3"/>
                    </a:lnTo>
                    <a:lnTo>
                      <a:pt x="2" y="1"/>
                    </a:lnTo>
                    <a:lnTo>
                      <a:pt x="0" y="0"/>
                    </a:lnTo>
                    <a:lnTo>
                      <a:pt x="9" y="0"/>
                    </a:lnTo>
                    <a:lnTo>
                      <a:pt x="18" y="1"/>
                    </a:lnTo>
                    <a:lnTo>
                      <a:pt x="20" y="1"/>
                    </a:lnTo>
                    <a:lnTo>
                      <a:pt x="20" y="7"/>
                    </a:lnTo>
                    <a:lnTo>
                      <a:pt x="20" y="9"/>
                    </a:lnTo>
                    <a:lnTo>
                      <a:pt x="20" y="10"/>
                    </a:lnTo>
                    <a:lnTo>
                      <a:pt x="18" y="10"/>
                    </a:lnTo>
                    <a:lnTo>
                      <a:pt x="16" y="10"/>
                    </a:lnTo>
                    <a:lnTo>
                      <a:pt x="16" y="10"/>
                    </a:lnTo>
                    <a:lnTo>
                      <a:pt x="15" y="9"/>
                    </a:lnTo>
                    <a:lnTo>
                      <a:pt x="13" y="9"/>
                    </a:lnTo>
                    <a:lnTo>
                      <a:pt x="13" y="9"/>
                    </a:lnTo>
                    <a:lnTo>
                      <a:pt x="13" y="9"/>
                    </a:lnTo>
                    <a:lnTo>
                      <a:pt x="11" y="9"/>
                    </a:lnTo>
                    <a:lnTo>
                      <a:pt x="9" y="9"/>
                    </a:lnTo>
                    <a:lnTo>
                      <a:pt x="11" y="9"/>
                    </a:lnTo>
                    <a:lnTo>
                      <a:pt x="6" y="7"/>
                    </a:lnTo>
                    <a:lnTo>
                      <a:pt x="4"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22" name="Freeform 3178"/>
              <p:cNvSpPr>
                <a:spLocks/>
              </p:cNvSpPr>
              <p:nvPr/>
            </p:nvSpPr>
            <p:spPr bwMode="auto">
              <a:xfrm>
                <a:off x="1603" y="3765"/>
                <a:ext cx="20" cy="10"/>
              </a:xfrm>
              <a:custGeom>
                <a:avLst/>
                <a:gdLst>
                  <a:gd name="T0" fmla="*/ 4 w 20"/>
                  <a:gd name="T1" fmla="*/ 1 h 10"/>
                  <a:gd name="T2" fmla="*/ 4 w 20"/>
                  <a:gd name="T3" fmla="*/ 3 h 10"/>
                  <a:gd name="T4" fmla="*/ 2 w 20"/>
                  <a:gd name="T5" fmla="*/ 1 h 10"/>
                  <a:gd name="T6" fmla="*/ 0 w 20"/>
                  <a:gd name="T7" fmla="*/ 0 h 10"/>
                  <a:gd name="T8" fmla="*/ 9 w 20"/>
                  <a:gd name="T9" fmla="*/ 0 h 10"/>
                  <a:gd name="T10" fmla="*/ 18 w 20"/>
                  <a:gd name="T11" fmla="*/ 1 h 10"/>
                  <a:gd name="T12" fmla="*/ 20 w 20"/>
                  <a:gd name="T13" fmla="*/ 1 h 10"/>
                  <a:gd name="T14" fmla="*/ 20 w 20"/>
                  <a:gd name="T15" fmla="*/ 7 h 10"/>
                  <a:gd name="T16" fmla="*/ 20 w 20"/>
                  <a:gd name="T17" fmla="*/ 9 h 10"/>
                  <a:gd name="T18" fmla="*/ 20 w 20"/>
                  <a:gd name="T19" fmla="*/ 10 h 10"/>
                  <a:gd name="T20" fmla="*/ 18 w 20"/>
                  <a:gd name="T21" fmla="*/ 10 h 10"/>
                  <a:gd name="T22" fmla="*/ 16 w 20"/>
                  <a:gd name="T23" fmla="*/ 10 h 10"/>
                  <a:gd name="T24" fmla="*/ 16 w 20"/>
                  <a:gd name="T25" fmla="*/ 10 h 10"/>
                  <a:gd name="T26" fmla="*/ 15 w 20"/>
                  <a:gd name="T27" fmla="*/ 9 h 10"/>
                  <a:gd name="T28" fmla="*/ 13 w 20"/>
                  <a:gd name="T29" fmla="*/ 9 h 10"/>
                  <a:gd name="T30" fmla="*/ 13 w 20"/>
                  <a:gd name="T31" fmla="*/ 9 h 10"/>
                  <a:gd name="T32" fmla="*/ 13 w 20"/>
                  <a:gd name="T33" fmla="*/ 9 h 10"/>
                  <a:gd name="T34" fmla="*/ 11 w 20"/>
                  <a:gd name="T35" fmla="*/ 9 h 10"/>
                  <a:gd name="T36" fmla="*/ 9 w 20"/>
                  <a:gd name="T37" fmla="*/ 9 h 10"/>
                  <a:gd name="T38" fmla="*/ 11 w 20"/>
                  <a:gd name="T39" fmla="*/ 9 h 10"/>
                  <a:gd name="T40" fmla="*/ 6 w 20"/>
                  <a:gd name="T41" fmla="*/ 7 h 10"/>
                  <a:gd name="T42" fmla="*/ 4 w 20"/>
                  <a:gd name="T43"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10">
                    <a:moveTo>
                      <a:pt x="4" y="1"/>
                    </a:moveTo>
                    <a:lnTo>
                      <a:pt x="4" y="3"/>
                    </a:lnTo>
                    <a:lnTo>
                      <a:pt x="2" y="1"/>
                    </a:lnTo>
                    <a:lnTo>
                      <a:pt x="0" y="0"/>
                    </a:lnTo>
                    <a:lnTo>
                      <a:pt x="9" y="0"/>
                    </a:lnTo>
                    <a:lnTo>
                      <a:pt x="18" y="1"/>
                    </a:lnTo>
                    <a:lnTo>
                      <a:pt x="20" y="1"/>
                    </a:lnTo>
                    <a:lnTo>
                      <a:pt x="20" y="7"/>
                    </a:lnTo>
                    <a:lnTo>
                      <a:pt x="20" y="9"/>
                    </a:lnTo>
                    <a:lnTo>
                      <a:pt x="20" y="10"/>
                    </a:lnTo>
                    <a:lnTo>
                      <a:pt x="18" y="10"/>
                    </a:lnTo>
                    <a:lnTo>
                      <a:pt x="16" y="10"/>
                    </a:lnTo>
                    <a:lnTo>
                      <a:pt x="16" y="10"/>
                    </a:lnTo>
                    <a:lnTo>
                      <a:pt x="15" y="9"/>
                    </a:lnTo>
                    <a:lnTo>
                      <a:pt x="13" y="9"/>
                    </a:lnTo>
                    <a:lnTo>
                      <a:pt x="13" y="9"/>
                    </a:lnTo>
                    <a:lnTo>
                      <a:pt x="13" y="9"/>
                    </a:lnTo>
                    <a:lnTo>
                      <a:pt x="11" y="9"/>
                    </a:lnTo>
                    <a:lnTo>
                      <a:pt x="9" y="9"/>
                    </a:lnTo>
                    <a:lnTo>
                      <a:pt x="11" y="9"/>
                    </a:lnTo>
                    <a:lnTo>
                      <a:pt x="6" y="7"/>
                    </a:lnTo>
                    <a:lnTo>
                      <a:pt x="4"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23" name="Freeform 3179"/>
              <p:cNvSpPr>
                <a:spLocks/>
              </p:cNvSpPr>
              <p:nvPr/>
            </p:nvSpPr>
            <p:spPr bwMode="auto">
              <a:xfrm>
                <a:off x="1630" y="3772"/>
                <a:ext cx="4" cy="3"/>
              </a:xfrm>
              <a:custGeom>
                <a:avLst/>
                <a:gdLst>
                  <a:gd name="T0" fmla="*/ 0 w 4"/>
                  <a:gd name="T1" fmla="*/ 2 h 3"/>
                  <a:gd name="T2" fmla="*/ 2 w 4"/>
                  <a:gd name="T3" fmla="*/ 0 h 3"/>
                  <a:gd name="T4" fmla="*/ 4 w 4"/>
                  <a:gd name="T5" fmla="*/ 2 h 3"/>
                  <a:gd name="T6" fmla="*/ 4 w 4"/>
                  <a:gd name="T7" fmla="*/ 2 h 3"/>
                  <a:gd name="T8" fmla="*/ 2 w 4"/>
                  <a:gd name="T9" fmla="*/ 3 h 3"/>
                  <a:gd name="T10" fmla="*/ 2 w 4"/>
                  <a:gd name="T11" fmla="*/ 3 h 3"/>
                  <a:gd name="T12" fmla="*/ 0 w 4"/>
                  <a:gd name="T13" fmla="*/ 2 h 3"/>
                  <a:gd name="T14" fmla="*/ 0 w 4"/>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0" y="2"/>
                    </a:moveTo>
                    <a:lnTo>
                      <a:pt x="2" y="0"/>
                    </a:lnTo>
                    <a:lnTo>
                      <a:pt x="4" y="2"/>
                    </a:lnTo>
                    <a:lnTo>
                      <a:pt x="4" y="2"/>
                    </a:lnTo>
                    <a:lnTo>
                      <a:pt x="2" y="3"/>
                    </a:lnTo>
                    <a:lnTo>
                      <a:pt x="2" y="3"/>
                    </a:lnTo>
                    <a:lnTo>
                      <a:pt x="0" y="2"/>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24" name="Freeform 3180"/>
              <p:cNvSpPr>
                <a:spLocks/>
              </p:cNvSpPr>
              <p:nvPr/>
            </p:nvSpPr>
            <p:spPr bwMode="auto">
              <a:xfrm>
                <a:off x="1630" y="3772"/>
                <a:ext cx="4" cy="3"/>
              </a:xfrm>
              <a:custGeom>
                <a:avLst/>
                <a:gdLst>
                  <a:gd name="T0" fmla="*/ 0 w 4"/>
                  <a:gd name="T1" fmla="*/ 2 h 3"/>
                  <a:gd name="T2" fmla="*/ 2 w 4"/>
                  <a:gd name="T3" fmla="*/ 0 h 3"/>
                  <a:gd name="T4" fmla="*/ 4 w 4"/>
                  <a:gd name="T5" fmla="*/ 2 h 3"/>
                  <a:gd name="T6" fmla="*/ 4 w 4"/>
                  <a:gd name="T7" fmla="*/ 2 h 3"/>
                  <a:gd name="T8" fmla="*/ 2 w 4"/>
                  <a:gd name="T9" fmla="*/ 3 h 3"/>
                  <a:gd name="T10" fmla="*/ 2 w 4"/>
                  <a:gd name="T11" fmla="*/ 3 h 3"/>
                  <a:gd name="T12" fmla="*/ 0 w 4"/>
                  <a:gd name="T13" fmla="*/ 2 h 3"/>
                  <a:gd name="T14" fmla="*/ 0 w 4"/>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0" y="2"/>
                    </a:moveTo>
                    <a:lnTo>
                      <a:pt x="2" y="0"/>
                    </a:lnTo>
                    <a:lnTo>
                      <a:pt x="4" y="2"/>
                    </a:lnTo>
                    <a:lnTo>
                      <a:pt x="4" y="2"/>
                    </a:lnTo>
                    <a:lnTo>
                      <a:pt x="2" y="3"/>
                    </a:lnTo>
                    <a:lnTo>
                      <a:pt x="2" y="3"/>
                    </a:lnTo>
                    <a:lnTo>
                      <a:pt x="0" y="2"/>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25" name="Freeform 3181"/>
              <p:cNvSpPr>
                <a:spLocks/>
              </p:cNvSpPr>
              <p:nvPr/>
            </p:nvSpPr>
            <p:spPr bwMode="auto">
              <a:xfrm>
                <a:off x="1625" y="3766"/>
                <a:ext cx="3" cy="4"/>
              </a:xfrm>
              <a:custGeom>
                <a:avLst/>
                <a:gdLst>
                  <a:gd name="T0" fmla="*/ 3 w 3"/>
                  <a:gd name="T1" fmla="*/ 4 h 4"/>
                  <a:gd name="T2" fmla="*/ 2 w 3"/>
                  <a:gd name="T3" fmla="*/ 4 h 4"/>
                  <a:gd name="T4" fmla="*/ 0 w 3"/>
                  <a:gd name="T5" fmla="*/ 0 h 4"/>
                  <a:gd name="T6" fmla="*/ 0 w 3"/>
                  <a:gd name="T7" fmla="*/ 0 h 4"/>
                  <a:gd name="T8" fmla="*/ 2 w 3"/>
                  <a:gd name="T9" fmla="*/ 0 h 4"/>
                  <a:gd name="T10" fmla="*/ 3 w 3"/>
                  <a:gd name="T11" fmla="*/ 2 h 4"/>
                  <a:gd name="T12" fmla="*/ 3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4"/>
                    </a:moveTo>
                    <a:lnTo>
                      <a:pt x="2" y="4"/>
                    </a:lnTo>
                    <a:lnTo>
                      <a:pt x="0" y="0"/>
                    </a:lnTo>
                    <a:lnTo>
                      <a:pt x="0" y="0"/>
                    </a:lnTo>
                    <a:lnTo>
                      <a:pt x="2" y="0"/>
                    </a:lnTo>
                    <a:lnTo>
                      <a:pt x="3" y="2"/>
                    </a:lnTo>
                    <a:lnTo>
                      <a:pt x="3"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26" name="Freeform 3182"/>
              <p:cNvSpPr>
                <a:spLocks/>
              </p:cNvSpPr>
              <p:nvPr/>
            </p:nvSpPr>
            <p:spPr bwMode="auto">
              <a:xfrm>
                <a:off x="1625" y="3766"/>
                <a:ext cx="3" cy="4"/>
              </a:xfrm>
              <a:custGeom>
                <a:avLst/>
                <a:gdLst>
                  <a:gd name="T0" fmla="*/ 3 w 3"/>
                  <a:gd name="T1" fmla="*/ 4 h 4"/>
                  <a:gd name="T2" fmla="*/ 2 w 3"/>
                  <a:gd name="T3" fmla="*/ 4 h 4"/>
                  <a:gd name="T4" fmla="*/ 0 w 3"/>
                  <a:gd name="T5" fmla="*/ 0 h 4"/>
                  <a:gd name="T6" fmla="*/ 0 w 3"/>
                  <a:gd name="T7" fmla="*/ 0 h 4"/>
                  <a:gd name="T8" fmla="*/ 2 w 3"/>
                  <a:gd name="T9" fmla="*/ 0 h 4"/>
                  <a:gd name="T10" fmla="*/ 3 w 3"/>
                  <a:gd name="T11" fmla="*/ 2 h 4"/>
                  <a:gd name="T12" fmla="*/ 3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3" y="4"/>
                    </a:moveTo>
                    <a:lnTo>
                      <a:pt x="2" y="4"/>
                    </a:lnTo>
                    <a:lnTo>
                      <a:pt x="0" y="0"/>
                    </a:lnTo>
                    <a:lnTo>
                      <a:pt x="0" y="0"/>
                    </a:lnTo>
                    <a:lnTo>
                      <a:pt x="2" y="0"/>
                    </a:lnTo>
                    <a:lnTo>
                      <a:pt x="3" y="2"/>
                    </a:lnTo>
                    <a:lnTo>
                      <a:pt x="3"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27" name="Freeform 3183"/>
              <p:cNvSpPr>
                <a:spLocks/>
              </p:cNvSpPr>
              <p:nvPr/>
            </p:nvSpPr>
            <p:spPr bwMode="auto">
              <a:xfrm>
                <a:off x="1625" y="3774"/>
                <a:ext cx="2" cy="3"/>
              </a:xfrm>
              <a:custGeom>
                <a:avLst/>
                <a:gdLst>
                  <a:gd name="T0" fmla="*/ 2 w 2"/>
                  <a:gd name="T1" fmla="*/ 3 h 3"/>
                  <a:gd name="T2" fmla="*/ 0 w 2"/>
                  <a:gd name="T3" fmla="*/ 3 h 3"/>
                  <a:gd name="T4" fmla="*/ 0 w 2"/>
                  <a:gd name="T5" fmla="*/ 1 h 3"/>
                  <a:gd name="T6" fmla="*/ 0 w 2"/>
                  <a:gd name="T7" fmla="*/ 0 h 3"/>
                  <a:gd name="T8" fmla="*/ 0 w 2"/>
                  <a:gd name="T9" fmla="*/ 0 h 3"/>
                  <a:gd name="T10" fmla="*/ 2 w 2"/>
                  <a:gd name="T11" fmla="*/ 0 h 3"/>
                  <a:gd name="T12" fmla="*/ 2 w 2"/>
                  <a:gd name="T13" fmla="*/ 1 h 3"/>
                  <a:gd name="T14" fmla="*/ 2 w 2"/>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2" y="3"/>
                    </a:moveTo>
                    <a:lnTo>
                      <a:pt x="0" y="3"/>
                    </a:lnTo>
                    <a:lnTo>
                      <a:pt x="0" y="1"/>
                    </a:lnTo>
                    <a:lnTo>
                      <a:pt x="0" y="0"/>
                    </a:lnTo>
                    <a:lnTo>
                      <a:pt x="0" y="0"/>
                    </a:lnTo>
                    <a:lnTo>
                      <a:pt x="2" y="0"/>
                    </a:lnTo>
                    <a:lnTo>
                      <a:pt x="2" y="1"/>
                    </a:lnTo>
                    <a:lnTo>
                      <a:pt x="2"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28" name="Freeform 3184"/>
              <p:cNvSpPr>
                <a:spLocks/>
              </p:cNvSpPr>
              <p:nvPr/>
            </p:nvSpPr>
            <p:spPr bwMode="auto">
              <a:xfrm>
                <a:off x="1625" y="3774"/>
                <a:ext cx="2" cy="3"/>
              </a:xfrm>
              <a:custGeom>
                <a:avLst/>
                <a:gdLst>
                  <a:gd name="T0" fmla="*/ 2 w 2"/>
                  <a:gd name="T1" fmla="*/ 3 h 3"/>
                  <a:gd name="T2" fmla="*/ 0 w 2"/>
                  <a:gd name="T3" fmla="*/ 3 h 3"/>
                  <a:gd name="T4" fmla="*/ 0 w 2"/>
                  <a:gd name="T5" fmla="*/ 1 h 3"/>
                  <a:gd name="T6" fmla="*/ 0 w 2"/>
                  <a:gd name="T7" fmla="*/ 0 h 3"/>
                  <a:gd name="T8" fmla="*/ 0 w 2"/>
                  <a:gd name="T9" fmla="*/ 0 h 3"/>
                  <a:gd name="T10" fmla="*/ 2 w 2"/>
                  <a:gd name="T11" fmla="*/ 0 h 3"/>
                  <a:gd name="T12" fmla="*/ 2 w 2"/>
                  <a:gd name="T13" fmla="*/ 1 h 3"/>
                  <a:gd name="T14" fmla="*/ 2 w 2"/>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2" y="3"/>
                    </a:moveTo>
                    <a:lnTo>
                      <a:pt x="0" y="3"/>
                    </a:lnTo>
                    <a:lnTo>
                      <a:pt x="0" y="1"/>
                    </a:lnTo>
                    <a:lnTo>
                      <a:pt x="0" y="0"/>
                    </a:lnTo>
                    <a:lnTo>
                      <a:pt x="0" y="0"/>
                    </a:lnTo>
                    <a:lnTo>
                      <a:pt x="2" y="0"/>
                    </a:lnTo>
                    <a:lnTo>
                      <a:pt x="2" y="1"/>
                    </a:lnTo>
                    <a:lnTo>
                      <a:pt x="2"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29" name="Freeform 3185"/>
              <p:cNvSpPr>
                <a:spLocks/>
              </p:cNvSpPr>
              <p:nvPr/>
            </p:nvSpPr>
            <p:spPr bwMode="auto">
              <a:xfrm>
                <a:off x="1232" y="2711"/>
                <a:ext cx="9" cy="20"/>
              </a:xfrm>
              <a:custGeom>
                <a:avLst/>
                <a:gdLst>
                  <a:gd name="T0" fmla="*/ 4 w 9"/>
                  <a:gd name="T1" fmla="*/ 0 h 20"/>
                  <a:gd name="T2" fmla="*/ 5 w 9"/>
                  <a:gd name="T3" fmla="*/ 7 h 20"/>
                  <a:gd name="T4" fmla="*/ 7 w 9"/>
                  <a:gd name="T5" fmla="*/ 9 h 20"/>
                  <a:gd name="T6" fmla="*/ 9 w 9"/>
                  <a:gd name="T7" fmla="*/ 16 h 20"/>
                  <a:gd name="T8" fmla="*/ 9 w 9"/>
                  <a:gd name="T9" fmla="*/ 16 h 20"/>
                  <a:gd name="T10" fmla="*/ 7 w 9"/>
                  <a:gd name="T11" fmla="*/ 20 h 20"/>
                  <a:gd name="T12" fmla="*/ 4 w 9"/>
                  <a:gd name="T13" fmla="*/ 20 h 20"/>
                  <a:gd name="T14" fmla="*/ 2 w 9"/>
                  <a:gd name="T15" fmla="*/ 18 h 20"/>
                  <a:gd name="T16" fmla="*/ 0 w 9"/>
                  <a:gd name="T17" fmla="*/ 18 h 20"/>
                  <a:gd name="T18" fmla="*/ 0 w 9"/>
                  <a:gd name="T19" fmla="*/ 16 h 20"/>
                  <a:gd name="T20" fmla="*/ 2 w 9"/>
                  <a:gd name="T21" fmla="*/ 14 h 20"/>
                  <a:gd name="T22" fmla="*/ 4 w 9"/>
                  <a:gd name="T23" fmla="*/ 13 h 20"/>
                  <a:gd name="T24" fmla="*/ 5 w 9"/>
                  <a:gd name="T25" fmla="*/ 11 h 20"/>
                  <a:gd name="T26" fmla="*/ 5 w 9"/>
                  <a:gd name="T27" fmla="*/ 9 h 20"/>
                  <a:gd name="T28" fmla="*/ 2 w 9"/>
                  <a:gd name="T29" fmla="*/ 5 h 20"/>
                  <a:gd name="T30" fmla="*/ 2 w 9"/>
                  <a:gd name="T31" fmla="*/ 4 h 20"/>
                  <a:gd name="T32" fmla="*/ 0 w 9"/>
                  <a:gd name="T33" fmla="*/ 4 h 20"/>
                  <a:gd name="T34" fmla="*/ 0 w 9"/>
                  <a:gd name="T35" fmla="*/ 4 h 20"/>
                  <a:gd name="T36" fmla="*/ 0 w 9"/>
                  <a:gd name="T37" fmla="*/ 2 h 20"/>
                  <a:gd name="T38" fmla="*/ 4 w 9"/>
                  <a:gd name="T3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20">
                    <a:moveTo>
                      <a:pt x="4" y="0"/>
                    </a:moveTo>
                    <a:lnTo>
                      <a:pt x="5" y="7"/>
                    </a:lnTo>
                    <a:lnTo>
                      <a:pt x="7" y="9"/>
                    </a:lnTo>
                    <a:lnTo>
                      <a:pt x="9" y="16"/>
                    </a:lnTo>
                    <a:lnTo>
                      <a:pt x="9" y="16"/>
                    </a:lnTo>
                    <a:lnTo>
                      <a:pt x="7" y="20"/>
                    </a:lnTo>
                    <a:lnTo>
                      <a:pt x="4" y="20"/>
                    </a:lnTo>
                    <a:lnTo>
                      <a:pt x="2" y="18"/>
                    </a:lnTo>
                    <a:lnTo>
                      <a:pt x="0" y="18"/>
                    </a:lnTo>
                    <a:lnTo>
                      <a:pt x="0" y="16"/>
                    </a:lnTo>
                    <a:lnTo>
                      <a:pt x="2" y="14"/>
                    </a:lnTo>
                    <a:lnTo>
                      <a:pt x="4" y="13"/>
                    </a:lnTo>
                    <a:lnTo>
                      <a:pt x="5" y="11"/>
                    </a:lnTo>
                    <a:lnTo>
                      <a:pt x="5" y="9"/>
                    </a:lnTo>
                    <a:lnTo>
                      <a:pt x="2" y="5"/>
                    </a:lnTo>
                    <a:lnTo>
                      <a:pt x="2" y="4"/>
                    </a:lnTo>
                    <a:lnTo>
                      <a:pt x="0" y="4"/>
                    </a:lnTo>
                    <a:lnTo>
                      <a:pt x="0" y="4"/>
                    </a:lnTo>
                    <a:lnTo>
                      <a:pt x="0" y="2"/>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30" name="Freeform 3186"/>
              <p:cNvSpPr>
                <a:spLocks/>
              </p:cNvSpPr>
              <p:nvPr/>
            </p:nvSpPr>
            <p:spPr bwMode="auto">
              <a:xfrm>
                <a:off x="1232" y="2711"/>
                <a:ext cx="9" cy="20"/>
              </a:xfrm>
              <a:custGeom>
                <a:avLst/>
                <a:gdLst>
                  <a:gd name="T0" fmla="*/ 4 w 9"/>
                  <a:gd name="T1" fmla="*/ 0 h 20"/>
                  <a:gd name="T2" fmla="*/ 5 w 9"/>
                  <a:gd name="T3" fmla="*/ 7 h 20"/>
                  <a:gd name="T4" fmla="*/ 7 w 9"/>
                  <a:gd name="T5" fmla="*/ 9 h 20"/>
                  <a:gd name="T6" fmla="*/ 9 w 9"/>
                  <a:gd name="T7" fmla="*/ 16 h 20"/>
                  <a:gd name="T8" fmla="*/ 9 w 9"/>
                  <a:gd name="T9" fmla="*/ 16 h 20"/>
                  <a:gd name="T10" fmla="*/ 7 w 9"/>
                  <a:gd name="T11" fmla="*/ 20 h 20"/>
                  <a:gd name="T12" fmla="*/ 4 w 9"/>
                  <a:gd name="T13" fmla="*/ 20 h 20"/>
                  <a:gd name="T14" fmla="*/ 2 w 9"/>
                  <a:gd name="T15" fmla="*/ 18 h 20"/>
                  <a:gd name="T16" fmla="*/ 0 w 9"/>
                  <a:gd name="T17" fmla="*/ 18 h 20"/>
                  <a:gd name="T18" fmla="*/ 0 w 9"/>
                  <a:gd name="T19" fmla="*/ 16 h 20"/>
                  <a:gd name="T20" fmla="*/ 2 w 9"/>
                  <a:gd name="T21" fmla="*/ 14 h 20"/>
                  <a:gd name="T22" fmla="*/ 4 w 9"/>
                  <a:gd name="T23" fmla="*/ 13 h 20"/>
                  <a:gd name="T24" fmla="*/ 5 w 9"/>
                  <a:gd name="T25" fmla="*/ 11 h 20"/>
                  <a:gd name="T26" fmla="*/ 5 w 9"/>
                  <a:gd name="T27" fmla="*/ 9 h 20"/>
                  <a:gd name="T28" fmla="*/ 2 w 9"/>
                  <a:gd name="T29" fmla="*/ 5 h 20"/>
                  <a:gd name="T30" fmla="*/ 2 w 9"/>
                  <a:gd name="T31" fmla="*/ 4 h 20"/>
                  <a:gd name="T32" fmla="*/ 0 w 9"/>
                  <a:gd name="T33" fmla="*/ 4 h 20"/>
                  <a:gd name="T34" fmla="*/ 0 w 9"/>
                  <a:gd name="T35" fmla="*/ 4 h 20"/>
                  <a:gd name="T36" fmla="*/ 0 w 9"/>
                  <a:gd name="T37" fmla="*/ 2 h 20"/>
                  <a:gd name="T38" fmla="*/ 4 w 9"/>
                  <a:gd name="T3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20">
                    <a:moveTo>
                      <a:pt x="4" y="0"/>
                    </a:moveTo>
                    <a:lnTo>
                      <a:pt x="5" y="7"/>
                    </a:lnTo>
                    <a:lnTo>
                      <a:pt x="7" y="9"/>
                    </a:lnTo>
                    <a:lnTo>
                      <a:pt x="9" y="16"/>
                    </a:lnTo>
                    <a:lnTo>
                      <a:pt x="9" y="16"/>
                    </a:lnTo>
                    <a:lnTo>
                      <a:pt x="7" y="20"/>
                    </a:lnTo>
                    <a:lnTo>
                      <a:pt x="4" y="20"/>
                    </a:lnTo>
                    <a:lnTo>
                      <a:pt x="2" y="18"/>
                    </a:lnTo>
                    <a:lnTo>
                      <a:pt x="0" y="18"/>
                    </a:lnTo>
                    <a:lnTo>
                      <a:pt x="0" y="16"/>
                    </a:lnTo>
                    <a:lnTo>
                      <a:pt x="2" y="14"/>
                    </a:lnTo>
                    <a:lnTo>
                      <a:pt x="4" y="13"/>
                    </a:lnTo>
                    <a:lnTo>
                      <a:pt x="5" y="11"/>
                    </a:lnTo>
                    <a:lnTo>
                      <a:pt x="5" y="9"/>
                    </a:lnTo>
                    <a:lnTo>
                      <a:pt x="2" y="5"/>
                    </a:lnTo>
                    <a:lnTo>
                      <a:pt x="2" y="4"/>
                    </a:lnTo>
                    <a:lnTo>
                      <a:pt x="0" y="4"/>
                    </a:lnTo>
                    <a:lnTo>
                      <a:pt x="0" y="4"/>
                    </a:lnTo>
                    <a:lnTo>
                      <a:pt x="0" y="2"/>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31" name="Freeform 3187"/>
              <p:cNvSpPr>
                <a:spLocks/>
              </p:cNvSpPr>
              <p:nvPr/>
            </p:nvSpPr>
            <p:spPr bwMode="auto">
              <a:xfrm>
                <a:off x="1243" y="2716"/>
                <a:ext cx="3" cy="4"/>
              </a:xfrm>
              <a:custGeom>
                <a:avLst/>
                <a:gdLst>
                  <a:gd name="T0" fmla="*/ 1 w 3"/>
                  <a:gd name="T1" fmla="*/ 0 h 4"/>
                  <a:gd name="T2" fmla="*/ 0 w 3"/>
                  <a:gd name="T3" fmla="*/ 0 h 4"/>
                  <a:gd name="T4" fmla="*/ 0 w 3"/>
                  <a:gd name="T5" fmla="*/ 2 h 4"/>
                  <a:gd name="T6" fmla="*/ 0 w 3"/>
                  <a:gd name="T7" fmla="*/ 2 h 4"/>
                  <a:gd name="T8" fmla="*/ 1 w 3"/>
                  <a:gd name="T9" fmla="*/ 4 h 4"/>
                  <a:gd name="T10" fmla="*/ 3 w 3"/>
                  <a:gd name="T11" fmla="*/ 4 h 4"/>
                  <a:gd name="T12" fmla="*/ 3 w 3"/>
                  <a:gd name="T13" fmla="*/ 2 h 4"/>
                  <a:gd name="T14" fmla="*/ 3 w 3"/>
                  <a:gd name="T15" fmla="*/ 0 h 4"/>
                  <a:gd name="T16" fmla="*/ 1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1" y="0"/>
                    </a:moveTo>
                    <a:lnTo>
                      <a:pt x="0" y="0"/>
                    </a:lnTo>
                    <a:lnTo>
                      <a:pt x="0" y="2"/>
                    </a:lnTo>
                    <a:lnTo>
                      <a:pt x="0" y="2"/>
                    </a:lnTo>
                    <a:lnTo>
                      <a:pt x="1" y="4"/>
                    </a:lnTo>
                    <a:lnTo>
                      <a:pt x="3" y="4"/>
                    </a:lnTo>
                    <a:lnTo>
                      <a:pt x="3" y="2"/>
                    </a:lnTo>
                    <a:lnTo>
                      <a:pt x="3" y="0"/>
                    </a:lnTo>
                    <a:lnTo>
                      <a:pt x="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32" name="Freeform 3188"/>
              <p:cNvSpPr>
                <a:spLocks/>
              </p:cNvSpPr>
              <p:nvPr/>
            </p:nvSpPr>
            <p:spPr bwMode="auto">
              <a:xfrm>
                <a:off x="1243" y="2716"/>
                <a:ext cx="3" cy="4"/>
              </a:xfrm>
              <a:custGeom>
                <a:avLst/>
                <a:gdLst>
                  <a:gd name="T0" fmla="*/ 1 w 3"/>
                  <a:gd name="T1" fmla="*/ 0 h 4"/>
                  <a:gd name="T2" fmla="*/ 0 w 3"/>
                  <a:gd name="T3" fmla="*/ 0 h 4"/>
                  <a:gd name="T4" fmla="*/ 0 w 3"/>
                  <a:gd name="T5" fmla="*/ 2 h 4"/>
                  <a:gd name="T6" fmla="*/ 0 w 3"/>
                  <a:gd name="T7" fmla="*/ 2 h 4"/>
                  <a:gd name="T8" fmla="*/ 1 w 3"/>
                  <a:gd name="T9" fmla="*/ 4 h 4"/>
                  <a:gd name="T10" fmla="*/ 3 w 3"/>
                  <a:gd name="T11" fmla="*/ 4 h 4"/>
                  <a:gd name="T12" fmla="*/ 3 w 3"/>
                  <a:gd name="T13" fmla="*/ 2 h 4"/>
                  <a:gd name="T14" fmla="*/ 3 w 3"/>
                  <a:gd name="T15" fmla="*/ 0 h 4"/>
                  <a:gd name="T16" fmla="*/ 1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1" y="0"/>
                    </a:moveTo>
                    <a:lnTo>
                      <a:pt x="0" y="0"/>
                    </a:lnTo>
                    <a:lnTo>
                      <a:pt x="0" y="2"/>
                    </a:lnTo>
                    <a:lnTo>
                      <a:pt x="0" y="2"/>
                    </a:lnTo>
                    <a:lnTo>
                      <a:pt x="1" y="4"/>
                    </a:lnTo>
                    <a:lnTo>
                      <a:pt x="3" y="4"/>
                    </a:lnTo>
                    <a:lnTo>
                      <a:pt x="3" y="2"/>
                    </a:lnTo>
                    <a:lnTo>
                      <a:pt x="3" y="0"/>
                    </a:lnTo>
                    <a:lnTo>
                      <a:pt x="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33" name="Freeform 3189"/>
              <p:cNvSpPr>
                <a:spLocks/>
              </p:cNvSpPr>
              <p:nvPr/>
            </p:nvSpPr>
            <p:spPr bwMode="auto">
              <a:xfrm>
                <a:off x="1248" y="2720"/>
                <a:ext cx="5" cy="5"/>
              </a:xfrm>
              <a:custGeom>
                <a:avLst/>
                <a:gdLst>
                  <a:gd name="T0" fmla="*/ 5 w 5"/>
                  <a:gd name="T1" fmla="*/ 2 h 5"/>
                  <a:gd name="T2" fmla="*/ 5 w 5"/>
                  <a:gd name="T3" fmla="*/ 4 h 5"/>
                  <a:gd name="T4" fmla="*/ 4 w 5"/>
                  <a:gd name="T5" fmla="*/ 5 h 5"/>
                  <a:gd name="T6" fmla="*/ 2 w 5"/>
                  <a:gd name="T7" fmla="*/ 5 h 5"/>
                  <a:gd name="T8" fmla="*/ 2 w 5"/>
                  <a:gd name="T9" fmla="*/ 4 h 5"/>
                  <a:gd name="T10" fmla="*/ 0 w 5"/>
                  <a:gd name="T11" fmla="*/ 2 h 5"/>
                  <a:gd name="T12" fmla="*/ 2 w 5"/>
                  <a:gd name="T13" fmla="*/ 2 h 5"/>
                  <a:gd name="T14" fmla="*/ 4 w 5"/>
                  <a:gd name="T15" fmla="*/ 2 h 5"/>
                  <a:gd name="T16" fmla="*/ 5 w 5"/>
                  <a:gd name="T17" fmla="*/ 0 h 5"/>
                  <a:gd name="T18" fmla="*/ 5 w 5"/>
                  <a:gd name="T1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2"/>
                    </a:moveTo>
                    <a:lnTo>
                      <a:pt x="5" y="4"/>
                    </a:lnTo>
                    <a:lnTo>
                      <a:pt x="4" y="5"/>
                    </a:lnTo>
                    <a:lnTo>
                      <a:pt x="2" y="5"/>
                    </a:lnTo>
                    <a:lnTo>
                      <a:pt x="2" y="4"/>
                    </a:lnTo>
                    <a:lnTo>
                      <a:pt x="0" y="2"/>
                    </a:lnTo>
                    <a:lnTo>
                      <a:pt x="2" y="2"/>
                    </a:lnTo>
                    <a:lnTo>
                      <a:pt x="4" y="2"/>
                    </a:lnTo>
                    <a:lnTo>
                      <a:pt x="5" y="0"/>
                    </a:lnTo>
                    <a:lnTo>
                      <a:pt x="5"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34" name="Freeform 3190"/>
              <p:cNvSpPr>
                <a:spLocks/>
              </p:cNvSpPr>
              <p:nvPr/>
            </p:nvSpPr>
            <p:spPr bwMode="auto">
              <a:xfrm>
                <a:off x="1248" y="2720"/>
                <a:ext cx="5" cy="5"/>
              </a:xfrm>
              <a:custGeom>
                <a:avLst/>
                <a:gdLst>
                  <a:gd name="T0" fmla="*/ 5 w 5"/>
                  <a:gd name="T1" fmla="*/ 2 h 5"/>
                  <a:gd name="T2" fmla="*/ 5 w 5"/>
                  <a:gd name="T3" fmla="*/ 4 h 5"/>
                  <a:gd name="T4" fmla="*/ 4 w 5"/>
                  <a:gd name="T5" fmla="*/ 5 h 5"/>
                  <a:gd name="T6" fmla="*/ 2 w 5"/>
                  <a:gd name="T7" fmla="*/ 5 h 5"/>
                  <a:gd name="T8" fmla="*/ 2 w 5"/>
                  <a:gd name="T9" fmla="*/ 4 h 5"/>
                  <a:gd name="T10" fmla="*/ 0 w 5"/>
                  <a:gd name="T11" fmla="*/ 2 h 5"/>
                  <a:gd name="T12" fmla="*/ 2 w 5"/>
                  <a:gd name="T13" fmla="*/ 2 h 5"/>
                  <a:gd name="T14" fmla="*/ 4 w 5"/>
                  <a:gd name="T15" fmla="*/ 2 h 5"/>
                  <a:gd name="T16" fmla="*/ 5 w 5"/>
                  <a:gd name="T17" fmla="*/ 0 h 5"/>
                  <a:gd name="T18" fmla="*/ 5 w 5"/>
                  <a:gd name="T1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5">
                    <a:moveTo>
                      <a:pt x="5" y="2"/>
                    </a:moveTo>
                    <a:lnTo>
                      <a:pt x="5" y="4"/>
                    </a:lnTo>
                    <a:lnTo>
                      <a:pt x="4" y="5"/>
                    </a:lnTo>
                    <a:lnTo>
                      <a:pt x="2" y="5"/>
                    </a:lnTo>
                    <a:lnTo>
                      <a:pt x="2" y="4"/>
                    </a:lnTo>
                    <a:lnTo>
                      <a:pt x="0" y="2"/>
                    </a:lnTo>
                    <a:lnTo>
                      <a:pt x="2" y="2"/>
                    </a:lnTo>
                    <a:lnTo>
                      <a:pt x="4" y="2"/>
                    </a:lnTo>
                    <a:lnTo>
                      <a:pt x="5" y="0"/>
                    </a:lnTo>
                    <a:lnTo>
                      <a:pt x="5"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35" name="Freeform 3191"/>
              <p:cNvSpPr>
                <a:spLocks/>
              </p:cNvSpPr>
              <p:nvPr/>
            </p:nvSpPr>
            <p:spPr bwMode="auto">
              <a:xfrm>
                <a:off x="1262" y="2724"/>
                <a:ext cx="6" cy="5"/>
              </a:xfrm>
              <a:custGeom>
                <a:avLst/>
                <a:gdLst>
                  <a:gd name="T0" fmla="*/ 6 w 6"/>
                  <a:gd name="T1" fmla="*/ 1 h 5"/>
                  <a:gd name="T2" fmla="*/ 6 w 6"/>
                  <a:gd name="T3" fmla="*/ 0 h 5"/>
                  <a:gd name="T4" fmla="*/ 6 w 6"/>
                  <a:gd name="T5" fmla="*/ 1 h 5"/>
                  <a:gd name="T6" fmla="*/ 6 w 6"/>
                  <a:gd name="T7" fmla="*/ 3 h 5"/>
                  <a:gd name="T8" fmla="*/ 4 w 6"/>
                  <a:gd name="T9" fmla="*/ 5 h 5"/>
                  <a:gd name="T10" fmla="*/ 2 w 6"/>
                  <a:gd name="T11" fmla="*/ 5 h 5"/>
                  <a:gd name="T12" fmla="*/ 0 w 6"/>
                  <a:gd name="T13" fmla="*/ 5 h 5"/>
                  <a:gd name="T14" fmla="*/ 0 w 6"/>
                  <a:gd name="T15" fmla="*/ 3 h 5"/>
                  <a:gd name="T16" fmla="*/ 4 w 6"/>
                  <a:gd name="T17" fmla="*/ 1 h 5"/>
                  <a:gd name="T18" fmla="*/ 6 w 6"/>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1"/>
                    </a:moveTo>
                    <a:lnTo>
                      <a:pt x="6" y="0"/>
                    </a:lnTo>
                    <a:lnTo>
                      <a:pt x="6" y="1"/>
                    </a:lnTo>
                    <a:lnTo>
                      <a:pt x="6" y="3"/>
                    </a:lnTo>
                    <a:lnTo>
                      <a:pt x="4" y="5"/>
                    </a:lnTo>
                    <a:lnTo>
                      <a:pt x="2" y="5"/>
                    </a:lnTo>
                    <a:lnTo>
                      <a:pt x="0" y="5"/>
                    </a:lnTo>
                    <a:lnTo>
                      <a:pt x="0" y="3"/>
                    </a:lnTo>
                    <a:lnTo>
                      <a:pt x="4" y="1"/>
                    </a:lnTo>
                    <a:lnTo>
                      <a:pt x="6"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36" name="Freeform 3192"/>
              <p:cNvSpPr>
                <a:spLocks/>
              </p:cNvSpPr>
              <p:nvPr/>
            </p:nvSpPr>
            <p:spPr bwMode="auto">
              <a:xfrm>
                <a:off x="1262" y="2724"/>
                <a:ext cx="6" cy="5"/>
              </a:xfrm>
              <a:custGeom>
                <a:avLst/>
                <a:gdLst>
                  <a:gd name="T0" fmla="*/ 6 w 6"/>
                  <a:gd name="T1" fmla="*/ 1 h 5"/>
                  <a:gd name="T2" fmla="*/ 6 w 6"/>
                  <a:gd name="T3" fmla="*/ 0 h 5"/>
                  <a:gd name="T4" fmla="*/ 6 w 6"/>
                  <a:gd name="T5" fmla="*/ 1 h 5"/>
                  <a:gd name="T6" fmla="*/ 6 w 6"/>
                  <a:gd name="T7" fmla="*/ 3 h 5"/>
                  <a:gd name="T8" fmla="*/ 4 w 6"/>
                  <a:gd name="T9" fmla="*/ 5 h 5"/>
                  <a:gd name="T10" fmla="*/ 2 w 6"/>
                  <a:gd name="T11" fmla="*/ 5 h 5"/>
                  <a:gd name="T12" fmla="*/ 0 w 6"/>
                  <a:gd name="T13" fmla="*/ 5 h 5"/>
                  <a:gd name="T14" fmla="*/ 0 w 6"/>
                  <a:gd name="T15" fmla="*/ 3 h 5"/>
                  <a:gd name="T16" fmla="*/ 4 w 6"/>
                  <a:gd name="T17" fmla="*/ 1 h 5"/>
                  <a:gd name="T18" fmla="*/ 6 w 6"/>
                  <a:gd name="T19"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5">
                    <a:moveTo>
                      <a:pt x="6" y="1"/>
                    </a:moveTo>
                    <a:lnTo>
                      <a:pt x="6" y="0"/>
                    </a:lnTo>
                    <a:lnTo>
                      <a:pt x="6" y="1"/>
                    </a:lnTo>
                    <a:lnTo>
                      <a:pt x="6" y="3"/>
                    </a:lnTo>
                    <a:lnTo>
                      <a:pt x="4" y="5"/>
                    </a:lnTo>
                    <a:lnTo>
                      <a:pt x="2" y="5"/>
                    </a:lnTo>
                    <a:lnTo>
                      <a:pt x="0" y="5"/>
                    </a:lnTo>
                    <a:lnTo>
                      <a:pt x="0" y="3"/>
                    </a:lnTo>
                    <a:lnTo>
                      <a:pt x="4" y="1"/>
                    </a:lnTo>
                    <a:lnTo>
                      <a:pt x="6"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37" name="Freeform 3193"/>
              <p:cNvSpPr>
                <a:spLocks/>
              </p:cNvSpPr>
              <p:nvPr/>
            </p:nvSpPr>
            <p:spPr bwMode="auto">
              <a:xfrm>
                <a:off x="945" y="3159"/>
                <a:ext cx="1" cy="4"/>
              </a:xfrm>
              <a:custGeom>
                <a:avLst/>
                <a:gdLst>
                  <a:gd name="T0" fmla="*/ 0 w 1"/>
                  <a:gd name="T1" fmla="*/ 4 h 4"/>
                  <a:gd name="T2" fmla="*/ 1 w 1"/>
                  <a:gd name="T3" fmla="*/ 2 h 4"/>
                  <a:gd name="T4" fmla="*/ 1 w 1"/>
                  <a:gd name="T5" fmla="*/ 2 h 4"/>
                  <a:gd name="T6" fmla="*/ 1 w 1"/>
                  <a:gd name="T7" fmla="*/ 2 h 4"/>
                  <a:gd name="T8" fmla="*/ 0 w 1"/>
                  <a:gd name="T9" fmla="*/ 0 h 4"/>
                  <a:gd name="T10" fmla="*/ 0 w 1"/>
                  <a:gd name="T11" fmla="*/ 2 h 4"/>
                  <a:gd name="T12" fmla="*/ 0 w 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 h="4">
                    <a:moveTo>
                      <a:pt x="0" y="4"/>
                    </a:moveTo>
                    <a:lnTo>
                      <a:pt x="1" y="2"/>
                    </a:lnTo>
                    <a:lnTo>
                      <a:pt x="1" y="2"/>
                    </a:lnTo>
                    <a:lnTo>
                      <a:pt x="1" y="2"/>
                    </a:lnTo>
                    <a:lnTo>
                      <a:pt x="0" y="0"/>
                    </a:lnTo>
                    <a:lnTo>
                      <a:pt x="0" y="2"/>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38" name="Freeform 3194"/>
              <p:cNvSpPr>
                <a:spLocks/>
              </p:cNvSpPr>
              <p:nvPr/>
            </p:nvSpPr>
            <p:spPr bwMode="auto">
              <a:xfrm>
                <a:off x="945" y="3159"/>
                <a:ext cx="1" cy="4"/>
              </a:xfrm>
              <a:custGeom>
                <a:avLst/>
                <a:gdLst>
                  <a:gd name="T0" fmla="*/ 0 w 1"/>
                  <a:gd name="T1" fmla="*/ 4 h 4"/>
                  <a:gd name="T2" fmla="*/ 1 w 1"/>
                  <a:gd name="T3" fmla="*/ 2 h 4"/>
                  <a:gd name="T4" fmla="*/ 1 w 1"/>
                  <a:gd name="T5" fmla="*/ 2 h 4"/>
                  <a:gd name="T6" fmla="*/ 1 w 1"/>
                  <a:gd name="T7" fmla="*/ 2 h 4"/>
                  <a:gd name="T8" fmla="*/ 0 w 1"/>
                  <a:gd name="T9" fmla="*/ 0 h 4"/>
                  <a:gd name="T10" fmla="*/ 0 w 1"/>
                  <a:gd name="T11" fmla="*/ 2 h 4"/>
                  <a:gd name="T12" fmla="*/ 0 w 1"/>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 h="4">
                    <a:moveTo>
                      <a:pt x="0" y="4"/>
                    </a:moveTo>
                    <a:lnTo>
                      <a:pt x="1" y="2"/>
                    </a:lnTo>
                    <a:lnTo>
                      <a:pt x="1" y="2"/>
                    </a:lnTo>
                    <a:lnTo>
                      <a:pt x="1" y="2"/>
                    </a:lnTo>
                    <a:lnTo>
                      <a:pt x="0" y="0"/>
                    </a:lnTo>
                    <a:lnTo>
                      <a:pt x="0" y="2"/>
                    </a:lnTo>
                    <a:lnTo>
                      <a:pt x="0"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39" name="Freeform 3195"/>
              <p:cNvSpPr>
                <a:spLocks/>
              </p:cNvSpPr>
              <p:nvPr/>
            </p:nvSpPr>
            <p:spPr bwMode="auto">
              <a:xfrm>
                <a:off x="1230" y="2718"/>
                <a:ext cx="4" cy="4"/>
              </a:xfrm>
              <a:custGeom>
                <a:avLst/>
                <a:gdLst>
                  <a:gd name="T0" fmla="*/ 4 w 4"/>
                  <a:gd name="T1" fmla="*/ 0 h 4"/>
                  <a:gd name="T2" fmla="*/ 4 w 4"/>
                  <a:gd name="T3" fmla="*/ 0 h 4"/>
                  <a:gd name="T4" fmla="*/ 4 w 4"/>
                  <a:gd name="T5" fmla="*/ 4 h 4"/>
                  <a:gd name="T6" fmla="*/ 2 w 4"/>
                  <a:gd name="T7" fmla="*/ 4 h 4"/>
                  <a:gd name="T8" fmla="*/ 0 w 4"/>
                  <a:gd name="T9" fmla="*/ 2 h 4"/>
                  <a:gd name="T10" fmla="*/ 0 w 4"/>
                  <a:gd name="T11" fmla="*/ 2 h 4"/>
                  <a:gd name="T12" fmla="*/ 0 w 4"/>
                  <a:gd name="T13" fmla="*/ 0 h 4"/>
                  <a:gd name="T14" fmla="*/ 4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0"/>
                    </a:moveTo>
                    <a:lnTo>
                      <a:pt x="4" y="0"/>
                    </a:lnTo>
                    <a:lnTo>
                      <a:pt x="4" y="4"/>
                    </a:lnTo>
                    <a:lnTo>
                      <a:pt x="2" y="4"/>
                    </a:lnTo>
                    <a:lnTo>
                      <a:pt x="0" y="2"/>
                    </a:lnTo>
                    <a:lnTo>
                      <a:pt x="0" y="2"/>
                    </a:lnTo>
                    <a:lnTo>
                      <a:pt x="0" y="0"/>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40" name="Freeform 3196"/>
              <p:cNvSpPr>
                <a:spLocks/>
              </p:cNvSpPr>
              <p:nvPr/>
            </p:nvSpPr>
            <p:spPr bwMode="auto">
              <a:xfrm>
                <a:off x="1230" y="2718"/>
                <a:ext cx="4" cy="4"/>
              </a:xfrm>
              <a:custGeom>
                <a:avLst/>
                <a:gdLst>
                  <a:gd name="T0" fmla="*/ 4 w 4"/>
                  <a:gd name="T1" fmla="*/ 0 h 4"/>
                  <a:gd name="T2" fmla="*/ 4 w 4"/>
                  <a:gd name="T3" fmla="*/ 0 h 4"/>
                  <a:gd name="T4" fmla="*/ 4 w 4"/>
                  <a:gd name="T5" fmla="*/ 4 h 4"/>
                  <a:gd name="T6" fmla="*/ 2 w 4"/>
                  <a:gd name="T7" fmla="*/ 4 h 4"/>
                  <a:gd name="T8" fmla="*/ 0 w 4"/>
                  <a:gd name="T9" fmla="*/ 2 h 4"/>
                  <a:gd name="T10" fmla="*/ 0 w 4"/>
                  <a:gd name="T11" fmla="*/ 2 h 4"/>
                  <a:gd name="T12" fmla="*/ 0 w 4"/>
                  <a:gd name="T13" fmla="*/ 0 h 4"/>
                  <a:gd name="T14" fmla="*/ 4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0"/>
                    </a:moveTo>
                    <a:lnTo>
                      <a:pt x="4" y="0"/>
                    </a:lnTo>
                    <a:lnTo>
                      <a:pt x="4" y="4"/>
                    </a:lnTo>
                    <a:lnTo>
                      <a:pt x="2" y="4"/>
                    </a:lnTo>
                    <a:lnTo>
                      <a:pt x="0" y="2"/>
                    </a:lnTo>
                    <a:lnTo>
                      <a:pt x="0" y="2"/>
                    </a:lnTo>
                    <a:lnTo>
                      <a:pt x="0" y="0"/>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41" name="Freeform 3197"/>
              <p:cNvSpPr>
                <a:spLocks/>
              </p:cNvSpPr>
              <p:nvPr/>
            </p:nvSpPr>
            <p:spPr bwMode="auto">
              <a:xfrm>
                <a:off x="1294" y="2472"/>
                <a:ext cx="70" cy="68"/>
              </a:xfrm>
              <a:custGeom>
                <a:avLst/>
                <a:gdLst>
                  <a:gd name="T0" fmla="*/ 70 w 70"/>
                  <a:gd name="T1" fmla="*/ 0 h 68"/>
                  <a:gd name="T2" fmla="*/ 67 w 70"/>
                  <a:gd name="T3" fmla="*/ 0 h 68"/>
                  <a:gd name="T4" fmla="*/ 63 w 70"/>
                  <a:gd name="T5" fmla="*/ 2 h 68"/>
                  <a:gd name="T6" fmla="*/ 61 w 70"/>
                  <a:gd name="T7" fmla="*/ 3 h 68"/>
                  <a:gd name="T8" fmla="*/ 59 w 70"/>
                  <a:gd name="T9" fmla="*/ 3 h 68"/>
                  <a:gd name="T10" fmla="*/ 56 w 70"/>
                  <a:gd name="T11" fmla="*/ 3 h 68"/>
                  <a:gd name="T12" fmla="*/ 54 w 70"/>
                  <a:gd name="T13" fmla="*/ 5 h 68"/>
                  <a:gd name="T14" fmla="*/ 49 w 70"/>
                  <a:gd name="T15" fmla="*/ 5 h 68"/>
                  <a:gd name="T16" fmla="*/ 49 w 70"/>
                  <a:gd name="T17" fmla="*/ 5 h 68"/>
                  <a:gd name="T18" fmla="*/ 47 w 70"/>
                  <a:gd name="T19" fmla="*/ 3 h 68"/>
                  <a:gd name="T20" fmla="*/ 45 w 70"/>
                  <a:gd name="T21" fmla="*/ 3 h 68"/>
                  <a:gd name="T22" fmla="*/ 45 w 70"/>
                  <a:gd name="T23" fmla="*/ 3 h 68"/>
                  <a:gd name="T24" fmla="*/ 43 w 70"/>
                  <a:gd name="T25" fmla="*/ 5 h 68"/>
                  <a:gd name="T26" fmla="*/ 43 w 70"/>
                  <a:gd name="T27" fmla="*/ 5 h 68"/>
                  <a:gd name="T28" fmla="*/ 42 w 70"/>
                  <a:gd name="T29" fmla="*/ 7 h 68"/>
                  <a:gd name="T30" fmla="*/ 42 w 70"/>
                  <a:gd name="T31" fmla="*/ 10 h 68"/>
                  <a:gd name="T32" fmla="*/ 40 w 70"/>
                  <a:gd name="T33" fmla="*/ 10 h 68"/>
                  <a:gd name="T34" fmla="*/ 38 w 70"/>
                  <a:gd name="T35" fmla="*/ 12 h 68"/>
                  <a:gd name="T36" fmla="*/ 36 w 70"/>
                  <a:gd name="T37" fmla="*/ 14 h 68"/>
                  <a:gd name="T38" fmla="*/ 36 w 70"/>
                  <a:gd name="T39" fmla="*/ 14 h 68"/>
                  <a:gd name="T40" fmla="*/ 34 w 70"/>
                  <a:gd name="T41" fmla="*/ 14 h 68"/>
                  <a:gd name="T42" fmla="*/ 33 w 70"/>
                  <a:gd name="T43" fmla="*/ 16 h 68"/>
                  <a:gd name="T44" fmla="*/ 31 w 70"/>
                  <a:gd name="T45" fmla="*/ 16 h 68"/>
                  <a:gd name="T46" fmla="*/ 31 w 70"/>
                  <a:gd name="T47" fmla="*/ 18 h 68"/>
                  <a:gd name="T48" fmla="*/ 31 w 70"/>
                  <a:gd name="T49" fmla="*/ 18 h 68"/>
                  <a:gd name="T50" fmla="*/ 29 w 70"/>
                  <a:gd name="T51" fmla="*/ 18 h 68"/>
                  <a:gd name="T52" fmla="*/ 25 w 70"/>
                  <a:gd name="T53" fmla="*/ 16 h 68"/>
                  <a:gd name="T54" fmla="*/ 24 w 70"/>
                  <a:gd name="T55" fmla="*/ 16 h 68"/>
                  <a:gd name="T56" fmla="*/ 20 w 70"/>
                  <a:gd name="T57" fmla="*/ 21 h 68"/>
                  <a:gd name="T58" fmla="*/ 15 w 70"/>
                  <a:gd name="T59" fmla="*/ 21 h 68"/>
                  <a:gd name="T60" fmla="*/ 15 w 70"/>
                  <a:gd name="T61" fmla="*/ 23 h 68"/>
                  <a:gd name="T62" fmla="*/ 15 w 70"/>
                  <a:gd name="T63" fmla="*/ 27 h 68"/>
                  <a:gd name="T64" fmla="*/ 13 w 70"/>
                  <a:gd name="T65" fmla="*/ 27 h 68"/>
                  <a:gd name="T66" fmla="*/ 11 w 70"/>
                  <a:gd name="T67" fmla="*/ 28 h 68"/>
                  <a:gd name="T68" fmla="*/ 11 w 70"/>
                  <a:gd name="T69" fmla="*/ 30 h 68"/>
                  <a:gd name="T70" fmla="*/ 9 w 70"/>
                  <a:gd name="T71" fmla="*/ 32 h 68"/>
                  <a:gd name="T72" fmla="*/ 2 w 70"/>
                  <a:gd name="T73" fmla="*/ 32 h 68"/>
                  <a:gd name="T74" fmla="*/ 0 w 70"/>
                  <a:gd name="T75" fmla="*/ 34 h 68"/>
                  <a:gd name="T76" fmla="*/ 29 w 70"/>
                  <a:gd name="T77" fmla="*/ 60 h 68"/>
                  <a:gd name="T78" fmla="*/ 29 w 70"/>
                  <a:gd name="T79" fmla="*/ 62 h 68"/>
                  <a:gd name="T80" fmla="*/ 29 w 70"/>
                  <a:gd name="T81" fmla="*/ 64 h 68"/>
                  <a:gd name="T82" fmla="*/ 31 w 70"/>
                  <a:gd name="T83" fmla="*/ 64 h 68"/>
                  <a:gd name="T84" fmla="*/ 33 w 70"/>
                  <a:gd name="T85" fmla="*/ 62 h 68"/>
                  <a:gd name="T86" fmla="*/ 33 w 70"/>
                  <a:gd name="T87" fmla="*/ 62 h 68"/>
                  <a:gd name="T88" fmla="*/ 43 w 70"/>
                  <a:gd name="T89" fmla="*/ 66 h 68"/>
                  <a:gd name="T90" fmla="*/ 49 w 70"/>
                  <a:gd name="T91" fmla="*/ 64 h 68"/>
                  <a:gd name="T92" fmla="*/ 56 w 70"/>
                  <a:gd name="T93" fmla="*/ 68 h 68"/>
                  <a:gd name="T94" fmla="*/ 63 w 70"/>
                  <a:gd name="T95" fmla="*/ 68 h 68"/>
                  <a:gd name="T96" fmla="*/ 63 w 70"/>
                  <a:gd name="T97" fmla="*/ 64 h 68"/>
                  <a:gd name="T98" fmla="*/ 61 w 70"/>
                  <a:gd name="T99" fmla="*/ 60 h 68"/>
                  <a:gd name="T100" fmla="*/ 61 w 70"/>
                  <a:gd name="T101" fmla="*/ 57 h 68"/>
                  <a:gd name="T102" fmla="*/ 63 w 70"/>
                  <a:gd name="T103" fmla="*/ 55 h 68"/>
                  <a:gd name="T104" fmla="*/ 70 w 70"/>
                  <a:gd name="T10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 h="68">
                    <a:moveTo>
                      <a:pt x="70" y="0"/>
                    </a:moveTo>
                    <a:lnTo>
                      <a:pt x="67" y="0"/>
                    </a:lnTo>
                    <a:lnTo>
                      <a:pt x="63" y="2"/>
                    </a:lnTo>
                    <a:lnTo>
                      <a:pt x="61" y="3"/>
                    </a:lnTo>
                    <a:lnTo>
                      <a:pt x="59" y="3"/>
                    </a:lnTo>
                    <a:lnTo>
                      <a:pt x="56" y="3"/>
                    </a:lnTo>
                    <a:lnTo>
                      <a:pt x="54" y="5"/>
                    </a:lnTo>
                    <a:lnTo>
                      <a:pt x="49" y="5"/>
                    </a:lnTo>
                    <a:lnTo>
                      <a:pt x="49" y="5"/>
                    </a:lnTo>
                    <a:lnTo>
                      <a:pt x="47" y="3"/>
                    </a:lnTo>
                    <a:lnTo>
                      <a:pt x="45" y="3"/>
                    </a:lnTo>
                    <a:lnTo>
                      <a:pt x="45" y="3"/>
                    </a:lnTo>
                    <a:lnTo>
                      <a:pt x="43" y="5"/>
                    </a:lnTo>
                    <a:lnTo>
                      <a:pt x="43" y="5"/>
                    </a:lnTo>
                    <a:lnTo>
                      <a:pt x="42" y="7"/>
                    </a:lnTo>
                    <a:lnTo>
                      <a:pt x="42" y="10"/>
                    </a:lnTo>
                    <a:lnTo>
                      <a:pt x="40" y="10"/>
                    </a:lnTo>
                    <a:lnTo>
                      <a:pt x="38" y="12"/>
                    </a:lnTo>
                    <a:lnTo>
                      <a:pt x="36" y="14"/>
                    </a:lnTo>
                    <a:lnTo>
                      <a:pt x="36" y="14"/>
                    </a:lnTo>
                    <a:lnTo>
                      <a:pt x="34" y="14"/>
                    </a:lnTo>
                    <a:lnTo>
                      <a:pt x="33" y="16"/>
                    </a:lnTo>
                    <a:lnTo>
                      <a:pt x="31" y="16"/>
                    </a:lnTo>
                    <a:lnTo>
                      <a:pt x="31" y="18"/>
                    </a:lnTo>
                    <a:lnTo>
                      <a:pt x="31" y="18"/>
                    </a:lnTo>
                    <a:lnTo>
                      <a:pt x="29" y="18"/>
                    </a:lnTo>
                    <a:lnTo>
                      <a:pt x="25" y="16"/>
                    </a:lnTo>
                    <a:lnTo>
                      <a:pt x="24" y="16"/>
                    </a:lnTo>
                    <a:lnTo>
                      <a:pt x="20" y="21"/>
                    </a:lnTo>
                    <a:lnTo>
                      <a:pt x="15" y="21"/>
                    </a:lnTo>
                    <a:lnTo>
                      <a:pt x="15" y="23"/>
                    </a:lnTo>
                    <a:lnTo>
                      <a:pt x="15" y="27"/>
                    </a:lnTo>
                    <a:lnTo>
                      <a:pt x="13" y="27"/>
                    </a:lnTo>
                    <a:lnTo>
                      <a:pt x="11" y="28"/>
                    </a:lnTo>
                    <a:lnTo>
                      <a:pt x="11" y="30"/>
                    </a:lnTo>
                    <a:lnTo>
                      <a:pt x="9" y="32"/>
                    </a:lnTo>
                    <a:lnTo>
                      <a:pt x="2" y="32"/>
                    </a:lnTo>
                    <a:lnTo>
                      <a:pt x="0" y="34"/>
                    </a:lnTo>
                    <a:lnTo>
                      <a:pt x="29" y="60"/>
                    </a:lnTo>
                    <a:lnTo>
                      <a:pt x="29" y="62"/>
                    </a:lnTo>
                    <a:lnTo>
                      <a:pt x="29" y="64"/>
                    </a:lnTo>
                    <a:lnTo>
                      <a:pt x="31" y="64"/>
                    </a:lnTo>
                    <a:lnTo>
                      <a:pt x="33" y="62"/>
                    </a:lnTo>
                    <a:lnTo>
                      <a:pt x="33" y="62"/>
                    </a:lnTo>
                    <a:lnTo>
                      <a:pt x="43" y="66"/>
                    </a:lnTo>
                    <a:lnTo>
                      <a:pt x="49" y="64"/>
                    </a:lnTo>
                    <a:lnTo>
                      <a:pt x="56" y="68"/>
                    </a:lnTo>
                    <a:lnTo>
                      <a:pt x="63" y="68"/>
                    </a:lnTo>
                    <a:lnTo>
                      <a:pt x="63" y="64"/>
                    </a:lnTo>
                    <a:lnTo>
                      <a:pt x="61" y="60"/>
                    </a:lnTo>
                    <a:lnTo>
                      <a:pt x="61" y="57"/>
                    </a:lnTo>
                    <a:lnTo>
                      <a:pt x="63" y="55"/>
                    </a:lnTo>
                    <a:lnTo>
                      <a:pt x="7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42" name="Freeform 3198"/>
              <p:cNvSpPr>
                <a:spLocks/>
              </p:cNvSpPr>
              <p:nvPr/>
            </p:nvSpPr>
            <p:spPr bwMode="auto">
              <a:xfrm>
                <a:off x="1294" y="2472"/>
                <a:ext cx="70" cy="68"/>
              </a:xfrm>
              <a:custGeom>
                <a:avLst/>
                <a:gdLst>
                  <a:gd name="T0" fmla="*/ 70 w 70"/>
                  <a:gd name="T1" fmla="*/ 0 h 68"/>
                  <a:gd name="T2" fmla="*/ 67 w 70"/>
                  <a:gd name="T3" fmla="*/ 0 h 68"/>
                  <a:gd name="T4" fmla="*/ 63 w 70"/>
                  <a:gd name="T5" fmla="*/ 2 h 68"/>
                  <a:gd name="T6" fmla="*/ 61 w 70"/>
                  <a:gd name="T7" fmla="*/ 3 h 68"/>
                  <a:gd name="T8" fmla="*/ 59 w 70"/>
                  <a:gd name="T9" fmla="*/ 3 h 68"/>
                  <a:gd name="T10" fmla="*/ 56 w 70"/>
                  <a:gd name="T11" fmla="*/ 3 h 68"/>
                  <a:gd name="T12" fmla="*/ 54 w 70"/>
                  <a:gd name="T13" fmla="*/ 5 h 68"/>
                  <a:gd name="T14" fmla="*/ 49 w 70"/>
                  <a:gd name="T15" fmla="*/ 5 h 68"/>
                  <a:gd name="T16" fmla="*/ 49 w 70"/>
                  <a:gd name="T17" fmla="*/ 5 h 68"/>
                  <a:gd name="T18" fmla="*/ 47 w 70"/>
                  <a:gd name="T19" fmla="*/ 3 h 68"/>
                  <a:gd name="T20" fmla="*/ 45 w 70"/>
                  <a:gd name="T21" fmla="*/ 3 h 68"/>
                  <a:gd name="T22" fmla="*/ 45 w 70"/>
                  <a:gd name="T23" fmla="*/ 3 h 68"/>
                  <a:gd name="T24" fmla="*/ 43 w 70"/>
                  <a:gd name="T25" fmla="*/ 5 h 68"/>
                  <a:gd name="T26" fmla="*/ 43 w 70"/>
                  <a:gd name="T27" fmla="*/ 5 h 68"/>
                  <a:gd name="T28" fmla="*/ 42 w 70"/>
                  <a:gd name="T29" fmla="*/ 7 h 68"/>
                  <a:gd name="T30" fmla="*/ 42 w 70"/>
                  <a:gd name="T31" fmla="*/ 10 h 68"/>
                  <a:gd name="T32" fmla="*/ 40 w 70"/>
                  <a:gd name="T33" fmla="*/ 10 h 68"/>
                  <a:gd name="T34" fmla="*/ 38 w 70"/>
                  <a:gd name="T35" fmla="*/ 12 h 68"/>
                  <a:gd name="T36" fmla="*/ 36 w 70"/>
                  <a:gd name="T37" fmla="*/ 14 h 68"/>
                  <a:gd name="T38" fmla="*/ 36 w 70"/>
                  <a:gd name="T39" fmla="*/ 14 h 68"/>
                  <a:gd name="T40" fmla="*/ 34 w 70"/>
                  <a:gd name="T41" fmla="*/ 14 h 68"/>
                  <a:gd name="T42" fmla="*/ 33 w 70"/>
                  <a:gd name="T43" fmla="*/ 16 h 68"/>
                  <a:gd name="T44" fmla="*/ 31 w 70"/>
                  <a:gd name="T45" fmla="*/ 16 h 68"/>
                  <a:gd name="T46" fmla="*/ 31 w 70"/>
                  <a:gd name="T47" fmla="*/ 18 h 68"/>
                  <a:gd name="T48" fmla="*/ 31 w 70"/>
                  <a:gd name="T49" fmla="*/ 18 h 68"/>
                  <a:gd name="T50" fmla="*/ 29 w 70"/>
                  <a:gd name="T51" fmla="*/ 18 h 68"/>
                  <a:gd name="T52" fmla="*/ 25 w 70"/>
                  <a:gd name="T53" fmla="*/ 16 h 68"/>
                  <a:gd name="T54" fmla="*/ 24 w 70"/>
                  <a:gd name="T55" fmla="*/ 16 h 68"/>
                  <a:gd name="T56" fmla="*/ 20 w 70"/>
                  <a:gd name="T57" fmla="*/ 21 h 68"/>
                  <a:gd name="T58" fmla="*/ 15 w 70"/>
                  <a:gd name="T59" fmla="*/ 21 h 68"/>
                  <a:gd name="T60" fmla="*/ 15 w 70"/>
                  <a:gd name="T61" fmla="*/ 23 h 68"/>
                  <a:gd name="T62" fmla="*/ 15 w 70"/>
                  <a:gd name="T63" fmla="*/ 27 h 68"/>
                  <a:gd name="T64" fmla="*/ 13 w 70"/>
                  <a:gd name="T65" fmla="*/ 27 h 68"/>
                  <a:gd name="T66" fmla="*/ 11 w 70"/>
                  <a:gd name="T67" fmla="*/ 28 h 68"/>
                  <a:gd name="T68" fmla="*/ 11 w 70"/>
                  <a:gd name="T69" fmla="*/ 30 h 68"/>
                  <a:gd name="T70" fmla="*/ 9 w 70"/>
                  <a:gd name="T71" fmla="*/ 32 h 68"/>
                  <a:gd name="T72" fmla="*/ 2 w 70"/>
                  <a:gd name="T73" fmla="*/ 32 h 68"/>
                  <a:gd name="T74" fmla="*/ 0 w 70"/>
                  <a:gd name="T75" fmla="*/ 34 h 68"/>
                  <a:gd name="T76" fmla="*/ 29 w 70"/>
                  <a:gd name="T77" fmla="*/ 60 h 68"/>
                  <a:gd name="T78" fmla="*/ 29 w 70"/>
                  <a:gd name="T79" fmla="*/ 62 h 68"/>
                  <a:gd name="T80" fmla="*/ 29 w 70"/>
                  <a:gd name="T81" fmla="*/ 64 h 68"/>
                  <a:gd name="T82" fmla="*/ 31 w 70"/>
                  <a:gd name="T83" fmla="*/ 64 h 68"/>
                  <a:gd name="T84" fmla="*/ 33 w 70"/>
                  <a:gd name="T85" fmla="*/ 62 h 68"/>
                  <a:gd name="T86" fmla="*/ 33 w 70"/>
                  <a:gd name="T87" fmla="*/ 62 h 68"/>
                  <a:gd name="T88" fmla="*/ 43 w 70"/>
                  <a:gd name="T89" fmla="*/ 66 h 68"/>
                  <a:gd name="T90" fmla="*/ 49 w 70"/>
                  <a:gd name="T91" fmla="*/ 64 h 68"/>
                  <a:gd name="T92" fmla="*/ 56 w 70"/>
                  <a:gd name="T93" fmla="*/ 68 h 68"/>
                  <a:gd name="T94" fmla="*/ 63 w 70"/>
                  <a:gd name="T95" fmla="*/ 68 h 68"/>
                  <a:gd name="T96" fmla="*/ 63 w 70"/>
                  <a:gd name="T97" fmla="*/ 64 h 68"/>
                  <a:gd name="T98" fmla="*/ 61 w 70"/>
                  <a:gd name="T99" fmla="*/ 60 h 68"/>
                  <a:gd name="T100" fmla="*/ 61 w 70"/>
                  <a:gd name="T101" fmla="*/ 57 h 68"/>
                  <a:gd name="T102" fmla="*/ 63 w 70"/>
                  <a:gd name="T103" fmla="*/ 55 h 68"/>
                  <a:gd name="T104" fmla="*/ 70 w 70"/>
                  <a:gd name="T10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0" h="68">
                    <a:moveTo>
                      <a:pt x="70" y="0"/>
                    </a:moveTo>
                    <a:lnTo>
                      <a:pt x="67" y="0"/>
                    </a:lnTo>
                    <a:lnTo>
                      <a:pt x="63" y="2"/>
                    </a:lnTo>
                    <a:lnTo>
                      <a:pt x="61" y="3"/>
                    </a:lnTo>
                    <a:lnTo>
                      <a:pt x="59" y="3"/>
                    </a:lnTo>
                    <a:lnTo>
                      <a:pt x="56" y="3"/>
                    </a:lnTo>
                    <a:lnTo>
                      <a:pt x="54" y="5"/>
                    </a:lnTo>
                    <a:lnTo>
                      <a:pt x="49" y="5"/>
                    </a:lnTo>
                    <a:lnTo>
                      <a:pt x="49" y="5"/>
                    </a:lnTo>
                    <a:lnTo>
                      <a:pt x="47" y="3"/>
                    </a:lnTo>
                    <a:lnTo>
                      <a:pt x="45" y="3"/>
                    </a:lnTo>
                    <a:lnTo>
                      <a:pt x="45" y="3"/>
                    </a:lnTo>
                    <a:lnTo>
                      <a:pt x="43" y="5"/>
                    </a:lnTo>
                    <a:lnTo>
                      <a:pt x="43" y="5"/>
                    </a:lnTo>
                    <a:lnTo>
                      <a:pt x="42" y="7"/>
                    </a:lnTo>
                    <a:lnTo>
                      <a:pt x="42" y="10"/>
                    </a:lnTo>
                    <a:lnTo>
                      <a:pt x="40" y="10"/>
                    </a:lnTo>
                    <a:lnTo>
                      <a:pt x="38" y="12"/>
                    </a:lnTo>
                    <a:lnTo>
                      <a:pt x="36" y="14"/>
                    </a:lnTo>
                    <a:lnTo>
                      <a:pt x="36" y="14"/>
                    </a:lnTo>
                    <a:lnTo>
                      <a:pt x="34" y="14"/>
                    </a:lnTo>
                    <a:lnTo>
                      <a:pt x="33" y="16"/>
                    </a:lnTo>
                    <a:lnTo>
                      <a:pt x="31" y="16"/>
                    </a:lnTo>
                    <a:lnTo>
                      <a:pt x="31" y="18"/>
                    </a:lnTo>
                    <a:lnTo>
                      <a:pt x="31" y="18"/>
                    </a:lnTo>
                    <a:lnTo>
                      <a:pt x="29" y="18"/>
                    </a:lnTo>
                    <a:lnTo>
                      <a:pt x="25" y="16"/>
                    </a:lnTo>
                    <a:lnTo>
                      <a:pt x="24" y="16"/>
                    </a:lnTo>
                    <a:lnTo>
                      <a:pt x="20" y="21"/>
                    </a:lnTo>
                    <a:lnTo>
                      <a:pt x="15" y="21"/>
                    </a:lnTo>
                    <a:lnTo>
                      <a:pt x="15" y="23"/>
                    </a:lnTo>
                    <a:lnTo>
                      <a:pt x="15" y="27"/>
                    </a:lnTo>
                    <a:lnTo>
                      <a:pt x="13" y="27"/>
                    </a:lnTo>
                    <a:lnTo>
                      <a:pt x="11" y="28"/>
                    </a:lnTo>
                    <a:lnTo>
                      <a:pt x="11" y="30"/>
                    </a:lnTo>
                    <a:lnTo>
                      <a:pt x="9" y="32"/>
                    </a:lnTo>
                    <a:lnTo>
                      <a:pt x="2" y="32"/>
                    </a:lnTo>
                    <a:lnTo>
                      <a:pt x="0" y="34"/>
                    </a:lnTo>
                    <a:lnTo>
                      <a:pt x="29" y="60"/>
                    </a:lnTo>
                    <a:lnTo>
                      <a:pt x="29" y="62"/>
                    </a:lnTo>
                    <a:lnTo>
                      <a:pt x="29" y="64"/>
                    </a:lnTo>
                    <a:lnTo>
                      <a:pt x="31" y="64"/>
                    </a:lnTo>
                    <a:lnTo>
                      <a:pt x="33" y="62"/>
                    </a:lnTo>
                    <a:lnTo>
                      <a:pt x="33" y="62"/>
                    </a:lnTo>
                    <a:lnTo>
                      <a:pt x="43" y="66"/>
                    </a:lnTo>
                    <a:lnTo>
                      <a:pt x="49" y="64"/>
                    </a:lnTo>
                    <a:lnTo>
                      <a:pt x="56" y="68"/>
                    </a:lnTo>
                    <a:lnTo>
                      <a:pt x="63" y="68"/>
                    </a:lnTo>
                    <a:lnTo>
                      <a:pt x="63" y="64"/>
                    </a:lnTo>
                    <a:lnTo>
                      <a:pt x="61" y="60"/>
                    </a:lnTo>
                    <a:lnTo>
                      <a:pt x="61" y="57"/>
                    </a:lnTo>
                    <a:lnTo>
                      <a:pt x="63" y="55"/>
                    </a:lnTo>
                    <a:lnTo>
                      <a:pt x="7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43" name="Freeform 3199"/>
              <p:cNvSpPr>
                <a:spLocks/>
              </p:cNvSpPr>
              <p:nvPr/>
            </p:nvSpPr>
            <p:spPr bwMode="auto">
              <a:xfrm>
                <a:off x="1368" y="2559"/>
                <a:ext cx="93" cy="40"/>
              </a:xfrm>
              <a:custGeom>
                <a:avLst/>
                <a:gdLst>
                  <a:gd name="T0" fmla="*/ 7 w 93"/>
                  <a:gd name="T1" fmla="*/ 0 h 40"/>
                  <a:gd name="T2" fmla="*/ 5 w 93"/>
                  <a:gd name="T3" fmla="*/ 0 h 40"/>
                  <a:gd name="T4" fmla="*/ 1 w 93"/>
                  <a:gd name="T5" fmla="*/ 2 h 40"/>
                  <a:gd name="T6" fmla="*/ 3 w 93"/>
                  <a:gd name="T7" fmla="*/ 7 h 40"/>
                  <a:gd name="T8" fmla="*/ 5 w 93"/>
                  <a:gd name="T9" fmla="*/ 11 h 40"/>
                  <a:gd name="T10" fmla="*/ 3 w 93"/>
                  <a:gd name="T11" fmla="*/ 13 h 40"/>
                  <a:gd name="T12" fmla="*/ 1 w 93"/>
                  <a:gd name="T13" fmla="*/ 20 h 40"/>
                  <a:gd name="T14" fmla="*/ 1 w 93"/>
                  <a:gd name="T15" fmla="*/ 23 h 40"/>
                  <a:gd name="T16" fmla="*/ 3 w 93"/>
                  <a:gd name="T17" fmla="*/ 22 h 40"/>
                  <a:gd name="T18" fmla="*/ 12 w 93"/>
                  <a:gd name="T19" fmla="*/ 22 h 40"/>
                  <a:gd name="T20" fmla="*/ 19 w 93"/>
                  <a:gd name="T21" fmla="*/ 23 h 40"/>
                  <a:gd name="T22" fmla="*/ 26 w 93"/>
                  <a:gd name="T23" fmla="*/ 32 h 40"/>
                  <a:gd name="T24" fmla="*/ 30 w 93"/>
                  <a:gd name="T25" fmla="*/ 31 h 40"/>
                  <a:gd name="T26" fmla="*/ 34 w 93"/>
                  <a:gd name="T27" fmla="*/ 40 h 40"/>
                  <a:gd name="T28" fmla="*/ 46 w 93"/>
                  <a:gd name="T29" fmla="*/ 34 h 40"/>
                  <a:gd name="T30" fmla="*/ 41 w 93"/>
                  <a:gd name="T31" fmla="*/ 27 h 40"/>
                  <a:gd name="T32" fmla="*/ 41 w 93"/>
                  <a:gd name="T33" fmla="*/ 25 h 40"/>
                  <a:gd name="T34" fmla="*/ 46 w 93"/>
                  <a:gd name="T35" fmla="*/ 22 h 40"/>
                  <a:gd name="T36" fmla="*/ 51 w 93"/>
                  <a:gd name="T37" fmla="*/ 16 h 40"/>
                  <a:gd name="T38" fmla="*/ 55 w 93"/>
                  <a:gd name="T39" fmla="*/ 11 h 40"/>
                  <a:gd name="T40" fmla="*/ 60 w 93"/>
                  <a:gd name="T41" fmla="*/ 11 h 40"/>
                  <a:gd name="T42" fmla="*/ 73 w 93"/>
                  <a:gd name="T43" fmla="*/ 20 h 40"/>
                  <a:gd name="T44" fmla="*/ 78 w 93"/>
                  <a:gd name="T45" fmla="*/ 18 h 40"/>
                  <a:gd name="T46" fmla="*/ 80 w 93"/>
                  <a:gd name="T47" fmla="*/ 20 h 40"/>
                  <a:gd name="T48" fmla="*/ 76 w 93"/>
                  <a:gd name="T49" fmla="*/ 23 h 40"/>
                  <a:gd name="T50" fmla="*/ 75 w 93"/>
                  <a:gd name="T51" fmla="*/ 31 h 40"/>
                  <a:gd name="T52" fmla="*/ 82 w 93"/>
                  <a:gd name="T53" fmla="*/ 38 h 40"/>
                  <a:gd name="T54" fmla="*/ 82 w 93"/>
                  <a:gd name="T55" fmla="*/ 36 h 40"/>
                  <a:gd name="T56" fmla="*/ 85 w 93"/>
                  <a:gd name="T57" fmla="*/ 32 h 40"/>
                  <a:gd name="T58" fmla="*/ 87 w 93"/>
                  <a:gd name="T59" fmla="*/ 32 h 40"/>
                  <a:gd name="T60" fmla="*/ 93 w 93"/>
                  <a:gd name="T61" fmla="*/ 25 h 40"/>
                  <a:gd name="T62" fmla="*/ 91 w 93"/>
                  <a:gd name="T63" fmla="*/ 25 h 40"/>
                  <a:gd name="T64" fmla="*/ 91 w 93"/>
                  <a:gd name="T65" fmla="*/ 20 h 40"/>
                  <a:gd name="T66" fmla="*/ 89 w 93"/>
                  <a:gd name="T67" fmla="*/ 20 h 40"/>
                  <a:gd name="T68" fmla="*/ 89 w 93"/>
                  <a:gd name="T69" fmla="*/ 16 h 40"/>
                  <a:gd name="T70" fmla="*/ 64 w 93"/>
                  <a:gd name="T71" fmla="*/ 2 h 40"/>
                  <a:gd name="T72" fmla="*/ 53 w 93"/>
                  <a:gd name="T73" fmla="*/ 0 h 40"/>
                  <a:gd name="T74" fmla="*/ 51 w 93"/>
                  <a:gd name="T75" fmla="*/ 7 h 40"/>
                  <a:gd name="T76" fmla="*/ 48 w 93"/>
                  <a:gd name="T77" fmla="*/ 9 h 40"/>
                  <a:gd name="T78" fmla="*/ 46 w 93"/>
                  <a:gd name="T79" fmla="*/ 6 h 40"/>
                  <a:gd name="T80" fmla="*/ 41 w 93"/>
                  <a:gd name="T81" fmla="*/ 9 h 40"/>
                  <a:gd name="T82" fmla="*/ 32 w 93"/>
                  <a:gd name="T83" fmla="*/ 13 h 40"/>
                  <a:gd name="T84" fmla="*/ 26 w 93"/>
                  <a:gd name="T85" fmla="*/ 13 h 40"/>
                  <a:gd name="T86" fmla="*/ 14 w 93"/>
                  <a:gd name="T87" fmla="*/ 11 h 40"/>
                  <a:gd name="T88" fmla="*/ 14 w 93"/>
                  <a:gd name="T89" fmla="*/ 7 h 40"/>
                  <a:gd name="T90" fmla="*/ 10 w 93"/>
                  <a:gd name="T91" fmla="*/ 2 h 40"/>
                  <a:gd name="T92" fmla="*/ 9 w 93"/>
                  <a:gd name="T93"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40">
                    <a:moveTo>
                      <a:pt x="7" y="0"/>
                    </a:moveTo>
                    <a:lnTo>
                      <a:pt x="7" y="0"/>
                    </a:lnTo>
                    <a:lnTo>
                      <a:pt x="7" y="0"/>
                    </a:lnTo>
                    <a:lnTo>
                      <a:pt x="5" y="0"/>
                    </a:lnTo>
                    <a:lnTo>
                      <a:pt x="3" y="0"/>
                    </a:lnTo>
                    <a:lnTo>
                      <a:pt x="1" y="2"/>
                    </a:lnTo>
                    <a:lnTo>
                      <a:pt x="1" y="7"/>
                    </a:lnTo>
                    <a:lnTo>
                      <a:pt x="3" y="7"/>
                    </a:lnTo>
                    <a:lnTo>
                      <a:pt x="5" y="9"/>
                    </a:lnTo>
                    <a:lnTo>
                      <a:pt x="5" y="11"/>
                    </a:lnTo>
                    <a:lnTo>
                      <a:pt x="3" y="13"/>
                    </a:lnTo>
                    <a:lnTo>
                      <a:pt x="3" y="13"/>
                    </a:lnTo>
                    <a:lnTo>
                      <a:pt x="3" y="16"/>
                    </a:lnTo>
                    <a:lnTo>
                      <a:pt x="1" y="20"/>
                    </a:lnTo>
                    <a:lnTo>
                      <a:pt x="0" y="20"/>
                    </a:lnTo>
                    <a:lnTo>
                      <a:pt x="1" y="23"/>
                    </a:lnTo>
                    <a:lnTo>
                      <a:pt x="1" y="23"/>
                    </a:lnTo>
                    <a:lnTo>
                      <a:pt x="3" y="22"/>
                    </a:lnTo>
                    <a:lnTo>
                      <a:pt x="3" y="22"/>
                    </a:lnTo>
                    <a:lnTo>
                      <a:pt x="12" y="22"/>
                    </a:lnTo>
                    <a:lnTo>
                      <a:pt x="18" y="23"/>
                    </a:lnTo>
                    <a:lnTo>
                      <a:pt x="19" y="23"/>
                    </a:lnTo>
                    <a:lnTo>
                      <a:pt x="21" y="23"/>
                    </a:lnTo>
                    <a:lnTo>
                      <a:pt x="26" y="32"/>
                    </a:lnTo>
                    <a:lnTo>
                      <a:pt x="28" y="32"/>
                    </a:lnTo>
                    <a:lnTo>
                      <a:pt x="30" y="31"/>
                    </a:lnTo>
                    <a:lnTo>
                      <a:pt x="32" y="31"/>
                    </a:lnTo>
                    <a:lnTo>
                      <a:pt x="34" y="40"/>
                    </a:lnTo>
                    <a:lnTo>
                      <a:pt x="39" y="40"/>
                    </a:lnTo>
                    <a:lnTo>
                      <a:pt x="46" y="34"/>
                    </a:lnTo>
                    <a:lnTo>
                      <a:pt x="46" y="32"/>
                    </a:lnTo>
                    <a:lnTo>
                      <a:pt x="41" y="27"/>
                    </a:lnTo>
                    <a:lnTo>
                      <a:pt x="41" y="27"/>
                    </a:lnTo>
                    <a:lnTo>
                      <a:pt x="41" y="25"/>
                    </a:lnTo>
                    <a:lnTo>
                      <a:pt x="41" y="23"/>
                    </a:lnTo>
                    <a:lnTo>
                      <a:pt x="46" y="22"/>
                    </a:lnTo>
                    <a:lnTo>
                      <a:pt x="46" y="22"/>
                    </a:lnTo>
                    <a:lnTo>
                      <a:pt x="51" y="16"/>
                    </a:lnTo>
                    <a:lnTo>
                      <a:pt x="55" y="11"/>
                    </a:lnTo>
                    <a:lnTo>
                      <a:pt x="55" y="11"/>
                    </a:lnTo>
                    <a:lnTo>
                      <a:pt x="59" y="11"/>
                    </a:lnTo>
                    <a:lnTo>
                      <a:pt x="60" y="11"/>
                    </a:lnTo>
                    <a:lnTo>
                      <a:pt x="71" y="16"/>
                    </a:lnTo>
                    <a:lnTo>
                      <a:pt x="73" y="20"/>
                    </a:lnTo>
                    <a:lnTo>
                      <a:pt x="76" y="18"/>
                    </a:lnTo>
                    <a:lnTo>
                      <a:pt x="78" y="18"/>
                    </a:lnTo>
                    <a:lnTo>
                      <a:pt x="80" y="20"/>
                    </a:lnTo>
                    <a:lnTo>
                      <a:pt x="80" y="20"/>
                    </a:lnTo>
                    <a:lnTo>
                      <a:pt x="78" y="22"/>
                    </a:lnTo>
                    <a:lnTo>
                      <a:pt x="76" y="23"/>
                    </a:lnTo>
                    <a:lnTo>
                      <a:pt x="75" y="27"/>
                    </a:lnTo>
                    <a:lnTo>
                      <a:pt x="75" y="31"/>
                    </a:lnTo>
                    <a:lnTo>
                      <a:pt x="80" y="36"/>
                    </a:lnTo>
                    <a:lnTo>
                      <a:pt x="82" y="38"/>
                    </a:lnTo>
                    <a:lnTo>
                      <a:pt x="82" y="38"/>
                    </a:lnTo>
                    <a:lnTo>
                      <a:pt x="82" y="36"/>
                    </a:lnTo>
                    <a:lnTo>
                      <a:pt x="85" y="34"/>
                    </a:lnTo>
                    <a:lnTo>
                      <a:pt x="85" y="32"/>
                    </a:lnTo>
                    <a:lnTo>
                      <a:pt x="85" y="32"/>
                    </a:lnTo>
                    <a:lnTo>
                      <a:pt x="87" y="32"/>
                    </a:lnTo>
                    <a:lnTo>
                      <a:pt x="93" y="27"/>
                    </a:lnTo>
                    <a:lnTo>
                      <a:pt x="93" y="25"/>
                    </a:lnTo>
                    <a:lnTo>
                      <a:pt x="93" y="25"/>
                    </a:lnTo>
                    <a:lnTo>
                      <a:pt x="91" y="25"/>
                    </a:lnTo>
                    <a:lnTo>
                      <a:pt x="91" y="23"/>
                    </a:lnTo>
                    <a:lnTo>
                      <a:pt x="91" y="20"/>
                    </a:lnTo>
                    <a:lnTo>
                      <a:pt x="89" y="20"/>
                    </a:lnTo>
                    <a:lnTo>
                      <a:pt x="89" y="20"/>
                    </a:lnTo>
                    <a:lnTo>
                      <a:pt x="89" y="16"/>
                    </a:lnTo>
                    <a:lnTo>
                      <a:pt x="89" y="16"/>
                    </a:lnTo>
                    <a:lnTo>
                      <a:pt x="78" y="6"/>
                    </a:lnTo>
                    <a:lnTo>
                      <a:pt x="64" y="2"/>
                    </a:lnTo>
                    <a:lnTo>
                      <a:pt x="60" y="0"/>
                    </a:lnTo>
                    <a:lnTo>
                      <a:pt x="53" y="0"/>
                    </a:lnTo>
                    <a:lnTo>
                      <a:pt x="51" y="4"/>
                    </a:lnTo>
                    <a:lnTo>
                      <a:pt x="51" y="7"/>
                    </a:lnTo>
                    <a:lnTo>
                      <a:pt x="50" y="9"/>
                    </a:lnTo>
                    <a:lnTo>
                      <a:pt x="48" y="9"/>
                    </a:lnTo>
                    <a:lnTo>
                      <a:pt x="48" y="6"/>
                    </a:lnTo>
                    <a:lnTo>
                      <a:pt x="46" y="6"/>
                    </a:lnTo>
                    <a:lnTo>
                      <a:pt x="46" y="6"/>
                    </a:lnTo>
                    <a:lnTo>
                      <a:pt x="41" y="9"/>
                    </a:lnTo>
                    <a:lnTo>
                      <a:pt x="34" y="11"/>
                    </a:lnTo>
                    <a:lnTo>
                      <a:pt x="32" y="13"/>
                    </a:lnTo>
                    <a:lnTo>
                      <a:pt x="32" y="13"/>
                    </a:lnTo>
                    <a:lnTo>
                      <a:pt x="26" y="13"/>
                    </a:lnTo>
                    <a:lnTo>
                      <a:pt x="21" y="11"/>
                    </a:lnTo>
                    <a:lnTo>
                      <a:pt x="14" y="11"/>
                    </a:lnTo>
                    <a:lnTo>
                      <a:pt x="14" y="9"/>
                    </a:lnTo>
                    <a:lnTo>
                      <a:pt x="14" y="7"/>
                    </a:lnTo>
                    <a:lnTo>
                      <a:pt x="12" y="6"/>
                    </a:lnTo>
                    <a:lnTo>
                      <a:pt x="10" y="2"/>
                    </a:lnTo>
                    <a:lnTo>
                      <a:pt x="10" y="2"/>
                    </a:lnTo>
                    <a:lnTo>
                      <a:pt x="9" y="2"/>
                    </a:lnTo>
                    <a:lnTo>
                      <a:pt x="7"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44" name="Freeform 3200"/>
              <p:cNvSpPr>
                <a:spLocks/>
              </p:cNvSpPr>
              <p:nvPr/>
            </p:nvSpPr>
            <p:spPr bwMode="auto">
              <a:xfrm>
                <a:off x="1368" y="2559"/>
                <a:ext cx="93" cy="40"/>
              </a:xfrm>
              <a:custGeom>
                <a:avLst/>
                <a:gdLst>
                  <a:gd name="T0" fmla="*/ 7 w 93"/>
                  <a:gd name="T1" fmla="*/ 0 h 40"/>
                  <a:gd name="T2" fmla="*/ 5 w 93"/>
                  <a:gd name="T3" fmla="*/ 0 h 40"/>
                  <a:gd name="T4" fmla="*/ 1 w 93"/>
                  <a:gd name="T5" fmla="*/ 2 h 40"/>
                  <a:gd name="T6" fmla="*/ 3 w 93"/>
                  <a:gd name="T7" fmla="*/ 7 h 40"/>
                  <a:gd name="T8" fmla="*/ 5 w 93"/>
                  <a:gd name="T9" fmla="*/ 11 h 40"/>
                  <a:gd name="T10" fmla="*/ 3 w 93"/>
                  <a:gd name="T11" fmla="*/ 13 h 40"/>
                  <a:gd name="T12" fmla="*/ 1 w 93"/>
                  <a:gd name="T13" fmla="*/ 20 h 40"/>
                  <a:gd name="T14" fmla="*/ 1 w 93"/>
                  <a:gd name="T15" fmla="*/ 23 h 40"/>
                  <a:gd name="T16" fmla="*/ 3 w 93"/>
                  <a:gd name="T17" fmla="*/ 22 h 40"/>
                  <a:gd name="T18" fmla="*/ 12 w 93"/>
                  <a:gd name="T19" fmla="*/ 22 h 40"/>
                  <a:gd name="T20" fmla="*/ 19 w 93"/>
                  <a:gd name="T21" fmla="*/ 23 h 40"/>
                  <a:gd name="T22" fmla="*/ 26 w 93"/>
                  <a:gd name="T23" fmla="*/ 32 h 40"/>
                  <a:gd name="T24" fmla="*/ 30 w 93"/>
                  <a:gd name="T25" fmla="*/ 31 h 40"/>
                  <a:gd name="T26" fmla="*/ 34 w 93"/>
                  <a:gd name="T27" fmla="*/ 40 h 40"/>
                  <a:gd name="T28" fmla="*/ 46 w 93"/>
                  <a:gd name="T29" fmla="*/ 34 h 40"/>
                  <a:gd name="T30" fmla="*/ 41 w 93"/>
                  <a:gd name="T31" fmla="*/ 27 h 40"/>
                  <a:gd name="T32" fmla="*/ 41 w 93"/>
                  <a:gd name="T33" fmla="*/ 25 h 40"/>
                  <a:gd name="T34" fmla="*/ 46 w 93"/>
                  <a:gd name="T35" fmla="*/ 22 h 40"/>
                  <a:gd name="T36" fmla="*/ 51 w 93"/>
                  <a:gd name="T37" fmla="*/ 16 h 40"/>
                  <a:gd name="T38" fmla="*/ 55 w 93"/>
                  <a:gd name="T39" fmla="*/ 11 h 40"/>
                  <a:gd name="T40" fmla="*/ 60 w 93"/>
                  <a:gd name="T41" fmla="*/ 11 h 40"/>
                  <a:gd name="T42" fmla="*/ 73 w 93"/>
                  <a:gd name="T43" fmla="*/ 20 h 40"/>
                  <a:gd name="T44" fmla="*/ 78 w 93"/>
                  <a:gd name="T45" fmla="*/ 18 h 40"/>
                  <a:gd name="T46" fmla="*/ 80 w 93"/>
                  <a:gd name="T47" fmla="*/ 20 h 40"/>
                  <a:gd name="T48" fmla="*/ 76 w 93"/>
                  <a:gd name="T49" fmla="*/ 23 h 40"/>
                  <a:gd name="T50" fmla="*/ 75 w 93"/>
                  <a:gd name="T51" fmla="*/ 31 h 40"/>
                  <a:gd name="T52" fmla="*/ 82 w 93"/>
                  <a:gd name="T53" fmla="*/ 38 h 40"/>
                  <a:gd name="T54" fmla="*/ 82 w 93"/>
                  <a:gd name="T55" fmla="*/ 36 h 40"/>
                  <a:gd name="T56" fmla="*/ 85 w 93"/>
                  <a:gd name="T57" fmla="*/ 32 h 40"/>
                  <a:gd name="T58" fmla="*/ 87 w 93"/>
                  <a:gd name="T59" fmla="*/ 32 h 40"/>
                  <a:gd name="T60" fmla="*/ 93 w 93"/>
                  <a:gd name="T61" fmla="*/ 25 h 40"/>
                  <a:gd name="T62" fmla="*/ 91 w 93"/>
                  <a:gd name="T63" fmla="*/ 25 h 40"/>
                  <a:gd name="T64" fmla="*/ 91 w 93"/>
                  <a:gd name="T65" fmla="*/ 20 h 40"/>
                  <a:gd name="T66" fmla="*/ 89 w 93"/>
                  <a:gd name="T67" fmla="*/ 20 h 40"/>
                  <a:gd name="T68" fmla="*/ 89 w 93"/>
                  <a:gd name="T69" fmla="*/ 16 h 40"/>
                  <a:gd name="T70" fmla="*/ 64 w 93"/>
                  <a:gd name="T71" fmla="*/ 2 h 40"/>
                  <a:gd name="T72" fmla="*/ 53 w 93"/>
                  <a:gd name="T73" fmla="*/ 0 h 40"/>
                  <a:gd name="T74" fmla="*/ 51 w 93"/>
                  <a:gd name="T75" fmla="*/ 7 h 40"/>
                  <a:gd name="T76" fmla="*/ 48 w 93"/>
                  <a:gd name="T77" fmla="*/ 9 h 40"/>
                  <a:gd name="T78" fmla="*/ 46 w 93"/>
                  <a:gd name="T79" fmla="*/ 6 h 40"/>
                  <a:gd name="T80" fmla="*/ 41 w 93"/>
                  <a:gd name="T81" fmla="*/ 9 h 40"/>
                  <a:gd name="T82" fmla="*/ 32 w 93"/>
                  <a:gd name="T83" fmla="*/ 13 h 40"/>
                  <a:gd name="T84" fmla="*/ 26 w 93"/>
                  <a:gd name="T85" fmla="*/ 13 h 40"/>
                  <a:gd name="T86" fmla="*/ 14 w 93"/>
                  <a:gd name="T87" fmla="*/ 11 h 40"/>
                  <a:gd name="T88" fmla="*/ 14 w 93"/>
                  <a:gd name="T89" fmla="*/ 7 h 40"/>
                  <a:gd name="T90" fmla="*/ 10 w 93"/>
                  <a:gd name="T91" fmla="*/ 2 h 40"/>
                  <a:gd name="T92" fmla="*/ 9 w 93"/>
                  <a:gd name="T93"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3" h="40">
                    <a:moveTo>
                      <a:pt x="7" y="0"/>
                    </a:moveTo>
                    <a:lnTo>
                      <a:pt x="7" y="0"/>
                    </a:lnTo>
                    <a:lnTo>
                      <a:pt x="7" y="0"/>
                    </a:lnTo>
                    <a:lnTo>
                      <a:pt x="5" y="0"/>
                    </a:lnTo>
                    <a:lnTo>
                      <a:pt x="3" y="0"/>
                    </a:lnTo>
                    <a:lnTo>
                      <a:pt x="1" y="2"/>
                    </a:lnTo>
                    <a:lnTo>
                      <a:pt x="1" y="7"/>
                    </a:lnTo>
                    <a:lnTo>
                      <a:pt x="3" y="7"/>
                    </a:lnTo>
                    <a:lnTo>
                      <a:pt x="5" y="9"/>
                    </a:lnTo>
                    <a:lnTo>
                      <a:pt x="5" y="11"/>
                    </a:lnTo>
                    <a:lnTo>
                      <a:pt x="3" y="13"/>
                    </a:lnTo>
                    <a:lnTo>
                      <a:pt x="3" y="13"/>
                    </a:lnTo>
                    <a:lnTo>
                      <a:pt x="3" y="16"/>
                    </a:lnTo>
                    <a:lnTo>
                      <a:pt x="1" y="20"/>
                    </a:lnTo>
                    <a:lnTo>
                      <a:pt x="0" y="20"/>
                    </a:lnTo>
                    <a:lnTo>
                      <a:pt x="1" y="23"/>
                    </a:lnTo>
                    <a:lnTo>
                      <a:pt x="1" y="23"/>
                    </a:lnTo>
                    <a:lnTo>
                      <a:pt x="3" y="22"/>
                    </a:lnTo>
                    <a:lnTo>
                      <a:pt x="3" y="22"/>
                    </a:lnTo>
                    <a:lnTo>
                      <a:pt x="12" y="22"/>
                    </a:lnTo>
                    <a:lnTo>
                      <a:pt x="18" y="23"/>
                    </a:lnTo>
                    <a:lnTo>
                      <a:pt x="19" y="23"/>
                    </a:lnTo>
                    <a:lnTo>
                      <a:pt x="21" y="23"/>
                    </a:lnTo>
                    <a:lnTo>
                      <a:pt x="26" y="32"/>
                    </a:lnTo>
                    <a:lnTo>
                      <a:pt x="28" y="32"/>
                    </a:lnTo>
                    <a:lnTo>
                      <a:pt x="30" y="31"/>
                    </a:lnTo>
                    <a:lnTo>
                      <a:pt x="32" y="31"/>
                    </a:lnTo>
                    <a:lnTo>
                      <a:pt x="34" y="40"/>
                    </a:lnTo>
                    <a:lnTo>
                      <a:pt x="39" y="40"/>
                    </a:lnTo>
                    <a:lnTo>
                      <a:pt x="46" y="34"/>
                    </a:lnTo>
                    <a:lnTo>
                      <a:pt x="46" y="32"/>
                    </a:lnTo>
                    <a:lnTo>
                      <a:pt x="41" y="27"/>
                    </a:lnTo>
                    <a:lnTo>
                      <a:pt x="41" y="27"/>
                    </a:lnTo>
                    <a:lnTo>
                      <a:pt x="41" y="25"/>
                    </a:lnTo>
                    <a:lnTo>
                      <a:pt x="41" y="23"/>
                    </a:lnTo>
                    <a:lnTo>
                      <a:pt x="46" y="22"/>
                    </a:lnTo>
                    <a:lnTo>
                      <a:pt x="46" y="22"/>
                    </a:lnTo>
                    <a:lnTo>
                      <a:pt x="51" y="16"/>
                    </a:lnTo>
                    <a:lnTo>
                      <a:pt x="55" y="11"/>
                    </a:lnTo>
                    <a:lnTo>
                      <a:pt x="55" y="11"/>
                    </a:lnTo>
                    <a:lnTo>
                      <a:pt x="59" y="11"/>
                    </a:lnTo>
                    <a:lnTo>
                      <a:pt x="60" y="11"/>
                    </a:lnTo>
                    <a:lnTo>
                      <a:pt x="71" y="16"/>
                    </a:lnTo>
                    <a:lnTo>
                      <a:pt x="73" y="20"/>
                    </a:lnTo>
                    <a:lnTo>
                      <a:pt x="76" y="18"/>
                    </a:lnTo>
                    <a:lnTo>
                      <a:pt x="78" y="18"/>
                    </a:lnTo>
                    <a:lnTo>
                      <a:pt x="80" y="20"/>
                    </a:lnTo>
                    <a:lnTo>
                      <a:pt x="80" y="20"/>
                    </a:lnTo>
                    <a:lnTo>
                      <a:pt x="78" y="22"/>
                    </a:lnTo>
                    <a:lnTo>
                      <a:pt x="76" y="23"/>
                    </a:lnTo>
                    <a:lnTo>
                      <a:pt x="75" y="27"/>
                    </a:lnTo>
                    <a:lnTo>
                      <a:pt x="75" y="31"/>
                    </a:lnTo>
                    <a:lnTo>
                      <a:pt x="80" y="36"/>
                    </a:lnTo>
                    <a:lnTo>
                      <a:pt x="82" y="38"/>
                    </a:lnTo>
                    <a:lnTo>
                      <a:pt x="82" y="38"/>
                    </a:lnTo>
                    <a:lnTo>
                      <a:pt x="82" y="36"/>
                    </a:lnTo>
                    <a:lnTo>
                      <a:pt x="85" y="34"/>
                    </a:lnTo>
                    <a:lnTo>
                      <a:pt x="85" y="32"/>
                    </a:lnTo>
                    <a:lnTo>
                      <a:pt x="85" y="32"/>
                    </a:lnTo>
                    <a:lnTo>
                      <a:pt x="87" y="32"/>
                    </a:lnTo>
                    <a:lnTo>
                      <a:pt x="93" y="27"/>
                    </a:lnTo>
                    <a:lnTo>
                      <a:pt x="93" y="25"/>
                    </a:lnTo>
                    <a:lnTo>
                      <a:pt x="93" y="25"/>
                    </a:lnTo>
                    <a:lnTo>
                      <a:pt x="91" y="25"/>
                    </a:lnTo>
                    <a:lnTo>
                      <a:pt x="91" y="23"/>
                    </a:lnTo>
                    <a:lnTo>
                      <a:pt x="91" y="20"/>
                    </a:lnTo>
                    <a:lnTo>
                      <a:pt x="89" y="20"/>
                    </a:lnTo>
                    <a:lnTo>
                      <a:pt x="89" y="20"/>
                    </a:lnTo>
                    <a:lnTo>
                      <a:pt x="89" y="16"/>
                    </a:lnTo>
                    <a:lnTo>
                      <a:pt x="89" y="16"/>
                    </a:lnTo>
                    <a:lnTo>
                      <a:pt x="78" y="6"/>
                    </a:lnTo>
                    <a:lnTo>
                      <a:pt x="64" y="2"/>
                    </a:lnTo>
                    <a:lnTo>
                      <a:pt x="60" y="0"/>
                    </a:lnTo>
                    <a:lnTo>
                      <a:pt x="53" y="0"/>
                    </a:lnTo>
                    <a:lnTo>
                      <a:pt x="51" y="4"/>
                    </a:lnTo>
                    <a:lnTo>
                      <a:pt x="51" y="7"/>
                    </a:lnTo>
                    <a:lnTo>
                      <a:pt x="50" y="9"/>
                    </a:lnTo>
                    <a:lnTo>
                      <a:pt x="48" y="9"/>
                    </a:lnTo>
                    <a:lnTo>
                      <a:pt x="48" y="6"/>
                    </a:lnTo>
                    <a:lnTo>
                      <a:pt x="46" y="6"/>
                    </a:lnTo>
                    <a:lnTo>
                      <a:pt x="46" y="6"/>
                    </a:lnTo>
                    <a:lnTo>
                      <a:pt x="41" y="9"/>
                    </a:lnTo>
                    <a:lnTo>
                      <a:pt x="34" y="11"/>
                    </a:lnTo>
                    <a:lnTo>
                      <a:pt x="32" y="13"/>
                    </a:lnTo>
                    <a:lnTo>
                      <a:pt x="32" y="13"/>
                    </a:lnTo>
                    <a:lnTo>
                      <a:pt x="26" y="13"/>
                    </a:lnTo>
                    <a:lnTo>
                      <a:pt x="21" y="11"/>
                    </a:lnTo>
                    <a:lnTo>
                      <a:pt x="14" y="11"/>
                    </a:lnTo>
                    <a:lnTo>
                      <a:pt x="14" y="9"/>
                    </a:lnTo>
                    <a:lnTo>
                      <a:pt x="14" y="7"/>
                    </a:lnTo>
                    <a:lnTo>
                      <a:pt x="12" y="6"/>
                    </a:lnTo>
                    <a:lnTo>
                      <a:pt x="10" y="2"/>
                    </a:lnTo>
                    <a:lnTo>
                      <a:pt x="10" y="2"/>
                    </a:lnTo>
                    <a:lnTo>
                      <a:pt x="9" y="2"/>
                    </a:lnTo>
                    <a:lnTo>
                      <a:pt x="7"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45" name="Freeform 3201"/>
              <p:cNvSpPr>
                <a:spLocks/>
              </p:cNvSpPr>
              <p:nvPr/>
            </p:nvSpPr>
            <p:spPr bwMode="auto">
              <a:xfrm>
                <a:off x="1221" y="2424"/>
                <a:ext cx="63" cy="69"/>
              </a:xfrm>
              <a:custGeom>
                <a:avLst/>
                <a:gdLst>
                  <a:gd name="T0" fmla="*/ 20 w 63"/>
                  <a:gd name="T1" fmla="*/ 0 h 69"/>
                  <a:gd name="T2" fmla="*/ 11 w 63"/>
                  <a:gd name="T3" fmla="*/ 8 h 69"/>
                  <a:gd name="T4" fmla="*/ 23 w 63"/>
                  <a:gd name="T5" fmla="*/ 17 h 69"/>
                  <a:gd name="T6" fmla="*/ 27 w 63"/>
                  <a:gd name="T7" fmla="*/ 23 h 69"/>
                  <a:gd name="T8" fmla="*/ 27 w 63"/>
                  <a:gd name="T9" fmla="*/ 28 h 69"/>
                  <a:gd name="T10" fmla="*/ 27 w 63"/>
                  <a:gd name="T11" fmla="*/ 28 h 69"/>
                  <a:gd name="T12" fmla="*/ 4 w 63"/>
                  <a:gd name="T13" fmla="*/ 41 h 69"/>
                  <a:gd name="T14" fmla="*/ 2 w 63"/>
                  <a:gd name="T15" fmla="*/ 46 h 69"/>
                  <a:gd name="T16" fmla="*/ 2 w 63"/>
                  <a:gd name="T17" fmla="*/ 48 h 69"/>
                  <a:gd name="T18" fmla="*/ 0 w 63"/>
                  <a:gd name="T19" fmla="*/ 50 h 69"/>
                  <a:gd name="T20" fmla="*/ 0 w 63"/>
                  <a:gd name="T21" fmla="*/ 55 h 69"/>
                  <a:gd name="T22" fmla="*/ 2 w 63"/>
                  <a:gd name="T23" fmla="*/ 57 h 69"/>
                  <a:gd name="T24" fmla="*/ 4 w 63"/>
                  <a:gd name="T25" fmla="*/ 58 h 69"/>
                  <a:gd name="T26" fmla="*/ 13 w 63"/>
                  <a:gd name="T27" fmla="*/ 64 h 69"/>
                  <a:gd name="T28" fmla="*/ 34 w 63"/>
                  <a:gd name="T29" fmla="*/ 69 h 69"/>
                  <a:gd name="T30" fmla="*/ 36 w 63"/>
                  <a:gd name="T31" fmla="*/ 64 h 69"/>
                  <a:gd name="T32" fmla="*/ 40 w 63"/>
                  <a:gd name="T33" fmla="*/ 62 h 69"/>
                  <a:gd name="T34" fmla="*/ 43 w 63"/>
                  <a:gd name="T35" fmla="*/ 60 h 69"/>
                  <a:gd name="T36" fmla="*/ 45 w 63"/>
                  <a:gd name="T37" fmla="*/ 57 h 69"/>
                  <a:gd name="T38" fmla="*/ 45 w 63"/>
                  <a:gd name="T39" fmla="*/ 55 h 69"/>
                  <a:gd name="T40" fmla="*/ 48 w 63"/>
                  <a:gd name="T41" fmla="*/ 51 h 69"/>
                  <a:gd name="T42" fmla="*/ 47 w 63"/>
                  <a:gd name="T43" fmla="*/ 51 h 69"/>
                  <a:gd name="T44" fmla="*/ 47 w 63"/>
                  <a:gd name="T45" fmla="*/ 48 h 69"/>
                  <a:gd name="T46" fmla="*/ 50 w 63"/>
                  <a:gd name="T47" fmla="*/ 46 h 69"/>
                  <a:gd name="T48" fmla="*/ 61 w 63"/>
                  <a:gd name="T49" fmla="*/ 39 h 69"/>
                  <a:gd name="T50" fmla="*/ 63 w 63"/>
                  <a:gd name="T51" fmla="*/ 35 h 69"/>
                  <a:gd name="T52" fmla="*/ 61 w 63"/>
                  <a:gd name="T53" fmla="*/ 35 h 69"/>
                  <a:gd name="T54" fmla="*/ 59 w 63"/>
                  <a:gd name="T55" fmla="*/ 33 h 69"/>
                  <a:gd name="T56" fmla="*/ 56 w 63"/>
                  <a:gd name="T57" fmla="*/ 35 h 69"/>
                  <a:gd name="T58" fmla="*/ 54 w 63"/>
                  <a:gd name="T59" fmla="*/ 32 h 69"/>
                  <a:gd name="T60" fmla="*/ 50 w 63"/>
                  <a:gd name="T61" fmla="*/ 32 h 69"/>
                  <a:gd name="T62" fmla="*/ 48 w 63"/>
                  <a:gd name="T63" fmla="*/ 3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69">
                    <a:moveTo>
                      <a:pt x="48" y="0"/>
                    </a:moveTo>
                    <a:lnTo>
                      <a:pt x="20" y="0"/>
                    </a:lnTo>
                    <a:lnTo>
                      <a:pt x="20" y="8"/>
                    </a:lnTo>
                    <a:lnTo>
                      <a:pt x="11" y="8"/>
                    </a:lnTo>
                    <a:lnTo>
                      <a:pt x="11" y="7"/>
                    </a:lnTo>
                    <a:lnTo>
                      <a:pt x="23" y="17"/>
                    </a:lnTo>
                    <a:lnTo>
                      <a:pt x="23" y="21"/>
                    </a:lnTo>
                    <a:lnTo>
                      <a:pt x="27" y="23"/>
                    </a:lnTo>
                    <a:lnTo>
                      <a:pt x="27" y="25"/>
                    </a:lnTo>
                    <a:lnTo>
                      <a:pt x="27" y="28"/>
                    </a:lnTo>
                    <a:lnTo>
                      <a:pt x="27" y="28"/>
                    </a:lnTo>
                    <a:lnTo>
                      <a:pt x="27" y="28"/>
                    </a:lnTo>
                    <a:lnTo>
                      <a:pt x="11" y="30"/>
                    </a:lnTo>
                    <a:lnTo>
                      <a:pt x="4" y="41"/>
                    </a:lnTo>
                    <a:lnTo>
                      <a:pt x="4" y="41"/>
                    </a:lnTo>
                    <a:lnTo>
                      <a:pt x="2" y="46"/>
                    </a:lnTo>
                    <a:lnTo>
                      <a:pt x="2" y="46"/>
                    </a:lnTo>
                    <a:lnTo>
                      <a:pt x="2" y="48"/>
                    </a:lnTo>
                    <a:lnTo>
                      <a:pt x="2" y="50"/>
                    </a:lnTo>
                    <a:lnTo>
                      <a:pt x="0" y="50"/>
                    </a:lnTo>
                    <a:lnTo>
                      <a:pt x="0" y="55"/>
                    </a:lnTo>
                    <a:lnTo>
                      <a:pt x="0" y="55"/>
                    </a:lnTo>
                    <a:lnTo>
                      <a:pt x="0" y="55"/>
                    </a:lnTo>
                    <a:lnTo>
                      <a:pt x="2" y="57"/>
                    </a:lnTo>
                    <a:lnTo>
                      <a:pt x="2" y="57"/>
                    </a:lnTo>
                    <a:lnTo>
                      <a:pt x="4" y="58"/>
                    </a:lnTo>
                    <a:lnTo>
                      <a:pt x="6" y="58"/>
                    </a:lnTo>
                    <a:lnTo>
                      <a:pt x="13" y="64"/>
                    </a:lnTo>
                    <a:lnTo>
                      <a:pt x="32" y="67"/>
                    </a:lnTo>
                    <a:lnTo>
                      <a:pt x="34" y="69"/>
                    </a:lnTo>
                    <a:lnTo>
                      <a:pt x="34" y="67"/>
                    </a:lnTo>
                    <a:lnTo>
                      <a:pt x="36" y="64"/>
                    </a:lnTo>
                    <a:lnTo>
                      <a:pt x="40" y="64"/>
                    </a:lnTo>
                    <a:lnTo>
                      <a:pt x="40" y="62"/>
                    </a:lnTo>
                    <a:lnTo>
                      <a:pt x="41" y="62"/>
                    </a:lnTo>
                    <a:lnTo>
                      <a:pt x="43" y="60"/>
                    </a:lnTo>
                    <a:lnTo>
                      <a:pt x="43" y="58"/>
                    </a:lnTo>
                    <a:lnTo>
                      <a:pt x="45" y="57"/>
                    </a:lnTo>
                    <a:lnTo>
                      <a:pt x="45" y="57"/>
                    </a:lnTo>
                    <a:lnTo>
                      <a:pt x="45" y="55"/>
                    </a:lnTo>
                    <a:lnTo>
                      <a:pt x="48" y="53"/>
                    </a:lnTo>
                    <a:lnTo>
                      <a:pt x="48" y="51"/>
                    </a:lnTo>
                    <a:lnTo>
                      <a:pt x="47" y="51"/>
                    </a:lnTo>
                    <a:lnTo>
                      <a:pt x="47" y="51"/>
                    </a:lnTo>
                    <a:lnTo>
                      <a:pt x="47" y="50"/>
                    </a:lnTo>
                    <a:lnTo>
                      <a:pt x="47" y="48"/>
                    </a:lnTo>
                    <a:lnTo>
                      <a:pt x="50" y="46"/>
                    </a:lnTo>
                    <a:lnTo>
                      <a:pt x="50" y="46"/>
                    </a:lnTo>
                    <a:lnTo>
                      <a:pt x="52" y="46"/>
                    </a:lnTo>
                    <a:lnTo>
                      <a:pt x="61" y="39"/>
                    </a:lnTo>
                    <a:lnTo>
                      <a:pt x="63" y="35"/>
                    </a:lnTo>
                    <a:lnTo>
                      <a:pt x="63" y="35"/>
                    </a:lnTo>
                    <a:lnTo>
                      <a:pt x="61" y="35"/>
                    </a:lnTo>
                    <a:lnTo>
                      <a:pt x="61" y="35"/>
                    </a:lnTo>
                    <a:lnTo>
                      <a:pt x="61" y="33"/>
                    </a:lnTo>
                    <a:lnTo>
                      <a:pt x="59" y="33"/>
                    </a:lnTo>
                    <a:lnTo>
                      <a:pt x="57" y="35"/>
                    </a:lnTo>
                    <a:lnTo>
                      <a:pt x="56" y="35"/>
                    </a:lnTo>
                    <a:lnTo>
                      <a:pt x="54" y="33"/>
                    </a:lnTo>
                    <a:lnTo>
                      <a:pt x="54" y="32"/>
                    </a:lnTo>
                    <a:lnTo>
                      <a:pt x="54" y="32"/>
                    </a:lnTo>
                    <a:lnTo>
                      <a:pt x="50" y="32"/>
                    </a:lnTo>
                    <a:lnTo>
                      <a:pt x="47" y="32"/>
                    </a:lnTo>
                    <a:lnTo>
                      <a:pt x="48" y="30"/>
                    </a:lnTo>
                    <a:lnTo>
                      <a:pt x="48"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46" name="Freeform 3202"/>
              <p:cNvSpPr>
                <a:spLocks/>
              </p:cNvSpPr>
              <p:nvPr/>
            </p:nvSpPr>
            <p:spPr bwMode="auto">
              <a:xfrm>
                <a:off x="1221" y="2424"/>
                <a:ext cx="63" cy="69"/>
              </a:xfrm>
              <a:custGeom>
                <a:avLst/>
                <a:gdLst>
                  <a:gd name="T0" fmla="*/ 20 w 63"/>
                  <a:gd name="T1" fmla="*/ 0 h 69"/>
                  <a:gd name="T2" fmla="*/ 11 w 63"/>
                  <a:gd name="T3" fmla="*/ 8 h 69"/>
                  <a:gd name="T4" fmla="*/ 23 w 63"/>
                  <a:gd name="T5" fmla="*/ 17 h 69"/>
                  <a:gd name="T6" fmla="*/ 27 w 63"/>
                  <a:gd name="T7" fmla="*/ 23 h 69"/>
                  <a:gd name="T8" fmla="*/ 27 w 63"/>
                  <a:gd name="T9" fmla="*/ 28 h 69"/>
                  <a:gd name="T10" fmla="*/ 27 w 63"/>
                  <a:gd name="T11" fmla="*/ 28 h 69"/>
                  <a:gd name="T12" fmla="*/ 4 w 63"/>
                  <a:gd name="T13" fmla="*/ 41 h 69"/>
                  <a:gd name="T14" fmla="*/ 2 w 63"/>
                  <a:gd name="T15" fmla="*/ 46 h 69"/>
                  <a:gd name="T16" fmla="*/ 2 w 63"/>
                  <a:gd name="T17" fmla="*/ 48 h 69"/>
                  <a:gd name="T18" fmla="*/ 0 w 63"/>
                  <a:gd name="T19" fmla="*/ 50 h 69"/>
                  <a:gd name="T20" fmla="*/ 0 w 63"/>
                  <a:gd name="T21" fmla="*/ 55 h 69"/>
                  <a:gd name="T22" fmla="*/ 2 w 63"/>
                  <a:gd name="T23" fmla="*/ 57 h 69"/>
                  <a:gd name="T24" fmla="*/ 4 w 63"/>
                  <a:gd name="T25" fmla="*/ 58 h 69"/>
                  <a:gd name="T26" fmla="*/ 13 w 63"/>
                  <a:gd name="T27" fmla="*/ 64 h 69"/>
                  <a:gd name="T28" fmla="*/ 34 w 63"/>
                  <a:gd name="T29" fmla="*/ 69 h 69"/>
                  <a:gd name="T30" fmla="*/ 36 w 63"/>
                  <a:gd name="T31" fmla="*/ 64 h 69"/>
                  <a:gd name="T32" fmla="*/ 40 w 63"/>
                  <a:gd name="T33" fmla="*/ 62 h 69"/>
                  <a:gd name="T34" fmla="*/ 43 w 63"/>
                  <a:gd name="T35" fmla="*/ 60 h 69"/>
                  <a:gd name="T36" fmla="*/ 45 w 63"/>
                  <a:gd name="T37" fmla="*/ 57 h 69"/>
                  <a:gd name="T38" fmla="*/ 45 w 63"/>
                  <a:gd name="T39" fmla="*/ 55 h 69"/>
                  <a:gd name="T40" fmla="*/ 48 w 63"/>
                  <a:gd name="T41" fmla="*/ 51 h 69"/>
                  <a:gd name="T42" fmla="*/ 47 w 63"/>
                  <a:gd name="T43" fmla="*/ 51 h 69"/>
                  <a:gd name="T44" fmla="*/ 47 w 63"/>
                  <a:gd name="T45" fmla="*/ 48 h 69"/>
                  <a:gd name="T46" fmla="*/ 50 w 63"/>
                  <a:gd name="T47" fmla="*/ 46 h 69"/>
                  <a:gd name="T48" fmla="*/ 61 w 63"/>
                  <a:gd name="T49" fmla="*/ 39 h 69"/>
                  <a:gd name="T50" fmla="*/ 63 w 63"/>
                  <a:gd name="T51" fmla="*/ 35 h 69"/>
                  <a:gd name="T52" fmla="*/ 61 w 63"/>
                  <a:gd name="T53" fmla="*/ 35 h 69"/>
                  <a:gd name="T54" fmla="*/ 59 w 63"/>
                  <a:gd name="T55" fmla="*/ 33 h 69"/>
                  <a:gd name="T56" fmla="*/ 56 w 63"/>
                  <a:gd name="T57" fmla="*/ 35 h 69"/>
                  <a:gd name="T58" fmla="*/ 54 w 63"/>
                  <a:gd name="T59" fmla="*/ 32 h 69"/>
                  <a:gd name="T60" fmla="*/ 50 w 63"/>
                  <a:gd name="T61" fmla="*/ 32 h 69"/>
                  <a:gd name="T62" fmla="*/ 48 w 63"/>
                  <a:gd name="T63" fmla="*/ 3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 h="69">
                    <a:moveTo>
                      <a:pt x="48" y="0"/>
                    </a:moveTo>
                    <a:lnTo>
                      <a:pt x="20" y="0"/>
                    </a:lnTo>
                    <a:lnTo>
                      <a:pt x="20" y="8"/>
                    </a:lnTo>
                    <a:lnTo>
                      <a:pt x="11" y="8"/>
                    </a:lnTo>
                    <a:lnTo>
                      <a:pt x="11" y="7"/>
                    </a:lnTo>
                    <a:lnTo>
                      <a:pt x="23" y="17"/>
                    </a:lnTo>
                    <a:lnTo>
                      <a:pt x="23" y="21"/>
                    </a:lnTo>
                    <a:lnTo>
                      <a:pt x="27" y="23"/>
                    </a:lnTo>
                    <a:lnTo>
                      <a:pt x="27" y="25"/>
                    </a:lnTo>
                    <a:lnTo>
                      <a:pt x="27" y="28"/>
                    </a:lnTo>
                    <a:lnTo>
                      <a:pt x="27" y="28"/>
                    </a:lnTo>
                    <a:lnTo>
                      <a:pt x="27" y="28"/>
                    </a:lnTo>
                    <a:lnTo>
                      <a:pt x="11" y="30"/>
                    </a:lnTo>
                    <a:lnTo>
                      <a:pt x="4" y="41"/>
                    </a:lnTo>
                    <a:lnTo>
                      <a:pt x="4" y="41"/>
                    </a:lnTo>
                    <a:lnTo>
                      <a:pt x="2" y="46"/>
                    </a:lnTo>
                    <a:lnTo>
                      <a:pt x="2" y="46"/>
                    </a:lnTo>
                    <a:lnTo>
                      <a:pt x="2" y="48"/>
                    </a:lnTo>
                    <a:lnTo>
                      <a:pt x="2" y="50"/>
                    </a:lnTo>
                    <a:lnTo>
                      <a:pt x="0" y="50"/>
                    </a:lnTo>
                    <a:lnTo>
                      <a:pt x="0" y="55"/>
                    </a:lnTo>
                    <a:lnTo>
                      <a:pt x="0" y="55"/>
                    </a:lnTo>
                    <a:lnTo>
                      <a:pt x="0" y="55"/>
                    </a:lnTo>
                    <a:lnTo>
                      <a:pt x="2" y="57"/>
                    </a:lnTo>
                    <a:lnTo>
                      <a:pt x="2" y="57"/>
                    </a:lnTo>
                    <a:lnTo>
                      <a:pt x="4" y="58"/>
                    </a:lnTo>
                    <a:lnTo>
                      <a:pt x="6" y="58"/>
                    </a:lnTo>
                    <a:lnTo>
                      <a:pt x="13" y="64"/>
                    </a:lnTo>
                    <a:lnTo>
                      <a:pt x="32" y="67"/>
                    </a:lnTo>
                    <a:lnTo>
                      <a:pt x="34" y="69"/>
                    </a:lnTo>
                    <a:lnTo>
                      <a:pt x="34" y="67"/>
                    </a:lnTo>
                    <a:lnTo>
                      <a:pt x="36" y="64"/>
                    </a:lnTo>
                    <a:lnTo>
                      <a:pt x="40" y="64"/>
                    </a:lnTo>
                    <a:lnTo>
                      <a:pt x="40" y="62"/>
                    </a:lnTo>
                    <a:lnTo>
                      <a:pt x="41" y="62"/>
                    </a:lnTo>
                    <a:lnTo>
                      <a:pt x="43" y="60"/>
                    </a:lnTo>
                    <a:lnTo>
                      <a:pt x="43" y="58"/>
                    </a:lnTo>
                    <a:lnTo>
                      <a:pt x="45" y="57"/>
                    </a:lnTo>
                    <a:lnTo>
                      <a:pt x="45" y="57"/>
                    </a:lnTo>
                    <a:lnTo>
                      <a:pt x="45" y="55"/>
                    </a:lnTo>
                    <a:lnTo>
                      <a:pt x="48" y="53"/>
                    </a:lnTo>
                    <a:lnTo>
                      <a:pt x="48" y="51"/>
                    </a:lnTo>
                    <a:lnTo>
                      <a:pt x="47" y="51"/>
                    </a:lnTo>
                    <a:lnTo>
                      <a:pt x="47" y="51"/>
                    </a:lnTo>
                    <a:lnTo>
                      <a:pt x="47" y="50"/>
                    </a:lnTo>
                    <a:lnTo>
                      <a:pt x="47" y="48"/>
                    </a:lnTo>
                    <a:lnTo>
                      <a:pt x="50" y="46"/>
                    </a:lnTo>
                    <a:lnTo>
                      <a:pt x="50" y="46"/>
                    </a:lnTo>
                    <a:lnTo>
                      <a:pt x="52" y="46"/>
                    </a:lnTo>
                    <a:lnTo>
                      <a:pt x="61" y="39"/>
                    </a:lnTo>
                    <a:lnTo>
                      <a:pt x="63" y="35"/>
                    </a:lnTo>
                    <a:lnTo>
                      <a:pt x="63" y="35"/>
                    </a:lnTo>
                    <a:lnTo>
                      <a:pt x="61" y="35"/>
                    </a:lnTo>
                    <a:lnTo>
                      <a:pt x="61" y="35"/>
                    </a:lnTo>
                    <a:lnTo>
                      <a:pt x="61" y="33"/>
                    </a:lnTo>
                    <a:lnTo>
                      <a:pt x="59" y="33"/>
                    </a:lnTo>
                    <a:lnTo>
                      <a:pt x="57" y="35"/>
                    </a:lnTo>
                    <a:lnTo>
                      <a:pt x="56" y="35"/>
                    </a:lnTo>
                    <a:lnTo>
                      <a:pt x="54" y="33"/>
                    </a:lnTo>
                    <a:lnTo>
                      <a:pt x="54" y="32"/>
                    </a:lnTo>
                    <a:lnTo>
                      <a:pt x="54" y="32"/>
                    </a:lnTo>
                    <a:lnTo>
                      <a:pt x="50" y="32"/>
                    </a:lnTo>
                    <a:lnTo>
                      <a:pt x="47" y="32"/>
                    </a:lnTo>
                    <a:lnTo>
                      <a:pt x="48" y="30"/>
                    </a:lnTo>
                    <a:lnTo>
                      <a:pt x="48"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47" name="Freeform 3203"/>
              <p:cNvSpPr>
                <a:spLocks/>
              </p:cNvSpPr>
              <p:nvPr/>
            </p:nvSpPr>
            <p:spPr bwMode="auto">
              <a:xfrm>
                <a:off x="1546" y="2390"/>
                <a:ext cx="56" cy="37"/>
              </a:xfrm>
              <a:custGeom>
                <a:avLst/>
                <a:gdLst>
                  <a:gd name="T0" fmla="*/ 2 w 56"/>
                  <a:gd name="T1" fmla="*/ 1 h 37"/>
                  <a:gd name="T2" fmla="*/ 2 w 56"/>
                  <a:gd name="T3" fmla="*/ 0 h 37"/>
                  <a:gd name="T4" fmla="*/ 4 w 56"/>
                  <a:gd name="T5" fmla="*/ 0 h 37"/>
                  <a:gd name="T6" fmla="*/ 18 w 56"/>
                  <a:gd name="T7" fmla="*/ 0 h 37"/>
                  <a:gd name="T8" fmla="*/ 27 w 56"/>
                  <a:gd name="T9" fmla="*/ 3 h 37"/>
                  <a:gd name="T10" fmla="*/ 31 w 56"/>
                  <a:gd name="T11" fmla="*/ 3 h 37"/>
                  <a:gd name="T12" fmla="*/ 32 w 56"/>
                  <a:gd name="T13" fmla="*/ 5 h 37"/>
                  <a:gd name="T14" fmla="*/ 32 w 56"/>
                  <a:gd name="T15" fmla="*/ 9 h 37"/>
                  <a:gd name="T16" fmla="*/ 34 w 56"/>
                  <a:gd name="T17" fmla="*/ 9 h 37"/>
                  <a:gd name="T18" fmla="*/ 41 w 56"/>
                  <a:gd name="T19" fmla="*/ 9 h 37"/>
                  <a:gd name="T20" fmla="*/ 43 w 56"/>
                  <a:gd name="T21" fmla="*/ 10 h 37"/>
                  <a:gd name="T22" fmla="*/ 43 w 56"/>
                  <a:gd name="T23" fmla="*/ 10 h 37"/>
                  <a:gd name="T24" fmla="*/ 41 w 56"/>
                  <a:gd name="T25" fmla="*/ 12 h 37"/>
                  <a:gd name="T26" fmla="*/ 38 w 56"/>
                  <a:gd name="T27" fmla="*/ 12 h 37"/>
                  <a:gd name="T28" fmla="*/ 38 w 56"/>
                  <a:gd name="T29" fmla="*/ 14 h 37"/>
                  <a:gd name="T30" fmla="*/ 41 w 56"/>
                  <a:gd name="T31" fmla="*/ 14 h 37"/>
                  <a:gd name="T32" fmla="*/ 48 w 56"/>
                  <a:gd name="T33" fmla="*/ 14 h 37"/>
                  <a:gd name="T34" fmla="*/ 54 w 56"/>
                  <a:gd name="T35" fmla="*/ 19 h 37"/>
                  <a:gd name="T36" fmla="*/ 56 w 56"/>
                  <a:gd name="T37" fmla="*/ 21 h 37"/>
                  <a:gd name="T38" fmla="*/ 56 w 56"/>
                  <a:gd name="T39" fmla="*/ 21 h 37"/>
                  <a:gd name="T40" fmla="*/ 56 w 56"/>
                  <a:gd name="T41" fmla="*/ 23 h 37"/>
                  <a:gd name="T42" fmla="*/ 54 w 56"/>
                  <a:gd name="T43" fmla="*/ 26 h 37"/>
                  <a:gd name="T44" fmla="*/ 52 w 56"/>
                  <a:gd name="T45" fmla="*/ 28 h 37"/>
                  <a:gd name="T46" fmla="*/ 50 w 56"/>
                  <a:gd name="T47" fmla="*/ 28 h 37"/>
                  <a:gd name="T48" fmla="*/ 48 w 56"/>
                  <a:gd name="T49" fmla="*/ 26 h 37"/>
                  <a:gd name="T50" fmla="*/ 45 w 56"/>
                  <a:gd name="T51" fmla="*/ 25 h 37"/>
                  <a:gd name="T52" fmla="*/ 31 w 56"/>
                  <a:gd name="T53" fmla="*/ 25 h 37"/>
                  <a:gd name="T54" fmla="*/ 29 w 56"/>
                  <a:gd name="T55" fmla="*/ 26 h 37"/>
                  <a:gd name="T56" fmla="*/ 29 w 56"/>
                  <a:gd name="T57" fmla="*/ 28 h 37"/>
                  <a:gd name="T58" fmla="*/ 27 w 56"/>
                  <a:gd name="T59" fmla="*/ 28 h 37"/>
                  <a:gd name="T60" fmla="*/ 22 w 56"/>
                  <a:gd name="T61" fmla="*/ 30 h 37"/>
                  <a:gd name="T62" fmla="*/ 20 w 56"/>
                  <a:gd name="T63" fmla="*/ 26 h 37"/>
                  <a:gd name="T64" fmla="*/ 20 w 56"/>
                  <a:gd name="T65" fmla="*/ 26 h 37"/>
                  <a:gd name="T66" fmla="*/ 18 w 56"/>
                  <a:gd name="T67" fmla="*/ 25 h 37"/>
                  <a:gd name="T68" fmla="*/ 15 w 56"/>
                  <a:gd name="T69" fmla="*/ 26 h 37"/>
                  <a:gd name="T70" fmla="*/ 9 w 56"/>
                  <a:gd name="T71" fmla="*/ 34 h 37"/>
                  <a:gd name="T72" fmla="*/ 9 w 56"/>
                  <a:gd name="T73" fmla="*/ 35 h 37"/>
                  <a:gd name="T74" fmla="*/ 7 w 56"/>
                  <a:gd name="T75" fmla="*/ 37 h 37"/>
                  <a:gd name="T76" fmla="*/ 6 w 56"/>
                  <a:gd name="T77" fmla="*/ 37 h 37"/>
                  <a:gd name="T78" fmla="*/ 6 w 56"/>
                  <a:gd name="T79" fmla="*/ 37 h 37"/>
                  <a:gd name="T80" fmla="*/ 4 w 56"/>
                  <a:gd name="T81" fmla="*/ 35 h 37"/>
                  <a:gd name="T82" fmla="*/ 4 w 56"/>
                  <a:gd name="T83" fmla="*/ 35 h 37"/>
                  <a:gd name="T84" fmla="*/ 4 w 56"/>
                  <a:gd name="T85" fmla="*/ 32 h 37"/>
                  <a:gd name="T86" fmla="*/ 2 w 56"/>
                  <a:gd name="T87" fmla="*/ 32 h 37"/>
                  <a:gd name="T88" fmla="*/ 2 w 56"/>
                  <a:gd name="T89" fmla="*/ 30 h 37"/>
                  <a:gd name="T90" fmla="*/ 4 w 56"/>
                  <a:gd name="T91" fmla="*/ 26 h 37"/>
                  <a:gd name="T92" fmla="*/ 2 w 56"/>
                  <a:gd name="T93" fmla="*/ 25 h 37"/>
                  <a:gd name="T94" fmla="*/ 0 w 56"/>
                  <a:gd name="T95" fmla="*/ 23 h 37"/>
                  <a:gd name="T96" fmla="*/ 0 w 56"/>
                  <a:gd name="T97" fmla="*/ 21 h 37"/>
                  <a:gd name="T98" fmla="*/ 2 w 56"/>
                  <a:gd name="T99" fmla="*/ 21 h 37"/>
                  <a:gd name="T100" fmla="*/ 4 w 56"/>
                  <a:gd name="T101" fmla="*/ 19 h 37"/>
                  <a:gd name="T102" fmla="*/ 4 w 56"/>
                  <a:gd name="T103" fmla="*/ 14 h 37"/>
                  <a:gd name="T104" fmla="*/ 4 w 56"/>
                  <a:gd name="T105" fmla="*/ 14 h 37"/>
                  <a:gd name="T106" fmla="*/ 6 w 56"/>
                  <a:gd name="T107" fmla="*/ 12 h 37"/>
                  <a:gd name="T108" fmla="*/ 4 w 56"/>
                  <a:gd name="T109" fmla="*/ 10 h 37"/>
                  <a:gd name="T110" fmla="*/ 4 w 56"/>
                  <a:gd name="T111" fmla="*/ 7 h 37"/>
                  <a:gd name="T112" fmla="*/ 4 w 56"/>
                  <a:gd name="T113" fmla="*/ 3 h 37"/>
                  <a:gd name="T114" fmla="*/ 2 w 56"/>
                  <a:gd name="T115" fmla="*/ 1 h 37"/>
                  <a:gd name="T116" fmla="*/ 2 w 56"/>
                  <a:gd name="T117"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37">
                    <a:moveTo>
                      <a:pt x="2" y="1"/>
                    </a:moveTo>
                    <a:lnTo>
                      <a:pt x="2" y="0"/>
                    </a:lnTo>
                    <a:lnTo>
                      <a:pt x="4" y="0"/>
                    </a:lnTo>
                    <a:lnTo>
                      <a:pt x="18" y="0"/>
                    </a:lnTo>
                    <a:lnTo>
                      <a:pt x="27" y="3"/>
                    </a:lnTo>
                    <a:lnTo>
                      <a:pt x="31" y="3"/>
                    </a:lnTo>
                    <a:lnTo>
                      <a:pt x="32" y="5"/>
                    </a:lnTo>
                    <a:lnTo>
                      <a:pt x="32" y="9"/>
                    </a:lnTo>
                    <a:lnTo>
                      <a:pt x="34" y="9"/>
                    </a:lnTo>
                    <a:lnTo>
                      <a:pt x="41" y="9"/>
                    </a:lnTo>
                    <a:lnTo>
                      <a:pt x="43" y="10"/>
                    </a:lnTo>
                    <a:lnTo>
                      <a:pt x="43" y="10"/>
                    </a:lnTo>
                    <a:lnTo>
                      <a:pt x="41" y="12"/>
                    </a:lnTo>
                    <a:lnTo>
                      <a:pt x="38" y="12"/>
                    </a:lnTo>
                    <a:lnTo>
                      <a:pt x="38" y="14"/>
                    </a:lnTo>
                    <a:lnTo>
                      <a:pt x="41" y="14"/>
                    </a:lnTo>
                    <a:lnTo>
                      <a:pt x="48" y="14"/>
                    </a:lnTo>
                    <a:lnTo>
                      <a:pt x="54" y="19"/>
                    </a:lnTo>
                    <a:lnTo>
                      <a:pt x="56" y="21"/>
                    </a:lnTo>
                    <a:lnTo>
                      <a:pt x="56" y="21"/>
                    </a:lnTo>
                    <a:lnTo>
                      <a:pt x="56" y="23"/>
                    </a:lnTo>
                    <a:lnTo>
                      <a:pt x="54" y="26"/>
                    </a:lnTo>
                    <a:lnTo>
                      <a:pt x="52" y="28"/>
                    </a:lnTo>
                    <a:lnTo>
                      <a:pt x="50" y="28"/>
                    </a:lnTo>
                    <a:lnTo>
                      <a:pt x="48" y="26"/>
                    </a:lnTo>
                    <a:lnTo>
                      <a:pt x="45" y="25"/>
                    </a:lnTo>
                    <a:lnTo>
                      <a:pt x="31" y="25"/>
                    </a:lnTo>
                    <a:lnTo>
                      <a:pt x="29" y="26"/>
                    </a:lnTo>
                    <a:lnTo>
                      <a:pt x="29" y="28"/>
                    </a:lnTo>
                    <a:lnTo>
                      <a:pt x="27" y="28"/>
                    </a:lnTo>
                    <a:lnTo>
                      <a:pt x="22" y="30"/>
                    </a:lnTo>
                    <a:lnTo>
                      <a:pt x="20" y="26"/>
                    </a:lnTo>
                    <a:lnTo>
                      <a:pt x="20" y="26"/>
                    </a:lnTo>
                    <a:lnTo>
                      <a:pt x="18" y="25"/>
                    </a:lnTo>
                    <a:lnTo>
                      <a:pt x="15" y="26"/>
                    </a:lnTo>
                    <a:lnTo>
                      <a:pt x="9" y="34"/>
                    </a:lnTo>
                    <a:lnTo>
                      <a:pt x="9" y="35"/>
                    </a:lnTo>
                    <a:lnTo>
                      <a:pt x="7" y="37"/>
                    </a:lnTo>
                    <a:lnTo>
                      <a:pt x="6" y="37"/>
                    </a:lnTo>
                    <a:lnTo>
                      <a:pt x="6" y="37"/>
                    </a:lnTo>
                    <a:lnTo>
                      <a:pt x="4" y="35"/>
                    </a:lnTo>
                    <a:lnTo>
                      <a:pt x="4" y="35"/>
                    </a:lnTo>
                    <a:lnTo>
                      <a:pt x="4" y="32"/>
                    </a:lnTo>
                    <a:lnTo>
                      <a:pt x="2" y="32"/>
                    </a:lnTo>
                    <a:lnTo>
                      <a:pt x="2" y="30"/>
                    </a:lnTo>
                    <a:lnTo>
                      <a:pt x="4" y="26"/>
                    </a:lnTo>
                    <a:lnTo>
                      <a:pt x="2" y="25"/>
                    </a:lnTo>
                    <a:lnTo>
                      <a:pt x="0" y="23"/>
                    </a:lnTo>
                    <a:lnTo>
                      <a:pt x="0" y="21"/>
                    </a:lnTo>
                    <a:lnTo>
                      <a:pt x="2" y="21"/>
                    </a:lnTo>
                    <a:lnTo>
                      <a:pt x="4" y="19"/>
                    </a:lnTo>
                    <a:lnTo>
                      <a:pt x="4" y="14"/>
                    </a:lnTo>
                    <a:lnTo>
                      <a:pt x="4" y="14"/>
                    </a:lnTo>
                    <a:lnTo>
                      <a:pt x="6" y="12"/>
                    </a:lnTo>
                    <a:lnTo>
                      <a:pt x="4" y="10"/>
                    </a:lnTo>
                    <a:lnTo>
                      <a:pt x="4" y="7"/>
                    </a:lnTo>
                    <a:lnTo>
                      <a:pt x="4" y="3"/>
                    </a:lnTo>
                    <a:lnTo>
                      <a:pt x="2" y="1"/>
                    </a:lnTo>
                    <a:lnTo>
                      <a:pt x="2"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48" name="Freeform 3204"/>
              <p:cNvSpPr>
                <a:spLocks/>
              </p:cNvSpPr>
              <p:nvPr/>
            </p:nvSpPr>
            <p:spPr bwMode="auto">
              <a:xfrm>
                <a:off x="1546" y="2390"/>
                <a:ext cx="56" cy="37"/>
              </a:xfrm>
              <a:custGeom>
                <a:avLst/>
                <a:gdLst>
                  <a:gd name="T0" fmla="*/ 2 w 56"/>
                  <a:gd name="T1" fmla="*/ 1 h 37"/>
                  <a:gd name="T2" fmla="*/ 2 w 56"/>
                  <a:gd name="T3" fmla="*/ 0 h 37"/>
                  <a:gd name="T4" fmla="*/ 4 w 56"/>
                  <a:gd name="T5" fmla="*/ 0 h 37"/>
                  <a:gd name="T6" fmla="*/ 18 w 56"/>
                  <a:gd name="T7" fmla="*/ 0 h 37"/>
                  <a:gd name="T8" fmla="*/ 27 w 56"/>
                  <a:gd name="T9" fmla="*/ 3 h 37"/>
                  <a:gd name="T10" fmla="*/ 31 w 56"/>
                  <a:gd name="T11" fmla="*/ 3 h 37"/>
                  <a:gd name="T12" fmla="*/ 32 w 56"/>
                  <a:gd name="T13" fmla="*/ 5 h 37"/>
                  <a:gd name="T14" fmla="*/ 32 w 56"/>
                  <a:gd name="T15" fmla="*/ 9 h 37"/>
                  <a:gd name="T16" fmla="*/ 34 w 56"/>
                  <a:gd name="T17" fmla="*/ 9 h 37"/>
                  <a:gd name="T18" fmla="*/ 41 w 56"/>
                  <a:gd name="T19" fmla="*/ 9 h 37"/>
                  <a:gd name="T20" fmla="*/ 43 w 56"/>
                  <a:gd name="T21" fmla="*/ 10 h 37"/>
                  <a:gd name="T22" fmla="*/ 43 w 56"/>
                  <a:gd name="T23" fmla="*/ 10 h 37"/>
                  <a:gd name="T24" fmla="*/ 41 w 56"/>
                  <a:gd name="T25" fmla="*/ 12 h 37"/>
                  <a:gd name="T26" fmla="*/ 38 w 56"/>
                  <a:gd name="T27" fmla="*/ 12 h 37"/>
                  <a:gd name="T28" fmla="*/ 38 w 56"/>
                  <a:gd name="T29" fmla="*/ 14 h 37"/>
                  <a:gd name="T30" fmla="*/ 41 w 56"/>
                  <a:gd name="T31" fmla="*/ 14 h 37"/>
                  <a:gd name="T32" fmla="*/ 48 w 56"/>
                  <a:gd name="T33" fmla="*/ 14 h 37"/>
                  <a:gd name="T34" fmla="*/ 54 w 56"/>
                  <a:gd name="T35" fmla="*/ 19 h 37"/>
                  <a:gd name="T36" fmla="*/ 56 w 56"/>
                  <a:gd name="T37" fmla="*/ 21 h 37"/>
                  <a:gd name="T38" fmla="*/ 56 w 56"/>
                  <a:gd name="T39" fmla="*/ 21 h 37"/>
                  <a:gd name="T40" fmla="*/ 56 w 56"/>
                  <a:gd name="T41" fmla="*/ 23 h 37"/>
                  <a:gd name="T42" fmla="*/ 54 w 56"/>
                  <a:gd name="T43" fmla="*/ 26 h 37"/>
                  <a:gd name="T44" fmla="*/ 52 w 56"/>
                  <a:gd name="T45" fmla="*/ 28 h 37"/>
                  <a:gd name="T46" fmla="*/ 50 w 56"/>
                  <a:gd name="T47" fmla="*/ 28 h 37"/>
                  <a:gd name="T48" fmla="*/ 48 w 56"/>
                  <a:gd name="T49" fmla="*/ 26 h 37"/>
                  <a:gd name="T50" fmla="*/ 45 w 56"/>
                  <a:gd name="T51" fmla="*/ 25 h 37"/>
                  <a:gd name="T52" fmla="*/ 31 w 56"/>
                  <a:gd name="T53" fmla="*/ 25 h 37"/>
                  <a:gd name="T54" fmla="*/ 29 w 56"/>
                  <a:gd name="T55" fmla="*/ 26 h 37"/>
                  <a:gd name="T56" fmla="*/ 29 w 56"/>
                  <a:gd name="T57" fmla="*/ 28 h 37"/>
                  <a:gd name="T58" fmla="*/ 27 w 56"/>
                  <a:gd name="T59" fmla="*/ 28 h 37"/>
                  <a:gd name="T60" fmla="*/ 22 w 56"/>
                  <a:gd name="T61" fmla="*/ 30 h 37"/>
                  <a:gd name="T62" fmla="*/ 20 w 56"/>
                  <a:gd name="T63" fmla="*/ 26 h 37"/>
                  <a:gd name="T64" fmla="*/ 20 w 56"/>
                  <a:gd name="T65" fmla="*/ 26 h 37"/>
                  <a:gd name="T66" fmla="*/ 18 w 56"/>
                  <a:gd name="T67" fmla="*/ 25 h 37"/>
                  <a:gd name="T68" fmla="*/ 15 w 56"/>
                  <a:gd name="T69" fmla="*/ 26 h 37"/>
                  <a:gd name="T70" fmla="*/ 9 w 56"/>
                  <a:gd name="T71" fmla="*/ 34 h 37"/>
                  <a:gd name="T72" fmla="*/ 9 w 56"/>
                  <a:gd name="T73" fmla="*/ 35 h 37"/>
                  <a:gd name="T74" fmla="*/ 7 w 56"/>
                  <a:gd name="T75" fmla="*/ 37 h 37"/>
                  <a:gd name="T76" fmla="*/ 6 w 56"/>
                  <a:gd name="T77" fmla="*/ 37 h 37"/>
                  <a:gd name="T78" fmla="*/ 6 w 56"/>
                  <a:gd name="T79" fmla="*/ 37 h 37"/>
                  <a:gd name="T80" fmla="*/ 4 w 56"/>
                  <a:gd name="T81" fmla="*/ 35 h 37"/>
                  <a:gd name="T82" fmla="*/ 4 w 56"/>
                  <a:gd name="T83" fmla="*/ 35 h 37"/>
                  <a:gd name="T84" fmla="*/ 4 w 56"/>
                  <a:gd name="T85" fmla="*/ 32 h 37"/>
                  <a:gd name="T86" fmla="*/ 2 w 56"/>
                  <a:gd name="T87" fmla="*/ 32 h 37"/>
                  <a:gd name="T88" fmla="*/ 2 w 56"/>
                  <a:gd name="T89" fmla="*/ 30 h 37"/>
                  <a:gd name="T90" fmla="*/ 4 w 56"/>
                  <a:gd name="T91" fmla="*/ 26 h 37"/>
                  <a:gd name="T92" fmla="*/ 2 w 56"/>
                  <a:gd name="T93" fmla="*/ 25 h 37"/>
                  <a:gd name="T94" fmla="*/ 0 w 56"/>
                  <a:gd name="T95" fmla="*/ 23 h 37"/>
                  <a:gd name="T96" fmla="*/ 0 w 56"/>
                  <a:gd name="T97" fmla="*/ 21 h 37"/>
                  <a:gd name="T98" fmla="*/ 2 w 56"/>
                  <a:gd name="T99" fmla="*/ 21 h 37"/>
                  <a:gd name="T100" fmla="*/ 4 w 56"/>
                  <a:gd name="T101" fmla="*/ 19 h 37"/>
                  <a:gd name="T102" fmla="*/ 4 w 56"/>
                  <a:gd name="T103" fmla="*/ 14 h 37"/>
                  <a:gd name="T104" fmla="*/ 4 w 56"/>
                  <a:gd name="T105" fmla="*/ 14 h 37"/>
                  <a:gd name="T106" fmla="*/ 6 w 56"/>
                  <a:gd name="T107" fmla="*/ 12 h 37"/>
                  <a:gd name="T108" fmla="*/ 4 w 56"/>
                  <a:gd name="T109" fmla="*/ 10 h 37"/>
                  <a:gd name="T110" fmla="*/ 4 w 56"/>
                  <a:gd name="T111" fmla="*/ 7 h 37"/>
                  <a:gd name="T112" fmla="*/ 4 w 56"/>
                  <a:gd name="T113" fmla="*/ 3 h 37"/>
                  <a:gd name="T114" fmla="*/ 2 w 56"/>
                  <a:gd name="T115" fmla="*/ 1 h 37"/>
                  <a:gd name="T116" fmla="*/ 2 w 56"/>
                  <a:gd name="T117"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 h="37">
                    <a:moveTo>
                      <a:pt x="2" y="1"/>
                    </a:moveTo>
                    <a:lnTo>
                      <a:pt x="2" y="0"/>
                    </a:lnTo>
                    <a:lnTo>
                      <a:pt x="4" y="0"/>
                    </a:lnTo>
                    <a:lnTo>
                      <a:pt x="18" y="0"/>
                    </a:lnTo>
                    <a:lnTo>
                      <a:pt x="27" y="3"/>
                    </a:lnTo>
                    <a:lnTo>
                      <a:pt x="31" y="3"/>
                    </a:lnTo>
                    <a:lnTo>
                      <a:pt x="32" y="5"/>
                    </a:lnTo>
                    <a:lnTo>
                      <a:pt x="32" y="9"/>
                    </a:lnTo>
                    <a:lnTo>
                      <a:pt x="34" y="9"/>
                    </a:lnTo>
                    <a:lnTo>
                      <a:pt x="41" y="9"/>
                    </a:lnTo>
                    <a:lnTo>
                      <a:pt x="43" y="10"/>
                    </a:lnTo>
                    <a:lnTo>
                      <a:pt x="43" y="10"/>
                    </a:lnTo>
                    <a:lnTo>
                      <a:pt x="41" y="12"/>
                    </a:lnTo>
                    <a:lnTo>
                      <a:pt x="38" y="12"/>
                    </a:lnTo>
                    <a:lnTo>
                      <a:pt x="38" y="14"/>
                    </a:lnTo>
                    <a:lnTo>
                      <a:pt x="41" y="14"/>
                    </a:lnTo>
                    <a:lnTo>
                      <a:pt x="48" y="14"/>
                    </a:lnTo>
                    <a:lnTo>
                      <a:pt x="54" y="19"/>
                    </a:lnTo>
                    <a:lnTo>
                      <a:pt x="56" y="21"/>
                    </a:lnTo>
                    <a:lnTo>
                      <a:pt x="56" y="21"/>
                    </a:lnTo>
                    <a:lnTo>
                      <a:pt x="56" y="23"/>
                    </a:lnTo>
                    <a:lnTo>
                      <a:pt x="54" y="26"/>
                    </a:lnTo>
                    <a:lnTo>
                      <a:pt x="52" y="28"/>
                    </a:lnTo>
                    <a:lnTo>
                      <a:pt x="50" y="28"/>
                    </a:lnTo>
                    <a:lnTo>
                      <a:pt x="48" y="26"/>
                    </a:lnTo>
                    <a:lnTo>
                      <a:pt x="45" y="25"/>
                    </a:lnTo>
                    <a:lnTo>
                      <a:pt x="31" y="25"/>
                    </a:lnTo>
                    <a:lnTo>
                      <a:pt x="29" y="26"/>
                    </a:lnTo>
                    <a:lnTo>
                      <a:pt x="29" y="28"/>
                    </a:lnTo>
                    <a:lnTo>
                      <a:pt x="27" y="28"/>
                    </a:lnTo>
                    <a:lnTo>
                      <a:pt x="22" y="30"/>
                    </a:lnTo>
                    <a:lnTo>
                      <a:pt x="20" y="26"/>
                    </a:lnTo>
                    <a:lnTo>
                      <a:pt x="20" y="26"/>
                    </a:lnTo>
                    <a:lnTo>
                      <a:pt x="18" y="25"/>
                    </a:lnTo>
                    <a:lnTo>
                      <a:pt x="15" y="26"/>
                    </a:lnTo>
                    <a:lnTo>
                      <a:pt x="9" y="34"/>
                    </a:lnTo>
                    <a:lnTo>
                      <a:pt x="9" y="35"/>
                    </a:lnTo>
                    <a:lnTo>
                      <a:pt x="7" y="37"/>
                    </a:lnTo>
                    <a:lnTo>
                      <a:pt x="6" y="37"/>
                    </a:lnTo>
                    <a:lnTo>
                      <a:pt x="6" y="37"/>
                    </a:lnTo>
                    <a:lnTo>
                      <a:pt x="4" y="35"/>
                    </a:lnTo>
                    <a:lnTo>
                      <a:pt x="4" y="35"/>
                    </a:lnTo>
                    <a:lnTo>
                      <a:pt x="4" y="32"/>
                    </a:lnTo>
                    <a:lnTo>
                      <a:pt x="2" y="32"/>
                    </a:lnTo>
                    <a:lnTo>
                      <a:pt x="2" y="30"/>
                    </a:lnTo>
                    <a:lnTo>
                      <a:pt x="4" y="26"/>
                    </a:lnTo>
                    <a:lnTo>
                      <a:pt x="2" y="25"/>
                    </a:lnTo>
                    <a:lnTo>
                      <a:pt x="0" y="23"/>
                    </a:lnTo>
                    <a:lnTo>
                      <a:pt x="0" y="21"/>
                    </a:lnTo>
                    <a:lnTo>
                      <a:pt x="2" y="21"/>
                    </a:lnTo>
                    <a:lnTo>
                      <a:pt x="4" y="19"/>
                    </a:lnTo>
                    <a:lnTo>
                      <a:pt x="4" y="14"/>
                    </a:lnTo>
                    <a:lnTo>
                      <a:pt x="4" y="14"/>
                    </a:lnTo>
                    <a:lnTo>
                      <a:pt x="6" y="12"/>
                    </a:lnTo>
                    <a:lnTo>
                      <a:pt x="4" y="10"/>
                    </a:lnTo>
                    <a:lnTo>
                      <a:pt x="4" y="7"/>
                    </a:lnTo>
                    <a:lnTo>
                      <a:pt x="4" y="3"/>
                    </a:lnTo>
                    <a:lnTo>
                      <a:pt x="2" y="1"/>
                    </a:lnTo>
                    <a:lnTo>
                      <a:pt x="2"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49" name="Freeform 3205"/>
              <p:cNvSpPr>
                <a:spLocks/>
              </p:cNvSpPr>
              <p:nvPr/>
            </p:nvSpPr>
            <p:spPr bwMode="auto">
              <a:xfrm>
                <a:off x="1523" y="2518"/>
                <a:ext cx="216" cy="184"/>
              </a:xfrm>
              <a:custGeom>
                <a:avLst/>
                <a:gdLst>
                  <a:gd name="T0" fmla="*/ 23 w 216"/>
                  <a:gd name="T1" fmla="*/ 11 h 184"/>
                  <a:gd name="T2" fmla="*/ 27 w 216"/>
                  <a:gd name="T3" fmla="*/ 20 h 184"/>
                  <a:gd name="T4" fmla="*/ 21 w 216"/>
                  <a:gd name="T5" fmla="*/ 32 h 184"/>
                  <a:gd name="T6" fmla="*/ 25 w 216"/>
                  <a:gd name="T7" fmla="*/ 43 h 184"/>
                  <a:gd name="T8" fmla="*/ 32 w 216"/>
                  <a:gd name="T9" fmla="*/ 50 h 184"/>
                  <a:gd name="T10" fmla="*/ 30 w 216"/>
                  <a:gd name="T11" fmla="*/ 22 h 184"/>
                  <a:gd name="T12" fmla="*/ 36 w 216"/>
                  <a:gd name="T13" fmla="*/ 18 h 184"/>
                  <a:gd name="T14" fmla="*/ 57 w 216"/>
                  <a:gd name="T15" fmla="*/ 9 h 184"/>
                  <a:gd name="T16" fmla="*/ 50 w 216"/>
                  <a:gd name="T17" fmla="*/ 7 h 184"/>
                  <a:gd name="T18" fmla="*/ 54 w 216"/>
                  <a:gd name="T19" fmla="*/ 0 h 184"/>
                  <a:gd name="T20" fmla="*/ 59 w 216"/>
                  <a:gd name="T21" fmla="*/ 7 h 184"/>
                  <a:gd name="T22" fmla="*/ 82 w 216"/>
                  <a:gd name="T23" fmla="*/ 25 h 184"/>
                  <a:gd name="T24" fmla="*/ 118 w 216"/>
                  <a:gd name="T25" fmla="*/ 29 h 184"/>
                  <a:gd name="T26" fmla="*/ 139 w 216"/>
                  <a:gd name="T27" fmla="*/ 32 h 184"/>
                  <a:gd name="T28" fmla="*/ 154 w 216"/>
                  <a:gd name="T29" fmla="*/ 25 h 184"/>
                  <a:gd name="T30" fmla="*/ 148 w 216"/>
                  <a:gd name="T31" fmla="*/ 23 h 184"/>
                  <a:gd name="T32" fmla="*/ 177 w 216"/>
                  <a:gd name="T33" fmla="*/ 25 h 184"/>
                  <a:gd name="T34" fmla="*/ 168 w 216"/>
                  <a:gd name="T35" fmla="*/ 27 h 184"/>
                  <a:gd name="T36" fmla="*/ 171 w 216"/>
                  <a:gd name="T37" fmla="*/ 32 h 184"/>
                  <a:gd name="T38" fmla="*/ 177 w 216"/>
                  <a:gd name="T39" fmla="*/ 38 h 184"/>
                  <a:gd name="T40" fmla="*/ 196 w 216"/>
                  <a:gd name="T41" fmla="*/ 43 h 184"/>
                  <a:gd name="T42" fmla="*/ 202 w 216"/>
                  <a:gd name="T43" fmla="*/ 57 h 184"/>
                  <a:gd name="T44" fmla="*/ 198 w 216"/>
                  <a:gd name="T45" fmla="*/ 59 h 184"/>
                  <a:gd name="T46" fmla="*/ 211 w 216"/>
                  <a:gd name="T47" fmla="*/ 57 h 184"/>
                  <a:gd name="T48" fmla="*/ 216 w 216"/>
                  <a:gd name="T49" fmla="*/ 64 h 184"/>
                  <a:gd name="T50" fmla="*/ 212 w 216"/>
                  <a:gd name="T51" fmla="*/ 68 h 184"/>
                  <a:gd name="T52" fmla="*/ 202 w 216"/>
                  <a:gd name="T53" fmla="*/ 72 h 184"/>
                  <a:gd name="T54" fmla="*/ 202 w 216"/>
                  <a:gd name="T55" fmla="*/ 81 h 184"/>
                  <a:gd name="T56" fmla="*/ 205 w 216"/>
                  <a:gd name="T57" fmla="*/ 84 h 184"/>
                  <a:gd name="T58" fmla="*/ 193 w 216"/>
                  <a:gd name="T59" fmla="*/ 97 h 184"/>
                  <a:gd name="T60" fmla="*/ 204 w 216"/>
                  <a:gd name="T61" fmla="*/ 111 h 184"/>
                  <a:gd name="T62" fmla="*/ 198 w 216"/>
                  <a:gd name="T63" fmla="*/ 123 h 184"/>
                  <a:gd name="T64" fmla="*/ 186 w 216"/>
                  <a:gd name="T65" fmla="*/ 129 h 184"/>
                  <a:gd name="T66" fmla="*/ 159 w 216"/>
                  <a:gd name="T67" fmla="*/ 134 h 184"/>
                  <a:gd name="T68" fmla="*/ 138 w 216"/>
                  <a:gd name="T69" fmla="*/ 131 h 184"/>
                  <a:gd name="T70" fmla="*/ 145 w 216"/>
                  <a:gd name="T71" fmla="*/ 147 h 184"/>
                  <a:gd name="T72" fmla="*/ 159 w 216"/>
                  <a:gd name="T73" fmla="*/ 157 h 184"/>
                  <a:gd name="T74" fmla="*/ 154 w 216"/>
                  <a:gd name="T75" fmla="*/ 163 h 184"/>
                  <a:gd name="T76" fmla="*/ 148 w 216"/>
                  <a:gd name="T77" fmla="*/ 166 h 184"/>
                  <a:gd name="T78" fmla="*/ 141 w 216"/>
                  <a:gd name="T79" fmla="*/ 172 h 184"/>
                  <a:gd name="T80" fmla="*/ 123 w 216"/>
                  <a:gd name="T81" fmla="*/ 182 h 184"/>
                  <a:gd name="T82" fmla="*/ 107 w 216"/>
                  <a:gd name="T83" fmla="*/ 179 h 184"/>
                  <a:gd name="T84" fmla="*/ 95 w 216"/>
                  <a:gd name="T85" fmla="*/ 145 h 184"/>
                  <a:gd name="T86" fmla="*/ 96 w 216"/>
                  <a:gd name="T87" fmla="*/ 141 h 184"/>
                  <a:gd name="T88" fmla="*/ 93 w 216"/>
                  <a:gd name="T89" fmla="*/ 134 h 184"/>
                  <a:gd name="T90" fmla="*/ 88 w 216"/>
                  <a:gd name="T91" fmla="*/ 122 h 184"/>
                  <a:gd name="T92" fmla="*/ 89 w 216"/>
                  <a:gd name="T93" fmla="*/ 111 h 184"/>
                  <a:gd name="T94" fmla="*/ 95 w 216"/>
                  <a:gd name="T95" fmla="*/ 100 h 184"/>
                  <a:gd name="T96" fmla="*/ 91 w 216"/>
                  <a:gd name="T97" fmla="*/ 95 h 184"/>
                  <a:gd name="T98" fmla="*/ 68 w 216"/>
                  <a:gd name="T99" fmla="*/ 97 h 184"/>
                  <a:gd name="T100" fmla="*/ 63 w 216"/>
                  <a:gd name="T101" fmla="*/ 97 h 184"/>
                  <a:gd name="T102" fmla="*/ 30 w 216"/>
                  <a:gd name="T103" fmla="*/ 84 h 184"/>
                  <a:gd name="T104" fmla="*/ 16 w 216"/>
                  <a:gd name="T105" fmla="*/ 77 h 184"/>
                  <a:gd name="T106" fmla="*/ 13 w 216"/>
                  <a:gd name="T107" fmla="*/ 61 h 184"/>
                  <a:gd name="T108" fmla="*/ 7 w 216"/>
                  <a:gd name="T109" fmla="*/ 48 h 184"/>
                  <a:gd name="T110" fmla="*/ 27 w 216"/>
                  <a:gd name="T111" fmla="*/ 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6" h="184">
                    <a:moveTo>
                      <a:pt x="32" y="6"/>
                    </a:moveTo>
                    <a:lnTo>
                      <a:pt x="29" y="7"/>
                    </a:lnTo>
                    <a:lnTo>
                      <a:pt x="23" y="9"/>
                    </a:lnTo>
                    <a:lnTo>
                      <a:pt x="23" y="11"/>
                    </a:lnTo>
                    <a:lnTo>
                      <a:pt x="25" y="16"/>
                    </a:lnTo>
                    <a:lnTo>
                      <a:pt x="29" y="18"/>
                    </a:lnTo>
                    <a:lnTo>
                      <a:pt x="29" y="20"/>
                    </a:lnTo>
                    <a:lnTo>
                      <a:pt x="27" y="20"/>
                    </a:lnTo>
                    <a:lnTo>
                      <a:pt x="27" y="22"/>
                    </a:lnTo>
                    <a:lnTo>
                      <a:pt x="29" y="22"/>
                    </a:lnTo>
                    <a:lnTo>
                      <a:pt x="27" y="27"/>
                    </a:lnTo>
                    <a:lnTo>
                      <a:pt x="21" y="32"/>
                    </a:lnTo>
                    <a:lnTo>
                      <a:pt x="21" y="34"/>
                    </a:lnTo>
                    <a:lnTo>
                      <a:pt x="21" y="41"/>
                    </a:lnTo>
                    <a:lnTo>
                      <a:pt x="23" y="41"/>
                    </a:lnTo>
                    <a:lnTo>
                      <a:pt x="25" y="43"/>
                    </a:lnTo>
                    <a:lnTo>
                      <a:pt x="29" y="50"/>
                    </a:lnTo>
                    <a:lnTo>
                      <a:pt x="29" y="50"/>
                    </a:lnTo>
                    <a:lnTo>
                      <a:pt x="30" y="50"/>
                    </a:lnTo>
                    <a:lnTo>
                      <a:pt x="32" y="50"/>
                    </a:lnTo>
                    <a:lnTo>
                      <a:pt x="36" y="47"/>
                    </a:lnTo>
                    <a:lnTo>
                      <a:pt x="36" y="38"/>
                    </a:lnTo>
                    <a:lnTo>
                      <a:pt x="30" y="29"/>
                    </a:lnTo>
                    <a:lnTo>
                      <a:pt x="30" y="22"/>
                    </a:lnTo>
                    <a:lnTo>
                      <a:pt x="32" y="22"/>
                    </a:lnTo>
                    <a:lnTo>
                      <a:pt x="32" y="20"/>
                    </a:lnTo>
                    <a:lnTo>
                      <a:pt x="32" y="20"/>
                    </a:lnTo>
                    <a:lnTo>
                      <a:pt x="36" y="18"/>
                    </a:lnTo>
                    <a:lnTo>
                      <a:pt x="41" y="14"/>
                    </a:lnTo>
                    <a:lnTo>
                      <a:pt x="57" y="11"/>
                    </a:lnTo>
                    <a:lnTo>
                      <a:pt x="57" y="9"/>
                    </a:lnTo>
                    <a:lnTo>
                      <a:pt x="57" y="9"/>
                    </a:lnTo>
                    <a:lnTo>
                      <a:pt x="55" y="7"/>
                    </a:lnTo>
                    <a:lnTo>
                      <a:pt x="50" y="7"/>
                    </a:lnTo>
                    <a:lnTo>
                      <a:pt x="50" y="7"/>
                    </a:lnTo>
                    <a:lnTo>
                      <a:pt x="50" y="7"/>
                    </a:lnTo>
                    <a:lnTo>
                      <a:pt x="48" y="7"/>
                    </a:lnTo>
                    <a:lnTo>
                      <a:pt x="52" y="0"/>
                    </a:lnTo>
                    <a:lnTo>
                      <a:pt x="54" y="0"/>
                    </a:lnTo>
                    <a:lnTo>
                      <a:pt x="54" y="0"/>
                    </a:lnTo>
                    <a:lnTo>
                      <a:pt x="55" y="0"/>
                    </a:lnTo>
                    <a:lnTo>
                      <a:pt x="55" y="0"/>
                    </a:lnTo>
                    <a:lnTo>
                      <a:pt x="59" y="7"/>
                    </a:lnTo>
                    <a:lnTo>
                      <a:pt x="59" y="7"/>
                    </a:lnTo>
                    <a:lnTo>
                      <a:pt x="61" y="11"/>
                    </a:lnTo>
                    <a:lnTo>
                      <a:pt x="79" y="16"/>
                    </a:lnTo>
                    <a:lnTo>
                      <a:pt x="80" y="16"/>
                    </a:lnTo>
                    <a:lnTo>
                      <a:pt x="82" y="25"/>
                    </a:lnTo>
                    <a:lnTo>
                      <a:pt x="86" y="27"/>
                    </a:lnTo>
                    <a:lnTo>
                      <a:pt x="116" y="25"/>
                    </a:lnTo>
                    <a:lnTo>
                      <a:pt x="118" y="27"/>
                    </a:lnTo>
                    <a:lnTo>
                      <a:pt x="118" y="29"/>
                    </a:lnTo>
                    <a:lnTo>
                      <a:pt x="118" y="29"/>
                    </a:lnTo>
                    <a:lnTo>
                      <a:pt x="120" y="31"/>
                    </a:lnTo>
                    <a:lnTo>
                      <a:pt x="127" y="32"/>
                    </a:lnTo>
                    <a:lnTo>
                      <a:pt x="139" y="32"/>
                    </a:lnTo>
                    <a:lnTo>
                      <a:pt x="145" y="29"/>
                    </a:lnTo>
                    <a:lnTo>
                      <a:pt x="154" y="27"/>
                    </a:lnTo>
                    <a:lnTo>
                      <a:pt x="154" y="27"/>
                    </a:lnTo>
                    <a:lnTo>
                      <a:pt x="154" y="25"/>
                    </a:lnTo>
                    <a:lnTo>
                      <a:pt x="148" y="25"/>
                    </a:lnTo>
                    <a:lnTo>
                      <a:pt x="146" y="25"/>
                    </a:lnTo>
                    <a:lnTo>
                      <a:pt x="146" y="25"/>
                    </a:lnTo>
                    <a:lnTo>
                      <a:pt x="148" y="23"/>
                    </a:lnTo>
                    <a:lnTo>
                      <a:pt x="180" y="25"/>
                    </a:lnTo>
                    <a:lnTo>
                      <a:pt x="180" y="25"/>
                    </a:lnTo>
                    <a:lnTo>
                      <a:pt x="180" y="25"/>
                    </a:lnTo>
                    <a:lnTo>
                      <a:pt x="177" y="25"/>
                    </a:lnTo>
                    <a:lnTo>
                      <a:pt x="177" y="27"/>
                    </a:lnTo>
                    <a:lnTo>
                      <a:pt x="175" y="27"/>
                    </a:lnTo>
                    <a:lnTo>
                      <a:pt x="171" y="27"/>
                    </a:lnTo>
                    <a:lnTo>
                      <a:pt x="168" y="27"/>
                    </a:lnTo>
                    <a:lnTo>
                      <a:pt x="166" y="29"/>
                    </a:lnTo>
                    <a:lnTo>
                      <a:pt x="166" y="29"/>
                    </a:lnTo>
                    <a:lnTo>
                      <a:pt x="170" y="31"/>
                    </a:lnTo>
                    <a:lnTo>
                      <a:pt x="171" y="32"/>
                    </a:lnTo>
                    <a:lnTo>
                      <a:pt x="173" y="34"/>
                    </a:lnTo>
                    <a:lnTo>
                      <a:pt x="175" y="36"/>
                    </a:lnTo>
                    <a:lnTo>
                      <a:pt x="175" y="38"/>
                    </a:lnTo>
                    <a:lnTo>
                      <a:pt x="177" y="38"/>
                    </a:lnTo>
                    <a:lnTo>
                      <a:pt x="180" y="38"/>
                    </a:lnTo>
                    <a:lnTo>
                      <a:pt x="186" y="39"/>
                    </a:lnTo>
                    <a:lnTo>
                      <a:pt x="193" y="43"/>
                    </a:lnTo>
                    <a:lnTo>
                      <a:pt x="196" y="43"/>
                    </a:lnTo>
                    <a:lnTo>
                      <a:pt x="198" y="45"/>
                    </a:lnTo>
                    <a:lnTo>
                      <a:pt x="200" y="50"/>
                    </a:lnTo>
                    <a:lnTo>
                      <a:pt x="202" y="56"/>
                    </a:lnTo>
                    <a:lnTo>
                      <a:pt x="202" y="57"/>
                    </a:lnTo>
                    <a:lnTo>
                      <a:pt x="200" y="57"/>
                    </a:lnTo>
                    <a:lnTo>
                      <a:pt x="198" y="59"/>
                    </a:lnTo>
                    <a:lnTo>
                      <a:pt x="198" y="59"/>
                    </a:lnTo>
                    <a:lnTo>
                      <a:pt x="198" y="59"/>
                    </a:lnTo>
                    <a:lnTo>
                      <a:pt x="205" y="61"/>
                    </a:lnTo>
                    <a:lnTo>
                      <a:pt x="205" y="61"/>
                    </a:lnTo>
                    <a:lnTo>
                      <a:pt x="207" y="59"/>
                    </a:lnTo>
                    <a:lnTo>
                      <a:pt x="211" y="57"/>
                    </a:lnTo>
                    <a:lnTo>
                      <a:pt x="214" y="61"/>
                    </a:lnTo>
                    <a:lnTo>
                      <a:pt x="216" y="61"/>
                    </a:lnTo>
                    <a:lnTo>
                      <a:pt x="216" y="63"/>
                    </a:lnTo>
                    <a:lnTo>
                      <a:pt x="216" y="64"/>
                    </a:lnTo>
                    <a:lnTo>
                      <a:pt x="216" y="66"/>
                    </a:lnTo>
                    <a:lnTo>
                      <a:pt x="214" y="66"/>
                    </a:lnTo>
                    <a:lnTo>
                      <a:pt x="212" y="66"/>
                    </a:lnTo>
                    <a:lnTo>
                      <a:pt x="212" y="68"/>
                    </a:lnTo>
                    <a:lnTo>
                      <a:pt x="207" y="70"/>
                    </a:lnTo>
                    <a:lnTo>
                      <a:pt x="205" y="72"/>
                    </a:lnTo>
                    <a:lnTo>
                      <a:pt x="205" y="72"/>
                    </a:lnTo>
                    <a:lnTo>
                      <a:pt x="202" y="72"/>
                    </a:lnTo>
                    <a:lnTo>
                      <a:pt x="202" y="73"/>
                    </a:lnTo>
                    <a:lnTo>
                      <a:pt x="200" y="75"/>
                    </a:lnTo>
                    <a:lnTo>
                      <a:pt x="202" y="81"/>
                    </a:lnTo>
                    <a:lnTo>
                      <a:pt x="202" y="81"/>
                    </a:lnTo>
                    <a:lnTo>
                      <a:pt x="204" y="81"/>
                    </a:lnTo>
                    <a:lnTo>
                      <a:pt x="205" y="81"/>
                    </a:lnTo>
                    <a:lnTo>
                      <a:pt x="207" y="82"/>
                    </a:lnTo>
                    <a:lnTo>
                      <a:pt x="205" y="84"/>
                    </a:lnTo>
                    <a:lnTo>
                      <a:pt x="196" y="88"/>
                    </a:lnTo>
                    <a:lnTo>
                      <a:pt x="196" y="89"/>
                    </a:lnTo>
                    <a:lnTo>
                      <a:pt x="196" y="93"/>
                    </a:lnTo>
                    <a:lnTo>
                      <a:pt x="193" y="97"/>
                    </a:lnTo>
                    <a:lnTo>
                      <a:pt x="193" y="98"/>
                    </a:lnTo>
                    <a:lnTo>
                      <a:pt x="193" y="98"/>
                    </a:lnTo>
                    <a:lnTo>
                      <a:pt x="193" y="100"/>
                    </a:lnTo>
                    <a:lnTo>
                      <a:pt x="204" y="111"/>
                    </a:lnTo>
                    <a:lnTo>
                      <a:pt x="204" y="113"/>
                    </a:lnTo>
                    <a:lnTo>
                      <a:pt x="204" y="116"/>
                    </a:lnTo>
                    <a:lnTo>
                      <a:pt x="198" y="122"/>
                    </a:lnTo>
                    <a:lnTo>
                      <a:pt x="198" y="123"/>
                    </a:lnTo>
                    <a:lnTo>
                      <a:pt x="193" y="123"/>
                    </a:lnTo>
                    <a:lnTo>
                      <a:pt x="189" y="125"/>
                    </a:lnTo>
                    <a:lnTo>
                      <a:pt x="188" y="127"/>
                    </a:lnTo>
                    <a:lnTo>
                      <a:pt x="186" y="129"/>
                    </a:lnTo>
                    <a:lnTo>
                      <a:pt x="166" y="132"/>
                    </a:lnTo>
                    <a:lnTo>
                      <a:pt x="166" y="134"/>
                    </a:lnTo>
                    <a:lnTo>
                      <a:pt x="166" y="134"/>
                    </a:lnTo>
                    <a:lnTo>
                      <a:pt x="159" y="134"/>
                    </a:lnTo>
                    <a:lnTo>
                      <a:pt x="139" y="127"/>
                    </a:lnTo>
                    <a:lnTo>
                      <a:pt x="138" y="127"/>
                    </a:lnTo>
                    <a:lnTo>
                      <a:pt x="138" y="127"/>
                    </a:lnTo>
                    <a:lnTo>
                      <a:pt x="138" y="131"/>
                    </a:lnTo>
                    <a:lnTo>
                      <a:pt x="139" y="132"/>
                    </a:lnTo>
                    <a:lnTo>
                      <a:pt x="145" y="136"/>
                    </a:lnTo>
                    <a:lnTo>
                      <a:pt x="146" y="136"/>
                    </a:lnTo>
                    <a:lnTo>
                      <a:pt x="145" y="147"/>
                    </a:lnTo>
                    <a:lnTo>
                      <a:pt x="146" y="157"/>
                    </a:lnTo>
                    <a:lnTo>
                      <a:pt x="152" y="157"/>
                    </a:lnTo>
                    <a:lnTo>
                      <a:pt x="152" y="157"/>
                    </a:lnTo>
                    <a:lnTo>
                      <a:pt x="159" y="157"/>
                    </a:lnTo>
                    <a:lnTo>
                      <a:pt x="159" y="159"/>
                    </a:lnTo>
                    <a:lnTo>
                      <a:pt x="159" y="161"/>
                    </a:lnTo>
                    <a:lnTo>
                      <a:pt x="155" y="161"/>
                    </a:lnTo>
                    <a:lnTo>
                      <a:pt x="154" y="163"/>
                    </a:lnTo>
                    <a:lnTo>
                      <a:pt x="154" y="163"/>
                    </a:lnTo>
                    <a:lnTo>
                      <a:pt x="152" y="164"/>
                    </a:lnTo>
                    <a:lnTo>
                      <a:pt x="150" y="164"/>
                    </a:lnTo>
                    <a:lnTo>
                      <a:pt x="148" y="166"/>
                    </a:lnTo>
                    <a:lnTo>
                      <a:pt x="146" y="170"/>
                    </a:lnTo>
                    <a:lnTo>
                      <a:pt x="145" y="172"/>
                    </a:lnTo>
                    <a:lnTo>
                      <a:pt x="143" y="172"/>
                    </a:lnTo>
                    <a:lnTo>
                      <a:pt x="141" y="172"/>
                    </a:lnTo>
                    <a:lnTo>
                      <a:pt x="139" y="173"/>
                    </a:lnTo>
                    <a:lnTo>
                      <a:pt x="139" y="175"/>
                    </a:lnTo>
                    <a:lnTo>
                      <a:pt x="127" y="179"/>
                    </a:lnTo>
                    <a:lnTo>
                      <a:pt x="123" y="182"/>
                    </a:lnTo>
                    <a:lnTo>
                      <a:pt x="113" y="184"/>
                    </a:lnTo>
                    <a:lnTo>
                      <a:pt x="113" y="182"/>
                    </a:lnTo>
                    <a:lnTo>
                      <a:pt x="111" y="182"/>
                    </a:lnTo>
                    <a:lnTo>
                      <a:pt x="107" y="179"/>
                    </a:lnTo>
                    <a:lnTo>
                      <a:pt x="95" y="156"/>
                    </a:lnTo>
                    <a:lnTo>
                      <a:pt x="89" y="150"/>
                    </a:lnTo>
                    <a:lnTo>
                      <a:pt x="89" y="150"/>
                    </a:lnTo>
                    <a:lnTo>
                      <a:pt x="95" y="145"/>
                    </a:lnTo>
                    <a:lnTo>
                      <a:pt x="95" y="145"/>
                    </a:lnTo>
                    <a:lnTo>
                      <a:pt x="96" y="143"/>
                    </a:lnTo>
                    <a:lnTo>
                      <a:pt x="96" y="143"/>
                    </a:lnTo>
                    <a:lnTo>
                      <a:pt x="96" y="141"/>
                    </a:lnTo>
                    <a:lnTo>
                      <a:pt x="96" y="139"/>
                    </a:lnTo>
                    <a:lnTo>
                      <a:pt x="96" y="138"/>
                    </a:lnTo>
                    <a:lnTo>
                      <a:pt x="95" y="136"/>
                    </a:lnTo>
                    <a:lnTo>
                      <a:pt x="93" y="134"/>
                    </a:lnTo>
                    <a:lnTo>
                      <a:pt x="89" y="132"/>
                    </a:lnTo>
                    <a:lnTo>
                      <a:pt x="89" y="131"/>
                    </a:lnTo>
                    <a:lnTo>
                      <a:pt x="89" y="123"/>
                    </a:lnTo>
                    <a:lnTo>
                      <a:pt x="88" y="122"/>
                    </a:lnTo>
                    <a:lnTo>
                      <a:pt x="88" y="118"/>
                    </a:lnTo>
                    <a:lnTo>
                      <a:pt x="88" y="116"/>
                    </a:lnTo>
                    <a:lnTo>
                      <a:pt x="89" y="113"/>
                    </a:lnTo>
                    <a:lnTo>
                      <a:pt x="89" y="111"/>
                    </a:lnTo>
                    <a:lnTo>
                      <a:pt x="91" y="107"/>
                    </a:lnTo>
                    <a:lnTo>
                      <a:pt x="91" y="104"/>
                    </a:lnTo>
                    <a:lnTo>
                      <a:pt x="93" y="102"/>
                    </a:lnTo>
                    <a:lnTo>
                      <a:pt x="95" y="100"/>
                    </a:lnTo>
                    <a:lnTo>
                      <a:pt x="95" y="98"/>
                    </a:lnTo>
                    <a:lnTo>
                      <a:pt x="93" y="97"/>
                    </a:lnTo>
                    <a:lnTo>
                      <a:pt x="93" y="95"/>
                    </a:lnTo>
                    <a:lnTo>
                      <a:pt x="91" y="95"/>
                    </a:lnTo>
                    <a:lnTo>
                      <a:pt x="80" y="98"/>
                    </a:lnTo>
                    <a:lnTo>
                      <a:pt x="75" y="98"/>
                    </a:lnTo>
                    <a:lnTo>
                      <a:pt x="71" y="97"/>
                    </a:lnTo>
                    <a:lnTo>
                      <a:pt x="68" y="97"/>
                    </a:lnTo>
                    <a:lnTo>
                      <a:pt x="68" y="98"/>
                    </a:lnTo>
                    <a:lnTo>
                      <a:pt x="63" y="98"/>
                    </a:lnTo>
                    <a:lnTo>
                      <a:pt x="63" y="97"/>
                    </a:lnTo>
                    <a:lnTo>
                      <a:pt x="63" y="97"/>
                    </a:lnTo>
                    <a:lnTo>
                      <a:pt x="54" y="86"/>
                    </a:lnTo>
                    <a:lnTo>
                      <a:pt x="54" y="84"/>
                    </a:lnTo>
                    <a:lnTo>
                      <a:pt x="45" y="81"/>
                    </a:lnTo>
                    <a:lnTo>
                      <a:pt x="30" y="84"/>
                    </a:lnTo>
                    <a:lnTo>
                      <a:pt x="21" y="81"/>
                    </a:lnTo>
                    <a:lnTo>
                      <a:pt x="20" y="79"/>
                    </a:lnTo>
                    <a:lnTo>
                      <a:pt x="20" y="79"/>
                    </a:lnTo>
                    <a:lnTo>
                      <a:pt x="16" y="77"/>
                    </a:lnTo>
                    <a:lnTo>
                      <a:pt x="16" y="75"/>
                    </a:lnTo>
                    <a:lnTo>
                      <a:pt x="14" y="64"/>
                    </a:lnTo>
                    <a:lnTo>
                      <a:pt x="14" y="63"/>
                    </a:lnTo>
                    <a:lnTo>
                      <a:pt x="13" y="61"/>
                    </a:lnTo>
                    <a:lnTo>
                      <a:pt x="13" y="61"/>
                    </a:lnTo>
                    <a:lnTo>
                      <a:pt x="11" y="57"/>
                    </a:lnTo>
                    <a:lnTo>
                      <a:pt x="7" y="48"/>
                    </a:lnTo>
                    <a:lnTo>
                      <a:pt x="7" y="48"/>
                    </a:lnTo>
                    <a:lnTo>
                      <a:pt x="0" y="48"/>
                    </a:lnTo>
                    <a:lnTo>
                      <a:pt x="7" y="27"/>
                    </a:lnTo>
                    <a:lnTo>
                      <a:pt x="23" y="7"/>
                    </a:lnTo>
                    <a:lnTo>
                      <a:pt x="27" y="6"/>
                    </a:lnTo>
                    <a:lnTo>
                      <a:pt x="32"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50" name="Freeform 3206"/>
              <p:cNvSpPr>
                <a:spLocks/>
              </p:cNvSpPr>
              <p:nvPr/>
            </p:nvSpPr>
            <p:spPr bwMode="auto">
              <a:xfrm>
                <a:off x="1523" y="2518"/>
                <a:ext cx="216" cy="184"/>
              </a:xfrm>
              <a:custGeom>
                <a:avLst/>
                <a:gdLst>
                  <a:gd name="T0" fmla="*/ 23 w 216"/>
                  <a:gd name="T1" fmla="*/ 11 h 184"/>
                  <a:gd name="T2" fmla="*/ 27 w 216"/>
                  <a:gd name="T3" fmla="*/ 20 h 184"/>
                  <a:gd name="T4" fmla="*/ 21 w 216"/>
                  <a:gd name="T5" fmla="*/ 32 h 184"/>
                  <a:gd name="T6" fmla="*/ 25 w 216"/>
                  <a:gd name="T7" fmla="*/ 43 h 184"/>
                  <a:gd name="T8" fmla="*/ 32 w 216"/>
                  <a:gd name="T9" fmla="*/ 50 h 184"/>
                  <a:gd name="T10" fmla="*/ 30 w 216"/>
                  <a:gd name="T11" fmla="*/ 22 h 184"/>
                  <a:gd name="T12" fmla="*/ 36 w 216"/>
                  <a:gd name="T13" fmla="*/ 18 h 184"/>
                  <a:gd name="T14" fmla="*/ 57 w 216"/>
                  <a:gd name="T15" fmla="*/ 9 h 184"/>
                  <a:gd name="T16" fmla="*/ 50 w 216"/>
                  <a:gd name="T17" fmla="*/ 7 h 184"/>
                  <a:gd name="T18" fmla="*/ 54 w 216"/>
                  <a:gd name="T19" fmla="*/ 0 h 184"/>
                  <a:gd name="T20" fmla="*/ 59 w 216"/>
                  <a:gd name="T21" fmla="*/ 7 h 184"/>
                  <a:gd name="T22" fmla="*/ 82 w 216"/>
                  <a:gd name="T23" fmla="*/ 25 h 184"/>
                  <a:gd name="T24" fmla="*/ 118 w 216"/>
                  <a:gd name="T25" fmla="*/ 29 h 184"/>
                  <a:gd name="T26" fmla="*/ 139 w 216"/>
                  <a:gd name="T27" fmla="*/ 32 h 184"/>
                  <a:gd name="T28" fmla="*/ 154 w 216"/>
                  <a:gd name="T29" fmla="*/ 25 h 184"/>
                  <a:gd name="T30" fmla="*/ 148 w 216"/>
                  <a:gd name="T31" fmla="*/ 23 h 184"/>
                  <a:gd name="T32" fmla="*/ 177 w 216"/>
                  <a:gd name="T33" fmla="*/ 25 h 184"/>
                  <a:gd name="T34" fmla="*/ 168 w 216"/>
                  <a:gd name="T35" fmla="*/ 27 h 184"/>
                  <a:gd name="T36" fmla="*/ 171 w 216"/>
                  <a:gd name="T37" fmla="*/ 32 h 184"/>
                  <a:gd name="T38" fmla="*/ 177 w 216"/>
                  <a:gd name="T39" fmla="*/ 38 h 184"/>
                  <a:gd name="T40" fmla="*/ 196 w 216"/>
                  <a:gd name="T41" fmla="*/ 43 h 184"/>
                  <a:gd name="T42" fmla="*/ 202 w 216"/>
                  <a:gd name="T43" fmla="*/ 57 h 184"/>
                  <a:gd name="T44" fmla="*/ 198 w 216"/>
                  <a:gd name="T45" fmla="*/ 59 h 184"/>
                  <a:gd name="T46" fmla="*/ 211 w 216"/>
                  <a:gd name="T47" fmla="*/ 57 h 184"/>
                  <a:gd name="T48" fmla="*/ 216 w 216"/>
                  <a:gd name="T49" fmla="*/ 64 h 184"/>
                  <a:gd name="T50" fmla="*/ 212 w 216"/>
                  <a:gd name="T51" fmla="*/ 68 h 184"/>
                  <a:gd name="T52" fmla="*/ 202 w 216"/>
                  <a:gd name="T53" fmla="*/ 72 h 184"/>
                  <a:gd name="T54" fmla="*/ 202 w 216"/>
                  <a:gd name="T55" fmla="*/ 81 h 184"/>
                  <a:gd name="T56" fmla="*/ 205 w 216"/>
                  <a:gd name="T57" fmla="*/ 84 h 184"/>
                  <a:gd name="T58" fmla="*/ 193 w 216"/>
                  <a:gd name="T59" fmla="*/ 97 h 184"/>
                  <a:gd name="T60" fmla="*/ 204 w 216"/>
                  <a:gd name="T61" fmla="*/ 111 h 184"/>
                  <a:gd name="T62" fmla="*/ 198 w 216"/>
                  <a:gd name="T63" fmla="*/ 123 h 184"/>
                  <a:gd name="T64" fmla="*/ 186 w 216"/>
                  <a:gd name="T65" fmla="*/ 129 h 184"/>
                  <a:gd name="T66" fmla="*/ 159 w 216"/>
                  <a:gd name="T67" fmla="*/ 134 h 184"/>
                  <a:gd name="T68" fmla="*/ 138 w 216"/>
                  <a:gd name="T69" fmla="*/ 131 h 184"/>
                  <a:gd name="T70" fmla="*/ 145 w 216"/>
                  <a:gd name="T71" fmla="*/ 147 h 184"/>
                  <a:gd name="T72" fmla="*/ 159 w 216"/>
                  <a:gd name="T73" fmla="*/ 157 h 184"/>
                  <a:gd name="T74" fmla="*/ 154 w 216"/>
                  <a:gd name="T75" fmla="*/ 163 h 184"/>
                  <a:gd name="T76" fmla="*/ 148 w 216"/>
                  <a:gd name="T77" fmla="*/ 166 h 184"/>
                  <a:gd name="T78" fmla="*/ 141 w 216"/>
                  <a:gd name="T79" fmla="*/ 172 h 184"/>
                  <a:gd name="T80" fmla="*/ 123 w 216"/>
                  <a:gd name="T81" fmla="*/ 182 h 184"/>
                  <a:gd name="T82" fmla="*/ 107 w 216"/>
                  <a:gd name="T83" fmla="*/ 179 h 184"/>
                  <a:gd name="T84" fmla="*/ 95 w 216"/>
                  <a:gd name="T85" fmla="*/ 145 h 184"/>
                  <a:gd name="T86" fmla="*/ 96 w 216"/>
                  <a:gd name="T87" fmla="*/ 141 h 184"/>
                  <a:gd name="T88" fmla="*/ 93 w 216"/>
                  <a:gd name="T89" fmla="*/ 134 h 184"/>
                  <a:gd name="T90" fmla="*/ 88 w 216"/>
                  <a:gd name="T91" fmla="*/ 122 h 184"/>
                  <a:gd name="T92" fmla="*/ 89 w 216"/>
                  <a:gd name="T93" fmla="*/ 111 h 184"/>
                  <a:gd name="T94" fmla="*/ 95 w 216"/>
                  <a:gd name="T95" fmla="*/ 100 h 184"/>
                  <a:gd name="T96" fmla="*/ 91 w 216"/>
                  <a:gd name="T97" fmla="*/ 95 h 184"/>
                  <a:gd name="T98" fmla="*/ 68 w 216"/>
                  <a:gd name="T99" fmla="*/ 97 h 184"/>
                  <a:gd name="T100" fmla="*/ 63 w 216"/>
                  <a:gd name="T101" fmla="*/ 97 h 184"/>
                  <a:gd name="T102" fmla="*/ 30 w 216"/>
                  <a:gd name="T103" fmla="*/ 84 h 184"/>
                  <a:gd name="T104" fmla="*/ 16 w 216"/>
                  <a:gd name="T105" fmla="*/ 77 h 184"/>
                  <a:gd name="T106" fmla="*/ 13 w 216"/>
                  <a:gd name="T107" fmla="*/ 61 h 184"/>
                  <a:gd name="T108" fmla="*/ 7 w 216"/>
                  <a:gd name="T109" fmla="*/ 48 h 184"/>
                  <a:gd name="T110" fmla="*/ 27 w 216"/>
                  <a:gd name="T111" fmla="*/ 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16" h="184">
                    <a:moveTo>
                      <a:pt x="32" y="6"/>
                    </a:moveTo>
                    <a:lnTo>
                      <a:pt x="29" y="7"/>
                    </a:lnTo>
                    <a:lnTo>
                      <a:pt x="23" y="9"/>
                    </a:lnTo>
                    <a:lnTo>
                      <a:pt x="23" y="11"/>
                    </a:lnTo>
                    <a:lnTo>
                      <a:pt x="25" y="16"/>
                    </a:lnTo>
                    <a:lnTo>
                      <a:pt x="29" y="18"/>
                    </a:lnTo>
                    <a:lnTo>
                      <a:pt x="29" y="20"/>
                    </a:lnTo>
                    <a:lnTo>
                      <a:pt x="27" y="20"/>
                    </a:lnTo>
                    <a:lnTo>
                      <a:pt x="27" y="22"/>
                    </a:lnTo>
                    <a:lnTo>
                      <a:pt x="29" y="22"/>
                    </a:lnTo>
                    <a:lnTo>
                      <a:pt x="27" y="27"/>
                    </a:lnTo>
                    <a:lnTo>
                      <a:pt x="21" y="32"/>
                    </a:lnTo>
                    <a:lnTo>
                      <a:pt x="21" y="34"/>
                    </a:lnTo>
                    <a:lnTo>
                      <a:pt x="21" y="41"/>
                    </a:lnTo>
                    <a:lnTo>
                      <a:pt x="23" y="41"/>
                    </a:lnTo>
                    <a:lnTo>
                      <a:pt x="25" y="43"/>
                    </a:lnTo>
                    <a:lnTo>
                      <a:pt x="29" y="50"/>
                    </a:lnTo>
                    <a:lnTo>
                      <a:pt x="29" y="50"/>
                    </a:lnTo>
                    <a:lnTo>
                      <a:pt x="30" y="50"/>
                    </a:lnTo>
                    <a:lnTo>
                      <a:pt x="32" y="50"/>
                    </a:lnTo>
                    <a:lnTo>
                      <a:pt x="36" y="47"/>
                    </a:lnTo>
                    <a:lnTo>
                      <a:pt x="36" y="38"/>
                    </a:lnTo>
                    <a:lnTo>
                      <a:pt x="30" y="29"/>
                    </a:lnTo>
                    <a:lnTo>
                      <a:pt x="30" y="22"/>
                    </a:lnTo>
                    <a:lnTo>
                      <a:pt x="32" y="22"/>
                    </a:lnTo>
                    <a:lnTo>
                      <a:pt x="32" y="20"/>
                    </a:lnTo>
                    <a:lnTo>
                      <a:pt x="32" y="20"/>
                    </a:lnTo>
                    <a:lnTo>
                      <a:pt x="36" y="18"/>
                    </a:lnTo>
                    <a:lnTo>
                      <a:pt x="41" y="14"/>
                    </a:lnTo>
                    <a:lnTo>
                      <a:pt x="57" y="11"/>
                    </a:lnTo>
                    <a:lnTo>
                      <a:pt x="57" y="9"/>
                    </a:lnTo>
                    <a:lnTo>
                      <a:pt x="57" y="9"/>
                    </a:lnTo>
                    <a:lnTo>
                      <a:pt x="55" y="7"/>
                    </a:lnTo>
                    <a:lnTo>
                      <a:pt x="50" y="7"/>
                    </a:lnTo>
                    <a:lnTo>
                      <a:pt x="50" y="7"/>
                    </a:lnTo>
                    <a:lnTo>
                      <a:pt x="50" y="7"/>
                    </a:lnTo>
                    <a:lnTo>
                      <a:pt x="48" y="7"/>
                    </a:lnTo>
                    <a:lnTo>
                      <a:pt x="52" y="0"/>
                    </a:lnTo>
                    <a:lnTo>
                      <a:pt x="54" y="0"/>
                    </a:lnTo>
                    <a:lnTo>
                      <a:pt x="54" y="0"/>
                    </a:lnTo>
                    <a:lnTo>
                      <a:pt x="55" y="0"/>
                    </a:lnTo>
                    <a:lnTo>
                      <a:pt x="55" y="0"/>
                    </a:lnTo>
                    <a:lnTo>
                      <a:pt x="59" y="7"/>
                    </a:lnTo>
                    <a:lnTo>
                      <a:pt x="59" y="7"/>
                    </a:lnTo>
                    <a:lnTo>
                      <a:pt x="61" y="11"/>
                    </a:lnTo>
                    <a:lnTo>
                      <a:pt x="79" y="16"/>
                    </a:lnTo>
                    <a:lnTo>
                      <a:pt x="80" y="16"/>
                    </a:lnTo>
                    <a:lnTo>
                      <a:pt x="82" y="25"/>
                    </a:lnTo>
                    <a:lnTo>
                      <a:pt x="86" y="27"/>
                    </a:lnTo>
                    <a:lnTo>
                      <a:pt x="116" y="25"/>
                    </a:lnTo>
                    <a:lnTo>
                      <a:pt x="118" y="27"/>
                    </a:lnTo>
                    <a:lnTo>
                      <a:pt x="118" y="29"/>
                    </a:lnTo>
                    <a:lnTo>
                      <a:pt x="118" y="29"/>
                    </a:lnTo>
                    <a:lnTo>
                      <a:pt x="120" y="31"/>
                    </a:lnTo>
                    <a:lnTo>
                      <a:pt x="127" y="32"/>
                    </a:lnTo>
                    <a:lnTo>
                      <a:pt x="139" y="32"/>
                    </a:lnTo>
                    <a:lnTo>
                      <a:pt x="145" y="29"/>
                    </a:lnTo>
                    <a:lnTo>
                      <a:pt x="154" y="27"/>
                    </a:lnTo>
                    <a:lnTo>
                      <a:pt x="154" y="27"/>
                    </a:lnTo>
                    <a:lnTo>
                      <a:pt x="154" y="25"/>
                    </a:lnTo>
                    <a:lnTo>
                      <a:pt x="148" y="25"/>
                    </a:lnTo>
                    <a:lnTo>
                      <a:pt x="146" y="25"/>
                    </a:lnTo>
                    <a:lnTo>
                      <a:pt x="146" y="25"/>
                    </a:lnTo>
                    <a:lnTo>
                      <a:pt x="148" y="23"/>
                    </a:lnTo>
                    <a:lnTo>
                      <a:pt x="180" y="25"/>
                    </a:lnTo>
                    <a:lnTo>
                      <a:pt x="180" y="25"/>
                    </a:lnTo>
                    <a:lnTo>
                      <a:pt x="180" y="25"/>
                    </a:lnTo>
                    <a:lnTo>
                      <a:pt x="177" y="25"/>
                    </a:lnTo>
                    <a:lnTo>
                      <a:pt x="177" y="27"/>
                    </a:lnTo>
                    <a:lnTo>
                      <a:pt x="175" y="27"/>
                    </a:lnTo>
                    <a:lnTo>
                      <a:pt x="171" y="27"/>
                    </a:lnTo>
                    <a:lnTo>
                      <a:pt x="168" y="27"/>
                    </a:lnTo>
                    <a:lnTo>
                      <a:pt x="166" y="29"/>
                    </a:lnTo>
                    <a:lnTo>
                      <a:pt x="166" y="29"/>
                    </a:lnTo>
                    <a:lnTo>
                      <a:pt x="170" y="31"/>
                    </a:lnTo>
                    <a:lnTo>
                      <a:pt x="171" y="32"/>
                    </a:lnTo>
                    <a:lnTo>
                      <a:pt x="173" y="34"/>
                    </a:lnTo>
                    <a:lnTo>
                      <a:pt x="175" y="36"/>
                    </a:lnTo>
                    <a:lnTo>
                      <a:pt x="175" y="38"/>
                    </a:lnTo>
                    <a:lnTo>
                      <a:pt x="177" y="38"/>
                    </a:lnTo>
                    <a:lnTo>
                      <a:pt x="180" y="38"/>
                    </a:lnTo>
                    <a:lnTo>
                      <a:pt x="186" y="39"/>
                    </a:lnTo>
                    <a:lnTo>
                      <a:pt x="193" y="43"/>
                    </a:lnTo>
                    <a:lnTo>
                      <a:pt x="196" y="43"/>
                    </a:lnTo>
                    <a:lnTo>
                      <a:pt x="198" y="45"/>
                    </a:lnTo>
                    <a:lnTo>
                      <a:pt x="200" y="50"/>
                    </a:lnTo>
                    <a:lnTo>
                      <a:pt x="202" y="56"/>
                    </a:lnTo>
                    <a:lnTo>
                      <a:pt x="202" y="57"/>
                    </a:lnTo>
                    <a:lnTo>
                      <a:pt x="200" y="57"/>
                    </a:lnTo>
                    <a:lnTo>
                      <a:pt x="198" y="59"/>
                    </a:lnTo>
                    <a:lnTo>
                      <a:pt x="198" y="59"/>
                    </a:lnTo>
                    <a:lnTo>
                      <a:pt x="198" y="59"/>
                    </a:lnTo>
                    <a:lnTo>
                      <a:pt x="205" y="61"/>
                    </a:lnTo>
                    <a:lnTo>
                      <a:pt x="205" y="61"/>
                    </a:lnTo>
                    <a:lnTo>
                      <a:pt x="207" y="59"/>
                    </a:lnTo>
                    <a:lnTo>
                      <a:pt x="211" y="57"/>
                    </a:lnTo>
                    <a:lnTo>
                      <a:pt x="214" y="61"/>
                    </a:lnTo>
                    <a:lnTo>
                      <a:pt x="216" y="61"/>
                    </a:lnTo>
                    <a:lnTo>
                      <a:pt x="216" y="63"/>
                    </a:lnTo>
                    <a:lnTo>
                      <a:pt x="216" y="64"/>
                    </a:lnTo>
                    <a:lnTo>
                      <a:pt x="216" y="66"/>
                    </a:lnTo>
                    <a:lnTo>
                      <a:pt x="214" y="66"/>
                    </a:lnTo>
                    <a:lnTo>
                      <a:pt x="212" y="66"/>
                    </a:lnTo>
                    <a:lnTo>
                      <a:pt x="212" y="68"/>
                    </a:lnTo>
                    <a:lnTo>
                      <a:pt x="207" y="70"/>
                    </a:lnTo>
                    <a:lnTo>
                      <a:pt x="205" y="72"/>
                    </a:lnTo>
                    <a:lnTo>
                      <a:pt x="205" y="72"/>
                    </a:lnTo>
                    <a:lnTo>
                      <a:pt x="202" y="72"/>
                    </a:lnTo>
                    <a:lnTo>
                      <a:pt x="202" y="73"/>
                    </a:lnTo>
                    <a:lnTo>
                      <a:pt x="200" y="75"/>
                    </a:lnTo>
                    <a:lnTo>
                      <a:pt x="202" y="81"/>
                    </a:lnTo>
                    <a:lnTo>
                      <a:pt x="202" y="81"/>
                    </a:lnTo>
                    <a:lnTo>
                      <a:pt x="204" y="81"/>
                    </a:lnTo>
                    <a:lnTo>
                      <a:pt x="205" y="81"/>
                    </a:lnTo>
                    <a:lnTo>
                      <a:pt x="207" y="82"/>
                    </a:lnTo>
                    <a:lnTo>
                      <a:pt x="205" y="84"/>
                    </a:lnTo>
                    <a:lnTo>
                      <a:pt x="196" y="88"/>
                    </a:lnTo>
                    <a:lnTo>
                      <a:pt x="196" y="89"/>
                    </a:lnTo>
                    <a:lnTo>
                      <a:pt x="196" y="93"/>
                    </a:lnTo>
                    <a:lnTo>
                      <a:pt x="193" y="97"/>
                    </a:lnTo>
                    <a:lnTo>
                      <a:pt x="193" y="98"/>
                    </a:lnTo>
                    <a:lnTo>
                      <a:pt x="193" y="98"/>
                    </a:lnTo>
                    <a:lnTo>
                      <a:pt x="193" y="100"/>
                    </a:lnTo>
                    <a:lnTo>
                      <a:pt x="204" y="111"/>
                    </a:lnTo>
                    <a:lnTo>
                      <a:pt x="204" y="113"/>
                    </a:lnTo>
                    <a:lnTo>
                      <a:pt x="204" y="116"/>
                    </a:lnTo>
                    <a:lnTo>
                      <a:pt x="198" y="122"/>
                    </a:lnTo>
                    <a:lnTo>
                      <a:pt x="198" y="123"/>
                    </a:lnTo>
                    <a:lnTo>
                      <a:pt x="193" y="123"/>
                    </a:lnTo>
                    <a:lnTo>
                      <a:pt x="189" y="125"/>
                    </a:lnTo>
                    <a:lnTo>
                      <a:pt x="188" y="127"/>
                    </a:lnTo>
                    <a:lnTo>
                      <a:pt x="186" y="129"/>
                    </a:lnTo>
                    <a:lnTo>
                      <a:pt x="166" y="132"/>
                    </a:lnTo>
                    <a:lnTo>
                      <a:pt x="166" y="134"/>
                    </a:lnTo>
                    <a:lnTo>
                      <a:pt x="166" y="134"/>
                    </a:lnTo>
                    <a:lnTo>
                      <a:pt x="159" y="134"/>
                    </a:lnTo>
                    <a:lnTo>
                      <a:pt x="139" y="127"/>
                    </a:lnTo>
                    <a:lnTo>
                      <a:pt x="138" y="127"/>
                    </a:lnTo>
                    <a:lnTo>
                      <a:pt x="138" y="127"/>
                    </a:lnTo>
                    <a:lnTo>
                      <a:pt x="138" y="131"/>
                    </a:lnTo>
                    <a:lnTo>
                      <a:pt x="139" y="132"/>
                    </a:lnTo>
                    <a:lnTo>
                      <a:pt x="145" y="136"/>
                    </a:lnTo>
                    <a:lnTo>
                      <a:pt x="146" y="136"/>
                    </a:lnTo>
                    <a:lnTo>
                      <a:pt x="145" y="147"/>
                    </a:lnTo>
                    <a:lnTo>
                      <a:pt x="146" y="157"/>
                    </a:lnTo>
                    <a:lnTo>
                      <a:pt x="152" y="157"/>
                    </a:lnTo>
                    <a:lnTo>
                      <a:pt x="152" y="157"/>
                    </a:lnTo>
                    <a:lnTo>
                      <a:pt x="159" y="157"/>
                    </a:lnTo>
                    <a:lnTo>
                      <a:pt x="159" y="159"/>
                    </a:lnTo>
                    <a:lnTo>
                      <a:pt x="159" y="161"/>
                    </a:lnTo>
                    <a:lnTo>
                      <a:pt x="155" y="161"/>
                    </a:lnTo>
                    <a:lnTo>
                      <a:pt x="154" y="163"/>
                    </a:lnTo>
                    <a:lnTo>
                      <a:pt x="154" y="163"/>
                    </a:lnTo>
                    <a:lnTo>
                      <a:pt x="152" y="164"/>
                    </a:lnTo>
                    <a:lnTo>
                      <a:pt x="150" y="164"/>
                    </a:lnTo>
                    <a:lnTo>
                      <a:pt x="148" y="166"/>
                    </a:lnTo>
                    <a:lnTo>
                      <a:pt x="146" y="170"/>
                    </a:lnTo>
                    <a:lnTo>
                      <a:pt x="145" y="172"/>
                    </a:lnTo>
                    <a:lnTo>
                      <a:pt x="143" y="172"/>
                    </a:lnTo>
                    <a:lnTo>
                      <a:pt x="141" y="172"/>
                    </a:lnTo>
                    <a:lnTo>
                      <a:pt x="139" y="173"/>
                    </a:lnTo>
                    <a:lnTo>
                      <a:pt x="139" y="175"/>
                    </a:lnTo>
                    <a:lnTo>
                      <a:pt x="127" y="179"/>
                    </a:lnTo>
                    <a:lnTo>
                      <a:pt x="123" y="182"/>
                    </a:lnTo>
                    <a:lnTo>
                      <a:pt x="113" y="184"/>
                    </a:lnTo>
                    <a:lnTo>
                      <a:pt x="113" y="182"/>
                    </a:lnTo>
                    <a:lnTo>
                      <a:pt x="111" y="182"/>
                    </a:lnTo>
                    <a:lnTo>
                      <a:pt x="107" y="179"/>
                    </a:lnTo>
                    <a:lnTo>
                      <a:pt x="95" y="156"/>
                    </a:lnTo>
                    <a:lnTo>
                      <a:pt x="89" y="150"/>
                    </a:lnTo>
                    <a:lnTo>
                      <a:pt x="89" y="150"/>
                    </a:lnTo>
                    <a:lnTo>
                      <a:pt x="95" y="145"/>
                    </a:lnTo>
                    <a:lnTo>
                      <a:pt x="95" y="145"/>
                    </a:lnTo>
                    <a:lnTo>
                      <a:pt x="96" y="143"/>
                    </a:lnTo>
                    <a:lnTo>
                      <a:pt x="96" y="143"/>
                    </a:lnTo>
                    <a:lnTo>
                      <a:pt x="96" y="141"/>
                    </a:lnTo>
                    <a:lnTo>
                      <a:pt x="96" y="139"/>
                    </a:lnTo>
                    <a:lnTo>
                      <a:pt x="96" y="138"/>
                    </a:lnTo>
                    <a:lnTo>
                      <a:pt x="95" y="136"/>
                    </a:lnTo>
                    <a:lnTo>
                      <a:pt x="93" y="134"/>
                    </a:lnTo>
                    <a:lnTo>
                      <a:pt x="89" y="132"/>
                    </a:lnTo>
                    <a:lnTo>
                      <a:pt x="89" y="131"/>
                    </a:lnTo>
                    <a:lnTo>
                      <a:pt x="89" y="123"/>
                    </a:lnTo>
                    <a:lnTo>
                      <a:pt x="88" y="122"/>
                    </a:lnTo>
                    <a:lnTo>
                      <a:pt x="88" y="118"/>
                    </a:lnTo>
                    <a:lnTo>
                      <a:pt x="88" y="116"/>
                    </a:lnTo>
                    <a:lnTo>
                      <a:pt x="89" y="113"/>
                    </a:lnTo>
                    <a:lnTo>
                      <a:pt x="89" y="111"/>
                    </a:lnTo>
                    <a:lnTo>
                      <a:pt x="91" y="107"/>
                    </a:lnTo>
                    <a:lnTo>
                      <a:pt x="91" y="104"/>
                    </a:lnTo>
                    <a:lnTo>
                      <a:pt x="93" y="102"/>
                    </a:lnTo>
                    <a:lnTo>
                      <a:pt x="95" y="100"/>
                    </a:lnTo>
                    <a:lnTo>
                      <a:pt x="95" y="98"/>
                    </a:lnTo>
                    <a:lnTo>
                      <a:pt x="93" y="97"/>
                    </a:lnTo>
                    <a:lnTo>
                      <a:pt x="93" y="95"/>
                    </a:lnTo>
                    <a:lnTo>
                      <a:pt x="91" y="95"/>
                    </a:lnTo>
                    <a:lnTo>
                      <a:pt x="80" y="98"/>
                    </a:lnTo>
                    <a:lnTo>
                      <a:pt x="75" y="98"/>
                    </a:lnTo>
                    <a:lnTo>
                      <a:pt x="71" y="97"/>
                    </a:lnTo>
                    <a:lnTo>
                      <a:pt x="68" y="97"/>
                    </a:lnTo>
                    <a:lnTo>
                      <a:pt x="68" y="98"/>
                    </a:lnTo>
                    <a:lnTo>
                      <a:pt x="63" y="98"/>
                    </a:lnTo>
                    <a:lnTo>
                      <a:pt x="63" y="97"/>
                    </a:lnTo>
                    <a:lnTo>
                      <a:pt x="63" y="97"/>
                    </a:lnTo>
                    <a:lnTo>
                      <a:pt x="54" y="86"/>
                    </a:lnTo>
                    <a:lnTo>
                      <a:pt x="54" y="84"/>
                    </a:lnTo>
                    <a:lnTo>
                      <a:pt x="45" y="81"/>
                    </a:lnTo>
                    <a:lnTo>
                      <a:pt x="30" y="84"/>
                    </a:lnTo>
                    <a:lnTo>
                      <a:pt x="21" y="81"/>
                    </a:lnTo>
                    <a:lnTo>
                      <a:pt x="20" y="79"/>
                    </a:lnTo>
                    <a:lnTo>
                      <a:pt x="20" y="79"/>
                    </a:lnTo>
                    <a:lnTo>
                      <a:pt x="16" y="77"/>
                    </a:lnTo>
                    <a:lnTo>
                      <a:pt x="16" y="75"/>
                    </a:lnTo>
                    <a:lnTo>
                      <a:pt x="14" y="64"/>
                    </a:lnTo>
                    <a:lnTo>
                      <a:pt x="14" y="63"/>
                    </a:lnTo>
                    <a:lnTo>
                      <a:pt x="13" y="61"/>
                    </a:lnTo>
                    <a:lnTo>
                      <a:pt x="13" y="61"/>
                    </a:lnTo>
                    <a:lnTo>
                      <a:pt x="11" y="57"/>
                    </a:lnTo>
                    <a:lnTo>
                      <a:pt x="7" y="48"/>
                    </a:lnTo>
                    <a:lnTo>
                      <a:pt x="7" y="48"/>
                    </a:lnTo>
                    <a:lnTo>
                      <a:pt x="0" y="48"/>
                    </a:lnTo>
                    <a:lnTo>
                      <a:pt x="7" y="27"/>
                    </a:lnTo>
                    <a:lnTo>
                      <a:pt x="23" y="7"/>
                    </a:lnTo>
                    <a:lnTo>
                      <a:pt x="27" y="6"/>
                    </a:lnTo>
                    <a:lnTo>
                      <a:pt x="32"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51" name="Freeform 3207"/>
              <p:cNvSpPr>
                <a:spLocks/>
              </p:cNvSpPr>
              <p:nvPr/>
            </p:nvSpPr>
            <p:spPr bwMode="auto">
              <a:xfrm>
                <a:off x="1403" y="2691"/>
                <a:ext cx="90" cy="102"/>
              </a:xfrm>
              <a:custGeom>
                <a:avLst/>
                <a:gdLst>
                  <a:gd name="T0" fmla="*/ 33 w 90"/>
                  <a:gd name="T1" fmla="*/ 2 h 102"/>
                  <a:gd name="T2" fmla="*/ 58 w 90"/>
                  <a:gd name="T3" fmla="*/ 18 h 102"/>
                  <a:gd name="T4" fmla="*/ 74 w 90"/>
                  <a:gd name="T5" fmla="*/ 18 h 102"/>
                  <a:gd name="T6" fmla="*/ 77 w 90"/>
                  <a:gd name="T7" fmla="*/ 16 h 102"/>
                  <a:gd name="T8" fmla="*/ 88 w 90"/>
                  <a:gd name="T9" fmla="*/ 24 h 102"/>
                  <a:gd name="T10" fmla="*/ 84 w 90"/>
                  <a:gd name="T11" fmla="*/ 24 h 102"/>
                  <a:gd name="T12" fmla="*/ 86 w 90"/>
                  <a:gd name="T13" fmla="*/ 27 h 102"/>
                  <a:gd name="T14" fmla="*/ 88 w 90"/>
                  <a:gd name="T15" fmla="*/ 33 h 102"/>
                  <a:gd name="T16" fmla="*/ 90 w 90"/>
                  <a:gd name="T17" fmla="*/ 38 h 102"/>
                  <a:gd name="T18" fmla="*/ 81 w 90"/>
                  <a:gd name="T19" fmla="*/ 49 h 102"/>
                  <a:gd name="T20" fmla="*/ 45 w 90"/>
                  <a:gd name="T21" fmla="*/ 72 h 102"/>
                  <a:gd name="T22" fmla="*/ 43 w 90"/>
                  <a:gd name="T23" fmla="*/ 75 h 102"/>
                  <a:gd name="T24" fmla="*/ 41 w 90"/>
                  <a:gd name="T25" fmla="*/ 79 h 102"/>
                  <a:gd name="T26" fmla="*/ 40 w 90"/>
                  <a:gd name="T27" fmla="*/ 79 h 102"/>
                  <a:gd name="T28" fmla="*/ 38 w 90"/>
                  <a:gd name="T29" fmla="*/ 79 h 102"/>
                  <a:gd name="T30" fmla="*/ 33 w 90"/>
                  <a:gd name="T31" fmla="*/ 97 h 102"/>
                  <a:gd name="T32" fmla="*/ 31 w 90"/>
                  <a:gd name="T33" fmla="*/ 99 h 102"/>
                  <a:gd name="T34" fmla="*/ 25 w 90"/>
                  <a:gd name="T35" fmla="*/ 102 h 102"/>
                  <a:gd name="T36" fmla="*/ 18 w 90"/>
                  <a:gd name="T37" fmla="*/ 95 h 102"/>
                  <a:gd name="T38" fmla="*/ 13 w 90"/>
                  <a:gd name="T39" fmla="*/ 93 h 102"/>
                  <a:gd name="T40" fmla="*/ 9 w 90"/>
                  <a:gd name="T41" fmla="*/ 93 h 102"/>
                  <a:gd name="T42" fmla="*/ 6 w 90"/>
                  <a:gd name="T43" fmla="*/ 95 h 102"/>
                  <a:gd name="T44" fmla="*/ 4 w 90"/>
                  <a:gd name="T45" fmla="*/ 90 h 102"/>
                  <a:gd name="T46" fmla="*/ 4 w 90"/>
                  <a:gd name="T47" fmla="*/ 88 h 102"/>
                  <a:gd name="T48" fmla="*/ 8 w 90"/>
                  <a:gd name="T49" fmla="*/ 86 h 102"/>
                  <a:gd name="T50" fmla="*/ 9 w 90"/>
                  <a:gd name="T51" fmla="*/ 83 h 102"/>
                  <a:gd name="T52" fmla="*/ 8 w 90"/>
                  <a:gd name="T53" fmla="*/ 79 h 102"/>
                  <a:gd name="T54" fmla="*/ 8 w 90"/>
                  <a:gd name="T55" fmla="*/ 77 h 102"/>
                  <a:gd name="T56" fmla="*/ 13 w 90"/>
                  <a:gd name="T57" fmla="*/ 74 h 102"/>
                  <a:gd name="T58" fmla="*/ 16 w 90"/>
                  <a:gd name="T59" fmla="*/ 63 h 102"/>
                  <a:gd name="T60" fmla="*/ 15 w 90"/>
                  <a:gd name="T61" fmla="*/ 61 h 102"/>
                  <a:gd name="T62" fmla="*/ 8 w 90"/>
                  <a:gd name="T63" fmla="*/ 65 h 102"/>
                  <a:gd name="T64" fmla="*/ 6 w 90"/>
                  <a:gd name="T65" fmla="*/ 63 h 102"/>
                  <a:gd name="T66" fmla="*/ 0 w 90"/>
                  <a:gd name="T67" fmla="*/ 59 h 102"/>
                  <a:gd name="T68" fmla="*/ 0 w 90"/>
                  <a:gd name="T69" fmla="*/ 38 h 102"/>
                  <a:gd name="T70" fmla="*/ 8 w 90"/>
                  <a:gd name="T71" fmla="*/ 34 h 102"/>
                  <a:gd name="T72" fmla="*/ 13 w 90"/>
                  <a:gd name="T73" fmla="*/ 20 h 102"/>
                  <a:gd name="T74" fmla="*/ 13 w 90"/>
                  <a:gd name="T75" fmla="*/ 9 h 102"/>
                  <a:gd name="T76" fmla="*/ 25 w 90"/>
                  <a:gd name="T77" fmla="*/ 4 h 102"/>
                  <a:gd name="T78" fmla="*/ 31 w 90"/>
                  <a:gd name="T7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02">
                    <a:moveTo>
                      <a:pt x="31" y="0"/>
                    </a:moveTo>
                    <a:lnTo>
                      <a:pt x="33" y="2"/>
                    </a:lnTo>
                    <a:lnTo>
                      <a:pt x="54" y="13"/>
                    </a:lnTo>
                    <a:lnTo>
                      <a:pt x="58" y="18"/>
                    </a:lnTo>
                    <a:lnTo>
                      <a:pt x="74" y="20"/>
                    </a:lnTo>
                    <a:lnTo>
                      <a:pt x="74" y="18"/>
                    </a:lnTo>
                    <a:lnTo>
                      <a:pt x="75" y="16"/>
                    </a:lnTo>
                    <a:lnTo>
                      <a:pt x="77" y="16"/>
                    </a:lnTo>
                    <a:lnTo>
                      <a:pt x="86" y="24"/>
                    </a:lnTo>
                    <a:lnTo>
                      <a:pt x="88" y="24"/>
                    </a:lnTo>
                    <a:lnTo>
                      <a:pt x="88" y="24"/>
                    </a:lnTo>
                    <a:lnTo>
                      <a:pt x="84" y="24"/>
                    </a:lnTo>
                    <a:lnTo>
                      <a:pt x="84" y="27"/>
                    </a:lnTo>
                    <a:lnTo>
                      <a:pt x="86" y="27"/>
                    </a:lnTo>
                    <a:lnTo>
                      <a:pt x="88" y="31"/>
                    </a:lnTo>
                    <a:lnTo>
                      <a:pt x="88" y="33"/>
                    </a:lnTo>
                    <a:lnTo>
                      <a:pt x="90" y="38"/>
                    </a:lnTo>
                    <a:lnTo>
                      <a:pt x="90" y="38"/>
                    </a:lnTo>
                    <a:lnTo>
                      <a:pt x="88" y="38"/>
                    </a:lnTo>
                    <a:lnTo>
                      <a:pt x="81" y="49"/>
                    </a:lnTo>
                    <a:lnTo>
                      <a:pt x="66" y="63"/>
                    </a:lnTo>
                    <a:lnTo>
                      <a:pt x="45" y="72"/>
                    </a:lnTo>
                    <a:lnTo>
                      <a:pt x="43" y="74"/>
                    </a:lnTo>
                    <a:lnTo>
                      <a:pt x="43" y="75"/>
                    </a:lnTo>
                    <a:lnTo>
                      <a:pt x="41" y="79"/>
                    </a:lnTo>
                    <a:lnTo>
                      <a:pt x="41" y="79"/>
                    </a:lnTo>
                    <a:lnTo>
                      <a:pt x="40" y="79"/>
                    </a:lnTo>
                    <a:lnTo>
                      <a:pt x="40" y="79"/>
                    </a:lnTo>
                    <a:lnTo>
                      <a:pt x="38" y="79"/>
                    </a:lnTo>
                    <a:lnTo>
                      <a:pt x="38" y="79"/>
                    </a:lnTo>
                    <a:lnTo>
                      <a:pt x="34" y="84"/>
                    </a:lnTo>
                    <a:lnTo>
                      <a:pt x="33" y="97"/>
                    </a:lnTo>
                    <a:lnTo>
                      <a:pt x="33" y="97"/>
                    </a:lnTo>
                    <a:lnTo>
                      <a:pt x="31" y="99"/>
                    </a:lnTo>
                    <a:lnTo>
                      <a:pt x="27" y="100"/>
                    </a:lnTo>
                    <a:lnTo>
                      <a:pt x="25" y="102"/>
                    </a:lnTo>
                    <a:lnTo>
                      <a:pt x="22" y="102"/>
                    </a:lnTo>
                    <a:lnTo>
                      <a:pt x="18" y="95"/>
                    </a:lnTo>
                    <a:lnTo>
                      <a:pt x="15" y="95"/>
                    </a:lnTo>
                    <a:lnTo>
                      <a:pt x="13" y="93"/>
                    </a:lnTo>
                    <a:lnTo>
                      <a:pt x="13" y="93"/>
                    </a:lnTo>
                    <a:lnTo>
                      <a:pt x="9" y="93"/>
                    </a:lnTo>
                    <a:lnTo>
                      <a:pt x="8" y="95"/>
                    </a:lnTo>
                    <a:lnTo>
                      <a:pt x="6" y="95"/>
                    </a:lnTo>
                    <a:lnTo>
                      <a:pt x="6" y="93"/>
                    </a:lnTo>
                    <a:lnTo>
                      <a:pt x="4" y="90"/>
                    </a:lnTo>
                    <a:lnTo>
                      <a:pt x="4" y="88"/>
                    </a:lnTo>
                    <a:lnTo>
                      <a:pt x="4" y="88"/>
                    </a:lnTo>
                    <a:lnTo>
                      <a:pt x="6" y="86"/>
                    </a:lnTo>
                    <a:lnTo>
                      <a:pt x="8" y="86"/>
                    </a:lnTo>
                    <a:lnTo>
                      <a:pt x="9" y="84"/>
                    </a:lnTo>
                    <a:lnTo>
                      <a:pt x="9" y="83"/>
                    </a:lnTo>
                    <a:lnTo>
                      <a:pt x="8" y="81"/>
                    </a:lnTo>
                    <a:lnTo>
                      <a:pt x="8" y="79"/>
                    </a:lnTo>
                    <a:lnTo>
                      <a:pt x="8" y="79"/>
                    </a:lnTo>
                    <a:lnTo>
                      <a:pt x="8" y="77"/>
                    </a:lnTo>
                    <a:lnTo>
                      <a:pt x="9" y="77"/>
                    </a:lnTo>
                    <a:lnTo>
                      <a:pt x="13" y="74"/>
                    </a:lnTo>
                    <a:lnTo>
                      <a:pt x="15" y="72"/>
                    </a:lnTo>
                    <a:lnTo>
                      <a:pt x="16" y="63"/>
                    </a:lnTo>
                    <a:lnTo>
                      <a:pt x="16" y="61"/>
                    </a:lnTo>
                    <a:lnTo>
                      <a:pt x="15" y="61"/>
                    </a:lnTo>
                    <a:lnTo>
                      <a:pt x="15" y="58"/>
                    </a:lnTo>
                    <a:lnTo>
                      <a:pt x="8" y="65"/>
                    </a:lnTo>
                    <a:lnTo>
                      <a:pt x="8" y="65"/>
                    </a:lnTo>
                    <a:lnTo>
                      <a:pt x="6" y="63"/>
                    </a:lnTo>
                    <a:lnTo>
                      <a:pt x="2" y="61"/>
                    </a:lnTo>
                    <a:lnTo>
                      <a:pt x="0" y="59"/>
                    </a:lnTo>
                    <a:lnTo>
                      <a:pt x="0" y="40"/>
                    </a:lnTo>
                    <a:lnTo>
                      <a:pt x="0" y="38"/>
                    </a:lnTo>
                    <a:lnTo>
                      <a:pt x="4" y="36"/>
                    </a:lnTo>
                    <a:lnTo>
                      <a:pt x="8" y="34"/>
                    </a:lnTo>
                    <a:lnTo>
                      <a:pt x="8" y="27"/>
                    </a:lnTo>
                    <a:lnTo>
                      <a:pt x="13" y="20"/>
                    </a:lnTo>
                    <a:lnTo>
                      <a:pt x="11" y="11"/>
                    </a:lnTo>
                    <a:lnTo>
                      <a:pt x="13" y="9"/>
                    </a:lnTo>
                    <a:lnTo>
                      <a:pt x="20" y="9"/>
                    </a:lnTo>
                    <a:lnTo>
                      <a:pt x="25" y="4"/>
                    </a:lnTo>
                    <a:lnTo>
                      <a:pt x="29" y="4"/>
                    </a:lnTo>
                    <a:lnTo>
                      <a:pt x="3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52" name="Freeform 3208"/>
              <p:cNvSpPr>
                <a:spLocks/>
              </p:cNvSpPr>
              <p:nvPr/>
            </p:nvSpPr>
            <p:spPr bwMode="auto">
              <a:xfrm>
                <a:off x="1403" y="2691"/>
                <a:ext cx="90" cy="102"/>
              </a:xfrm>
              <a:custGeom>
                <a:avLst/>
                <a:gdLst>
                  <a:gd name="T0" fmla="*/ 33 w 90"/>
                  <a:gd name="T1" fmla="*/ 2 h 102"/>
                  <a:gd name="T2" fmla="*/ 58 w 90"/>
                  <a:gd name="T3" fmla="*/ 18 h 102"/>
                  <a:gd name="T4" fmla="*/ 74 w 90"/>
                  <a:gd name="T5" fmla="*/ 18 h 102"/>
                  <a:gd name="T6" fmla="*/ 77 w 90"/>
                  <a:gd name="T7" fmla="*/ 16 h 102"/>
                  <a:gd name="T8" fmla="*/ 88 w 90"/>
                  <a:gd name="T9" fmla="*/ 24 h 102"/>
                  <a:gd name="T10" fmla="*/ 84 w 90"/>
                  <a:gd name="T11" fmla="*/ 24 h 102"/>
                  <a:gd name="T12" fmla="*/ 86 w 90"/>
                  <a:gd name="T13" fmla="*/ 27 h 102"/>
                  <a:gd name="T14" fmla="*/ 88 w 90"/>
                  <a:gd name="T15" fmla="*/ 33 h 102"/>
                  <a:gd name="T16" fmla="*/ 90 w 90"/>
                  <a:gd name="T17" fmla="*/ 38 h 102"/>
                  <a:gd name="T18" fmla="*/ 81 w 90"/>
                  <a:gd name="T19" fmla="*/ 49 h 102"/>
                  <a:gd name="T20" fmla="*/ 45 w 90"/>
                  <a:gd name="T21" fmla="*/ 72 h 102"/>
                  <a:gd name="T22" fmla="*/ 43 w 90"/>
                  <a:gd name="T23" fmla="*/ 75 h 102"/>
                  <a:gd name="T24" fmla="*/ 41 w 90"/>
                  <a:gd name="T25" fmla="*/ 79 h 102"/>
                  <a:gd name="T26" fmla="*/ 40 w 90"/>
                  <a:gd name="T27" fmla="*/ 79 h 102"/>
                  <a:gd name="T28" fmla="*/ 38 w 90"/>
                  <a:gd name="T29" fmla="*/ 79 h 102"/>
                  <a:gd name="T30" fmla="*/ 33 w 90"/>
                  <a:gd name="T31" fmla="*/ 97 h 102"/>
                  <a:gd name="T32" fmla="*/ 31 w 90"/>
                  <a:gd name="T33" fmla="*/ 99 h 102"/>
                  <a:gd name="T34" fmla="*/ 25 w 90"/>
                  <a:gd name="T35" fmla="*/ 102 h 102"/>
                  <a:gd name="T36" fmla="*/ 18 w 90"/>
                  <a:gd name="T37" fmla="*/ 95 h 102"/>
                  <a:gd name="T38" fmla="*/ 13 w 90"/>
                  <a:gd name="T39" fmla="*/ 93 h 102"/>
                  <a:gd name="T40" fmla="*/ 9 w 90"/>
                  <a:gd name="T41" fmla="*/ 93 h 102"/>
                  <a:gd name="T42" fmla="*/ 6 w 90"/>
                  <a:gd name="T43" fmla="*/ 95 h 102"/>
                  <a:gd name="T44" fmla="*/ 4 w 90"/>
                  <a:gd name="T45" fmla="*/ 90 h 102"/>
                  <a:gd name="T46" fmla="*/ 4 w 90"/>
                  <a:gd name="T47" fmla="*/ 88 h 102"/>
                  <a:gd name="T48" fmla="*/ 8 w 90"/>
                  <a:gd name="T49" fmla="*/ 86 h 102"/>
                  <a:gd name="T50" fmla="*/ 9 w 90"/>
                  <a:gd name="T51" fmla="*/ 83 h 102"/>
                  <a:gd name="T52" fmla="*/ 8 w 90"/>
                  <a:gd name="T53" fmla="*/ 79 h 102"/>
                  <a:gd name="T54" fmla="*/ 8 w 90"/>
                  <a:gd name="T55" fmla="*/ 77 h 102"/>
                  <a:gd name="T56" fmla="*/ 13 w 90"/>
                  <a:gd name="T57" fmla="*/ 74 h 102"/>
                  <a:gd name="T58" fmla="*/ 16 w 90"/>
                  <a:gd name="T59" fmla="*/ 63 h 102"/>
                  <a:gd name="T60" fmla="*/ 15 w 90"/>
                  <a:gd name="T61" fmla="*/ 61 h 102"/>
                  <a:gd name="T62" fmla="*/ 8 w 90"/>
                  <a:gd name="T63" fmla="*/ 65 h 102"/>
                  <a:gd name="T64" fmla="*/ 6 w 90"/>
                  <a:gd name="T65" fmla="*/ 63 h 102"/>
                  <a:gd name="T66" fmla="*/ 0 w 90"/>
                  <a:gd name="T67" fmla="*/ 59 h 102"/>
                  <a:gd name="T68" fmla="*/ 0 w 90"/>
                  <a:gd name="T69" fmla="*/ 38 h 102"/>
                  <a:gd name="T70" fmla="*/ 8 w 90"/>
                  <a:gd name="T71" fmla="*/ 34 h 102"/>
                  <a:gd name="T72" fmla="*/ 13 w 90"/>
                  <a:gd name="T73" fmla="*/ 20 h 102"/>
                  <a:gd name="T74" fmla="*/ 13 w 90"/>
                  <a:gd name="T75" fmla="*/ 9 h 102"/>
                  <a:gd name="T76" fmla="*/ 25 w 90"/>
                  <a:gd name="T77" fmla="*/ 4 h 102"/>
                  <a:gd name="T78" fmla="*/ 31 w 90"/>
                  <a:gd name="T7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0" h="102">
                    <a:moveTo>
                      <a:pt x="31" y="0"/>
                    </a:moveTo>
                    <a:lnTo>
                      <a:pt x="33" y="2"/>
                    </a:lnTo>
                    <a:lnTo>
                      <a:pt x="54" y="13"/>
                    </a:lnTo>
                    <a:lnTo>
                      <a:pt x="58" y="18"/>
                    </a:lnTo>
                    <a:lnTo>
                      <a:pt x="74" y="20"/>
                    </a:lnTo>
                    <a:lnTo>
                      <a:pt x="74" y="18"/>
                    </a:lnTo>
                    <a:lnTo>
                      <a:pt x="75" y="16"/>
                    </a:lnTo>
                    <a:lnTo>
                      <a:pt x="77" y="16"/>
                    </a:lnTo>
                    <a:lnTo>
                      <a:pt x="86" y="24"/>
                    </a:lnTo>
                    <a:lnTo>
                      <a:pt x="88" y="24"/>
                    </a:lnTo>
                    <a:lnTo>
                      <a:pt x="88" y="24"/>
                    </a:lnTo>
                    <a:lnTo>
                      <a:pt x="84" y="24"/>
                    </a:lnTo>
                    <a:lnTo>
                      <a:pt x="84" y="27"/>
                    </a:lnTo>
                    <a:lnTo>
                      <a:pt x="86" y="27"/>
                    </a:lnTo>
                    <a:lnTo>
                      <a:pt x="88" y="31"/>
                    </a:lnTo>
                    <a:lnTo>
                      <a:pt x="88" y="33"/>
                    </a:lnTo>
                    <a:lnTo>
                      <a:pt x="90" y="38"/>
                    </a:lnTo>
                    <a:lnTo>
                      <a:pt x="90" y="38"/>
                    </a:lnTo>
                    <a:lnTo>
                      <a:pt x="88" y="38"/>
                    </a:lnTo>
                    <a:lnTo>
                      <a:pt x="81" y="49"/>
                    </a:lnTo>
                    <a:lnTo>
                      <a:pt x="66" y="63"/>
                    </a:lnTo>
                    <a:lnTo>
                      <a:pt x="45" y="72"/>
                    </a:lnTo>
                    <a:lnTo>
                      <a:pt x="43" y="74"/>
                    </a:lnTo>
                    <a:lnTo>
                      <a:pt x="43" y="75"/>
                    </a:lnTo>
                    <a:lnTo>
                      <a:pt x="41" y="79"/>
                    </a:lnTo>
                    <a:lnTo>
                      <a:pt x="41" y="79"/>
                    </a:lnTo>
                    <a:lnTo>
                      <a:pt x="40" y="79"/>
                    </a:lnTo>
                    <a:lnTo>
                      <a:pt x="40" y="79"/>
                    </a:lnTo>
                    <a:lnTo>
                      <a:pt x="38" y="79"/>
                    </a:lnTo>
                    <a:lnTo>
                      <a:pt x="38" y="79"/>
                    </a:lnTo>
                    <a:lnTo>
                      <a:pt x="34" y="84"/>
                    </a:lnTo>
                    <a:lnTo>
                      <a:pt x="33" y="97"/>
                    </a:lnTo>
                    <a:lnTo>
                      <a:pt x="33" y="97"/>
                    </a:lnTo>
                    <a:lnTo>
                      <a:pt x="31" y="99"/>
                    </a:lnTo>
                    <a:lnTo>
                      <a:pt x="27" y="100"/>
                    </a:lnTo>
                    <a:lnTo>
                      <a:pt x="25" y="102"/>
                    </a:lnTo>
                    <a:lnTo>
                      <a:pt x="22" y="102"/>
                    </a:lnTo>
                    <a:lnTo>
                      <a:pt x="18" y="95"/>
                    </a:lnTo>
                    <a:lnTo>
                      <a:pt x="15" y="95"/>
                    </a:lnTo>
                    <a:lnTo>
                      <a:pt x="13" y="93"/>
                    </a:lnTo>
                    <a:lnTo>
                      <a:pt x="13" y="93"/>
                    </a:lnTo>
                    <a:lnTo>
                      <a:pt x="9" y="93"/>
                    </a:lnTo>
                    <a:lnTo>
                      <a:pt x="8" y="95"/>
                    </a:lnTo>
                    <a:lnTo>
                      <a:pt x="6" y="95"/>
                    </a:lnTo>
                    <a:lnTo>
                      <a:pt x="6" y="93"/>
                    </a:lnTo>
                    <a:lnTo>
                      <a:pt x="4" y="90"/>
                    </a:lnTo>
                    <a:lnTo>
                      <a:pt x="4" y="88"/>
                    </a:lnTo>
                    <a:lnTo>
                      <a:pt x="4" y="88"/>
                    </a:lnTo>
                    <a:lnTo>
                      <a:pt x="6" y="86"/>
                    </a:lnTo>
                    <a:lnTo>
                      <a:pt x="8" y="86"/>
                    </a:lnTo>
                    <a:lnTo>
                      <a:pt x="9" y="84"/>
                    </a:lnTo>
                    <a:lnTo>
                      <a:pt x="9" y="83"/>
                    </a:lnTo>
                    <a:lnTo>
                      <a:pt x="8" y="81"/>
                    </a:lnTo>
                    <a:lnTo>
                      <a:pt x="8" y="79"/>
                    </a:lnTo>
                    <a:lnTo>
                      <a:pt x="8" y="79"/>
                    </a:lnTo>
                    <a:lnTo>
                      <a:pt x="8" y="77"/>
                    </a:lnTo>
                    <a:lnTo>
                      <a:pt x="9" y="77"/>
                    </a:lnTo>
                    <a:lnTo>
                      <a:pt x="13" y="74"/>
                    </a:lnTo>
                    <a:lnTo>
                      <a:pt x="15" y="72"/>
                    </a:lnTo>
                    <a:lnTo>
                      <a:pt x="16" y="63"/>
                    </a:lnTo>
                    <a:lnTo>
                      <a:pt x="16" y="61"/>
                    </a:lnTo>
                    <a:lnTo>
                      <a:pt x="15" y="61"/>
                    </a:lnTo>
                    <a:lnTo>
                      <a:pt x="15" y="58"/>
                    </a:lnTo>
                    <a:lnTo>
                      <a:pt x="8" y="65"/>
                    </a:lnTo>
                    <a:lnTo>
                      <a:pt x="8" y="65"/>
                    </a:lnTo>
                    <a:lnTo>
                      <a:pt x="6" y="63"/>
                    </a:lnTo>
                    <a:lnTo>
                      <a:pt x="2" y="61"/>
                    </a:lnTo>
                    <a:lnTo>
                      <a:pt x="0" y="59"/>
                    </a:lnTo>
                    <a:lnTo>
                      <a:pt x="0" y="40"/>
                    </a:lnTo>
                    <a:lnTo>
                      <a:pt x="0" y="38"/>
                    </a:lnTo>
                    <a:lnTo>
                      <a:pt x="4" y="36"/>
                    </a:lnTo>
                    <a:lnTo>
                      <a:pt x="8" y="34"/>
                    </a:lnTo>
                    <a:lnTo>
                      <a:pt x="8" y="27"/>
                    </a:lnTo>
                    <a:lnTo>
                      <a:pt x="13" y="20"/>
                    </a:lnTo>
                    <a:lnTo>
                      <a:pt x="11" y="11"/>
                    </a:lnTo>
                    <a:lnTo>
                      <a:pt x="13" y="9"/>
                    </a:lnTo>
                    <a:lnTo>
                      <a:pt x="20" y="9"/>
                    </a:lnTo>
                    <a:lnTo>
                      <a:pt x="25" y="4"/>
                    </a:lnTo>
                    <a:lnTo>
                      <a:pt x="29" y="4"/>
                    </a:lnTo>
                    <a:lnTo>
                      <a:pt x="3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53" name="Freeform 3209"/>
              <p:cNvSpPr>
                <a:spLocks/>
              </p:cNvSpPr>
              <p:nvPr/>
            </p:nvSpPr>
            <p:spPr bwMode="auto">
              <a:xfrm>
                <a:off x="1693" y="3025"/>
                <a:ext cx="134" cy="143"/>
              </a:xfrm>
              <a:custGeom>
                <a:avLst/>
                <a:gdLst>
                  <a:gd name="T0" fmla="*/ 0 w 134"/>
                  <a:gd name="T1" fmla="*/ 52 h 143"/>
                  <a:gd name="T2" fmla="*/ 5 w 134"/>
                  <a:gd name="T3" fmla="*/ 36 h 143"/>
                  <a:gd name="T4" fmla="*/ 5 w 134"/>
                  <a:gd name="T5" fmla="*/ 25 h 143"/>
                  <a:gd name="T6" fmla="*/ 12 w 134"/>
                  <a:gd name="T7" fmla="*/ 15 h 143"/>
                  <a:gd name="T8" fmla="*/ 14 w 134"/>
                  <a:gd name="T9" fmla="*/ 9 h 143"/>
                  <a:gd name="T10" fmla="*/ 44 w 134"/>
                  <a:gd name="T11" fmla="*/ 0 h 143"/>
                  <a:gd name="T12" fmla="*/ 62 w 134"/>
                  <a:gd name="T13" fmla="*/ 0 h 143"/>
                  <a:gd name="T14" fmla="*/ 75 w 134"/>
                  <a:gd name="T15" fmla="*/ 15 h 143"/>
                  <a:gd name="T16" fmla="*/ 73 w 134"/>
                  <a:gd name="T17" fmla="*/ 16 h 143"/>
                  <a:gd name="T18" fmla="*/ 73 w 134"/>
                  <a:gd name="T19" fmla="*/ 16 h 143"/>
                  <a:gd name="T20" fmla="*/ 76 w 134"/>
                  <a:gd name="T21" fmla="*/ 20 h 143"/>
                  <a:gd name="T22" fmla="*/ 76 w 134"/>
                  <a:gd name="T23" fmla="*/ 45 h 143"/>
                  <a:gd name="T24" fmla="*/ 78 w 134"/>
                  <a:gd name="T25" fmla="*/ 47 h 143"/>
                  <a:gd name="T26" fmla="*/ 85 w 134"/>
                  <a:gd name="T27" fmla="*/ 50 h 143"/>
                  <a:gd name="T28" fmla="*/ 98 w 134"/>
                  <a:gd name="T29" fmla="*/ 50 h 143"/>
                  <a:gd name="T30" fmla="*/ 100 w 134"/>
                  <a:gd name="T31" fmla="*/ 50 h 143"/>
                  <a:gd name="T32" fmla="*/ 101 w 134"/>
                  <a:gd name="T33" fmla="*/ 49 h 143"/>
                  <a:gd name="T34" fmla="*/ 103 w 134"/>
                  <a:gd name="T35" fmla="*/ 50 h 143"/>
                  <a:gd name="T36" fmla="*/ 110 w 134"/>
                  <a:gd name="T37" fmla="*/ 52 h 143"/>
                  <a:gd name="T38" fmla="*/ 112 w 134"/>
                  <a:gd name="T39" fmla="*/ 56 h 143"/>
                  <a:gd name="T40" fmla="*/ 114 w 134"/>
                  <a:gd name="T41" fmla="*/ 75 h 143"/>
                  <a:gd name="T42" fmla="*/ 116 w 134"/>
                  <a:gd name="T43" fmla="*/ 77 h 143"/>
                  <a:gd name="T44" fmla="*/ 119 w 134"/>
                  <a:gd name="T45" fmla="*/ 81 h 143"/>
                  <a:gd name="T46" fmla="*/ 123 w 134"/>
                  <a:gd name="T47" fmla="*/ 81 h 143"/>
                  <a:gd name="T48" fmla="*/ 125 w 134"/>
                  <a:gd name="T49" fmla="*/ 79 h 143"/>
                  <a:gd name="T50" fmla="*/ 132 w 134"/>
                  <a:gd name="T51" fmla="*/ 79 h 143"/>
                  <a:gd name="T52" fmla="*/ 132 w 134"/>
                  <a:gd name="T53" fmla="*/ 81 h 143"/>
                  <a:gd name="T54" fmla="*/ 134 w 134"/>
                  <a:gd name="T55" fmla="*/ 82 h 143"/>
                  <a:gd name="T56" fmla="*/ 130 w 134"/>
                  <a:gd name="T57" fmla="*/ 122 h 143"/>
                  <a:gd name="T58" fmla="*/ 126 w 134"/>
                  <a:gd name="T59" fmla="*/ 127 h 143"/>
                  <a:gd name="T60" fmla="*/ 114 w 134"/>
                  <a:gd name="T61" fmla="*/ 138 h 143"/>
                  <a:gd name="T62" fmla="*/ 114 w 134"/>
                  <a:gd name="T63" fmla="*/ 140 h 143"/>
                  <a:gd name="T64" fmla="*/ 112 w 134"/>
                  <a:gd name="T65" fmla="*/ 140 h 143"/>
                  <a:gd name="T66" fmla="*/ 110 w 134"/>
                  <a:gd name="T67" fmla="*/ 140 h 143"/>
                  <a:gd name="T68" fmla="*/ 107 w 134"/>
                  <a:gd name="T69" fmla="*/ 140 h 143"/>
                  <a:gd name="T70" fmla="*/ 103 w 134"/>
                  <a:gd name="T71" fmla="*/ 141 h 143"/>
                  <a:gd name="T72" fmla="*/ 103 w 134"/>
                  <a:gd name="T73" fmla="*/ 143 h 143"/>
                  <a:gd name="T74" fmla="*/ 98 w 134"/>
                  <a:gd name="T75" fmla="*/ 143 h 143"/>
                  <a:gd name="T76" fmla="*/ 96 w 134"/>
                  <a:gd name="T77" fmla="*/ 143 h 143"/>
                  <a:gd name="T78" fmla="*/ 94 w 134"/>
                  <a:gd name="T79" fmla="*/ 143 h 143"/>
                  <a:gd name="T80" fmla="*/ 85 w 134"/>
                  <a:gd name="T81" fmla="*/ 138 h 143"/>
                  <a:gd name="T82" fmla="*/ 69 w 134"/>
                  <a:gd name="T83" fmla="*/ 136 h 143"/>
                  <a:gd name="T84" fmla="*/ 67 w 134"/>
                  <a:gd name="T85" fmla="*/ 136 h 143"/>
                  <a:gd name="T86" fmla="*/ 67 w 134"/>
                  <a:gd name="T87" fmla="*/ 131 h 143"/>
                  <a:gd name="T88" fmla="*/ 80 w 134"/>
                  <a:gd name="T89" fmla="*/ 111 h 143"/>
                  <a:gd name="T90" fmla="*/ 80 w 134"/>
                  <a:gd name="T91" fmla="*/ 107 h 143"/>
                  <a:gd name="T92" fmla="*/ 78 w 134"/>
                  <a:gd name="T93" fmla="*/ 104 h 143"/>
                  <a:gd name="T94" fmla="*/ 78 w 134"/>
                  <a:gd name="T95" fmla="*/ 104 h 143"/>
                  <a:gd name="T96" fmla="*/ 76 w 134"/>
                  <a:gd name="T97" fmla="*/ 102 h 143"/>
                  <a:gd name="T98" fmla="*/ 73 w 134"/>
                  <a:gd name="T99" fmla="*/ 100 h 143"/>
                  <a:gd name="T100" fmla="*/ 69 w 134"/>
                  <a:gd name="T101" fmla="*/ 99 h 143"/>
                  <a:gd name="T102" fmla="*/ 67 w 134"/>
                  <a:gd name="T103" fmla="*/ 95 h 143"/>
                  <a:gd name="T104" fmla="*/ 48 w 134"/>
                  <a:gd name="T105" fmla="*/ 84 h 143"/>
                  <a:gd name="T106" fmla="*/ 32 w 134"/>
                  <a:gd name="T107" fmla="*/ 81 h 143"/>
                  <a:gd name="T108" fmla="*/ 30 w 134"/>
                  <a:gd name="T109" fmla="*/ 81 h 143"/>
                  <a:gd name="T110" fmla="*/ 26 w 134"/>
                  <a:gd name="T111" fmla="*/ 75 h 143"/>
                  <a:gd name="T112" fmla="*/ 14 w 134"/>
                  <a:gd name="T113" fmla="*/ 66 h 143"/>
                  <a:gd name="T114" fmla="*/ 5 w 134"/>
                  <a:gd name="T115" fmla="*/ 54 h 143"/>
                  <a:gd name="T116" fmla="*/ 0 w 134"/>
                  <a:gd name="T117" fmla="*/ 5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 h="143">
                    <a:moveTo>
                      <a:pt x="0" y="52"/>
                    </a:moveTo>
                    <a:lnTo>
                      <a:pt x="5" y="36"/>
                    </a:lnTo>
                    <a:lnTo>
                      <a:pt x="5" y="25"/>
                    </a:lnTo>
                    <a:lnTo>
                      <a:pt x="12" y="15"/>
                    </a:lnTo>
                    <a:lnTo>
                      <a:pt x="14" y="9"/>
                    </a:lnTo>
                    <a:lnTo>
                      <a:pt x="44" y="0"/>
                    </a:lnTo>
                    <a:lnTo>
                      <a:pt x="62" y="0"/>
                    </a:lnTo>
                    <a:lnTo>
                      <a:pt x="75" y="15"/>
                    </a:lnTo>
                    <a:lnTo>
                      <a:pt x="73" y="16"/>
                    </a:lnTo>
                    <a:lnTo>
                      <a:pt x="73" y="16"/>
                    </a:lnTo>
                    <a:lnTo>
                      <a:pt x="76" y="20"/>
                    </a:lnTo>
                    <a:lnTo>
                      <a:pt x="76" y="45"/>
                    </a:lnTo>
                    <a:lnTo>
                      <a:pt x="78" y="47"/>
                    </a:lnTo>
                    <a:lnTo>
                      <a:pt x="85" y="50"/>
                    </a:lnTo>
                    <a:lnTo>
                      <a:pt x="98" y="50"/>
                    </a:lnTo>
                    <a:lnTo>
                      <a:pt x="100" y="50"/>
                    </a:lnTo>
                    <a:lnTo>
                      <a:pt x="101" y="49"/>
                    </a:lnTo>
                    <a:lnTo>
                      <a:pt x="103" y="50"/>
                    </a:lnTo>
                    <a:lnTo>
                      <a:pt x="110" y="52"/>
                    </a:lnTo>
                    <a:lnTo>
                      <a:pt x="112" y="56"/>
                    </a:lnTo>
                    <a:lnTo>
                      <a:pt x="114" y="75"/>
                    </a:lnTo>
                    <a:lnTo>
                      <a:pt x="116" y="77"/>
                    </a:lnTo>
                    <a:lnTo>
                      <a:pt x="119" y="81"/>
                    </a:lnTo>
                    <a:lnTo>
                      <a:pt x="123" y="81"/>
                    </a:lnTo>
                    <a:lnTo>
                      <a:pt x="125" y="79"/>
                    </a:lnTo>
                    <a:lnTo>
                      <a:pt x="132" y="79"/>
                    </a:lnTo>
                    <a:lnTo>
                      <a:pt x="132" y="81"/>
                    </a:lnTo>
                    <a:lnTo>
                      <a:pt x="134" y="82"/>
                    </a:lnTo>
                    <a:lnTo>
                      <a:pt x="130" y="122"/>
                    </a:lnTo>
                    <a:lnTo>
                      <a:pt x="126" y="127"/>
                    </a:lnTo>
                    <a:lnTo>
                      <a:pt x="114" y="138"/>
                    </a:lnTo>
                    <a:lnTo>
                      <a:pt x="114" y="140"/>
                    </a:lnTo>
                    <a:lnTo>
                      <a:pt x="112" y="140"/>
                    </a:lnTo>
                    <a:lnTo>
                      <a:pt x="110" y="140"/>
                    </a:lnTo>
                    <a:lnTo>
                      <a:pt x="107" y="140"/>
                    </a:lnTo>
                    <a:lnTo>
                      <a:pt x="103" y="141"/>
                    </a:lnTo>
                    <a:lnTo>
                      <a:pt x="103" y="143"/>
                    </a:lnTo>
                    <a:lnTo>
                      <a:pt x="98" y="143"/>
                    </a:lnTo>
                    <a:lnTo>
                      <a:pt x="96" y="143"/>
                    </a:lnTo>
                    <a:lnTo>
                      <a:pt x="94" y="143"/>
                    </a:lnTo>
                    <a:lnTo>
                      <a:pt x="85" y="138"/>
                    </a:lnTo>
                    <a:lnTo>
                      <a:pt x="69" y="136"/>
                    </a:lnTo>
                    <a:lnTo>
                      <a:pt x="67" y="136"/>
                    </a:lnTo>
                    <a:lnTo>
                      <a:pt x="67" y="131"/>
                    </a:lnTo>
                    <a:lnTo>
                      <a:pt x="80" y="111"/>
                    </a:lnTo>
                    <a:lnTo>
                      <a:pt x="80" y="107"/>
                    </a:lnTo>
                    <a:lnTo>
                      <a:pt x="78" y="104"/>
                    </a:lnTo>
                    <a:lnTo>
                      <a:pt x="78" y="104"/>
                    </a:lnTo>
                    <a:lnTo>
                      <a:pt x="76" y="102"/>
                    </a:lnTo>
                    <a:lnTo>
                      <a:pt x="73" y="100"/>
                    </a:lnTo>
                    <a:lnTo>
                      <a:pt x="69" y="99"/>
                    </a:lnTo>
                    <a:lnTo>
                      <a:pt x="67" y="95"/>
                    </a:lnTo>
                    <a:lnTo>
                      <a:pt x="48" y="84"/>
                    </a:lnTo>
                    <a:lnTo>
                      <a:pt x="32" y="81"/>
                    </a:lnTo>
                    <a:lnTo>
                      <a:pt x="30" y="81"/>
                    </a:lnTo>
                    <a:lnTo>
                      <a:pt x="26" y="75"/>
                    </a:lnTo>
                    <a:lnTo>
                      <a:pt x="14" y="66"/>
                    </a:lnTo>
                    <a:lnTo>
                      <a:pt x="5" y="54"/>
                    </a:lnTo>
                    <a:lnTo>
                      <a:pt x="0" y="5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54" name="Freeform 3210"/>
              <p:cNvSpPr>
                <a:spLocks/>
              </p:cNvSpPr>
              <p:nvPr/>
            </p:nvSpPr>
            <p:spPr bwMode="auto">
              <a:xfrm>
                <a:off x="1693" y="3025"/>
                <a:ext cx="134" cy="143"/>
              </a:xfrm>
              <a:custGeom>
                <a:avLst/>
                <a:gdLst>
                  <a:gd name="T0" fmla="*/ 0 w 134"/>
                  <a:gd name="T1" fmla="*/ 52 h 143"/>
                  <a:gd name="T2" fmla="*/ 5 w 134"/>
                  <a:gd name="T3" fmla="*/ 36 h 143"/>
                  <a:gd name="T4" fmla="*/ 5 w 134"/>
                  <a:gd name="T5" fmla="*/ 25 h 143"/>
                  <a:gd name="T6" fmla="*/ 12 w 134"/>
                  <a:gd name="T7" fmla="*/ 15 h 143"/>
                  <a:gd name="T8" fmla="*/ 14 w 134"/>
                  <a:gd name="T9" fmla="*/ 9 h 143"/>
                  <a:gd name="T10" fmla="*/ 44 w 134"/>
                  <a:gd name="T11" fmla="*/ 0 h 143"/>
                  <a:gd name="T12" fmla="*/ 62 w 134"/>
                  <a:gd name="T13" fmla="*/ 0 h 143"/>
                  <a:gd name="T14" fmla="*/ 75 w 134"/>
                  <a:gd name="T15" fmla="*/ 15 h 143"/>
                  <a:gd name="T16" fmla="*/ 73 w 134"/>
                  <a:gd name="T17" fmla="*/ 16 h 143"/>
                  <a:gd name="T18" fmla="*/ 73 w 134"/>
                  <a:gd name="T19" fmla="*/ 16 h 143"/>
                  <a:gd name="T20" fmla="*/ 76 w 134"/>
                  <a:gd name="T21" fmla="*/ 20 h 143"/>
                  <a:gd name="T22" fmla="*/ 76 w 134"/>
                  <a:gd name="T23" fmla="*/ 45 h 143"/>
                  <a:gd name="T24" fmla="*/ 78 w 134"/>
                  <a:gd name="T25" fmla="*/ 47 h 143"/>
                  <a:gd name="T26" fmla="*/ 85 w 134"/>
                  <a:gd name="T27" fmla="*/ 50 h 143"/>
                  <a:gd name="T28" fmla="*/ 98 w 134"/>
                  <a:gd name="T29" fmla="*/ 50 h 143"/>
                  <a:gd name="T30" fmla="*/ 100 w 134"/>
                  <a:gd name="T31" fmla="*/ 50 h 143"/>
                  <a:gd name="T32" fmla="*/ 101 w 134"/>
                  <a:gd name="T33" fmla="*/ 49 h 143"/>
                  <a:gd name="T34" fmla="*/ 103 w 134"/>
                  <a:gd name="T35" fmla="*/ 50 h 143"/>
                  <a:gd name="T36" fmla="*/ 110 w 134"/>
                  <a:gd name="T37" fmla="*/ 52 h 143"/>
                  <a:gd name="T38" fmla="*/ 112 w 134"/>
                  <a:gd name="T39" fmla="*/ 56 h 143"/>
                  <a:gd name="T40" fmla="*/ 114 w 134"/>
                  <a:gd name="T41" fmla="*/ 75 h 143"/>
                  <a:gd name="T42" fmla="*/ 116 w 134"/>
                  <a:gd name="T43" fmla="*/ 77 h 143"/>
                  <a:gd name="T44" fmla="*/ 119 w 134"/>
                  <a:gd name="T45" fmla="*/ 81 h 143"/>
                  <a:gd name="T46" fmla="*/ 123 w 134"/>
                  <a:gd name="T47" fmla="*/ 81 h 143"/>
                  <a:gd name="T48" fmla="*/ 125 w 134"/>
                  <a:gd name="T49" fmla="*/ 79 h 143"/>
                  <a:gd name="T50" fmla="*/ 132 w 134"/>
                  <a:gd name="T51" fmla="*/ 79 h 143"/>
                  <a:gd name="T52" fmla="*/ 132 w 134"/>
                  <a:gd name="T53" fmla="*/ 81 h 143"/>
                  <a:gd name="T54" fmla="*/ 134 w 134"/>
                  <a:gd name="T55" fmla="*/ 82 h 143"/>
                  <a:gd name="T56" fmla="*/ 130 w 134"/>
                  <a:gd name="T57" fmla="*/ 122 h 143"/>
                  <a:gd name="T58" fmla="*/ 126 w 134"/>
                  <a:gd name="T59" fmla="*/ 127 h 143"/>
                  <a:gd name="T60" fmla="*/ 114 w 134"/>
                  <a:gd name="T61" fmla="*/ 138 h 143"/>
                  <a:gd name="T62" fmla="*/ 114 w 134"/>
                  <a:gd name="T63" fmla="*/ 140 h 143"/>
                  <a:gd name="T64" fmla="*/ 112 w 134"/>
                  <a:gd name="T65" fmla="*/ 140 h 143"/>
                  <a:gd name="T66" fmla="*/ 110 w 134"/>
                  <a:gd name="T67" fmla="*/ 140 h 143"/>
                  <a:gd name="T68" fmla="*/ 107 w 134"/>
                  <a:gd name="T69" fmla="*/ 140 h 143"/>
                  <a:gd name="T70" fmla="*/ 103 w 134"/>
                  <a:gd name="T71" fmla="*/ 141 h 143"/>
                  <a:gd name="T72" fmla="*/ 103 w 134"/>
                  <a:gd name="T73" fmla="*/ 143 h 143"/>
                  <a:gd name="T74" fmla="*/ 98 w 134"/>
                  <a:gd name="T75" fmla="*/ 143 h 143"/>
                  <a:gd name="T76" fmla="*/ 96 w 134"/>
                  <a:gd name="T77" fmla="*/ 143 h 143"/>
                  <a:gd name="T78" fmla="*/ 94 w 134"/>
                  <a:gd name="T79" fmla="*/ 143 h 143"/>
                  <a:gd name="T80" fmla="*/ 85 w 134"/>
                  <a:gd name="T81" fmla="*/ 138 h 143"/>
                  <a:gd name="T82" fmla="*/ 69 w 134"/>
                  <a:gd name="T83" fmla="*/ 136 h 143"/>
                  <a:gd name="T84" fmla="*/ 67 w 134"/>
                  <a:gd name="T85" fmla="*/ 136 h 143"/>
                  <a:gd name="T86" fmla="*/ 67 w 134"/>
                  <a:gd name="T87" fmla="*/ 131 h 143"/>
                  <a:gd name="T88" fmla="*/ 80 w 134"/>
                  <a:gd name="T89" fmla="*/ 111 h 143"/>
                  <a:gd name="T90" fmla="*/ 80 w 134"/>
                  <a:gd name="T91" fmla="*/ 107 h 143"/>
                  <a:gd name="T92" fmla="*/ 78 w 134"/>
                  <a:gd name="T93" fmla="*/ 104 h 143"/>
                  <a:gd name="T94" fmla="*/ 78 w 134"/>
                  <a:gd name="T95" fmla="*/ 104 h 143"/>
                  <a:gd name="T96" fmla="*/ 76 w 134"/>
                  <a:gd name="T97" fmla="*/ 102 h 143"/>
                  <a:gd name="T98" fmla="*/ 73 w 134"/>
                  <a:gd name="T99" fmla="*/ 100 h 143"/>
                  <a:gd name="T100" fmla="*/ 69 w 134"/>
                  <a:gd name="T101" fmla="*/ 99 h 143"/>
                  <a:gd name="T102" fmla="*/ 67 w 134"/>
                  <a:gd name="T103" fmla="*/ 95 h 143"/>
                  <a:gd name="T104" fmla="*/ 48 w 134"/>
                  <a:gd name="T105" fmla="*/ 84 h 143"/>
                  <a:gd name="T106" fmla="*/ 32 w 134"/>
                  <a:gd name="T107" fmla="*/ 81 h 143"/>
                  <a:gd name="T108" fmla="*/ 30 w 134"/>
                  <a:gd name="T109" fmla="*/ 81 h 143"/>
                  <a:gd name="T110" fmla="*/ 26 w 134"/>
                  <a:gd name="T111" fmla="*/ 75 h 143"/>
                  <a:gd name="T112" fmla="*/ 14 w 134"/>
                  <a:gd name="T113" fmla="*/ 66 h 143"/>
                  <a:gd name="T114" fmla="*/ 5 w 134"/>
                  <a:gd name="T115" fmla="*/ 54 h 143"/>
                  <a:gd name="T116" fmla="*/ 0 w 134"/>
                  <a:gd name="T117" fmla="*/ 5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4" h="143">
                    <a:moveTo>
                      <a:pt x="0" y="52"/>
                    </a:moveTo>
                    <a:lnTo>
                      <a:pt x="5" y="36"/>
                    </a:lnTo>
                    <a:lnTo>
                      <a:pt x="5" y="25"/>
                    </a:lnTo>
                    <a:lnTo>
                      <a:pt x="12" y="15"/>
                    </a:lnTo>
                    <a:lnTo>
                      <a:pt x="14" y="9"/>
                    </a:lnTo>
                    <a:lnTo>
                      <a:pt x="44" y="0"/>
                    </a:lnTo>
                    <a:lnTo>
                      <a:pt x="62" y="0"/>
                    </a:lnTo>
                    <a:lnTo>
                      <a:pt x="75" y="15"/>
                    </a:lnTo>
                    <a:lnTo>
                      <a:pt x="73" y="16"/>
                    </a:lnTo>
                    <a:lnTo>
                      <a:pt x="73" y="16"/>
                    </a:lnTo>
                    <a:lnTo>
                      <a:pt x="76" y="20"/>
                    </a:lnTo>
                    <a:lnTo>
                      <a:pt x="76" y="45"/>
                    </a:lnTo>
                    <a:lnTo>
                      <a:pt x="78" y="47"/>
                    </a:lnTo>
                    <a:lnTo>
                      <a:pt x="85" y="50"/>
                    </a:lnTo>
                    <a:lnTo>
                      <a:pt x="98" y="50"/>
                    </a:lnTo>
                    <a:lnTo>
                      <a:pt x="100" y="50"/>
                    </a:lnTo>
                    <a:lnTo>
                      <a:pt x="101" y="49"/>
                    </a:lnTo>
                    <a:lnTo>
                      <a:pt x="103" y="50"/>
                    </a:lnTo>
                    <a:lnTo>
                      <a:pt x="110" y="52"/>
                    </a:lnTo>
                    <a:lnTo>
                      <a:pt x="112" y="56"/>
                    </a:lnTo>
                    <a:lnTo>
                      <a:pt x="114" y="75"/>
                    </a:lnTo>
                    <a:lnTo>
                      <a:pt x="116" y="77"/>
                    </a:lnTo>
                    <a:lnTo>
                      <a:pt x="119" y="81"/>
                    </a:lnTo>
                    <a:lnTo>
                      <a:pt x="123" y="81"/>
                    </a:lnTo>
                    <a:lnTo>
                      <a:pt x="125" y="79"/>
                    </a:lnTo>
                    <a:lnTo>
                      <a:pt x="132" y="79"/>
                    </a:lnTo>
                    <a:lnTo>
                      <a:pt x="132" y="81"/>
                    </a:lnTo>
                    <a:lnTo>
                      <a:pt x="134" y="82"/>
                    </a:lnTo>
                    <a:lnTo>
                      <a:pt x="130" y="122"/>
                    </a:lnTo>
                    <a:lnTo>
                      <a:pt x="126" y="127"/>
                    </a:lnTo>
                    <a:lnTo>
                      <a:pt x="114" y="138"/>
                    </a:lnTo>
                    <a:lnTo>
                      <a:pt x="114" y="140"/>
                    </a:lnTo>
                    <a:lnTo>
                      <a:pt x="112" y="140"/>
                    </a:lnTo>
                    <a:lnTo>
                      <a:pt x="110" y="140"/>
                    </a:lnTo>
                    <a:lnTo>
                      <a:pt x="107" y="140"/>
                    </a:lnTo>
                    <a:lnTo>
                      <a:pt x="103" y="141"/>
                    </a:lnTo>
                    <a:lnTo>
                      <a:pt x="103" y="143"/>
                    </a:lnTo>
                    <a:lnTo>
                      <a:pt x="98" y="143"/>
                    </a:lnTo>
                    <a:lnTo>
                      <a:pt x="96" y="143"/>
                    </a:lnTo>
                    <a:lnTo>
                      <a:pt x="94" y="143"/>
                    </a:lnTo>
                    <a:lnTo>
                      <a:pt x="85" y="138"/>
                    </a:lnTo>
                    <a:lnTo>
                      <a:pt x="69" y="136"/>
                    </a:lnTo>
                    <a:lnTo>
                      <a:pt x="67" y="136"/>
                    </a:lnTo>
                    <a:lnTo>
                      <a:pt x="67" y="131"/>
                    </a:lnTo>
                    <a:lnTo>
                      <a:pt x="80" y="111"/>
                    </a:lnTo>
                    <a:lnTo>
                      <a:pt x="80" y="107"/>
                    </a:lnTo>
                    <a:lnTo>
                      <a:pt x="78" y="104"/>
                    </a:lnTo>
                    <a:lnTo>
                      <a:pt x="78" y="104"/>
                    </a:lnTo>
                    <a:lnTo>
                      <a:pt x="76" y="102"/>
                    </a:lnTo>
                    <a:lnTo>
                      <a:pt x="73" y="100"/>
                    </a:lnTo>
                    <a:lnTo>
                      <a:pt x="69" y="99"/>
                    </a:lnTo>
                    <a:lnTo>
                      <a:pt x="67" y="95"/>
                    </a:lnTo>
                    <a:lnTo>
                      <a:pt x="48" y="84"/>
                    </a:lnTo>
                    <a:lnTo>
                      <a:pt x="32" y="81"/>
                    </a:lnTo>
                    <a:lnTo>
                      <a:pt x="30" y="81"/>
                    </a:lnTo>
                    <a:lnTo>
                      <a:pt x="26" y="75"/>
                    </a:lnTo>
                    <a:lnTo>
                      <a:pt x="14" y="66"/>
                    </a:lnTo>
                    <a:lnTo>
                      <a:pt x="5" y="54"/>
                    </a:lnTo>
                    <a:lnTo>
                      <a:pt x="0" y="5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55" name="Freeform 3211"/>
              <p:cNvSpPr>
                <a:spLocks/>
              </p:cNvSpPr>
              <p:nvPr/>
            </p:nvSpPr>
            <p:spPr bwMode="auto">
              <a:xfrm>
                <a:off x="1487" y="2997"/>
                <a:ext cx="136" cy="737"/>
              </a:xfrm>
              <a:custGeom>
                <a:avLst/>
                <a:gdLst>
                  <a:gd name="T0" fmla="*/ 113 w 136"/>
                  <a:gd name="T1" fmla="*/ 32 h 737"/>
                  <a:gd name="T2" fmla="*/ 107 w 136"/>
                  <a:gd name="T3" fmla="*/ 44 h 737"/>
                  <a:gd name="T4" fmla="*/ 122 w 136"/>
                  <a:gd name="T5" fmla="*/ 89 h 737"/>
                  <a:gd name="T6" fmla="*/ 136 w 136"/>
                  <a:gd name="T7" fmla="*/ 93 h 737"/>
                  <a:gd name="T8" fmla="*/ 111 w 136"/>
                  <a:gd name="T9" fmla="*/ 162 h 737"/>
                  <a:gd name="T10" fmla="*/ 82 w 136"/>
                  <a:gd name="T11" fmla="*/ 235 h 737"/>
                  <a:gd name="T12" fmla="*/ 91 w 136"/>
                  <a:gd name="T13" fmla="*/ 294 h 737"/>
                  <a:gd name="T14" fmla="*/ 77 w 136"/>
                  <a:gd name="T15" fmla="*/ 337 h 737"/>
                  <a:gd name="T16" fmla="*/ 72 w 136"/>
                  <a:gd name="T17" fmla="*/ 385 h 737"/>
                  <a:gd name="T18" fmla="*/ 56 w 136"/>
                  <a:gd name="T19" fmla="*/ 475 h 737"/>
                  <a:gd name="T20" fmla="*/ 61 w 136"/>
                  <a:gd name="T21" fmla="*/ 507 h 737"/>
                  <a:gd name="T22" fmla="*/ 63 w 136"/>
                  <a:gd name="T23" fmla="*/ 519 h 737"/>
                  <a:gd name="T24" fmla="*/ 50 w 136"/>
                  <a:gd name="T25" fmla="*/ 591 h 737"/>
                  <a:gd name="T26" fmla="*/ 36 w 136"/>
                  <a:gd name="T27" fmla="*/ 653 h 737"/>
                  <a:gd name="T28" fmla="*/ 50 w 136"/>
                  <a:gd name="T29" fmla="*/ 655 h 737"/>
                  <a:gd name="T30" fmla="*/ 77 w 136"/>
                  <a:gd name="T31" fmla="*/ 691 h 737"/>
                  <a:gd name="T32" fmla="*/ 99 w 136"/>
                  <a:gd name="T33" fmla="*/ 698 h 737"/>
                  <a:gd name="T34" fmla="*/ 72 w 136"/>
                  <a:gd name="T35" fmla="*/ 737 h 737"/>
                  <a:gd name="T36" fmla="*/ 52 w 136"/>
                  <a:gd name="T37" fmla="*/ 725 h 737"/>
                  <a:gd name="T38" fmla="*/ 70 w 136"/>
                  <a:gd name="T39" fmla="*/ 718 h 737"/>
                  <a:gd name="T40" fmla="*/ 50 w 136"/>
                  <a:gd name="T41" fmla="*/ 703 h 737"/>
                  <a:gd name="T42" fmla="*/ 50 w 136"/>
                  <a:gd name="T43" fmla="*/ 687 h 737"/>
                  <a:gd name="T44" fmla="*/ 43 w 136"/>
                  <a:gd name="T45" fmla="*/ 684 h 737"/>
                  <a:gd name="T46" fmla="*/ 38 w 136"/>
                  <a:gd name="T47" fmla="*/ 691 h 737"/>
                  <a:gd name="T48" fmla="*/ 24 w 136"/>
                  <a:gd name="T49" fmla="*/ 660 h 737"/>
                  <a:gd name="T50" fmla="*/ 24 w 136"/>
                  <a:gd name="T51" fmla="*/ 653 h 737"/>
                  <a:gd name="T52" fmla="*/ 20 w 136"/>
                  <a:gd name="T53" fmla="*/ 639 h 737"/>
                  <a:gd name="T54" fmla="*/ 27 w 136"/>
                  <a:gd name="T55" fmla="*/ 627 h 737"/>
                  <a:gd name="T56" fmla="*/ 22 w 136"/>
                  <a:gd name="T57" fmla="*/ 607 h 737"/>
                  <a:gd name="T58" fmla="*/ 20 w 136"/>
                  <a:gd name="T59" fmla="*/ 602 h 737"/>
                  <a:gd name="T60" fmla="*/ 24 w 136"/>
                  <a:gd name="T61" fmla="*/ 591 h 737"/>
                  <a:gd name="T62" fmla="*/ 24 w 136"/>
                  <a:gd name="T63" fmla="*/ 582 h 737"/>
                  <a:gd name="T64" fmla="*/ 25 w 136"/>
                  <a:gd name="T65" fmla="*/ 566 h 737"/>
                  <a:gd name="T66" fmla="*/ 7 w 136"/>
                  <a:gd name="T67" fmla="*/ 557 h 737"/>
                  <a:gd name="T68" fmla="*/ 6 w 136"/>
                  <a:gd name="T69" fmla="*/ 553 h 737"/>
                  <a:gd name="T70" fmla="*/ 9 w 136"/>
                  <a:gd name="T71" fmla="*/ 543 h 737"/>
                  <a:gd name="T72" fmla="*/ 24 w 136"/>
                  <a:gd name="T73" fmla="*/ 546 h 737"/>
                  <a:gd name="T74" fmla="*/ 29 w 136"/>
                  <a:gd name="T75" fmla="*/ 555 h 737"/>
                  <a:gd name="T76" fmla="*/ 36 w 136"/>
                  <a:gd name="T77" fmla="*/ 541 h 737"/>
                  <a:gd name="T78" fmla="*/ 36 w 136"/>
                  <a:gd name="T79" fmla="*/ 534 h 737"/>
                  <a:gd name="T80" fmla="*/ 43 w 136"/>
                  <a:gd name="T81" fmla="*/ 532 h 737"/>
                  <a:gd name="T82" fmla="*/ 41 w 136"/>
                  <a:gd name="T83" fmla="*/ 521 h 737"/>
                  <a:gd name="T84" fmla="*/ 38 w 136"/>
                  <a:gd name="T85" fmla="*/ 503 h 737"/>
                  <a:gd name="T86" fmla="*/ 43 w 136"/>
                  <a:gd name="T87" fmla="*/ 491 h 737"/>
                  <a:gd name="T88" fmla="*/ 45 w 136"/>
                  <a:gd name="T89" fmla="*/ 469 h 737"/>
                  <a:gd name="T90" fmla="*/ 50 w 136"/>
                  <a:gd name="T91" fmla="*/ 455 h 737"/>
                  <a:gd name="T92" fmla="*/ 50 w 136"/>
                  <a:gd name="T93" fmla="*/ 448 h 737"/>
                  <a:gd name="T94" fmla="*/ 34 w 136"/>
                  <a:gd name="T95" fmla="*/ 450 h 737"/>
                  <a:gd name="T96" fmla="*/ 31 w 136"/>
                  <a:gd name="T97" fmla="*/ 410 h 737"/>
                  <a:gd name="T98" fmla="*/ 32 w 136"/>
                  <a:gd name="T99" fmla="*/ 382 h 737"/>
                  <a:gd name="T100" fmla="*/ 40 w 136"/>
                  <a:gd name="T101" fmla="*/ 343 h 737"/>
                  <a:gd name="T102" fmla="*/ 63 w 136"/>
                  <a:gd name="T103" fmla="*/ 277 h 737"/>
                  <a:gd name="T104" fmla="*/ 72 w 136"/>
                  <a:gd name="T105" fmla="*/ 177 h 737"/>
                  <a:gd name="T106" fmla="*/ 81 w 136"/>
                  <a:gd name="T107" fmla="*/ 102 h 737"/>
                  <a:gd name="T108" fmla="*/ 84 w 136"/>
                  <a:gd name="T109" fmla="*/ 9 h 737"/>
                  <a:gd name="T110" fmla="*/ 95 w 136"/>
                  <a:gd name="T111" fmla="*/ 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 h="737">
                    <a:moveTo>
                      <a:pt x="95" y="0"/>
                    </a:moveTo>
                    <a:lnTo>
                      <a:pt x="97" y="0"/>
                    </a:lnTo>
                    <a:lnTo>
                      <a:pt x="99" y="3"/>
                    </a:lnTo>
                    <a:lnTo>
                      <a:pt x="100" y="5"/>
                    </a:lnTo>
                    <a:lnTo>
                      <a:pt x="102" y="7"/>
                    </a:lnTo>
                    <a:lnTo>
                      <a:pt x="104" y="21"/>
                    </a:lnTo>
                    <a:lnTo>
                      <a:pt x="113" y="28"/>
                    </a:lnTo>
                    <a:lnTo>
                      <a:pt x="113" y="32"/>
                    </a:lnTo>
                    <a:lnTo>
                      <a:pt x="111" y="32"/>
                    </a:lnTo>
                    <a:lnTo>
                      <a:pt x="111" y="35"/>
                    </a:lnTo>
                    <a:lnTo>
                      <a:pt x="111" y="35"/>
                    </a:lnTo>
                    <a:lnTo>
                      <a:pt x="111" y="37"/>
                    </a:lnTo>
                    <a:lnTo>
                      <a:pt x="111" y="37"/>
                    </a:lnTo>
                    <a:lnTo>
                      <a:pt x="109" y="39"/>
                    </a:lnTo>
                    <a:lnTo>
                      <a:pt x="109" y="39"/>
                    </a:lnTo>
                    <a:lnTo>
                      <a:pt x="107" y="44"/>
                    </a:lnTo>
                    <a:lnTo>
                      <a:pt x="109" y="46"/>
                    </a:lnTo>
                    <a:lnTo>
                      <a:pt x="111" y="46"/>
                    </a:lnTo>
                    <a:lnTo>
                      <a:pt x="111" y="52"/>
                    </a:lnTo>
                    <a:lnTo>
                      <a:pt x="113" y="53"/>
                    </a:lnTo>
                    <a:lnTo>
                      <a:pt x="116" y="55"/>
                    </a:lnTo>
                    <a:lnTo>
                      <a:pt x="116" y="62"/>
                    </a:lnTo>
                    <a:lnTo>
                      <a:pt x="118" y="66"/>
                    </a:lnTo>
                    <a:lnTo>
                      <a:pt x="122" y="89"/>
                    </a:lnTo>
                    <a:lnTo>
                      <a:pt x="124" y="91"/>
                    </a:lnTo>
                    <a:lnTo>
                      <a:pt x="129" y="91"/>
                    </a:lnTo>
                    <a:lnTo>
                      <a:pt x="131" y="89"/>
                    </a:lnTo>
                    <a:lnTo>
                      <a:pt x="134" y="89"/>
                    </a:lnTo>
                    <a:lnTo>
                      <a:pt x="134" y="91"/>
                    </a:lnTo>
                    <a:lnTo>
                      <a:pt x="134" y="91"/>
                    </a:lnTo>
                    <a:lnTo>
                      <a:pt x="134" y="91"/>
                    </a:lnTo>
                    <a:lnTo>
                      <a:pt x="136" y="93"/>
                    </a:lnTo>
                    <a:lnTo>
                      <a:pt x="132" y="109"/>
                    </a:lnTo>
                    <a:lnTo>
                      <a:pt x="115" y="118"/>
                    </a:lnTo>
                    <a:lnTo>
                      <a:pt x="115" y="128"/>
                    </a:lnTo>
                    <a:lnTo>
                      <a:pt x="113" y="130"/>
                    </a:lnTo>
                    <a:lnTo>
                      <a:pt x="113" y="130"/>
                    </a:lnTo>
                    <a:lnTo>
                      <a:pt x="116" y="159"/>
                    </a:lnTo>
                    <a:lnTo>
                      <a:pt x="116" y="160"/>
                    </a:lnTo>
                    <a:lnTo>
                      <a:pt x="111" y="162"/>
                    </a:lnTo>
                    <a:lnTo>
                      <a:pt x="106" y="168"/>
                    </a:lnTo>
                    <a:lnTo>
                      <a:pt x="104" y="175"/>
                    </a:lnTo>
                    <a:lnTo>
                      <a:pt x="97" y="182"/>
                    </a:lnTo>
                    <a:lnTo>
                      <a:pt x="90" y="221"/>
                    </a:lnTo>
                    <a:lnTo>
                      <a:pt x="88" y="223"/>
                    </a:lnTo>
                    <a:lnTo>
                      <a:pt x="88" y="225"/>
                    </a:lnTo>
                    <a:lnTo>
                      <a:pt x="86" y="228"/>
                    </a:lnTo>
                    <a:lnTo>
                      <a:pt x="82" y="235"/>
                    </a:lnTo>
                    <a:lnTo>
                      <a:pt x="82" y="237"/>
                    </a:lnTo>
                    <a:lnTo>
                      <a:pt x="81" y="248"/>
                    </a:lnTo>
                    <a:lnTo>
                      <a:pt x="82" y="252"/>
                    </a:lnTo>
                    <a:lnTo>
                      <a:pt x="82" y="260"/>
                    </a:lnTo>
                    <a:lnTo>
                      <a:pt x="88" y="269"/>
                    </a:lnTo>
                    <a:lnTo>
                      <a:pt x="88" y="275"/>
                    </a:lnTo>
                    <a:lnTo>
                      <a:pt x="90" y="278"/>
                    </a:lnTo>
                    <a:lnTo>
                      <a:pt x="91" y="294"/>
                    </a:lnTo>
                    <a:lnTo>
                      <a:pt x="86" y="303"/>
                    </a:lnTo>
                    <a:lnTo>
                      <a:pt x="84" y="312"/>
                    </a:lnTo>
                    <a:lnTo>
                      <a:pt x="84" y="314"/>
                    </a:lnTo>
                    <a:lnTo>
                      <a:pt x="81" y="316"/>
                    </a:lnTo>
                    <a:lnTo>
                      <a:pt x="82" y="332"/>
                    </a:lnTo>
                    <a:lnTo>
                      <a:pt x="79" y="334"/>
                    </a:lnTo>
                    <a:lnTo>
                      <a:pt x="79" y="335"/>
                    </a:lnTo>
                    <a:lnTo>
                      <a:pt x="77" y="337"/>
                    </a:lnTo>
                    <a:lnTo>
                      <a:pt x="77" y="337"/>
                    </a:lnTo>
                    <a:lnTo>
                      <a:pt x="75" y="337"/>
                    </a:lnTo>
                    <a:lnTo>
                      <a:pt x="74" y="339"/>
                    </a:lnTo>
                    <a:lnTo>
                      <a:pt x="72" y="341"/>
                    </a:lnTo>
                    <a:lnTo>
                      <a:pt x="72" y="375"/>
                    </a:lnTo>
                    <a:lnTo>
                      <a:pt x="72" y="378"/>
                    </a:lnTo>
                    <a:lnTo>
                      <a:pt x="72" y="382"/>
                    </a:lnTo>
                    <a:lnTo>
                      <a:pt x="72" y="385"/>
                    </a:lnTo>
                    <a:lnTo>
                      <a:pt x="68" y="389"/>
                    </a:lnTo>
                    <a:lnTo>
                      <a:pt x="57" y="439"/>
                    </a:lnTo>
                    <a:lnTo>
                      <a:pt x="59" y="444"/>
                    </a:lnTo>
                    <a:lnTo>
                      <a:pt x="61" y="446"/>
                    </a:lnTo>
                    <a:lnTo>
                      <a:pt x="61" y="448"/>
                    </a:lnTo>
                    <a:lnTo>
                      <a:pt x="61" y="453"/>
                    </a:lnTo>
                    <a:lnTo>
                      <a:pt x="57" y="459"/>
                    </a:lnTo>
                    <a:lnTo>
                      <a:pt x="56" y="475"/>
                    </a:lnTo>
                    <a:lnTo>
                      <a:pt x="57" y="477"/>
                    </a:lnTo>
                    <a:lnTo>
                      <a:pt x="57" y="478"/>
                    </a:lnTo>
                    <a:lnTo>
                      <a:pt x="57" y="489"/>
                    </a:lnTo>
                    <a:lnTo>
                      <a:pt x="59" y="493"/>
                    </a:lnTo>
                    <a:lnTo>
                      <a:pt x="61" y="496"/>
                    </a:lnTo>
                    <a:lnTo>
                      <a:pt x="59" y="505"/>
                    </a:lnTo>
                    <a:lnTo>
                      <a:pt x="59" y="507"/>
                    </a:lnTo>
                    <a:lnTo>
                      <a:pt x="61" y="507"/>
                    </a:lnTo>
                    <a:lnTo>
                      <a:pt x="66" y="507"/>
                    </a:lnTo>
                    <a:lnTo>
                      <a:pt x="68" y="510"/>
                    </a:lnTo>
                    <a:lnTo>
                      <a:pt x="68" y="512"/>
                    </a:lnTo>
                    <a:lnTo>
                      <a:pt x="68" y="516"/>
                    </a:lnTo>
                    <a:lnTo>
                      <a:pt x="59" y="514"/>
                    </a:lnTo>
                    <a:lnTo>
                      <a:pt x="57" y="516"/>
                    </a:lnTo>
                    <a:lnTo>
                      <a:pt x="59" y="518"/>
                    </a:lnTo>
                    <a:lnTo>
                      <a:pt x="63" y="519"/>
                    </a:lnTo>
                    <a:lnTo>
                      <a:pt x="66" y="523"/>
                    </a:lnTo>
                    <a:lnTo>
                      <a:pt x="66" y="527"/>
                    </a:lnTo>
                    <a:lnTo>
                      <a:pt x="63" y="530"/>
                    </a:lnTo>
                    <a:lnTo>
                      <a:pt x="63" y="559"/>
                    </a:lnTo>
                    <a:lnTo>
                      <a:pt x="50" y="584"/>
                    </a:lnTo>
                    <a:lnTo>
                      <a:pt x="50" y="589"/>
                    </a:lnTo>
                    <a:lnTo>
                      <a:pt x="50" y="589"/>
                    </a:lnTo>
                    <a:lnTo>
                      <a:pt x="50" y="591"/>
                    </a:lnTo>
                    <a:lnTo>
                      <a:pt x="50" y="593"/>
                    </a:lnTo>
                    <a:lnTo>
                      <a:pt x="52" y="596"/>
                    </a:lnTo>
                    <a:lnTo>
                      <a:pt x="52" y="598"/>
                    </a:lnTo>
                    <a:lnTo>
                      <a:pt x="50" y="600"/>
                    </a:lnTo>
                    <a:lnTo>
                      <a:pt x="49" y="612"/>
                    </a:lnTo>
                    <a:lnTo>
                      <a:pt x="41" y="623"/>
                    </a:lnTo>
                    <a:lnTo>
                      <a:pt x="40" y="625"/>
                    </a:lnTo>
                    <a:lnTo>
                      <a:pt x="36" y="653"/>
                    </a:lnTo>
                    <a:lnTo>
                      <a:pt x="36" y="653"/>
                    </a:lnTo>
                    <a:lnTo>
                      <a:pt x="38" y="659"/>
                    </a:lnTo>
                    <a:lnTo>
                      <a:pt x="38" y="660"/>
                    </a:lnTo>
                    <a:lnTo>
                      <a:pt x="40" y="659"/>
                    </a:lnTo>
                    <a:lnTo>
                      <a:pt x="40" y="657"/>
                    </a:lnTo>
                    <a:lnTo>
                      <a:pt x="43" y="655"/>
                    </a:lnTo>
                    <a:lnTo>
                      <a:pt x="49" y="657"/>
                    </a:lnTo>
                    <a:lnTo>
                      <a:pt x="50" y="655"/>
                    </a:lnTo>
                    <a:lnTo>
                      <a:pt x="50" y="655"/>
                    </a:lnTo>
                    <a:lnTo>
                      <a:pt x="50" y="655"/>
                    </a:lnTo>
                    <a:lnTo>
                      <a:pt x="52" y="655"/>
                    </a:lnTo>
                    <a:lnTo>
                      <a:pt x="52" y="684"/>
                    </a:lnTo>
                    <a:lnTo>
                      <a:pt x="56" y="689"/>
                    </a:lnTo>
                    <a:lnTo>
                      <a:pt x="59" y="691"/>
                    </a:lnTo>
                    <a:lnTo>
                      <a:pt x="77" y="691"/>
                    </a:lnTo>
                    <a:lnTo>
                      <a:pt x="77" y="691"/>
                    </a:lnTo>
                    <a:lnTo>
                      <a:pt x="93" y="691"/>
                    </a:lnTo>
                    <a:lnTo>
                      <a:pt x="116" y="698"/>
                    </a:lnTo>
                    <a:lnTo>
                      <a:pt x="116" y="698"/>
                    </a:lnTo>
                    <a:lnTo>
                      <a:pt x="115" y="698"/>
                    </a:lnTo>
                    <a:lnTo>
                      <a:pt x="107" y="698"/>
                    </a:lnTo>
                    <a:lnTo>
                      <a:pt x="104" y="696"/>
                    </a:lnTo>
                    <a:lnTo>
                      <a:pt x="102" y="694"/>
                    </a:lnTo>
                    <a:lnTo>
                      <a:pt x="99" y="698"/>
                    </a:lnTo>
                    <a:lnTo>
                      <a:pt x="97" y="702"/>
                    </a:lnTo>
                    <a:lnTo>
                      <a:pt x="91" y="702"/>
                    </a:lnTo>
                    <a:lnTo>
                      <a:pt x="84" y="707"/>
                    </a:lnTo>
                    <a:lnTo>
                      <a:pt x="82" y="707"/>
                    </a:lnTo>
                    <a:lnTo>
                      <a:pt x="81" y="707"/>
                    </a:lnTo>
                    <a:lnTo>
                      <a:pt x="75" y="709"/>
                    </a:lnTo>
                    <a:lnTo>
                      <a:pt x="74" y="735"/>
                    </a:lnTo>
                    <a:lnTo>
                      <a:pt x="72" y="737"/>
                    </a:lnTo>
                    <a:lnTo>
                      <a:pt x="72" y="737"/>
                    </a:lnTo>
                    <a:lnTo>
                      <a:pt x="70" y="737"/>
                    </a:lnTo>
                    <a:lnTo>
                      <a:pt x="66" y="735"/>
                    </a:lnTo>
                    <a:lnTo>
                      <a:pt x="63" y="735"/>
                    </a:lnTo>
                    <a:lnTo>
                      <a:pt x="57" y="734"/>
                    </a:lnTo>
                    <a:lnTo>
                      <a:pt x="54" y="730"/>
                    </a:lnTo>
                    <a:lnTo>
                      <a:pt x="52" y="727"/>
                    </a:lnTo>
                    <a:lnTo>
                      <a:pt x="52" y="725"/>
                    </a:lnTo>
                    <a:lnTo>
                      <a:pt x="56" y="723"/>
                    </a:lnTo>
                    <a:lnTo>
                      <a:pt x="56" y="725"/>
                    </a:lnTo>
                    <a:lnTo>
                      <a:pt x="56" y="727"/>
                    </a:lnTo>
                    <a:lnTo>
                      <a:pt x="57" y="727"/>
                    </a:lnTo>
                    <a:lnTo>
                      <a:pt x="59" y="723"/>
                    </a:lnTo>
                    <a:lnTo>
                      <a:pt x="61" y="723"/>
                    </a:lnTo>
                    <a:lnTo>
                      <a:pt x="65" y="721"/>
                    </a:lnTo>
                    <a:lnTo>
                      <a:pt x="70" y="718"/>
                    </a:lnTo>
                    <a:lnTo>
                      <a:pt x="72" y="712"/>
                    </a:lnTo>
                    <a:lnTo>
                      <a:pt x="68" y="710"/>
                    </a:lnTo>
                    <a:lnTo>
                      <a:pt x="65" y="705"/>
                    </a:lnTo>
                    <a:lnTo>
                      <a:pt x="56" y="703"/>
                    </a:lnTo>
                    <a:lnTo>
                      <a:pt x="52" y="705"/>
                    </a:lnTo>
                    <a:lnTo>
                      <a:pt x="50" y="707"/>
                    </a:lnTo>
                    <a:lnTo>
                      <a:pt x="50" y="705"/>
                    </a:lnTo>
                    <a:lnTo>
                      <a:pt x="50" y="703"/>
                    </a:lnTo>
                    <a:lnTo>
                      <a:pt x="45" y="703"/>
                    </a:lnTo>
                    <a:lnTo>
                      <a:pt x="45" y="702"/>
                    </a:lnTo>
                    <a:lnTo>
                      <a:pt x="47" y="702"/>
                    </a:lnTo>
                    <a:lnTo>
                      <a:pt x="50" y="700"/>
                    </a:lnTo>
                    <a:lnTo>
                      <a:pt x="50" y="696"/>
                    </a:lnTo>
                    <a:lnTo>
                      <a:pt x="50" y="693"/>
                    </a:lnTo>
                    <a:lnTo>
                      <a:pt x="47" y="689"/>
                    </a:lnTo>
                    <a:lnTo>
                      <a:pt x="50" y="687"/>
                    </a:lnTo>
                    <a:lnTo>
                      <a:pt x="50" y="684"/>
                    </a:lnTo>
                    <a:lnTo>
                      <a:pt x="43" y="677"/>
                    </a:lnTo>
                    <a:lnTo>
                      <a:pt x="40" y="675"/>
                    </a:lnTo>
                    <a:lnTo>
                      <a:pt x="38" y="675"/>
                    </a:lnTo>
                    <a:lnTo>
                      <a:pt x="47" y="682"/>
                    </a:lnTo>
                    <a:lnTo>
                      <a:pt x="47" y="684"/>
                    </a:lnTo>
                    <a:lnTo>
                      <a:pt x="45" y="684"/>
                    </a:lnTo>
                    <a:lnTo>
                      <a:pt x="43" y="684"/>
                    </a:lnTo>
                    <a:lnTo>
                      <a:pt x="41" y="680"/>
                    </a:lnTo>
                    <a:lnTo>
                      <a:pt x="40" y="682"/>
                    </a:lnTo>
                    <a:lnTo>
                      <a:pt x="41" y="685"/>
                    </a:lnTo>
                    <a:lnTo>
                      <a:pt x="41" y="687"/>
                    </a:lnTo>
                    <a:lnTo>
                      <a:pt x="40" y="689"/>
                    </a:lnTo>
                    <a:lnTo>
                      <a:pt x="36" y="678"/>
                    </a:lnTo>
                    <a:lnTo>
                      <a:pt x="38" y="684"/>
                    </a:lnTo>
                    <a:lnTo>
                      <a:pt x="38" y="691"/>
                    </a:lnTo>
                    <a:lnTo>
                      <a:pt x="36" y="691"/>
                    </a:lnTo>
                    <a:lnTo>
                      <a:pt x="34" y="689"/>
                    </a:lnTo>
                    <a:lnTo>
                      <a:pt x="32" y="687"/>
                    </a:lnTo>
                    <a:lnTo>
                      <a:pt x="34" y="680"/>
                    </a:lnTo>
                    <a:lnTo>
                      <a:pt x="31" y="675"/>
                    </a:lnTo>
                    <a:lnTo>
                      <a:pt x="24" y="666"/>
                    </a:lnTo>
                    <a:lnTo>
                      <a:pt x="24" y="662"/>
                    </a:lnTo>
                    <a:lnTo>
                      <a:pt x="24" y="660"/>
                    </a:lnTo>
                    <a:lnTo>
                      <a:pt x="27" y="660"/>
                    </a:lnTo>
                    <a:lnTo>
                      <a:pt x="31" y="660"/>
                    </a:lnTo>
                    <a:lnTo>
                      <a:pt x="31" y="657"/>
                    </a:lnTo>
                    <a:lnTo>
                      <a:pt x="29" y="655"/>
                    </a:lnTo>
                    <a:lnTo>
                      <a:pt x="29" y="657"/>
                    </a:lnTo>
                    <a:lnTo>
                      <a:pt x="27" y="657"/>
                    </a:lnTo>
                    <a:lnTo>
                      <a:pt x="25" y="655"/>
                    </a:lnTo>
                    <a:lnTo>
                      <a:pt x="24" y="653"/>
                    </a:lnTo>
                    <a:lnTo>
                      <a:pt x="25" y="652"/>
                    </a:lnTo>
                    <a:lnTo>
                      <a:pt x="27" y="652"/>
                    </a:lnTo>
                    <a:lnTo>
                      <a:pt x="25" y="650"/>
                    </a:lnTo>
                    <a:lnTo>
                      <a:pt x="22" y="648"/>
                    </a:lnTo>
                    <a:lnTo>
                      <a:pt x="20" y="648"/>
                    </a:lnTo>
                    <a:lnTo>
                      <a:pt x="18" y="646"/>
                    </a:lnTo>
                    <a:lnTo>
                      <a:pt x="16" y="643"/>
                    </a:lnTo>
                    <a:lnTo>
                      <a:pt x="20" y="639"/>
                    </a:lnTo>
                    <a:lnTo>
                      <a:pt x="22" y="634"/>
                    </a:lnTo>
                    <a:lnTo>
                      <a:pt x="22" y="632"/>
                    </a:lnTo>
                    <a:lnTo>
                      <a:pt x="22" y="630"/>
                    </a:lnTo>
                    <a:lnTo>
                      <a:pt x="25" y="628"/>
                    </a:lnTo>
                    <a:lnTo>
                      <a:pt x="27" y="628"/>
                    </a:lnTo>
                    <a:lnTo>
                      <a:pt x="29" y="628"/>
                    </a:lnTo>
                    <a:lnTo>
                      <a:pt x="29" y="628"/>
                    </a:lnTo>
                    <a:lnTo>
                      <a:pt x="27" y="627"/>
                    </a:lnTo>
                    <a:lnTo>
                      <a:pt x="27" y="625"/>
                    </a:lnTo>
                    <a:lnTo>
                      <a:pt x="29" y="616"/>
                    </a:lnTo>
                    <a:lnTo>
                      <a:pt x="27" y="618"/>
                    </a:lnTo>
                    <a:lnTo>
                      <a:pt x="25" y="619"/>
                    </a:lnTo>
                    <a:lnTo>
                      <a:pt x="24" y="625"/>
                    </a:lnTo>
                    <a:lnTo>
                      <a:pt x="22" y="625"/>
                    </a:lnTo>
                    <a:lnTo>
                      <a:pt x="20" y="609"/>
                    </a:lnTo>
                    <a:lnTo>
                      <a:pt x="22" y="607"/>
                    </a:lnTo>
                    <a:lnTo>
                      <a:pt x="24" y="607"/>
                    </a:lnTo>
                    <a:lnTo>
                      <a:pt x="22" y="605"/>
                    </a:lnTo>
                    <a:lnTo>
                      <a:pt x="22" y="602"/>
                    </a:lnTo>
                    <a:lnTo>
                      <a:pt x="27" y="602"/>
                    </a:lnTo>
                    <a:lnTo>
                      <a:pt x="29" y="603"/>
                    </a:lnTo>
                    <a:lnTo>
                      <a:pt x="27" y="598"/>
                    </a:lnTo>
                    <a:lnTo>
                      <a:pt x="27" y="600"/>
                    </a:lnTo>
                    <a:lnTo>
                      <a:pt x="20" y="602"/>
                    </a:lnTo>
                    <a:lnTo>
                      <a:pt x="20" y="600"/>
                    </a:lnTo>
                    <a:lnTo>
                      <a:pt x="18" y="596"/>
                    </a:lnTo>
                    <a:lnTo>
                      <a:pt x="18" y="594"/>
                    </a:lnTo>
                    <a:lnTo>
                      <a:pt x="18" y="589"/>
                    </a:lnTo>
                    <a:lnTo>
                      <a:pt x="20" y="589"/>
                    </a:lnTo>
                    <a:lnTo>
                      <a:pt x="24" y="594"/>
                    </a:lnTo>
                    <a:lnTo>
                      <a:pt x="22" y="591"/>
                    </a:lnTo>
                    <a:lnTo>
                      <a:pt x="24" y="591"/>
                    </a:lnTo>
                    <a:lnTo>
                      <a:pt x="29" y="591"/>
                    </a:lnTo>
                    <a:lnTo>
                      <a:pt x="34" y="594"/>
                    </a:lnTo>
                    <a:lnTo>
                      <a:pt x="36" y="594"/>
                    </a:lnTo>
                    <a:lnTo>
                      <a:pt x="32" y="593"/>
                    </a:lnTo>
                    <a:lnTo>
                      <a:pt x="29" y="582"/>
                    </a:lnTo>
                    <a:lnTo>
                      <a:pt x="29" y="584"/>
                    </a:lnTo>
                    <a:lnTo>
                      <a:pt x="24" y="584"/>
                    </a:lnTo>
                    <a:lnTo>
                      <a:pt x="24" y="582"/>
                    </a:lnTo>
                    <a:lnTo>
                      <a:pt x="24" y="582"/>
                    </a:lnTo>
                    <a:lnTo>
                      <a:pt x="25" y="580"/>
                    </a:lnTo>
                    <a:lnTo>
                      <a:pt x="18" y="577"/>
                    </a:lnTo>
                    <a:lnTo>
                      <a:pt x="18" y="577"/>
                    </a:lnTo>
                    <a:lnTo>
                      <a:pt x="20" y="573"/>
                    </a:lnTo>
                    <a:lnTo>
                      <a:pt x="25" y="571"/>
                    </a:lnTo>
                    <a:lnTo>
                      <a:pt x="24" y="569"/>
                    </a:lnTo>
                    <a:lnTo>
                      <a:pt x="25" y="566"/>
                    </a:lnTo>
                    <a:lnTo>
                      <a:pt x="25" y="566"/>
                    </a:lnTo>
                    <a:lnTo>
                      <a:pt x="24" y="562"/>
                    </a:lnTo>
                    <a:lnTo>
                      <a:pt x="20" y="559"/>
                    </a:lnTo>
                    <a:lnTo>
                      <a:pt x="18" y="560"/>
                    </a:lnTo>
                    <a:lnTo>
                      <a:pt x="16" y="562"/>
                    </a:lnTo>
                    <a:lnTo>
                      <a:pt x="15" y="562"/>
                    </a:lnTo>
                    <a:lnTo>
                      <a:pt x="11" y="560"/>
                    </a:lnTo>
                    <a:lnTo>
                      <a:pt x="7" y="557"/>
                    </a:lnTo>
                    <a:lnTo>
                      <a:pt x="2" y="559"/>
                    </a:lnTo>
                    <a:lnTo>
                      <a:pt x="4" y="560"/>
                    </a:lnTo>
                    <a:lnTo>
                      <a:pt x="4" y="562"/>
                    </a:lnTo>
                    <a:lnTo>
                      <a:pt x="4" y="566"/>
                    </a:lnTo>
                    <a:lnTo>
                      <a:pt x="0" y="564"/>
                    </a:lnTo>
                    <a:lnTo>
                      <a:pt x="0" y="562"/>
                    </a:lnTo>
                    <a:lnTo>
                      <a:pt x="2" y="555"/>
                    </a:lnTo>
                    <a:lnTo>
                      <a:pt x="6" y="553"/>
                    </a:lnTo>
                    <a:lnTo>
                      <a:pt x="9" y="550"/>
                    </a:lnTo>
                    <a:lnTo>
                      <a:pt x="11" y="550"/>
                    </a:lnTo>
                    <a:lnTo>
                      <a:pt x="13" y="548"/>
                    </a:lnTo>
                    <a:lnTo>
                      <a:pt x="13" y="546"/>
                    </a:lnTo>
                    <a:lnTo>
                      <a:pt x="13" y="544"/>
                    </a:lnTo>
                    <a:lnTo>
                      <a:pt x="11" y="546"/>
                    </a:lnTo>
                    <a:lnTo>
                      <a:pt x="9" y="544"/>
                    </a:lnTo>
                    <a:lnTo>
                      <a:pt x="9" y="543"/>
                    </a:lnTo>
                    <a:lnTo>
                      <a:pt x="9" y="541"/>
                    </a:lnTo>
                    <a:lnTo>
                      <a:pt x="15" y="539"/>
                    </a:lnTo>
                    <a:lnTo>
                      <a:pt x="16" y="541"/>
                    </a:lnTo>
                    <a:lnTo>
                      <a:pt x="18" y="541"/>
                    </a:lnTo>
                    <a:lnTo>
                      <a:pt x="20" y="539"/>
                    </a:lnTo>
                    <a:lnTo>
                      <a:pt x="24" y="543"/>
                    </a:lnTo>
                    <a:lnTo>
                      <a:pt x="24" y="544"/>
                    </a:lnTo>
                    <a:lnTo>
                      <a:pt x="24" y="546"/>
                    </a:lnTo>
                    <a:lnTo>
                      <a:pt x="25" y="544"/>
                    </a:lnTo>
                    <a:lnTo>
                      <a:pt x="25" y="546"/>
                    </a:lnTo>
                    <a:lnTo>
                      <a:pt x="22" y="550"/>
                    </a:lnTo>
                    <a:lnTo>
                      <a:pt x="24" y="553"/>
                    </a:lnTo>
                    <a:lnTo>
                      <a:pt x="25" y="553"/>
                    </a:lnTo>
                    <a:lnTo>
                      <a:pt x="27" y="550"/>
                    </a:lnTo>
                    <a:lnTo>
                      <a:pt x="29" y="548"/>
                    </a:lnTo>
                    <a:lnTo>
                      <a:pt x="29" y="555"/>
                    </a:lnTo>
                    <a:lnTo>
                      <a:pt x="29" y="555"/>
                    </a:lnTo>
                    <a:lnTo>
                      <a:pt x="31" y="553"/>
                    </a:lnTo>
                    <a:lnTo>
                      <a:pt x="32" y="550"/>
                    </a:lnTo>
                    <a:lnTo>
                      <a:pt x="34" y="548"/>
                    </a:lnTo>
                    <a:lnTo>
                      <a:pt x="34" y="548"/>
                    </a:lnTo>
                    <a:lnTo>
                      <a:pt x="38" y="541"/>
                    </a:lnTo>
                    <a:lnTo>
                      <a:pt x="38" y="539"/>
                    </a:lnTo>
                    <a:lnTo>
                      <a:pt x="36" y="541"/>
                    </a:lnTo>
                    <a:lnTo>
                      <a:pt x="32" y="548"/>
                    </a:lnTo>
                    <a:lnTo>
                      <a:pt x="32" y="541"/>
                    </a:lnTo>
                    <a:lnTo>
                      <a:pt x="34" y="539"/>
                    </a:lnTo>
                    <a:lnTo>
                      <a:pt x="34" y="539"/>
                    </a:lnTo>
                    <a:lnTo>
                      <a:pt x="38" y="537"/>
                    </a:lnTo>
                    <a:lnTo>
                      <a:pt x="36" y="537"/>
                    </a:lnTo>
                    <a:lnTo>
                      <a:pt x="36" y="535"/>
                    </a:lnTo>
                    <a:lnTo>
                      <a:pt x="36" y="534"/>
                    </a:lnTo>
                    <a:lnTo>
                      <a:pt x="40" y="534"/>
                    </a:lnTo>
                    <a:lnTo>
                      <a:pt x="40" y="532"/>
                    </a:lnTo>
                    <a:lnTo>
                      <a:pt x="36" y="532"/>
                    </a:lnTo>
                    <a:lnTo>
                      <a:pt x="32" y="534"/>
                    </a:lnTo>
                    <a:lnTo>
                      <a:pt x="34" y="532"/>
                    </a:lnTo>
                    <a:lnTo>
                      <a:pt x="36" y="528"/>
                    </a:lnTo>
                    <a:lnTo>
                      <a:pt x="38" y="528"/>
                    </a:lnTo>
                    <a:lnTo>
                      <a:pt x="43" y="532"/>
                    </a:lnTo>
                    <a:lnTo>
                      <a:pt x="45" y="532"/>
                    </a:lnTo>
                    <a:lnTo>
                      <a:pt x="45" y="528"/>
                    </a:lnTo>
                    <a:lnTo>
                      <a:pt x="41" y="528"/>
                    </a:lnTo>
                    <a:lnTo>
                      <a:pt x="38" y="527"/>
                    </a:lnTo>
                    <a:lnTo>
                      <a:pt x="36" y="527"/>
                    </a:lnTo>
                    <a:lnTo>
                      <a:pt x="36" y="521"/>
                    </a:lnTo>
                    <a:lnTo>
                      <a:pt x="38" y="521"/>
                    </a:lnTo>
                    <a:lnTo>
                      <a:pt x="41" y="521"/>
                    </a:lnTo>
                    <a:lnTo>
                      <a:pt x="43" y="519"/>
                    </a:lnTo>
                    <a:lnTo>
                      <a:pt x="47" y="516"/>
                    </a:lnTo>
                    <a:lnTo>
                      <a:pt x="47" y="514"/>
                    </a:lnTo>
                    <a:lnTo>
                      <a:pt x="47" y="510"/>
                    </a:lnTo>
                    <a:lnTo>
                      <a:pt x="45" y="507"/>
                    </a:lnTo>
                    <a:lnTo>
                      <a:pt x="43" y="507"/>
                    </a:lnTo>
                    <a:lnTo>
                      <a:pt x="41" y="503"/>
                    </a:lnTo>
                    <a:lnTo>
                      <a:pt x="38" y="503"/>
                    </a:lnTo>
                    <a:lnTo>
                      <a:pt x="38" y="502"/>
                    </a:lnTo>
                    <a:lnTo>
                      <a:pt x="38" y="502"/>
                    </a:lnTo>
                    <a:lnTo>
                      <a:pt x="38" y="502"/>
                    </a:lnTo>
                    <a:lnTo>
                      <a:pt x="38" y="500"/>
                    </a:lnTo>
                    <a:lnTo>
                      <a:pt x="40" y="498"/>
                    </a:lnTo>
                    <a:lnTo>
                      <a:pt x="41" y="494"/>
                    </a:lnTo>
                    <a:lnTo>
                      <a:pt x="43" y="493"/>
                    </a:lnTo>
                    <a:lnTo>
                      <a:pt x="43" y="491"/>
                    </a:lnTo>
                    <a:lnTo>
                      <a:pt x="43" y="489"/>
                    </a:lnTo>
                    <a:lnTo>
                      <a:pt x="41" y="487"/>
                    </a:lnTo>
                    <a:lnTo>
                      <a:pt x="41" y="485"/>
                    </a:lnTo>
                    <a:lnTo>
                      <a:pt x="41" y="484"/>
                    </a:lnTo>
                    <a:lnTo>
                      <a:pt x="41" y="482"/>
                    </a:lnTo>
                    <a:lnTo>
                      <a:pt x="43" y="482"/>
                    </a:lnTo>
                    <a:lnTo>
                      <a:pt x="45" y="477"/>
                    </a:lnTo>
                    <a:lnTo>
                      <a:pt x="45" y="469"/>
                    </a:lnTo>
                    <a:lnTo>
                      <a:pt x="47" y="466"/>
                    </a:lnTo>
                    <a:lnTo>
                      <a:pt x="49" y="468"/>
                    </a:lnTo>
                    <a:lnTo>
                      <a:pt x="47" y="466"/>
                    </a:lnTo>
                    <a:lnTo>
                      <a:pt x="45" y="462"/>
                    </a:lnTo>
                    <a:lnTo>
                      <a:pt x="47" y="460"/>
                    </a:lnTo>
                    <a:lnTo>
                      <a:pt x="49" y="460"/>
                    </a:lnTo>
                    <a:lnTo>
                      <a:pt x="50" y="464"/>
                    </a:lnTo>
                    <a:lnTo>
                      <a:pt x="50" y="455"/>
                    </a:lnTo>
                    <a:lnTo>
                      <a:pt x="49" y="455"/>
                    </a:lnTo>
                    <a:lnTo>
                      <a:pt x="45" y="453"/>
                    </a:lnTo>
                    <a:lnTo>
                      <a:pt x="47" y="452"/>
                    </a:lnTo>
                    <a:lnTo>
                      <a:pt x="49" y="450"/>
                    </a:lnTo>
                    <a:lnTo>
                      <a:pt x="50" y="448"/>
                    </a:lnTo>
                    <a:lnTo>
                      <a:pt x="52" y="446"/>
                    </a:lnTo>
                    <a:lnTo>
                      <a:pt x="52" y="446"/>
                    </a:lnTo>
                    <a:lnTo>
                      <a:pt x="50" y="448"/>
                    </a:lnTo>
                    <a:lnTo>
                      <a:pt x="49" y="448"/>
                    </a:lnTo>
                    <a:lnTo>
                      <a:pt x="47" y="446"/>
                    </a:lnTo>
                    <a:lnTo>
                      <a:pt x="45" y="444"/>
                    </a:lnTo>
                    <a:lnTo>
                      <a:pt x="41" y="444"/>
                    </a:lnTo>
                    <a:lnTo>
                      <a:pt x="40" y="444"/>
                    </a:lnTo>
                    <a:lnTo>
                      <a:pt x="40" y="448"/>
                    </a:lnTo>
                    <a:lnTo>
                      <a:pt x="38" y="448"/>
                    </a:lnTo>
                    <a:lnTo>
                      <a:pt x="34" y="450"/>
                    </a:lnTo>
                    <a:lnTo>
                      <a:pt x="31" y="448"/>
                    </a:lnTo>
                    <a:lnTo>
                      <a:pt x="31" y="446"/>
                    </a:lnTo>
                    <a:lnTo>
                      <a:pt x="31" y="444"/>
                    </a:lnTo>
                    <a:lnTo>
                      <a:pt x="29" y="444"/>
                    </a:lnTo>
                    <a:lnTo>
                      <a:pt x="27" y="441"/>
                    </a:lnTo>
                    <a:lnTo>
                      <a:pt x="29" y="427"/>
                    </a:lnTo>
                    <a:lnTo>
                      <a:pt x="31" y="423"/>
                    </a:lnTo>
                    <a:lnTo>
                      <a:pt x="31" y="410"/>
                    </a:lnTo>
                    <a:lnTo>
                      <a:pt x="32" y="409"/>
                    </a:lnTo>
                    <a:lnTo>
                      <a:pt x="34" y="407"/>
                    </a:lnTo>
                    <a:lnTo>
                      <a:pt x="34" y="405"/>
                    </a:lnTo>
                    <a:lnTo>
                      <a:pt x="36" y="402"/>
                    </a:lnTo>
                    <a:lnTo>
                      <a:pt x="34" y="387"/>
                    </a:lnTo>
                    <a:lnTo>
                      <a:pt x="32" y="382"/>
                    </a:lnTo>
                    <a:lnTo>
                      <a:pt x="32" y="382"/>
                    </a:lnTo>
                    <a:lnTo>
                      <a:pt x="32" y="382"/>
                    </a:lnTo>
                    <a:lnTo>
                      <a:pt x="32" y="375"/>
                    </a:lnTo>
                    <a:lnTo>
                      <a:pt x="31" y="368"/>
                    </a:lnTo>
                    <a:lnTo>
                      <a:pt x="31" y="357"/>
                    </a:lnTo>
                    <a:lnTo>
                      <a:pt x="34" y="353"/>
                    </a:lnTo>
                    <a:lnTo>
                      <a:pt x="36" y="355"/>
                    </a:lnTo>
                    <a:lnTo>
                      <a:pt x="38" y="353"/>
                    </a:lnTo>
                    <a:lnTo>
                      <a:pt x="38" y="344"/>
                    </a:lnTo>
                    <a:lnTo>
                      <a:pt x="40" y="343"/>
                    </a:lnTo>
                    <a:lnTo>
                      <a:pt x="41" y="344"/>
                    </a:lnTo>
                    <a:lnTo>
                      <a:pt x="41" y="344"/>
                    </a:lnTo>
                    <a:lnTo>
                      <a:pt x="57" y="302"/>
                    </a:lnTo>
                    <a:lnTo>
                      <a:pt x="57" y="298"/>
                    </a:lnTo>
                    <a:lnTo>
                      <a:pt x="57" y="298"/>
                    </a:lnTo>
                    <a:lnTo>
                      <a:pt x="59" y="289"/>
                    </a:lnTo>
                    <a:lnTo>
                      <a:pt x="63" y="287"/>
                    </a:lnTo>
                    <a:lnTo>
                      <a:pt x="63" y="277"/>
                    </a:lnTo>
                    <a:lnTo>
                      <a:pt x="65" y="269"/>
                    </a:lnTo>
                    <a:lnTo>
                      <a:pt x="63" y="221"/>
                    </a:lnTo>
                    <a:lnTo>
                      <a:pt x="66" y="219"/>
                    </a:lnTo>
                    <a:lnTo>
                      <a:pt x="66" y="214"/>
                    </a:lnTo>
                    <a:lnTo>
                      <a:pt x="65" y="202"/>
                    </a:lnTo>
                    <a:lnTo>
                      <a:pt x="65" y="200"/>
                    </a:lnTo>
                    <a:lnTo>
                      <a:pt x="68" y="193"/>
                    </a:lnTo>
                    <a:lnTo>
                      <a:pt x="72" y="177"/>
                    </a:lnTo>
                    <a:lnTo>
                      <a:pt x="74" y="171"/>
                    </a:lnTo>
                    <a:lnTo>
                      <a:pt x="74" y="166"/>
                    </a:lnTo>
                    <a:lnTo>
                      <a:pt x="75" y="162"/>
                    </a:lnTo>
                    <a:lnTo>
                      <a:pt x="77" y="148"/>
                    </a:lnTo>
                    <a:lnTo>
                      <a:pt x="77" y="141"/>
                    </a:lnTo>
                    <a:lnTo>
                      <a:pt x="79" y="135"/>
                    </a:lnTo>
                    <a:lnTo>
                      <a:pt x="81" y="134"/>
                    </a:lnTo>
                    <a:lnTo>
                      <a:pt x="81" y="102"/>
                    </a:lnTo>
                    <a:lnTo>
                      <a:pt x="79" y="100"/>
                    </a:lnTo>
                    <a:lnTo>
                      <a:pt x="81" y="94"/>
                    </a:lnTo>
                    <a:lnTo>
                      <a:pt x="82" y="93"/>
                    </a:lnTo>
                    <a:lnTo>
                      <a:pt x="82" y="93"/>
                    </a:lnTo>
                    <a:lnTo>
                      <a:pt x="84" y="89"/>
                    </a:lnTo>
                    <a:lnTo>
                      <a:pt x="88" y="64"/>
                    </a:lnTo>
                    <a:lnTo>
                      <a:pt x="81" y="10"/>
                    </a:lnTo>
                    <a:lnTo>
                      <a:pt x="84" y="9"/>
                    </a:lnTo>
                    <a:lnTo>
                      <a:pt x="84" y="9"/>
                    </a:lnTo>
                    <a:lnTo>
                      <a:pt x="90" y="7"/>
                    </a:lnTo>
                    <a:lnTo>
                      <a:pt x="91" y="7"/>
                    </a:lnTo>
                    <a:lnTo>
                      <a:pt x="91" y="7"/>
                    </a:lnTo>
                    <a:lnTo>
                      <a:pt x="91" y="3"/>
                    </a:lnTo>
                    <a:lnTo>
                      <a:pt x="93" y="2"/>
                    </a:lnTo>
                    <a:lnTo>
                      <a:pt x="95" y="0"/>
                    </a:lnTo>
                    <a:lnTo>
                      <a:pt x="9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56" name="Freeform 3212"/>
              <p:cNvSpPr>
                <a:spLocks/>
              </p:cNvSpPr>
              <p:nvPr/>
            </p:nvSpPr>
            <p:spPr bwMode="auto">
              <a:xfrm>
                <a:off x="1487" y="2997"/>
                <a:ext cx="136" cy="737"/>
              </a:xfrm>
              <a:custGeom>
                <a:avLst/>
                <a:gdLst>
                  <a:gd name="T0" fmla="*/ 113 w 136"/>
                  <a:gd name="T1" fmla="*/ 32 h 737"/>
                  <a:gd name="T2" fmla="*/ 107 w 136"/>
                  <a:gd name="T3" fmla="*/ 44 h 737"/>
                  <a:gd name="T4" fmla="*/ 122 w 136"/>
                  <a:gd name="T5" fmla="*/ 89 h 737"/>
                  <a:gd name="T6" fmla="*/ 136 w 136"/>
                  <a:gd name="T7" fmla="*/ 93 h 737"/>
                  <a:gd name="T8" fmla="*/ 111 w 136"/>
                  <a:gd name="T9" fmla="*/ 162 h 737"/>
                  <a:gd name="T10" fmla="*/ 82 w 136"/>
                  <a:gd name="T11" fmla="*/ 235 h 737"/>
                  <a:gd name="T12" fmla="*/ 91 w 136"/>
                  <a:gd name="T13" fmla="*/ 294 h 737"/>
                  <a:gd name="T14" fmla="*/ 77 w 136"/>
                  <a:gd name="T15" fmla="*/ 337 h 737"/>
                  <a:gd name="T16" fmla="*/ 72 w 136"/>
                  <a:gd name="T17" fmla="*/ 385 h 737"/>
                  <a:gd name="T18" fmla="*/ 56 w 136"/>
                  <a:gd name="T19" fmla="*/ 475 h 737"/>
                  <a:gd name="T20" fmla="*/ 61 w 136"/>
                  <a:gd name="T21" fmla="*/ 507 h 737"/>
                  <a:gd name="T22" fmla="*/ 63 w 136"/>
                  <a:gd name="T23" fmla="*/ 519 h 737"/>
                  <a:gd name="T24" fmla="*/ 50 w 136"/>
                  <a:gd name="T25" fmla="*/ 591 h 737"/>
                  <a:gd name="T26" fmla="*/ 36 w 136"/>
                  <a:gd name="T27" fmla="*/ 653 h 737"/>
                  <a:gd name="T28" fmla="*/ 50 w 136"/>
                  <a:gd name="T29" fmla="*/ 655 h 737"/>
                  <a:gd name="T30" fmla="*/ 77 w 136"/>
                  <a:gd name="T31" fmla="*/ 691 h 737"/>
                  <a:gd name="T32" fmla="*/ 99 w 136"/>
                  <a:gd name="T33" fmla="*/ 698 h 737"/>
                  <a:gd name="T34" fmla="*/ 72 w 136"/>
                  <a:gd name="T35" fmla="*/ 737 h 737"/>
                  <a:gd name="T36" fmla="*/ 52 w 136"/>
                  <a:gd name="T37" fmla="*/ 725 h 737"/>
                  <a:gd name="T38" fmla="*/ 70 w 136"/>
                  <a:gd name="T39" fmla="*/ 718 h 737"/>
                  <a:gd name="T40" fmla="*/ 50 w 136"/>
                  <a:gd name="T41" fmla="*/ 703 h 737"/>
                  <a:gd name="T42" fmla="*/ 50 w 136"/>
                  <a:gd name="T43" fmla="*/ 687 h 737"/>
                  <a:gd name="T44" fmla="*/ 43 w 136"/>
                  <a:gd name="T45" fmla="*/ 684 h 737"/>
                  <a:gd name="T46" fmla="*/ 38 w 136"/>
                  <a:gd name="T47" fmla="*/ 691 h 737"/>
                  <a:gd name="T48" fmla="*/ 24 w 136"/>
                  <a:gd name="T49" fmla="*/ 660 h 737"/>
                  <a:gd name="T50" fmla="*/ 24 w 136"/>
                  <a:gd name="T51" fmla="*/ 653 h 737"/>
                  <a:gd name="T52" fmla="*/ 20 w 136"/>
                  <a:gd name="T53" fmla="*/ 639 h 737"/>
                  <a:gd name="T54" fmla="*/ 27 w 136"/>
                  <a:gd name="T55" fmla="*/ 627 h 737"/>
                  <a:gd name="T56" fmla="*/ 22 w 136"/>
                  <a:gd name="T57" fmla="*/ 607 h 737"/>
                  <a:gd name="T58" fmla="*/ 20 w 136"/>
                  <a:gd name="T59" fmla="*/ 602 h 737"/>
                  <a:gd name="T60" fmla="*/ 24 w 136"/>
                  <a:gd name="T61" fmla="*/ 591 h 737"/>
                  <a:gd name="T62" fmla="*/ 24 w 136"/>
                  <a:gd name="T63" fmla="*/ 582 h 737"/>
                  <a:gd name="T64" fmla="*/ 25 w 136"/>
                  <a:gd name="T65" fmla="*/ 566 h 737"/>
                  <a:gd name="T66" fmla="*/ 7 w 136"/>
                  <a:gd name="T67" fmla="*/ 557 h 737"/>
                  <a:gd name="T68" fmla="*/ 6 w 136"/>
                  <a:gd name="T69" fmla="*/ 553 h 737"/>
                  <a:gd name="T70" fmla="*/ 9 w 136"/>
                  <a:gd name="T71" fmla="*/ 543 h 737"/>
                  <a:gd name="T72" fmla="*/ 24 w 136"/>
                  <a:gd name="T73" fmla="*/ 546 h 737"/>
                  <a:gd name="T74" fmla="*/ 29 w 136"/>
                  <a:gd name="T75" fmla="*/ 555 h 737"/>
                  <a:gd name="T76" fmla="*/ 36 w 136"/>
                  <a:gd name="T77" fmla="*/ 541 h 737"/>
                  <a:gd name="T78" fmla="*/ 36 w 136"/>
                  <a:gd name="T79" fmla="*/ 534 h 737"/>
                  <a:gd name="T80" fmla="*/ 43 w 136"/>
                  <a:gd name="T81" fmla="*/ 532 h 737"/>
                  <a:gd name="T82" fmla="*/ 41 w 136"/>
                  <a:gd name="T83" fmla="*/ 521 h 737"/>
                  <a:gd name="T84" fmla="*/ 38 w 136"/>
                  <a:gd name="T85" fmla="*/ 503 h 737"/>
                  <a:gd name="T86" fmla="*/ 43 w 136"/>
                  <a:gd name="T87" fmla="*/ 491 h 737"/>
                  <a:gd name="T88" fmla="*/ 45 w 136"/>
                  <a:gd name="T89" fmla="*/ 469 h 737"/>
                  <a:gd name="T90" fmla="*/ 50 w 136"/>
                  <a:gd name="T91" fmla="*/ 455 h 737"/>
                  <a:gd name="T92" fmla="*/ 50 w 136"/>
                  <a:gd name="T93" fmla="*/ 448 h 737"/>
                  <a:gd name="T94" fmla="*/ 34 w 136"/>
                  <a:gd name="T95" fmla="*/ 450 h 737"/>
                  <a:gd name="T96" fmla="*/ 31 w 136"/>
                  <a:gd name="T97" fmla="*/ 410 h 737"/>
                  <a:gd name="T98" fmla="*/ 32 w 136"/>
                  <a:gd name="T99" fmla="*/ 382 h 737"/>
                  <a:gd name="T100" fmla="*/ 40 w 136"/>
                  <a:gd name="T101" fmla="*/ 343 h 737"/>
                  <a:gd name="T102" fmla="*/ 63 w 136"/>
                  <a:gd name="T103" fmla="*/ 277 h 737"/>
                  <a:gd name="T104" fmla="*/ 72 w 136"/>
                  <a:gd name="T105" fmla="*/ 177 h 737"/>
                  <a:gd name="T106" fmla="*/ 81 w 136"/>
                  <a:gd name="T107" fmla="*/ 102 h 737"/>
                  <a:gd name="T108" fmla="*/ 84 w 136"/>
                  <a:gd name="T109" fmla="*/ 9 h 737"/>
                  <a:gd name="T110" fmla="*/ 95 w 136"/>
                  <a:gd name="T111" fmla="*/ 0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 h="737">
                    <a:moveTo>
                      <a:pt x="95" y="0"/>
                    </a:moveTo>
                    <a:lnTo>
                      <a:pt x="97" y="0"/>
                    </a:lnTo>
                    <a:lnTo>
                      <a:pt x="99" y="3"/>
                    </a:lnTo>
                    <a:lnTo>
                      <a:pt x="100" y="5"/>
                    </a:lnTo>
                    <a:lnTo>
                      <a:pt x="102" y="7"/>
                    </a:lnTo>
                    <a:lnTo>
                      <a:pt x="104" y="21"/>
                    </a:lnTo>
                    <a:lnTo>
                      <a:pt x="113" y="28"/>
                    </a:lnTo>
                    <a:lnTo>
                      <a:pt x="113" y="32"/>
                    </a:lnTo>
                    <a:lnTo>
                      <a:pt x="111" y="32"/>
                    </a:lnTo>
                    <a:lnTo>
                      <a:pt x="111" y="35"/>
                    </a:lnTo>
                    <a:lnTo>
                      <a:pt x="111" y="35"/>
                    </a:lnTo>
                    <a:lnTo>
                      <a:pt x="111" y="37"/>
                    </a:lnTo>
                    <a:lnTo>
                      <a:pt x="111" y="37"/>
                    </a:lnTo>
                    <a:lnTo>
                      <a:pt x="109" y="39"/>
                    </a:lnTo>
                    <a:lnTo>
                      <a:pt x="109" y="39"/>
                    </a:lnTo>
                    <a:lnTo>
                      <a:pt x="107" y="44"/>
                    </a:lnTo>
                    <a:lnTo>
                      <a:pt x="109" y="46"/>
                    </a:lnTo>
                    <a:lnTo>
                      <a:pt x="111" y="46"/>
                    </a:lnTo>
                    <a:lnTo>
                      <a:pt x="111" y="52"/>
                    </a:lnTo>
                    <a:lnTo>
                      <a:pt x="113" y="53"/>
                    </a:lnTo>
                    <a:lnTo>
                      <a:pt x="116" y="55"/>
                    </a:lnTo>
                    <a:lnTo>
                      <a:pt x="116" y="62"/>
                    </a:lnTo>
                    <a:lnTo>
                      <a:pt x="118" y="66"/>
                    </a:lnTo>
                    <a:lnTo>
                      <a:pt x="122" y="89"/>
                    </a:lnTo>
                    <a:lnTo>
                      <a:pt x="124" y="91"/>
                    </a:lnTo>
                    <a:lnTo>
                      <a:pt x="129" y="91"/>
                    </a:lnTo>
                    <a:lnTo>
                      <a:pt x="131" y="89"/>
                    </a:lnTo>
                    <a:lnTo>
                      <a:pt x="134" y="89"/>
                    </a:lnTo>
                    <a:lnTo>
                      <a:pt x="134" y="91"/>
                    </a:lnTo>
                    <a:lnTo>
                      <a:pt x="134" y="91"/>
                    </a:lnTo>
                    <a:lnTo>
                      <a:pt x="134" y="91"/>
                    </a:lnTo>
                    <a:lnTo>
                      <a:pt x="136" y="93"/>
                    </a:lnTo>
                    <a:lnTo>
                      <a:pt x="132" y="109"/>
                    </a:lnTo>
                    <a:lnTo>
                      <a:pt x="115" y="118"/>
                    </a:lnTo>
                    <a:lnTo>
                      <a:pt x="115" y="128"/>
                    </a:lnTo>
                    <a:lnTo>
                      <a:pt x="113" y="130"/>
                    </a:lnTo>
                    <a:lnTo>
                      <a:pt x="113" y="130"/>
                    </a:lnTo>
                    <a:lnTo>
                      <a:pt x="116" y="159"/>
                    </a:lnTo>
                    <a:lnTo>
                      <a:pt x="116" y="160"/>
                    </a:lnTo>
                    <a:lnTo>
                      <a:pt x="111" y="162"/>
                    </a:lnTo>
                    <a:lnTo>
                      <a:pt x="106" y="168"/>
                    </a:lnTo>
                    <a:lnTo>
                      <a:pt x="104" y="175"/>
                    </a:lnTo>
                    <a:lnTo>
                      <a:pt x="97" y="182"/>
                    </a:lnTo>
                    <a:lnTo>
                      <a:pt x="90" y="221"/>
                    </a:lnTo>
                    <a:lnTo>
                      <a:pt x="88" y="223"/>
                    </a:lnTo>
                    <a:lnTo>
                      <a:pt x="88" y="225"/>
                    </a:lnTo>
                    <a:lnTo>
                      <a:pt x="86" y="228"/>
                    </a:lnTo>
                    <a:lnTo>
                      <a:pt x="82" y="235"/>
                    </a:lnTo>
                    <a:lnTo>
                      <a:pt x="82" y="237"/>
                    </a:lnTo>
                    <a:lnTo>
                      <a:pt x="81" y="248"/>
                    </a:lnTo>
                    <a:lnTo>
                      <a:pt x="82" y="252"/>
                    </a:lnTo>
                    <a:lnTo>
                      <a:pt x="82" y="260"/>
                    </a:lnTo>
                    <a:lnTo>
                      <a:pt x="88" y="269"/>
                    </a:lnTo>
                    <a:lnTo>
                      <a:pt x="88" y="275"/>
                    </a:lnTo>
                    <a:lnTo>
                      <a:pt x="90" y="278"/>
                    </a:lnTo>
                    <a:lnTo>
                      <a:pt x="91" y="294"/>
                    </a:lnTo>
                    <a:lnTo>
                      <a:pt x="86" y="303"/>
                    </a:lnTo>
                    <a:lnTo>
                      <a:pt x="84" y="312"/>
                    </a:lnTo>
                    <a:lnTo>
                      <a:pt x="84" y="314"/>
                    </a:lnTo>
                    <a:lnTo>
                      <a:pt x="81" y="316"/>
                    </a:lnTo>
                    <a:lnTo>
                      <a:pt x="82" y="332"/>
                    </a:lnTo>
                    <a:lnTo>
                      <a:pt x="79" y="334"/>
                    </a:lnTo>
                    <a:lnTo>
                      <a:pt x="79" y="335"/>
                    </a:lnTo>
                    <a:lnTo>
                      <a:pt x="77" y="337"/>
                    </a:lnTo>
                    <a:lnTo>
                      <a:pt x="77" y="337"/>
                    </a:lnTo>
                    <a:lnTo>
                      <a:pt x="75" y="337"/>
                    </a:lnTo>
                    <a:lnTo>
                      <a:pt x="74" y="339"/>
                    </a:lnTo>
                    <a:lnTo>
                      <a:pt x="72" y="341"/>
                    </a:lnTo>
                    <a:lnTo>
                      <a:pt x="72" y="375"/>
                    </a:lnTo>
                    <a:lnTo>
                      <a:pt x="72" y="378"/>
                    </a:lnTo>
                    <a:lnTo>
                      <a:pt x="72" y="382"/>
                    </a:lnTo>
                    <a:lnTo>
                      <a:pt x="72" y="385"/>
                    </a:lnTo>
                    <a:lnTo>
                      <a:pt x="68" y="389"/>
                    </a:lnTo>
                    <a:lnTo>
                      <a:pt x="57" y="439"/>
                    </a:lnTo>
                    <a:lnTo>
                      <a:pt x="59" y="444"/>
                    </a:lnTo>
                    <a:lnTo>
                      <a:pt x="61" y="446"/>
                    </a:lnTo>
                    <a:lnTo>
                      <a:pt x="61" y="448"/>
                    </a:lnTo>
                    <a:lnTo>
                      <a:pt x="61" y="453"/>
                    </a:lnTo>
                    <a:lnTo>
                      <a:pt x="57" y="459"/>
                    </a:lnTo>
                    <a:lnTo>
                      <a:pt x="56" y="475"/>
                    </a:lnTo>
                    <a:lnTo>
                      <a:pt x="57" y="477"/>
                    </a:lnTo>
                    <a:lnTo>
                      <a:pt x="57" y="478"/>
                    </a:lnTo>
                    <a:lnTo>
                      <a:pt x="57" y="489"/>
                    </a:lnTo>
                    <a:lnTo>
                      <a:pt x="59" y="493"/>
                    </a:lnTo>
                    <a:lnTo>
                      <a:pt x="61" y="496"/>
                    </a:lnTo>
                    <a:lnTo>
                      <a:pt x="59" y="505"/>
                    </a:lnTo>
                    <a:lnTo>
                      <a:pt x="59" y="507"/>
                    </a:lnTo>
                    <a:lnTo>
                      <a:pt x="61" y="507"/>
                    </a:lnTo>
                    <a:lnTo>
                      <a:pt x="66" y="507"/>
                    </a:lnTo>
                    <a:lnTo>
                      <a:pt x="68" y="510"/>
                    </a:lnTo>
                    <a:lnTo>
                      <a:pt x="68" y="512"/>
                    </a:lnTo>
                    <a:lnTo>
                      <a:pt x="68" y="516"/>
                    </a:lnTo>
                    <a:lnTo>
                      <a:pt x="59" y="514"/>
                    </a:lnTo>
                    <a:lnTo>
                      <a:pt x="57" y="516"/>
                    </a:lnTo>
                    <a:lnTo>
                      <a:pt x="59" y="518"/>
                    </a:lnTo>
                    <a:lnTo>
                      <a:pt x="63" y="519"/>
                    </a:lnTo>
                    <a:lnTo>
                      <a:pt x="66" y="523"/>
                    </a:lnTo>
                    <a:lnTo>
                      <a:pt x="66" y="527"/>
                    </a:lnTo>
                    <a:lnTo>
                      <a:pt x="63" y="530"/>
                    </a:lnTo>
                    <a:lnTo>
                      <a:pt x="63" y="559"/>
                    </a:lnTo>
                    <a:lnTo>
                      <a:pt x="50" y="584"/>
                    </a:lnTo>
                    <a:lnTo>
                      <a:pt x="50" y="589"/>
                    </a:lnTo>
                    <a:lnTo>
                      <a:pt x="50" y="589"/>
                    </a:lnTo>
                    <a:lnTo>
                      <a:pt x="50" y="591"/>
                    </a:lnTo>
                    <a:lnTo>
                      <a:pt x="50" y="593"/>
                    </a:lnTo>
                    <a:lnTo>
                      <a:pt x="52" y="596"/>
                    </a:lnTo>
                    <a:lnTo>
                      <a:pt x="52" y="598"/>
                    </a:lnTo>
                    <a:lnTo>
                      <a:pt x="50" y="600"/>
                    </a:lnTo>
                    <a:lnTo>
                      <a:pt x="49" y="612"/>
                    </a:lnTo>
                    <a:lnTo>
                      <a:pt x="41" y="623"/>
                    </a:lnTo>
                    <a:lnTo>
                      <a:pt x="40" y="625"/>
                    </a:lnTo>
                    <a:lnTo>
                      <a:pt x="36" y="653"/>
                    </a:lnTo>
                    <a:lnTo>
                      <a:pt x="36" y="653"/>
                    </a:lnTo>
                    <a:lnTo>
                      <a:pt x="38" y="659"/>
                    </a:lnTo>
                    <a:lnTo>
                      <a:pt x="38" y="660"/>
                    </a:lnTo>
                    <a:lnTo>
                      <a:pt x="40" y="659"/>
                    </a:lnTo>
                    <a:lnTo>
                      <a:pt x="40" y="657"/>
                    </a:lnTo>
                    <a:lnTo>
                      <a:pt x="43" y="655"/>
                    </a:lnTo>
                    <a:lnTo>
                      <a:pt x="49" y="657"/>
                    </a:lnTo>
                    <a:lnTo>
                      <a:pt x="50" y="655"/>
                    </a:lnTo>
                    <a:lnTo>
                      <a:pt x="50" y="655"/>
                    </a:lnTo>
                    <a:lnTo>
                      <a:pt x="50" y="655"/>
                    </a:lnTo>
                    <a:lnTo>
                      <a:pt x="52" y="655"/>
                    </a:lnTo>
                    <a:lnTo>
                      <a:pt x="52" y="684"/>
                    </a:lnTo>
                    <a:lnTo>
                      <a:pt x="56" y="689"/>
                    </a:lnTo>
                    <a:lnTo>
                      <a:pt x="59" y="691"/>
                    </a:lnTo>
                    <a:lnTo>
                      <a:pt x="77" y="691"/>
                    </a:lnTo>
                    <a:lnTo>
                      <a:pt x="77" y="691"/>
                    </a:lnTo>
                    <a:lnTo>
                      <a:pt x="93" y="691"/>
                    </a:lnTo>
                    <a:lnTo>
                      <a:pt x="116" y="698"/>
                    </a:lnTo>
                    <a:lnTo>
                      <a:pt x="116" y="698"/>
                    </a:lnTo>
                    <a:lnTo>
                      <a:pt x="115" y="698"/>
                    </a:lnTo>
                    <a:lnTo>
                      <a:pt x="107" y="698"/>
                    </a:lnTo>
                    <a:lnTo>
                      <a:pt x="104" y="696"/>
                    </a:lnTo>
                    <a:lnTo>
                      <a:pt x="102" y="694"/>
                    </a:lnTo>
                    <a:lnTo>
                      <a:pt x="99" y="698"/>
                    </a:lnTo>
                    <a:lnTo>
                      <a:pt x="97" y="702"/>
                    </a:lnTo>
                    <a:lnTo>
                      <a:pt x="91" y="702"/>
                    </a:lnTo>
                    <a:lnTo>
                      <a:pt x="84" y="707"/>
                    </a:lnTo>
                    <a:lnTo>
                      <a:pt x="82" y="707"/>
                    </a:lnTo>
                    <a:lnTo>
                      <a:pt x="81" y="707"/>
                    </a:lnTo>
                    <a:lnTo>
                      <a:pt x="75" y="709"/>
                    </a:lnTo>
                    <a:lnTo>
                      <a:pt x="74" y="735"/>
                    </a:lnTo>
                    <a:lnTo>
                      <a:pt x="72" y="737"/>
                    </a:lnTo>
                    <a:lnTo>
                      <a:pt x="72" y="737"/>
                    </a:lnTo>
                    <a:lnTo>
                      <a:pt x="70" y="737"/>
                    </a:lnTo>
                    <a:lnTo>
                      <a:pt x="66" y="735"/>
                    </a:lnTo>
                    <a:lnTo>
                      <a:pt x="63" y="735"/>
                    </a:lnTo>
                    <a:lnTo>
                      <a:pt x="57" y="734"/>
                    </a:lnTo>
                    <a:lnTo>
                      <a:pt x="54" y="730"/>
                    </a:lnTo>
                    <a:lnTo>
                      <a:pt x="52" y="727"/>
                    </a:lnTo>
                    <a:lnTo>
                      <a:pt x="52" y="725"/>
                    </a:lnTo>
                    <a:lnTo>
                      <a:pt x="56" y="723"/>
                    </a:lnTo>
                    <a:lnTo>
                      <a:pt x="56" y="725"/>
                    </a:lnTo>
                    <a:lnTo>
                      <a:pt x="56" y="727"/>
                    </a:lnTo>
                    <a:lnTo>
                      <a:pt x="57" y="727"/>
                    </a:lnTo>
                    <a:lnTo>
                      <a:pt x="59" y="723"/>
                    </a:lnTo>
                    <a:lnTo>
                      <a:pt x="61" y="723"/>
                    </a:lnTo>
                    <a:lnTo>
                      <a:pt x="65" y="721"/>
                    </a:lnTo>
                    <a:lnTo>
                      <a:pt x="70" y="718"/>
                    </a:lnTo>
                    <a:lnTo>
                      <a:pt x="72" y="712"/>
                    </a:lnTo>
                    <a:lnTo>
                      <a:pt x="68" y="710"/>
                    </a:lnTo>
                    <a:lnTo>
                      <a:pt x="65" y="705"/>
                    </a:lnTo>
                    <a:lnTo>
                      <a:pt x="56" y="703"/>
                    </a:lnTo>
                    <a:lnTo>
                      <a:pt x="52" y="705"/>
                    </a:lnTo>
                    <a:lnTo>
                      <a:pt x="50" y="707"/>
                    </a:lnTo>
                    <a:lnTo>
                      <a:pt x="50" y="705"/>
                    </a:lnTo>
                    <a:lnTo>
                      <a:pt x="50" y="703"/>
                    </a:lnTo>
                    <a:lnTo>
                      <a:pt x="45" y="703"/>
                    </a:lnTo>
                    <a:lnTo>
                      <a:pt x="45" y="702"/>
                    </a:lnTo>
                    <a:lnTo>
                      <a:pt x="47" y="702"/>
                    </a:lnTo>
                    <a:lnTo>
                      <a:pt x="50" y="700"/>
                    </a:lnTo>
                    <a:lnTo>
                      <a:pt x="50" y="696"/>
                    </a:lnTo>
                    <a:lnTo>
                      <a:pt x="50" y="693"/>
                    </a:lnTo>
                    <a:lnTo>
                      <a:pt x="47" y="689"/>
                    </a:lnTo>
                    <a:lnTo>
                      <a:pt x="50" y="687"/>
                    </a:lnTo>
                    <a:lnTo>
                      <a:pt x="50" y="684"/>
                    </a:lnTo>
                    <a:lnTo>
                      <a:pt x="43" y="677"/>
                    </a:lnTo>
                    <a:lnTo>
                      <a:pt x="40" y="675"/>
                    </a:lnTo>
                    <a:lnTo>
                      <a:pt x="38" y="675"/>
                    </a:lnTo>
                    <a:lnTo>
                      <a:pt x="47" y="682"/>
                    </a:lnTo>
                    <a:lnTo>
                      <a:pt x="47" y="684"/>
                    </a:lnTo>
                    <a:lnTo>
                      <a:pt x="45" y="684"/>
                    </a:lnTo>
                    <a:lnTo>
                      <a:pt x="43" y="684"/>
                    </a:lnTo>
                    <a:lnTo>
                      <a:pt x="41" y="680"/>
                    </a:lnTo>
                    <a:lnTo>
                      <a:pt x="40" y="682"/>
                    </a:lnTo>
                    <a:lnTo>
                      <a:pt x="41" y="685"/>
                    </a:lnTo>
                    <a:lnTo>
                      <a:pt x="41" y="687"/>
                    </a:lnTo>
                    <a:lnTo>
                      <a:pt x="40" y="689"/>
                    </a:lnTo>
                    <a:lnTo>
                      <a:pt x="36" y="678"/>
                    </a:lnTo>
                    <a:lnTo>
                      <a:pt x="38" y="684"/>
                    </a:lnTo>
                    <a:lnTo>
                      <a:pt x="38" y="691"/>
                    </a:lnTo>
                    <a:lnTo>
                      <a:pt x="36" y="691"/>
                    </a:lnTo>
                    <a:lnTo>
                      <a:pt x="34" y="689"/>
                    </a:lnTo>
                    <a:lnTo>
                      <a:pt x="32" y="687"/>
                    </a:lnTo>
                    <a:lnTo>
                      <a:pt x="34" y="680"/>
                    </a:lnTo>
                    <a:lnTo>
                      <a:pt x="31" y="675"/>
                    </a:lnTo>
                    <a:lnTo>
                      <a:pt x="24" y="666"/>
                    </a:lnTo>
                    <a:lnTo>
                      <a:pt x="24" y="662"/>
                    </a:lnTo>
                    <a:lnTo>
                      <a:pt x="24" y="660"/>
                    </a:lnTo>
                    <a:lnTo>
                      <a:pt x="27" y="660"/>
                    </a:lnTo>
                    <a:lnTo>
                      <a:pt x="31" y="660"/>
                    </a:lnTo>
                    <a:lnTo>
                      <a:pt x="31" y="657"/>
                    </a:lnTo>
                    <a:lnTo>
                      <a:pt x="29" y="655"/>
                    </a:lnTo>
                    <a:lnTo>
                      <a:pt x="29" y="657"/>
                    </a:lnTo>
                    <a:lnTo>
                      <a:pt x="27" y="657"/>
                    </a:lnTo>
                    <a:lnTo>
                      <a:pt x="25" y="655"/>
                    </a:lnTo>
                    <a:lnTo>
                      <a:pt x="24" y="653"/>
                    </a:lnTo>
                    <a:lnTo>
                      <a:pt x="25" y="652"/>
                    </a:lnTo>
                    <a:lnTo>
                      <a:pt x="27" y="652"/>
                    </a:lnTo>
                    <a:lnTo>
                      <a:pt x="25" y="650"/>
                    </a:lnTo>
                    <a:lnTo>
                      <a:pt x="22" y="648"/>
                    </a:lnTo>
                    <a:lnTo>
                      <a:pt x="20" y="648"/>
                    </a:lnTo>
                    <a:lnTo>
                      <a:pt x="18" y="646"/>
                    </a:lnTo>
                    <a:lnTo>
                      <a:pt x="16" y="643"/>
                    </a:lnTo>
                    <a:lnTo>
                      <a:pt x="20" y="639"/>
                    </a:lnTo>
                    <a:lnTo>
                      <a:pt x="22" y="634"/>
                    </a:lnTo>
                    <a:lnTo>
                      <a:pt x="22" y="632"/>
                    </a:lnTo>
                    <a:lnTo>
                      <a:pt x="22" y="630"/>
                    </a:lnTo>
                    <a:lnTo>
                      <a:pt x="25" y="628"/>
                    </a:lnTo>
                    <a:lnTo>
                      <a:pt x="27" y="628"/>
                    </a:lnTo>
                    <a:lnTo>
                      <a:pt x="29" y="628"/>
                    </a:lnTo>
                    <a:lnTo>
                      <a:pt x="29" y="628"/>
                    </a:lnTo>
                    <a:lnTo>
                      <a:pt x="27" y="627"/>
                    </a:lnTo>
                    <a:lnTo>
                      <a:pt x="27" y="625"/>
                    </a:lnTo>
                    <a:lnTo>
                      <a:pt x="29" y="616"/>
                    </a:lnTo>
                    <a:lnTo>
                      <a:pt x="27" y="618"/>
                    </a:lnTo>
                    <a:lnTo>
                      <a:pt x="25" y="619"/>
                    </a:lnTo>
                    <a:lnTo>
                      <a:pt x="24" y="625"/>
                    </a:lnTo>
                    <a:lnTo>
                      <a:pt x="22" y="625"/>
                    </a:lnTo>
                    <a:lnTo>
                      <a:pt x="20" y="609"/>
                    </a:lnTo>
                    <a:lnTo>
                      <a:pt x="22" y="607"/>
                    </a:lnTo>
                    <a:lnTo>
                      <a:pt x="24" y="607"/>
                    </a:lnTo>
                    <a:lnTo>
                      <a:pt x="22" y="605"/>
                    </a:lnTo>
                    <a:lnTo>
                      <a:pt x="22" y="602"/>
                    </a:lnTo>
                    <a:lnTo>
                      <a:pt x="27" y="602"/>
                    </a:lnTo>
                    <a:lnTo>
                      <a:pt x="29" y="603"/>
                    </a:lnTo>
                    <a:lnTo>
                      <a:pt x="27" y="598"/>
                    </a:lnTo>
                    <a:lnTo>
                      <a:pt x="27" y="600"/>
                    </a:lnTo>
                    <a:lnTo>
                      <a:pt x="20" y="602"/>
                    </a:lnTo>
                    <a:lnTo>
                      <a:pt x="20" y="600"/>
                    </a:lnTo>
                    <a:lnTo>
                      <a:pt x="18" y="596"/>
                    </a:lnTo>
                    <a:lnTo>
                      <a:pt x="18" y="594"/>
                    </a:lnTo>
                    <a:lnTo>
                      <a:pt x="18" y="589"/>
                    </a:lnTo>
                    <a:lnTo>
                      <a:pt x="20" y="589"/>
                    </a:lnTo>
                    <a:lnTo>
                      <a:pt x="24" y="594"/>
                    </a:lnTo>
                    <a:lnTo>
                      <a:pt x="22" y="591"/>
                    </a:lnTo>
                    <a:lnTo>
                      <a:pt x="24" y="591"/>
                    </a:lnTo>
                    <a:lnTo>
                      <a:pt x="29" y="591"/>
                    </a:lnTo>
                    <a:lnTo>
                      <a:pt x="34" y="594"/>
                    </a:lnTo>
                    <a:lnTo>
                      <a:pt x="36" y="594"/>
                    </a:lnTo>
                    <a:lnTo>
                      <a:pt x="32" y="593"/>
                    </a:lnTo>
                    <a:lnTo>
                      <a:pt x="29" y="582"/>
                    </a:lnTo>
                    <a:lnTo>
                      <a:pt x="29" y="584"/>
                    </a:lnTo>
                    <a:lnTo>
                      <a:pt x="24" y="584"/>
                    </a:lnTo>
                    <a:lnTo>
                      <a:pt x="24" y="582"/>
                    </a:lnTo>
                    <a:lnTo>
                      <a:pt x="24" y="582"/>
                    </a:lnTo>
                    <a:lnTo>
                      <a:pt x="25" y="580"/>
                    </a:lnTo>
                    <a:lnTo>
                      <a:pt x="18" y="577"/>
                    </a:lnTo>
                    <a:lnTo>
                      <a:pt x="18" y="577"/>
                    </a:lnTo>
                    <a:lnTo>
                      <a:pt x="20" y="573"/>
                    </a:lnTo>
                    <a:lnTo>
                      <a:pt x="25" y="571"/>
                    </a:lnTo>
                    <a:lnTo>
                      <a:pt x="24" y="569"/>
                    </a:lnTo>
                    <a:lnTo>
                      <a:pt x="25" y="566"/>
                    </a:lnTo>
                    <a:lnTo>
                      <a:pt x="25" y="566"/>
                    </a:lnTo>
                    <a:lnTo>
                      <a:pt x="24" y="562"/>
                    </a:lnTo>
                    <a:lnTo>
                      <a:pt x="20" y="559"/>
                    </a:lnTo>
                    <a:lnTo>
                      <a:pt x="18" y="560"/>
                    </a:lnTo>
                    <a:lnTo>
                      <a:pt x="16" y="562"/>
                    </a:lnTo>
                    <a:lnTo>
                      <a:pt x="15" y="562"/>
                    </a:lnTo>
                    <a:lnTo>
                      <a:pt x="11" y="560"/>
                    </a:lnTo>
                    <a:lnTo>
                      <a:pt x="7" y="557"/>
                    </a:lnTo>
                    <a:lnTo>
                      <a:pt x="2" y="559"/>
                    </a:lnTo>
                    <a:lnTo>
                      <a:pt x="4" y="560"/>
                    </a:lnTo>
                    <a:lnTo>
                      <a:pt x="4" y="562"/>
                    </a:lnTo>
                    <a:lnTo>
                      <a:pt x="4" y="566"/>
                    </a:lnTo>
                    <a:lnTo>
                      <a:pt x="0" y="564"/>
                    </a:lnTo>
                    <a:lnTo>
                      <a:pt x="0" y="562"/>
                    </a:lnTo>
                    <a:lnTo>
                      <a:pt x="2" y="555"/>
                    </a:lnTo>
                    <a:lnTo>
                      <a:pt x="6" y="553"/>
                    </a:lnTo>
                    <a:lnTo>
                      <a:pt x="9" y="550"/>
                    </a:lnTo>
                    <a:lnTo>
                      <a:pt x="11" y="550"/>
                    </a:lnTo>
                    <a:lnTo>
                      <a:pt x="13" y="548"/>
                    </a:lnTo>
                    <a:lnTo>
                      <a:pt x="13" y="546"/>
                    </a:lnTo>
                    <a:lnTo>
                      <a:pt x="13" y="544"/>
                    </a:lnTo>
                    <a:lnTo>
                      <a:pt x="11" y="546"/>
                    </a:lnTo>
                    <a:lnTo>
                      <a:pt x="9" y="544"/>
                    </a:lnTo>
                    <a:lnTo>
                      <a:pt x="9" y="543"/>
                    </a:lnTo>
                    <a:lnTo>
                      <a:pt x="9" y="541"/>
                    </a:lnTo>
                    <a:lnTo>
                      <a:pt x="15" y="539"/>
                    </a:lnTo>
                    <a:lnTo>
                      <a:pt x="16" y="541"/>
                    </a:lnTo>
                    <a:lnTo>
                      <a:pt x="18" y="541"/>
                    </a:lnTo>
                    <a:lnTo>
                      <a:pt x="20" y="539"/>
                    </a:lnTo>
                    <a:lnTo>
                      <a:pt x="24" y="543"/>
                    </a:lnTo>
                    <a:lnTo>
                      <a:pt x="24" y="544"/>
                    </a:lnTo>
                    <a:lnTo>
                      <a:pt x="24" y="546"/>
                    </a:lnTo>
                    <a:lnTo>
                      <a:pt x="25" y="544"/>
                    </a:lnTo>
                    <a:lnTo>
                      <a:pt x="25" y="546"/>
                    </a:lnTo>
                    <a:lnTo>
                      <a:pt x="22" y="550"/>
                    </a:lnTo>
                    <a:lnTo>
                      <a:pt x="24" y="553"/>
                    </a:lnTo>
                    <a:lnTo>
                      <a:pt x="25" y="553"/>
                    </a:lnTo>
                    <a:lnTo>
                      <a:pt x="27" y="550"/>
                    </a:lnTo>
                    <a:lnTo>
                      <a:pt x="29" y="548"/>
                    </a:lnTo>
                    <a:lnTo>
                      <a:pt x="29" y="555"/>
                    </a:lnTo>
                    <a:lnTo>
                      <a:pt x="29" y="555"/>
                    </a:lnTo>
                    <a:lnTo>
                      <a:pt x="31" y="553"/>
                    </a:lnTo>
                    <a:lnTo>
                      <a:pt x="32" y="550"/>
                    </a:lnTo>
                    <a:lnTo>
                      <a:pt x="34" y="548"/>
                    </a:lnTo>
                    <a:lnTo>
                      <a:pt x="34" y="548"/>
                    </a:lnTo>
                    <a:lnTo>
                      <a:pt x="38" y="541"/>
                    </a:lnTo>
                    <a:lnTo>
                      <a:pt x="38" y="539"/>
                    </a:lnTo>
                    <a:lnTo>
                      <a:pt x="36" y="541"/>
                    </a:lnTo>
                    <a:lnTo>
                      <a:pt x="32" y="548"/>
                    </a:lnTo>
                    <a:lnTo>
                      <a:pt x="32" y="541"/>
                    </a:lnTo>
                    <a:lnTo>
                      <a:pt x="34" y="539"/>
                    </a:lnTo>
                    <a:lnTo>
                      <a:pt x="34" y="539"/>
                    </a:lnTo>
                    <a:lnTo>
                      <a:pt x="38" y="537"/>
                    </a:lnTo>
                    <a:lnTo>
                      <a:pt x="36" y="537"/>
                    </a:lnTo>
                    <a:lnTo>
                      <a:pt x="36" y="535"/>
                    </a:lnTo>
                    <a:lnTo>
                      <a:pt x="36" y="534"/>
                    </a:lnTo>
                    <a:lnTo>
                      <a:pt x="40" y="534"/>
                    </a:lnTo>
                    <a:lnTo>
                      <a:pt x="40" y="532"/>
                    </a:lnTo>
                    <a:lnTo>
                      <a:pt x="36" y="532"/>
                    </a:lnTo>
                    <a:lnTo>
                      <a:pt x="32" y="534"/>
                    </a:lnTo>
                    <a:lnTo>
                      <a:pt x="34" y="532"/>
                    </a:lnTo>
                    <a:lnTo>
                      <a:pt x="36" y="528"/>
                    </a:lnTo>
                    <a:lnTo>
                      <a:pt x="38" y="528"/>
                    </a:lnTo>
                    <a:lnTo>
                      <a:pt x="43" y="532"/>
                    </a:lnTo>
                    <a:lnTo>
                      <a:pt x="45" y="532"/>
                    </a:lnTo>
                    <a:lnTo>
                      <a:pt x="45" y="528"/>
                    </a:lnTo>
                    <a:lnTo>
                      <a:pt x="41" y="528"/>
                    </a:lnTo>
                    <a:lnTo>
                      <a:pt x="38" y="527"/>
                    </a:lnTo>
                    <a:lnTo>
                      <a:pt x="36" y="527"/>
                    </a:lnTo>
                    <a:lnTo>
                      <a:pt x="36" y="521"/>
                    </a:lnTo>
                    <a:lnTo>
                      <a:pt x="38" y="521"/>
                    </a:lnTo>
                    <a:lnTo>
                      <a:pt x="41" y="521"/>
                    </a:lnTo>
                    <a:lnTo>
                      <a:pt x="43" y="519"/>
                    </a:lnTo>
                    <a:lnTo>
                      <a:pt x="47" y="516"/>
                    </a:lnTo>
                    <a:lnTo>
                      <a:pt x="47" y="514"/>
                    </a:lnTo>
                    <a:lnTo>
                      <a:pt x="47" y="510"/>
                    </a:lnTo>
                    <a:lnTo>
                      <a:pt x="45" y="507"/>
                    </a:lnTo>
                    <a:lnTo>
                      <a:pt x="43" y="507"/>
                    </a:lnTo>
                    <a:lnTo>
                      <a:pt x="41" y="503"/>
                    </a:lnTo>
                    <a:lnTo>
                      <a:pt x="38" y="503"/>
                    </a:lnTo>
                    <a:lnTo>
                      <a:pt x="38" y="502"/>
                    </a:lnTo>
                    <a:lnTo>
                      <a:pt x="38" y="502"/>
                    </a:lnTo>
                    <a:lnTo>
                      <a:pt x="38" y="502"/>
                    </a:lnTo>
                    <a:lnTo>
                      <a:pt x="38" y="500"/>
                    </a:lnTo>
                    <a:lnTo>
                      <a:pt x="40" y="498"/>
                    </a:lnTo>
                    <a:lnTo>
                      <a:pt x="41" y="494"/>
                    </a:lnTo>
                    <a:lnTo>
                      <a:pt x="43" y="493"/>
                    </a:lnTo>
                    <a:lnTo>
                      <a:pt x="43" y="491"/>
                    </a:lnTo>
                    <a:lnTo>
                      <a:pt x="43" y="489"/>
                    </a:lnTo>
                    <a:lnTo>
                      <a:pt x="41" y="487"/>
                    </a:lnTo>
                    <a:lnTo>
                      <a:pt x="41" y="485"/>
                    </a:lnTo>
                    <a:lnTo>
                      <a:pt x="41" y="484"/>
                    </a:lnTo>
                    <a:lnTo>
                      <a:pt x="41" y="482"/>
                    </a:lnTo>
                    <a:lnTo>
                      <a:pt x="43" y="482"/>
                    </a:lnTo>
                    <a:lnTo>
                      <a:pt x="45" y="477"/>
                    </a:lnTo>
                    <a:lnTo>
                      <a:pt x="45" y="469"/>
                    </a:lnTo>
                    <a:lnTo>
                      <a:pt x="47" y="466"/>
                    </a:lnTo>
                    <a:lnTo>
                      <a:pt x="49" y="468"/>
                    </a:lnTo>
                    <a:lnTo>
                      <a:pt x="47" y="466"/>
                    </a:lnTo>
                    <a:lnTo>
                      <a:pt x="45" y="462"/>
                    </a:lnTo>
                    <a:lnTo>
                      <a:pt x="47" y="460"/>
                    </a:lnTo>
                    <a:lnTo>
                      <a:pt x="49" y="460"/>
                    </a:lnTo>
                    <a:lnTo>
                      <a:pt x="50" y="464"/>
                    </a:lnTo>
                    <a:lnTo>
                      <a:pt x="50" y="455"/>
                    </a:lnTo>
                    <a:lnTo>
                      <a:pt x="49" y="455"/>
                    </a:lnTo>
                    <a:lnTo>
                      <a:pt x="45" y="453"/>
                    </a:lnTo>
                    <a:lnTo>
                      <a:pt x="47" y="452"/>
                    </a:lnTo>
                    <a:lnTo>
                      <a:pt x="49" y="450"/>
                    </a:lnTo>
                    <a:lnTo>
                      <a:pt x="50" y="448"/>
                    </a:lnTo>
                    <a:lnTo>
                      <a:pt x="52" y="446"/>
                    </a:lnTo>
                    <a:lnTo>
                      <a:pt x="52" y="446"/>
                    </a:lnTo>
                    <a:lnTo>
                      <a:pt x="50" y="448"/>
                    </a:lnTo>
                    <a:lnTo>
                      <a:pt x="49" y="448"/>
                    </a:lnTo>
                    <a:lnTo>
                      <a:pt x="47" y="446"/>
                    </a:lnTo>
                    <a:lnTo>
                      <a:pt x="45" y="444"/>
                    </a:lnTo>
                    <a:lnTo>
                      <a:pt x="41" y="444"/>
                    </a:lnTo>
                    <a:lnTo>
                      <a:pt x="40" y="444"/>
                    </a:lnTo>
                    <a:lnTo>
                      <a:pt x="40" y="448"/>
                    </a:lnTo>
                    <a:lnTo>
                      <a:pt x="38" y="448"/>
                    </a:lnTo>
                    <a:lnTo>
                      <a:pt x="34" y="450"/>
                    </a:lnTo>
                    <a:lnTo>
                      <a:pt x="31" y="448"/>
                    </a:lnTo>
                    <a:lnTo>
                      <a:pt x="31" y="446"/>
                    </a:lnTo>
                    <a:lnTo>
                      <a:pt x="31" y="444"/>
                    </a:lnTo>
                    <a:lnTo>
                      <a:pt x="29" y="444"/>
                    </a:lnTo>
                    <a:lnTo>
                      <a:pt x="27" y="441"/>
                    </a:lnTo>
                    <a:lnTo>
                      <a:pt x="29" y="427"/>
                    </a:lnTo>
                    <a:lnTo>
                      <a:pt x="31" y="423"/>
                    </a:lnTo>
                    <a:lnTo>
                      <a:pt x="31" y="410"/>
                    </a:lnTo>
                    <a:lnTo>
                      <a:pt x="32" y="409"/>
                    </a:lnTo>
                    <a:lnTo>
                      <a:pt x="34" y="407"/>
                    </a:lnTo>
                    <a:lnTo>
                      <a:pt x="34" y="405"/>
                    </a:lnTo>
                    <a:lnTo>
                      <a:pt x="36" y="402"/>
                    </a:lnTo>
                    <a:lnTo>
                      <a:pt x="34" y="387"/>
                    </a:lnTo>
                    <a:lnTo>
                      <a:pt x="32" y="382"/>
                    </a:lnTo>
                    <a:lnTo>
                      <a:pt x="32" y="382"/>
                    </a:lnTo>
                    <a:lnTo>
                      <a:pt x="32" y="382"/>
                    </a:lnTo>
                    <a:lnTo>
                      <a:pt x="32" y="375"/>
                    </a:lnTo>
                    <a:lnTo>
                      <a:pt x="31" y="368"/>
                    </a:lnTo>
                    <a:lnTo>
                      <a:pt x="31" y="357"/>
                    </a:lnTo>
                    <a:lnTo>
                      <a:pt x="34" y="353"/>
                    </a:lnTo>
                    <a:lnTo>
                      <a:pt x="36" y="355"/>
                    </a:lnTo>
                    <a:lnTo>
                      <a:pt x="38" y="353"/>
                    </a:lnTo>
                    <a:lnTo>
                      <a:pt x="38" y="344"/>
                    </a:lnTo>
                    <a:lnTo>
                      <a:pt x="40" y="343"/>
                    </a:lnTo>
                    <a:lnTo>
                      <a:pt x="41" y="344"/>
                    </a:lnTo>
                    <a:lnTo>
                      <a:pt x="41" y="344"/>
                    </a:lnTo>
                    <a:lnTo>
                      <a:pt x="57" y="302"/>
                    </a:lnTo>
                    <a:lnTo>
                      <a:pt x="57" y="298"/>
                    </a:lnTo>
                    <a:lnTo>
                      <a:pt x="57" y="298"/>
                    </a:lnTo>
                    <a:lnTo>
                      <a:pt x="59" y="289"/>
                    </a:lnTo>
                    <a:lnTo>
                      <a:pt x="63" y="287"/>
                    </a:lnTo>
                    <a:lnTo>
                      <a:pt x="63" y="277"/>
                    </a:lnTo>
                    <a:lnTo>
                      <a:pt x="65" y="269"/>
                    </a:lnTo>
                    <a:lnTo>
                      <a:pt x="63" y="221"/>
                    </a:lnTo>
                    <a:lnTo>
                      <a:pt x="66" y="219"/>
                    </a:lnTo>
                    <a:lnTo>
                      <a:pt x="66" y="214"/>
                    </a:lnTo>
                    <a:lnTo>
                      <a:pt x="65" y="202"/>
                    </a:lnTo>
                    <a:lnTo>
                      <a:pt x="65" y="200"/>
                    </a:lnTo>
                    <a:lnTo>
                      <a:pt x="68" y="193"/>
                    </a:lnTo>
                    <a:lnTo>
                      <a:pt x="72" y="177"/>
                    </a:lnTo>
                    <a:lnTo>
                      <a:pt x="74" y="171"/>
                    </a:lnTo>
                    <a:lnTo>
                      <a:pt x="74" y="166"/>
                    </a:lnTo>
                    <a:lnTo>
                      <a:pt x="75" y="162"/>
                    </a:lnTo>
                    <a:lnTo>
                      <a:pt x="77" y="148"/>
                    </a:lnTo>
                    <a:lnTo>
                      <a:pt x="77" y="141"/>
                    </a:lnTo>
                    <a:lnTo>
                      <a:pt x="79" y="135"/>
                    </a:lnTo>
                    <a:lnTo>
                      <a:pt x="81" y="134"/>
                    </a:lnTo>
                    <a:lnTo>
                      <a:pt x="81" y="102"/>
                    </a:lnTo>
                    <a:lnTo>
                      <a:pt x="79" y="100"/>
                    </a:lnTo>
                    <a:lnTo>
                      <a:pt x="81" y="94"/>
                    </a:lnTo>
                    <a:lnTo>
                      <a:pt x="82" y="93"/>
                    </a:lnTo>
                    <a:lnTo>
                      <a:pt x="82" y="93"/>
                    </a:lnTo>
                    <a:lnTo>
                      <a:pt x="84" y="89"/>
                    </a:lnTo>
                    <a:lnTo>
                      <a:pt x="88" y="64"/>
                    </a:lnTo>
                    <a:lnTo>
                      <a:pt x="81" y="10"/>
                    </a:lnTo>
                    <a:lnTo>
                      <a:pt x="84" y="9"/>
                    </a:lnTo>
                    <a:lnTo>
                      <a:pt x="84" y="9"/>
                    </a:lnTo>
                    <a:lnTo>
                      <a:pt x="90" y="7"/>
                    </a:lnTo>
                    <a:lnTo>
                      <a:pt x="91" y="7"/>
                    </a:lnTo>
                    <a:lnTo>
                      <a:pt x="91" y="7"/>
                    </a:lnTo>
                    <a:lnTo>
                      <a:pt x="91" y="3"/>
                    </a:lnTo>
                    <a:lnTo>
                      <a:pt x="93" y="2"/>
                    </a:lnTo>
                    <a:lnTo>
                      <a:pt x="95" y="0"/>
                    </a:lnTo>
                    <a:lnTo>
                      <a:pt x="9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57" name="Freeform 3213"/>
              <p:cNvSpPr>
                <a:spLocks/>
              </p:cNvSpPr>
              <p:nvPr/>
            </p:nvSpPr>
            <p:spPr bwMode="auto">
              <a:xfrm>
                <a:off x="1555" y="3699"/>
                <a:ext cx="45" cy="67"/>
              </a:xfrm>
              <a:custGeom>
                <a:avLst/>
                <a:gdLst>
                  <a:gd name="T0" fmla="*/ 41 w 45"/>
                  <a:gd name="T1" fmla="*/ 64 h 67"/>
                  <a:gd name="T2" fmla="*/ 39 w 45"/>
                  <a:gd name="T3" fmla="*/ 66 h 67"/>
                  <a:gd name="T4" fmla="*/ 32 w 45"/>
                  <a:gd name="T5" fmla="*/ 64 h 67"/>
                  <a:gd name="T6" fmla="*/ 22 w 45"/>
                  <a:gd name="T7" fmla="*/ 64 h 67"/>
                  <a:gd name="T8" fmla="*/ 11 w 45"/>
                  <a:gd name="T9" fmla="*/ 62 h 67"/>
                  <a:gd name="T10" fmla="*/ 7 w 45"/>
                  <a:gd name="T11" fmla="*/ 62 h 67"/>
                  <a:gd name="T12" fmla="*/ 9 w 45"/>
                  <a:gd name="T13" fmla="*/ 60 h 67"/>
                  <a:gd name="T14" fmla="*/ 7 w 45"/>
                  <a:gd name="T15" fmla="*/ 60 h 67"/>
                  <a:gd name="T16" fmla="*/ 4 w 45"/>
                  <a:gd name="T17" fmla="*/ 57 h 67"/>
                  <a:gd name="T18" fmla="*/ 0 w 45"/>
                  <a:gd name="T19" fmla="*/ 58 h 67"/>
                  <a:gd name="T20" fmla="*/ 0 w 45"/>
                  <a:gd name="T21" fmla="*/ 55 h 67"/>
                  <a:gd name="T22" fmla="*/ 4 w 45"/>
                  <a:gd name="T23" fmla="*/ 53 h 67"/>
                  <a:gd name="T24" fmla="*/ 7 w 45"/>
                  <a:gd name="T25" fmla="*/ 51 h 67"/>
                  <a:gd name="T26" fmla="*/ 9 w 45"/>
                  <a:gd name="T27" fmla="*/ 51 h 67"/>
                  <a:gd name="T28" fmla="*/ 9 w 45"/>
                  <a:gd name="T29" fmla="*/ 48 h 67"/>
                  <a:gd name="T30" fmla="*/ 6 w 45"/>
                  <a:gd name="T31" fmla="*/ 42 h 67"/>
                  <a:gd name="T32" fmla="*/ 18 w 45"/>
                  <a:gd name="T33" fmla="*/ 53 h 67"/>
                  <a:gd name="T34" fmla="*/ 22 w 45"/>
                  <a:gd name="T35" fmla="*/ 51 h 67"/>
                  <a:gd name="T36" fmla="*/ 18 w 45"/>
                  <a:gd name="T37" fmla="*/ 50 h 67"/>
                  <a:gd name="T38" fmla="*/ 23 w 45"/>
                  <a:gd name="T39" fmla="*/ 51 h 67"/>
                  <a:gd name="T40" fmla="*/ 27 w 45"/>
                  <a:gd name="T41" fmla="*/ 48 h 67"/>
                  <a:gd name="T42" fmla="*/ 29 w 45"/>
                  <a:gd name="T43" fmla="*/ 50 h 67"/>
                  <a:gd name="T44" fmla="*/ 31 w 45"/>
                  <a:gd name="T45" fmla="*/ 48 h 67"/>
                  <a:gd name="T46" fmla="*/ 20 w 45"/>
                  <a:gd name="T47" fmla="*/ 42 h 67"/>
                  <a:gd name="T48" fmla="*/ 20 w 45"/>
                  <a:gd name="T49" fmla="*/ 32 h 67"/>
                  <a:gd name="T50" fmla="*/ 23 w 45"/>
                  <a:gd name="T51" fmla="*/ 30 h 67"/>
                  <a:gd name="T52" fmla="*/ 32 w 45"/>
                  <a:gd name="T53" fmla="*/ 25 h 67"/>
                  <a:gd name="T54" fmla="*/ 29 w 45"/>
                  <a:gd name="T55" fmla="*/ 21 h 67"/>
                  <a:gd name="T56" fmla="*/ 18 w 45"/>
                  <a:gd name="T57" fmla="*/ 25 h 67"/>
                  <a:gd name="T58" fmla="*/ 14 w 45"/>
                  <a:gd name="T59" fmla="*/ 19 h 67"/>
                  <a:gd name="T60" fmla="*/ 16 w 45"/>
                  <a:gd name="T61" fmla="*/ 12 h 67"/>
                  <a:gd name="T62" fmla="*/ 18 w 45"/>
                  <a:gd name="T63" fmla="*/ 14 h 67"/>
                  <a:gd name="T64" fmla="*/ 18 w 45"/>
                  <a:gd name="T65" fmla="*/ 8 h 67"/>
                  <a:gd name="T66" fmla="*/ 14 w 45"/>
                  <a:gd name="T67" fmla="*/ 7 h 67"/>
                  <a:gd name="T68" fmla="*/ 22 w 45"/>
                  <a:gd name="T69" fmla="*/ 8 h 67"/>
                  <a:gd name="T70" fmla="*/ 25 w 45"/>
                  <a:gd name="T71" fmla="*/ 7 h 67"/>
                  <a:gd name="T72" fmla="*/ 31 w 45"/>
                  <a:gd name="T73" fmla="*/ 0 h 67"/>
                  <a:gd name="T74" fmla="*/ 36 w 45"/>
                  <a:gd name="T75" fmla="*/ 3 h 67"/>
                  <a:gd name="T76" fmla="*/ 41 w 45"/>
                  <a:gd name="T77" fmla="*/ 1 h 67"/>
                  <a:gd name="T78" fmla="*/ 45 w 45"/>
                  <a:gd name="T79" fmla="*/ 6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 h="67">
                    <a:moveTo>
                      <a:pt x="45" y="64"/>
                    </a:moveTo>
                    <a:lnTo>
                      <a:pt x="41" y="64"/>
                    </a:lnTo>
                    <a:lnTo>
                      <a:pt x="41" y="66"/>
                    </a:lnTo>
                    <a:lnTo>
                      <a:pt x="39" y="66"/>
                    </a:lnTo>
                    <a:lnTo>
                      <a:pt x="38" y="67"/>
                    </a:lnTo>
                    <a:lnTo>
                      <a:pt x="32" y="64"/>
                    </a:lnTo>
                    <a:lnTo>
                      <a:pt x="22" y="64"/>
                    </a:lnTo>
                    <a:lnTo>
                      <a:pt x="22" y="64"/>
                    </a:lnTo>
                    <a:lnTo>
                      <a:pt x="18" y="64"/>
                    </a:lnTo>
                    <a:lnTo>
                      <a:pt x="11" y="62"/>
                    </a:lnTo>
                    <a:lnTo>
                      <a:pt x="9" y="62"/>
                    </a:lnTo>
                    <a:lnTo>
                      <a:pt x="7" y="62"/>
                    </a:lnTo>
                    <a:lnTo>
                      <a:pt x="9" y="62"/>
                    </a:lnTo>
                    <a:lnTo>
                      <a:pt x="9" y="60"/>
                    </a:lnTo>
                    <a:lnTo>
                      <a:pt x="6" y="60"/>
                    </a:lnTo>
                    <a:lnTo>
                      <a:pt x="7" y="60"/>
                    </a:lnTo>
                    <a:lnTo>
                      <a:pt x="9" y="58"/>
                    </a:lnTo>
                    <a:lnTo>
                      <a:pt x="4" y="57"/>
                    </a:lnTo>
                    <a:lnTo>
                      <a:pt x="4" y="58"/>
                    </a:lnTo>
                    <a:lnTo>
                      <a:pt x="0" y="58"/>
                    </a:lnTo>
                    <a:lnTo>
                      <a:pt x="0" y="57"/>
                    </a:lnTo>
                    <a:lnTo>
                      <a:pt x="0" y="55"/>
                    </a:lnTo>
                    <a:lnTo>
                      <a:pt x="0" y="53"/>
                    </a:lnTo>
                    <a:lnTo>
                      <a:pt x="4" y="53"/>
                    </a:lnTo>
                    <a:lnTo>
                      <a:pt x="4" y="51"/>
                    </a:lnTo>
                    <a:lnTo>
                      <a:pt x="7" y="51"/>
                    </a:lnTo>
                    <a:lnTo>
                      <a:pt x="7" y="50"/>
                    </a:lnTo>
                    <a:lnTo>
                      <a:pt x="9" y="51"/>
                    </a:lnTo>
                    <a:lnTo>
                      <a:pt x="11" y="50"/>
                    </a:lnTo>
                    <a:lnTo>
                      <a:pt x="9" y="48"/>
                    </a:lnTo>
                    <a:lnTo>
                      <a:pt x="6" y="46"/>
                    </a:lnTo>
                    <a:lnTo>
                      <a:pt x="6" y="42"/>
                    </a:lnTo>
                    <a:lnTo>
                      <a:pt x="16" y="51"/>
                    </a:lnTo>
                    <a:lnTo>
                      <a:pt x="18" y="53"/>
                    </a:lnTo>
                    <a:lnTo>
                      <a:pt x="20" y="51"/>
                    </a:lnTo>
                    <a:lnTo>
                      <a:pt x="22" y="51"/>
                    </a:lnTo>
                    <a:lnTo>
                      <a:pt x="18" y="50"/>
                    </a:lnTo>
                    <a:lnTo>
                      <a:pt x="18" y="50"/>
                    </a:lnTo>
                    <a:lnTo>
                      <a:pt x="20" y="46"/>
                    </a:lnTo>
                    <a:lnTo>
                      <a:pt x="23" y="51"/>
                    </a:lnTo>
                    <a:lnTo>
                      <a:pt x="23" y="48"/>
                    </a:lnTo>
                    <a:lnTo>
                      <a:pt x="27" y="48"/>
                    </a:lnTo>
                    <a:lnTo>
                      <a:pt x="29" y="51"/>
                    </a:lnTo>
                    <a:lnTo>
                      <a:pt x="29" y="50"/>
                    </a:lnTo>
                    <a:lnTo>
                      <a:pt x="32" y="50"/>
                    </a:lnTo>
                    <a:lnTo>
                      <a:pt x="31" y="48"/>
                    </a:lnTo>
                    <a:lnTo>
                      <a:pt x="22" y="44"/>
                    </a:lnTo>
                    <a:lnTo>
                      <a:pt x="20" y="42"/>
                    </a:lnTo>
                    <a:lnTo>
                      <a:pt x="20" y="33"/>
                    </a:lnTo>
                    <a:lnTo>
                      <a:pt x="20" y="32"/>
                    </a:lnTo>
                    <a:lnTo>
                      <a:pt x="23" y="32"/>
                    </a:lnTo>
                    <a:lnTo>
                      <a:pt x="23" y="30"/>
                    </a:lnTo>
                    <a:lnTo>
                      <a:pt x="31" y="28"/>
                    </a:lnTo>
                    <a:lnTo>
                      <a:pt x="32" y="25"/>
                    </a:lnTo>
                    <a:lnTo>
                      <a:pt x="31" y="23"/>
                    </a:lnTo>
                    <a:lnTo>
                      <a:pt x="29" y="21"/>
                    </a:lnTo>
                    <a:lnTo>
                      <a:pt x="25" y="23"/>
                    </a:lnTo>
                    <a:lnTo>
                      <a:pt x="18" y="25"/>
                    </a:lnTo>
                    <a:lnTo>
                      <a:pt x="14" y="23"/>
                    </a:lnTo>
                    <a:lnTo>
                      <a:pt x="14" y="19"/>
                    </a:lnTo>
                    <a:lnTo>
                      <a:pt x="14" y="14"/>
                    </a:lnTo>
                    <a:lnTo>
                      <a:pt x="16" y="12"/>
                    </a:lnTo>
                    <a:lnTo>
                      <a:pt x="16" y="14"/>
                    </a:lnTo>
                    <a:lnTo>
                      <a:pt x="18" y="14"/>
                    </a:lnTo>
                    <a:lnTo>
                      <a:pt x="20" y="12"/>
                    </a:lnTo>
                    <a:lnTo>
                      <a:pt x="18" y="8"/>
                    </a:lnTo>
                    <a:lnTo>
                      <a:pt x="18" y="7"/>
                    </a:lnTo>
                    <a:lnTo>
                      <a:pt x="14" y="7"/>
                    </a:lnTo>
                    <a:lnTo>
                      <a:pt x="20" y="7"/>
                    </a:lnTo>
                    <a:lnTo>
                      <a:pt x="22" y="8"/>
                    </a:lnTo>
                    <a:lnTo>
                      <a:pt x="22" y="7"/>
                    </a:lnTo>
                    <a:lnTo>
                      <a:pt x="25" y="7"/>
                    </a:lnTo>
                    <a:lnTo>
                      <a:pt x="27" y="0"/>
                    </a:lnTo>
                    <a:lnTo>
                      <a:pt x="31" y="0"/>
                    </a:lnTo>
                    <a:lnTo>
                      <a:pt x="32" y="3"/>
                    </a:lnTo>
                    <a:lnTo>
                      <a:pt x="36" y="3"/>
                    </a:lnTo>
                    <a:lnTo>
                      <a:pt x="39" y="3"/>
                    </a:lnTo>
                    <a:lnTo>
                      <a:pt x="41" y="1"/>
                    </a:lnTo>
                    <a:lnTo>
                      <a:pt x="43" y="3"/>
                    </a:lnTo>
                    <a:lnTo>
                      <a:pt x="45" y="6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58" name="Freeform 3214"/>
              <p:cNvSpPr>
                <a:spLocks/>
              </p:cNvSpPr>
              <p:nvPr/>
            </p:nvSpPr>
            <p:spPr bwMode="auto">
              <a:xfrm>
                <a:off x="1555" y="3699"/>
                <a:ext cx="45" cy="67"/>
              </a:xfrm>
              <a:custGeom>
                <a:avLst/>
                <a:gdLst>
                  <a:gd name="T0" fmla="*/ 41 w 45"/>
                  <a:gd name="T1" fmla="*/ 64 h 67"/>
                  <a:gd name="T2" fmla="*/ 39 w 45"/>
                  <a:gd name="T3" fmla="*/ 66 h 67"/>
                  <a:gd name="T4" fmla="*/ 32 w 45"/>
                  <a:gd name="T5" fmla="*/ 64 h 67"/>
                  <a:gd name="T6" fmla="*/ 22 w 45"/>
                  <a:gd name="T7" fmla="*/ 64 h 67"/>
                  <a:gd name="T8" fmla="*/ 11 w 45"/>
                  <a:gd name="T9" fmla="*/ 62 h 67"/>
                  <a:gd name="T10" fmla="*/ 7 w 45"/>
                  <a:gd name="T11" fmla="*/ 62 h 67"/>
                  <a:gd name="T12" fmla="*/ 9 w 45"/>
                  <a:gd name="T13" fmla="*/ 60 h 67"/>
                  <a:gd name="T14" fmla="*/ 7 w 45"/>
                  <a:gd name="T15" fmla="*/ 60 h 67"/>
                  <a:gd name="T16" fmla="*/ 4 w 45"/>
                  <a:gd name="T17" fmla="*/ 57 h 67"/>
                  <a:gd name="T18" fmla="*/ 0 w 45"/>
                  <a:gd name="T19" fmla="*/ 58 h 67"/>
                  <a:gd name="T20" fmla="*/ 0 w 45"/>
                  <a:gd name="T21" fmla="*/ 55 h 67"/>
                  <a:gd name="T22" fmla="*/ 4 w 45"/>
                  <a:gd name="T23" fmla="*/ 53 h 67"/>
                  <a:gd name="T24" fmla="*/ 7 w 45"/>
                  <a:gd name="T25" fmla="*/ 51 h 67"/>
                  <a:gd name="T26" fmla="*/ 9 w 45"/>
                  <a:gd name="T27" fmla="*/ 51 h 67"/>
                  <a:gd name="T28" fmla="*/ 9 w 45"/>
                  <a:gd name="T29" fmla="*/ 48 h 67"/>
                  <a:gd name="T30" fmla="*/ 6 w 45"/>
                  <a:gd name="T31" fmla="*/ 42 h 67"/>
                  <a:gd name="T32" fmla="*/ 18 w 45"/>
                  <a:gd name="T33" fmla="*/ 53 h 67"/>
                  <a:gd name="T34" fmla="*/ 22 w 45"/>
                  <a:gd name="T35" fmla="*/ 51 h 67"/>
                  <a:gd name="T36" fmla="*/ 18 w 45"/>
                  <a:gd name="T37" fmla="*/ 50 h 67"/>
                  <a:gd name="T38" fmla="*/ 23 w 45"/>
                  <a:gd name="T39" fmla="*/ 51 h 67"/>
                  <a:gd name="T40" fmla="*/ 27 w 45"/>
                  <a:gd name="T41" fmla="*/ 48 h 67"/>
                  <a:gd name="T42" fmla="*/ 29 w 45"/>
                  <a:gd name="T43" fmla="*/ 50 h 67"/>
                  <a:gd name="T44" fmla="*/ 31 w 45"/>
                  <a:gd name="T45" fmla="*/ 48 h 67"/>
                  <a:gd name="T46" fmla="*/ 20 w 45"/>
                  <a:gd name="T47" fmla="*/ 42 h 67"/>
                  <a:gd name="T48" fmla="*/ 20 w 45"/>
                  <a:gd name="T49" fmla="*/ 32 h 67"/>
                  <a:gd name="T50" fmla="*/ 23 w 45"/>
                  <a:gd name="T51" fmla="*/ 30 h 67"/>
                  <a:gd name="T52" fmla="*/ 32 w 45"/>
                  <a:gd name="T53" fmla="*/ 25 h 67"/>
                  <a:gd name="T54" fmla="*/ 29 w 45"/>
                  <a:gd name="T55" fmla="*/ 21 h 67"/>
                  <a:gd name="T56" fmla="*/ 18 w 45"/>
                  <a:gd name="T57" fmla="*/ 25 h 67"/>
                  <a:gd name="T58" fmla="*/ 14 w 45"/>
                  <a:gd name="T59" fmla="*/ 19 h 67"/>
                  <a:gd name="T60" fmla="*/ 16 w 45"/>
                  <a:gd name="T61" fmla="*/ 12 h 67"/>
                  <a:gd name="T62" fmla="*/ 18 w 45"/>
                  <a:gd name="T63" fmla="*/ 14 h 67"/>
                  <a:gd name="T64" fmla="*/ 18 w 45"/>
                  <a:gd name="T65" fmla="*/ 8 h 67"/>
                  <a:gd name="T66" fmla="*/ 14 w 45"/>
                  <a:gd name="T67" fmla="*/ 7 h 67"/>
                  <a:gd name="T68" fmla="*/ 22 w 45"/>
                  <a:gd name="T69" fmla="*/ 8 h 67"/>
                  <a:gd name="T70" fmla="*/ 25 w 45"/>
                  <a:gd name="T71" fmla="*/ 7 h 67"/>
                  <a:gd name="T72" fmla="*/ 31 w 45"/>
                  <a:gd name="T73" fmla="*/ 0 h 67"/>
                  <a:gd name="T74" fmla="*/ 36 w 45"/>
                  <a:gd name="T75" fmla="*/ 3 h 67"/>
                  <a:gd name="T76" fmla="*/ 41 w 45"/>
                  <a:gd name="T77" fmla="*/ 1 h 67"/>
                  <a:gd name="T78" fmla="*/ 45 w 45"/>
                  <a:gd name="T79" fmla="*/ 6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 h="67">
                    <a:moveTo>
                      <a:pt x="45" y="64"/>
                    </a:moveTo>
                    <a:lnTo>
                      <a:pt x="41" y="64"/>
                    </a:lnTo>
                    <a:lnTo>
                      <a:pt x="41" y="66"/>
                    </a:lnTo>
                    <a:lnTo>
                      <a:pt x="39" y="66"/>
                    </a:lnTo>
                    <a:lnTo>
                      <a:pt x="38" y="67"/>
                    </a:lnTo>
                    <a:lnTo>
                      <a:pt x="32" y="64"/>
                    </a:lnTo>
                    <a:lnTo>
                      <a:pt x="22" y="64"/>
                    </a:lnTo>
                    <a:lnTo>
                      <a:pt x="22" y="64"/>
                    </a:lnTo>
                    <a:lnTo>
                      <a:pt x="18" y="64"/>
                    </a:lnTo>
                    <a:lnTo>
                      <a:pt x="11" y="62"/>
                    </a:lnTo>
                    <a:lnTo>
                      <a:pt x="9" y="62"/>
                    </a:lnTo>
                    <a:lnTo>
                      <a:pt x="7" y="62"/>
                    </a:lnTo>
                    <a:lnTo>
                      <a:pt x="9" y="62"/>
                    </a:lnTo>
                    <a:lnTo>
                      <a:pt x="9" y="60"/>
                    </a:lnTo>
                    <a:lnTo>
                      <a:pt x="6" y="60"/>
                    </a:lnTo>
                    <a:lnTo>
                      <a:pt x="7" y="60"/>
                    </a:lnTo>
                    <a:lnTo>
                      <a:pt x="9" y="58"/>
                    </a:lnTo>
                    <a:lnTo>
                      <a:pt x="4" y="57"/>
                    </a:lnTo>
                    <a:lnTo>
                      <a:pt x="4" y="58"/>
                    </a:lnTo>
                    <a:lnTo>
                      <a:pt x="0" y="58"/>
                    </a:lnTo>
                    <a:lnTo>
                      <a:pt x="0" y="57"/>
                    </a:lnTo>
                    <a:lnTo>
                      <a:pt x="0" y="55"/>
                    </a:lnTo>
                    <a:lnTo>
                      <a:pt x="0" y="53"/>
                    </a:lnTo>
                    <a:lnTo>
                      <a:pt x="4" y="53"/>
                    </a:lnTo>
                    <a:lnTo>
                      <a:pt x="4" y="51"/>
                    </a:lnTo>
                    <a:lnTo>
                      <a:pt x="7" y="51"/>
                    </a:lnTo>
                    <a:lnTo>
                      <a:pt x="7" y="50"/>
                    </a:lnTo>
                    <a:lnTo>
                      <a:pt x="9" y="51"/>
                    </a:lnTo>
                    <a:lnTo>
                      <a:pt x="11" y="50"/>
                    </a:lnTo>
                    <a:lnTo>
                      <a:pt x="9" y="48"/>
                    </a:lnTo>
                    <a:lnTo>
                      <a:pt x="6" y="46"/>
                    </a:lnTo>
                    <a:lnTo>
                      <a:pt x="6" y="42"/>
                    </a:lnTo>
                    <a:lnTo>
                      <a:pt x="16" y="51"/>
                    </a:lnTo>
                    <a:lnTo>
                      <a:pt x="18" y="53"/>
                    </a:lnTo>
                    <a:lnTo>
                      <a:pt x="20" y="51"/>
                    </a:lnTo>
                    <a:lnTo>
                      <a:pt x="22" y="51"/>
                    </a:lnTo>
                    <a:lnTo>
                      <a:pt x="18" y="50"/>
                    </a:lnTo>
                    <a:lnTo>
                      <a:pt x="18" y="50"/>
                    </a:lnTo>
                    <a:lnTo>
                      <a:pt x="20" y="46"/>
                    </a:lnTo>
                    <a:lnTo>
                      <a:pt x="23" y="51"/>
                    </a:lnTo>
                    <a:lnTo>
                      <a:pt x="23" y="48"/>
                    </a:lnTo>
                    <a:lnTo>
                      <a:pt x="27" y="48"/>
                    </a:lnTo>
                    <a:lnTo>
                      <a:pt x="29" y="51"/>
                    </a:lnTo>
                    <a:lnTo>
                      <a:pt x="29" y="50"/>
                    </a:lnTo>
                    <a:lnTo>
                      <a:pt x="32" y="50"/>
                    </a:lnTo>
                    <a:lnTo>
                      <a:pt x="31" y="48"/>
                    </a:lnTo>
                    <a:lnTo>
                      <a:pt x="22" y="44"/>
                    </a:lnTo>
                    <a:lnTo>
                      <a:pt x="20" y="42"/>
                    </a:lnTo>
                    <a:lnTo>
                      <a:pt x="20" y="33"/>
                    </a:lnTo>
                    <a:lnTo>
                      <a:pt x="20" y="32"/>
                    </a:lnTo>
                    <a:lnTo>
                      <a:pt x="23" y="32"/>
                    </a:lnTo>
                    <a:lnTo>
                      <a:pt x="23" y="30"/>
                    </a:lnTo>
                    <a:lnTo>
                      <a:pt x="31" y="28"/>
                    </a:lnTo>
                    <a:lnTo>
                      <a:pt x="32" y="25"/>
                    </a:lnTo>
                    <a:lnTo>
                      <a:pt x="31" y="23"/>
                    </a:lnTo>
                    <a:lnTo>
                      <a:pt x="29" y="21"/>
                    </a:lnTo>
                    <a:lnTo>
                      <a:pt x="25" y="23"/>
                    </a:lnTo>
                    <a:lnTo>
                      <a:pt x="18" y="25"/>
                    </a:lnTo>
                    <a:lnTo>
                      <a:pt x="14" y="23"/>
                    </a:lnTo>
                    <a:lnTo>
                      <a:pt x="14" y="19"/>
                    </a:lnTo>
                    <a:lnTo>
                      <a:pt x="14" y="14"/>
                    </a:lnTo>
                    <a:lnTo>
                      <a:pt x="16" y="12"/>
                    </a:lnTo>
                    <a:lnTo>
                      <a:pt x="16" y="14"/>
                    </a:lnTo>
                    <a:lnTo>
                      <a:pt x="18" y="14"/>
                    </a:lnTo>
                    <a:lnTo>
                      <a:pt x="20" y="12"/>
                    </a:lnTo>
                    <a:lnTo>
                      <a:pt x="18" y="8"/>
                    </a:lnTo>
                    <a:lnTo>
                      <a:pt x="18" y="7"/>
                    </a:lnTo>
                    <a:lnTo>
                      <a:pt x="14" y="7"/>
                    </a:lnTo>
                    <a:lnTo>
                      <a:pt x="20" y="7"/>
                    </a:lnTo>
                    <a:lnTo>
                      <a:pt x="22" y="8"/>
                    </a:lnTo>
                    <a:lnTo>
                      <a:pt x="22" y="7"/>
                    </a:lnTo>
                    <a:lnTo>
                      <a:pt x="25" y="7"/>
                    </a:lnTo>
                    <a:lnTo>
                      <a:pt x="27" y="0"/>
                    </a:lnTo>
                    <a:lnTo>
                      <a:pt x="31" y="0"/>
                    </a:lnTo>
                    <a:lnTo>
                      <a:pt x="32" y="3"/>
                    </a:lnTo>
                    <a:lnTo>
                      <a:pt x="36" y="3"/>
                    </a:lnTo>
                    <a:lnTo>
                      <a:pt x="39" y="3"/>
                    </a:lnTo>
                    <a:lnTo>
                      <a:pt x="41" y="1"/>
                    </a:lnTo>
                    <a:lnTo>
                      <a:pt x="43" y="3"/>
                    </a:lnTo>
                    <a:lnTo>
                      <a:pt x="45" y="6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59" name="Freeform 3215"/>
              <p:cNvSpPr>
                <a:spLocks/>
              </p:cNvSpPr>
              <p:nvPr/>
            </p:nvSpPr>
            <p:spPr bwMode="auto">
              <a:xfrm>
                <a:off x="1707" y="2436"/>
                <a:ext cx="2" cy="2"/>
              </a:xfrm>
              <a:custGeom>
                <a:avLst/>
                <a:gdLst>
                  <a:gd name="T0" fmla="*/ 0 w 2"/>
                  <a:gd name="T1" fmla="*/ 0 h 2"/>
                  <a:gd name="T2" fmla="*/ 0 w 2"/>
                  <a:gd name="T3" fmla="*/ 0 h 2"/>
                  <a:gd name="T4" fmla="*/ 0 w 2"/>
                  <a:gd name="T5" fmla="*/ 2 h 2"/>
                  <a:gd name="T6" fmla="*/ 0 w 2"/>
                  <a:gd name="T7" fmla="*/ 2 h 2"/>
                  <a:gd name="T8" fmla="*/ 0 w 2"/>
                  <a:gd name="T9" fmla="*/ 2 h 2"/>
                  <a:gd name="T10" fmla="*/ 2 w 2"/>
                  <a:gd name="T11" fmla="*/ 2 h 2"/>
                  <a:gd name="T12" fmla="*/ 2 w 2"/>
                  <a:gd name="T13" fmla="*/ 2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0" y="0"/>
                    </a:lnTo>
                    <a:lnTo>
                      <a:pt x="0" y="2"/>
                    </a:lnTo>
                    <a:lnTo>
                      <a:pt x="0" y="2"/>
                    </a:lnTo>
                    <a:lnTo>
                      <a:pt x="0" y="2"/>
                    </a:lnTo>
                    <a:lnTo>
                      <a:pt x="2" y="2"/>
                    </a:lnTo>
                    <a:lnTo>
                      <a:pt x="2"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60" name="Freeform 3216"/>
              <p:cNvSpPr>
                <a:spLocks/>
              </p:cNvSpPr>
              <p:nvPr/>
            </p:nvSpPr>
            <p:spPr bwMode="auto">
              <a:xfrm>
                <a:off x="1707" y="2436"/>
                <a:ext cx="2" cy="2"/>
              </a:xfrm>
              <a:custGeom>
                <a:avLst/>
                <a:gdLst>
                  <a:gd name="T0" fmla="*/ 0 w 2"/>
                  <a:gd name="T1" fmla="*/ 0 h 2"/>
                  <a:gd name="T2" fmla="*/ 0 w 2"/>
                  <a:gd name="T3" fmla="*/ 0 h 2"/>
                  <a:gd name="T4" fmla="*/ 0 w 2"/>
                  <a:gd name="T5" fmla="*/ 2 h 2"/>
                  <a:gd name="T6" fmla="*/ 0 w 2"/>
                  <a:gd name="T7" fmla="*/ 2 h 2"/>
                  <a:gd name="T8" fmla="*/ 0 w 2"/>
                  <a:gd name="T9" fmla="*/ 2 h 2"/>
                  <a:gd name="T10" fmla="*/ 2 w 2"/>
                  <a:gd name="T11" fmla="*/ 2 h 2"/>
                  <a:gd name="T12" fmla="*/ 2 w 2"/>
                  <a:gd name="T13" fmla="*/ 2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0" y="0"/>
                    </a:lnTo>
                    <a:lnTo>
                      <a:pt x="0" y="2"/>
                    </a:lnTo>
                    <a:lnTo>
                      <a:pt x="0" y="2"/>
                    </a:lnTo>
                    <a:lnTo>
                      <a:pt x="0" y="2"/>
                    </a:lnTo>
                    <a:lnTo>
                      <a:pt x="2" y="2"/>
                    </a:lnTo>
                    <a:lnTo>
                      <a:pt x="2"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61" name="Freeform 3217"/>
              <p:cNvSpPr>
                <a:spLocks/>
              </p:cNvSpPr>
              <p:nvPr/>
            </p:nvSpPr>
            <p:spPr bwMode="auto">
              <a:xfrm>
                <a:off x="1718" y="2474"/>
                <a:ext cx="5" cy="7"/>
              </a:xfrm>
              <a:custGeom>
                <a:avLst/>
                <a:gdLst>
                  <a:gd name="T0" fmla="*/ 0 w 5"/>
                  <a:gd name="T1" fmla="*/ 0 h 7"/>
                  <a:gd name="T2" fmla="*/ 1 w 5"/>
                  <a:gd name="T3" fmla="*/ 0 h 7"/>
                  <a:gd name="T4" fmla="*/ 3 w 5"/>
                  <a:gd name="T5" fmla="*/ 1 h 7"/>
                  <a:gd name="T6" fmla="*/ 5 w 5"/>
                  <a:gd name="T7" fmla="*/ 7 h 7"/>
                  <a:gd name="T8" fmla="*/ 5 w 5"/>
                  <a:gd name="T9" fmla="*/ 7 h 7"/>
                  <a:gd name="T10" fmla="*/ 3 w 5"/>
                  <a:gd name="T11" fmla="*/ 7 h 7"/>
                  <a:gd name="T12" fmla="*/ 1 w 5"/>
                  <a:gd name="T13" fmla="*/ 7 h 7"/>
                  <a:gd name="T14" fmla="*/ 0 w 5"/>
                  <a:gd name="T15" fmla="*/ 0 h 7"/>
                  <a:gd name="T16" fmla="*/ 0 w 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0" y="0"/>
                    </a:moveTo>
                    <a:lnTo>
                      <a:pt x="1" y="0"/>
                    </a:lnTo>
                    <a:lnTo>
                      <a:pt x="3" y="1"/>
                    </a:lnTo>
                    <a:lnTo>
                      <a:pt x="5" y="7"/>
                    </a:lnTo>
                    <a:lnTo>
                      <a:pt x="5" y="7"/>
                    </a:lnTo>
                    <a:lnTo>
                      <a:pt x="3" y="7"/>
                    </a:lnTo>
                    <a:lnTo>
                      <a:pt x="1" y="7"/>
                    </a:lnTo>
                    <a:lnTo>
                      <a:pt x="0" y="0"/>
                    </a:lnTo>
                    <a:lnTo>
                      <a:pt x="0" y="0"/>
                    </a:lnTo>
                    <a:close/>
                  </a:path>
                </a:pathLst>
              </a:custGeom>
              <a:solidFill>
                <a:srgbClr val="659EE0"/>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62" name="Freeform 3218"/>
              <p:cNvSpPr>
                <a:spLocks/>
              </p:cNvSpPr>
              <p:nvPr/>
            </p:nvSpPr>
            <p:spPr bwMode="auto">
              <a:xfrm>
                <a:off x="1718" y="2474"/>
                <a:ext cx="5" cy="7"/>
              </a:xfrm>
              <a:custGeom>
                <a:avLst/>
                <a:gdLst>
                  <a:gd name="T0" fmla="*/ 0 w 5"/>
                  <a:gd name="T1" fmla="*/ 0 h 7"/>
                  <a:gd name="T2" fmla="*/ 1 w 5"/>
                  <a:gd name="T3" fmla="*/ 0 h 7"/>
                  <a:gd name="T4" fmla="*/ 3 w 5"/>
                  <a:gd name="T5" fmla="*/ 1 h 7"/>
                  <a:gd name="T6" fmla="*/ 5 w 5"/>
                  <a:gd name="T7" fmla="*/ 7 h 7"/>
                  <a:gd name="T8" fmla="*/ 5 w 5"/>
                  <a:gd name="T9" fmla="*/ 7 h 7"/>
                  <a:gd name="T10" fmla="*/ 3 w 5"/>
                  <a:gd name="T11" fmla="*/ 7 h 7"/>
                  <a:gd name="T12" fmla="*/ 1 w 5"/>
                  <a:gd name="T13" fmla="*/ 7 h 7"/>
                  <a:gd name="T14" fmla="*/ 0 w 5"/>
                  <a:gd name="T15" fmla="*/ 0 h 7"/>
                  <a:gd name="T16" fmla="*/ 0 w 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0" y="0"/>
                    </a:moveTo>
                    <a:lnTo>
                      <a:pt x="1" y="0"/>
                    </a:lnTo>
                    <a:lnTo>
                      <a:pt x="3" y="1"/>
                    </a:lnTo>
                    <a:lnTo>
                      <a:pt x="5" y="7"/>
                    </a:lnTo>
                    <a:lnTo>
                      <a:pt x="5" y="7"/>
                    </a:lnTo>
                    <a:lnTo>
                      <a:pt x="3" y="7"/>
                    </a:lnTo>
                    <a:lnTo>
                      <a:pt x="1" y="7"/>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63" name="Freeform 3219"/>
              <p:cNvSpPr>
                <a:spLocks/>
              </p:cNvSpPr>
              <p:nvPr/>
            </p:nvSpPr>
            <p:spPr bwMode="auto">
              <a:xfrm>
                <a:off x="1666" y="2534"/>
                <a:ext cx="11" cy="6"/>
              </a:xfrm>
              <a:custGeom>
                <a:avLst/>
                <a:gdLst>
                  <a:gd name="T0" fmla="*/ 9 w 11"/>
                  <a:gd name="T1" fmla="*/ 0 h 6"/>
                  <a:gd name="T2" fmla="*/ 9 w 11"/>
                  <a:gd name="T3" fmla="*/ 0 h 6"/>
                  <a:gd name="T4" fmla="*/ 11 w 11"/>
                  <a:gd name="T5" fmla="*/ 4 h 6"/>
                  <a:gd name="T6" fmla="*/ 7 w 11"/>
                  <a:gd name="T7" fmla="*/ 6 h 6"/>
                  <a:gd name="T8" fmla="*/ 5 w 11"/>
                  <a:gd name="T9" fmla="*/ 4 h 6"/>
                  <a:gd name="T10" fmla="*/ 3 w 11"/>
                  <a:gd name="T11" fmla="*/ 4 h 6"/>
                  <a:gd name="T12" fmla="*/ 2 w 11"/>
                  <a:gd name="T13" fmla="*/ 4 h 6"/>
                  <a:gd name="T14" fmla="*/ 0 w 11"/>
                  <a:gd name="T15" fmla="*/ 2 h 6"/>
                  <a:gd name="T16" fmla="*/ 2 w 11"/>
                  <a:gd name="T17" fmla="*/ 2 h 6"/>
                  <a:gd name="T18" fmla="*/ 3 w 11"/>
                  <a:gd name="T19" fmla="*/ 2 h 6"/>
                  <a:gd name="T20" fmla="*/ 5 w 11"/>
                  <a:gd name="T21" fmla="*/ 2 h 6"/>
                  <a:gd name="T22" fmla="*/ 9 w 11"/>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6">
                    <a:moveTo>
                      <a:pt x="9" y="0"/>
                    </a:moveTo>
                    <a:lnTo>
                      <a:pt x="9" y="0"/>
                    </a:lnTo>
                    <a:lnTo>
                      <a:pt x="11" y="4"/>
                    </a:lnTo>
                    <a:lnTo>
                      <a:pt x="7" y="6"/>
                    </a:lnTo>
                    <a:lnTo>
                      <a:pt x="5" y="4"/>
                    </a:lnTo>
                    <a:lnTo>
                      <a:pt x="3" y="4"/>
                    </a:lnTo>
                    <a:lnTo>
                      <a:pt x="2" y="4"/>
                    </a:lnTo>
                    <a:lnTo>
                      <a:pt x="0" y="2"/>
                    </a:lnTo>
                    <a:lnTo>
                      <a:pt x="2" y="2"/>
                    </a:lnTo>
                    <a:lnTo>
                      <a:pt x="3" y="2"/>
                    </a:lnTo>
                    <a:lnTo>
                      <a:pt x="5" y="2"/>
                    </a:lnTo>
                    <a:lnTo>
                      <a:pt x="9"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64" name="Freeform 3220"/>
              <p:cNvSpPr>
                <a:spLocks/>
              </p:cNvSpPr>
              <p:nvPr/>
            </p:nvSpPr>
            <p:spPr bwMode="auto">
              <a:xfrm>
                <a:off x="1666" y="2534"/>
                <a:ext cx="11" cy="6"/>
              </a:xfrm>
              <a:custGeom>
                <a:avLst/>
                <a:gdLst>
                  <a:gd name="T0" fmla="*/ 9 w 11"/>
                  <a:gd name="T1" fmla="*/ 0 h 6"/>
                  <a:gd name="T2" fmla="*/ 9 w 11"/>
                  <a:gd name="T3" fmla="*/ 0 h 6"/>
                  <a:gd name="T4" fmla="*/ 11 w 11"/>
                  <a:gd name="T5" fmla="*/ 4 h 6"/>
                  <a:gd name="T6" fmla="*/ 7 w 11"/>
                  <a:gd name="T7" fmla="*/ 6 h 6"/>
                  <a:gd name="T8" fmla="*/ 5 w 11"/>
                  <a:gd name="T9" fmla="*/ 4 h 6"/>
                  <a:gd name="T10" fmla="*/ 3 w 11"/>
                  <a:gd name="T11" fmla="*/ 4 h 6"/>
                  <a:gd name="T12" fmla="*/ 2 w 11"/>
                  <a:gd name="T13" fmla="*/ 4 h 6"/>
                  <a:gd name="T14" fmla="*/ 0 w 11"/>
                  <a:gd name="T15" fmla="*/ 2 h 6"/>
                  <a:gd name="T16" fmla="*/ 2 w 11"/>
                  <a:gd name="T17" fmla="*/ 2 h 6"/>
                  <a:gd name="T18" fmla="*/ 3 w 11"/>
                  <a:gd name="T19" fmla="*/ 2 h 6"/>
                  <a:gd name="T20" fmla="*/ 5 w 11"/>
                  <a:gd name="T21" fmla="*/ 2 h 6"/>
                  <a:gd name="T22" fmla="*/ 9 w 11"/>
                  <a:gd name="T23"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6">
                    <a:moveTo>
                      <a:pt x="9" y="0"/>
                    </a:moveTo>
                    <a:lnTo>
                      <a:pt x="9" y="0"/>
                    </a:lnTo>
                    <a:lnTo>
                      <a:pt x="11" y="4"/>
                    </a:lnTo>
                    <a:lnTo>
                      <a:pt x="7" y="6"/>
                    </a:lnTo>
                    <a:lnTo>
                      <a:pt x="5" y="4"/>
                    </a:lnTo>
                    <a:lnTo>
                      <a:pt x="3" y="4"/>
                    </a:lnTo>
                    <a:lnTo>
                      <a:pt x="2" y="4"/>
                    </a:lnTo>
                    <a:lnTo>
                      <a:pt x="0" y="2"/>
                    </a:lnTo>
                    <a:lnTo>
                      <a:pt x="2" y="2"/>
                    </a:lnTo>
                    <a:lnTo>
                      <a:pt x="3" y="2"/>
                    </a:lnTo>
                    <a:lnTo>
                      <a:pt x="5" y="2"/>
                    </a:lnTo>
                    <a:lnTo>
                      <a:pt x="9"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65" name="Freeform 3221"/>
              <p:cNvSpPr>
                <a:spLocks/>
              </p:cNvSpPr>
              <p:nvPr/>
            </p:nvSpPr>
            <p:spPr bwMode="auto">
              <a:xfrm>
                <a:off x="805" y="2229"/>
                <a:ext cx="2" cy="5"/>
              </a:xfrm>
              <a:custGeom>
                <a:avLst/>
                <a:gdLst>
                  <a:gd name="T0" fmla="*/ 0 w 2"/>
                  <a:gd name="T1" fmla="*/ 2 h 5"/>
                  <a:gd name="T2" fmla="*/ 0 w 2"/>
                  <a:gd name="T3" fmla="*/ 2 h 5"/>
                  <a:gd name="T4" fmla="*/ 0 w 2"/>
                  <a:gd name="T5" fmla="*/ 0 h 5"/>
                  <a:gd name="T6" fmla="*/ 0 w 2"/>
                  <a:gd name="T7" fmla="*/ 0 h 5"/>
                  <a:gd name="T8" fmla="*/ 2 w 2"/>
                  <a:gd name="T9" fmla="*/ 5 h 5"/>
                  <a:gd name="T10" fmla="*/ 0 w 2"/>
                  <a:gd name="T11" fmla="*/ 3 h 5"/>
                  <a:gd name="T12" fmla="*/ 0 w 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0" y="2"/>
                    </a:moveTo>
                    <a:lnTo>
                      <a:pt x="0" y="2"/>
                    </a:lnTo>
                    <a:lnTo>
                      <a:pt x="0" y="0"/>
                    </a:lnTo>
                    <a:lnTo>
                      <a:pt x="0" y="0"/>
                    </a:lnTo>
                    <a:lnTo>
                      <a:pt x="2" y="5"/>
                    </a:lnTo>
                    <a:lnTo>
                      <a:pt x="0" y="3"/>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66" name="Freeform 3222"/>
              <p:cNvSpPr>
                <a:spLocks/>
              </p:cNvSpPr>
              <p:nvPr/>
            </p:nvSpPr>
            <p:spPr bwMode="auto">
              <a:xfrm>
                <a:off x="805" y="2229"/>
                <a:ext cx="2" cy="5"/>
              </a:xfrm>
              <a:custGeom>
                <a:avLst/>
                <a:gdLst>
                  <a:gd name="T0" fmla="*/ 0 w 2"/>
                  <a:gd name="T1" fmla="*/ 2 h 5"/>
                  <a:gd name="T2" fmla="*/ 0 w 2"/>
                  <a:gd name="T3" fmla="*/ 2 h 5"/>
                  <a:gd name="T4" fmla="*/ 0 w 2"/>
                  <a:gd name="T5" fmla="*/ 0 h 5"/>
                  <a:gd name="T6" fmla="*/ 0 w 2"/>
                  <a:gd name="T7" fmla="*/ 0 h 5"/>
                  <a:gd name="T8" fmla="*/ 2 w 2"/>
                  <a:gd name="T9" fmla="*/ 5 h 5"/>
                  <a:gd name="T10" fmla="*/ 0 w 2"/>
                  <a:gd name="T11" fmla="*/ 3 h 5"/>
                  <a:gd name="T12" fmla="*/ 0 w 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0" y="2"/>
                    </a:moveTo>
                    <a:lnTo>
                      <a:pt x="0" y="2"/>
                    </a:lnTo>
                    <a:lnTo>
                      <a:pt x="0" y="0"/>
                    </a:lnTo>
                    <a:lnTo>
                      <a:pt x="0" y="0"/>
                    </a:lnTo>
                    <a:lnTo>
                      <a:pt x="2" y="5"/>
                    </a:lnTo>
                    <a:lnTo>
                      <a:pt x="0" y="3"/>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67" name="Freeform 3223"/>
              <p:cNvSpPr>
                <a:spLocks/>
              </p:cNvSpPr>
              <p:nvPr/>
            </p:nvSpPr>
            <p:spPr bwMode="auto">
              <a:xfrm>
                <a:off x="853" y="2243"/>
                <a:ext cx="4" cy="6"/>
              </a:xfrm>
              <a:custGeom>
                <a:avLst/>
                <a:gdLst>
                  <a:gd name="T0" fmla="*/ 2 w 4"/>
                  <a:gd name="T1" fmla="*/ 6 h 6"/>
                  <a:gd name="T2" fmla="*/ 2 w 4"/>
                  <a:gd name="T3" fmla="*/ 6 h 6"/>
                  <a:gd name="T4" fmla="*/ 2 w 4"/>
                  <a:gd name="T5" fmla="*/ 6 h 6"/>
                  <a:gd name="T6" fmla="*/ 0 w 4"/>
                  <a:gd name="T7" fmla="*/ 6 h 6"/>
                  <a:gd name="T8" fmla="*/ 0 w 4"/>
                  <a:gd name="T9" fmla="*/ 4 h 6"/>
                  <a:gd name="T10" fmla="*/ 0 w 4"/>
                  <a:gd name="T11" fmla="*/ 4 h 6"/>
                  <a:gd name="T12" fmla="*/ 2 w 4"/>
                  <a:gd name="T13" fmla="*/ 0 h 6"/>
                  <a:gd name="T14" fmla="*/ 2 w 4"/>
                  <a:gd name="T15" fmla="*/ 0 h 6"/>
                  <a:gd name="T16" fmla="*/ 4 w 4"/>
                  <a:gd name="T17" fmla="*/ 6 h 6"/>
                  <a:gd name="T18" fmla="*/ 2 w 4"/>
                  <a:gd name="T19" fmla="*/ 6 h 6"/>
                  <a:gd name="T20" fmla="*/ 2 w 4"/>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6"/>
                    </a:moveTo>
                    <a:lnTo>
                      <a:pt x="2" y="6"/>
                    </a:lnTo>
                    <a:lnTo>
                      <a:pt x="2" y="6"/>
                    </a:lnTo>
                    <a:lnTo>
                      <a:pt x="0" y="6"/>
                    </a:lnTo>
                    <a:lnTo>
                      <a:pt x="0" y="4"/>
                    </a:lnTo>
                    <a:lnTo>
                      <a:pt x="0" y="4"/>
                    </a:lnTo>
                    <a:lnTo>
                      <a:pt x="2" y="0"/>
                    </a:lnTo>
                    <a:lnTo>
                      <a:pt x="2" y="0"/>
                    </a:lnTo>
                    <a:lnTo>
                      <a:pt x="4" y="6"/>
                    </a:lnTo>
                    <a:lnTo>
                      <a:pt x="2" y="6"/>
                    </a:lnTo>
                    <a:lnTo>
                      <a:pt x="2"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68" name="Freeform 3224"/>
              <p:cNvSpPr>
                <a:spLocks/>
              </p:cNvSpPr>
              <p:nvPr/>
            </p:nvSpPr>
            <p:spPr bwMode="auto">
              <a:xfrm>
                <a:off x="853" y="2243"/>
                <a:ext cx="4" cy="6"/>
              </a:xfrm>
              <a:custGeom>
                <a:avLst/>
                <a:gdLst>
                  <a:gd name="T0" fmla="*/ 2 w 4"/>
                  <a:gd name="T1" fmla="*/ 6 h 6"/>
                  <a:gd name="T2" fmla="*/ 2 w 4"/>
                  <a:gd name="T3" fmla="*/ 6 h 6"/>
                  <a:gd name="T4" fmla="*/ 2 w 4"/>
                  <a:gd name="T5" fmla="*/ 6 h 6"/>
                  <a:gd name="T6" fmla="*/ 0 w 4"/>
                  <a:gd name="T7" fmla="*/ 6 h 6"/>
                  <a:gd name="T8" fmla="*/ 0 w 4"/>
                  <a:gd name="T9" fmla="*/ 4 h 6"/>
                  <a:gd name="T10" fmla="*/ 0 w 4"/>
                  <a:gd name="T11" fmla="*/ 4 h 6"/>
                  <a:gd name="T12" fmla="*/ 2 w 4"/>
                  <a:gd name="T13" fmla="*/ 0 h 6"/>
                  <a:gd name="T14" fmla="*/ 2 w 4"/>
                  <a:gd name="T15" fmla="*/ 0 h 6"/>
                  <a:gd name="T16" fmla="*/ 4 w 4"/>
                  <a:gd name="T17" fmla="*/ 6 h 6"/>
                  <a:gd name="T18" fmla="*/ 2 w 4"/>
                  <a:gd name="T19" fmla="*/ 6 h 6"/>
                  <a:gd name="T20" fmla="*/ 2 w 4"/>
                  <a:gd name="T21"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6">
                    <a:moveTo>
                      <a:pt x="2" y="6"/>
                    </a:moveTo>
                    <a:lnTo>
                      <a:pt x="2" y="6"/>
                    </a:lnTo>
                    <a:lnTo>
                      <a:pt x="2" y="6"/>
                    </a:lnTo>
                    <a:lnTo>
                      <a:pt x="0" y="6"/>
                    </a:lnTo>
                    <a:lnTo>
                      <a:pt x="0" y="4"/>
                    </a:lnTo>
                    <a:lnTo>
                      <a:pt x="0" y="4"/>
                    </a:lnTo>
                    <a:lnTo>
                      <a:pt x="2" y="0"/>
                    </a:lnTo>
                    <a:lnTo>
                      <a:pt x="2" y="0"/>
                    </a:lnTo>
                    <a:lnTo>
                      <a:pt x="4" y="6"/>
                    </a:lnTo>
                    <a:lnTo>
                      <a:pt x="2" y="6"/>
                    </a:lnTo>
                    <a:lnTo>
                      <a:pt x="2"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69" name="Freeform 3225"/>
              <p:cNvSpPr>
                <a:spLocks/>
              </p:cNvSpPr>
              <p:nvPr/>
            </p:nvSpPr>
            <p:spPr bwMode="auto">
              <a:xfrm>
                <a:off x="882" y="2222"/>
                <a:ext cx="7" cy="9"/>
              </a:xfrm>
              <a:custGeom>
                <a:avLst/>
                <a:gdLst>
                  <a:gd name="T0" fmla="*/ 7 w 7"/>
                  <a:gd name="T1" fmla="*/ 9 h 9"/>
                  <a:gd name="T2" fmla="*/ 5 w 7"/>
                  <a:gd name="T3" fmla="*/ 9 h 9"/>
                  <a:gd name="T4" fmla="*/ 0 w 7"/>
                  <a:gd name="T5" fmla="*/ 2 h 9"/>
                  <a:gd name="T6" fmla="*/ 0 w 7"/>
                  <a:gd name="T7" fmla="*/ 0 h 9"/>
                  <a:gd name="T8" fmla="*/ 0 w 7"/>
                  <a:gd name="T9" fmla="*/ 0 h 9"/>
                  <a:gd name="T10" fmla="*/ 4 w 7"/>
                  <a:gd name="T11" fmla="*/ 5 h 9"/>
                  <a:gd name="T12" fmla="*/ 5 w 7"/>
                  <a:gd name="T13" fmla="*/ 5 h 9"/>
                  <a:gd name="T14" fmla="*/ 5 w 7"/>
                  <a:gd name="T15" fmla="*/ 7 h 9"/>
                  <a:gd name="T16" fmla="*/ 7 w 7"/>
                  <a:gd name="T17" fmla="*/ 9 h 9"/>
                  <a:gd name="T18" fmla="*/ 7 w 7"/>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7" y="9"/>
                    </a:moveTo>
                    <a:lnTo>
                      <a:pt x="5" y="9"/>
                    </a:lnTo>
                    <a:lnTo>
                      <a:pt x="0" y="2"/>
                    </a:lnTo>
                    <a:lnTo>
                      <a:pt x="0" y="0"/>
                    </a:lnTo>
                    <a:lnTo>
                      <a:pt x="0" y="0"/>
                    </a:lnTo>
                    <a:lnTo>
                      <a:pt x="4" y="5"/>
                    </a:lnTo>
                    <a:lnTo>
                      <a:pt x="5" y="5"/>
                    </a:lnTo>
                    <a:lnTo>
                      <a:pt x="5" y="7"/>
                    </a:lnTo>
                    <a:lnTo>
                      <a:pt x="7" y="9"/>
                    </a:lnTo>
                    <a:lnTo>
                      <a:pt x="7"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70" name="Freeform 3226"/>
              <p:cNvSpPr>
                <a:spLocks/>
              </p:cNvSpPr>
              <p:nvPr/>
            </p:nvSpPr>
            <p:spPr bwMode="auto">
              <a:xfrm>
                <a:off x="882" y="2222"/>
                <a:ext cx="7" cy="9"/>
              </a:xfrm>
              <a:custGeom>
                <a:avLst/>
                <a:gdLst>
                  <a:gd name="T0" fmla="*/ 7 w 7"/>
                  <a:gd name="T1" fmla="*/ 9 h 9"/>
                  <a:gd name="T2" fmla="*/ 5 w 7"/>
                  <a:gd name="T3" fmla="*/ 9 h 9"/>
                  <a:gd name="T4" fmla="*/ 0 w 7"/>
                  <a:gd name="T5" fmla="*/ 2 h 9"/>
                  <a:gd name="T6" fmla="*/ 0 w 7"/>
                  <a:gd name="T7" fmla="*/ 0 h 9"/>
                  <a:gd name="T8" fmla="*/ 0 w 7"/>
                  <a:gd name="T9" fmla="*/ 0 h 9"/>
                  <a:gd name="T10" fmla="*/ 4 w 7"/>
                  <a:gd name="T11" fmla="*/ 5 h 9"/>
                  <a:gd name="T12" fmla="*/ 5 w 7"/>
                  <a:gd name="T13" fmla="*/ 5 h 9"/>
                  <a:gd name="T14" fmla="*/ 5 w 7"/>
                  <a:gd name="T15" fmla="*/ 7 h 9"/>
                  <a:gd name="T16" fmla="*/ 7 w 7"/>
                  <a:gd name="T17" fmla="*/ 9 h 9"/>
                  <a:gd name="T18" fmla="*/ 7 w 7"/>
                  <a:gd name="T19"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9">
                    <a:moveTo>
                      <a:pt x="7" y="9"/>
                    </a:moveTo>
                    <a:lnTo>
                      <a:pt x="5" y="9"/>
                    </a:lnTo>
                    <a:lnTo>
                      <a:pt x="0" y="2"/>
                    </a:lnTo>
                    <a:lnTo>
                      <a:pt x="0" y="0"/>
                    </a:lnTo>
                    <a:lnTo>
                      <a:pt x="0" y="0"/>
                    </a:lnTo>
                    <a:lnTo>
                      <a:pt x="4" y="5"/>
                    </a:lnTo>
                    <a:lnTo>
                      <a:pt x="5" y="5"/>
                    </a:lnTo>
                    <a:lnTo>
                      <a:pt x="5" y="7"/>
                    </a:lnTo>
                    <a:lnTo>
                      <a:pt x="7" y="9"/>
                    </a:lnTo>
                    <a:lnTo>
                      <a:pt x="7" y="9"/>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71" name="Freeform 3227"/>
              <p:cNvSpPr>
                <a:spLocks/>
              </p:cNvSpPr>
              <p:nvPr/>
            </p:nvSpPr>
            <p:spPr bwMode="auto">
              <a:xfrm>
                <a:off x="898" y="2227"/>
                <a:ext cx="4" cy="9"/>
              </a:xfrm>
              <a:custGeom>
                <a:avLst/>
                <a:gdLst>
                  <a:gd name="T0" fmla="*/ 0 w 4"/>
                  <a:gd name="T1" fmla="*/ 4 h 9"/>
                  <a:gd name="T2" fmla="*/ 2 w 4"/>
                  <a:gd name="T3" fmla="*/ 0 h 9"/>
                  <a:gd name="T4" fmla="*/ 2 w 4"/>
                  <a:gd name="T5" fmla="*/ 0 h 9"/>
                  <a:gd name="T6" fmla="*/ 4 w 4"/>
                  <a:gd name="T7" fmla="*/ 2 h 9"/>
                  <a:gd name="T8" fmla="*/ 4 w 4"/>
                  <a:gd name="T9" fmla="*/ 5 h 9"/>
                  <a:gd name="T10" fmla="*/ 4 w 4"/>
                  <a:gd name="T11" fmla="*/ 9 h 9"/>
                  <a:gd name="T12" fmla="*/ 2 w 4"/>
                  <a:gd name="T13" fmla="*/ 9 h 9"/>
                  <a:gd name="T14" fmla="*/ 0 w 4"/>
                  <a:gd name="T15" fmla="*/ 7 h 9"/>
                  <a:gd name="T16" fmla="*/ 0 w 4"/>
                  <a:gd name="T17" fmla="*/ 5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0"/>
                    </a:lnTo>
                    <a:lnTo>
                      <a:pt x="2" y="0"/>
                    </a:lnTo>
                    <a:lnTo>
                      <a:pt x="4" y="2"/>
                    </a:lnTo>
                    <a:lnTo>
                      <a:pt x="4" y="5"/>
                    </a:lnTo>
                    <a:lnTo>
                      <a:pt x="4" y="9"/>
                    </a:lnTo>
                    <a:lnTo>
                      <a:pt x="2" y="9"/>
                    </a:lnTo>
                    <a:lnTo>
                      <a:pt x="0" y="7"/>
                    </a:lnTo>
                    <a:lnTo>
                      <a:pt x="0" y="5"/>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72" name="Freeform 3228"/>
              <p:cNvSpPr>
                <a:spLocks/>
              </p:cNvSpPr>
              <p:nvPr/>
            </p:nvSpPr>
            <p:spPr bwMode="auto">
              <a:xfrm>
                <a:off x="898" y="2227"/>
                <a:ext cx="4" cy="9"/>
              </a:xfrm>
              <a:custGeom>
                <a:avLst/>
                <a:gdLst>
                  <a:gd name="T0" fmla="*/ 0 w 4"/>
                  <a:gd name="T1" fmla="*/ 4 h 9"/>
                  <a:gd name="T2" fmla="*/ 2 w 4"/>
                  <a:gd name="T3" fmla="*/ 0 h 9"/>
                  <a:gd name="T4" fmla="*/ 2 w 4"/>
                  <a:gd name="T5" fmla="*/ 0 h 9"/>
                  <a:gd name="T6" fmla="*/ 4 w 4"/>
                  <a:gd name="T7" fmla="*/ 2 h 9"/>
                  <a:gd name="T8" fmla="*/ 4 w 4"/>
                  <a:gd name="T9" fmla="*/ 5 h 9"/>
                  <a:gd name="T10" fmla="*/ 4 w 4"/>
                  <a:gd name="T11" fmla="*/ 9 h 9"/>
                  <a:gd name="T12" fmla="*/ 2 w 4"/>
                  <a:gd name="T13" fmla="*/ 9 h 9"/>
                  <a:gd name="T14" fmla="*/ 0 w 4"/>
                  <a:gd name="T15" fmla="*/ 7 h 9"/>
                  <a:gd name="T16" fmla="*/ 0 w 4"/>
                  <a:gd name="T17" fmla="*/ 5 h 9"/>
                  <a:gd name="T18" fmla="*/ 0 w 4"/>
                  <a:gd name="T19"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0" y="4"/>
                    </a:moveTo>
                    <a:lnTo>
                      <a:pt x="2" y="0"/>
                    </a:lnTo>
                    <a:lnTo>
                      <a:pt x="2" y="0"/>
                    </a:lnTo>
                    <a:lnTo>
                      <a:pt x="4" y="2"/>
                    </a:lnTo>
                    <a:lnTo>
                      <a:pt x="4" y="5"/>
                    </a:lnTo>
                    <a:lnTo>
                      <a:pt x="4" y="9"/>
                    </a:lnTo>
                    <a:lnTo>
                      <a:pt x="2" y="9"/>
                    </a:lnTo>
                    <a:lnTo>
                      <a:pt x="0" y="7"/>
                    </a:lnTo>
                    <a:lnTo>
                      <a:pt x="0" y="5"/>
                    </a:lnTo>
                    <a:lnTo>
                      <a:pt x="0"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73" name="Freeform 3229"/>
              <p:cNvSpPr>
                <a:spLocks/>
              </p:cNvSpPr>
              <p:nvPr/>
            </p:nvSpPr>
            <p:spPr bwMode="auto">
              <a:xfrm>
                <a:off x="1137" y="2297"/>
                <a:ext cx="4" cy="5"/>
              </a:xfrm>
              <a:custGeom>
                <a:avLst/>
                <a:gdLst>
                  <a:gd name="T0" fmla="*/ 2 w 4"/>
                  <a:gd name="T1" fmla="*/ 0 h 5"/>
                  <a:gd name="T2" fmla="*/ 4 w 4"/>
                  <a:gd name="T3" fmla="*/ 0 h 5"/>
                  <a:gd name="T4" fmla="*/ 4 w 4"/>
                  <a:gd name="T5" fmla="*/ 3 h 5"/>
                  <a:gd name="T6" fmla="*/ 2 w 4"/>
                  <a:gd name="T7" fmla="*/ 3 h 5"/>
                  <a:gd name="T8" fmla="*/ 2 w 4"/>
                  <a:gd name="T9" fmla="*/ 5 h 5"/>
                  <a:gd name="T10" fmla="*/ 2 w 4"/>
                  <a:gd name="T11" fmla="*/ 3 h 5"/>
                  <a:gd name="T12" fmla="*/ 0 w 4"/>
                  <a:gd name="T13" fmla="*/ 3 h 5"/>
                  <a:gd name="T14" fmla="*/ 2 w 4"/>
                  <a:gd name="T15" fmla="*/ 2 h 5"/>
                  <a:gd name="T16" fmla="*/ 2 w 4"/>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2" y="0"/>
                    </a:moveTo>
                    <a:lnTo>
                      <a:pt x="4" y="0"/>
                    </a:lnTo>
                    <a:lnTo>
                      <a:pt x="4" y="3"/>
                    </a:lnTo>
                    <a:lnTo>
                      <a:pt x="2" y="3"/>
                    </a:lnTo>
                    <a:lnTo>
                      <a:pt x="2" y="5"/>
                    </a:lnTo>
                    <a:lnTo>
                      <a:pt x="2" y="3"/>
                    </a:lnTo>
                    <a:lnTo>
                      <a:pt x="0" y="3"/>
                    </a:lnTo>
                    <a:lnTo>
                      <a:pt x="2"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74" name="Freeform 3230"/>
              <p:cNvSpPr>
                <a:spLocks/>
              </p:cNvSpPr>
              <p:nvPr/>
            </p:nvSpPr>
            <p:spPr bwMode="auto">
              <a:xfrm>
                <a:off x="1137" y="2297"/>
                <a:ext cx="4" cy="5"/>
              </a:xfrm>
              <a:custGeom>
                <a:avLst/>
                <a:gdLst>
                  <a:gd name="T0" fmla="*/ 2 w 4"/>
                  <a:gd name="T1" fmla="*/ 0 h 5"/>
                  <a:gd name="T2" fmla="*/ 4 w 4"/>
                  <a:gd name="T3" fmla="*/ 0 h 5"/>
                  <a:gd name="T4" fmla="*/ 4 w 4"/>
                  <a:gd name="T5" fmla="*/ 3 h 5"/>
                  <a:gd name="T6" fmla="*/ 2 w 4"/>
                  <a:gd name="T7" fmla="*/ 3 h 5"/>
                  <a:gd name="T8" fmla="*/ 2 w 4"/>
                  <a:gd name="T9" fmla="*/ 5 h 5"/>
                  <a:gd name="T10" fmla="*/ 2 w 4"/>
                  <a:gd name="T11" fmla="*/ 3 h 5"/>
                  <a:gd name="T12" fmla="*/ 0 w 4"/>
                  <a:gd name="T13" fmla="*/ 3 h 5"/>
                  <a:gd name="T14" fmla="*/ 2 w 4"/>
                  <a:gd name="T15" fmla="*/ 2 h 5"/>
                  <a:gd name="T16" fmla="*/ 2 w 4"/>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5">
                    <a:moveTo>
                      <a:pt x="2" y="0"/>
                    </a:moveTo>
                    <a:lnTo>
                      <a:pt x="4" y="0"/>
                    </a:lnTo>
                    <a:lnTo>
                      <a:pt x="4" y="3"/>
                    </a:lnTo>
                    <a:lnTo>
                      <a:pt x="2" y="3"/>
                    </a:lnTo>
                    <a:lnTo>
                      <a:pt x="2" y="5"/>
                    </a:lnTo>
                    <a:lnTo>
                      <a:pt x="2" y="3"/>
                    </a:lnTo>
                    <a:lnTo>
                      <a:pt x="0" y="3"/>
                    </a:lnTo>
                    <a:lnTo>
                      <a:pt x="2"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75" name="Freeform 3231"/>
              <p:cNvSpPr>
                <a:spLocks/>
              </p:cNvSpPr>
              <p:nvPr/>
            </p:nvSpPr>
            <p:spPr bwMode="auto">
              <a:xfrm>
                <a:off x="1303" y="2377"/>
                <a:ext cx="4" cy="5"/>
              </a:xfrm>
              <a:custGeom>
                <a:avLst/>
                <a:gdLst>
                  <a:gd name="T0" fmla="*/ 4 w 4"/>
                  <a:gd name="T1" fmla="*/ 0 h 5"/>
                  <a:gd name="T2" fmla="*/ 2 w 4"/>
                  <a:gd name="T3" fmla="*/ 2 h 5"/>
                  <a:gd name="T4" fmla="*/ 0 w 4"/>
                  <a:gd name="T5" fmla="*/ 4 h 5"/>
                  <a:gd name="T6" fmla="*/ 0 w 4"/>
                  <a:gd name="T7" fmla="*/ 5 h 5"/>
                  <a:gd name="T8" fmla="*/ 2 w 4"/>
                  <a:gd name="T9" fmla="*/ 4 h 5"/>
                  <a:gd name="T10" fmla="*/ 4 w 4"/>
                  <a:gd name="T11" fmla="*/ 0 h 5"/>
                </a:gdLst>
                <a:ahLst/>
                <a:cxnLst>
                  <a:cxn ang="0">
                    <a:pos x="T0" y="T1"/>
                  </a:cxn>
                  <a:cxn ang="0">
                    <a:pos x="T2" y="T3"/>
                  </a:cxn>
                  <a:cxn ang="0">
                    <a:pos x="T4" y="T5"/>
                  </a:cxn>
                  <a:cxn ang="0">
                    <a:pos x="T6" y="T7"/>
                  </a:cxn>
                  <a:cxn ang="0">
                    <a:pos x="T8" y="T9"/>
                  </a:cxn>
                  <a:cxn ang="0">
                    <a:pos x="T10" y="T11"/>
                  </a:cxn>
                </a:cxnLst>
                <a:rect l="0" t="0" r="r" b="b"/>
                <a:pathLst>
                  <a:path w="4" h="5">
                    <a:moveTo>
                      <a:pt x="4" y="0"/>
                    </a:moveTo>
                    <a:lnTo>
                      <a:pt x="2" y="2"/>
                    </a:lnTo>
                    <a:lnTo>
                      <a:pt x="0" y="4"/>
                    </a:lnTo>
                    <a:lnTo>
                      <a:pt x="0" y="5"/>
                    </a:lnTo>
                    <a:lnTo>
                      <a:pt x="2" y="4"/>
                    </a:lnTo>
                    <a:lnTo>
                      <a:pt x="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76" name="Freeform 3232"/>
              <p:cNvSpPr>
                <a:spLocks/>
              </p:cNvSpPr>
              <p:nvPr/>
            </p:nvSpPr>
            <p:spPr bwMode="auto">
              <a:xfrm>
                <a:off x="1303" y="2377"/>
                <a:ext cx="4" cy="5"/>
              </a:xfrm>
              <a:custGeom>
                <a:avLst/>
                <a:gdLst>
                  <a:gd name="T0" fmla="*/ 4 w 4"/>
                  <a:gd name="T1" fmla="*/ 0 h 5"/>
                  <a:gd name="T2" fmla="*/ 2 w 4"/>
                  <a:gd name="T3" fmla="*/ 2 h 5"/>
                  <a:gd name="T4" fmla="*/ 0 w 4"/>
                  <a:gd name="T5" fmla="*/ 4 h 5"/>
                  <a:gd name="T6" fmla="*/ 0 w 4"/>
                  <a:gd name="T7" fmla="*/ 5 h 5"/>
                  <a:gd name="T8" fmla="*/ 2 w 4"/>
                  <a:gd name="T9" fmla="*/ 4 h 5"/>
                  <a:gd name="T10" fmla="*/ 4 w 4"/>
                  <a:gd name="T11" fmla="*/ 0 h 5"/>
                </a:gdLst>
                <a:ahLst/>
                <a:cxnLst>
                  <a:cxn ang="0">
                    <a:pos x="T0" y="T1"/>
                  </a:cxn>
                  <a:cxn ang="0">
                    <a:pos x="T2" y="T3"/>
                  </a:cxn>
                  <a:cxn ang="0">
                    <a:pos x="T4" y="T5"/>
                  </a:cxn>
                  <a:cxn ang="0">
                    <a:pos x="T6" y="T7"/>
                  </a:cxn>
                  <a:cxn ang="0">
                    <a:pos x="T8" y="T9"/>
                  </a:cxn>
                  <a:cxn ang="0">
                    <a:pos x="T10" y="T11"/>
                  </a:cxn>
                </a:cxnLst>
                <a:rect l="0" t="0" r="r" b="b"/>
                <a:pathLst>
                  <a:path w="4" h="5">
                    <a:moveTo>
                      <a:pt x="4" y="0"/>
                    </a:moveTo>
                    <a:lnTo>
                      <a:pt x="2" y="2"/>
                    </a:lnTo>
                    <a:lnTo>
                      <a:pt x="0" y="4"/>
                    </a:lnTo>
                    <a:lnTo>
                      <a:pt x="0" y="5"/>
                    </a:lnTo>
                    <a:lnTo>
                      <a:pt x="2" y="4"/>
                    </a:lnTo>
                    <a:lnTo>
                      <a:pt x="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77" name="Freeform 3233"/>
              <p:cNvSpPr>
                <a:spLocks/>
              </p:cNvSpPr>
              <p:nvPr/>
            </p:nvSpPr>
            <p:spPr bwMode="auto">
              <a:xfrm>
                <a:off x="1432" y="2270"/>
                <a:ext cx="18" cy="4"/>
              </a:xfrm>
              <a:custGeom>
                <a:avLst/>
                <a:gdLst>
                  <a:gd name="T0" fmla="*/ 16 w 18"/>
                  <a:gd name="T1" fmla="*/ 0 h 4"/>
                  <a:gd name="T2" fmla="*/ 14 w 18"/>
                  <a:gd name="T3" fmla="*/ 0 h 4"/>
                  <a:gd name="T4" fmla="*/ 16 w 18"/>
                  <a:gd name="T5" fmla="*/ 0 h 4"/>
                  <a:gd name="T6" fmla="*/ 16 w 18"/>
                  <a:gd name="T7" fmla="*/ 0 h 4"/>
                  <a:gd name="T8" fmla="*/ 18 w 18"/>
                  <a:gd name="T9" fmla="*/ 2 h 4"/>
                  <a:gd name="T10" fmla="*/ 18 w 18"/>
                  <a:gd name="T11" fmla="*/ 4 h 4"/>
                  <a:gd name="T12" fmla="*/ 16 w 18"/>
                  <a:gd name="T13" fmla="*/ 4 h 4"/>
                  <a:gd name="T14" fmla="*/ 14 w 18"/>
                  <a:gd name="T15" fmla="*/ 2 h 4"/>
                  <a:gd name="T16" fmla="*/ 5 w 18"/>
                  <a:gd name="T17" fmla="*/ 4 h 4"/>
                  <a:gd name="T18" fmla="*/ 2 w 18"/>
                  <a:gd name="T19" fmla="*/ 4 h 4"/>
                  <a:gd name="T20" fmla="*/ 0 w 18"/>
                  <a:gd name="T21" fmla="*/ 2 h 4"/>
                  <a:gd name="T22" fmla="*/ 5 w 18"/>
                  <a:gd name="T23" fmla="*/ 2 h 4"/>
                  <a:gd name="T24" fmla="*/ 11 w 18"/>
                  <a:gd name="T25" fmla="*/ 0 h 4"/>
                  <a:gd name="T26" fmla="*/ 14 w 18"/>
                  <a:gd name="T27" fmla="*/ 0 h 4"/>
                  <a:gd name="T28" fmla="*/ 16 w 1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4">
                    <a:moveTo>
                      <a:pt x="16" y="0"/>
                    </a:moveTo>
                    <a:lnTo>
                      <a:pt x="14" y="0"/>
                    </a:lnTo>
                    <a:lnTo>
                      <a:pt x="16" y="0"/>
                    </a:lnTo>
                    <a:lnTo>
                      <a:pt x="16" y="0"/>
                    </a:lnTo>
                    <a:lnTo>
                      <a:pt x="18" y="2"/>
                    </a:lnTo>
                    <a:lnTo>
                      <a:pt x="18" y="4"/>
                    </a:lnTo>
                    <a:lnTo>
                      <a:pt x="16" y="4"/>
                    </a:lnTo>
                    <a:lnTo>
                      <a:pt x="14" y="2"/>
                    </a:lnTo>
                    <a:lnTo>
                      <a:pt x="5" y="4"/>
                    </a:lnTo>
                    <a:lnTo>
                      <a:pt x="2" y="4"/>
                    </a:lnTo>
                    <a:lnTo>
                      <a:pt x="0" y="2"/>
                    </a:lnTo>
                    <a:lnTo>
                      <a:pt x="5" y="2"/>
                    </a:lnTo>
                    <a:lnTo>
                      <a:pt x="11" y="0"/>
                    </a:lnTo>
                    <a:lnTo>
                      <a:pt x="14" y="0"/>
                    </a:lnTo>
                    <a:lnTo>
                      <a:pt x="16"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78" name="Freeform 3234"/>
              <p:cNvSpPr>
                <a:spLocks/>
              </p:cNvSpPr>
              <p:nvPr/>
            </p:nvSpPr>
            <p:spPr bwMode="auto">
              <a:xfrm>
                <a:off x="1432" y="2270"/>
                <a:ext cx="18" cy="4"/>
              </a:xfrm>
              <a:custGeom>
                <a:avLst/>
                <a:gdLst>
                  <a:gd name="T0" fmla="*/ 16 w 18"/>
                  <a:gd name="T1" fmla="*/ 0 h 4"/>
                  <a:gd name="T2" fmla="*/ 14 w 18"/>
                  <a:gd name="T3" fmla="*/ 0 h 4"/>
                  <a:gd name="T4" fmla="*/ 16 w 18"/>
                  <a:gd name="T5" fmla="*/ 0 h 4"/>
                  <a:gd name="T6" fmla="*/ 16 w 18"/>
                  <a:gd name="T7" fmla="*/ 0 h 4"/>
                  <a:gd name="T8" fmla="*/ 18 w 18"/>
                  <a:gd name="T9" fmla="*/ 2 h 4"/>
                  <a:gd name="T10" fmla="*/ 18 w 18"/>
                  <a:gd name="T11" fmla="*/ 4 h 4"/>
                  <a:gd name="T12" fmla="*/ 16 w 18"/>
                  <a:gd name="T13" fmla="*/ 4 h 4"/>
                  <a:gd name="T14" fmla="*/ 14 w 18"/>
                  <a:gd name="T15" fmla="*/ 2 h 4"/>
                  <a:gd name="T16" fmla="*/ 5 w 18"/>
                  <a:gd name="T17" fmla="*/ 4 h 4"/>
                  <a:gd name="T18" fmla="*/ 2 w 18"/>
                  <a:gd name="T19" fmla="*/ 4 h 4"/>
                  <a:gd name="T20" fmla="*/ 0 w 18"/>
                  <a:gd name="T21" fmla="*/ 2 h 4"/>
                  <a:gd name="T22" fmla="*/ 5 w 18"/>
                  <a:gd name="T23" fmla="*/ 2 h 4"/>
                  <a:gd name="T24" fmla="*/ 11 w 18"/>
                  <a:gd name="T25" fmla="*/ 0 h 4"/>
                  <a:gd name="T26" fmla="*/ 14 w 18"/>
                  <a:gd name="T27" fmla="*/ 0 h 4"/>
                  <a:gd name="T28" fmla="*/ 16 w 1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4">
                    <a:moveTo>
                      <a:pt x="16" y="0"/>
                    </a:moveTo>
                    <a:lnTo>
                      <a:pt x="14" y="0"/>
                    </a:lnTo>
                    <a:lnTo>
                      <a:pt x="16" y="0"/>
                    </a:lnTo>
                    <a:lnTo>
                      <a:pt x="16" y="0"/>
                    </a:lnTo>
                    <a:lnTo>
                      <a:pt x="18" y="2"/>
                    </a:lnTo>
                    <a:lnTo>
                      <a:pt x="18" y="4"/>
                    </a:lnTo>
                    <a:lnTo>
                      <a:pt x="16" y="4"/>
                    </a:lnTo>
                    <a:lnTo>
                      <a:pt x="14" y="2"/>
                    </a:lnTo>
                    <a:lnTo>
                      <a:pt x="5" y="4"/>
                    </a:lnTo>
                    <a:lnTo>
                      <a:pt x="2" y="4"/>
                    </a:lnTo>
                    <a:lnTo>
                      <a:pt x="0" y="2"/>
                    </a:lnTo>
                    <a:lnTo>
                      <a:pt x="5" y="2"/>
                    </a:lnTo>
                    <a:lnTo>
                      <a:pt x="11" y="0"/>
                    </a:lnTo>
                    <a:lnTo>
                      <a:pt x="14" y="0"/>
                    </a:lnTo>
                    <a:lnTo>
                      <a:pt x="16"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79" name="Freeform 3235"/>
              <p:cNvSpPr>
                <a:spLocks/>
              </p:cNvSpPr>
              <p:nvPr/>
            </p:nvSpPr>
            <p:spPr bwMode="auto">
              <a:xfrm>
                <a:off x="1459" y="2274"/>
                <a:ext cx="3" cy="12"/>
              </a:xfrm>
              <a:custGeom>
                <a:avLst/>
                <a:gdLst>
                  <a:gd name="T0" fmla="*/ 3 w 3"/>
                  <a:gd name="T1" fmla="*/ 5 h 12"/>
                  <a:gd name="T2" fmla="*/ 3 w 3"/>
                  <a:gd name="T3" fmla="*/ 1 h 12"/>
                  <a:gd name="T4" fmla="*/ 3 w 3"/>
                  <a:gd name="T5" fmla="*/ 3 h 12"/>
                  <a:gd name="T6" fmla="*/ 2 w 3"/>
                  <a:gd name="T7" fmla="*/ 12 h 12"/>
                  <a:gd name="T8" fmla="*/ 0 w 3"/>
                  <a:gd name="T9" fmla="*/ 8 h 12"/>
                  <a:gd name="T10" fmla="*/ 0 w 3"/>
                  <a:gd name="T11" fmla="*/ 8 h 12"/>
                  <a:gd name="T12" fmla="*/ 2 w 3"/>
                  <a:gd name="T13" fmla="*/ 7 h 12"/>
                  <a:gd name="T14" fmla="*/ 0 w 3"/>
                  <a:gd name="T15" fmla="*/ 5 h 12"/>
                  <a:gd name="T16" fmla="*/ 2 w 3"/>
                  <a:gd name="T17" fmla="*/ 1 h 12"/>
                  <a:gd name="T18" fmla="*/ 2 w 3"/>
                  <a:gd name="T19" fmla="*/ 0 h 12"/>
                  <a:gd name="T20" fmla="*/ 3 w 3"/>
                  <a:gd name="T21" fmla="*/ 3 h 12"/>
                  <a:gd name="T22" fmla="*/ 3 w 3"/>
                  <a:gd name="T2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12">
                    <a:moveTo>
                      <a:pt x="3" y="5"/>
                    </a:moveTo>
                    <a:lnTo>
                      <a:pt x="3" y="1"/>
                    </a:lnTo>
                    <a:lnTo>
                      <a:pt x="3" y="3"/>
                    </a:lnTo>
                    <a:lnTo>
                      <a:pt x="2" y="12"/>
                    </a:lnTo>
                    <a:lnTo>
                      <a:pt x="0" y="8"/>
                    </a:lnTo>
                    <a:lnTo>
                      <a:pt x="0" y="8"/>
                    </a:lnTo>
                    <a:lnTo>
                      <a:pt x="2" y="7"/>
                    </a:lnTo>
                    <a:lnTo>
                      <a:pt x="0" y="5"/>
                    </a:lnTo>
                    <a:lnTo>
                      <a:pt x="2" y="1"/>
                    </a:lnTo>
                    <a:lnTo>
                      <a:pt x="2" y="0"/>
                    </a:lnTo>
                    <a:lnTo>
                      <a:pt x="3" y="3"/>
                    </a:lnTo>
                    <a:lnTo>
                      <a:pt x="3"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80" name="Freeform 3236"/>
              <p:cNvSpPr>
                <a:spLocks/>
              </p:cNvSpPr>
              <p:nvPr/>
            </p:nvSpPr>
            <p:spPr bwMode="auto">
              <a:xfrm>
                <a:off x="1459" y="2274"/>
                <a:ext cx="3" cy="12"/>
              </a:xfrm>
              <a:custGeom>
                <a:avLst/>
                <a:gdLst>
                  <a:gd name="T0" fmla="*/ 3 w 3"/>
                  <a:gd name="T1" fmla="*/ 5 h 12"/>
                  <a:gd name="T2" fmla="*/ 3 w 3"/>
                  <a:gd name="T3" fmla="*/ 1 h 12"/>
                  <a:gd name="T4" fmla="*/ 3 w 3"/>
                  <a:gd name="T5" fmla="*/ 3 h 12"/>
                  <a:gd name="T6" fmla="*/ 2 w 3"/>
                  <a:gd name="T7" fmla="*/ 12 h 12"/>
                  <a:gd name="T8" fmla="*/ 0 w 3"/>
                  <a:gd name="T9" fmla="*/ 8 h 12"/>
                  <a:gd name="T10" fmla="*/ 0 w 3"/>
                  <a:gd name="T11" fmla="*/ 8 h 12"/>
                  <a:gd name="T12" fmla="*/ 2 w 3"/>
                  <a:gd name="T13" fmla="*/ 7 h 12"/>
                  <a:gd name="T14" fmla="*/ 0 w 3"/>
                  <a:gd name="T15" fmla="*/ 5 h 12"/>
                  <a:gd name="T16" fmla="*/ 2 w 3"/>
                  <a:gd name="T17" fmla="*/ 1 h 12"/>
                  <a:gd name="T18" fmla="*/ 2 w 3"/>
                  <a:gd name="T19" fmla="*/ 0 h 12"/>
                  <a:gd name="T20" fmla="*/ 3 w 3"/>
                  <a:gd name="T21" fmla="*/ 3 h 12"/>
                  <a:gd name="T22" fmla="*/ 3 w 3"/>
                  <a:gd name="T23"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12">
                    <a:moveTo>
                      <a:pt x="3" y="5"/>
                    </a:moveTo>
                    <a:lnTo>
                      <a:pt x="3" y="1"/>
                    </a:lnTo>
                    <a:lnTo>
                      <a:pt x="3" y="3"/>
                    </a:lnTo>
                    <a:lnTo>
                      <a:pt x="2" y="12"/>
                    </a:lnTo>
                    <a:lnTo>
                      <a:pt x="0" y="8"/>
                    </a:lnTo>
                    <a:lnTo>
                      <a:pt x="0" y="8"/>
                    </a:lnTo>
                    <a:lnTo>
                      <a:pt x="2" y="7"/>
                    </a:lnTo>
                    <a:lnTo>
                      <a:pt x="0" y="5"/>
                    </a:lnTo>
                    <a:lnTo>
                      <a:pt x="2" y="1"/>
                    </a:lnTo>
                    <a:lnTo>
                      <a:pt x="2" y="0"/>
                    </a:lnTo>
                    <a:lnTo>
                      <a:pt x="3" y="3"/>
                    </a:lnTo>
                    <a:lnTo>
                      <a:pt x="3"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81" name="Freeform 3237"/>
              <p:cNvSpPr>
                <a:spLocks/>
              </p:cNvSpPr>
              <p:nvPr/>
            </p:nvSpPr>
            <p:spPr bwMode="auto">
              <a:xfrm>
                <a:off x="1455" y="2300"/>
                <a:ext cx="4" cy="2"/>
              </a:xfrm>
              <a:custGeom>
                <a:avLst/>
                <a:gdLst>
                  <a:gd name="T0" fmla="*/ 4 w 4"/>
                  <a:gd name="T1" fmla="*/ 2 h 2"/>
                  <a:gd name="T2" fmla="*/ 4 w 4"/>
                  <a:gd name="T3" fmla="*/ 0 h 2"/>
                  <a:gd name="T4" fmla="*/ 4 w 4"/>
                  <a:gd name="T5" fmla="*/ 0 h 2"/>
                  <a:gd name="T6" fmla="*/ 0 w 4"/>
                  <a:gd name="T7" fmla="*/ 0 h 2"/>
                  <a:gd name="T8" fmla="*/ 0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0"/>
                    </a:lnTo>
                    <a:lnTo>
                      <a:pt x="4" y="0"/>
                    </a:lnTo>
                    <a:lnTo>
                      <a:pt x="0" y="0"/>
                    </a:lnTo>
                    <a:lnTo>
                      <a:pt x="0" y="2"/>
                    </a:lnTo>
                    <a:lnTo>
                      <a:pt x="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82" name="Freeform 3238"/>
              <p:cNvSpPr>
                <a:spLocks/>
              </p:cNvSpPr>
              <p:nvPr/>
            </p:nvSpPr>
            <p:spPr bwMode="auto">
              <a:xfrm>
                <a:off x="1455" y="2300"/>
                <a:ext cx="4" cy="2"/>
              </a:xfrm>
              <a:custGeom>
                <a:avLst/>
                <a:gdLst>
                  <a:gd name="T0" fmla="*/ 4 w 4"/>
                  <a:gd name="T1" fmla="*/ 2 h 2"/>
                  <a:gd name="T2" fmla="*/ 4 w 4"/>
                  <a:gd name="T3" fmla="*/ 0 h 2"/>
                  <a:gd name="T4" fmla="*/ 4 w 4"/>
                  <a:gd name="T5" fmla="*/ 0 h 2"/>
                  <a:gd name="T6" fmla="*/ 0 w 4"/>
                  <a:gd name="T7" fmla="*/ 0 h 2"/>
                  <a:gd name="T8" fmla="*/ 0 w 4"/>
                  <a:gd name="T9" fmla="*/ 2 h 2"/>
                  <a:gd name="T10" fmla="*/ 4 w 4"/>
                  <a:gd name="T11" fmla="*/ 2 h 2"/>
                </a:gdLst>
                <a:ahLst/>
                <a:cxnLst>
                  <a:cxn ang="0">
                    <a:pos x="T0" y="T1"/>
                  </a:cxn>
                  <a:cxn ang="0">
                    <a:pos x="T2" y="T3"/>
                  </a:cxn>
                  <a:cxn ang="0">
                    <a:pos x="T4" y="T5"/>
                  </a:cxn>
                  <a:cxn ang="0">
                    <a:pos x="T6" y="T7"/>
                  </a:cxn>
                  <a:cxn ang="0">
                    <a:pos x="T8" y="T9"/>
                  </a:cxn>
                  <a:cxn ang="0">
                    <a:pos x="T10" y="T11"/>
                  </a:cxn>
                </a:cxnLst>
                <a:rect l="0" t="0" r="r" b="b"/>
                <a:pathLst>
                  <a:path w="4" h="2">
                    <a:moveTo>
                      <a:pt x="4" y="2"/>
                    </a:moveTo>
                    <a:lnTo>
                      <a:pt x="4" y="0"/>
                    </a:lnTo>
                    <a:lnTo>
                      <a:pt x="4" y="0"/>
                    </a:lnTo>
                    <a:lnTo>
                      <a:pt x="0" y="0"/>
                    </a:lnTo>
                    <a:lnTo>
                      <a:pt x="0" y="2"/>
                    </a:lnTo>
                    <a:lnTo>
                      <a:pt x="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83" name="Freeform 3239"/>
              <p:cNvSpPr>
                <a:spLocks/>
              </p:cNvSpPr>
              <p:nvPr/>
            </p:nvSpPr>
            <p:spPr bwMode="auto">
              <a:xfrm>
                <a:off x="1443" y="2299"/>
                <a:ext cx="9" cy="14"/>
              </a:xfrm>
              <a:custGeom>
                <a:avLst/>
                <a:gdLst>
                  <a:gd name="T0" fmla="*/ 3 w 9"/>
                  <a:gd name="T1" fmla="*/ 1 h 14"/>
                  <a:gd name="T2" fmla="*/ 5 w 9"/>
                  <a:gd name="T3" fmla="*/ 1 h 14"/>
                  <a:gd name="T4" fmla="*/ 5 w 9"/>
                  <a:gd name="T5" fmla="*/ 3 h 14"/>
                  <a:gd name="T6" fmla="*/ 9 w 9"/>
                  <a:gd name="T7" fmla="*/ 8 h 14"/>
                  <a:gd name="T8" fmla="*/ 9 w 9"/>
                  <a:gd name="T9" fmla="*/ 12 h 14"/>
                  <a:gd name="T10" fmla="*/ 7 w 9"/>
                  <a:gd name="T11" fmla="*/ 14 h 14"/>
                  <a:gd name="T12" fmla="*/ 7 w 9"/>
                  <a:gd name="T13" fmla="*/ 14 h 14"/>
                  <a:gd name="T14" fmla="*/ 5 w 9"/>
                  <a:gd name="T15" fmla="*/ 14 h 14"/>
                  <a:gd name="T16" fmla="*/ 1 w 9"/>
                  <a:gd name="T17" fmla="*/ 12 h 14"/>
                  <a:gd name="T18" fmla="*/ 0 w 9"/>
                  <a:gd name="T19" fmla="*/ 10 h 14"/>
                  <a:gd name="T20" fmla="*/ 0 w 9"/>
                  <a:gd name="T21" fmla="*/ 8 h 14"/>
                  <a:gd name="T22" fmla="*/ 1 w 9"/>
                  <a:gd name="T23" fmla="*/ 1 h 14"/>
                  <a:gd name="T24" fmla="*/ 1 w 9"/>
                  <a:gd name="T25" fmla="*/ 0 h 14"/>
                  <a:gd name="T26" fmla="*/ 3 w 9"/>
                  <a:gd name="T27" fmla="*/ 0 h 14"/>
                  <a:gd name="T28" fmla="*/ 3 w 9"/>
                  <a:gd name="T2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4">
                    <a:moveTo>
                      <a:pt x="3" y="1"/>
                    </a:moveTo>
                    <a:lnTo>
                      <a:pt x="5" y="1"/>
                    </a:lnTo>
                    <a:lnTo>
                      <a:pt x="5" y="3"/>
                    </a:lnTo>
                    <a:lnTo>
                      <a:pt x="9" y="8"/>
                    </a:lnTo>
                    <a:lnTo>
                      <a:pt x="9" y="12"/>
                    </a:lnTo>
                    <a:lnTo>
                      <a:pt x="7" y="14"/>
                    </a:lnTo>
                    <a:lnTo>
                      <a:pt x="7" y="14"/>
                    </a:lnTo>
                    <a:lnTo>
                      <a:pt x="5" y="14"/>
                    </a:lnTo>
                    <a:lnTo>
                      <a:pt x="1" y="12"/>
                    </a:lnTo>
                    <a:lnTo>
                      <a:pt x="0" y="10"/>
                    </a:lnTo>
                    <a:lnTo>
                      <a:pt x="0" y="8"/>
                    </a:lnTo>
                    <a:lnTo>
                      <a:pt x="1" y="1"/>
                    </a:lnTo>
                    <a:lnTo>
                      <a:pt x="1" y="0"/>
                    </a:lnTo>
                    <a:lnTo>
                      <a:pt x="3" y="0"/>
                    </a:lnTo>
                    <a:lnTo>
                      <a:pt x="3"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84" name="Freeform 3240"/>
              <p:cNvSpPr>
                <a:spLocks/>
              </p:cNvSpPr>
              <p:nvPr/>
            </p:nvSpPr>
            <p:spPr bwMode="auto">
              <a:xfrm>
                <a:off x="1443" y="2299"/>
                <a:ext cx="9" cy="14"/>
              </a:xfrm>
              <a:custGeom>
                <a:avLst/>
                <a:gdLst>
                  <a:gd name="T0" fmla="*/ 3 w 9"/>
                  <a:gd name="T1" fmla="*/ 1 h 14"/>
                  <a:gd name="T2" fmla="*/ 5 w 9"/>
                  <a:gd name="T3" fmla="*/ 1 h 14"/>
                  <a:gd name="T4" fmla="*/ 5 w 9"/>
                  <a:gd name="T5" fmla="*/ 3 h 14"/>
                  <a:gd name="T6" fmla="*/ 9 w 9"/>
                  <a:gd name="T7" fmla="*/ 8 h 14"/>
                  <a:gd name="T8" fmla="*/ 9 w 9"/>
                  <a:gd name="T9" fmla="*/ 12 h 14"/>
                  <a:gd name="T10" fmla="*/ 7 w 9"/>
                  <a:gd name="T11" fmla="*/ 14 h 14"/>
                  <a:gd name="T12" fmla="*/ 7 w 9"/>
                  <a:gd name="T13" fmla="*/ 14 h 14"/>
                  <a:gd name="T14" fmla="*/ 5 w 9"/>
                  <a:gd name="T15" fmla="*/ 14 h 14"/>
                  <a:gd name="T16" fmla="*/ 1 w 9"/>
                  <a:gd name="T17" fmla="*/ 12 h 14"/>
                  <a:gd name="T18" fmla="*/ 0 w 9"/>
                  <a:gd name="T19" fmla="*/ 10 h 14"/>
                  <a:gd name="T20" fmla="*/ 0 w 9"/>
                  <a:gd name="T21" fmla="*/ 8 h 14"/>
                  <a:gd name="T22" fmla="*/ 1 w 9"/>
                  <a:gd name="T23" fmla="*/ 1 h 14"/>
                  <a:gd name="T24" fmla="*/ 1 w 9"/>
                  <a:gd name="T25" fmla="*/ 0 h 14"/>
                  <a:gd name="T26" fmla="*/ 3 w 9"/>
                  <a:gd name="T27" fmla="*/ 0 h 14"/>
                  <a:gd name="T28" fmla="*/ 3 w 9"/>
                  <a:gd name="T2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4">
                    <a:moveTo>
                      <a:pt x="3" y="1"/>
                    </a:moveTo>
                    <a:lnTo>
                      <a:pt x="5" y="1"/>
                    </a:lnTo>
                    <a:lnTo>
                      <a:pt x="5" y="3"/>
                    </a:lnTo>
                    <a:lnTo>
                      <a:pt x="9" y="8"/>
                    </a:lnTo>
                    <a:lnTo>
                      <a:pt x="9" y="12"/>
                    </a:lnTo>
                    <a:lnTo>
                      <a:pt x="7" y="14"/>
                    </a:lnTo>
                    <a:lnTo>
                      <a:pt x="7" y="14"/>
                    </a:lnTo>
                    <a:lnTo>
                      <a:pt x="5" y="14"/>
                    </a:lnTo>
                    <a:lnTo>
                      <a:pt x="1" y="12"/>
                    </a:lnTo>
                    <a:lnTo>
                      <a:pt x="0" y="10"/>
                    </a:lnTo>
                    <a:lnTo>
                      <a:pt x="0" y="8"/>
                    </a:lnTo>
                    <a:lnTo>
                      <a:pt x="1" y="1"/>
                    </a:lnTo>
                    <a:lnTo>
                      <a:pt x="1" y="0"/>
                    </a:lnTo>
                    <a:lnTo>
                      <a:pt x="3" y="0"/>
                    </a:lnTo>
                    <a:lnTo>
                      <a:pt x="3"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85" name="Freeform 3241"/>
              <p:cNvSpPr>
                <a:spLocks/>
              </p:cNvSpPr>
              <p:nvPr/>
            </p:nvSpPr>
            <p:spPr bwMode="auto">
              <a:xfrm>
                <a:off x="1452" y="2316"/>
                <a:ext cx="3" cy="8"/>
              </a:xfrm>
              <a:custGeom>
                <a:avLst/>
                <a:gdLst>
                  <a:gd name="T0" fmla="*/ 0 w 3"/>
                  <a:gd name="T1" fmla="*/ 4 h 8"/>
                  <a:gd name="T2" fmla="*/ 1 w 3"/>
                  <a:gd name="T3" fmla="*/ 0 h 8"/>
                  <a:gd name="T4" fmla="*/ 3 w 3"/>
                  <a:gd name="T5" fmla="*/ 6 h 8"/>
                  <a:gd name="T6" fmla="*/ 3 w 3"/>
                  <a:gd name="T7" fmla="*/ 8 h 8"/>
                  <a:gd name="T8" fmla="*/ 0 w 3"/>
                  <a:gd name="T9" fmla="*/ 6 h 8"/>
                  <a:gd name="T10" fmla="*/ 0 w 3"/>
                  <a:gd name="T11" fmla="*/ 4 h 8"/>
                </a:gdLst>
                <a:ahLst/>
                <a:cxnLst>
                  <a:cxn ang="0">
                    <a:pos x="T0" y="T1"/>
                  </a:cxn>
                  <a:cxn ang="0">
                    <a:pos x="T2" y="T3"/>
                  </a:cxn>
                  <a:cxn ang="0">
                    <a:pos x="T4" y="T5"/>
                  </a:cxn>
                  <a:cxn ang="0">
                    <a:pos x="T6" y="T7"/>
                  </a:cxn>
                  <a:cxn ang="0">
                    <a:pos x="T8" y="T9"/>
                  </a:cxn>
                  <a:cxn ang="0">
                    <a:pos x="T10" y="T11"/>
                  </a:cxn>
                </a:cxnLst>
                <a:rect l="0" t="0" r="r" b="b"/>
                <a:pathLst>
                  <a:path w="3" h="8">
                    <a:moveTo>
                      <a:pt x="0" y="4"/>
                    </a:moveTo>
                    <a:lnTo>
                      <a:pt x="1" y="0"/>
                    </a:lnTo>
                    <a:lnTo>
                      <a:pt x="3" y="6"/>
                    </a:lnTo>
                    <a:lnTo>
                      <a:pt x="3" y="8"/>
                    </a:lnTo>
                    <a:lnTo>
                      <a:pt x="0" y="6"/>
                    </a:lnTo>
                    <a:lnTo>
                      <a:pt x="0"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86" name="Freeform 3242"/>
              <p:cNvSpPr>
                <a:spLocks/>
              </p:cNvSpPr>
              <p:nvPr/>
            </p:nvSpPr>
            <p:spPr bwMode="auto">
              <a:xfrm>
                <a:off x="1452" y="2316"/>
                <a:ext cx="3" cy="8"/>
              </a:xfrm>
              <a:custGeom>
                <a:avLst/>
                <a:gdLst>
                  <a:gd name="T0" fmla="*/ 0 w 3"/>
                  <a:gd name="T1" fmla="*/ 4 h 8"/>
                  <a:gd name="T2" fmla="*/ 1 w 3"/>
                  <a:gd name="T3" fmla="*/ 0 h 8"/>
                  <a:gd name="T4" fmla="*/ 3 w 3"/>
                  <a:gd name="T5" fmla="*/ 6 h 8"/>
                  <a:gd name="T6" fmla="*/ 3 w 3"/>
                  <a:gd name="T7" fmla="*/ 8 h 8"/>
                  <a:gd name="T8" fmla="*/ 0 w 3"/>
                  <a:gd name="T9" fmla="*/ 6 h 8"/>
                  <a:gd name="T10" fmla="*/ 0 w 3"/>
                  <a:gd name="T11" fmla="*/ 4 h 8"/>
                </a:gdLst>
                <a:ahLst/>
                <a:cxnLst>
                  <a:cxn ang="0">
                    <a:pos x="T0" y="T1"/>
                  </a:cxn>
                  <a:cxn ang="0">
                    <a:pos x="T2" y="T3"/>
                  </a:cxn>
                  <a:cxn ang="0">
                    <a:pos x="T4" y="T5"/>
                  </a:cxn>
                  <a:cxn ang="0">
                    <a:pos x="T6" y="T7"/>
                  </a:cxn>
                  <a:cxn ang="0">
                    <a:pos x="T8" y="T9"/>
                  </a:cxn>
                  <a:cxn ang="0">
                    <a:pos x="T10" y="T11"/>
                  </a:cxn>
                </a:cxnLst>
                <a:rect l="0" t="0" r="r" b="b"/>
                <a:pathLst>
                  <a:path w="3" h="8">
                    <a:moveTo>
                      <a:pt x="0" y="4"/>
                    </a:moveTo>
                    <a:lnTo>
                      <a:pt x="1" y="0"/>
                    </a:lnTo>
                    <a:lnTo>
                      <a:pt x="3" y="6"/>
                    </a:lnTo>
                    <a:lnTo>
                      <a:pt x="3" y="8"/>
                    </a:lnTo>
                    <a:lnTo>
                      <a:pt x="0" y="6"/>
                    </a:lnTo>
                    <a:lnTo>
                      <a:pt x="0"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87" name="Freeform 3243"/>
              <p:cNvSpPr>
                <a:spLocks/>
              </p:cNvSpPr>
              <p:nvPr/>
            </p:nvSpPr>
            <p:spPr bwMode="auto">
              <a:xfrm>
                <a:off x="1475" y="2297"/>
                <a:ext cx="2" cy="10"/>
              </a:xfrm>
              <a:custGeom>
                <a:avLst/>
                <a:gdLst>
                  <a:gd name="T0" fmla="*/ 2 w 2"/>
                  <a:gd name="T1" fmla="*/ 2 h 10"/>
                  <a:gd name="T2" fmla="*/ 2 w 2"/>
                  <a:gd name="T3" fmla="*/ 0 h 10"/>
                  <a:gd name="T4" fmla="*/ 2 w 2"/>
                  <a:gd name="T5" fmla="*/ 3 h 10"/>
                  <a:gd name="T6" fmla="*/ 2 w 2"/>
                  <a:gd name="T7" fmla="*/ 10 h 10"/>
                  <a:gd name="T8" fmla="*/ 0 w 2"/>
                  <a:gd name="T9" fmla="*/ 9 h 10"/>
                  <a:gd name="T10" fmla="*/ 0 w 2"/>
                  <a:gd name="T11" fmla="*/ 7 h 10"/>
                  <a:gd name="T12" fmla="*/ 2 w 2"/>
                  <a:gd name="T13" fmla="*/ 5 h 10"/>
                  <a:gd name="T14" fmla="*/ 2 w 2"/>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0">
                    <a:moveTo>
                      <a:pt x="2" y="2"/>
                    </a:moveTo>
                    <a:lnTo>
                      <a:pt x="2" y="0"/>
                    </a:lnTo>
                    <a:lnTo>
                      <a:pt x="2" y="3"/>
                    </a:lnTo>
                    <a:lnTo>
                      <a:pt x="2" y="10"/>
                    </a:lnTo>
                    <a:lnTo>
                      <a:pt x="0" y="9"/>
                    </a:lnTo>
                    <a:lnTo>
                      <a:pt x="0" y="7"/>
                    </a:lnTo>
                    <a:lnTo>
                      <a:pt x="2" y="5"/>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88" name="Freeform 3244"/>
              <p:cNvSpPr>
                <a:spLocks/>
              </p:cNvSpPr>
              <p:nvPr/>
            </p:nvSpPr>
            <p:spPr bwMode="auto">
              <a:xfrm>
                <a:off x="1475" y="2297"/>
                <a:ext cx="2" cy="10"/>
              </a:xfrm>
              <a:custGeom>
                <a:avLst/>
                <a:gdLst>
                  <a:gd name="T0" fmla="*/ 2 w 2"/>
                  <a:gd name="T1" fmla="*/ 2 h 10"/>
                  <a:gd name="T2" fmla="*/ 2 w 2"/>
                  <a:gd name="T3" fmla="*/ 0 h 10"/>
                  <a:gd name="T4" fmla="*/ 2 w 2"/>
                  <a:gd name="T5" fmla="*/ 3 h 10"/>
                  <a:gd name="T6" fmla="*/ 2 w 2"/>
                  <a:gd name="T7" fmla="*/ 10 h 10"/>
                  <a:gd name="T8" fmla="*/ 0 w 2"/>
                  <a:gd name="T9" fmla="*/ 9 h 10"/>
                  <a:gd name="T10" fmla="*/ 0 w 2"/>
                  <a:gd name="T11" fmla="*/ 7 h 10"/>
                  <a:gd name="T12" fmla="*/ 2 w 2"/>
                  <a:gd name="T13" fmla="*/ 5 h 10"/>
                  <a:gd name="T14" fmla="*/ 2 w 2"/>
                  <a:gd name="T15" fmla="*/ 2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0">
                    <a:moveTo>
                      <a:pt x="2" y="2"/>
                    </a:moveTo>
                    <a:lnTo>
                      <a:pt x="2" y="0"/>
                    </a:lnTo>
                    <a:lnTo>
                      <a:pt x="2" y="3"/>
                    </a:lnTo>
                    <a:lnTo>
                      <a:pt x="2" y="10"/>
                    </a:lnTo>
                    <a:lnTo>
                      <a:pt x="0" y="9"/>
                    </a:lnTo>
                    <a:lnTo>
                      <a:pt x="0" y="7"/>
                    </a:lnTo>
                    <a:lnTo>
                      <a:pt x="2" y="5"/>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89" name="Freeform 3245"/>
              <p:cNvSpPr>
                <a:spLocks/>
              </p:cNvSpPr>
              <p:nvPr/>
            </p:nvSpPr>
            <p:spPr bwMode="auto">
              <a:xfrm>
                <a:off x="1484" y="2306"/>
                <a:ext cx="7" cy="10"/>
              </a:xfrm>
              <a:custGeom>
                <a:avLst/>
                <a:gdLst>
                  <a:gd name="T0" fmla="*/ 5 w 7"/>
                  <a:gd name="T1" fmla="*/ 7 h 10"/>
                  <a:gd name="T2" fmla="*/ 7 w 7"/>
                  <a:gd name="T3" fmla="*/ 7 h 10"/>
                  <a:gd name="T4" fmla="*/ 7 w 7"/>
                  <a:gd name="T5" fmla="*/ 10 h 10"/>
                  <a:gd name="T6" fmla="*/ 5 w 7"/>
                  <a:gd name="T7" fmla="*/ 10 h 10"/>
                  <a:gd name="T8" fmla="*/ 3 w 7"/>
                  <a:gd name="T9" fmla="*/ 10 h 10"/>
                  <a:gd name="T10" fmla="*/ 5 w 7"/>
                  <a:gd name="T11" fmla="*/ 9 h 10"/>
                  <a:gd name="T12" fmla="*/ 0 w 7"/>
                  <a:gd name="T13" fmla="*/ 0 h 10"/>
                  <a:gd name="T14" fmla="*/ 2 w 7"/>
                  <a:gd name="T15" fmla="*/ 0 h 10"/>
                  <a:gd name="T16" fmla="*/ 5 w 7"/>
                  <a:gd name="T1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0">
                    <a:moveTo>
                      <a:pt x="5" y="7"/>
                    </a:moveTo>
                    <a:lnTo>
                      <a:pt x="7" y="7"/>
                    </a:lnTo>
                    <a:lnTo>
                      <a:pt x="7" y="10"/>
                    </a:lnTo>
                    <a:lnTo>
                      <a:pt x="5" y="10"/>
                    </a:lnTo>
                    <a:lnTo>
                      <a:pt x="3" y="10"/>
                    </a:lnTo>
                    <a:lnTo>
                      <a:pt x="5" y="9"/>
                    </a:lnTo>
                    <a:lnTo>
                      <a:pt x="0" y="0"/>
                    </a:lnTo>
                    <a:lnTo>
                      <a:pt x="2" y="0"/>
                    </a:lnTo>
                    <a:lnTo>
                      <a:pt x="5" y="7"/>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90" name="Freeform 3246"/>
              <p:cNvSpPr>
                <a:spLocks/>
              </p:cNvSpPr>
              <p:nvPr/>
            </p:nvSpPr>
            <p:spPr bwMode="auto">
              <a:xfrm>
                <a:off x="1484" y="2306"/>
                <a:ext cx="7" cy="10"/>
              </a:xfrm>
              <a:custGeom>
                <a:avLst/>
                <a:gdLst>
                  <a:gd name="T0" fmla="*/ 5 w 7"/>
                  <a:gd name="T1" fmla="*/ 7 h 10"/>
                  <a:gd name="T2" fmla="*/ 7 w 7"/>
                  <a:gd name="T3" fmla="*/ 7 h 10"/>
                  <a:gd name="T4" fmla="*/ 7 w 7"/>
                  <a:gd name="T5" fmla="*/ 10 h 10"/>
                  <a:gd name="T6" fmla="*/ 5 w 7"/>
                  <a:gd name="T7" fmla="*/ 10 h 10"/>
                  <a:gd name="T8" fmla="*/ 3 w 7"/>
                  <a:gd name="T9" fmla="*/ 10 h 10"/>
                  <a:gd name="T10" fmla="*/ 5 w 7"/>
                  <a:gd name="T11" fmla="*/ 9 h 10"/>
                  <a:gd name="T12" fmla="*/ 0 w 7"/>
                  <a:gd name="T13" fmla="*/ 0 h 10"/>
                  <a:gd name="T14" fmla="*/ 2 w 7"/>
                  <a:gd name="T15" fmla="*/ 0 h 10"/>
                  <a:gd name="T16" fmla="*/ 5 w 7"/>
                  <a:gd name="T17"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0">
                    <a:moveTo>
                      <a:pt x="5" y="7"/>
                    </a:moveTo>
                    <a:lnTo>
                      <a:pt x="7" y="7"/>
                    </a:lnTo>
                    <a:lnTo>
                      <a:pt x="7" y="10"/>
                    </a:lnTo>
                    <a:lnTo>
                      <a:pt x="5" y="10"/>
                    </a:lnTo>
                    <a:lnTo>
                      <a:pt x="3" y="10"/>
                    </a:lnTo>
                    <a:lnTo>
                      <a:pt x="5" y="9"/>
                    </a:lnTo>
                    <a:lnTo>
                      <a:pt x="0" y="0"/>
                    </a:lnTo>
                    <a:lnTo>
                      <a:pt x="2" y="0"/>
                    </a:lnTo>
                    <a:lnTo>
                      <a:pt x="5" y="7"/>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91" name="Freeform 3247"/>
              <p:cNvSpPr>
                <a:spLocks/>
              </p:cNvSpPr>
              <p:nvPr/>
            </p:nvSpPr>
            <p:spPr bwMode="auto">
              <a:xfrm>
                <a:off x="1503" y="2316"/>
                <a:ext cx="2" cy="4"/>
              </a:xfrm>
              <a:custGeom>
                <a:avLst/>
                <a:gdLst>
                  <a:gd name="T0" fmla="*/ 0 w 2"/>
                  <a:gd name="T1" fmla="*/ 0 h 4"/>
                  <a:gd name="T2" fmla="*/ 0 w 2"/>
                  <a:gd name="T3" fmla="*/ 2 h 4"/>
                  <a:gd name="T4" fmla="*/ 0 w 2"/>
                  <a:gd name="T5" fmla="*/ 4 h 4"/>
                  <a:gd name="T6" fmla="*/ 2 w 2"/>
                  <a:gd name="T7" fmla="*/ 4 h 4"/>
                  <a:gd name="T8" fmla="*/ 2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0" y="2"/>
                    </a:lnTo>
                    <a:lnTo>
                      <a:pt x="0" y="4"/>
                    </a:lnTo>
                    <a:lnTo>
                      <a:pt x="2" y="4"/>
                    </a:lnTo>
                    <a:lnTo>
                      <a:pt x="2"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92" name="Freeform 3248"/>
              <p:cNvSpPr>
                <a:spLocks/>
              </p:cNvSpPr>
              <p:nvPr/>
            </p:nvSpPr>
            <p:spPr bwMode="auto">
              <a:xfrm>
                <a:off x="1503" y="2316"/>
                <a:ext cx="2" cy="4"/>
              </a:xfrm>
              <a:custGeom>
                <a:avLst/>
                <a:gdLst>
                  <a:gd name="T0" fmla="*/ 0 w 2"/>
                  <a:gd name="T1" fmla="*/ 0 h 4"/>
                  <a:gd name="T2" fmla="*/ 0 w 2"/>
                  <a:gd name="T3" fmla="*/ 2 h 4"/>
                  <a:gd name="T4" fmla="*/ 0 w 2"/>
                  <a:gd name="T5" fmla="*/ 4 h 4"/>
                  <a:gd name="T6" fmla="*/ 2 w 2"/>
                  <a:gd name="T7" fmla="*/ 4 h 4"/>
                  <a:gd name="T8" fmla="*/ 2 w 2"/>
                  <a:gd name="T9" fmla="*/ 0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lnTo>
                      <a:pt x="0" y="2"/>
                    </a:lnTo>
                    <a:lnTo>
                      <a:pt x="0" y="4"/>
                    </a:lnTo>
                    <a:lnTo>
                      <a:pt x="2" y="4"/>
                    </a:lnTo>
                    <a:lnTo>
                      <a:pt x="2"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93" name="Freeform 3249"/>
              <p:cNvSpPr>
                <a:spLocks/>
              </p:cNvSpPr>
              <p:nvPr/>
            </p:nvSpPr>
            <p:spPr bwMode="auto">
              <a:xfrm>
                <a:off x="1493" y="2327"/>
                <a:ext cx="5" cy="11"/>
              </a:xfrm>
              <a:custGeom>
                <a:avLst/>
                <a:gdLst>
                  <a:gd name="T0" fmla="*/ 0 w 5"/>
                  <a:gd name="T1" fmla="*/ 0 h 11"/>
                  <a:gd name="T2" fmla="*/ 1 w 5"/>
                  <a:gd name="T3" fmla="*/ 7 h 11"/>
                  <a:gd name="T4" fmla="*/ 3 w 5"/>
                  <a:gd name="T5" fmla="*/ 7 h 11"/>
                  <a:gd name="T6" fmla="*/ 5 w 5"/>
                  <a:gd name="T7" fmla="*/ 11 h 11"/>
                  <a:gd name="T8" fmla="*/ 5 w 5"/>
                  <a:gd name="T9" fmla="*/ 11 h 11"/>
                  <a:gd name="T10" fmla="*/ 3 w 5"/>
                  <a:gd name="T11" fmla="*/ 9 h 11"/>
                  <a:gd name="T12" fmla="*/ 1 w 5"/>
                  <a:gd name="T13" fmla="*/ 7 h 11"/>
                  <a:gd name="T14" fmla="*/ 0 w 5"/>
                  <a:gd name="T15" fmla="*/ 2 h 11"/>
                  <a:gd name="T16" fmla="*/ 0 w 5"/>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1">
                    <a:moveTo>
                      <a:pt x="0" y="0"/>
                    </a:moveTo>
                    <a:lnTo>
                      <a:pt x="1" y="7"/>
                    </a:lnTo>
                    <a:lnTo>
                      <a:pt x="3" y="7"/>
                    </a:lnTo>
                    <a:lnTo>
                      <a:pt x="5" y="11"/>
                    </a:lnTo>
                    <a:lnTo>
                      <a:pt x="5" y="11"/>
                    </a:lnTo>
                    <a:lnTo>
                      <a:pt x="3" y="9"/>
                    </a:lnTo>
                    <a:lnTo>
                      <a:pt x="1" y="7"/>
                    </a:lnTo>
                    <a:lnTo>
                      <a:pt x="0"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94" name="Freeform 3250"/>
              <p:cNvSpPr>
                <a:spLocks/>
              </p:cNvSpPr>
              <p:nvPr/>
            </p:nvSpPr>
            <p:spPr bwMode="auto">
              <a:xfrm>
                <a:off x="1493" y="2327"/>
                <a:ext cx="5" cy="11"/>
              </a:xfrm>
              <a:custGeom>
                <a:avLst/>
                <a:gdLst>
                  <a:gd name="T0" fmla="*/ 0 w 5"/>
                  <a:gd name="T1" fmla="*/ 0 h 11"/>
                  <a:gd name="T2" fmla="*/ 1 w 5"/>
                  <a:gd name="T3" fmla="*/ 7 h 11"/>
                  <a:gd name="T4" fmla="*/ 3 w 5"/>
                  <a:gd name="T5" fmla="*/ 7 h 11"/>
                  <a:gd name="T6" fmla="*/ 5 w 5"/>
                  <a:gd name="T7" fmla="*/ 11 h 11"/>
                  <a:gd name="T8" fmla="*/ 5 w 5"/>
                  <a:gd name="T9" fmla="*/ 11 h 11"/>
                  <a:gd name="T10" fmla="*/ 3 w 5"/>
                  <a:gd name="T11" fmla="*/ 9 h 11"/>
                  <a:gd name="T12" fmla="*/ 1 w 5"/>
                  <a:gd name="T13" fmla="*/ 7 h 11"/>
                  <a:gd name="T14" fmla="*/ 0 w 5"/>
                  <a:gd name="T15" fmla="*/ 2 h 11"/>
                  <a:gd name="T16" fmla="*/ 0 w 5"/>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1">
                    <a:moveTo>
                      <a:pt x="0" y="0"/>
                    </a:moveTo>
                    <a:lnTo>
                      <a:pt x="1" y="7"/>
                    </a:lnTo>
                    <a:lnTo>
                      <a:pt x="3" y="7"/>
                    </a:lnTo>
                    <a:lnTo>
                      <a:pt x="5" y="11"/>
                    </a:lnTo>
                    <a:lnTo>
                      <a:pt x="5" y="11"/>
                    </a:lnTo>
                    <a:lnTo>
                      <a:pt x="3" y="9"/>
                    </a:lnTo>
                    <a:lnTo>
                      <a:pt x="1" y="7"/>
                    </a:lnTo>
                    <a:lnTo>
                      <a:pt x="0"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95" name="Freeform 3251"/>
              <p:cNvSpPr>
                <a:spLocks/>
              </p:cNvSpPr>
              <p:nvPr/>
            </p:nvSpPr>
            <p:spPr bwMode="auto">
              <a:xfrm>
                <a:off x="1505" y="2340"/>
                <a:ext cx="9" cy="10"/>
              </a:xfrm>
              <a:custGeom>
                <a:avLst/>
                <a:gdLst>
                  <a:gd name="T0" fmla="*/ 6 w 9"/>
                  <a:gd name="T1" fmla="*/ 3 h 10"/>
                  <a:gd name="T2" fmla="*/ 6 w 9"/>
                  <a:gd name="T3" fmla="*/ 1 h 10"/>
                  <a:gd name="T4" fmla="*/ 6 w 9"/>
                  <a:gd name="T5" fmla="*/ 1 h 10"/>
                  <a:gd name="T6" fmla="*/ 6 w 9"/>
                  <a:gd name="T7" fmla="*/ 1 h 10"/>
                  <a:gd name="T8" fmla="*/ 2 w 9"/>
                  <a:gd name="T9" fmla="*/ 1 h 10"/>
                  <a:gd name="T10" fmla="*/ 0 w 9"/>
                  <a:gd name="T11" fmla="*/ 1 h 10"/>
                  <a:gd name="T12" fmla="*/ 0 w 9"/>
                  <a:gd name="T13" fmla="*/ 0 h 10"/>
                  <a:gd name="T14" fmla="*/ 2 w 9"/>
                  <a:gd name="T15" fmla="*/ 0 h 10"/>
                  <a:gd name="T16" fmla="*/ 4 w 9"/>
                  <a:gd name="T17" fmla="*/ 0 h 10"/>
                  <a:gd name="T18" fmla="*/ 6 w 9"/>
                  <a:gd name="T19" fmla="*/ 1 h 10"/>
                  <a:gd name="T20" fmla="*/ 7 w 9"/>
                  <a:gd name="T21" fmla="*/ 1 h 10"/>
                  <a:gd name="T22" fmla="*/ 9 w 9"/>
                  <a:gd name="T23" fmla="*/ 1 h 10"/>
                  <a:gd name="T24" fmla="*/ 9 w 9"/>
                  <a:gd name="T25" fmla="*/ 5 h 10"/>
                  <a:gd name="T26" fmla="*/ 4 w 9"/>
                  <a:gd name="T27" fmla="*/ 10 h 10"/>
                  <a:gd name="T28" fmla="*/ 2 w 9"/>
                  <a:gd name="T29" fmla="*/ 9 h 10"/>
                  <a:gd name="T30" fmla="*/ 7 w 9"/>
                  <a:gd name="T31" fmla="*/ 5 h 10"/>
                  <a:gd name="T32" fmla="*/ 6 w 9"/>
                  <a:gd name="T3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10">
                    <a:moveTo>
                      <a:pt x="6" y="3"/>
                    </a:moveTo>
                    <a:lnTo>
                      <a:pt x="6" y="1"/>
                    </a:lnTo>
                    <a:lnTo>
                      <a:pt x="6" y="1"/>
                    </a:lnTo>
                    <a:lnTo>
                      <a:pt x="6" y="1"/>
                    </a:lnTo>
                    <a:lnTo>
                      <a:pt x="2" y="1"/>
                    </a:lnTo>
                    <a:lnTo>
                      <a:pt x="0" y="1"/>
                    </a:lnTo>
                    <a:lnTo>
                      <a:pt x="0" y="0"/>
                    </a:lnTo>
                    <a:lnTo>
                      <a:pt x="2" y="0"/>
                    </a:lnTo>
                    <a:lnTo>
                      <a:pt x="4" y="0"/>
                    </a:lnTo>
                    <a:lnTo>
                      <a:pt x="6" y="1"/>
                    </a:lnTo>
                    <a:lnTo>
                      <a:pt x="7" y="1"/>
                    </a:lnTo>
                    <a:lnTo>
                      <a:pt x="9" y="1"/>
                    </a:lnTo>
                    <a:lnTo>
                      <a:pt x="9" y="5"/>
                    </a:lnTo>
                    <a:lnTo>
                      <a:pt x="4" y="10"/>
                    </a:lnTo>
                    <a:lnTo>
                      <a:pt x="2" y="9"/>
                    </a:lnTo>
                    <a:lnTo>
                      <a:pt x="7" y="5"/>
                    </a:lnTo>
                    <a:lnTo>
                      <a:pt x="6" y="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96" name="Freeform 3252"/>
              <p:cNvSpPr>
                <a:spLocks/>
              </p:cNvSpPr>
              <p:nvPr/>
            </p:nvSpPr>
            <p:spPr bwMode="auto">
              <a:xfrm>
                <a:off x="1505" y="2340"/>
                <a:ext cx="9" cy="10"/>
              </a:xfrm>
              <a:custGeom>
                <a:avLst/>
                <a:gdLst>
                  <a:gd name="T0" fmla="*/ 6 w 9"/>
                  <a:gd name="T1" fmla="*/ 3 h 10"/>
                  <a:gd name="T2" fmla="*/ 6 w 9"/>
                  <a:gd name="T3" fmla="*/ 1 h 10"/>
                  <a:gd name="T4" fmla="*/ 6 w 9"/>
                  <a:gd name="T5" fmla="*/ 1 h 10"/>
                  <a:gd name="T6" fmla="*/ 6 w 9"/>
                  <a:gd name="T7" fmla="*/ 1 h 10"/>
                  <a:gd name="T8" fmla="*/ 2 w 9"/>
                  <a:gd name="T9" fmla="*/ 1 h 10"/>
                  <a:gd name="T10" fmla="*/ 0 w 9"/>
                  <a:gd name="T11" fmla="*/ 1 h 10"/>
                  <a:gd name="T12" fmla="*/ 0 w 9"/>
                  <a:gd name="T13" fmla="*/ 0 h 10"/>
                  <a:gd name="T14" fmla="*/ 2 w 9"/>
                  <a:gd name="T15" fmla="*/ 0 h 10"/>
                  <a:gd name="T16" fmla="*/ 4 w 9"/>
                  <a:gd name="T17" fmla="*/ 0 h 10"/>
                  <a:gd name="T18" fmla="*/ 6 w 9"/>
                  <a:gd name="T19" fmla="*/ 1 h 10"/>
                  <a:gd name="T20" fmla="*/ 7 w 9"/>
                  <a:gd name="T21" fmla="*/ 1 h 10"/>
                  <a:gd name="T22" fmla="*/ 9 w 9"/>
                  <a:gd name="T23" fmla="*/ 1 h 10"/>
                  <a:gd name="T24" fmla="*/ 9 w 9"/>
                  <a:gd name="T25" fmla="*/ 5 h 10"/>
                  <a:gd name="T26" fmla="*/ 4 w 9"/>
                  <a:gd name="T27" fmla="*/ 10 h 10"/>
                  <a:gd name="T28" fmla="*/ 2 w 9"/>
                  <a:gd name="T29" fmla="*/ 9 h 10"/>
                  <a:gd name="T30" fmla="*/ 7 w 9"/>
                  <a:gd name="T31" fmla="*/ 5 h 10"/>
                  <a:gd name="T32" fmla="*/ 6 w 9"/>
                  <a:gd name="T3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10">
                    <a:moveTo>
                      <a:pt x="6" y="3"/>
                    </a:moveTo>
                    <a:lnTo>
                      <a:pt x="6" y="1"/>
                    </a:lnTo>
                    <a:lnTo>
                      <a:pt x="6" y="1"/>
                    </a:lnTo>
                    <a:lnTo>
                      <a:pt x="6" y="1"/>
                    </a:lnTo>
                    <a:lnTo>
                      <a:pt x="2" y="1"/>
                    </a:lnTo>
                    <a:lnTo>
                      <a:pt x="0" y="1"/>
                    </a:lnTo>
                    <a:lnTo>
                      <a:pt x="0" y="0"/>
                    </a:lnTo>
                    <a:lnTo>
                      <a:pt x="2" y="0"/>
                    </a:lnTo>
                    <a:lnTo>
                      <a:pt x="4" y="0"/>
                    </a:lnTo>
                    <a:lnTo>
                      <a:pt x="6" y="1"/>
                    </a:lnTo>
                    <a:lnTo>
                      <a:pt x="7" y="1"/>
                    </a:lnTo>
                    <a:lnTo>
                      <a:pt x="9" y="1"/>
                    </a:lnTo>
                    <a:lnTo>
                      <a:pt x="9" y="5"/>
                    </a:lnTo>
                    <a:lnTo>
                      <a:pt x="4" y="10"/>
                    </a:lnTo>
                    <a:lnTo>
                      <a:pt x="2" y="9"/>
                    </a:lnTo>
                    <a:lnTo>
                      <a:pt x="7" y="5"/>
                    </a:lnTo>
                    <a:lnTo>
                      <a:pt x="6" y="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97" name="Freeform 3253"/>
              <p:cNvSpPr>
                <a:spLocks/>
              </p:cNvSpPr>
              <p:nvPr/>
            </p:nvSpPr>
            <p:spPr bwMode="auto">
              <a:xfrm>
                <a:off x="1527" y="2347"/>
                <a:ext cx="5" cy="2"/>
              </a:xfrm>
              <a:custGeom>
                <a:avLst/>
                <a:gdLst>
                  <a:gd name="T0" fmla="*/ 5 w 5"/>
                  <a:gd name="T1" fmla="*/ 2 h 2"/>
                  <a:gd name="T2" fmla="*/ 5 w 5"/>
                  <a:gd name="T3" fmla="*/ 0 h 2"/>
                  <a:gd name="T4" fmla="*/ 1 w 5"/>
                  <a:gd name="T5" fmla="*/ 0 h 2"/>
                  <a:gd name="T6" fmla="*/ 0 w 5"/>
                  <a:gd name="T7" fmla="*/ 2 h 2"/>
                  <a:gd name="T8" fmla="*/ 1 w 5"/>
                  <a:gd name="T9" fmla="*/ 0 h 2"/>
                  <a:gd name="T10" fmla="*/ 3 w 5"/>
                  <a:gd name="T11" fmla="*/ 2 h 2"/>
                  <a:gd name="T12" fmla="*/ 5 w 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 h="2">
                    <a:moveTo>
                      <a:pt x="5" y="2"/>
                    </a:moveTo>
                    <a:lnTo>
                      <a:pt x="5" y="0"/>
                    </a:lnTo>
                    <a:lnTo>
                      <a:pt x="1" y="0"/>
                    </a:lnTo>
                    <a:lnTo>
                      <a:pt x="0" y="2"/>
                    </a:lnTo>
                    <a:lnTo>
                      <a:pt x="1" y="0"/>
                    </a:lnTo>
                    <a:lnTo>
                      <a:pt x="3" y="2"/>
                    </a:lnTo>
                    <a:lnTo>
                      <a:pt x="5"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98" name="Freeform 3254"/>
              <p:cNvSpPr>
                <a:spLocks/>
              </p:cNvSpPr>
              <p:nvPr/>
            </p:nvSpPr>
            <p:spPr bwMode="auto">
              <a:xfrm>
                <a:off x="1527" y="2347"/>
                <a:ext cx="5" cy="2"/>
              </a:xfrm>
              <a:custGeom>
                <a:avLst/>
                <a:gdLst>
                  <a:gd name="T0" fmla="*/ 5 w 5"/>
                  <a:gd name="T1" fmla="*/ 2 h 2"/>
                  <a:gd name="T2" fmla="*/ 5 w 5"/>
                  <a:gd name="T3" fmla="*/ 0 h 2"/>
                  <a:gd name="T4" fmla="*/ 1 w 5"/>
                  <a:gd name="T5" fmla="*/ 0 h 2"/>
                  <a:gd name="T6" fmla="*/ 0 w 5"/>
                  <a:gd name="T7" fmla="*/ 2 h 2"/>
                  <a:gd name="T8" fmla="*/ 1 w 5"/>
                  <a:gd name="T9" fmla="*/ 0 h 2"/>
                  <a:gd name="T10" fmla="*/ 3 w 5"/>
                  <a:gd name="T11" fmla="*/ 2 h 2"/>
                  <a:gd name="T12" fmla="*/ 5 w 5"/>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5" h="2">
                    <a:moveTo>
                      <a:pt x="5" y="2"/>
                    </a:moveTo>
                    <a:lnTo>
                      <a:pt x="5" y="0"/>
                    </a:lnTo>
                    <a:lnTo>
                      <a:pt x="1" y="0"/>
                    </a:lnTo>
                    <a:lnTo>
                      <a:pt x="0" y="2"/>
                    </a:lnTo>
                    <a:lnTo>
                      <a:pt x="1" y="0"/>
                    </a:lnTo>
                    <a:lnTo>
                      <a:pt x="3" y="2"/>
                    </a:lnTo>
                    <a:lnTo>
                      <a:pt x="5"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399" name="Freeform 3255"/>
              <p:cNvSpPr>
                <a:spLocks/>
              </p:cNvSpPr>
              <p:nvPr/>
            </p:nvSpPr>
            <p:spPr bwMode="auto">
              <a:xfrm>
                <a:off x="1539" y="2354"/>
                <a:ext cx="13" cy="5"/>
              </a:xfrm>
              <a:custGeom>
                <a:avLst/>
                <a:gdLst>
                  <a:gd name="T0" fmla="*/ 2 w 13"/>
                  <a:gd name="T1" fmla="*/ 0 h 5"/>
                  <a:gd name="T2" fmla="*/ 4 w 13"/>
                  <a:gd name="T3" fmla="*/ 0 h 5"/>
                  <a:gd name="T4" fmla="*/ 13 w 13"/>
                  <a:gd name="T5" fmla="*/ 3 h 5"/>
                  <a:gd name="T6" fmla="*/ 13 w 13"/>
                  <a:gd name="T7" fmla="*/ 5 h 5"/>
                  <a:gd name="T8" fmla="*/ 11 w 13"/>
                  <a:gd name="T9" fmla="*/ 5 h 5"/>
                  <a:gd name="T10" fmla="*/ 5 w 13"/>
                  <a:gd name="T11" fmla="*/ 2 h 5"/>
                  <a:gd name="T12" fmla="*/ 2 w 13"/>
                  <a:gd name="T13" fmla="*/ 3 h 5"/>
                  <a:gd name="T14" fmla="*/ 0 w 13"/>
                  <a:gd name="T15" fmla="*/ 3 h 5"/>
                  <a:gd name="T16" fmla="*/ 0 w 13"/>
                  <a:gd name="T17" fmla="*/ 2 h 5"/>
                  <a:gd name="T18" fmla="*/ 2 w 13"/>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
                    <a:moveTo>
                      <a:pt x="2" y="0"/>
                    </a:moveTo>
                    <a:lnTo>
                      <a:pt x="4" y="0"/>
                    </a:lnTo>
                    <a:lnTo>
                      <a:pt x="13" y="3"/>
                    </a:lnTo>
                    <a:lnTo>
                      <a:pt x="13" y="5"/>
                    </a:lnTo>
                    <a:lnTo>
                      <a:pt x="11" y="5"/>
                    </a:lnTo>
                    <a:lnTo>
                      <a:pt x="5" y="2"/>
                    </a:lnTo>
                    <a:lnTo>
                      <a:pt x="2" y="3"/>
                    </a:lnTo>
                    <a:lnTo>
                      <a:pt x="0" y="3"/>
                    </a:lnTo>
                    <a:lnTo>
                      <a:pt x="0" y="2"/>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00" name="Freeform 3256"/>
              <p:cNvSpPr>
                <a:spLocks/>
              </p:cNvSpPr>
              <p:nvPr/>
            </p:nvSpPr>
            <p:spPr bwMode="auto">
              <a:xfrm>
                <a:off x="1539" y="2354"/>
                <a:ext cx="13" cy="5"/>
              </a:xfrm>
              <a:custGeom>
                <a:avLst/>
                <a:gdLst>
                  <a:gd name="T0" fmla="*/ 2 w 13"/>
                  <a:gd name="T1" fmla="*/ 0 h 5"/>
                  <a:gd name="T2" fmla="*/ 4 w 13"/>
                  <a:gd name="T3" fmla="*/ 0 h 5"/>
                  <a:gd name="T4" fmla="*/ 13 w 13"/>
                  <a:gd name="T5" fmla="*/ 3 h 5"/>
                  <a:gd name="T6" fmla="*/ 13 w 13"/>
                  <a:gd name="T7" fmla="*/ 5 h 5"/>
                  <a:gd name="T8" fmla="*/ 11 w 13"/>
                  <a:gd name="T9" fmla="*/ 5 h 5"/>
                  <a:gd name="T10" fmla="*/ 5 w 13"/>
                  <a:gd name="T11" fmla="*/ 2 h 5"/>
                  <a:gd name="T12" fmla="*/ 2 w 13"/>
                  <a:gd name="T13" fmla="*/ 3 h 5"/>
                  <a:gd name="T14" fmla="*/ 0 w 13"/>
                  <a:gd name="T15" fmla="*/ 3 h 5"/>
                  <a:gd name="T16" fmla="*/ 0 w 13"/>
                  <a:gd name="T17" fmla="*/ 2 h 5"/>
                  <a:gd name="T18" fmla="*/ 2 w 13"/>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
                    <a:moveTo>
                      <a:pt x="2" y="0"/>
                    </a:moveTo>
                    <a:lnTo>
                      <a:pt x="4" y="0"/>
                    </a:lnTo>
                    <a:lnTo>
                      <a:pt x="13" y="3"/>
                    </a:lnTo>
                    <a:lnTo>
                      <a:pt x="13" y="5"/>
                    </a:lnTo>
                    <a:lnTo>
                      <a:pt x="11" y="5"/>
                    </a:lnTo>
                    <a:lnTo>
                      <a:pt x="5" y="2"/>
                    </a:lnTo>
                    <a:lnTo>
                      <a:pt x="2" y="3"/>
                    </a:lnTo>
                    <a:lnTo>
                      <a:pt x="0" y="3"/>
                    </a:lnTo>
                    <a:lnTo>
                      <a:pt x="0"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01" name="Freeform 3257"/>
              <p:cNvSpPr>
                <a:spLocks/>
              </p:cNvSpPr>
              <p:nvPr/>
            </p:nvSpPr>
            <p:spPr bwMode="auto">
              <a:xfrm>
                <a:off x="1518" y="2365"/>
                <a:ext cx="10" cy="7"/>
              </a:xfrm>
              <a:custGeom>
                <a:avLst/>
                <a:gdLst>
                  <a:gd name="T0" fmla="*/ 10 w 10"/>
                  <a:gd name="T1" fmla="*/ 0 h 7"/>
                  <a:gd name="T2" fmla="*/ 9 w 10"/>
                  <a:gd name="T3" fmla="*/ 0 h 7"/>
                  <a:gd name="T4" fmla="*/ 9 w 10"/>
                  <a:gd name="T5" fmla="*/ 5 h 7"/>
                  <a:gd name="T6" fmla="*/ 7 w 10"/>
                  <a:gd name="T7" fmla="*/ 7 h 7"/>
                  <a:gd name="T8" fmla="*/ 0 w 10"/>
                  <a:gd name="T9" fmla="*/ 7 h 7"/>
                  <a:gd name="T10" fmla="*/ 0 w 10"/>
                  <a:gd name="T11" fmla="*/ 3 h 7"/>
                  <a:gd name="T12" fmla="*/ 3 w 10"/>
                  <a:gd name="T13" fmla="*/ 1 h 7"/>
                  <a:gd name="T14" fmla="*/ 5 w 10"/>
                  <a:gd name="T15" fmla="*/ 3 h 7"/>
                  <a:gd name="T16" fmla="*/ 10 w 10"/>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7">
                    <a:moveTo>
                      <a:pt x="10" y="0"/>
                    </a:moveTo>
                    <a:lnTo>
                      <a:pt x="9" y="0"/>
                    </a:lnTo>
                    <a:lnTo>
                      <a:pt x="9" y="5"/>
                    </a:lnTo>
                    <a:lnTo>
                      <a:pt x="7" y="7"/>
                    </a:lnTo>
                    <a:lnTo>
                      <a:pt x="0" y="7"/>
                    </a:lnTo>
                    <a:lnTo>
                      <a:pt x="0" y="3"/>
                    </a:lnTo>
                    <a:lnTo>
                      <a:pt x="3" y="1"/>
                    </a:lnTo>
                    <a:lnTo>
                      <a:pt x="5" y="3"/>
                    </a:lnTo>
                    <a:lnTo>
                      <a:pt x="1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02" name="Freeform 3258"/>
              <p:cNvSpPr>
                <a:spLocks/>
              </p:cNvSpPr>
              <p:nvPr/>
            </p:nvSpPr>
            <p:spPr bwMode="auto">
              <a:xfrm>
                <a:off x="1518" y="2365"/>
                <a:ext cx="10" cy="7"/>
              </a:xfrm>
              <a:custGeom>
                <a:avLst/>
                <a:gdLst>
                  <a:gd name="T0" fmla="*/ 10 w 10"/>
                  <a:gd name="T1" fmla="*/ 0 h 7"/>
                  <a:gd name="T2" fmla="*/ 9 w 10"/>
                  <a:gd name="T3" fmla="*/ 0 h 7"/>
                  <a:gd name="T4" fmla="*/ 9 w 10"/>
                  <a:gd name="T5" fmla="*/ 5 h 7"/>
                  <a:gd name="T6" fmla="*/ 7 w 10"/>
                  <a:gd name="T7" fmla="*/ 7 h 7"/>
                  <a:gd name="T8" fmla="*/ 0 w 10"/>
                  <a:gd name="T9" fmla="*/ 7 h 7"/>
                  <a:gd name="T10" fmla="*/ 0 w 10"/>
                  <a:gd name="T11" fmla="*/ 3 h 7"/>
                  <a:gd name="T12" fmla="*/ 3 w 10"/>
                  <a:gd name="T13" fmla="*/ 1 h 7"/>
                  <a:gd name="T14" fmla="*/ 5 w 10"/>
                  <a:gd name="T15" fmla="*/ 3 h 7"/>
                  <a:gd name="T16" fmla="*/ 10 w 10"/>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7">
                    <a:moveTo>
                      <a:pt x="10" y="0"/>
                    </a:moveTo>
                    <a:lnTo>
                      <a:pt x="9" y="0"/>
                    </a:lnTo>
                    <a:lnTo>
                      <a:pt x="9" y="5"/>
                    </a:lnTo>
                    <a:lnTo>
                      <a:pt x="7" y="7"/>
                    </a:lnTo>
                    <a:lnTo>
                      <a:pt x="0" y="7"/>
                    </a:lnTo>
                    <a:lnTo>
                      <a:pt x="0" y="3"/>
                    </a:lnTo>
                    <a:lnTo>
                      <a:pt x="3" y="1"/>
                    </a:lnTo>
                    <a:lnTo>
                      <a:pt x="5" y="3"/>
                    </a:lnTo>
                    <a:lnTo>
                      <a:pt x="1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03" name="Freeform 3259"/>
              <p:cNvSpPr>
                <a:spLocks/>
              </p:cNvSpPr>
              <p:nvPr/>
            </p:nvSpPr>
            <p:spPr bwMode="auto">
              <a:xfrm>
                <a:off x="1450" y="2315"/>
                <a:ext cx="3" cy="3"/>
              </a:xfrm>
              <a:custGeom>
                <a:avLst/>
                <a:gdLst>
                  <a:gd name="T0" fmla="*/ 2 w 3"/>
                  <a:gd name="T1" fmla="*/ 0 h 3"/>
                  <a:gd name="T2" fmla="*/ 0 w 3"/>
                  <a:gd name="T3" fmla="*/ 1 h 3"/>
                  <a:gd name="T4" fmla="*/ 0 w 3"/>
                  <a:gd name="T5" fmla="*/ 3 h 3"/>
                  <a:gd name="T6" fmla="*/ 2 w 3"/>
                  <a:gd name="T7" fmla="*/ 1 h 3"/>
                  <a:gd name="T8" fmla="*/ 3 w 3"/>
                  <a:gd name="T9" fmla="*/ 0 h 3"/>
                  <a:gd name="T10" fmla="*/ 2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2" y="0"/>
                    </a:moveTo>
                    <a:lnTo>
                      <a:pt x="0" y="1"/>
                    </a:lnTo>
                    <a:lnTo>
                      <a:pt x="0" y="3"/>
                    </a:lnTo>
                    <a:lnTo>
                      <a:pt x="2" y="1"/>
                    </a:lnTo>
                    <a:lnTo>
                      <a:pt x="3"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04" name="Freeform 3260"/>
              <p:cNvSpPr>
                <a:spLocks/>
              </p:cNvSpPr>
              <p:nvPr/>
            </p:nvSpPr>
            <p:spPr bwMode="auto">
              <a:xfrm>
                <a:off x="1450" y="2315"/>
                <a:ext cx="3" cy="3"/>
              </a:xfrm>
              <a:custGeom>
                <a:avLst/>
                <a:gdLst>
                  <a:gd name="T0" fmla="*/ 2 w 3"/>
                  <a:gd name="T1" fmla="*/ 0 h 3"/>
                  <a:gd name="T2" fmla="*/ 0 w 3"/>
                  <a:gd name="T3" fmla="*/ 1 h 3"/>
                  <a:gd name="T4" fmla="*/ 0 w 3"/>
                  <a:gd name="T5" fmla="*/ 3 h 3"/>
                  <a:gd name="T6" fmla="*/ 2 w 3"/>
                  <a:gd name="T7" fmla="*/ 1 h 3"/>
                  <a:gd name="T8" fmla="*/ 3 w 3"/>
                  <a:gd name="T9" fmla="*/ 0 h 3"/>
                  <a:gd name="T10" fmla="*/ 2 w 3"/>
                  <a:gd name="T11" fmla="*/ 0 h 3"/>
                </a:gdLst>
                <a:ahLst/>
                <a:cxnLst>
                  <a:cxn ang="0">
                    <a:pos x="T0" y="T1"/>
                  </a:cxn>
                  <a:cxn ang="0">
                    <a:pos x="T2" y="T3"/>
                  </a:cxn>
                  <a:cxn ang="0">
                    <a:pos x="T4" y="T5"/>
                  </a:cxn>
                  <a:cxn ang="0">
                    <a:pos x="T6" y="T7"/>
                  </a:cxn>
                  <a:cxn ang="0">
                    <a:pos x="T8" y="T9"/>
                  </a:cxn>
                  <a:cxn ang="0">
                    <a:pos x="T10" y="T11"/>
                  </a:cxn>
                </a:cxnLst>
                <a:rect l="0" t="0" r="r" b="b"/>
                <a:pathLst>
                  <a:path w="3" h="3">
                    <a:moveTo>
                      <a:pt x="2" y="0"/>
                    </a:moveTo>
                    <a:lnTo>
                      <a:pt x="0" y="1"/>
                    </a:lnTo>
                    <a:lnTo>
                      <a:pt x="0" y="3"/>
                    </a:lnTo>
                    <a:lnTo>
                      <a:pt x="2" y="1"/>
                    </a:lnTo>
                    <a:lnTo>
                      <a:pt x="3"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05" name="Freeform 3261"/>
              <p:cNvSpPr>
                <a:spLocks/>
              </p:cNvSpPr>
              <p:nvPr/>
            </p:nvSpPr>
            <p:spPr bwMode="auto">
              <a:xfrm>
                <a:off x="1718" y="3677"/>
                <a:ext cx="7" cy="9"/>
              </a:xfrm>
              <a:custGeom>
                <a:avLst/>
                <a:gdLst>
                  <a:gd name="T0" fmla="*/ 5 w 7"/>
                  <a:gd name="T1" fmla="*/ 4 h 9"/>
                  <a:gd name="T2" fmla="*/ 5 w 7"/>
                  <a:gd name="T3" fmla="*/ 4 h 9"/>
                  <a:gd name="T4" fmla="*/ 5 w 7"/>
                  <a:gd name="T5" fmla="*/ 4 h 9"/>
                  <a:gd name="T6" fmla="*/ 7 w 7"/>
                  <a:gd name="T7" fmla="*/ 4 h 9"/>
                  <a:gd name="T8" fmla="*/ 5 w 7"/>
                  <a:gd name="T9" fmla="*/ 7 h 9"/>
                  <a:gd name="T10" fmla="*/ 5 w 7"/>
                  <a:gd name="T11" fmla="*/ 9 h 9"/>
                  <a:gd name="T12" fmla="*/ 3 w 7"/>
                  <a:gd name="T13" fmla="*/ 7 h 9"/>
                  <a:gd name="T14" fmla="*/ 0 w 7"/>
                  <a:gd name="T15" fmla="*/ 4 h 9"/>
                  <a:gd name="T16" fmla="*/ 0 w 7"/>
                  <a:gd name="T17" fmla="*/ 2 h 9"/>
                  <a:gd name="T18" fmla="*/ 0 w 7"/>
                  <a:gd name="T19" fmla="*/ 0 h 9"/>
                  <a:gd name="T20" fmla="*/ 0 w 7"/>
                  <a:gd name="T21" fmla="*/ 2 h 9"/>
                  <a:gd name="T22" fmla="*/ 0 w 7"/>
                  <a:gd name="T23" fmla="*/ 4 h 9"/>
                  <a:gd name="T24" fmla="*/ 0 w 7"/>
                  <a:gd name="T25" fmla="*/ 5 h 9"/>
                  <a:gd name="T26" fmla="*/ 1 w 7"/>
                  <a:gd name="T27" fmla="*/ 5 h 9"/>
                  <a:gd name="T28" fmla="*/ 1 w 7"/>
                  <a:gd name="T29" fmla="*/ 4 h 9"/>
                  <a:gd name="T30" fmla="*/ 1 w 7"/>
                  <a:gd name="T31" fmla="*/ 4 h 9"/>
                  <a:gd name="T32" fmla="*/ 3 w 7"/>
                  <a:gd name="T33" fmla="*/ 4 h 9"/>
                  <a:gd name="T34" fmla="*/ 5 w 7"/>
                  <a:gd name="T3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9">
                    <a:moveTo>
                      <a:pt x="5" y="4"/>
                    </a:moveTo>
                    <a:lnTo>
                      <a:pt x="5" y="4"/>
                    </a:lnTo>
                    <a:lnTo>
                      <a:pt x="5" y="4"/>
                    </a:lnTo>
                    <a:lnTo>
                      <a:pt x="7" y="4"/>
                    </a:lnTo>
                    <a:lnTo>
                      <a:pt x="5" y="7"/>
                    </a:lnTo>
                    <a:lnTo>
                      <a:pt x="5" y="9"/>
                    </a:lnTo>
                    <a:lnTo>
                      <a:pt x="3" y="7"/>
                    </a:lnTo>
                    <a:lnTo>
                      <a:pt x="0" y="4"/>
                    </a:lnTo>
                    <a:lnTo>
                      <a:pt x="0" y="2"/>
                    </a:lnTo>
                    <a:lnTo>
                      <a:pt x="0" y="0"/>
                    </a:lnTo>
                    <a:lnTo>
                      <a:pt x="0" y="2"/>
                    </a:lnTo>
                    <a:lnTo>
                      <a:pt x="0" y="4"/>
                    </a:lnTo>
                    <a:lnTo>
                      <a:pt x="0" y="5"/>
                    </a:lnTo>
                    <a:lnTo>
                      <a:pt x="1" y="5"/>
                    </a:lnTo>
                    <a:lnTo>
                      <a:pt x="1" y="4"/>
                    </a:lnTo>
                    <a:lnTo>
                      <a:pt x="1" y="4"/>
                    </a:lnTo>
                    <a:lnTo>
                      <a:pt x="3" y="4"/>
                    </a:lnTo>
                    <a:lnTo>
                      <a:pt x="5" y="4"/>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06" name="Freeform 3262"/>
              <p:cNvSpPr>
                <a:spLocks/>
              </p:cNvSpPr>
              <p:nvPr/>
            </p:nvSpPr>
            <p:spPr bwMode="auto">
              <a:xfrm>
                <a:off x="1718" y="3677"/>
                <a:ext cx="7" cy="9"/>
              </a:xfrm>
              <a:custGeom>
                <a:avLst/>
                <a:gdLst>
                  <a:gd name="T0" fmla="*/ 5 w 7"/>
                  <a:gd name="T1" fmla="*/ 4 h 9"/>
                  <a:gd name="T2" fmla="*/ 5 w 7"/>
                  <a:gd name="T3" fmla="*/ 4 h 9"/>
                  <a:gd name="T4" fmla="*/ 5 w 7"/>
                  <a:gd name="T5" fmla="*/ 4 h 9"/>
                  <a:gd name="T6" fmla="*/ 7 w 7"/>
                  <a:gd name="T7" fmla="*/ 4 h 9"/>
                  <a:gd name="T8" fmla="*/ 5 w 7"/>
                  <a:gd name="T9" fmla="*/ 7 h 9"/>
                  <a:gd name="T10" fmla="*/ 5 w 7"/>
                  <a:gd name="T11" fmla="*/ 9 h 9"/>
                  <a:gd name="T12" fmla="*/ 3 w 7"/>
                  <a:gd name="T13" fmla="*/ 7 h 9"/>
                  <a:gd name="T14" fmla="*/ 0 w 7"/>
                  <a:gd name="T15" fmla="*/ 4 h 9"/>
                  <a:gd name="T16" fmla="*/ 0 w 7"/>
                  <a:gd name="T17" fmla="*/ 2 h 9"/>
                  <a:gd name="T18" fmla="*/ 0 w 7"/>
                  <a:gd name="T19" fmla="*/ 0 h 9"/>
                  <a:gd name="T20" fmla="*/ 0 w 7"/>
                  <a:gd name="T21" fmla="*/ 2 h 9"/>
                  <a:gd name="T22" fmla="*/ 0 w 7"/>
                  <a:gd name="T23" fmla="*/ 4 h 9"/>
                  <a:gd name="T24" fmla="*/ 0 w 7"/>
                  <a:gd name="T25" fmla="*/ 5 h 9"/>
                  <a:gd name="T26" fmla="*/ 1 w 7"/>
                  <a:gd name="T27" fmla="*/ 5 h 9"/>
                  <a:gd name="T28" fmla="*/ 1 w 7"/>
                  <a:gd name="T29" fmla="*/ 4 h 9"/>
                  <a:gd name="T30" fmla="*/ 1 w 7"/>
                  <a:gd name="T31" fmla="*/ 4 h 9"/>
                  <a:gd name="T32" fmla="*/ 3 w 7"/>
                  <a:gd name="T33" fmla="*/ 4 h 9"/>
                  <a:gd name="T34" fmla="*/ 5 w 7"/>
                  <a:gd name="T3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9">
                    <a:moveTo>
                      <a:pt x="5" y="4"/>
                    </a:moveTo>
                    <a:lnTo>
                      <a:pt x="5" y="4"/>
                    </a:lnTo>
                    <a:lnTo>
                      <a:pt x="5" y="4"/>
                    </a:lnTo>
                    <a:lnTo>
                      <a:pt x="7" y="4"/>
                    </a:lnTo>
                    <a:lnTo>
                      <a:pt x="5" y="7"/>
                    </a:lnTo>
                    <a:lnTo>
                      <a:pt x="5" y="9"/>
                    </a:lnTo>
                    <a:lnTo>
                      <a:pt x="3" y="7"/>
                    </a:lnTo>
                    <a:lnTo>
                      <a:pt x="0" y="4"/>
                    </a:lnTo>
                    <a:lnTo>
                      <a:pt x="0" y="2"/>
                    </a:lnTo>
                    <a:lnTo>
                      <a:pt x="0" y="0"/>
                    </a:lnTo>
                    <a:lnTo>
                      <a:pt x="0" y="2"/>
                    </a:lnTo>
                    <a:lnTo>
                      <a:pt x="0" y="4"/>
                    </a:lnTo>
                    <a:lnTo>
                      <a:pt x="0" y="5"/>
                    </a:lnTo>
                    <a:lnTo>
                      <a:pt x="1" y="5"/>
                    </a:lnTo>
                    <a:lnTo>
                      <a:pt x="1" y="4"/>
                    </a:lnTo>
                    <a:lnTo>
                      <a:pt x="1" y="4"/>
                    </a:lnTo>
                    <a:lnTo>
                      <a:pt x="3" y="4"/>
                    </a:lnTo>
                    <a:lnTo>
                      <a:pt x="5" y="4"/>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07" name="Freeform 3263"/>
              <p:cNvSpPr>
                <a:spLocks/>
              </p:cNvSpPr>
              <p:nvPr/>
            </p:nvSpPr>
            <p:spPr bwMode="auto">
              <a:xfrm>
                <a:off x="1723" y="3670"/>
                <a:ext cx="27" cy="21"/>
              </a:xfrm>
              <a:custGeom>
                <a:avLst/>
                <a:gdLst>
                  <a:gd name="T0" fmla="*/ 25 w 27"/>
                  <a:gd name="T1" fmla="*/ 0 h 21"/>
                  <a:gd name="T2" fmla="*/ 25 w 27"/>
                  <a:gd name="T3" fmla="*/ 0 h 21"/>
                  <a:gd name="T4" fmla="*/ 25 w 27"/>
                  <a:gd name="T5" fmla="*/ 0 h 21"/>
                  <a:gd name="T6" fmla="*/ 27 w 27"/>
                  <a:gd name="T7" fmla="*/ 2 h 21"/>
                  <a:gd name="T8" fmla="*/ 27 w 27"/>
                  <a:gd name="T9" fmla="*/ 2 h 21"/>
                  <a:gd name="T10" fmla="*/ 27 w 27"/>
                  <a:gd name="T11" fmla="*/ 4 h 21"/>
                  <a:gd name="T12" fmla="*/ 25 w 27"/>
                  <a:gd name="T13" fmla="*/ 5 h 21"/>
                  <a:gd name="T14" fmla="*/ 23 w 27"/>
                  <a:gd name="T15" fmla="*/ 7 h 21"/>
                  <a:gd name="T16" fmla="*/ 21 w 27"/>
                  <a:gd name="T17" fmla="*/ 11 h 21"/>
                  <a:gd name="T18" fmla="*/ 20 w 27"/>
                  <a:gd name="T19" fmla="*/ 12 h 21"/>
                  <a:gd name="T20" fmla="*/ 18 w 27"/>
                  <a:gd name="T21" fmla="*/ 16 h 21"/>
                  <a:gd name="T22" fmla="*/ 16 w 27"/>
                  <a:gd name="T23" fmla="*/ 16 h 21"/>
                  <a:gd name="T24" fmla="*/ 14 w 27"/>
                  <a:gd name="T25" fmla="*/ 16 h 21"/>
                  <a:gd name="T26" fmla="*/ 12 w 27"/>
                  <a:gd name="T27" fmla="*/ 16 h 21"/>
                  <a:gd name="T28" fmla="*/ 11 w 27"/>
                  <a:gd name="T29" fmla="*/ 16 h 21"/>
                  <a:gd name="T30" fmla="*/ 11 w 27"/>
                  <a:gd name="T31" fmla="*/ 16 h 21"/>
                  <a:gd name="T32" fmla="*/ 11 w 27"/>
                  <a:gd name="T33" fmla="*/ 20 h 21"/>
                  <a:gd name="T34" fmla="*/ 9 w 27"/>
                  <a:gd name="T35" fmla="*/ 20 h 21"/>
                  <a:gd name="T36" fmla="*/ 9 w 27"/>
                  <a:gd name="T37" fmla="*/ 20 h 21"/>
                  <a:gd name="T38" fmla="*/ 5 w 27"/>
                  <a:gd name="T39" fmla="*/ 21 h 21"/>
                  <a:gd name="T40" fmla="*/ 4 w 27"/>
                  <a:gd name="T41" fmla="*/ 20 h 21"/>
                  <a:gd name="T42" fmla="*/ 2 w 27"/>
                  <a:gd name="T43" fmla="*/ 20 h 21"/>
                  <a:gd name="T44" fmla="*/ 2 w 27"/>
                  <a:gd name="T45" fmla="*/ 20 h 21"/>
                  <a:gd name="T46" fmla="*/ 4 w 27"/>
                  <a:gd name="T47" fmla="*/ 21 h 21"/>
                  <a:gd name="T48" fmla="*/ 0 w 27"/>
                  <a:gd name="T49" fmla="*/ 18 h 21"/>
                  <a:gd name="T50" fmla="*/ 0 w 27"/>
                  <a:gd name="T51" fmla="*/ 16 h 21"/>
                  <a:gd name="T52" fmla="*/ 2 w 27"/>
                  <a:gd name="T53" fmla="*/ 16 h 21"/>
                  <a:gd name="T54" fmla="*/ 2 w 27"/>
                  <a:gd name="T55" fmla="*/ 14 h 21"/>
                  <a:gd name="T56" fmla="*/ 4 w 27"/>
                  <a:gd name="T57" fmla="*/ 16 h 21"/>
                  <a:gd name="T58" fmla="*/ 7 w 27"/>
                  <a:gd name="T59" fmla="*/ 16 h 21"/>
                  <a:gd name="T60" fmla="*/ 9 w 27"/>
                  <a:gd name="T61" fmla="*/ 14 h 21"/>
                  <a:gd name="T62" fmla="*/ 5 w 27"/>
                  <a:gd name="T63" fmla="*/ 14 h 21"/>
                  <a:gd name="T64" fmla="*/ 5 w 27"/>
                  <a:gd name="T65" fmla="*/ 14 h 21"/>
                  <a:gd name="T66" fmla="*/ 7 w 27"/>
                  <a:gd name="T67" fmla="*/ 11 h 21"/>
                  <a:gd name="T68" fmla="*/ 9 w 27"/>
                  <a:gd name="T69" fmla="*/ 12 h 21"/>
                  <a:gd name="T70" fmla="*/ 11 w 27"/>
                  <a:gd name="T71" fmla="*/ 9 h 21"/>
                  <a:gd name="T72" fmla="*/ 14 w 27"/>
                  <a:gd name="T73" fmla="*/ 9 h 21"/>
                  <a:gd name="T74" fmla="*/ 11 w 27"/>
                  <a:gd name="T75" fmla="*/ 4 h 21"/>
                  <a:gd name="T76" fmla="*/ 7 w 27"/>
                  <a:gd name="T77" fmla="*/ 4 h 21"/>
                  <a:gd name="T78" fmla="*/ 7 w 27"/>
                  <a:gd name="T79" fmla="*/ 4 h 21"/>
                  <a:gd name="T80" fmla="*/ 9 w 27"/>
                  <a:gd name="T81" fmla="*/ 4 h 21"/>
                  <a:gd name="T82" fmla="*/ 9 w 27"/>
                  <a:gd name="T83" fmla="*/ 4 h 21"/>
                  <a:gd name="T84" fmla="*/ 7 w 27"/>
                  <a:gd name="T85" fmla="*/ 2 h 21"/>
                  <a:gd name="T86" fmla="*/ 5 w 27"/>
                  <a:gd name="T87" fmla="*/ 2 h 21"/>
                  <a:gd name="T88" fmla="*/ 5 w 27"/>
                  <a:gd name="T89" fmla="*/ 0 h 21"/>
                  <a:gd name="T90" fmla="*/ 9 w 27"/>
                  <a:gd name="T91" fmla="*/ 2 h 21"/>
                  <a:gd name="T92" fmla="*/ 12 w 27"/>
                  <a:gd name="T93" fmla="*/ 4 h 21"/>
                  <a:gd name="T94" fmla="*/ 14 w 27"/>
                  <a:gd name="T95" fmla="*/ 2 h 21"/>
                  <a:gd name="T96" fmla="*/ 25 w 27"/>
                  <a:gd name="T97" fmla="*/ 2 h 21"/>
                  <a:gd name="T98" fmla="*/ 25 w 27"/>
                  <a:gd name="T9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 h="21">
                    <a:moveTo>
                      <a:pt x="25" y="0"/>
                    </a:moveTo>
                    <a:lnTo>
                      <a:pt x="25" y="0"/>
                    </a:lnTo>
                    <a:lnTo>
                      <a:pt x="25" y="0"/>
                    </a:lnTo>
                    <a:lnTo>
                      <a:pt x="27" y="2"/>
                    </a:lnTo>
                    <a:lnTo>
                      <a:pt x="27" y="2"/>
                    </a:lnTo>
                    <a:lnTo>
                      <a:pt x="27" y="4"/>
                    </a:lnTo>
                    <a:lnTo>
                      <a:pt x="25" y="5"/>
                    </a:lnTo>
                    <a:lnTo>
                      <a:pt x="23" y="7"/>
                    </a:lnTo>
                    <a:lnTo>
                      <a:pt x="21" y="11"/>
                    </a:lnTo>
                    <a:lnTo>
                      <a:pt x="20" y="12"/>
                    </a:lnTo>
                    <a:lnTo>
                      <a:pt x="18" y="16"/>
                    </a:lnTo>
                    <a:lnTo>
                      <a:pt x="16" y="16"/>
                    </a:lnTo>
                    <a:lnTo>
                      <a:pt x="14" y="16"/>
                    </a:lnTo>
                    <a:lnTo>
                      <a:pt x="12" y="16"/>
                    </a:lnTo>
                    <a:lnTo>
                      <a:pt x="11" y="16"/>
                    </a:lnTo>
                    <a:lnTo>
                      <a:pt x="11" y="16"/>
                    </a:lnTo>
                    <a:lnTo>
                      <a:pt x="11" y="20"/>
                    </a:lnTo>
                    <a:lnTo>
                      <a:pt x="9" y="20"/>
                    </a:lnTo>
                    <a:lnTo>
                      <a:pt x="9" y="20"/>
                    </a:lnTo>
                    <a:lnTo>
                      <a:pt x="5" y="21"/>
                    </a:lnTo>
                    <a:lnTo>
                      <a:pt x="4" y="20"/>
                    </a:lnTo>
                    <a:lnTo>
                      <a:pt x="2" y="20"/>
                    </a:lnTo>
                    <a:lnTo>
                      <a:pt x="2" y="20"/>
                    </a:lnTo>
                    <a:lnTo>
                      <a:pt x="4" y="21"/>
                    </a:lnTo>
                    <a:lnTo>
                      <a:pt x="0" y="18"/>
                    </a:lnTo>
                    <a:lnTo>
                      <a:pt x="0" y="16"/>
                    </a:lnTo>
                    <a:lnTo>
                      <a:pt x="2" y="16"/>
                    </a:lnTo>
                    <a:lnTo>
                      <a:pt x="2" y="14"/>
                    </a:lnTo>
                    <a:lnTo>
                      <a:pt x="4" y="16"/>
                    </a:lnTo>
                    <a:lnTo>
                      <a:pt x="7" y="16"/>
                    </a:lnTo>
                    <a:lnTo>
                      <a:pt x="9" y="14"/>
                    </a:lnTo>
                    <a:lnTo>
                      <a:pt x="5" y="14"/>
                    </a:lnTo>
                    <a:lnTo>
                      <a:pt x="5" y="14"/>
                    </a:lnTo>
                    <a:lnTo>
                      <a:pt x="7" y="11"/>
                    </a:lnTo>
                    <a:lnTo>
                      <a:pt x="9" y="12"/>
                    </a:lnTo>
                    <a:lnTo>
                      <a:pt x="11" y="9"/>
                    </a:lnTo>
                    <a:lnTo>
                      <a:pt x="14" y="9"/>
                    </a:lnTo>
                    <a:lnTo>
                      <a:pt x="11" y="4"/>
                    </a:lnTo>
                    <a:lnTo>
                      <a:pt x="7" y="4"/>
                    </a:lnTo>
                    <a:lnTo>
                      <a:pt x="7" y="4"/>
                    </a:lnTo>
                    <a:lnTo>
                      <a:pt x="9" y="4"/>
                    </a:lnTo>
                    <a:lnTo>
                      <a:pt x="9" y="4"/>
                    </a:lnTo>
                    <a:lnTo>
                      <a:pt x="7" y="2"/>
                    </a:lnTo>
                    <a:lnTo>
                      <a:pt x="5" y="2"/>
                    </a:lnTo>
                    <a:lnTo>
                      <a:pt x="5" y="0"/>
                    </a:lnTo>
                    <a:lnTo>
                      <a:pt x="9" y="2"/>
                    </a:lnTo>
                    <a:lnTo>
                      <a:pt x="12" y="4"/>
                    </a:lnTo>
                    <a:lnTo>
                      <a:pt x="14" y="2"/>
                    </a:lnTo>
                    <a:lnTo>
                      <a:pt x="25" y="2"/>
                    </a:lnTo>
                    <a:lnTo>
                      <a:pt x="2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08" name="Freeform 3264"/>
              <p:cNvSpPr>
                <a:spLocks/>
              </p:cNvSpPr>
              <p:nvPr/>
            </p:nvSpPr>
            <p:spPr bwMode="auto">
              <a:xfrm>
                <a:off x="1723" y="3670"/>
                <a:ext cx="27" cy="21"/>
              </a:xfrm>
              <a:custGeom>
                <a:avLst/>
                <a:gdLst>
                  <a:gd name="T0" fmla="*/ 25 w 27"/>
                  <a:gd name="T1" fmla="*/ 0 h 21"/>
                  <a:gd name="T2" fmla="*/ 25 w 27"/>
                  <a:gd name="T3" fmla="*/ 0 h 21"/>
                  <a:gd name="T4" fmla="*/ 25 w 27"/>
                  <a:gd name="T5" fmla="*/ 0 h 21"/>
                  <a:gd name="T6" fmla="*/ 27 w 27"/>
                  <a:gd name="T7" fmla="*/ 2 h 21"/>
                  <a:gd name="T8" fmla="*/ 27 w 27"/>
                  <a:gd name="T9" fmla="*/ 2 h 21"/>
                  <a:gd name="T10" fmla="*/ 27 w 27"/>
                  <a:gd name="T11" fmla="*/ 4 h 21"/>
                  <a:gd name="T12" fmla="*/ 25 w 27"/>
                  <a:gd name="T13" fmla="*/ 5 h 21"/>
                  <a:gd name="T14" fmla="*/ 23 w 27"/>
                  <a:gd name="T15" fmla="*/ 7 h 21"/>
                  <a:gd name="T16" fmla="*/ 21 w 27"/>
                  <a:gd name="T17" fmla="*/ 11 h 21"/>
                  <a:gd name="T18" fmla="*/ 20 w 27"/>
                  <a:gd name="T19" fmla="*/ 12 h 21"/>
                  <a:gd name="T20" fmla="*/ 18 w 27"/>
                  <a:gd name="T21" fmla="*/ 16 h 21"/>
                  <a:gd name="T22" fmla="*/ 16 w 27"/>
                  <a:gd name="T23" fmla="*/ 16 h 21"/>
                  <a:gd name="T24" fmla="*/ 14 w 27"/>
                  <a:gd name="T25" fmla="*/ 16 h 21"/>
                  <a:gd name="T26" fmla="*/ 12 w 27"/>
                  <a:gd name="T27" fmla="*/ 16 h 21"/>
                  <a:gd name="T28" fmla="*/ 11 w 27"/>
                  <a:gd name="T29" fmla="*/ 16 h 21"/>
                  <a:gd name="T30" fmla="*/ 11 w 27"/>
                  <a:gd name="T31" fmla="*/ 16 h 21"/>
                  <a:gd name="T32" fmla="*/ 11 w 27"/>
                  <a:gd name="T33" fmla="*/ 20 h 21"/>
                  <a:gd name="T34" fmla="*/ 9 w 27"/>
                  <a:gd name="T35" fmla="*/ 20 h 21"/>
                  <a:gd name="T36" fmla="*/ 9 w 27"/>
                  <a:gd name="T37" fmla="*/ 20 h 21"/>
                  <a:gd name="T38" fmla="*/ 5 w 27"/>
                  <a:gd name="T39" fmla="*/ 21 h 21"/>
                  <a:gd name="T40" fmla="*/ 4 w 27"/>
                  <a:gd name="T41" fmla="*/ 20 h 21"/>
                  <a:gd name="T42" fmla="*/ 2 w 27"/>
                  <a:gd name="T43" fmla="*/ 20 h 21"/>
                  <a:gd name="T44" fmla="*/ 2 w 27"/>
                  <a:gd name="T45" fmla="*/ 20 h 21"/>
                  <a:gd name="T46" fmla="*/ 4 w 27"/>
                  <a:gd name="T47" fmla="*/ 21 h 21"/>
                  <a:gd name="T48" fmla="*/ 0 w 27"/>
                  <a:gd name="T49" fmla="*/ 18 h 21"/>
                  <a:gd name="T50" fmla="*/ 0 w 27"/>
                  <a:gd name="T51" fmla="*/ 16 h 21"/>
                  <a:gd name="T52" fmla="*/ 2 w 27"/>
                  <a:gd name="T53" fmla="*/ 16 h 21"/>
                  <a:gd name="T54" fmla="*/ 2 w 27"/>
                  <a:gd name="T55" fmla="*/ 14 h 21"/>
                  <a:gd name="T56" fmla="*/ 4 w 27"/>
                  <a:gd name="T57" fmla="*/ 16 h 21"/>
                  <a:gd name="T58" fmla="*/ 7 w 27"/>
                  <a:gd name="T59" fmla="*/ 16 h 21"/>
                  <a:gd name="T60" fmla="*/ 9 w 27"/>
                  <a:gd name="T61" fmla="*/ 14 h 21"/>
                  <a:gd name="T62" fmla="*/ 5 w 27"/>
                  <a:gd name="T63" fmla="*/ 14 h 21"/>
                  <a:gd name="T64" fmla="*/ 5 w 27"/>
                  <a:gd name="T65" fmla="*/ 14 h 21"/>
                  <a:gd name="T66" fmla="*/ 7 w 27"/>
                  <a:gd name="T67" fmla="*/ 11 h 21"/>
                  <a:gd name="T68" fmla="*/ 9 w 27"/>
                  <a:gd name="T69" fmla="*/ 12 h 21"/>
                  <a:gd name="T70" fmla="*/ 11 w 27"/>
                  <a:gd name="T71" fmla="*/ 9 h 21"/>
                  <a:gd name="T72" fmla="*/ 14 w 27"/>
                  <a:gd name="T73" fmla="*/ 9 h 21"/>
                  <a:gd name="T74" fmla="*/ 11 w 27"/>
                  <a:gd name="T75" fmla="*/ 4 h 21"/>
                  <a:gd name="T76" fmla="*/ 7 w 27"/>
                  <a:gd name="T77" fmla="*/ 4 h 21"/>
                  <a:gd name="T78" fmla="*/ 7 w 27"/>
                  <a:gd name="T79" fmla="*/ 4 h 21"/>
                  <a:gd name="T80" fmla="*/ 9 w 27"/>
                  <a:gd name="T81" fmla="*/ 4 h 21"/>
                  <a:gd name="T82" fmla="*/ 9 w 27"/>
                  <a:gd name="T83" fmla="*/ 4 h 21"/>
                  <a:gd name="T84" fmla="*/ 7 w 27"/>
                  <a:gd name="T85" fmla="*/ 2 h 21"/>
                  <a:gd name="T86" fmla="*/ 5 w 27"/>
                  <a:gd name="T87" fmla="*/ 2 h 21"/>
                  <a:gd name="T88" fmla="*/ 5 w 27"/>
                  <a:gd name="T89" fmla="*/ 0 h 21"/>
                  <a:gd name="T90" fmla="*/ 9 w 27"/>
                  <a:gd name="T91" fmla="*/ 2 h 21"/>
                  <a:gd name="T92" fmla="*/ 12 w 27"/>
                  <a:gd name="T93" fmla="*/ 4 h 21"/>
                  <a:gd name="T94" fmla="*/ 14 w 27"/>
                  <a:gd name="T95" fmla="*/ 2 h 21"/>
                  <a:gd name="T96" fmla="*/ 25 w 27"/>
                  <a:gd name="T97" fmla="*/ 2 h 21"/>
                  <a:gd name="T98" fmla="*/ 25 w 27"/>
                  <a:gd name="T9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 h="21">
                    <a:moveTo>
                      <a:pt x="25" y="0"/>
                    </a:moveTo>
                    <a:lnTo>
                      <a:pt x="25" y="0"/>
                    </a:lnTo>
                    <a:lnTo>
                      <a:pt x="25" y="0"/>
                    </a:lnTo>
                    <a:lnTo>
                      <a:pt x="27" y="2"/>
                    </a:lnTo>
                    <a:lnTo>
                      <a:pt x="27" y="2"/>
                    </a:lnTo>
                    <a:lnTo>
                      <a:pt x="27" y="4"/>
                    </a:lnTo>
                    <a:lnTo>
                      <a:pt x="25" y="5"/>
                    </a:lnTo>
                    <a:lnTo>
                      <a:pt x="23" y="7"/>
                    </a:lnTo>
                    <a:lnTo>
                      <a:pt x="21" y="11"/>
                    </a:lnTo>
                    <a:lnTo>
                      <a:pt x="20" y="12"/>
                    </a:lnTo>
                    <a:lnTo>
                      <a:pt x="18" y="16"/>
                    </a:lnTo>
                    <a:lnTo>
                      <a:pt x="16" y="16"/>
                    </a:lnTo>
                    <a:lnTo>
                      <a:pt x="14" y="16"/>
                    </a:lnTo>
                    <a:lnTo>
                      <a:pt x="12" y="16"/>
                    </a:lnTo>
                    <a:lnTo>
                      <a:pt x="11" y="16"/>
                    </a:lnTo>
                    <a:lnTo>
                      <a:pt x="11" y="16"/>
                    </a:lnTo>
                    <a:lnTo>
                      <a:pt x="11" y="20"/>
                    </a:lnTo>
                    <a:lnTo>
                      <a:pt x="9" y="20"/>
                    </a:lnTo>
                    <a:lnTo>
                      <a:pt x="9" y="20"/>
                    </a:lnTo>
                    <a:lnTo>
                      <a:pt x="5" y="21"/>
                    </a:lnTo>
                    <a:lnTo>
                      <a:pt x="4" y="20"/>
                    </a:lnTo>
                    <a:lnTo>
                      <a:pt x="2" y="20"/>
                    </a:lnTo>
                    <a:lnTo>
                      <a:pt x="2" y="20"/>
                    </a:lnTo>
                    <a:lnTo>
                      <a:pt x="4" y="21"/>
                    </a:lnTo>
                    <a:lnTo>
                      <a:pt x="0" y="18"/>
                    </a:lnTo>
                    <a:lnTo>
                      <a:pt x="0" y="16"/>
                    </a:lnTo>
                    <a:lnTo>
                      <a:pt x="2" y="16"/>
                    </a:lnTo>
                    <a:lnTo>
                      <a:pt x="2" y="14"/>
                    </a:lnTo>
                    <a:lnTo>
                      <a:pt x="4" y="16"/>
                    </a:lnTo>
                    <a:lnTo>
                      <a:pt x="7" y="16"/>
                    </a:lnTo>
                    <a:lnTo>
                      <a:pt x="9" y="14"/>
                    </a:lnTo>
                    <a:lnTo>
                      <a:pt x="5" y="14"/>
                    </a:lnTo>
                    <a:lnTo>
                      <a:pt x="5" y="14"/>
                    </a:lnTo>
                    <a:lnTo>
                      <a:pt x="7" y="11"/>
                    </a:lnTo>
                    <a:lnTo>
                      <a:pt x="9" y="12"/>
                    </a:lnTo>
                    <a:lnTo>
                      <a:pt x="11" y="9"/>
                    </a:lnTo>
                    <a:lnTo>
                      <a:pt x="14" y="9"/>
                    </a:lnTo>
                    <a:lnTo>
                      <a:pt x="11" y="4"/>
                    </a:lnTo>
                    <a:lnTo>
                      <a:pt x="7" y="4"/>
                    </a:lnTo>
                    <a:lnTo>
                      <a:pt x="7" y="4"/>
                    </a:lnTo>
                    <a:lnTo>
                      <a:pt x="9" y="4"/>
                    </a:lnTo>
                    <a:lnTo>
                      <a:pt x="9" y="4"/>
                    </a:lnTo>
                    <a:lnTo>
                      <a:pt x="7" y="2"/>
                    </a:lnTo>
                    <a:lnTo>
                      <a:pt x="5" y="2"/>
                    </a:lnTo>
                    <a:lnTo>
                      <a:pt x="5" y="0"/>
                    </a:lnTo>
                    <a:lnTo>
                      <a:pt x="9" y="2"/>
                    </a:lnTo>
                    <a:lnTo>
                      <a:pt x="12" y="4"/>
                    </a:lnTo>
                    <a:lnTo>
                      <a:pt x="14" y="2"/>
                    </a:lnTo>
                    <a:lnTo>
                      <a:pt x="25" y="2"/>
                    </a:lnTo>
                    <a:lnTo>
                      <a:pt x="2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09" name="Freeform 3265"/>
              <p:cNvSpPr>
                <a:spLocks/>
              </p:cNvSpPr>
              <p:nvPr/>
            </p:nvSpPr>
            <p:spPr bwMode="auto">
              <a:xfrm>
                <a:off x="1743" y="3668"/>
                <a:ext cx="30" cy="27"/>
              </a:xfrm>
              <a:custGeom>
                <a:avLst/>
                <a:gdLst>
                  <a:gd name="T0" fmla="*/ 28 w 30"/>
                  <a:gd name="T1" fmla="*/ 11 h 27"/>
                  <a:gd name="T2" fmla="*/ 26 w 30"/>
                  <a:gd name="T3" fmla="*/ 11 h 27"/>
                  <a:gd name="T4" fmla="*/ 25 w 30"/>
                  <a:gd name="T5" fmla="*/ 14 h 27"/>
                  <a:gd name="T6" fmla="*/ 23 w 30"/>
                  <a:gd name="T7" fmla="*/ 14 h 27"/>
                  <a:gd name="T8" fmla="*/ 14 w 30"/>
                  <a:gd name="T9" fmla="*/ 14 h 27"/>
                  <a:gd name="T10" fmla="*/ 12 w 30"/>
                  <a:gd name="T11" fmla="*/ 14 h 27"/>
                  <a:gd name="T12" fmla="*/ 12 w 30"/>
                  <a:gd name="T13" fmla="*/ 14 h 27"/>
                  <a:gd name="T14" fmla="*/ 16 w 30"/>
                  <a:gd name="T15" fmla="*/ 18 h 27"/>
                  <a:gd name="T16" fmla="*/ 16 w 30"/>
                  <a:gd name="T17" fmla="*/ 22 h 27"/>
                  <a:gd name="T18" fmla="*/ 14 w 30"/>
                  <a:gd name="T19" fmla="*/ 20 h 27"/>
                  <a:gd name="T20" fmla="*/ 12 w 30"/>
                  <a:gd name="T21" fmla="*/ 20 h 27"/>
                  <a:gd name="T22" fmla="*/ 10 w 30"/>
                  <a:gd name="T23" fmla="*/ 20 h 27"/>
                  <a:gd name="T24" fmla="*/ 10 w 30"/>
                  <a:gd name="T25" fmla="*/ 20 h 27"/>
                  <a:gd name="T26" fmla="*/ 9 w 30"/>
                  <a:gd name="T27" fmla="*/ 22 h 27"/>
                  <a:gd name="T28" fmla="*/ 10 w 30"/>
                  <a:gd name="T29" fmla="*/ 23 h 27"/>
                  <a:gd name="T30" fmla="*/ 10 w 30"/>
                  <a:gd name="T31" fmla="*/ 25 h 27"/>
                  <a:gd name="T32" fmla="*/ 9 w 30"/>
                  <a:gd name="T33" fmla="*/ 23 h 27"/>
                  <a:gd name="T34" fmla="*/ 5 w 30"/>
                  <a:gd name="T35" fmla="*/ 22 h 27"/>
                  <a:gd name="T36" fmla="*/ 5 w 30"/>
                  <a:gd name="T37" fmla="*/ 27 h 27"/>
                  <a:gd name="T38" fmla="*/ 3 w 30"/>
                  <a:gd name="T39" fmla="*/ 27 h 27"/>
                  <a:gd name="T40" fmla="*/ 0 w 30"/>
                  <a:gd name="T41" fmla="*/ 22 h 27"/>
                  <a:gd name="T42" fmla="*/ 0 w 30"/>
                  <a:gd name="T43" fmla="*/ 20 h 27"/>
                  <a:gd name="T44" fmla="*/ 1 w 30"/>
                  <a:gd name="T45" fmla="*/ 14 h 27"/>
                  <a:gd name="T46" fmla="*/ 3 w 30"/>
                  <a:gd name="T47" fmla="*/ 14 h 27"/>
                  <a:gd name="T48" fmla="*/ 5 w 30"/>
                  <a:gd name="T49" fmla="*/ 13 h 27"/>
                  <a:gd name="T50" fmla="*/ 5 w 30"/>
                  <a:gd name="T51" fmla="*/ 13 h 27"/>
                  <a:gd name="T52" fmla="*/ 7 w 30"/>
                  <a:gd name="T53" fmla="*/ 11 h 27"/>
                  <a:gd name="T54" fmla="*/ 9 w 30"/>
                  <a:gd name="T55" fmla="*/ 11 h 27"/>
                  <a:gd name="T56" fmla="*/ 10 w 30"/>
                  <a:gd name="T57" fmla="*/ 13 h 27"/>
                  <a:gd name="T58" fmla="*/ 10 w 30"/>
                  <a:gd name="T59" fmla="*/ 13 h 27"/>
                  <a:gd name="T60" fmla="*/ 9 w 30"/>
                  <a:gd name="T61" fmla="*/ 4 h 27"/>
                  <a:gd name="T62" fmla="*/ 10 w 30"/>
                  <a:gd name="T63" fmla="*/ 4 h 27"/>
                  <a:gd name="T64" fmla="*/ 12 w 30"/>
                  <a:gd name="T65" fmla="*/ 4 h 27"/>
                  <a:gd name="T66" fmla="*/ 12 w 30"/>
                  <a:gd name="T67" fmla="*/ 0 h 27"/>
                  <a:gd name="T68" fmla="*/ 14 w 30"/>
                  <a:gd name="T69" fmla="*/ 0 h 27"/>
                  <a:gd name="T70" fmla="*/ 16 w 30"/>
                  <a:gd name="T71" fmla="*/ 0 h 27"/>
                  <a:gd name="T72" fmla="*/ 17 w 30"/>
                  <a:gd name="T73" fmla="*/ 0 h 27"/>
                  <a:gd name="T74" fmla="*/ 21 w 30"/>
                  <a:gd name="T75" fmla="*/ 4 h 27"/>
                  <a:gd name="T76" fmla="*/ 26 w 30"/>
                  <a:gd name="T77" fmla="*/ 4 h 27"/>
                  <a:gd name="T78" fmla="*/ 28 w 30"/>
                  <a:gd name="T79" fmla="*/ 4 h 27"/>
                  <a:gd name="T80" fmla="*/ 30 w 30"/>
                  <a:gd name="T81" fmla="*/ 6 h 27"/>
                  <a:gd name="T82" fmla="*/ 30 w 30"/>
                  <a:gd name="T83" fmla="*/ 6 h 27"/>
                  <a:gd name="T84" fmla="*/ 28 w 30"/>
                  <a:gd name="T85" fmla="*/ 6 h 27"/>
                  <a:gd name="T86" fmla="*/ 28 w 30"/>
                  <a:gd name="T87" fmla="*/ 7 h 27"/>
                  <a:gd name="T88" fmla="*/ 28 w 30"/>
                  <a:gd name="T89" fmla="*/ 7 h 27"/>
                  <a:gd name="T90" fmla="*/ 30 w 30"/>
                  <a:gd name="T91" fmla="*/ 9 h 27"/>
                  <a:gd name="T92" fmla="*/ 30 w 30"/>
                  <a:gd name="T93" fmla="*/ 11 h 27"/>
                  <a:gd name="T94" fmla="*/ 28 w 30"/>
                  <a:gd name="T95"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 h="27">
                    <a:moveTo>
                      <a:pt x="28" y="11"/>
                    </a:moveTo>
                    <a:lnTo>
                      <a:pt x="26" y="11"/>
                    </a:lnTo>
                    <a:lnTo>
                      <a:pt x="25" y="14"/>
                    </a:lnTo>
                    <a:lnTo>
                      <a:pt x="23" y="14"/>
                    </a:lnTo>
                    <a:lnTo>
                      <a:pt x="14" y="14"/>
                    </a:lnTo>
                    <a:lnTo>
                      <a:pt x="12" y="14"/>
                    </a:lnTo>
                    <a:lnTo>
                      <a:pt x="12" y="14"/>
                    </a:lnTo>
                    <a:lnTo>
                      <a:pt x="16" y="18"/>
                    </a:lnTo>
                    <a:lnTo>
                      <a:pt x="16" y="22"/>
                    </a:lnTo>
                    <a:lnTo>
                      <a:pt x="14" y="20"/>
                    </a:lnTo>
                    <a:lnTo>
                      <a:pt x="12" y="20"/>
                    </a:lnTo>
                    <a:lnTo>
                      <a:pt x="10" y="20"/>
                    </a:lnTo>
                    <a:lnTo>
                      <a:pt x="10" y="20"/>
                    </a:lnTo>
                    <a:lnTo>
                      <a:pt x="9" y="22"/>
                    </a:lnTo>
                    <a:lnTo>
                      <a:pt x="10" y="23"/>
                    </a:lnTo>
                    <a:lnTo>
                      <a:pt x="10" y="25"/>
                    </a:lnTo>
                    <a:lnTo>
                      <a:pt x="9" y="23"/>
                    </a:lnTo>
                    <a:lnTo>
                      <a:pt x="5" y="22"/>
                    </a:lnTo>
                    <a:lnTo>
                      <a:pt x="5" y="27"/>
                    </a:lnTo>
                    <a:lnTo>
                      <a:pt x="3" y="27"/>
                    </a:lnTo>
                    <a:lnTo>
                      <a:pt x="0" y="22"/>
                    </a:lnTo>
                    <a:lnTo>
                      <a:pt x="0" y="20"/>
                    </a:lnTo>
                    <a:lnTo>
                      <a:pt x="1" y="14"/>
                    </a:lnTo>
                    <a:lnTo>
                      <a:pt x="3" y="14"/>
                    </a:lnTo>
                    <a:lnTo>
                      <a:pt x="5" y="13"/>
                    </a:lnTo>
                    <a:lnTo>
                      <a:pt x="5" y="13"/>
                    </a:lnTo>
                    <a:lnTo>
                      <a:pt x="7" y="11"/>
                    </a:lnTo>
                    <a:lnTo>
                      <a:pt x="9" y="11"/>
                    </a:lnTo>
                    <a:lnTo>
                      <a:pt x="10" y="13"/>
                    </a:lnTo>
                    <a:lnTo>
                      <a:pt x="10" y="13"/>
                    </a:lnTo>
                    <a:lnTo>
                      <a:pt x="9" y="4"/>
                    </a:lnTo>
                    <a:lnTo>
                      <a:pt x="10" y="4"/>
                    </a:lnTo>
                    <a:lnTo>
                      <a:pt x="12" y="4"/>
                    </a:lnTo>
                    <a:lnTo>
                      <a:pt x="12" y="0"/>
                    </a:lnTo>
                    <a:lnTo>
                      <a:pt x="14" y="0"/>
                    </a:lnTo>
                    <a:lnTo>
                      <a:pt x="16" y="0"/>
                    </a:lnTo>
                    <a:lnTo>
                      <a:pt x="17" y="0"/>
                    </a:lnTo>
                    <a:lnTo>
                      <a:pt x="21" y="4"/>
                    </a:lnTo>
                    <a:lnTo>
                      <a:pt x="26" y="4"/>
                    </a:lnTo>
                    <a:lnTo>
                      <a:pt x="28" y="4"/>
                    </a:lnTo>
                    <a:lnTo>
                      <a:pt x="30" y="6"/>
                    </a:lnTo>
                    <a:lnTo>
                      <a:pt x="30" y="6"/>
                    </a:lnTo>
                    <a:lnTo>
                      <a:pt x="28" y="6"/>
                    </a:lnTo>
                    <a:lnTo>
                      <a:pt x="28" y="7"/>
                    </a:lnTo>
                    <a:lnTo>
                      <a:pt x="28" y="7"/>
                    </a:lnTo>
                    <a:lnTo>
                      <a:pt x="30" y="9"/>
                    </a:lnTo>
                    <a:lnTo>
                      <a:pt x="30" y="11"/>
                    </a:lnTo>
                    <a:lnTo>
                      <a:pt x="28" y="1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10" name="Freeform 3266"/>
              <p:cNvSpPr>
                <a:spLocks/>
              </p:cNvSpPr>
              <p:nvPr/>
            </p:nvSpPr>
            <p:spPr bwMode="auto">
              <a:xfrm>
                <a:off x="1743" y="3668"/>
                <a:ext cx="30" cy="27"/>
              </a:xfrm>
              <a:custGeom>
                <a:avLst/>
                <a:gdLst>
                  <a:gd name="T0" fmla="*/ 28 w 30"/>
                  <a:gd name="T1" fmla="*/ 11 h 27"/>
                  <a:gd name="T2" fmla="*/ 26 w 30"/>
                  <a:gd name="T3" fmla="*/ 11 h 27"/>
                  <a:gd name="T4" fmla="*/ 25 w 30"/>
                  <a:gd name="T5" fmla="*/ 14 h 27"/>
                  <a:gd name="T6" fmla="*/ 23 w 30"/>
                  <a:gd name="T7" fmla="*/ 14 h 27"/>
                  <a:gd name="T8" fmla="*/ 14 w 30"/>
                  <a:gd name="T9" fmla="*/ 14 h 27"/>
                  <a:gd name="T10" fmla="*/ 12 w 30"/>
                  <a:gd name="T11" fmla="*/ 14 h 27"/>
                  <a:gd name="T12" fmla="*/ 12 w 30"/>
                  <a:gd name="T13" fmla="*/ 14 h 27"/>
                  <a:gd name="T14" fmla="*/ 16 w 30"/>
                  <a:gd name="T15" fmla="*/ 18 h 27"/>
                  <a:gd name="T16" fmla="*/ 16 w 30"/>
                  <a:gd name="T17" fmla="*/ 22 h 27"/>
                  <a:gd name="T18" fmla="*/ 14 w 30"/>
                  <a:gd name="T19" fmla="*/ 20 h 27"/>
                  <a:gd name="T20" fmla="*/ 12 w 30"/>
                  <a:gd name="T21" fmla="*/ 20 h 27"/>
                  <a:gd name="T22" fmla="*/ 10 w 30"/>
                  <a:gd name="T23" fmla="*/ 20 h 27"/>
                  <a:gd name="T24" fmla="*/ 10 w 30"/>
                  <a:gd name="T25" fmla="*/ 20 h 27"/>
                  <a:gd name="T26" fmla="*/ 9 w 30"/>
                  <a:gd name="T27" fmla="*/ 22 h 27"/>
                  <a:gd name="T28" fmla="*/ 10 w 30"/>
                  <a:gd name="T29" fmla="*/ 23 h 27"/>
                  <a:gd name="T30" fmla="*/ 10 w 30"/>
                  <a:gd name="T31" fmla="*/ 25 h 27"/>
                  <a:gd name="T32" fmla="*/ 9 w 30"/>
                  <a:gd name="T33" fmla="*/ 23 h 27"/>
                  <a:gd name="T34" fmla="*/ 5 w 30"/>
                  <a:gd name="T35" fmla="*/ 22 h 27"/>
                  <a:gd name="T36" fmla="*/ 5 w 30"/>
                  <a:gd name="T37" fmla="*/ 27 h 27"/>
                  <a:gd name="T38" fmla="*/ 3 w 30"/>
                  <a:gd name="T39" fmla="*/ 27 h 27"/>
                  <a:gd name="T40" fmla="*/ 0 w 30"/>
                  <a:gd name="T41" fmla="*/ 22 h 27"/>
                  <a:gd name="T42" fmla="*/ 0 w 30"/>
                  <a:gd name="T43" fmla="*/ 20 h 27"/>
                  <a:gd name="T44" fmla="*/ 1 w 30"/>
                  <a:gd name="T45" fmla="*/ 14 h 27"/>
                  <a:gd name="T46" fmla="*/ 3 w 30"/>
                  <a:gd name="T47" fmla="*/ 14 h 27"/>
                  <a:gd name="T48" fmla="*/ 5 w 30"/>
                  <a:gd name="T49" fmla="*/ 13 h 27"/>
                  <a:gd name="T50" fmla="*/ 5 w 30"/>
                  <a:gd name="T51" fmla="*/ 13 h 27"/>
                  <a:gd name="T52" fmla="*/ 7 w 30"/>
                  <a:gd name="T53" fmla="*/ 11 h 27"/>
                  <a:gd name="T54" fmla="*/ 9 w 30"/>
                  <a:gd name="T55" fmla="*/ 11 h 27"/>
                  <a:gd name="T56" fmla="*/ 10 w 30"/>
                  <a:gd name="T57" fmla="*/ 13 h 27"/>
                  <a:gd name="T58" fmla="*/ 10 w 30"/>
                  <a:gd name="T59" fmla="*/ 13 h 27"/>
                  <a:gd name="T60" fmla="*/ 9 w 30"/>
                  <a:gd name="T61" fmla="*/ 4 h 27"/>
                  <a:gd name="T62" fmla="*/ 10 w 30"/>
                  <a:gd name="T63" fmla="*/ 4 h 27"/>
                  <a:gd name="T64" fmla="*/ 12 w 30"/>
                  <a:gd name="T65" fmla="*/ 4 h 27"/>
                  <a:gd name="T66" fmla="*/ 12 w 30"/>
                  <a:gd name="T67" fmla="*/ 0 h 27"/>
                  <a:gd name="T68" fmla="*/ 14 w 30"/>
                  <a:gd name="T69" fmla="*/ 0 h 27"/>
                  <a:gd name="T70" fmla="*/ 16 w 30"/>
                  <a:gd name="T71" fmla="*/ 0 h 27"/>
                  <a:gd name="T72" fmla="*/ 17 w 30"/>
                  <a:gd name="T73" fmla="*/ 0 h 27"/>
                  <a:gd name="T74" fmla="*/ 21 w 30"/>
                  <a:gd name="T75" fmla="*/ 4 h 27"/>
                  <a:gd name="T76" fmla="*/ 26 w 30"/>
                  <a:gd name="T77" fmla="*/ 4 h 27"/>
                  <a:gd name="T78" fmla="*/ 28 w 30"/>
                  <a:gd name="T79" fmla="*/ 4 h 27"/>
                  <a:gd name="T80" fmla="*/ 30 w 30"/>
                  <a:gd name="T81" fmla="*/ 6 h 27"/>
                  <a:gd name="T82" fmla="*/ 30 w 30"/>
                  <a:gd name="T83" fmla="*/ 6 h 27"/>
                  <a:gd name="T84" fmla="*/ 28 w 30"/>
                  <a:gd name="T85" fmla="*/ 6 h 27"/>
                  <a:gd name="T86" fmla="*/ 28 w 30"/>
                  <a:gd name="T87" fmla="*/ 7 h 27"/>
                  <a:gd name="T88" fmla="*/ 28 w 30"/>
                  <a:gd name="T89" fmla="*/ 7 h 27"/>
                  <a:gd name="T90" fmla="*/ 30 w 30"/>
                  <a:gd name="T91" fmla="*/ 9 h 27"/>
                  <a:gd name="T92" fmla="*/ 30 w 30"/>
                  <a:gd name="T93" fmla="*/ 11 h 27"/>
                  <a:gd name="T94" fmla="*/ 28 w 30"/>
                  <a:gd name="T95"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 h="27">
                    <a:moveTo>
                      <a:pt x="28" y="11"/>
                    </a:moveTo>
                    <a:lnTo>
                      <a:pt x="26" y="11"/>
                    </a:lnTo>
                    <a:lnTo>
                      <a:pt x="25" y="14"/>
                    </a:lnTo>
                    <a:lnTo>
                      <a:pt x="23" y="14"/>
                    </a:lnTo>
                    <a:lnTo>
                      <a:pt x="14" y="14"/>
                    </a:lnTo>
                    <a:lnTo>
                      <a:pt x="12" y="14"/>
                    </a:lnTo>
                    <a:lnTo>
                      <a:pt x="12" y="14"/>
                    </a:lnTo>
                    <a:lnTo>
                      <a:pt x="16" y="18"/>
                    </a:lnTo>
                    <a:lnTo>
                      <a:pt x="16" y="22"/>
                    </a:lnTo>
                    <a:lnTo>
                      <a:pt x="14" y="20"/>
                    </a:lnTo>
                    <a:lnTo>
                      <a:pt x="12" y="20"/>
                    </a:lnTo>
                    <a:lnTo>
                      <a:pt x="10" y="20"/>
                    </a:lnTo>
                    <a:lnTo>
                      <a:pt x="10" y="20"/>
                    </a:lnTo>
                    <a:lnTo>
                      <a:pt x="9" y="22"/>
                    </a:lnTo>
                    <a:lnTo>
                      <a:pt x="10" y="23"/>
                    </a:lnTo>
                    <a:lnTo>
                      <a:pt x="10" y="25"/>
                    </a:lnTo>
                    <a:lnTo>
                      <a:pt x="9" y="23"/>
                    </a:lnTo>
                    <a:lnTo>
                      <a:pt x="5" y="22"/>
                    </a:lnTo>
                    <a:lnTo>
                      <a:pt x="5" y="27"/>
                    </a:lnTo>
                    <a:lnTo>
                      <a:pt x="3" y="27"/>
                    </a:lnTo>
                    <a:lnTo>
                      <a:pt x="0" y="22"/>
                    </a:lnTo>
                    <a:lnTo>
                      <a:pt x="0" y="20"/>
                    </a:lnTo>
                    <a:lnTo>
                      <a:pt x="1" y="14"/>
                    </a:lnTo>
                    <a:lnTo>
                      <a:pt x="3" y="14"/>
                    </a:lnTo>
                    <a:lnTo>
                      <a:pt x="5" y="13"/>
                    </a:lnTo>
                    <a:lnTo>
                      <a:pt x="5" y="13"/>
                    </a:lnTo>
                    <a:lnTo>
                      <a:pt x="7" y="11"/>
                    </a:lnTo>
                    <a:lnTo>
                      <a:pt x="9" y="11"/>
                    </a:lnTo>
                    <a:lnTo>
                      <a:pt x="10" y="13"/>
                    </a:lnTo>
                    <a:lnTo>
                      <a:pt x="10" y="13"/>
                    </a:lnTo>
                    <a:lnTo>
                      <a:pt x="9" y="4"/>
                    </a:lnTo>
                    <a:lnTo>
                      <a:pt x="10" y="4"/>
                    </a:lnTo>
                    <a:lnTo>
                      <a:pt x="12" y="4"/>
                    </a:lnTo>
                    <a:lnTo>
                      <a:pt x="12" y="0"/>
                    </a:lnTo>
                    <a:lnTo>
                      <a:pt x="14" y="0"/>
                    </a:lnTo>
                    <a:lnTo>
                      <a:pt x="16" y="0"/>
                    </a:lnTo>
                    <a:lnTo>
                      <a:pt x="17" y="0"/>
                    </a:lnTo>
                    <a:lnTo>
                      <a:pt x="21" y="4"/>
                    </a:lnTo>
                    <a:lnTo>
                      <a:pt x="26" y="4"/>
                    </a:lnTo>
                    <a:lnTo>
                      <a:pt x="28" y="4"/>
                    </a:lnTo>
                    <a:lnTo>
                      <a:pt x="30" y="6"/>
                    </a:lnTo>
                    <a:lnTo>
                      <a:pt x="30" y="6"/>
                    </a:lnTo>
                    <a:lnTo>
                      <a:pt x="28" y="6"/>
                    </a:lnTo>
                    <a:lnTo>
                      <a:pt x="28" y="7"/>
                    </a:lnTo>
                    <a:lnTo>
                      <a:pt x="28" y="7"/>
                    </a:lnTo>
                    <a:lnTo>
                      <a:pt x="30" y="9"/>
                    </a:lnTo>
                    <a:lnTo>
                      <a:pt x="30" y="11"/>
                    </a:lnTo>
                    <a:lnTo>
                      <a:pt x="28" y="1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11" name="Freeform 3267"/>
              <p:cNvSpPr>
                <a:spLocks/>
              </p:cNvSpPr>
              <p:nvPr/>
            </p:nvSpPr>
            <p:spPr bwMode="auto">
              <a:xfrm>
                <a:off x="805" y="2229"/>
                <a:ext cx="2" cy="5"/>
              </a:xfrm>
              <a:custGeom>
                <a:avLst/>
                <a:gdLst>
                  <a:gd name="T0" fmla="*/ 0 w 2"/>
                  <a:gd name="T1" fmla="*/ 2 h 5"/>
                  <a:gd name="T2" fmla="*/ 0 w 2"/>
                  <a:gd name="T3" fmla="*/ 2 h 5"/>
                  <a:gd name="T4" fmla="*/ 0 w 2"/>
                  <a:gd name="T5" fmla="*/ 0 h 5"/>
                  <a:gd name="T6" fmla="*/ 0 w 2"/>
                  <a:gd name="T7" fmla="*/ 0 h 5"/>
                  <a:gd name="T8" fmla="*/ 2 w 2"/>
                  <a:gd name="T9" fmla="*/ 5 h 5"/>
                  <a:gd name="T10" fmla="*/ 0 w 2"/>
                  <a:gd name="T11" fmla="*/ 3 h 5"/>
                  <a:gd name="T12" fmla="*/ 0 w 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0" y="2"/>
                    </a:moveTo>
                    <a:lnTo>
                      <a:pt x="0" y="2"/>
                    </a:lnTo>
                    <a:lnTo>
                      <a:pt x="0" y="0"/>
                    </a:lnTo>
                    <a:lnTo>
                      <a:pt x="0" y="0"/>
                    </a:lnTo>
                    <a:lnTo>
                      <a:pt x="2" y="5"/>
                    </a:lnTo>
                    <a:lnTo>
                      <a:pt x="0" y="3"/>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12" name="Freeform 3268"/>
              <p:cNvSpPr>
                <a:spLocks/>
              </p:cNvSpPr>
              <p:nvPr/>
            </p:nvSpPr>
            <p:spPr bwMode="auto">
              <a:xfrm>
                <a:off x="805" y="2229"/>
                <a:ext cx="2" cy="5"/>
              </a:xfrm>
              <a:custGeom>
                <a:avLst/>
                <a:gdLst>
                  <a:gd name="T0" fmla="*/ 0 w 2"/>
                  <a:gd name="T1" fmla="*/ 2 h 5"/>
                  <a:gd name="T2" fmla="*/ 0 w 2"/>
                  <a:gd name="T3" fmla="*/ 2 h 5"/>
                  <a:gd name="T4" fmla="*/ 0 w 2"/>
                  <a:gd name="T5" fmla="*/ 0 h 5"/>
                  <a:gd name="T6" fmla="*/ 0 w 2"/>
                  <a:gd name="T7" fmla="*/ 0 h 5"/>
                  <a:gd name="T8" fmla="*/ 2 w 2"/>
                  <a:gd name="T9" fmla="*/ 5 h 5"/>
                  <a:gd name="T10" fmla="*/ 0 w 2"/>
                  <a:gd name="T11" fmla="*/ 3 h 5"/>
                  <a:gd name="T12" fmla="*/ 0 w 2"/>
                  <a:gd name="T13" fmla="*/ 2 h 5"/>
                </a:gdLst>
                <a:ahLst/>
                <a:cxnLst>
                  <a:cxn ang="0">
                    <a:pos x="T0" y="T1"/>
                  </a:cxn>
                  <a:cxn ang="0">
                    <a:pos x="T2" y="T3"/>
                  </a:cxn>
                  <a:cxn ang="0">
                    <a:pos x="T4" y="T5"/>
                  </a:cxn>
                  <a:cxn ang="0">
                    <a:pos x="T6" y="T7"/>
                  </a:cxn>
                  <a:cxn ang="0">
                    <a:pos x="T8" y="T9"/>
                  </a:cxn>
                  <a:cxn ang="0">
                    <a:pos x="T10" y="T11"/>
                  </a:cxn>
                  <a:cxn ang="0">
                    <a:pos x="T12" y="T13"/>
                  </a:cxn>
                </a:cxnLst>
                <a:rect l="0" t="0" r="r" b="b"/>
                <a:pathLst>
                  <a:path w="2" h="5">
                    <a:moveTo>
                      <a:pt x="0" y="2"/>
                    </a:moveTo>
                    <a:lnTo>
                      <a:pt x="0" y="2"/>
                    </a:lnTo>
                    <a:lnTo>
                      <a:pt x="0" y="0"/>
                    </a:lnTo>
                    <a:lnTo>
                      <a:pt x="0" y="0"/>
                    </a:lnTo>
                    <a:lnTo>
                      <a:pt x="2" y="5"/>
                    </a:lnTo>
                    <a:lnTo>
                      <a:pt x="0" y="3"/>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13" name="Rectangle 3269"/>
              <p:cNvSpPr>
                <a:spLocks noChangeArrowheads="1"/>
              </p:cNvSpPr>
              <p:nvPr/>
            </p:nvSpPr>
            <p:spPr bwMode="auto">
              <a:xfrm>
                <a:off x="612" y="3124"/>
                <a:ext cx="2" cy="1"/>
              </a:xfrm>
              <a:prstGeom prst="rect">
                <a:avLst/>
              </a:prstGeom>
              <a:grpFill/>
              <a:ln w="3175">
                <a:solidFill>
                  <a:schemeClr val="bg1"/>
                </a:solidFill>
                <a:miter lim="800000"/>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14" name="Rectangle 3270"/>
              <p:cNvSpPr>
                <a:spLocks noChangeArrowheads="1"/>
              </p:cNvSpPr>
              <p:nvPr/>
            </p:nvSpPr>
            <p:spPr bwMode="auto">
              <a:xfrm>
                <a:off x="612" y="3124"/>
                <a:ext cx="2" cy="1"/>
              </a:xfrm>
              <a:prstGeom prst="rect">
                <a:avLst/>
              </a:prstGeom>
              <a:grpFill/>
              <a:ln w="3175">
                <a:solidFill>
                  <a:schemeClr val="bg1"/>
                </a:solidFill>
                <a:miter lim="800000"/>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15" name="Freeform 3271"/>
              <p:cNvSpPr>
                <a:spLocks/>
              </p:cNvSpPr>
              <p:nvPr/>
            </p:nvSpPr>
            <p:spPr bwMode="auto">
              <a:xfrm>
                <a:off x="696" y="3116"/>
                <a:ext cx="4" cy="4"/>
              </a:xfrm>
              <a:custGeom>
                <a:avLst/>
                <a:gdLst>
                  <a:gd name="T0" fmla="*/ 2 w 4"/>
                  <a:gd name="T1" fmla="*/ 2 h 4"/>
                  <a:gd name="T2" fmla="*/ 0 w 4"/>
                  <a:gd name="T3" fmla="*/ 2 h 4"/>
                  <a:gd name="T4" fmla="*/ 4 w 4"/>
                  <a:gd name="T5" fmla="*/ 4 h 4"/>
                  <a:gd name="T6" fmla="*/ 2 w 4"/>
                  <a:gd name="T7" fmla="*/ 2 h 4"/>
                  <a:gd name="T8" fmla="*/ 0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lnTo>
                      <a:pt x="0" y="2"/>
                    </a:lnTo>
                    <a:lnTo>
                      <a:pt x="4" y="4"/>
                    </a:lnTo>
                    <a:lnTo>
                      <a:pt x="2" y="2"/>
                    </a:lnTo>
                    <a:lnTo>
                      <a:pt x="0" y="0"/>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16" name="Freeform 3272"/>
              <p:cNvSpPr>
                <a:spLocks/>
              </p:cNvSpPr>
              <p:nvPr/>
            </p:nvSpPr>
            <p:spPr bwMode="auto">
              <a:xfrm>
                <a:off x="696" y="3116"/>
                <a:ext cx="4" cy="4"/>
              </a:xfrm>
              <a:custGeom>
                <a:avLst/>
                <a:gdLst>
                  <a:gd name="T0" fmla="*/ 2 w 4"/>
                  <a:gd name="T1" fmla="*/ 2 h 4"/>
                  <a:gd name="T2" fmla="*/ 0 w 4"/>
                  <a:gd name="T3" fmla="*/ 2 h 4"/>
                  <a:gd name="T4" fmla="*/ 4 w 4"/>
                  <a:gd name="T5" fmla="*/ 4 h 4"/>
                  <a:gd name="T6" fmla="*/ 2 w 4"/>
                  <a:gd name="T7" fmla="*/ 2 h 4"/>
                  <a:gd name="T8" fmla="*/ 0 w 4"/>
                  <a:gd name="T9" fmla="*/ 0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lnTo>
                      <a:pt x="0" y="2"/>
                    </a:lnTo>
                    <a:lnTo>
                      <a:pt x="4" y="4"/>
                    </a:lnTo>
                    <a:lnTo>
                      <a:pt x="2" y="2"/>
                    </a:lnTo>
                    <a:lnTo>
                      <a:pt x="0" y="0"/>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17" name="Freeform 3273"/>
              <p:cNvSpPr>
                <a:spLocks/>
              </p:cNvSpPr>
              <p:nvPr/>
            </p:nvSpPr>
            <p:spPr bwMode="auto">
              <a:xfrm>
                <a:off x="121" y="2877"/>
                <a:ext cx="2" cy="2"/>
              </a:xfrm>
              <a:custGeom>
                <a:avLst/>
                <a:gdLst>
                  <a:gd name="T0" fmla="*/ 0 w 2"/>
                  <a:gd name="T1" fmla="*/ 2 h 2"/>
                  <a:gd name="T2" fmla="*/ 2 w 2"/>
                  <a:gd name="T3" fmla="*/ 0 h 2"/>
                  <a:gd name="T4" fmla="*/ 2 w 2"/>
                  <a:gd name="T5" fmla="*/ 2 h 2"/>
                  <a:gd name="T6" fmla="*/ 2 w 2"/>
                  <a:gd name="T7" fmla="*/ 2 h 2"/>
                  <a:gd name="T8" fmla="*/ 2 w 2"/>
                  <a:gd name="T9" fmla="*/ 2 h 2"/>
                  <a:gd name="T10" fmla="*/ 2 w 2"/>
                  <a:gd name="T11" fmla="*/ 2 h 2"/>
                  <a:gd name="T12" fmla="*/ 0 w 2"/>
                  <a:gd name="T13" fmla="*/ 2 h 2"/>
                  <a:gd name="T14" fmla="*/ 0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2"/>
                    </a:moveTo>
                    <a:lnTo>
                      <a:pt x="2" y="0"/>
                    </a:lnTo>
                    <a:lnTo>
                      <a:pt x="2" y="2"/>
                    </a:lnTo>
                    <a:lnTo>
                      <a:pt x="2" y="2"/>
                    </a:lnTo>
                    <a:lnTo>
                      <a:pt x="2" y="2"/>
                    </a:lnTo>
                    <a:lnTo>
                      <a:pt x="2" y="2"/>
                    </a:lnTo>
                    <a:lnTo>
                      <a:pt x="0" y="2"/>
                    </a:lnTo>
                    <a:lnTo>
                      <a:pt x="0"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18" name="Freeform 3274"/>
              <p:cNvSpPr>
                <a:spLocks/>
              </p:cNvSpPr>
              <p:nvPr/>
            </p:nvSpPr>
            <p:spPr bwMode="auto">
              <a:xfrm>
                <a:off x="121" y="2877"/>
                <a:ext cx="2" cy="2"/>
              </a:xfrm>
              <a:custGeom>
                <a:avLst/>
                <a:gdLst>
                  <a:gd name="T0" fmla="*/ 0 w 2"/>
                  <a:gd name="T1" fmla="*/ 2 h 2"/>
                  <a:gd name="T2" fmla="*/ 2 w 2"/>
                  <a:gd name="T3" fmla="*/ 0 h 2"/>
                  <a:gd name="T4" fmla="*/ 2 w 2"/>
                  <a:gd name="T5" fmla="*/ 2 h 2"/>
                  <a:gd name="T6" fmla="*/ 2 w 2"/>
                  <a:gd name="T7" fmla="*/ 2 h 2"/>
                  <a:gd name="T8" fmla="*/ 2 w 2"/>
                  <a:gd name="T9" fmla="*/ 2 h 2"/>
                  <a:gd name="T10" fmla="*/ 2 w 2"/>
                  <a:gd name="T11" fmla="*/ 2 h 2"/>
                  <a:gd name="T12" fmla="*/ 0 w 2"/>
                  <a:gd name="T13" fmla="*/ 2 h 2"/>
                  <a:gd name="T14" fmla="*/ 0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2"/>
                    </a:moveTo>
                    <a:lnTo>
                      <a:pt x="2" y="0"/>
                    </a:lnTo>
                    <a:lnTo>
                      <a:pt x="2" y="2"/>
                    </a:lnTo>
                    <a:lnTo>
                      <a:pt x="2" y="2"/>
                    </a:lnTo>
                    <a:lnTo>
                      <a:pt x="2" y="2"/>
                    </a:lnTo>
                    <a:lnTo>
                      <a:pt x="2" y="2"/>
                    </a:lnTo>
                    <a:lnTo>
                      <a:pt x="0" y="2"/>
                    </a:lnTo>
                    <a:lnTo>
                      <a:pt x="0"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19" name="Freeform 3275"/>
              <p:cNvSpPr>
                <a:spLocks/>
              </p:cNvSpPr>
              <p:nvPr/>
            </p:nvSpPr>
            <p:spPr bwMode="auto">
              <a:xfrm>
                <a:off x="170" y="2856"/>
                <a:ext cx="3" cy="1"/>
              </a:xfrm>
              <a:custGeom>
                <a:avLst/>
                <a:gdLst>
                  <a:gd name="T0" fmla="*/ 0 w 3"/>
                  <a:gd name="T1" fmla="*/ 1 h 1"/>
                  <a:gd name="T2" fmla="*/ 1 w 3"/>
                  <a:gd name="T3" fmla="*/ 0 h 1"/>
                  <a:gd name="T4" fmla="*/ 1 w 3"/>
                  <a:gd name="T5" fmla="*/ 1 h 1"/>
                  <a:gd name="T6" fmla="*/ 3 w 3"/>
                  <a:gd name="T7" fmla="*/ 1 h 1"/>
                  <a:gd name="T8" fmla="*/ 3 w 3"/>
                  <a:gd name="T9" fmla="*/ 1 h 1"/>
                  <a:gd name="T10" fmla="*/ 1 w 3"/>
                  <a:gd name="T11" fmla="*/ 1 h 1"/>
                  <a:gd name="T12" fmla="*/ 1 w 3"/>
                  <a:gd name="T13" fmla="*/ 1 h 1"/>
                  <a:gd name="T14" fmla="*/ 0 w 3"/>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
                    <a:moveTo>
                      <a:pt x="0" y="1"/>
                    </a:moveTo>
                    <a:lnTo>
                      <a:pt x="1" y="0"/>
                    </a:lnTo>
                    <a:lnTo>
                      <a:pt x="1" y="1"/>
                    </a:lnTo>
                    <a:lnTo>
                      <a:pt x="3" y="1"/>
                    </a:lnTo>
                    <a:lnTo>
                      <a:pt x="3" y="1"/>
                    </a:lnTo>
                    <a:lnTo>
                      <a:pt x="1" y="1"/>
                    </a:lnTo>
                    <a:lnTo>
                      <a:pt x="1" y="1"/>
                    </a:lnTo>
                    <a:lnTo>
                      <a:pt x="0"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20" name="Freeform 3276"/>
              <p:cNvSpPr>
                <a:spLocks/>
              </p:cNvSpPr>
              <p:nvPr/>
            </p:nvSpPr>
            <p:spPr bwMode="auto">
              <a:xfrm>
                <a:off x="170" y="2856"/>
                <a:ext cx="3" cy="1"/>
              </a:xfrm>
              <a:custGeom>
                <a:avLst/>
                <a:gdLst>
                  <a:gd name="T0" fmla="*/ 0 w 3"/>
                  <a:gd name="T1" fmla="*/ 1 h 1"/>
                  <a:gd name="T2" fmla="*/ 1 w 3"/>
                  <a:gd name="T3" fmla="*/ 0 h 1"/>
                  <a:gd name="T4" fmla="*/ 1 w 3"/>
                  <a:gd name="T5" fmla="*/ 1 h 1"/>
                  <a:gd name="T6" fmla="*/ 3 w 3"/>
                  <a:gd name="T7" fmla="*/ 1 h 1"/>
                  <a:gd name="T8" fmla="*/ 3 w 3"/>
                  <a:gd name="T9" fmla="*/ 1 h 1"/>
                  <a:gd name="T10" fmla="*/ 1 w 3"/>
                  <a:gd name="T11" fmla="*/ 1 h 1"/>
                  <a:gd name="T12" fmla="*/ 1 w 3"/>
                  <a:gd name="T13" fmla="*/ 1 h 1"/>
                  <a:gd name="T14" fmla="*/ 0 w 3"/>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
                    <a:moveTo>
                      <a:pt x="0" y="1"/>
                    </a:moveTo>
                    <a:lnTo>
                      <a:pt x="1" y="0"/>
                    </a:lnTo>
                    <a:lnTo>
                      <a:pt x="1" y="1"/>
                    </a:lnTo>
                    <a:lnTo>
                      <a:pt x="3" y="1"/>
                    </a:lnTo>
                    <a:lnTo>
                      <a:pt x="3" y="1"/>
                    </a:lnTo>
                    <a:lnTo>
                      <a:pt x="1" y="1"/>
                    </a:lnTo>
                    <a:lnTo>
                      <a:pt x="1" y="1"/>
                    </a:lnTo>
                    <a:lnTo>
                      <a:pt x="0"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21" name="Freeform 3277"/>
              <p:cNvSpPr>
                <a:spLocks/>
              </p:cNvSpPr>
              <p:nvPr/>
            </p:nvSpPr>
            <p:spPr bwMode="auto">
              <a:xfrm>
                <a:off x="823" y="2163"/>
                <a:ext cx="484" cy="316"/>
              </a:xfrm>
              <a:custGeom>
                <a:avLst/>
                <a:gdLst>
                  <a:gd name="T0" fmla="*/ 54 w 484"/>
                  <a:gd name="T1" fmla="*/ 21 h 316"/>
                  <a:gd name="T2" fmla="*/ 68 w 484"/>
                  <a:gd name="T3" fmla="*/ 41 h 316"/>
                  <a:gd name="T4" fmla="*/ 75 w 484"/>
                  <a:gd name="T5" fmla="*/ 55 h 316"/>
                  <a:gd name="T6" fmla="*/ 86 w 484"/>
                  <a:gd name="T7" fmla="*/ 75 h 316"/>
                  <a:gd name="T8" fmla="*/ 105 w 484"/>
                  <a:gd name="T9" fmla="*/ 93 h 316"/>
                  <a:gd name="T10" fmla="*/ 120 w 484"/>
                  <a:gd name="T11" fmla="*/ 111 h 316"/>
                  <a:gd name="T12" fmla="*/ 125 w 484"/>
                  <a:gd name="T13" fmla="*/ 119 h 316"/>
                  <a:gd name="T14" fmla="*/ 132 w 484"/>
                  <a:gd name="T15" fmla="*/ 132 h 316"/>
                  <a:gd name="T16" fmla="*/ 148 w 484"/>
                  <a:gd name="T17" fmla="*/ 148 h 316"/>
                  <a:gd name="T18" fmla="*/ 184 w 484"/>
                  <a:gd name="T19" fmla="*/ 182 h 316"/>
                  <a:gd name="T20" fmla="*/ 191 w 484"/>
                  <a:gd name="T21" fmla="*/ 200 h 316"/>
                  <a:gd name="T22" fmla="*/ 191 w 484"/>
                  <a:gd name="T23" fmla="*/ 216 h 316"/>
                  <a:gd name="T24" fmla="*/ 204 w 484"/>
                  <a:gd name="T25" fmla="*/ 241 h 316"/>
                  <a:gd name="T26" fmla="*/ 218 w 484"/>
                  <a:gd name="T27" fmla="*/ 250 h 316"/>
                  <a:gd name="T28" fmla="*/ 229 w 484"/>
                  <a:gd name="T29" fmla="*/ 257 h 316"/>
                  <a:gd name="T30" fmla="*/ 259 w 484"/>
                  <a:gd name="T31" fmla="*/ 269 h 316"/>
                  <a:gd name="T32" fmla="*/ 307 w 484"/>
                  <a:gd name="T33" fmla="*/ 291 h 316"/>
                  <a:gd name="T34" fmla="*/ 339 w 484"/>
                  <a:gd name="T35" fmla="*/ 296 h 316"/>
                  <a:gd name="T36" fmla="*/ 398 w 484"/>
                  <a:gd name="T37" fmla="*/ 316 h 316"/>
                  <a:gd name="T38" fmla="*/ 402 w 484"/>
                  <a:gd name="T39" fmla="*/ 302 h 316"/>
                  <a:gd name="T40" fmla="*/ 421 w 484"/>
                  <a:gd name="T41" fmla="*/ 282 h 316"/>
                  <a:gd name="T42" fmla="*/ 455 w 484"/>
                  <a:gd name="T43" fmla="*/ 252 h 316"/>
                  <a:gd name="T44" fmla="*/ 466 w 484"/>
                  <a:gd name="T45" fmla="*/ 250 h 316"/>
                  <a:gd name="T46" fmla="*/ 470 w 484"/>
                  <a:gd name="T47" fmla="*/ 236 h 316"/>
                  <a:gd name="T48" fmla="*/ 482 w 484"/>
                  <a:gd name="T49" fmla="*/ 211 h 316"/>
                  <a:gd name="T50" fmla="*/ 464 w 484"/>
                  <a:gd name="T51" fmla="*/ 196 h 316"/>
                  <a:gd name="T52" fmla="*/ 420 w 484"/>
                  <a:gd name="T53" fmla="*/ 237 h 316"/>
                  <a:gd name="T54" fmla="*/ 402 w 484"/>
                  <a:gd name="T55" fmla="*/ 248 h 316"/>
                  <a:gd name="T56" fmla="*/ 366 w 484"/>
                  <a:gd name="T57" fmla="*/ 255 h 316"/>
                  <a:gd name="T58" fmla="*/ 341 w 484"/>
                  <a:gd name="T59" fmla="*/ 244 h 316"/>
                  <a:gd name="T60" fmla="*/ 318 w 484"/>
                  <a:gd name="T61" fmla="*/ 205 h 316"/>
                  <a:gd name="T62" fmla="*/ 311 w 484"/>
                  <a:gd name="T63" fmla="*/ 161 h 316"/>
                  <a:gd name="T64" fmla="*/ 313 w 484"/>
                  <a:gd name="T65" fmla="*/ 134 h 316"/>
                  <a:gd name="T66" fmla="*/ 320 w 484"/>
                  <a:gd name="T67" fmla="*/ 128 h 316"/>
                  <a:gd name="T68" fmla="*/ 309 w 484"/>
                  <a:gd name="T69" fmla="*/ 121 h 316"/>
                  <a:gd name="T70" fmla="*/ 275 w 484"/>
                  <a:gd name="T71" fmla="*/ 89 h 316"/>
                  <a:gd name="T72" fmla="*/ 230 w 484"/>
                  <a:gd name="T73" fmla="*/ 53 h 316"/>
                  <a:gd name="T74" fmla="*/ 173 w 484"/>
                  <a:gd name="T75" fmla="*/ 21 h 316"/>
                  <a:gd name="T76" fmla="*/ 36 w 484"/>
                  <a:gd name="T77" fmla="*/ 0 h 316"/>
                  <a:gd name="T78" fmla="*/ 7 w 484"/>
                  <a:gd name="T79" fmla="*/ 14 h 316"/>
                  <a:gd name="T80" fmla="*/ 16 w 484"/>
                  <a:gd name="T81" fmla="*/ 34 h 316"/>
                  <a:gd name="T82" fmla="*/ 25 w 484"/>
                  <a:gd name="T83" fmla="*/ 53 h 316"/>
                  <a:gd name="T84" fmla="*/ 39 w 484"/>
                  <a:gd name="T85" fmla="*/ 66 h 316"/>
                  <a:gd name="T86" fmla="*/ 52 w 484"/>
                  <a:gd name="T87" fmla="*/ 84 h 316"/>
                  <a:gd name="T88" fmla="*/ 48 w 484"/>
                  <a:gd name="T89" fmla="*/ 91 h 316"/>
                  <a:gd name="T90" fmla="*/ 41 w 484"/>
                  <a:gd name="T91" fmla="*/ 94 h 316"/>
                  <a:gd name="T92" fmla="*/ 52 w 484"/>
                  <a:gd name="T93" fmla="*/ 103 h 316"/>
                  <a:gd name="T94" fmla="*/ 66 w 484"/>
                  <a:gd name="T95" fmla="*/ 109 h 316"/>
                  <a:gd name="T96" fmla="*/ 80 w 484"/>
                  <a:gd name="T97" fmla="*/ 144 h 316"/>
                  <a:gd name="T98" fmla="*/ 86 w 484"/>
                  <a:gd name="T99" fmla="*/ 148 h 316"/>
                  <a:gd name="T100" fmla="*/ 116 w 484"/>
                  <a:gd name="T101" fmla="*/ 177 h 316"/>
                  <a:gd name="T102" fmla="*/ 118 w 484"/>
                  <a:gd name="T103" fmla="*/ 159 h 316"/>
                  <a:gd name="T104" fmla="*/ 104 w 484"/>
                  <a:gd name="T105" fmla="*/ 143 h 316"/>
                  <a:gd name="T106" fmla="*/ 93 w 484"/>
                  <a:gd name="T107" fmla="*/ 118 h 316"/>
                  <a:gd name="T108" fmla="*/ 88 w 484"/>
                  <a:gd name="T109" fmla="*/ 112 h 316"/>
                  <a:gd name="T110" fmla="*/ 80 w 484"/>
                  <a:gd name="T111" fmla="*/ 98 h 316"/>
                  <a:gd name="T112" fmla="*/ 68 w 484"/>
                  <a:gd name="T113" fmla="*/ 78 h 316"/>
                  <a:gd name="T114" fmla="*/ 57 w 484"/>
                  <a:gd name="T115" fmla="*/ 62 h 316"/>
                  <a:gd name="T116" fmla="*/ 39 w 484"/>
                  <a:gd name="T117" fmla="*/ 3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4" h="316">
                    <a:moveTo>
                      <a:pt x="38" y="16"/>
                    </a:moveTo>
                    <a:lnTo>
                      <a:pt x="41" y="18"/>
                    </a:lnTo>
                    <a:lnTo>
                      <a:pt x="43" y="19"/>
                    </a:lnTo>
                    <a:lnTo>
                      <a:pt x="45" y="19"/>
                    </a:lnTo>
                    <a:lnTo>
                      <a:pt x="45" y="21"/>
                    </a:lnTo>
                    <a:lnTo>
                      <a:pt x="50" y="23"/>
                    </a:lnTo>
                    <a:lnTo>
                      <a:pt x="54" y="21"/>
                    </a:lnTo>
                    <a:lnTo>
                      <a:pt x="55" y="23"/>
                    </a:lnTo>
                    <a:lnTo>
                      <a:pt x="55" y="25"/>
                    </a:lnTo>
                    <a:lnTo>
                      <a:pt x="63" y="27"/>
                    </a:lnTo>
                    <a:lnTo>
                      <a:pt x="64" y="28"/>
                    </a:lnTo>
                    <a:lnTo>
                      <a:pt x="66" y="30"/>
                    </a:lnTo>
                    <a:lnTo>
                      <a:pt x="66" y="37"/>
                    </a:lnTo>
                    <a:lnTo>
                      <a:pt x="68" y="41"/>
                    </a:lnTo>
                    <a:lnTo>
                      <a:pt x="70" y="44"/>
                    </a:lnTo>
                    <a:lnTo>
                      <a:pt x="70" y="44"/>
                    </a:lnTo>
                    <a:lnTo>
                      <a:pt x="72" y="46"/>
                    </a:lnTo>
                    <a:lnTo>
                      <a:pt x="72" y="52"/>
                    </a:lnTo>
                    <a:lnTo>
                      <a:pt x="73" y="53"/>
                    </a:lnTo>
                    <a:lnTo>
                      <a:pt x="73" y="53"/>
                    </a:lnTo>
                    <a:lnTo>
                      <a:pt x="75" y="55"/>
                    </a:lnTo>
                    <a:lnTo>
                      <a:pt x="75" y="61"/>
                    </a:lnTo>
                    <a:lnTo>
                      <a:pt x="77" y="62"/>
                    </a:lnTo>
                    <a:lnTo>
                      <a:pt x="79" y="64"/>
                    </a:lnTo>
                    <a:lnTo>
                      <a:pt x="80" y="64"/>
                    </a:lnTo>
                    <a:lnTo>
                      <a:pt x="82" y="69"/>
                    </a:lnTo>
                    <a:lnTo>
                      <a:pt x="84" y="71"/>
                    </a:lnTo>
                    <a:lnTo>
                      <a:pt x="86" y="75"/>
                    </a:lnTo>
                    <a:lnTo>
                      <a:pt x="88" y="78"/>
                    </a:lnTo>
                    <a:lnTo>
                      <a:pt x="91" y="78"/>
                    </a:lnTo>
                    <a:lnTo>
                      <a:pt x="95" y="84"/>
                    </a:lnTo>
                    <a:lnTo>
                      <a:pt x="98" y="87"/>
                    </a:lnTo>
                    <a:lnTo>
                      <a:pt x="105" y="89"/>
                    </a:lnTo>
                    <a:lnTo>
                      <a:pt x="105" y="89"/>
                    </a:lnTo>
                    <a:lnTo>
                      <a:pt x="105" y="93"/>
                    </a:lnTo>
                    <a:lnTo>
                      <a:pt x="105" y="94"/>
                    </a:lnTo>
                    <a:lnTo>
                      <a:pt x="105" y="98"/>
                    </a:lnTo>
                    <a:lnTo>
                      <a:pt x="109" y="102"/>
                    </a:lnTo>
                    <a:lnTo>
                      <a:pt x="114" y="103"/>
                    </a:lnTo>
                    <a:lnTo>
                      <a:pt x="118" y="109"/>
                    </a:lnTo>
                    <a:lnTo>
                      <a:pt x="120" y="109"/>
                    </a:lnTo>
                    <a:lnTo>
                      <a:pt x="120" y="111"/>
                    </a:lnTo>
                    <a:lnTo>
                      <a:pt x="123" y="111"/>
                    </a:lnTo>
                    <a:lnTo>
                      <a:pt x="125" y="112"/>
                    </a:lnTo>
                    <a:lnTo>
                      <a:pt x="127" y="114"/>
                    </a:lnTo>
                    <a:lnTo>
                      <a:pt x="129" y="116"/>
                    </a:lnTo>
                    <a:lnTo>
                      <a:pt x="129" y="116"/>
                    </a:lnTo>
                    <a:lnTo>
                      <a:pt x="127" y="119"/>
                    </a:lnTo>
                    <a:lnTo>
                      <a:pt x="125" y="119"/>
                    </a:lnTo>
                    <a:lnTo>
                      <a:pt x="125" y="127"/>
                    </a:lnTo>
                    <a:lnTo>
                      <a:pt x="125" y="127"/>
                    </a:lnTo>
                    <a:lnTo>
                      <a:pt x="127" y="130"/>
                    </a:lnTo>
                    <a:lnTo>
                      <a:pt x="130" y="130"/>
                    </a:lnTo>
                    <a:lnTo>
                      <a:pt x="132" y="128"/>
                    </a:lnTo>
                    <a:lnTo>
                      <a:pt x="132" y="128"/>
                    </a:lnTo>
                    <a:lnTo>
                      <a:pt x="132" y="132"/>
                    </a:lnTo>
                    <a:lnTo>
                      <a:pt x="132" y="132"/>
                    </a:lnTo>
                    <a:lnTo>
                      <a:pt x="139" y="136"/>
                    </a:lnTo>
                    <a:lnTo>
                      <a:pt x="141" y="137"/>
                    </a:lnTo>
                    <a:lnTo>
                      <a:pt x="143" y="136"/>
                    </a:lnTo>
                    <a:lnTo>
                      <a:pt x="148" y="141"/>
                    </a:lnTo>
                    <a:lnTo>
                      <a:pt x="148" y="146"/>
                    </a:lnTo>
                    <a:lnTo>
                      <a:pt x="148" y="148"/>
                    </a:lnTo>
                    <a:lnTo>
                      <a:pt x="166" y="161"/>
                    </a:lnTo>
                    <a:lnTo>
                      <a:pt x="166" y="162"/>
                    </a:lnTo>
                    <a:lnTo>
                      <a:pt x="166" y="164"/>
                    </a:lnTo>
                    <a:lnTo>
                      <a:pt x="166" y="166"/>
                    </a:lnTo>
                    <a:lnTo>
                      <a:pt x="168" y="166"/>
                    </a:lnTo>
                    <a:lnTo>
                      <a:pt x="172" y="171"/>
                    </a:lnTo>
                    <a:lnTo>
                      <a:pt x="184" y="182"/>
                    </a:lnTo>
                    <a:lnTo>
                      <a:pt x="184" y="184"/>
                    </a:lnTo>
                    <a:lnTo>
                      <a:pt x="184" y="186"/>
                    </a:lnTo>
                    <a:lnTo>
                      <a:pt x="184" y="187"/>
                    </a:lnTo>
                    <a:lnTo>
                      <a:pt x="188" y="193"/>
                    </a:lnTo>
                    <a:lnTo>
                      <a:pt x="189" y="196"/>
                    </a:lnTo>
                    <a:lnTo>
                      <a:pt x="189" y="198"/>
                    </a:lnTo>
                    <a:lnTo>
                      <a:pt x="191" y="200"/>
                    </a:lnTo>
                    <a:lnTo>
                      <a:pt x="193" y="205"/>
                    </a:lnTo>
                    <a:lnTo>
                      <a:pt x="193" y="207"/>
                    </a:lnTo>
                    <a:lnTo>
                      <a:pt x="191" y="209"/>
                    </a:lnTo>
                    <a:lnTo>
                      <a:pt x="189" y="212"/>
                    </a:lnTo>
                    <a:lnTo>
                      <a:pt x="189" y="212"/>
                    </a:lnTo>
                    <a:lnTo>
                      <a:pt x="189" y="212"/>
                    </a:lnTo>
                    <a:lnTo>
                      <a:pt x="191" y="216"/>
                    </a:lnTo>
                    <a:lnTo>
                      <a:pt x="191" y="216"/>
                    </a:lnTo>
                    <a:lnTo>
                      <a:pt x="186" y="219"/>
                    </a:lnTo>
                    <a:lnTo>
                      <a:pt x="186" y="219"/>
                    </a:lnTo>
                    <a:lnTo>
                      <a:pt x="186" y="221"/>
                    </a:lnTo>
                    <a:lnTo>
                      <a:pt x="189" y="230"/>
                    </a:lnTo>
                    <a:lnTo>
                      <a:pt x="202" y="239"/>
                    </a:lnTo>
                    <a:lnTo>
                      <a:pt x="204" y="241"/>
                    </a:lnTo>
                    <a:lnTo>
                      <a:pt x="207" y="241"/>
                    </a:lnTo>
                    <a:lnTo>
                      <a:pt x="211" y="244"/>
                    </a:lnTo>
                    <a:lnTo>
                      <a:pt x="214" y="246"/>
                    </a:lnTo>
                    <a:lnTo>
                      <a:pt x="216" y="248"/>
                    </a:lnTo>
                    <a:lnTo>
                      <a:pt x="216" y="250"/>
                    </a:lnTo>
                    <a:lnTo>
                      <a:pt x="216" y="250"/>
                    </a:lnTo>
                    <a:lnTo>
                      <a:pt x="218" y="250"/>
                    </a:lnTo>
                    <a:lnTo>
                      <a:pt x="218" y="252"/>
                    </a:lnTo>
                    <a:lnTo>
                      <a:pt x="218" y="252"/>
                    </a:lnTo>
                    <a:lnTo>
                      <a:pt x="220" y="253"/>
                    </a:lnTo>
                    <a:lnTo>
                      <a:pt x="222" y="255"/>
                    </a:lnTo>
                    <a:lnTo>
                      <a:pt x="225" y="255"/>
                    </a:lnTo>
                    <a:lnTo>
                      <a:pt x="227" y="255"/>
                    </a:lnTo>
                    <a:lnTo>
                      <a:pt x="229" y="257"/>
                    </a:lnTo>
                    <a:lnTo>
                      <a:pt x="229" y="257"/>
                    </a:lnTo>
                    <a:lnTo>
                      <a:pt x="243" y="261"/>
                    </a:lnTo>
                    <a:lnTo>
                      <a:pt x="243" y="261"/>
                    </a:lnTo>
                    <a:lnTo>
                      <a:pt x="248" y="262"/>
                    </a:lnTo>
                    <a:lnTo>
                      <a:pt x="250" y="264"/>
                    </a:lnTo>
                    <a:lnTo>
                      <a:pt x="250" y="266"/>
                    </a:lnTo>
                    <a:lnTo>
                      <a:pt x="259" y="269"/>
                    </a:lnTo>
                    <a:lnTo>
                      <a:pt x="259" y="271"/>
                    </a:lnTo>
                    <a:lnTo>
                      <a:pt x="261" y="273"/>
                    </a:lnTo>
                    <a:lnTo>
                      <a:pt x="261" y="273"/>
                    </a:lnTo>
                    <a:lnTo>
                      <a:pt x="293" y="284"/>
                    </a:lnTo>
                    <a:lnTo>
                      <a:pt x="295" y="284"/>
                    </a:lnTo>
                    <a:lnTo>
                      <a:pt x="305" y="291"/>
                    </a:lnTo>
                    <a:lnTo>
                      <a:pt x="307" y="291"/>
                    </a:lnTo>
                    <a:lnTo>
                      <a:pt x="309" y="293"/>
                    </a:lnTo>
                    <a:lnTo>
                      <a:pt x="327" y="296"/>
                    </a:lnTo>
                    <a:lnTo>
                      <a:pt x="329" y="296"/>
                    </a:lnTo>
                    <a:lnTo>
                      <a:pt x="330" y="298"/>
                    </a:lnTo>
                    <a:lnTo>
                      <a:pt x="336" y="298"/>
                    </a:lnTo>
                    <a:lnTo>
                      <a:pt x="338" y="298"/>
                    </a:lnTo>
                    <a:lnTo>
                      <a:pt x="339" y="296"/>
                    </a:lnTo>
                    <a:lnTo>
                      <a:pt x="345" y="294"/>
                    </a:lnTo>
                    <a:lnTo>
                      <a:pt x="352" y="291"/>
                    </a:lnTo>
                    <a:lnTo>
                      <a:pt x="355" y="289"/>
                    </a:lnTo>
                    <a:lnTo>
                      <a:pt x="361" y="289"/>
                    </a:lnTo>
                    <a:lnTo>
                      <a:pt x="377" y="296"/>
                    </a:lnTo>
                    <a:lnTo>
                      <a:pt x="398" y="316"/>
                    </a:lnTo>
                    <a:lnTo>
                      <a:pt x="398" y="316"/>
                    </a:lnTo>
                    <a:lnTo>
                      <a:pt x="398" y="311"/>
                    </a:lnTo>
                    <a:lnTo>
                      <a:pt x="400" y="311"/>
                    </a:lnTo>
                    <a:lnTo>
                      <a:pt x="400" y="309"/>
                    </a:lnTo>
                    <a:lnTo>
                      <a:pt x="400" y="307"/>
                    </a:lnTo>
                    <a:lnTo>
                      <a:pt x="400" y="307"/>
                    </a:lnTo>
                    <a:lnTo>
                      <a:pt x="402" y="302"/>
                    </a:lnTo>
                    <a:lnTo>
                      <a:pt x="402" y="302"/>
                    </a:lnTo>
                    <a:lnTo>
                      <a:pt x="409" y="291"/>
                    </a:lnTo>
                    <a:lnTo>
                      <a:pt x="425" y="289"/>
                    </a:lnTo>
                    <a:lnTo>
                      <a:pt x="425" y="289"/>
                    </a:lnTo>
                    <a:lnTo>
                      <a:pt x="425" y="289"/>
                    </a:lnTo>
                    <a:lnTo>
                      <a:pt x="425" y="286"/>
                    </a:lnTo>
                    <a:lnTo>
                      <a:pt x="425" y="284"/>
                    </a:lnTo>
                    <a:lnTo>
                      <a:pt x="421" y="282"/>
                    </a:lnTo>
                    <a:lnTo>
                      <a:pt x="421" y="278"/>
                    </a:lnTo>
                    <a:lnTo>
                      <a:pt x="409" y="268"/>
                    </a:lnTo>
                    <a:lnTo>
                      <a:pt x="409" y="269"/>
                    </a:lnTo>
                    <a:lnTo>
                      <a:pt x="418" y="269"/>
                    </a:lnTo>
                    <a:lnTo>
                      <a:pt x="418" y="261"/>
                    </a:lnTo>
                    <a:lnTo>
                      <a:pt x="452" y="261"/>
                    </a:lnTo>
                    <a:lnTo>
                      <a:pt x="455" y="252"/>
                    </a:lnTo>
                    <a:lnTo>
                      <a:pt x="457" y="252"/>
                    </a:lnTo>
                    <a:lnTo>
                      <a:pt x="459" y="252"/>
                    </a:lnTo>
                    <a:lnTo>
                      <a:pt x="459" y="250"/>
                    </a:lnTo>
                    <a:lnTo>
                      <a:pt x="463" y="244"/>
                    </a:lnTo>
                    <a:lnTo>
                      <a:pt x="464" y="244"/>
                    </a:lnTo>
                    <a:lnTo>
                      <a:pt x="464" y="250"/>
                    </a:lnTo>
                    <a:lnTo>
                      <a:pt x="466" y="250"/>
                    </a:lnTo>
                    <a:lnTo>
                      <a:pt x="466" y="252"/>
                    </a:lnTo>
                    <a:lnTo>
                      <a:pt x="466" y="255"/>
                    </a:lnTo>
                    <a:lnTo>
                      <a:pt x="466" y="259"/>
                    </a:lnTo>
                    <a:lnTo>
                      <a:pt x="468" y="257"/>
                    </a:lnTo>
                    <a:lnTo>
                      <a:pt x="473" y="237"/>
                    </a:lnTo>
                    <a:lnTo>
                      <a:pt x="471" y="236"/>
                    </a:lnTo>
                    <a:lnTo>
                      <a:pt x="470" y="236"/>
                    </a:lnTo>
                    <a:lnTo>
                      <a:pt x="473" y="234"/>
                    </a:lnTo>
                    <a:lnTo>
                      <a:pt x="473" y="232"/>
                    </a:lnTo>
                    <a:lnTo>
                      <a:pt x="470" y="230"/>
                    </a:lnTo>
                    <a:lnTo>
                      <a:pt x="473" y="225"/>
                    </a:lnTo>
                    <a:lnTo>
                      <a:pt x="473" y="223"/>
                    </a:lnTo>
                    <a:lnTo>
                      <a:pt x="477" y="216"/>
                    </a:lnTo>
                    <a:lnTo>
                      <a:pt x="482" y="211"/>
                    </a:lnTo>
                    <a:lnTo>
                      <a:pt x="484" y="205"/>
                    </a:lnTo>
                    <a:lnTo>
                      <a:pt x="484" y="202"/>
                    </a:lnTo>
                    <a:lnTo>
                      <a:pt x="480" y="200"/>
                    </a:lnTo>
                    <a:lnTo>
                      <a:pt x="473" y="198"/>
                    </a:lnTo>
                    <a:lnTo>
                      <a:pt x="468" y="202"/>
                    </a:lnTo>
                    <a:lnTo>
                      <a:pt x="468" y="198"/>
                    </a:lnTo>
                    <a:lnTo>
                      <a:pt x="464" y="196"/>
                    </a:lnTo>
                    <a:lnTo>
                      <a:pt x="454" y="198"/>
                    </a:lnTo>
                    <a:lnTo>
                      <a:pt x="450" y="200"/>
                    </a:lnTo>
                    <a:lnTo>
                      <a:pt x="430" y="203"/>
                    </a:lnTo>
                    <a:lnTo>
                      <a:pt x="427" y="205"/>
                    </a:lnTo>
                    <a:lnTo>
                      <a:pt x="423" y="227"/>
                    </a:lnTo>
                    <a:lnTo>
                      <a:pt x="421" y="230"/>
                    </a:lnTo>
                    <a:lnTo>
                      <a:pt x="420" y="237"/>
                    </a:lnTo>
                    <a:lnTo>
                      <a:pt x="416" y="239"/>
                    </a:lnTo>
                    <a:lnTo>
                      <a:pt x="413" y="241"/>
                    </a:lnTo>
                    <a:lnTo>
                      <a:pt x="413" y="248"/>
                    </a:lnTo>
                    <a:lnTo>
                      <a:pt x="407" y="250"/>
                    </a:lnTo>
                    <a:lnTo>
                      <a:pt x="405" y="250"/>
                    </a:lnTo>
                    <a:lnTo>
                      <a:pt x="404" y="250"/>
                    </a:lnTo>
                    <a:lnTo>
                      <a:pt x="402" y="248"/>
                    </a:lnTo>
                    <a:lnTo>
                      <a:pt x="402" y="246"/>
                    </a:lnTo>
                    <a:lnTo>
                      <a:pt x="400" y="246"/>
                    </a:lnTo>
                    <a:lnTo>
                      <a:pt x="395" y="246"/>
                    </a:lnTo>
                    <a:lnTo>
                      <a:pt x="382" y="250"/>
                    </a:lnTo>
                    <a:lnTo>
                      <a:pt x="380" y="250"/>
                    </a:lnTo>
                    <a:lnTo>
                      <a:pt x="371" y="252"/>
                    </a:lnTo>
                    <a:lnTo>
                      <a:pt x="366" y="255"/>
                    </a:lnTo>
                    <a:lnTo>
                      <a:pt x="363" y="255"/>
                    </a:lnTo>
                    <a:lnTo>
                      <a:pt x="357" y="253"/>
                    </a:lnTo>
                    <a:lnTo>
                      <a:pt x="355" y="248"/>
                    </a:lnTo>
                    <a:lnTo>
                      <a:pt x="354" y="248"/>
                    </a:lnTo>
                    <a:lnTo>
                      <a:pt x="354" y="248"/>
                    </a:lnTo>
                    <a:lnTo>
                      <a:pt x="348" y="248"/>
                    </a:lnTo>
                    <a:lnTo>
                      <a:pt x="341" y="244"/>
                    </a:lnTo>
                    <a:lnTo>
                      <a:pt x="336" y="239"/>
                    </a:lnTo>
                    <a:lnTo>
                      <a:pt x="336" y="239"/>
                    </a:lnTo>
                    <a:lnTo>
                      <a:pt x="336" y="239"/>
                    </a:lnTo>
                    <a:lnTo>
                      <a:pt x="329" y="223"/>
                    </a:lnTo>
                    <a:lnTo>
                      <a:pt x="323" y="218"/>
                    </a:lnTo>
                    <a:lnTo>
                      <a:pt x="316" y="205"/>
                    </a:lnTo>
                    <a:lnTo>
                      <a:pt x="318" y="205"/>
                    </a:lnTo>
                    <a:lnTo>
                      <a:pt x="318" y="202"/>
                    </a:lnTo>
                    <a:lnTo>
                      <a:pt x="318" y="200"/>
                    </a:lnTo>
                    <a:lnTo>
                      <a:pt x="318" y="200"/>
                    </a:lnTo>
                    <a:lnTo>
                      <a:pt x="313" y="193"/>
                    </a:lnTo>
                    <a:lnTo>
                      <a:pt x="311" y="187"/>
                    </a:lnTo>
                    <a:lnTo>
                      <a:pt x="313" y="164"/>
                    </a:lnTo>
                    <a:lnTo>
                      <a:pt x="311" y="161"/>
                    </a:lnTo>
                    <a:lnTo>
                      <a:pt x="311" y="159"/>
                    </a:lnTo>
                    <a:lnTo>
                      <a:pt x="309" y="146"/>
                    </a:lnTo>
                    <a:lnTo>
                      <a:pt x="309" y="146"/>
                    </a:lnTo>
                    <a:lnTo>
                      <a:pt x="309" y="144"/>
                    </a:lnTo>
                    <a:lnTo>
                      <a:pt x="311" y="141"/>
                    </a:lnTo>
                    <a:lnTo>
                      <a:pt x="313" y="139"/>
                    </a:lnTo>
                    <a:lnTo>
                      <a:pt x="313" y="134"/>
                    </a:lnTo>
                    <a:lnTo>
                      <a:pt x="314" y="132"/>
                    </a:lnTo>
                    <a:lnTo>
                      <a:pt x="318" y="134"/>
                    </a:lnTo>
                    <a:lnTo>
                      <a:pt x="318" y="134"/>
                    </a:lnTo>
                    <a:lnTo>
                      <a:pt x="322" y="128"/>
                    </a:lnTo>
                    <a:lnTo>
                      <a:pt x="322" y="127"/>
                    </a:lnTo>
                    <a:lnTo>
                      <a:pt x="322" y="127"/>
                    </a:lnTo>
                    <a:lnTo>
                      <a:pt x="320" y="128"/>
                    </a:lnTo>
                    <a:lnTo>
                      <a:pt x="320" y="128"/>
                    </a:lnTo>
                    <a:lnTo>
                      <a:pt x="318" y="128"/>
                    </a:lnTo>
                    <a:lnTo>
                      <a:pt x="318" y="128"/>
                    </a:lnTo>
                    <a:lnTo>
                      <a:pt x="318" y="127"/>
                    </a:lnTo>
                    <a:lnTo>
                      <a:pt x="320" y="123"/>
                    </a:lnTo>
                    <a:lnTo>
                      <a:pt x="314" y="123"/>
                    </a:lnTo>
                    <a:lnTo>
                      <a:pt x="309" y="121"/>
                    </a:lnTo>
                    <a:lnTo>
                      <a:pt x="302" y="119"/>
                    </a:lnTo>
                    <a:lnTo>
                      <a:pt x="298" y="118"/>
                    </a:lnTo>
                    <a:lnTo>
                      <a:pt x="293" y="118"/>
                    </a:lnTo>
                    <a:lnTo>
                      <a:pt x="289" y="114"/>
                    </a:lnTo>
                    <a:lnTo>
                      <a:pt x="284" y="107"/>
                    </a:lnTo>
                    <a:lnTo>
                      <a:pt x="279" y="93"/>
                    </a:lnTo>
                    <a:lnTo>
                      <a:pt x="275" y="89"/>
                    </a:lnTo>
                    <a:lnTo>
                      <a:pt x="272" y="84"/>
                    </a:lnTo>
                    <a:lnTo>
                      <a:pt x="266" y="78"/>
                    </a:lnTo>
                    <a:lnTo>
                      <a:pt x="261" y="66"/>
                    </a:lnTo>
                    <a:lnTo>
                      <a:pt x="248" y="52"/>
                    </a:lnTo>
                    <a:lnTo>
                      <a:pt x="236" y="53"/>
                    </a:lnTo>
                    <a:lnTo>
                      <a:pt x="232" y="52"/>
                    </a:lnTo>
                    <a:lnTo>
                      <a:pt x="230" y="53"/>
                    </a:lnTo>
                    <a:lnTo>
                      <a:pt x="222" y="68"/>
                    </a:lnTo>
                    <a:lnTo>
                      <a:pt x="214" y="66"/>
                    </a:lnTo>
                    <a:lnTo>
                      <a:pt x="198" y="52"/>
                    </a:lnTo>
                    <a:lnTo>
                      <a:pt x="195" y="37"/>
                    </a:lnTo>
                    <a:lnTo>
                      <a:pt x="180" y="27"/>
                    </a:lnTo>
                    <a:lnTo>
                      <a:pt x="177" y="23"/>
                    </a:lnTo>
                    <a:lnTo>
                      <a:pt x="173" y="21"/>
                    </a:lnTo>
                    <a:lnTo>
                      <a:pt x="172" y="18"/>
                    </a:lnTo>
                    <a:lnTo>
                      <a:pt x="168" y="16"/>
                    </a:lnTo>
                    <a:lnTo>
                      <a:pt x="141" y="16"/>
                    </a:lnTo>
                    <a:lnTo>
                      <a:pt x="141" y="25"/>
                    </a:lnTo>
                    <a:lnTo>
                      <a:pt x="98" y="25"/>
                    </a:lnTo>
                    <a:lnTo>
                      <a:pt x="38" y="2"/>
                    </a:lnTo>
                    <a:lnTo>
                      <a:pt x="36" y="0"/>
                    </a:lnTo>
                    <a:lnTo>
                      <a:pt x="0" y="3"/>
                    </a:lnTo>
                    <a:lnTo>
                      <a:pt x="2" y="5"/>
                    </a:lnTo>
                    <a:lnTo>
                      <a:pt x="4" y="7"/>
                    </a:lnTo>
                    <a:lnTo>
                      <a:pt x="4" y="9"/>
                    </a:lnTo>
                    <a:lnTo>
                      <a:pt x="5" y="11"/>
                    </a:lnTo>
                    <a:lnTo>
                      <a:pt x="7" y="14"/>
                    </a:lnTo>
                    <a:lnTo>
                      <a:pt x="7" y="14"/>
                    </a:lnTo>
                    <a:lnTo>
                      <a:pt x="7" y="14"/>
                    </a:lnTo>
                    <a:lnTo>
                      <a:pt x="9" y="16"/>
                    </a:lnTo>
                    <a:lnTo>
                      <a:pt x="9" y="21"/>
                    </a:lnTo>
                    <a:lnTo>
                      <a:pt x="14" y="30"/>
                    </a:lnTo>
                    <a:lnTo>
                      <a:pt x="14" y="32"/>
                    </a:lnTo>
                    <a:lnTo>
                      <a:pt x="16" y="32"/>
                    </a:lnTo>
                    <a:lnTo>
                      <a:pt x="16" y="34"/>
                    </a:lnTo>
                    <a:lnTo>
                      <a:pt x="18" y="34"/>
                    </a:lnTo>
                    <a:lnTo>
                      <a:pt x="20" y="39"/>
                    </a:lnTo>
                    <a:lnTo>
                      <a:pt x="20" y="43"/>
                    </a:lnTo>
                    <a:lnTo>
                      <a:pt x="20" y="43"/>
                    </a:lnTo>
                    <a:lnTo>
                      <a:pt x="22" y="43"/>
                    </a:lnTo>
                    <a:lnTo>
                      <a:pt x="22" y="43"/>
                    </a:lnTo>
                    <a:lnTo>
                      <a:pt x="25" y="53"/>
                    </a:lnTo>
                    <a:lnTo>
                      <a:pt x="25" y="55"/>
                    </a:lnTo>
                    <a:lnTo>
                      <a:pt x="29" y="57"/>
                    </a:lnTo>
                    <a:lnTo>
                      <a:pt x="29" y="57"/>
                    </a:lnTo>
                    <a:lnTo>
                      <a:pt x="30" y="57"/>
                    </a:lnTo>
                    <a:lnTo>
                      <a:pt x="34" y="61"/>
                    </a:lnTo>
                    <a:lnTo>
                      <a:pt x="36" y="61"/>
                    </a:lnTo>
                    <a:lnTo>
                      <a:pt x="39" y="66"/>
                    </a:lnTo>
                    <a:lnTo>
                      <a:pt x="39" y="66"/>
                    </a:lnTo>
                    <a:lnTo>
                      <a:pt x="43" y="69"/>
                    </a:lnTo>
                    <a:lnTo>
                      <a:pt x="45" y="71"/>
                    </a:lnTo>
                    <a:lnTo>
                      <a:pt x="50" y="78"/>
                    </a:lnTo>
                    <a:lnTo>
                      <a:pt x="50" y="80"/>
                    </a:lnTo>
                    <a:lnTo>
                      <a:pt x="50" y="82"/>
                    </a:lnTo>
                    <a:lnTo>
                      <a:pt x="52" y="84"/>
                    </a:lnTo>
                    <a:lnTo>
                      <a:pt x="50" y="84"/>
                    </a:lnTo>
                    <a:lnTo>
                      <a:pt x="50" y="86"/>
                    </a:lnTo>
                    <a:lnTo>
                      <a:pt x="50" y="86"/>
                    </a:lnTo>
                    <a:lnTo>
                      <a:pt x="48" y="87"/>
                    </a:lnTo>
                    <a:lnTo>
                      <a:pt x="48" y="89"/>
                    </a:lnTo>
                    <a:lnTo>
                      <a:pt x="48" y="89"/>
                    </a:lnTo>
                    <a:lnTo>
                      <a:pt x="48" y="91"/>
                    </a:lnTo>
                    <a:lnTo>
                      <a:pt x="47" y="89"/>
                    </a:lnTo>
                    <a:lnTo>
                      <a:pt x="41" y="91"/>
                    </a:lnTo>
                    <a:lnTo>
                      <a:pt x="36" y="89"/>
                    </a:lnTo>
                    <a:lnTo>
                      <a:pt x="36" y="93"/>
                    </a:lnTo>
                    <a:lnTo>
                      <a:pt x="36" y="93"/>
                    </a:lnTo>
                    <a:lnTo>
                      <a:pt x="38" y="91"/>
                    </a:lnTo>
                    <a:lnTo>
                      <a:pt x="41" y="94"/>
                    </a:lnTo>
                    <a:lnTo>
                      <a:pt x="43" y="96"/>
                    </a:lnTo>
                    <a:lnTo>
                      <a:pt x="45" y="96"/>
                    </a:lnTo>
                    <a:lnTo>
                      <a:pt x="45" y="100"/>
                    </a:lnTo>
                    <a:lnTo>
                      <a:pt x="47" y="102"/>
                    </a:lnTo>
                    <a:lnTo>
                      <a:pt x="48" y="102"/>
                    </a:lnTo>
                    <a:lnTo>
                      <a:pt x="50" y="102"/>
                    </a:lnTo>
                    <a:lnTo>
                      <a:pt x="52" y="103"/>
                    </a:lnTo>
                    <a:lnTo>
                      <a:pt x="55" y="105"/>
                    </a:lnTo>
                    <a:lnTo>
                      <a:pt x="57" y="107"/>
                    </a:lnTo>
                    <a:lnTo>
                      <a:pt x="59" y="109"/>
                    </a:lnTo>
                    <a:lnTo>
                      <a:pt x="63" y="109"/>
                    </a:lnTo>
                    <a:lnTo>
                      <a:pt x="66" y="105"/>
                    </a:lnTo>
                    <a:lnTo>
                      <a:pt x="66" y="107"/>
                    </a:lnTo>
                    <a:lnTo>
                      <a:pt x="66" y="109"/>
                    </a:lnTo>
                    <a:lnTo>
                      <a:pt x="70" y="116"/>
                    </a:lnTo>
                    <a:lnTo>
                      <a:pt x="75" y="118"/>
                    </a:lnTo>
                    <a:lnTo>
                      <a:pt x="77" y="118"/>
                    </a:lnTo>
                    <a:lnTo>
                      <a:pt x="80" y="127"/>
                    </a:lnTo>
                    <a:lnTo>
                      <a:pt x="82" y="136"/>
                    </a:lnTo>
                    <a:lnTo>
                      <a:pt x="80" y="143"/>
                    </a:lnTo>
                    <a:lnTo>
                      <a:pt x="80" y="144"/>
                    </a:lnTo>
                    <a:lnTo>
                      <a:pt x="80" y="143"/>
                    </a:lnTo>
                    <a:lnTo>
                      <a:pt x="80" y="143"/>
                    </a:lnTo>
                    <a:lnTo>
                      <a:pt x="82" y="144"/>
                    </a:lnTo>
                    <a:lnTo>
                      <a:pt x="84" y="144"/>
                    </a:lnTo>
                    <a:lnTo>
                      <a:pt x="86" y="144"/>
                    </a:lnTo>
                    <a:lnTo>
                      <a:pt x="86" y="146"/>
                    </a:lnTo>
                    <a:lnTo>
                      <a:pt x="86" y="148"/>
                    </a:lnTo>
                    <a:lnTo>
                      <a:pt x="89" y="148"/>
                    </a:lnTo>
                    <a:lnTo>
                      <a:pt x="89" y="150"/>
                    </a:lnTo>
                    <a:lnTo>
                      <a:pt x="105" y="162"/>
                    </a:lnTo>
                    <a:lnTo>
                      <a:pt x="107" y="164"/>
                    </a:lnTo>
                    <a:lnTo>
                      <a:pt x="111" y="168"/>
                    </a:lnTo>
                    <a:lnTo>
                      <a:pt x="114" y="175"/>
                    </a:lnTo>
                    <a:lnTo>
                      <a:pt x="116" y="177"/>
                    </a:lnTo>
                    <a:lnTo>
                      <a:pt x="116" y="177"/>
                    </a:lnTo>
                    <a:lnTo>
                      <a:pt x="118" y="175"/>
                    </a:lnTo>
                    <a:lnTo>
                      <a:pt x="122" y="173"/>
                    </a:lnTo>
                    <a:lnTo>
                      <a:pt x="123" y="169"/>
                    </a:lnTo>
                    <a:lnTo>
                      <a:pt x="125" y="168"/>
                    </a:lnTo>
                    <a:lnTo>
                      <a:pt x="123" y="166"/>
                    </a:lnTo>
                    <a:lnTo>
                      <a:pt x="118" y="159"/>
                    </a:lnTo>
                    <a:lnTo>
                      <a:pt x="118" y="157"/>
                    </a:lnTo>
                    <a:lnTo>
                      <a:pt x="113" y="152"/>
                    </a:lnTo>
                    <a:lnTo>
                      <a:pt x="109" y="155"/>
                    </a:lnTo>
                    <a:lnTo>
                      <a:pt x="107" y="153"/>
                    </a:lnTo>
                    <a:lnTo>
                      <a:pt x="105" y="152"/>
                    </a:lnTo>
                    <a:lnTo>
                      <a:pt x="104" y="148"/>
                    </a:lnTo>
                    <a:lnTo>
                      <a:pt x="104" y="143"/>
                    </a:lnTo>
                    <a:lnTo>
                      <a:pt x="100" y="136"/>
                    </a:lnTo>
                    <a:lnTo>
                      <a:pt x="100" y="137"/>
                    </a:lnTo>
                    <a:lnTo>
                      <a:pt x="100" y="132"/>
                    </a:lnTo>
                    <a:lnTo>
                      <a:pt x="98" y="130"/>
                    </a:lnTo>
                    <a:lnTo>
                      <a:pt x="95" y="127"/>
                    </a:lnTo>
                    <a:lnTo>
                      <a:pt x="95" y="118"/>
                    </a:lnTo>
                    <a:lnTo>
                      <a:pt x="93" y="118"/>
                    </a:lnTo>
                    <a:lnTo>
                      <a:pt x="93" y="114"/>
                    </a:lnTo>
                    <a:lnTo>
                      <a:pt x="91" y="111"/>
                    </a:lnTo>
                    <a:lnTo>
                      <a:pt x="88" y="107"/>
                    </a:lnTo>
                    <a:lnTo>
                      <a:pt x="86" y="107"/>
                    </a:lnTo>
                    <a:lnTo>
                      <a:pt x="88" y="111"/>
                    </a:lnTo>
                    <a:lnTo>
                      <a:pt x="88" y="112"/>
                    </a:lnTo>
                    <a:lnTo>
                      <a:pt x="88" y="112"/>
                    </a:lnTo>
                    <a:lnTo>
                      <a:pt x="86" y="111"/>
                    </a:lnTo>
                    <a:lnTo>
                      <a:pt x="86" y="109"/>
                    </a:lnTo>
                    <a:lnTo>
                      <a:pt x="84" y="105"/>
                    </a:lnTo>
                    <a:lnTo>
                      <a:pt x="84" y="103"/>
                    </a:lnTo>
                    <a:lnTo>
                      <a:pt x="82" y="103"/>
                    </a:lnTo>
                    <a:lnTo>
                      <a:pt x="80" y="102"/>
                    </a:lnTo>
                    <a:lnTo>
                      <a:pt x="80" y="98"/>
                    </a:lnTo>
                    <a:lnTo>
                      <a:pt x="79" y="96"/>
                    </a:lnTo>
                    <a:lnTo>
                      <a:pt x="73" y="89"/>
                    </a:lnTo>
                    <a:lnTo>
                      <a:pt x="70" y="80"/>
                    </a:lnTo>
                    <a:lnTo>
                      <a:pt x="70" y="80"/>
                    </a:lnTo>
                    <a:lnTo>
                      <a:pt x="70" y="78"/>
                    </a:lnTo>
                    <a:lnTo>
                      <a:pt x="68" y="78"/>
                    </a:lnTo>
                    <a:lnTo>
                      <a:pt x="68" y="78"/>
                    </a:lnTo>
                    <a:lnTo>
                      <a:pt x="64" y="71"/>
                    </a:lnTo>
                    <a:lnTo>
                      <a:pt x="64" y="71"/>
                    </a:lnTo>
                    <a:lnTo>
                      <a:pt x="63" y="71"/>
                    </a:lnTo>
                    <a:lnTo>
                      <a:pt x="61" y="69"/>
                    </a:lnTo>
                    <a:lnTo>
                      <a:pt x="61" y="69"/>
                    </a:lnTo>
                    <a:lnTo>
                      <a:pt x="57" y="66"/>
                    </a:lnTo>
                    <a:lnTo>
                      <a:pt x="57" y="62"/>
                    </a:lnTo>
                    <a:lnTo>
                      <a:pt x="50" y="57"/>
                    </a:lnTo>
                    <a:lnTo>
                      <a:pt x="50" y="55"/>
                    </a:lnTo>
                    <a:lnTo>
                      <a:pt x="48" y="55"/>
                    </a:lnTo>
                    <a:lnTo>
                      <a:pt x="47" y="55"/>
                    </a:lnTo>
                    <a:lnTo>
                      <a:pt x="43" y="48"/>
                    </a:lnTo>
                    <a:lnTo>
                      <a:pt x="41" y="34"/>
                    </a:lnTo>
                    <a:lnTo>
                      <a:pt x="39" y="30"/>
                    </a:lnTo>
                    <a:lnTo>
                      <a:pt x="38" y="21"/>
                    </a:lnTo>
                    <a:lnTo>
                      <a:pt x="38" y="18"/>
                    </a:lnTo>
                    <a:lnTo>
                      <a:pt x="38" y="1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22" name="Freeform 3278"/>
              <p:cNvSpPr>
                <a:spLocks/>
              </p:cNvSpPr>
              <p:nvPr/>
            </p:nvSpPr>
            <p:spPr bwMode="auto">
              <a:xfrm>
                <a:off x="823" y="2163"/>
                <a:ext cx="484" cy="316"/>
              </a:xfrm>
              <a:custGeom>
                <a:avLst/>
                <a:gdLst>
                  <a:gd name="T0" fmla="*/ 54 w 484"/>
                  <a:gd name="T1" fmla="*/ 21 h 316"/>
                  <a:gd name="T2" fmla="*/ 68 w 484"/>
                  <a:gd name="T3" fmla="*/ 41 h 316"/>
                  <a:gd name="T4" fmla="*/ 75 w 484"/>
                  <a:gd name="T5" fmla="*/ 55 h 316"/>
                  <a:gd name="T6" fmla="*/ 86 w 484"/>
                  <a:gd name="T7" fmla="*/ 75 h 316"/>
                  <a:gd name="T8" fmla="*/ 105 w 484"/>
                  <a:gd name="T9" fmla="*/ 93 h 316"/>
                  <a:gd name="T10" fmla="*/ 120 w 484"/>
                  <a:gd name="T11" fmla="*/ 111 h 316"/>
                  <a:gd name="T12" fmla="*/ 125 w 484"/>
                  <a:gd name="T13" fmla="*/ 119 h 316"/>
                  <a:gd name="T14" fmla="*/ 132 w 484"/>
                  <a:gd name="T15" fmla="*/ 132 h 316"/>
                  <a:gd name="T16" fmla="*/ 148 w 484"/>
                  <a:gd name="T17" fmla="*/ 148 h 316"/>
                  <a:gd name="T18" fmla="*/ 184 w 484"/>
                  <a:gd name="T19" fmla="*/ 182 h 316"/>
                  <a:gd name="T20" fmla="*/ 191 w 484"/>
                  <a:gd name="T21" fmla="*/ 200 h 316"/>
                  <a:gd name="T22" fmla="*/ 191 w 484"/>
                  <a:gd name="T23" fmla="*/ 216 h 316"/>
                  <a:gd name="T24" fmla="*/ 204 w 484"/>
                  <a:gd name="T25" fmla="*/ 241 h 316"/>
                  <a:gd name="T26" fmla="*/ 218 w 484"/>
                  <a:gd name="T27" fmla="*/ 250 h 316"/>
                  <a:gd name="T28" fmla="*/ 229 w 484"/>
                  <a:gd name="T29" fmla="*/ 257 h 316"/>
                  <a:gd name="T30" fmla="*/ 259 w 484"/>
                  <a:gd name="T31" fmla="*/ 269 h 316"/>
                  <a:gd name="T32" fmla="*/ 307 w 484"/>
                  <a:gd name="T33" fmla="*/ 291 h 316"/>
                  <a:gd name="T34" fmla="*/ 339 w 484"/>
                  <a:gd name="T35" fmla="*/ 296 h 316"/>
                  <a:gd name="T36" fmla="*/ 398 w 484"/>
                  <a:gd name="T37" fmla="*/ 316 h 316"/>
                  <a:gd name="T38" fmla="*/ 402 w 484"/>
                  <a:gd name="T39" fmla="*/ 302 h 316"/>
                  <a:gd name="T40" fmla="*/ 421 w 484"/>
                  <a:gd name="T41" fmla="*/ 282 h 316"/>
                  <a:gd name="T42" fmla="*/ 455 w 484"/>
                  <a:gd name="T43" fmla="*/ 252 h 316"/>
                  <a:gd name="T44" fmla="*/ 466 w 484"/>
                  <a:gd name="T45" fmla="*/ 250 h 316"/>
                  <a:gd name="T46" fmla="*/ 470 w 484"/>
                  <a:gd name="T47" fmla="*/ 236 h 316"/>
                  <a:gd name="T48" fmla="*/ 482 w 484"/>
                  <a:gd name="T49" fmla="*/ 211 h 316"/>
                  <a:gd name="T50" fmla="*/ 464 w 484"/>
                  <a:gd name="T51" fmla="*/ 196 h 316"/>
                  <a:gd name="T52" fmla="*/ 420 w 484"/>
                  <a:gd name="T53" fmla="*/ 237 h 316"/>
                  <a:gd name="T54" fmla="*/ 402 w 484"/>
                  <a:gd name="T55" fmla="*/ 248 h 316"/>
                  <a:gd name="T56" fmla="*/ 366 w 484"/>
                  <a:gd name="T57" fmla="*/ 255 h 316"/>
                  <a:gd name="T58" fmla="*/ 341 w 484"/>
                  <a:gd name="T59" fmla="*/ 244 h 316"/>
                  <a:gd name="T60" fmla="*/ 318 w 484"/>
                  <a:gd name="T61" fmla="*/ 205 h 316"/>
                  <a:gd name="T62" fmla="*/ 311 w 484"/>
                  <a:gd name="T63" fmla="*/ 161 h 316"/>
                  <a:gd name="T64" fmla="*/ 313 w 484"/>
                  <a:gd name="T65" fmla="*/ 134 h 316"/>
                  <a:gd name="T66" fmla="*/ 320 w 484"/>
                  <a:gd name="T67" fmla="*/ 128 h 316"/>
                  <a:gd name="T68" fmla="*/ 309 w 484"/>
                  <a:gd name="T69" fmla="*/ 121 h 316"/>
                  <a:gd name="T70" fmla="*/ 275 w 484"/>
                  <a:gd name="T71" fmla="*/ 89 h 316"/>
                  <a:gd name="T72" fmla="*/ 230 w 484"/>
                  <a:gd name="T73" fmla="*/ 53 h 316"/>
                  <a:gd name="T74" fmla="*/ 173 w 484"/>
                  <a:gd name="T75" fmla="*/ 21 h 316"/>
                  <a:gd name="T76" fmla="*/ 36 w 484"/>
                  <a:gd name="T77" fmla="*/ 0 h 316"/>
                  <a:gd name="T78" fmla="*/ 7 w 484"/>
                  <a:gd name="T79" fmla="*/ 14 h 316"/>
                  <a:gd name="T80" fmla="*/ 16 w 484"/>
                  <a:gd name="T81" fmla="*/ 34 h 316"/>
                  <a:gd name="T82" fmla="*/ 25 w 484"/>
                  <a:gd name="T83" fmla="*/ 53 h 316"/>
                  <a:gd name="T84" fmla="*/ 39 w 484"/>
                  <a:gd name="T85" fmla="*/ 66 h 316"/>
                  <a:gd name="T86" fmla="*/ 52 w 484"/>
                  <a:gd name="T87" fmla="*/ 84 h 316"/>
                  <a:gd name="T88" fmla="*/ 48 w 484"/>
                  <a:gd name="T89" fmla="*/ 91 h 316"/>
                  <a:gd name="T90" fmla="*/ 41 w 484"/>
                  <a:gd name="T91" fmla="*/ 94 h 316"/>
                  <a:gd name="T92" fmla="*/ 52 w 484"/>
                  <a:gd name="T93" fmla="*/ 103 h 316"/>
                  <a:gd name="T94" fmla="*/ 66 w 484"/>
                  <a:gd name="T95" fmla="*/ 109 h 316"/>
                  <a:gd name="T96" fmla="*/ 80 w 484"/>
                  <a:gd name="T97" fmla="*/ 144 h 316"/>
                  <a:gd name="T98" fmla="*/ 86 w 484"/>
                  <a:gd name="T99" fmla="*/ 148 h 316"/>
                  <a:gd name="T100" fmla="*/ 116 w 484"/>
                  <a:gd name="T101" fmla="*/ 177 h 316"/>
                  <a:gd name="T102" fmla="*/ 118 w 484"/>
                  <a:gd name="T103" fmla="*/ 159 h 316"/>
                  <a:gd name="T104" fmla="*/ 104 w 484"/>
                  <a:gd name="T105" fmla="*/ 143 h 316"/>
                  <a:gd name="T106" fmla="*/ 93 w 484"/>
                  <a:gd name="T107" fmla="*/ 118 h 316"/>
                  <a:gd name="T108" fmla="*/ 88 w 484"/>
                  <a:gd name="T109" fmla="*/ 112 h 316"/>
                  <a:gd name="T110" fmla="*/ 80 w 484"/>
                  <a:gd name="T111" fmla="*/ 98 h 316"/>
                  <a:gd name="T112" fmla="*/ 68 w 484"/>
                  <a:gd name="T113" fmla="*/ 78 h 316"/>
                  <a:gd name="T114" fmla="*/ 57 w 484"/>
                  <a:gd name="T115" fmla="*/ 62 h 316"/>
                  <a:gd name="T116" fmla="*/ 39 w 484"/>
                  <a:gd name="T117" fmla="*/ 3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4" h="316">
                    <a:moveTo>
                      <a:pt x="38" y="16"/>
                    </a:moveTo>
                    <a:lnTo>
                      <a:pt x="41" y="18"/>
                    </a:lnTo>
                    <a:lnTo>
                      <a:pt x="43" y="19"/>
                    </a:lnTo>
                    <a:lnTo>
                      <a:pt x="45" y="19"/>
                    </a:lnTo>
                    <a:lnTo>
                      <a:pt x="45" y="21"/>
                    </a:lnTo>
                    <a:lnTo>
                      <a:pt x="50" y="23"/>
                    </a:lnTo>
                    <a:lnTo>
                      <a:pt x="54" y="21"/>
                    </a:lnTo>
                    <a:lnTo>
                      <a:pt x="55" y="23"/>
                    </a:lnTo>
                    <a:lnTo>
                      <a:pt x="55" y="25"/>
                    </a:lnTo>
                    <a:lnTo>
                      <a:pt x="63" y="27"/>
                    </a:lnTo>
                    <a:lnTo>
                      <a:pt x="64" y="28"/>
                    </a:lnTo>
                    <a:lnTo>
                      <a:pt x="66" y="30"/>
                    </a:lnTo>
                    <a:lnTo>
                      <a:pt x="66" y="37"/>
                    </a:lnTo>
                    <a:lnTo>
                      <a:pt x="68" y="41"/>
                    </a:lnTo>
                    <a:lnTo>
                      <a:pt x="70" y="44"/>
                    </a:lnTo>
                    <a:lnTo>
                      <a:pt x="70" y="44"/>
                    </a:lnTo>
                    <a:lnTo>
                      <a:pt x="72" y="46"/>
                    </a:lnTo>
                    <a:lnTo>
                      <a:pt x="72" y="52"/>
                    </a:lnTo>
                    <a:lnTo>
                      <a:pt x="73" y="53"/>
                    </a:lnTo>
                    <a:lnTo>
                      <a:pt x="73" y="53"/>
                    </a:lnTo>
                    <a:lnTo>
                      <a:pt x="75" y="55"/>
                    </a:lnTo>
                    <a:lnTo>
                      <a:pt x="75" y="61"/>
                    </a:lnTo>
                    <a:lnTo>
                      <a:pt x="77" y="62"/>
                    </a:lnTo>
                    <a:lnTo>
                      <a:pt x="79" y="64"/>
                    </a:lnTo>
                    <a:lnTo>
                      <a:pt x="80" y="64"/>
                    </a:lnTo>
                    <a:lnTo>
                      <a:pt x="82" y="69"/>
                    </a:lnTo>
                    <a:lnTo>
                      <a:pt x="84" y="71"/>
                    </a:lnTo>
                    <a:lnTo>
                      <a:pt x="86" y="75"/>
                    </a:lnTo>
                    <a:lnTo>
                      <a:pt x="88" y="78"/>
                    </a:lnTo>
                    <a:lnTo>
                      <a:pt x="91" y="78"/>
                    </a:lnTo>
                    <a:lnTo>
                      <a:pt x="95" y="84"/>
                    </a:lnTo>
                    <a:lnTo>
                      <a:pt x="98" y="87"/>
                    </a:lnTo>
                    <a:lnTo>
                      <a:pt x="105" y="89"/>
                    </a:lnTo>
                    <a:lnTo>
                      <a:pt x="105" y="89"/>
                    </a:lnTo>
                    <a:lnTo>
                      <a:pt x="105" y="93"/>
                    </a:lnTo>
                    <a:lnTo>
                      <a:pt x="105" y="94"/>
                    </a:lnTo>
                    <a:lnTo>
                      <a:pt x="105" y="98"/>
                    </a:lnTo>
                    <a:lnTo>
                      <a:pt x="109" y="102"/>
                    </a:lnTo>
                    <a:lnTo>
                      <a:pt x="114" y="103"/>
                    </a:lnTo>
                    <a:lnTo>
                      <a:pt x="118" y="109"/>
                    </a:lnTo>
                    <a:lnTo>
                      <a:pt x="120" y="109"/>
                    </a:lnTo>
                    <a:lnTo>
                      <a:pt x="120" y="111"/>
                    </a:lnTo>
                    <a:lnTo>
                      <a:pt x="123" y="111"/>
                    </a:lnTo>
                    <a:lnTo>
                      <a:pt x="125" y="112"/>
                    </a:lnTo>
                    <a:lnTo>
                      <a:pt x="127" y="114"/>
                    </a:lnTo>
                    <a:lnTo>
                      <a:pt x="129" y="116"/>
                    </a:lnTo>
                    <a:lnTo>
                      <a:pt x="129" y="116"/>
                    </a:lnTo>
                    <a:lnTo>
                      <a:pt x="127" y="119"/>
                    </a:lnTo>
                    <a:lnTo>
                      <a:pt x="125" y="119"/>
                    </a:lnTo>
                    <a:lnTo>
                      <a:pt x="125" y="127"/>
                    </a:lnTo>
                    <a:lnTo>
                      <a:pt x="125" y="127"/>
                    </a:lnTo>
                    <a:lnTo>
                      <a:pt x="127" y="130"/>
                    </a:lnTo>
                    <a:lnTo>
                      <a:pt x="130" y="130"/>
                    </a:lnTo>
                    <a:lnTo>
                      <a:pt x="132" y="128"/>
                    </a:lnTo>
                    <a:lnTo>
                      <a:pt x="132" y="128"/>
                    </a:lnTo>
                    <a:lnTo>
                      <a:pt x="132" y="132"/>
                    </a:lnTo>
                    <a:lnTo>
                      <a:pt x="132" y="132"/>
                    </a:lnTo>
                    <a:lnTo>
                      <a:pt x="139" y="136"/>
                    </a:lnTo>
                    <a:lnTo>
                      <a:pt x="141" y="137"/>
                    </a:lnTo>
                    <a:lnTo>
                      <a:pt x="143" y="136"/>
                    </a:lnTo>
                    <a:lnTo>
                      <a:pt x="148" y="141"/>
                    </a:lnTo>
                    <a:lnTo>
                      <a:pt x="148" y="146"/>
                    </a:lnTo>
                    <a:lnTo>
                      <a:pt x="148" y="148"/>
                    </a:lnTo>
                    <a:lnTo>
                      <a:pt x="166" y="161"/>
                    </a:lnTo>
                    <a:lnTo>
                      <a:pt x="166" y="162"/>
                    </a:lnTo>
                    <a:lnTo>
                      <a:pt x="166" y="164"/>
                    </a:lnTo>
                    <a:lnTo>
                      <a:pt x="166" y="166"/>
                    </a:lnTo>
                    <a:lnTo>
                      <a:pt x="168" y="166"/>
                    </a:lnTo>
                    <a:lnTo>
                      <a:pt x="172" y="171"/>
                    </a:lnTo>
                    <a:lnTo>
                      <a:pt x="184" y="182"/>
                    </a:lnTo>
                    <a:lnTo>
                      <a:pt x="184" y="184"/>
                    </a:lnTo>
                    <a:lnTo>
                      <a:pt x="184" y="186"/>
                    </a:lnTo>
                    <a:lnTo>
                      <a:pt x="184" y="187"/>
                    </a:lnTo>
                    <a:lnTo>
                      <a:pt x="188" y="193"/>
                    </a:lnTo>
                    <a:lnTo>
                      <a:pt x="189" y="196"/>
                    </a:lnTo>
                    <a:lnTo>
                      <a:pt x="189" y="198"/>
                    </a:lnTo>
                    <a:lnTo>
                      <a:pt x="191" y="200"/>
                    </a:lnTo>
                    <a:lnTo>
                      <a:pt x="193" y="205"/>
                    </a:lnTo>
                    <a:lnTo>
                      <a:pt x="193" y="207"/>
                    </a:lnTo>
                    <a:lnTo>
                      <a:pt x="191" y="209"/>
                    </a:lnTo>
                    <a:lnTo>
                      <a:pt x="189" y="212"/>
                    </a:lnTo>
                    <a:lnTo>
                      <a:pt x="189" y="212"/>
                    </a:lnTo>
                    <a:lnTo>
                      <a:pt x="189" y="212"/>
                    </a:lnTo>
                    <a:lnTo>
                      <a:pt x="191" y="216"/>
                    </a:lnTo>
                    <a:lnTo>
                      <a:pt x="191" y="216"/>
                    </a:lnTo>
                    <a:lnTo>
                      <a:pt x="186" y="219"/>
                    </a:lnTo>
                    <a:lnTo>
                      <a:pt x="186" y="219"/>
                    </a:lnTo>
                    <a:lnTo>
                      <a:pt x="186" y="221"/>
                    </a:lnTo>
                    <a:lnTo>
                      <a:pt x="189" y="230"/>
                    </a:lnTo>
                    <a:lnTo>
                      <a:pt x="202" y="239"/>
                    </a:lnTo>
                    <a:lnTo>
                      <a:pt x="204" y="241"/>
                    </a:lnTo>
                    <a:lnTo>
                      <a:pt x="207" y="241"/>
                    </a:lnTo>
                    <a:lnTo>
                      <a:pt x="211" y="244"/>
                    </a:lnTo>
                    <a:lnTo>
                      <a:pt x="214" y="246"/>
                    </a:lnTo>
                    <a:lnTo>
                      <a:pt x="216" y="248"/>
                    </a:lnTo>
                    <a:lnTo>
                      <a:pt x="216" y="250"/>
                    </a:lnTo>
                    <a:lnTo>
                      <a:pt x="216" y="250"/>
                    </a:lnTo>
                    <a:lnTo>
                      <a:pt x="218" y="250"/>
                    </a:lnTo>
                    <a:lnTo>
                      <a:pt x="218" y="252"/>
                    </a:lnTo>
                    <a:lnTo>
                      <a:pt x="218" y="252"/>
                    </a:lnTo>
                    <a:lnTo>
                      <a:pt x="220" y="253"/>
                    </a:lnTo>
                    <a:lnTo>
                      <a:pt x="222" y="255"/>
                    </a:lnTo>
                    <a:lnTo>
                      <a:pt x="225" y="255"/>
                    </a:lnTo>
                    <a:lnTo>
                      <a:pt x="227" y="255"/>
                    </a:lnTo>
                    <a:lnTo>
                      <a:pt x="229" y="257"/>
                    </a:lnTo>
                    <a:lnTo>
                      <a:pt x="229" y="257"/>
                    </a:lnTo>
                    <a:lnTo>
                      <a:pt x="243" y="261"/>
                    </a:lnTo>
                    <a:lnTo>
                      <a:pt x="243" y="261"/>
                    </a:lnTo>
                    <a:lnTo>
                      <a:pt x="248" y="262"/>
                    </a:lnTo>
                    <a:lnTo>
                      <a:pt x="250" y="264"/>
                    </a:lnTo>
                    <a:lnTo>
                      <a:pt x="250" y="266"/>
                    </a:lnTo>
                    <a:lnTo>
                      <a:pt x="259" y="269"/>
                    </a:lnTo>
                    <a:lnTo>
                      <a:pt x="259" y="271"/>
                    </a:lnTo>
                    <a:lnTo>
                      <a:pt x="261" y="273"/>
                    </a:lnTo>
                    <a:lnTo>
                      <a:pt x="261" y="273"/>
                    </a:lnTo>
                    <a:lnTo>
                      <a:pt x="293" y="284"/>
                    </a:lnTo>
                    <a:lnTo>
                      <a:pt x="295" y="284"/>
                    </a:lnTo>
                    <a:lnTo>
                      <a:pt x="305" y="291"/>
                    </a:lnTo>
                    <a:lnTo>
                      <a:pt x="307" y="291"/>
                    </a:lnTo>
                    <a:lnTo>
                      <a:pt x="309" y="293"/>
                    </a:lnTo>
                    <a:lnTo>
                      <a:pt x="327" y="296"/>
                    </a:lnTo>
                    <a:lnTo>
                      <a:pt x="329" y="296"/>
                    </a:lnTo>
                    <a:lnTo>
                      <a:pt x="330" y="298"/>
                    </a:lnTo>
                    <a:lnTo>
                      <a:pt x="336" y="298"/>
                    </a:lnTo>
                    <a:lnTo>
                      <a:pt x="338" y="298"/>
                    </a:lnTo>
                    <a:lnTo>
                      <a:pt x="339" y="296"/>
                    </a:lnTo>
                    <a:lnTo>
                      <a:pt x="345" y="294"/>
                    </a:lnTo>
                    <a:lnTo>
                      <a:pt x="352" y="291"/>
                    </a:lnTo>
                    <a:lnTo>
                      <a:pt x="355" y="289"/>
                    </a:lnTo>
                    <a:lnTo>
                      <a:pt x="361" y="289"/>
                    </a:lnTo>
                    <a:lnTo>
                      <a:pt x="377" y="296"/>
                    </a:lnTo>
                    <a:lnTo>
                      <a:pt x="398" y="316"/>
                    </a:lnTo>
                    <a:lnTo>
                      <a:pt x="398" y="316"/>
                    </a:lnTo>
                    <a:lnTo>
                      <a:pt x="398" y="311"/>
                    </a:lnTo>
                    <a:lnTo>
                      <a:pt x="400" y="311"/>
                    </a:lnTo>
                    <a:lnTo>
                      <a:pt x="400" y="309"/>
                    </a:lnTo>
                    <a:lnTo>
                      <a:pt x="400" y="307"/>
                    </a:lnTo>
                    <a:lnTo>
                      <a:pt x="400" y="307"/>
                    </a:lnTo>
                    <a:lnTo>
                      <a:pt x="402" y="302"/>
                    </a:lnTo>
                    <a:lnTo>
                      <a:pt x="402" y="302"/>
                    </a:lnTo>
                    <a:lnTo>
                      <a:pt x="409" y="291"/>
                    </a:lnTo>
                    <a:lnTo>
                      <a:pt x="425" y="289"/>
                    </a:lnTo>
                    <a:lnTo>
                      <a:pt x="425" y="289"/>
                    </a:lnTo>
                    <a:lnTo>
                      <a:pt x="425" y="289"/>
                    </a:lnTo>
                    <a:lnTo>
                      <a:pt x="425" y="286"/>
                    </a:lnTo>
                    <a:lnTo>
                      <a:pt x="425" y="284"/>
                    </a:lnTo>
                    <a:lnTo>
                      <a:pt x="421" y="282"/>
                    </a:lnTo>
                    <a:lnTo>
                      <a:pt x="421" y="278"/>
                    </a:lnTo>
                    <a:lnTo>
                      <a:pt x="409" y="268"/>
                    </a:lnTo>
                    <a:lnTo>
                      <a:pt x="409" y="269"/>
                    </a:lnTo>
                    <a:lnTo>
                      <a:pt x="418" y="269"/>
                    </a:lnTo>
                    <a:lnTo>
                      <a:pt x="418" y="261"/>
                    </a:lnTo>
                    <a:lnTo>
                      <a:pt x="452" y="261"/>
                    </a:lnTo>
                    <a:lnTo>
                      <a:pt x="455" y="252"/>
                    </a:lnTo>
                    <a:lnTo>
                      <a:pt x="457" y="252"/>
                    </a:lnTo>
                    <a:lnTo>
                      <a:pt x="459" y="252"/>
                    </a:lnTo>
                    <a:lnTo>
                      <a:pt x="459" y="250"/>
                    </a:lnTo>
                    <a:lnTo>
                      <a:pt x="463" y="244"/>
                    </a:lnTo>
                    <a:lnTo>
                      <a:pt x="464" y="244"/>
                    </a:lnTo>
                    <a:lnTo>
                      <a:pt x="464" y="250"/>
                    </a:lnTo>
                    <a:lnTo>
                      <a:pt x="466" y="250"/>
                    </a:lnTo>
                    <a:lnTo>
                      <a:pt x="466" y="252"/>
                    </a:lnTo>
                    <a:lnTo>
                      <a:pt x="466" y="255"/>
                    </a:lnTo>
                    <a:lnTo>
                      <a:pt x="466" y="259"/>
                    </a:lnTo>
                    <a:lnTo>
                      <a:pt x="468" y="257"/>
                    </a:lnTo>
                    <a:lnTo>
                      <a:pt x="473" y="237"/>
                    </a:lnTo>
                    <a:lnTo>
                      <a:pt x="471" y="236"/>
                    </a:lnTo>
                    <a:lnTo>
                      <a:pt x="470" y="236"/>
                    </a:lnTo>
                    <a:lnTo>
                      <a:pt x="473" y="234"/>
                    </a:lnTo>
                    <a:lnTo>
                      <a:pt x="473" y="232"/>
                    </a:lnTo>
                    <a:lnTo>
                      <a:pt x="470" y="230"/>
                    </a:lnTo>
                    <a:lnTo>
                      <a:pt x="473" y="225"/>
                    </a:lnTo>
                    <a:lnTo>
                      <a:pt x="473" y="223"/>
                    </a:lnTo>
                    <a:lnTo>
                      <a:pt x="477" y="216"/>
                    </a:lnTo>
                    <a:lnTo>
                      <a:pt x="482" y="211"/>
                    </a:lnTo>
                    <a:lnTo>
                      <a:pt x="484" y="205"/>
                    </a:lnTo>
                    <a:lnTo>
                      <a:pt x="484" y="202"/>
                    </a:lnTo>
                    <a:lnTo>
                      <a:pt x="480" y="200"/>
                    </a:lnTo>
                    <a:lnTo>
                      <a:pt x="473" y="198"/>
                    </a:lnTo>
                    <a:lnTo>
                      <a:pt x="468" y="202"/>
                    </a:lnTo>
                    <a:lnTo>
                      <a:pt x="468" y="198"/>
                    </a:lnTo>
                    <a:lnTo>
                      <a:pt x="464" y="196"/>
                    </a:lnTo>
                    <a:lnTo>
                      <a:pt x="454" y="198"/>
                    </a:lnTo>
                    <a:lnTo>
                      <a:pt x="450" y="200"/>
                    </a:lnTo>
                    <a:lnTo>
                      <a:pt x="430" y="203"/>
                    </a:lnTo>
                    <a:lnTo>
                      <a:pt x="427" y="205"/>
                    </a:lnTo>
                    <a:lnTo>
                      <a:pt x="423" y="227"/>
                    </a:lnTo>
                    <a:lnTo>
                      <a:pt x="421" y="230"/>
                    </a:lnTo>
                    <a:lnTo>
                      <a:pt x="420" y="237"/>
                    </a:lnTo>
                    <a:lnTo>
                      <a:pt x="416" y="239"/>
                    </a:lnTo>
                    <a:lnTo>
                      <a:pt x="413" y="241"/>
                    </a:lnTo>
                    <a:lnTo>
                      <a:pt x="413" y="248"/>
                    </a:lnTo>
                    <a:lnTo>
                      <a:pt x="407" y="250"/>
                    </a:lnTo>
                    <a:lnTo>
                      <a:pt x="405" y="250"/>
                    </a:lnTo>
                    <a:lnTo>
                      <a:pt x="404" y="250"/>
                    </a:lnTo>
                    <a:lnTo>
                      <a:pt x="402" y="248"/>
                    </a:lnTo>
                    <a:lnTo>
                      <a:pt x="402" y="246"/>
                    </a:lnTo>
                    <a:lnTo>
                      <a:pt x="400" y="246"/>
                    </a:lnTo>
                    <a:lnTo>
                      <a:pt x="395" y="246"/>
                    </a:lnTo>
                    <a:lnTo>
                      <a:pt x="382" y="250"/>
                    </a:lnTo>
                    <a:lnTo>
                      <a:pt x="380" y="250"/>
                    </a:lnTo>
                    <a:lnTo>
                      <a:pt x="371" y="252"/>
                    </a:lnTo>
                    <a:lnTo>
                      <a:pt x="366" y="255"/>
                    </a:lnTo>
                    <a:lnTo>
                      <a:pt x="363" y="255"/>
                    </a:lnTo>
                    <a:lnTo>
                      <a:pt x="357" y="253"/>
                    </a:lnTo>
                    <a:lnTo>
                      <a:pt x="355" y="248"/>
                    </a:lnTo>
                    <a:lnTo>
                      <a:pt x="354" y="248"/>
                    </a:lnTo>
                    <a:lnTo>
                      <a:pt x="354" y="248"/>
                    </a:lnTo>
                    <a:lnTo>
                      <a:pt x="348" y="248"/>
                    </a:lnTo>
                    <a:lnTo>
                      <a:pt x="341" y="244"/>
                    </a:lnTo>
                    <a:lnTo>
                      <a:pt x="336" y="239"/>
                    </a:lnTo>
                    <a:lnTo>
                      <a:pt x="336" y="239"/>
                    </a:lnTo>
                    <a:lnTo>
                      <a:pt x="336" y="239"/>
                    </a:lnTo>
                    <a:lnTo>
                      <a:pt x="329" y="223"/>
                    </a:lnTo>
                    <a:lnTo>
                      <a:pt x="323" y="218"/>
                    </a:lnTo>
                    <a:lnTo>
                      <a:pt x="316" y="205"/>
                    </a:lnTo>
                    <a:lnTo>
                      <a:pt x="318" y="205"/>
                    </a:lnTo>
                    <a:lnTo>
                      <a:pt x="318" y="202"/>
                    </a:lnTo>
                    <a:lnTo>
                      <a:pt x="318" y="200"/>
                    </a:lnTo>
                    <a:lnTo>
                      <a:pt x="318" y="200"/>
                    </a:lnTo>
                    <a:lnTo>
                      <a:pt x="313" y="193"/>
                    </a:lnTo>
                    <a:lnTo>
                      <a:pt x="311" y="187"/>
                    </a:lnTo>
                    <a:lnTo>
                      <a:pt x="313" y="164"/>
                    </a:lnTo>
                    <a:lnTo>
                      <a:pt x="311" y="161"/>
                    </a:lnTo>
                    <a:lnTo>
                      <a:pt x="311" y="159"/>
                    </a:lnTo>
                    <a:lnTo>
                      <a:pt x="309" y="146"/>
                    </a:lnTo>
                    <a:lnTo>
                      <a:pt x="309" y="146"/>
                    </a:lnTo>
                    <a:lnTo>
                      <a:pt x="309" y="144"/>
                    </a:lnTo>
                    <a:lnTo>
                      <a:pt x="311" y="141"/>
                    </a:lnTo>
                    <a:lnTo>
                      <a:pt x="313" y="139"/>
                    </a:lnTo>
                    <a:lnTo>
                      <a:pt x="313" y="134"/>
                    </a:lnTo>
                    <a:lnTo>
                      <a:pt x="314" y="132"/>
                    </a:lnTo>
                    <a:lnTo>
                      <a:pt x="318" y="134"/>
                    </a:lnTo>
                    <a:lnTo>
                      <a:pt x="318" y="134"/>
                    </a:lnTo>
                    <a:lnTo>
                      <a:pt x="322" y="128"/>
                    </a:lnTo>
                    <a:lnTo>
                      <a:pt x="322" y="127"/>
                    </a:lnTo>
                    <a:lnTo>
                      <a:pt x="322" y="127"/>
                    </a:lnTo>
                    <a:lnTo>
                      <a:pt x="320" y="128"/>
                    </a:lnTo>
                    <a:lnTo>
                      <a:pt x="320" y="128"/>
                    </a:lnTo>
                    <a:lnTo>
                      <a:pt x="318" y="128"/>
                    </a:lnTo>
                    <a:lnTo>
                      <a:pt x="318" y="128"/>
                    </a:lnTo>
                    <a:lnTo>
                      <a:pt x="318" y="127"/>
                    </a:lnTo>
                    <a:lnTo>
                      <a:pt x="320" y="123"/>
                    </a:lnTo>
                    <a:lnTo>
                      <a:pt x="314" y="123"/>
                    </a:lnTo>
                    <a:lnTo>
                      <a:pt x="309" y="121"/>
                    </a:lnTo>
                    <a:lnTo>
                      <a:pt x="302" y="119"/>
                    </a:lnTo>
                    <a:lnTo>
                      <a:pt x="298" y="118"/>
                    </a:lnTo>
                    <a:lnTo>
                      <a:pt x="293" y="118"/>
                    </a:lnTo>
                    <a:lnTo>
                      <a:pt x="289" y="114"/>
                    </a:lnTo>
                    <a:lnTo>
                      <a:pt x="284" y="107"/>
                    </a:lnTo>
                    <a:lnTo>
                      <a:pt x="279" y="93"/>
                    </a:lnTo>
                    <a:lnTo>
                      <a:pt x="275" y="89"/>
                    </a:lnTo>
                    <a:lnTo>
                      <a:pt x="272" y="84"/>
                    </a:lnTo>
                    <a:lnTo>
                      <a:pt x="266" y="78"/>
                    </a:lnTo>
                    <a:lnTo>
                      <a:pt x="261" y="66"/>
                    </a:lnTo>
                    <a:lnTo>
                      <a:pt x="248" y="52"/>
                    </a:lnTo>
                    <a:lnTo>
                      <a:pt x="236" y="53"/>
                    </a:lnTo>
                    <a:lnTo>
                      <a:pt x="232" y="52"/>
                    </a:lnTo>
                    <a:lnTo>
                      <a:pt x="230" y="53"/>
                    </a:lnTo>
                    <a:lnTo>
                      <a:pt x="222" y="68"/>
                    </a:lnTo>
                    <a:lnTo>
                      <a:pt x="214" y="66"/>
                    </a:lnTo>
                    <a:lnTo>
                      <a:pt x="198" y="52"/>
                    </a:lnTo>
                    <a:lnTo>
                      <a:pt x="195" y="37"/>
                    </a:lnTo>
                    <a:lnTo>
                      <a:pt x="180" y="27"/>
                    </a:lnTo>
                    <a:lnTo>
                      <a:pt x="177" y="23"/>
                    </a:lnTo>
                    <a:lnTo>
                      <a:pt x="173" y="21"/>
                    </a:lnTo>
                    <a:lnTo>
                      <a:pt x="172" y="18"/>
                    </a:lnTo>
                    <a:lnTo>
                      <a:pt x="168" y="16"/>
                    </a:lnTo>
                    <a:lnTo>
                      <a:pt x="141" y="16"/>
                    </a:lnTo>
                    <a:lnTo>
                      <a:pt x="141" y="25"/>
                    </a:lnTo>
                    <a:lnTo>
                      <a:pt x="98" y="25"/>
                    </a:lnTo>
                    <a:lnTo>
                      <a:pt x="38" y="2"/>
                    </a:lnTo>
                    <a:lnTo>
                      <a:pt x="36" y="0"/>
                    </a:lnTo>
                    <a:lnTo>
                      <a:pt x="0" y="3"/>
                    </a:lnTo>
                    <a:lnTo>
                      <a:pt x="2" y="5"/>
                    </a:lnTo>
                    <a:lnTo>
                      <a:pt x="4" y="7"/>
                    </a:lnTo>
                    <a:lnTo>
                      <a:pt x="4" y="9"/>
                    </a:lnTo>
                    <a:lnTo>
                      <a:pt x="5" y="11"/>
                    </a:lnTo>
                    <a:lnTo>
                      <a:pt x="7" y="14"/>
                    </a:lnTo>
                    <a:lnTo>
                      <a:pt x="7" y="14"/>
                    </a:lnTo>
                    <a:lnTo>
                      <a:pt x="7" y="14"/>
                    </a:lnTo>
                    <a:lnTo>
                      <a:pt x="9" y="16"/>
                    </a:lnTo>
                    <a:lnTo>
                      <a:pt x="9" y="21"/>
                    </a:lnTo>
                    <a:lnTo>
                      <a:pt x="14" y="30"/>
                    </a:lnTo>
                    <a:lnTo>
                      <a:pt x="14" y="32"/>
                    </a:lnTo>
                    <a:lnTo>
                      <a:pt x="16" y="32"/>
                    </a:lnTo>
                    <a:lnTo>
                      <a:pt x="16" y="34"/>
                    </a:lnTo>
                    <a:lnTo>
                      <a:pt x="18" y="34"/>
                    </a:lnTo>
                    <a:lnTo>
                      <a:pt x="20" y="39"/>
                    </a:lnTo>
                    <a:lnTo>
                      <a:pt x="20" y="43"/>
                    </a:lnTo>
                    <a:lnTo>
                      <a:pt x="20" y="43"/>
                    </a:lnTo>
                    <a:lnTo>
                      <a:pt x="22" y="43"/>
                    </a:lnTo>
                    <a:lnTo>
                      <a:pt x="22" y="43"/>
                    </a:lnTo>
                    <a:lnTo>
                      <a:pt x="25" y="53"/>
                    </a:lnTo>
                    <a:lnTo>
                      <a:pt x="25" y="55"/>
                    </a:lnTo>
                    <a:lnTo>
                      <a:pt x="29" y="57"/>
                    </a:lnTo>
                    <a:lnTo>
                      <a:pt x="29" y="57"/>
                    </a:lnTo>
                    <a:lnTo>
                      <a:pt x="30" y="57"/>
                    </a:lnTo>
                    <a:lnTo>
                      <a:pt x="34" y="61"/>
                    </a:lnTo>
                    <a:lnTo>
                      <a:pt x="36" y="61"/>
                    </a:lnTo>
                    <a:lnTo>
                      <a:pt x="39" y="66"/>
                    </a:lnTo>
                    <a:lnTo>
                      <a:pt x="39" y="66"/>
                    </a:lnTo>
                    <a:lnTo>
                      <a:pt x="43" y="69"/>
                    </a:lnTo>
                    <a:lnTo>
                      <a:pt x="45" y="71"/>
                    </a:lnTo>
                    <a:lnTo>
                      <a:pt x="50" y="78"/>
                    </a:lnTo>
                    <a:lnTo>
                      <a:pt x="50" y="80"/>
                    </a:lnTo>
                    <a:lnTo>
                      <a:pt x="50" y="82"/>
                    </a:lnTo>
                    <a:lnTo>
                      <a:pt x="52" y="84"/>
                    </a:lnTo>
                    <a:lnTo>
                      <a:pt x="50" y="84"/>
                    </a:lnTo>
                    <a:lnTo>
                      <a:pt x="50" y="86"/>
                    </a:lnTo>
                    <a:lnTo>
                      <a:pt x="50" y="86"/>
                    </a:lnTo>
                    <a:lnTo>
                      <a:pt x="48" y="87"/>
                    </a:lnTo>
                    <a:lnTo>
                      <a:pt x="48" y="89"/>
                    </a:lnTo>
                    <a:lnTo>
                      <a:pt x="48" y="89"/>
                    </a:lnTo>
                    <a:lnTo>
                      <a:pt x="48" y="91"/>
                    </a:lnTo>
                    <a:lnTo>
                      <a:pt x="47" y="89"/>
                    </a:lnTo>
                    <a:lnTo>
                      <a:pt x="41" y="91"/>
                    </a:lnTo>
                    <a:lnTo>
                      <a:pt x="36" y="89"/>
                    </a:lnTo>
                    <a:lnTo>
                      <a:pt x="36" y="93"/>
                    </a:lnTo>
                    <a:lnTo>
                      <a:pt x="36" y="93"/>
                    </a:lnTo>
                    <a:lnTo>
                      <a:pt x="38" y="91"/>
                    </a:lnTo>
                    <a:lnTo>
                      <a:pt x="41" y="94"/>
                    </a:lnTo>
                    <a:lnTo>
                      <a:pt x="43" y="96"/>
                    </a:lnTo>
                    <a:lnTo>
                      <a:pt x="45" y="96"/>
                    </a:lnTo>
                    <a:lnTo>
                      <a:pt x="45" y="100"/>
                    </a:lnTo>
                    <a:lnTo>
                      <a:pt x="47" y="102"/>
                    </a:lnTo>
                    <a:lnTo>
                      <a:pt x="48" y="102"/>
                    </a:lnTo>
                    <a:lnTo>
                      <a:pt x="50" y="102"/>
                    </a:lnTo>
                    <a:lnTo>
                      <a:pt x="52" y="103"/>
                    </a:lnTo>
                    <a:lnTo>
                      <a:pt x="55" y="105"/>
                    </a:lnTo>
                    <a:lnTo>
                      <a:pt x="57" y="107"/>
                    </a:lnTo>
                    <a:lnTo>
                      <a:pt x="59" y="109"/>
                    </a:lnTo>
                    <a:lnTo>
                      <a:pt x="63" y="109"/>
                    </a:lnTo>
                    <a:lnTo>
                      <a:pt x="66" y="105"/>
                    </a:lnTo>
                    <a:lnTo>
                      <a:pt x="66" y="107"/>
                    </a:lnTo>
                    <a:lnTo>
                      <a:pt x="66" y="109"/>
                    </a:lnTo>
                    <a:lnTo>
                      <a:pt x="70" y="116"/>
                    </a:lnTo>
                    <a:lnTo>
                      <a:pt x="75" y="118"/>
                    </a:lnTo>
                    <a:lnTo>
                      <a:pt x="77" y="118"/>
                    </a:lnTo>
                    <a:lnTo>
                      <a:pt x="80" y="127"/>
                    </a:lnTo>
                    <a:lnTo>
                      <a:pt x="82" y="136"/>
                    </a:lnTo>
                    <a:lnTo>
                      <a:pt x="80" y="143"/>
                    </a:lnTo>
                    <a:lnTo>
                      <a:pt x="80" y="144"/>
                    </a:lnTo>
                    <a:lnTo>
                      <a:pt x="80" y="143"/>
                    </a:lnTo>
                    <a:lnTo>
                      <a:pt x="80" y="143"/>
                    </a:lnTo>
                    <a:lnTo>
                      <a:pt x="82" y="144"/>
                    </a:lnTo>
                    <a:lnTo>
                      <a:pt x="84" y="144"/>
                    </a:lnTo>
                    <a:lnTo>
                      <a:pt x="86" y="144"/>
                    </a:lnTo>
                    <a:lnTo>
                      <a:pt x="86" y="146"/>
                    </a:lnTo>
                    <a:lnTo>
                      <a:pt x="86" y="148"/>
                    </a:lnTo>
                    <a:lnTo>
                      <a:pt x="89" y="148"/>
                    </a:lnTo>
                    <a:lnTo>
                      <a:pt x="89" y="150"/>
                    </a:lnTo>
                    <a:lnTo>
                      <a:pt x="105" y="162"/>
                    </a:lnTo>
                    <a:lnTo>
                      <a:pt x="107" y="164"/>
                    </a:lnTo>
                    <a:lnTo>
                      <a:pt x="111" y="168"/>
                    </a:lnTo>
                    <a:lnTo>
                      <a:pt x="114" y="175"/>
                    </a:lnTo>
                    <a:lnTo>
                      <a:pt x="116" y="177"/>
                    </a:lnTo>
                    <a:lnTo>
                      <a:pt x="116" y="177"/>
                    </a:lnTo>
                    <a:lnTo>
                      <a:pt x="118" y="175"/>
                    </a:lnTo>
                    <a:lnTo>
                      <a:pt x="122" y="173"/>
                    </a:lnTo>
                    <a:lnTo>
                      <a:pt x="123" y="169"/>
                    </a:lnTo>
                    <a:lnTo>
                      <a:pt x="125" y="168"/>
                    </a:lnTo>
                    <a:lnTo>
                      <a:pt x="123" y="166"/>
                    </a:lnTo>
                    <a:lnTo>
                      <a:pt x="118" y="159"/>
                    </a:lnTo>
                    <a:lnTo>
                      <a:pt x="118" y="157"/>
                    </a:lnTo>
                    <a:lnTo>
                      <a:pt x="113" y="152"/>
                    </a:lnTo>
                    <a:lnTo>
                      <a:pt x="109" y="155"/>
                    </a:lnTo>
                    <a:lnTo>
                      <a:pt x="107" y="153"/>
                    </a:lnTo>
                    <a:lnTo>
                      <a:pt x="105" y="152"/>
                    </a:lnTo>
                    <a:lnTo>
                      <a:pt x="104" y="148"/>
                    </a:lnTo>
                    <a:lnTo>
                      <a:pt x="104" y="143"/>
                    </a:lnTo>
                    <a:lnTo>
                      <a:pt x="100" y="136"/>
                    </a:lnTo>
                    <a:lnTo>
                      <a:pt x="100" y="137"/>
                    </a:lnTo>
                    <a:lnTo>
                      <a:pt x="100" y="132"/>
                    </a:lnTo>
                    <a:lnTo>
                      <a:pt x="98" y="130"/>
                    </a:lnTo>
                    <a:lnTo>
                      <a:pt x="95" y="127"/>
                    </a:lnTo>
                    <a:lnTo>
                      <a:pt x="95" y="118"/>
                    </a:lnTo>
                    <a:lnTo>
                      <a:pt x="93" y="118"/>
                    </a:lnTo>
                    <a:lnTo>
                      <a:pt x="93" y="114"/>
                    </a:lnTo>
                    <a:lnTo>
                      <a:pt x="91" y="111"/>
                    </a:lnTo>
                    <a:lnTo>
                      <a:pt x="88" y="107"/>
                    </a:lnTo>
                    <a:lnTo>
                      <a:pt x="86" y="107"/>
                    </a:lnTo>
                    <a:lnTo>
                      <a:pt x="88" y="111"/>
                    </a:lnTo>
                    <a:lnTo>
                      <a:pt x="88" y="112"/>
                    </a:lnTo>
                    <a:lnTo>
                      <a:pt x="88" y="112"/>
                    </a:lnTo>
                    <a:lnTo>
                      <a:pt x="86" y="111"/>
                    </a:lnTo>
                    <a:lnTo>
                      <a:pt x="86" y="109"/>
                    </a:lnTo>
                    <a:lnTo>
                      <a:pt x="84" y="105"/>
                    </a:lnTo>
                    <a:lnTo>
                      <a:pt x="84" y="103"/>
                    </a:lnTo>
                    <a:lnTo>
                      <a:pt x="82" y="103"/>
                    </a:lnTo>
                    <a:lnTo>
                      <a:pt x="80" y="102"/>
                    </a:lnTo>
                    <a:lnTo>
                      <a:pt x="80" y="98"/>
                    </a:lnTo>
                    <a:lnTo>
                      <a:pt x="79" y="96"/>
                    </a:lnTo>
                    <a:lnTo>
                      <a:pt x="73" y="89"/>
                    </a:lnTo>
                    <a:lnTo>
                      <a:pt x="70" y="80"/>
                    </a:lnTo>
                    <a:lnTo>
                      <a:pt x="70" y="80"/>
                    </a:lnTo>
                    <a:lnTo>
                      <a:pt x="70" y="78"/>
                    </a:lnTo>
                    <a:lnTo>
                      <a:pt x="68" y="78"/>
                    </a:lnTo>
                    <a:lnTo>
                      <a:pt x="68" y="78"/>
                    </a:lnTo>
                    <a:lnTo>
                      <a:pt x="64" y="71"/>
                    </a:lnTo>
                    <a:lnTo>
                      <a:pt x="64" y="71"/>
                    </a:lnTo>
                    <a:lnTo>
                      <a:pt x="63" y="71"/>
                    </a:lnTo>
                    <a:lnTo>
                      <a:pt x="61" y="69"/>
                    </a:lnTo>
                    <a:lnTo>
                      <a:pt x="61" y="69"/>
                    </a:lnTo>
                    <a:lnTo>
                      <a:pt x="57" y="66"/>
                    </a:lnTo>
                    <a:lnTo>
                      <a:pt x="57" y="62"/>
                    </a:lnTo>
                    <a:lnTo>
                      <a:pt x="50" y="57"/>
                    </a:lnTo>
                    <a:lnTo>
                      <a:pt x="50" y="55"/>
                    </a:lnTo>
                    <a:lnTo>
                      <a:pt x="48" y="55"/>
                    </a:lnTo>
                    <a:lnTo>
                      <a:pt x="47" y="55"/>
                    </a:lnTo>
                    <a:lnTo>
                      <a:pt x="43" y="48"/>
                    </a:lnTo>
                    <a:lnTo>
                      <a:pt x="41" y="34"/>
                    </a:lnTo>
                    <a:lnTo>
                      <a:pt x="39" y="30"/>
                    </a:lnTo>
                    <a:lnTo>
                      <a:pt x="38" y="21"/>
                    </a:lnTo>
                    <a:lnTo>
                      <a:pt x="38" y="18"/>
                    </a:lnTo>
                    <a:lnTo>
                      <a:pt x="38" y="1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23" name="Freeform 3279"/>
              <p:cNvSpPr>
                <a:spLocks/>
              </p:cNvSpPr>
              <p:nvPr/>
            </p:nvSpPr>
            <p:spPr bwMode="auto">
              <a:xfrm>
                <a:off x="1432" y="2515"/>
                <a:ext cx="195" cy="264"/>
              </a:xfrm>
              <a:custGeom>
                <a:avLst/>
                <a:gdLst>
                  <a:gd name="T0" fmla="*/ 125 w 195"/>
                  <a:gd name="T1" fmla="*/ 3 h 264"/>
                  <a:gd name="T2" fmla="*/ 116 w 195"/>
                  <a:gd name="T3" fmla="*/ 0 h 264"/>
                  <a:gd name="T4" fmla="*/ 112 w 195"/>
                  <a:gd name="T5" fmla="*/ 3 h 264"/>
                  <a:gd name="T6" fmla="*/ 86 w 195"/>
                  <a:gd name="T7" fmla="*/ 17 h 264"/>
                  <a:gd name="T8" fmla="*/ 73 w 195"/>
                  <a:gd name="T9" fmla="*/ 26 h 264"/>
                  <a:gd name="T10" fmla="*/ 64 w 195"/>
                  <a:gd name="T11" fmla="*/ 23 h 264"/>
                  <a:gd name="T12" fmla="*/ 54 w 195"/>
                  <a:gd name="T13" fmla="*/ 46 h 264"/>
                  <a:gd name="T14" fmla="*/ 36 w 195"/>
                  <a:gd name="T15" fmla="*/ 60 h 264"/>
                  <a:gd name="T16" fmla="*/ 36 w 195"/>
                  <a:gd name="T17" fmla="*/ 69 h 264"/>
                  <a:gd name="T18" fmla="*/ 25 w 195"/>
                  <a:gd name="T19" fmla="*/ 60 h 264"/>
                  <a:gd name="T20" fmla="*/ 27 w 195"/>
                  <a:gd name="T21" fmla="*/ 64 h 264"/>
                  <a:gd name="T22" fmla="*/ 29 w 195"/>
                  <a:gd name="T23" fmla="*/ 69 h 264"/>
                  <a:gd name="T24" fmla="*/ 21 w 195"/>
                  <a:gd name="T25" fmla="*/ 76 h 264"/>
                  <a:gd name="T26" fmla="*/ 18 w 195"/>
                  <a:gd name="T27" fmla="*/ 82 h 264"/>
                  <a:gd name="T28" fmla="*/ 27 w 195"/>
                  <a:gd name="T29" fmla="*/ 107 h 264"/>
                  <a:gd name="T30" fmla="*/ 25 w 195"/>
                  <a:gd name="T31" fmla="*/ 134 h 264"/>
                  <a:gd name="T32" fmla="*/ 34 w 195"/>
                  <a:gd name="T33" fmla="*/ 135 h 264"/>
                  <a:gd name="T34" fmla="*/ 21 w 195"/>
                  <a:gd name="T35" fmla="*/ 153 h 264"/>
                  <a:gd name="T36" fmla="*/ 9 w 195"/>
                  <a:gd name="T37" fmla="*/ 159 h 264"/>
                  <a:gd name="T38" fmla="*/ 4 w 195"/>
                  <a:gd name="T39" fmla="*/ 169 h 264"/>
                  <a:gd name="T40" fmla="*/ 2 w 195"/>
                  <a:gd name="T41" fmla="*/ 176 h 264"/>
                  <a:gd name="T42" fmla="*/ 29 w 195"/>
                  <a:gd name="T43" fmla="*/ 194 h 264"/>
                  <a:gd name="T44" fmla="*/ 48 w 195"/>
                  <a:gd name="T45" fmla="*/ 192 h 264"/>
                  <a:gd name="T46" fmla="*/ 70 w 195"/>
                  <a:gd name="T47" fmla="*/ 205 h 264"/>
                  <a:gd name="T48" fmla="*/ 79 w 195"/>
                  <a:gd name="T49" fmla="*/ 214 h 264"/>
                  <a:gd name="T50" fmla="*/ 84 w 195"/>
                  <a:gd name="T51" fmla="*/ 216 h 264"/>
                  <a:gd name="T52" fmla="*/ 87 w 195"/>
                  <a:gd name="T53" fmla="*/ 226 h 264"/>
                  <a:gd name="T54" fmla="*/ 93 w 195"/>
                  <a:gd name="T55" fmla="*/ 234 h 264"/>
                  <a:gd name="T56" fmla="*/ 104 w 195"/>
                  <a:gd name="T57" fmla="*/ 237 h 264"/>
                  <a:gd name="T58" fmla="*/ 111 w 195"/>
                  <a:gd name="T59" fmla="*/ 237 h 264"/>
                  <a:gd name="T60" fmla="*/ 120 w 195"/>
                  <a:gd name="T61" fmla="*/ 235 h 264"/>
                  <a:gd name="T62" fmla="*/ 127 w 195"/>
                  <a:gd name="T63" fmla="*/ 234 h 264"/>
                  <a:gd name="T64" fmla="*/ 143 w 195"/>
                  <a:gd name="T65" fmla="*/ 244 h 264"/>
                  <a:gd name="T66" fmla="*/ 136 w 195"/>
                  <a:gd name="T67" fmla="*/ 260 h 264"/>
                  <a:gd name="T68" fmla="*/ 145 w 195"/>
                  <a:gd name="T69" fmla="*/ 264 h 264"/>
                  <a:gd name="T70" fmla="*/ 146 w 195"/>
                  <a:gd name="T71" fmla="*/ 253 h 264"/>
                  <a:gd name="T72" fmla="*/ 152 w 195"/>
                  <a:gd name="T73" fmla="*/ 210 h 264"/>
                  <a:gd name="T74" fmla="*/ 155 w 195"/>
                  <a:gd name="T75" fmla="*/ 189 h 264"/>
                  <a:gd name="T76" fmla="*/ 157 w 195"/>
                  <a:gd name="T77" fmla="*/ 189 h 264"/>
                  <a:gd name="T78" fmla="*/ 152 w 195"/>
                  <a:gd name="T79" fmla="*/ 182 h 264"/>
                  <a:gd name="T80" fmla="*/ 146 w 195"/>
                  <a:gd name="T81" fmla="*/ 180 h 264"/>
                  <a:gd name="T82" fmla="*/ 171 w 195"/>
                  <a:gd name="T83" fmla="*/ 171 h 264"/>
                  <a:gd name="T84" fmla="*/ 173 w 195"/>
                  <a:gd name="T85" fmla="*/ 167 h 264"/>
                  <a:gd name="T86" fmla="*/ 182 w 195"/>
                  <a:gd name="T87" fmla="*/ 166 h 264"/>
                  <a:gd name="T88" fmla="*/ 191 w 195"/>
                  <a:gd name="T89" fmla="*/ 180 h 264"/>
                  <a:gd name="T90" fmla="*/ 180 w 195"/>
                  <a:gd name="T91" fmla="*/ 153 h 264"/>
                  <a:gd name="T92" fmla="*/ 187 w 195"/>
                  <a:gd name="T93" fmla="*/ 146 h 264"/>
                  <a:gd name="T94" fmla="*/ 187 w 195"/>
                  <a:gd name="T95" fmla="*/ 141 h 264"/>
                  <a:gd name="T96" fmla="*/ 180 w 195"/>
                  <a:gd name="T97" fmla="*/ 134 h 264"/>
                  <a:gd name="T98" fmla="*/ 179 w 195"/>
                  <a:gd name="T99" fmla="*/ 119 h 264"/>
                  <a:gd name="T100" fmla="*/ 182 w 195"/>
                  <a:gd name="T101" fmla="*/ 107 h 264"/>
                  <a:gd name="T102" fmla="*/ 184 w 195"/>
                  <a:gd name="T103" fmla="*/ 100 h 264"/>
                  <a:gd name="T104" fmla="*/ 166 w 195"/>
                  <a:gd name="T105" fmla="*/ 101 h 264"/>
                  <a:gd name="T106" fmla="*/ 154 w 195"/>
                  <a:gd name="T107" fmla="*/ 101 h 264"/>
                  <a:gd name="T108" fmla="*/ 145 w 195"/>
                  <a:gd name="T109" fmla="*/ 87 h 264"/>
                  <a:gd name="T110" fmla="*/ 111 w 195"/>
                  <a:gd name="T111" fmla="*/ 82 h 264"/>
                  <a:gd name="T112" fmla="*/ 105 w 195"/>
                  <a:gd name="T113" fmla="*/ 67 h 264"/>
                  <a:gd name="T114" fmla="*/ 102 w 195"/>
                  <a:gd name="T115" fmla="*/ 60 h 264"/>
                  <a:gd name="T116" fmla="*/ 98 w 195"/>
                  <a:gd name="T117" fmla="*/ 3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264">
                    <a:moveTo>
                      <a:pt x="123" y="9"/>
                    </a:moveTo>
                    <a:lnTo>
                      <a:pt x="125" y="7"/>
                    </a:lnTo>
                    <a:lnTo>
                      <a:pt x="125" y="5"/>
                    </a:lnTo>
                    <a:lnTo>
                      <a:pt x="125" y="3"/>
                    </a:lnTo>
                    <a:lnTo>
                      <a:pt x="123" y="1"/>
                    </a:lnTo>
                    <a:lnTo>
                      <a:pt x="118" y="0"/>
                    </a:lnTo>
                    <a:lnTo>
                      <a:pt x="116" y="0"/>
                    </a:lnTo>
                    <a:lnTo>
                      <a:pt x="116" y="0"/>
                    </a:lnTo>
                    <a:lnTo>
                      <a:pt x="114" y="0"/>
                    </a:lnTo>
                    <a:lnTo>
                      <a:pt x="114" y="3"/>
                    </a:lnTo>
                    <a:lnTo>
                      <a:pt x="112" y="3"/>
                    </a:lnTo>
                    <a:lnTo>
                      <a:pt x="112" y="3"/>
                    </a:lnTo>
                    <a:lnTo>
                      <a:pt x="111" y="3"/>
                    </a:lnTo>
                    <a:lnTo>
                      <a:pt x="111" y="5"/>
                    </a:lnTo>
                    <a:lnTo>
                      <a:pt x="109" y="9"/>
                    </a:lnTo>
                    <a:lnTo>
                      <a:pt x="86" y="17"/>
                    </a:lnTo>
                    <a:lnTo>
                      <a:pt x="77" y="17"/>
                    </a:lnTo>
                    <a:lnTo>
                      <a:pt x="77" y="17"/>
                    </a:lnTo>
                    <a:lnTo>
                      <a:pt x="73" y="25"/>
                    </a:lnTo>
                    <a:lnTo>
                      <a:pt x="73" y="26"/>
                    </a:lnTo>
                    <a:lnTo>
                      <a:pt x="71" y="26"/>
                    </a:lnTo>
                    <a:lnTo>
                      <a:pt x="71" y="23"/>
                    </a:lnTo>
                    <a:lnTo>
                      <a:pt x="71" y="23"/>
                    </a:lnTo>
                    <a:lnTo>
                      <a:pt x="64" y="23"/>
                    </a:lnTo>
                    <a:lnTo>
                      <a:pt x="64" y="23"/>
                    </a:lnTo>
                    <a:lnTo>
                      <a:pt x="55" y="28"/>
                    </a:lnTo>
                    <a:lnTo>
                      <a:pt x="55" y="30"/>
                    </a:lnTo>
                    <a:lnTo>
                      <a:pt x="54" y="46"/>
                    </a:lnTo>
                    <a:lnTo>
                      <a:pt x="52" y="48"/>
                    </a:lnTo>
                    <a:lnTo>
                      <a:pt x="46" y="48"/>
                    </a:lnTo>
                    <a:lnTo>
                      <a:pt x="39" y="57"/>
                    </a:lnTo>
                    <a:lnTo>
                      <a:pt x="36" y="60"/>
                    </a:lnTo>
                    <a:lnTo>
                      <a:pt x="34" y="60"/>
                    </a:lnTo>
                    <a:lnTo>
                      <a:pt x="34" y="62"/>
                    </a:lnTo>
                    <a:lnTo>
                      <a:pt x="36" y="62"/>
                    </a:lnTo>
                    <a:lnTo>
                      <a:pt x="36" y="69"/>
                    </a:lnTo>
                    <a:lnTo>
                      <a:pt x="36" y="71"/>
                    </a:lnTo>
                    <a:lnTo>
                      <a:pt x="36" y="71"/>
                    </a:lnTo>
                    <a:lnTo>
                      <a:pt x="34" y="69"/>
                    </a:lnTo>
                    <a:lnTo>
                      <a:pt x="25" y="60"/>
                    </a:lnTo>
                    <a:lnTo>
                      <a:pt x="25" y="60"/>
                    </a:lnTo>
                    <a:lnTo>
                      <a:pt x="25" y="64"/>
                    </a:lnTo>
                    <a:lnTo>
                      <a:pt x="25" y="64"/>
                    </a:lnTo>
                    <a:lnTo>
                      <a:pt x="27" y="64"/>
                    </a:lnTo>
                    <a:lnTo>
                      <a:pt x="27" y="67"/>
                    </a:lnTo>
                    <a:lnTo>
                      <a:pt x="27" y="69"/>
                    </a:lnTo>
                    <a:lnTo>
                      <a:pt x="29" y="69"/>
                    </a:lnTo>
                    <a:lnTo>
                      <a:pt x="29" y="69"/>
                    </a:lnTo>
                    <a:lnTo>
                      <a:pt x="29" y="71"/>
                    </a:lnTo>
                    <a:lnTo>
                      <a:pt x="23" y="76"/>
                    </a:lnTo>
                    <a:lnTo>
                      <a:pt x="21" y="76"/>
                    </a:lnTo>
                    <a:lnTo>
                      <a:pt x="21" y="76"/>
                    </a:lnTo>
                    <a:lnTo>
                      <a:pt x="21" y="78"/>
                    </a:lnTo>
                    <a:lnTo>
                      <a:pt x="18" y="80"/>
                    </a:lnTo>
                    <a:lnTo>
                      <a:pt x="18" y="82"/>
                    </a:lnTo>
                    <a:lnTo>
                      <a:pt x="18" y="82"/>
                    </a:lnTo>
                    <a:lnTo>
                      <a:pt x="21" y="89"/>
                    </a:lnTo>
                    <a:lnTo>
                      <a:pt x="25" y="92"/>
                    </a:lnTo>
                    <a:lnTo>
                      <a:pt x="25" y="94"/>
                    </a:lnTo>
                    <a:lnTo>
                      <a:pt x="27" y="107"/>
                    </a:lnTo>
                    <a:lnTo>
                      <a:pt x="25" y="110"/>
                    </a:lnTo>
                    <a:lnTo>
                      <a:pt x="25" y="112"/>
                    </a:lnTo>
                    <a:lnTo>
                      <a:pt x="27" y="126"/>
                    </a:lnTo>
                    <a:lnTo>
                      <a:pt x="25" y="134"/>
                    </a:lnTo>
                    <a:lnTo>
                      <a:pt x="25" y="135"/>
                    </a:lnTo>
                    <a:lnTo>
                      <a:pt x="27" y="137"/>
                    </a:lnTo>
                    <a:lnTo>
                      <a:pt x="30" y="137"/>
                    </a:lnTo>
                    <a:lnTo>
                      <a:pt x="34" y="135"/>
                    </a:lnTo>
                    <a:lnTo>
                      <a:pt x="34" y="137"/>
                    </a:lnTo>
                    <a:lnTo>
                      <a:pt x="32" y="139"/>
                    </a:lnTo>
                    <a:lnTo>
                      <a:pt x="25" y="146"/>
                    </a:lnTo>
                    <a:lnTo>
                      <a:pt x="21" y="153"/>
                    </a:lnTo>
                    <a:lnTo>
                      <a:pt x="21" y="155"/>
                    </a:lnTo>
                    <a:lnTo>
                      <a:pt x="16" y="157"/>
                    </a:lnTo>
                    <a:lnTo>
                      <a:pt x="12" y="157"/>
                    </a:lnTo>
                    <a:lnTo>
                      <a:pt x="9" y="159"/>
                    </a:lnTo>
                    <a:lnTo>
                      <a:pt x="5" y="166"/>
                    </a:lnTo>
                    <a:lnTo>
                      <a:pt x="7" y="167"/>
                    </a:lnTo>
                    <a:lnTo>
                      <a:pt x="7" y="169"/>
                    </a:lnTo>
                    <a:lnTo>
                      <a:pt x="4" y="169"/>
                    </a:lnTo>
                    <a:lnTo>
                      <a:pt x="2" y="171"/>
                    </a:lnTo>
                    <a:lnTo>
                      <a:pt x="0" y="173"/>
                    </a:lnTo>
                    <a:lnTo>
                      <a:pt x="0" y="175"/>
                    </a:lnTo>
                    <a:lnTo>
                      <a:pt x="2" y="176"/>
                    </a:lnTo>
                    <a:lnTo>
                      <a:pt x="2" y="176"/>
                    </a:lnTo>
                    <a:lnTo>
                      <a:pt x="4" y="178"/>
                    </a:lnTo>
                    <a:lnTo>
                      <a:pt x="25" y="189"/>
                    </a:lnTo>
                    <a:lnTo>
                      <a:pt x="29" y="194"/>
                    </a:lnTo>
                    <a:lnTo>
                      <a:pt x="45" y="196"/>
                    </a:lnTo>
                    <a:lnTo>
                      <a:pt x="45" y="194"/>
                    </a:lnTo>
                    <a:lnTo>
                      <a:pt x="46" y="192"/>
                    </a:lnTo>
                    <a:lnTo>
                      <a:pt x="48" y="192"/>
                    </a:lnTo>
                    <a:lnTo>
                      <a:pt x="57" y="200"/>
                    </a:lnTo>
                    <a:lnTo>
                      <a:pt x="66" y="201"/>
                    </a:lnTo>
                    <a:lnTo>
                      <a:pt x="68" y="201"/>
                    </a:lnTo>
                    <a:lnTo>
                      <a:pt x="70" y="205"/>
                    </a:lnTo>
                    <a:lnTo>
                      <a:pt x="70" y="205"/>
                    </a:lnTo>
                    <a:lnTo>
                      <a:pt x="73" y="207"/>
                    </a:lnTo>
                    <a:lnTo>
                      <a:pt x="77" y="212"/>
                    </a:lnTo>
                    <a:lnTo>
                      <a:pt x="79" y="214"/>
                    </a:lnTo>
                    <a:lnTo>
                      <a:pt x="79" y="216"/>
                    </a:lnTo>
                    <a:lnTo>
                      <a:pt x="80" y="216"/>
                    </a:lnTo>
                    <a:lnTo>
                      <a:pt x="82" y="216"/>
                    </a:lnTo>
                    <a:lnTo>
                      <a:pt x="84" y="216"/>
                    </a:lnTo>
                    <a:lnTo>
                      <a:pt x="86" y="217"/>
                    </a:lnTo>
                    <a:lnTo>
                      <a:pt x="86" y="219"/>
                    </a:lnTo>
                    <a:lnTo>
                      <a:pt x="87" y="226"/>
                    </a:lnTo>
                    <a:lnTo>
                      <a:pt x="87" y="226"/>
                    </a:lnTo>
                    <a:lnTo>
                      <a:pt x="89" y="226"/>
                    </a:lnTo>
                    <a:lnTo>
                      <a:pt x="91" y="226"/>
                    </a:lnTo>
                    <a:lnTo>
                      <a:pt x="93" y="228"/>
                    </a:lnTo>
                    <a:lnTo>
                      <a:pt x="93" y="234"/>
                    </a:lnTo>
                    <a:lnTo>
                      <a:pt x="95" y="237"/>
                    </a:lnTo>
                    <a:lnTo>
                      <a:pt x="98" y="237"/>
                    </a:lnTo>
                    <a:lnTo>
                      <a:pt x="100" y="237"/>
                    </a:lnTo>
                    <a:lnTo>
                      <a:pt x="104" y="237"/>
                    </a:lnTo>
                    <a:lnTo>
                      <a:pt x="105" y="239"/>
                    </a:lnTo>
                    <a:lnTo>
                      <a:pt x="109" y="239"/>
                    </a:lnTo>
                    <a:lnTo>
                      <a:pt x="111" y="237"/>
                    </a:lnTo>
                    <a:lnTo>
                      <a:pt x="111" y="237"/>
                    </a:lnTo>
                    <a:lnTo>
                      <a:pt x="112" y="235"/>
                    </a:lnTo>
                    <a:lnTo>
                      <a:pt x="112" y="235"/>
                    </a:lnTo>
                    <a:lnTo>
                      <a:pt x="114" y="234"/>
                    </a:lnTo>
                    <a:lnTo>
                      <a:pt x="120" y="235"/>
                    </a:lnTo>
                    <a:lnTo>
                      <a:pt x="121" y="235"/>
                    </a:lnTo>
                    <a:lnTo>
                      <a:pt x="123" y="237"/>
                    </a:lnTo>
                    <a:lnTo>
                      <a:pt x="125" y="235"/>
                    </a:lnTo>
                    <a:lnTo>
                      <a:pt x="127" y="234"/>
                    </a:lnTo>
                    <a:lnTo>
                      <a:pt x="130" y="235"/>
                    </a:lnTo>
                    <a:lnTo>
                      <a:pt x="139" y="239"/>
                    </a:lnTo>
                    <a:lnTo>
                      <a:pt x="143" y="242"/>
                    </a:lnTo>
                    <a:lnTo>
                      <a:pt x="143" y="244"/>
                    </a:lnTo>
                    <a:lnTo>
                      <a:pt x="134" y="255"/>
                    </a:lnTo>
                    <a:lnTo>
                      <a:pt x="134" y="259"/>
                    </a:lnTo>
                    <a:lnTo>
                      <a:pt x="134" y="259"/>
                    </a:lnTo>
                    <a:lnTo>
                      <a:pt x="136" y="260"/>
                    </a:lnTo>
                    <a:lnTo>
                      <a:pt x="137" y="259"/>
                    </a:lnTo>
                    <a:lnTo>
                      <a:pt x="139" y="260"/>
                    </a:lnTo>
                    <a:lnTo>
                      <a:pt x="143" y="264"/>
                    </a:lnTo>
                    <a:lnTo>
                      <a:pt x="145" y="264"/>
                    </a:lnTo>
                    <a:lnTo>
                      <a:pt x="145" y="262"/>
                    </a:lnTo>
                    <a:lnTo>
                      <a:pt x="146" y="260"/>
                    </a:lnTo>
                    <a:lnTo>
                      <a:pt x="146" y="253"/>
                    </a:lnTo>
                    <a:lnTo>
                      <a:pt x="146" y="253"/>
                    </a:lnTo>
                    <a:lnTo>
                      <a:pt x="150" y="242"/>
                    </a:lnTo>
                    <a:lnTo>
                      <a:pt x="150" y="241"/>
                    </a:lnTo>
                    <a:lnTo>
                      <a:pt x="154" y="219"/>
                    </a:lnTo>
                    <a:lnTo>
                      <a:pt x="152" y="210"/>
                    </a:lnTo>
                    <a:lnTo>
                      <a:pt x="143" y="201"/>
                    </a:lnTo>
                    <a:lnTo>
                      <a:pt x="143" y="191"/>
                    </a:lnTo>
                    <a:lnTo>
                      <a:pt x="152" y="187"/>
                    </a:lnTo>
                    <a:lnTo>
                      <a:pt x="155" y="189"/>
                    </a:lnTo>
                    <a:lnTo>
                      <a:pt x="155" y="189"/>
                    </a:lnTo>
                    <a:lnTo>
                      <a:pt x="155" y="189"/>
                    </a:lnTo>
                    <a:lnTo>
                      <a:pt x="157" y="189"/>
                    </a:lnTo>
                    <a:lnTo>
                      <a:pt x="157" y="189"/>
                    </a:lnTo>
                    <a:lnTo>
                      <a:pt x="157" y="184"/>
                    </a:lnTo>
                    <a:lnTo>
                      <a:pt x="155" y="182"/>
                    </a:lnTo>
                    <a:lnTo>
                      <a:pt x="152" y="182"/>
                    </a:lnTo>
                    <a:lnTo>
                      <a:pt x="152" y="182"/>
                    </a:lnTo>
                    <a:lnTo>
                      <a:pt x="148" y="182"/>
                    </a:lnTo>
                    <a:lnTo>
                      <a:pt x="148" y="182"/>
                    </a:lnTo>
                    <a:lnTo>
                      <a:pt x="146" y="180"/>
                    </a:lnTo>
                    <a:lnTo>
                      <a:pt x="146" y="180"/>
                    </a:lnTo>
                    <a:lnTo>
                      <a:pt x="146" y="180"/>
                    </a:lnTo>
                    <a:lnTo>
                      <a:pt x="146" y="171"/>
                    </a:lnTo>
                    <a:lnTo>
                      <a:pt x="146" y="171"/>
                    </a:lnTo>
                    <a:lnTo>
                      <a:pt x="171" y="171"/>
                    </a:lnTo>
                    <a:lnTo>
                      <a:pt x="171" y="169"/>
                    </a:lnTo>
                    <a:lnTo>
                      <a:pt x="171" y="167"/>
                    </a:lnTo>
                    <a:lnTo>
                      <a:pt x="173" y="167"/>
                    </a:lnTo>
                    <a:lnTo>
                      <a:pt x="173" y="167"/>
                    </a:lnTo>
                    <a:lnTo>
                      <a:pt x="175" y="167"/>
                    </a:lnTo>
                    <a:lnTo>
                      <a:pt x="177" y="169"/>
                    </a:lnTo>
                    <a:lnTo>
                      <a:pt x="177" y="169"/>
                    </a:lnTo>
                    <a:lnTo>
                      <a:pt x="182" y="166"/>
                    </a:lnTo>
                    <a:lnTo>
                      <a:pt x="186" y="166"/>
                    </a:lnTo>
                    <a:lnTo>
                      <a:pt x="187" y="167"/>
                    </a:lnTo>
                    <a:lnTo>
                      <a:pt x="189" y="171"/>
                    </a:lnTo>
                    <a:lnTo>
                      <a:pt x="191" y="180"/>
                    </a:lnTo>
                    <a:lnTo>
                      <a:pt x="195" y="178"/>
                    </a:lnTo>
                    <a:lnTo>
                      <a:pt x="195" y="178"/>
                    </a:lnTo>
                    <a:lnTo>
                      <a:pt x="186" y="159"/>
                    </a:lnTo>
                    <a:lnTo>
                      <a:pt x="180" y="153"/>
                    </a:lnTo>
                    <a:lnTo>
                      <a:pt x="180" y="153"/>
                    </a:lnTo>
                    <a:lnTo>
                      <a:pt x="186" y="148"/>
                    </a:lnTo>
                    <a:lnTo>
                      <a:pt x="186" y="148"/>
                    </a:lnTo>
                    <a:lnTo>
                      <a:pt x="187" y="146"/>
                    </a:lnTo>
                    <a:lnTo>
                      <a:pt x="187" y="146"/>
                    </a:lnTo>
                    <a:lnTo>
                      <a:pt x="187" y="144"/>
                    </a:lnTo>
                    <a:lnTo>
                      <a:pt x="187" y="142"/>
                    </a:lnTo>
                    <a:lnTo>
                      <a:pt x="187" y="141"/>
                    </a:lnTo>
                    <a:lnTo>
                      <a:pt x="186" y="139"/>
                    </a:lnTo>
                    <a:lnTo>
                      <a:pt x="184" y="137"/>
                    </a:lnTo>
                    <a:lnTo>
                      <a:pt x="180" y="135"/>
                    </a:lnTo>
                    <a:lnTo>
                      <a:pt x="180" y="134"/>
                    </a:lnTo>
                    <a:lnTo>
                      <a:pt x="180" y="126"/>
                    </a:lnTo>
                    <a:lnTo>
                      <a:pt x="179" y="125"/>
                    </a:lnTo>
                    <a:lnTo>
                      <a:pt x="179" y="121"/>
                    </a:lnTo>
                    <a:lnTo>
                      <a:pt x="179" y="119"/>
                    </a:lnTo>
                    <a:lnTo>
                      <a:pt x="180" y="116"/>
                    </a:lnTo>
                    <a:lnTo>
                      <a:pt x="180" y="114"/>
                    </a:lnTo>
                    <a:lnTo>
                      <a:pt x="182" y="110"/>
                    </a:lnTo>
                    <a:lnTo>
                      <a:pt x="182" y="107"/>
                    </a:lnTo>
                    <a:lnTo>
                      <a:pt x="184" y="105"/>
                    </a:lnTo>
                    <a:lnTo>
                      <a:pt x="186" y="103"/>
                    </a:lnTo>
                    <a:lnTo>
                      <a:pt x="186" y="101"/>
                    </a:lnTo>
                    <a:lnTo>
                      <a:pt x="184" y="100"/>
                    </a:lnTo>
                    <a:lnTo>
                      <a:pt x="184" y="98"/>
                    </a:lnTo>
                    <a:lnTo>
                      <a:pt x="182" y="98"/>
                    </a:lnTo>
                    <a:lnTo>
                      <a:pt x="171" y="101"/>
                    </a:lnTo>
                    <a:lnTo>
                      <a:pt x="166" y="101"/>
                    </a:lnTo>
                    <a:lnTo>
                      <a:pt x="162" y="100"/>
                    </a:lnTo>
                    <a:lnTo>
                      <a:pt x="159" y="100"/>
                    </a:lnTo>
                    <a:lnTo>
                      <a:pt x="159" y="101"/>
                    </a:lnTo>
                    <a:lnTo>
                      <a:pt x="154" y="101"/>
                    </a:lnTo>
                    <a:lnTo>
                      <a:pt x="154" y="100"/>
                    </a:lnTo>
                    <a:lnTo>
                      <a:pt x="154" y="100"/>
                    </a:lnTo>
                    <a:lnTo>
                      <a:pt x="145" y="89"/>
                    </a:lnTo>
                    <a:lnTo>
                      <a:pt x="145" y="87"/>
                    </a:lnTo>
                    <a:lnTo>
                      <a:pt x="136" y="84"/>
                    </a:lnTo>
                    <a:lnTo>
                      <a:pt x="121" y="87"/>
                    </a:lnTo>
                    <a:lnTo>
                      <a:pt x="112" y="84"/>
                    </a:lnTo>
                    <a:lnTo>
                      <a:pt x="111" y="82"/>
                    </a:lnTo>
                    <a:lnTo>
                      <a:pt x="111" y="82"/>
                    </a:lnTo>
                    <a:lnTo>
                      <a:pt x="107" y="80"/>
                    </a:lnTo>
                    <a:lnTo>
                      <a:pt x="107" y="78"/>
                    </a:lnTo>
                    <a:lnTo>
                      <a:pt x="105" y="67"/>
                    </a:lnTo>
                    <a:lnTo>
                      <a:pt x="105" y="66"/>
                    </a:lnTo>
                    <a:lnTo>
                      <a:pt x="104" y="64"/>
                    </a:lnTo>
                    <a:lnTo>
                      <a:pt x="104" y="64"/>
                    </a:lnTo>
                    <a:lnTo>
                      <a:pt x="102" y="60"/>
                    </a:lnTo>
                    <a:lnTo>
                      <a:pt x="98" y="51"/>
                    </a:lnTo>
                    <a:lnTo>
                      <a:pt x="98" y="51"/>
                    </a:lnTo>
                    <a:lnTo>
                      <a:pt x="91" y="51"/>
                    </a:lnTo>
                    <a:lnTo>
                      <a:pt x="98" y="30"/>
                    </a:lnTo>
                    <a:lnTo>
                      <a:pt x="114" y="10"/>
                    </a:lnTo>
                    <a:lnTo>
                      <a:pt x="118" y="9"/>
                    </a:lnTo>
                    <a:lnTo>
                      <a:pt x="123" y="9"/>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24" name="Freeform 3280"/>
              <p:cNvSpPr>
                <a:spLocks/>
              </p:cNvSpPr>
              <p:nvPr/>
            </p:nvSpPr>
            <p:spPr bwMode="auto">
              <a:xfrm>
                <a:off x="1432" y="2515"/>
                <a:ext cx="195" cy="264"/>
              </a:xfrm>
              <a:custGeom>
                <a:avLst/>
                <a:gdLst>
                  <a:gd name="T0" fmla="*/ 125 w 195"/>
                  <a:gd name="T1" fmla="*/ 3 h 264"/>
                  <a:gd name="T2" fmla="*/ 116 w 195"/>
                  <a:gd name="T3" fmla="*/ 0 h 264"/>
                  <a:gd name="T4" fmla="*/ 112 w 195"/>
                  <a:gd name="T5" fmla="*/ 3 h 264"/>
                  <a:gd name="T6" fmla="*/ 86 w 195"/>
                  <a:gd name="T7" fmla="*/ 17 h 264"/>
                  <a:gd name="T8" fmla="*/ 73 w 195"/>
                  <a:gd name="T9" fmla="*/ 26 h 264"/>
                  <a:gd name="T10" fmla="*/ 64 w 195"/>
                  <a:gd name="T11" fmla="*/ 23 h 264"/>
                  <a:gd name="T12" fmla="*/ 54 w 195"/>
                  <a:gd name="T13" fmla="*/ 46 h 264"/>
                  <a:gd name="T14" fmla="*/ 36 w 195"/>
                  <a:gd name="T15" fmla="*/ 60 h 264"/>
                  <a:gd name="T16" fmla="*/ 36 w 195"/>
                  <a:gd name="T17" fmla="*/ 69 h 264"/>
                  <a:gd name="T18" fmla="*/ 25 w 195"/>
                  <a:gd name="T19" fmla="*/ 60 h 264"/>
                  <a:gd name="T20" fmla="*/ 27 w 195"/>
                  <a:gd name="T21" fmla="*/ 64 h 264"/>
                  <a:gd name="T22" fmla="*/ 29 w 195"/>
                  <a:gd name="T23" fmla="*/ 69 h 264"/>
                  <a:gd name="T24" fmla="*/ 21 w 195"/>
                  <a:gd name="T25" fmla="*/ 76 h 264"/>
                  <a:gd name="T26" fmla="*/ 18 w 195"/>
                  <a:gd name="T27" fmla="*/ 82 h 264"/>
                  <a:gd name="T28" fmla="*/ 27 w 195"/>
                  <a:gd name="T29" fmla="*/ 107 h 264"/>
                  <a:gd name="T30" fmla="*/ 25 w 195"/>
                  <a:gd name="T31" fmla="*/ 134 h 264"/>
                  <a:gd name="T32" fmla="*/ 34 w 195"/>
                  <a:gd name="T33" fmla="*/ 135 h 264"/>
                  <a:gd name="T34" fmla="*/ 21 w 195"/>
                  <a:gd name="T35" fmla="*/ 153 h 264"/>
                  <a:gd name="T36" fmla="*/ 9 w 195"/>
                  <a:gd name="T37" fmla="*/ 159 h 264"/>
                  <a:gd name="T38" fmla="*/ 4 w 195"/>
                  <a:gd name="T39" fmla="*/ 169 h 264"/>
                  <a:gd name="T40" fmla="*/ 2 w 195"/>
                  <a:gd name="T41" fmla="*/ 176 h 264"/>
                  <a:gd name="T42" fmla="*/ 29 w 195"/>
                  <a:gd name="T43" fmla="*/ 194 h 264"/>
                  <a:gd name="T44" fmla="*/ 48 w 195"/>
                  <a:gd name="T45" fmla="*/ 192 h 264"/>
                  <a:gd name="T46" fmla="*/ 70 w 195"/>
                  <a:gd name="T47" fmla="*/ 205 h 264"/>
                  <a:gd name="T48" fmla="*/ 79 w 195"/>
                  <a:gd name="T49" fmla="*/ 214 h 264"/>
                  <a:gd name="T50" fmla="*/ 84 w 195"/>
                  <a:gd name="T51" fmla="*/ 216 h 264"/>
                  <a:gd name="T52" fmla="*/ 87 w 195"/>
                  <a:gd name="T53" fmla="*/ 226 h 264"/>
                  <a:gd name="T54" fmla="*/ 93 w 195"/>
                  <a:gd name="T55" fmla="*/ 234 h 264"/>
                  <a:gd name="T56" fmla="*/ 104 w 195"/>
                  <a:gd name="T57" fmla="*/ 237 h 264"/>
                  <a:gd name="T58" fmla="*/ 111 w 195"/>
                  <a:gd name="T59" fmla="*/ 237 h 264"/>
                  <a:gd name="T60" fmla="*/ 120 w 195"/>
                  <a:gd name="T61" fmla="*/ 235 h 264"/>
                  <a:gd name="T62" fmla="*/ 127 w 195"/>
                  <a:gd name="T63" fmla="*/ 234 h 264"/>
                  <a:gd name="T64" fmla="*/ 143 w 195"/>
                  <a:gd name="T65" fmla="*/ 244 h 264"/>
                  <a:gd name="T66" fmla="*/ 136 w 195"/>
                  <a:gd name="T67" fmla="*/ 260 h 264"/>
                  <a:gd name="T68" fmla="*/ 145 w 195"/>
                  <a:gd name="T69" fmla="*/ 264 h 264"/>
                  <a:gd name="T70" fmla="*/ 146 w 195"/>
                  <a:gd name="T71" fmla="*/ 253 h 264"/>
                  <a:gd name="T72" fmla="*/ 152 w 195"/>
                  <a:gd name="T73" fmla="*/ 210 h 264"/>
                  <a:gd name="T74" fmla="*/ 155 w 195"/>
                  <a:gd name="T75" fmla="*/ 189 h 264"/>
                  <a:gd name="T76" fmla="*/ 157 w 195"/>
                  <a:gd name="T77" fmla="*/ 189 h 264"/>
                  <a:gd name="T78" fmla="*/ 152 w 195"/>
                  <a:gd name="T79" fmla="*/ 182 h 264"/>
                  <a:gd name="T80" fmla="*/ 146 w 195"/>
                  <a:gd name="T81" fmla="*/ 180 h 264"/>
                  <a:gd name="T82" fmla="*/ 171 w 195"/>
                  <a:gd name="T83" fmla="*/ 171 h 264"/>
                  <a:gd name="T84" fmla="*/ 173 w 195"/>
                  <a:gd name="T85" fmla="*/ 167 h 264"/>
                  <a:gd name="T86" fmla="*/ 182 w 195"/>
                  <a:gd name="T87" fmla="*/ 166 h 264"/>
                  <a:gd name="T88" fmla="*/ 191 w 195"/>
                  <a:gd name="T89" fmla="*/ 180 h 264"/>
                  <a:gd name="T90" fmla="*/ 180 w 195"/>
                  <a:gd name="T91" fmla="*/ 153 h 264"/>
                  <a:gd name="T92" fmla="*/ 187 w 195"/>
                  <a:gd name="T93" fmla="*/ 146 h 264"/>
                  <a:gd name="T94" fmla="*/ 187 w 195"/>
                  <a:gd name="T95" fmla="*/ 141 h 264"/>
                  <a:gd name="T96" fmla="*/ 180 w 195"/>
                  <a:gd name="T97" fmla="*/ 134 h 264"/>
                  <a:gd name="T98" fmla="*/ 179 w 195"/>
                  <a:gd name="T99" fmla="*/ 119 h 264"/>
                  <a:gd name="T100" fmla="*/ 182 w 195"/>
                  <a:gd name="T101" fmla="*/ 107 h 264"/>
                  <a:gd name="T102" fmla="*/ 184 w 195"/>
                  <a:gd name="T103" fmla="*/ 100 h 264"/>
                  <a:gd name="T104" fmla="*/ 166 w 195"/>
                  <a:gd name="T105" fmla="*/ 101 h 264"/>
                  <a:gd name="T106" fmla="*/ 154 w 195"/>
                  <a:gd name="T107" fmla="*/ 101 h 264"/>
                  <a:gd name="T108" fmla="*/ 145 w 195"/>
                  <a:gd name="T109" fmla="*/ 87 h 264"/>
                  <a:gd name="T110" fmla="*/ 111 w 195"/>
                  <a:gd name="T111" fmla="*/ 82 h 264"/>
                  <a:gd name="T112" fmla="*/ 105 w 195"/>
                  <a:gd name="T113" fmla="*/ 67 h 264"/>
                  <a:gd name="T114" fmla="*/ 102 w 195"/>
                  <a:gd name="T115" fmla="*/ 60 h 264"/>
                  <a:gd name="T116" fmla="*/ 98 w 195"/>
                  <a:gd name="T117" fmla="*/ 3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264">
                    <a:moveTo>
                      <a:pt x="123" y="9"/>
                    </a:moveTo>
                    <a:lnTo>
                      <a:pt x="125" y="7"/>
                    </a:lnTo>
                    <a:lnTo>
                      <a:pt x="125" y="5"/>
                    </a:lnTo>
                    <a:lnTo>
                      <a:pt x="125" y="3"/>
                    </a:lnTo>
                    <a:lnTo>
                      <a:pt x="123" y="1"/>
                    </a:lnTo>
                    <a:lnTo>
                      <a:pt x="118" y="0"/>
                    </a:lnTo>
                    <a:lnTo>
                      <a:pt x="116" y="0"/>
                    </a:lnTo>
                    <a:lnTo>
                      <a:pt x="116" y="0"/>
                    </a:lnTo>
                    <a:lnTo>
                      <a:pt x="114" y="0"/>
                    </a:lnTo>
                    <a:lnTo>
                      <a:pt x="114" y="3"/>
                    </a:lnTo>
                    <a:lnTo>
                      <a:pt x="112" y="3"/>
                    </a:lnTo>
                    <a:lnTo>
                      <a:pt x="112" y="3"/>
                    </a:lnTo>
                    <a:lnTo>
                      <a:pt x="111" y="3"/>
                    </a:lnTo>
                    <a:lnTo>
                      <a:pt x="111" y="5"/>
                    </a:lnTo>
                    <a:lnTo>
                      <a:pt x="109" y="9"/>
                    </a:lnTo>
                    <a:lnTo>
                      <a:pt x="86" y="17"/>
                    </a:lnTo>
                    <a:lnTo>
                      <a:pt x="77" y="17"/>
                    </a:lnTo>
                    <a:lnTo>
                      <a:pt x="77" y="17"/>
                    </a:lnTo>
                    <a:lnTo>
                      <a:pt x="73" y="25"/>
                    </a:lnTo>
                    <a:lnTo>
                      <a:pt x="73" y="26"/>
                    </a:lnTo>
                    <a:lnTo>
                      <a:pt x="71" y="26"/>
                    </a:lnTo>
                    <a:lnTo>
                      <a:pt x="71" y="23"/>
                    </a:lnTo>
                    <a:lnTo>
                      <a:pt x="71" y="23"/>
                    </a:lnTo>
                    <a:lnTo>
                      <a:pt x="64" y="23"/>
                    </a:lnTo>
                    <a:lnTo>
                      <a:pt x="64" y="23"/>
                    </a:lnTo>
                    <a:lnTo>
                      <a:pt x="55" y="28"/>
                    </a:lnTo>
                    <a:lnTo>
                      <a:pt x="55" y="30"/>
                    </a:lnTo>
                    <a:lnTo>
                      <a:pt x="54" y="46"/>
                    </a:lnTo>
                    <a:lnTo>
                      <a:pt x="52" y="48"/>
                    </a:lnTo>
                    <a:lnTo>
                      <a:pt x="46" y="48"/>
                    </a:lnTo>
                    <a:lnTo>
                      <a:pt x="39" y="57"/>
                    </a:lnTo>
                    <a:lnTo>
                      <a:pt x="36" y="60"/>
                    </a:lnTo>
                    <a:lnTo>
                      <a:pt x="34" y="60"/>
                    </a:lnTo>
                    <a:lnTo>
                      <a:pt x="34" y="62"/>
                    </a:lnTo>
                    <a:lnTo>
                      <a:pt x="36" y="62"/>
                    </a:lnTo>
                    <a:lnTo>
                      <a:pt x="36" y="69"/>
                    </a:lnTo>
                    <a:lnTo>
                      <a:pt x="36" y="71"/>
                    </a:lnTo>
                    <a:lnTo>
                      <a:pt x="36" y="71"/>
                    </a:lnTo>
                    <a:lnTo>
                      <a:pt x="34" y="69"/>
                    </a:lnTo>
                    <a:lnTo>
                      <a:pt x="25" y="60"/>
                    </a:lnTo>
                    <a:lnTo>
                      <a:pt x="25" y="60"/>
                    </a:lnTo>
                    <a:lnTo>
                      <a:pt x="25" y="64"/>
                    </a:lnTo>
                    <a:lnTo>
                      <a:pt x="25" y="64"/>
                    </a:lnTo>
                    <a:lnTo>
                      <a:pt x="27" y="64"/>
                    </a:lnTo>
                    <a:lnTo>
                      <a:pt x="27" y="67"/>
                    </a:lnTo>
                    <a:lnTo>
                      <a:pt x="27" y="69"/>
                    </a:lnTo>
                    <a:lnTo>
                      <a:pt x="29" y="69"/>
                    </a:lnTo>
                    <a:lnTo>
                      <a:pt x="29" y="69"/>
                    </a:lnTo>
                    <a:lnTo>
                      <a:pt x="29" y="71"/>
                    </a:lnTo>
                    <a:lnTo>
                      <a:pt x="23" y="76"/>
                    </a:lnTo>
                    <a:lnTo>
                      <a:pt x="21" y="76"/>
                    </a:lnTo>
                    <a:lnTo>
                      <a:pt x="21" y="76"/>
                    </a:lnTo>
                    <a:lnTo>
                      <a:pt x="21" y="78"/>
                    </a:lnTo>
                    <a:lnTo>
                      <a:pt x="18" y="80"/>
                    </a:lnTo>
                    <a:lnTo>
                      <a:pt x="18" y="82"/>
                    </a:lnTo>
                    <a:lnTo>
                      <a:pt x="18" y="82"/>
                    </a:lnTo>
                    <a:lnTo>
                      <a:pt x="21" y="89"/>
                    </a:lnTo>
                    <a:lnTo>
                      <a:pt x="25" y="92"/>
                    </a:lnTo>
                    <a:lnTo>
                      <a:pt x="25" y="94"/>
                    </a:lnTo>
                    <a:lnTo>
                      <a:pt x="27" y="107"/>
                    </a:lnTo>
                    <a:lnTo>
                      <a:pt x="25" y="110"/>
                    </a:lnTo>
                    <a:lnTo>
                      <a:pt x="25" y="112"/>
                    </a:lnTo>
                    <a:lnTo>
                      <a:pt x="27" y="126"/>
                    </a:lnTo>
                    <a:lnTo>
                      <a:pt x="25" y="134"/>
                    </a:lnTo>
                    <a:lnTo>
                      <a:pt x="25" y="135"/>
                    </a:lnTo>
                    <a:lnTo>
                      <a:pt x="27" y="137"/>
                    </a:lnTo>
                    <a:lnTo>
                      <a:pt x="30" y="137"/>
                    </a:lnTo>
                    <a:lnTo>
                      <a:pt x="34" y="135"/>
                    </a:lnTo>
                    <a:lnTo>
                      <a:pt x="34" y="137"/>
                    </a:lnTo>
                    <a:lnTo>
                      <a:pt x="32" y="139"/>
                    </a:lnTo>
                    <a:lnTo>
                      <a:pt x="25" y="146"/>
                    </a:lnTo>
                    <a:lnTo>
                      <a:pt x="21" y="153"/>
                    </a:lnTo>
                    <a:lnTo>
                      <a:pt x="21" y="155"/>
                    </a:lnTo>
                    <a:lnTo>
                      <a:pt x="16" y="157"/>
                    </a:lnTo>
                    <a:lnTo>
                      <a:pt x="12" y="157"/>
                    </a:lnTo>
                    <a:lnTo>
                      <a:pt x="9" y="159"/>
                    </a:lnTo>
                    <a:lnTo>
                      <a:pt x="5" y="166"/>
                    </a:lnTo>
                    <a:lnTo>
                      <a:pt x="7" y="167"/>
                    </a:lnTo>
                    <a:lnTo>
                      <a:pt x="7" y="169"/>
                    </a:lnTo>
                    <a:lnTo>
                      <a:pt x="4" y="169"/>
                    </a:lnTo>
                    <a:lnTo>
                      <a:pt x="2" y="171"/>
                    </a:lnTo>
                    <a:lnTo>
                      <a:pt x="0" y="173"/>
                    </a:lnTo>
                    <a:lnTo>
                      <a:pt x="0" y="175"/>
                    </a:lnTo>
                    <a:lnTo>
                      <a:pt x="2" y="176"/>
                    </a:lnTo>
                    <a:lnTo>
                      <a:pt x="2" y="176"/>
                    </a:lnTo>
                    <a:lnTo>
                      <a:pt x="4" y="178"/>
                    </a:lnTo>
                    <a:lnTo>
                      <a:pt x="25" y="189"/>
                    </a:lnTo>
                    <a:lnTo>
                      <a:pt x="29" y="194"/>
                    </a:lnTo>
                    <a:lnTo>
                      <a:pt x="45" y="196"/>
                    </a:lnTo>
                    <a:lnTo>
                      <a:pt x="45" y="194"/>
                    </a:lnTo>
                    <a:lnTo>
                      <a:pt x="46" y="192"/>
                    </a:lnTo>
                    <a:lnTo>
                      <a:pt x="48" y="192"/>
                    </a:lnTo>
                    <a:lnTo>
                      <a:pt x="57" y="200"/>
                    </a:lnTo>
                    <a:lnTo>
                      <a:pt x="66" y="201"/>
                    </a:lnTo>
                    <a:lnTo>
                      <a:pt x="68" y="201"/>
                    </a:lnTo>
                    <a:lnTo>
                      <a:pt x="70" y="205"/>
                    </a:lnTo>
                    <a:lnTo>
                      <a:pt x="70" y="205"/>
                    </a:lnTo>
                    <a:lnTo>
                      <a:pt x="73" y="207"/>
                    </a:lnTo>
                    <a:lnTo>
                      <a:pt x="77" y="212"/>
                    </a:lnTo>
                    <a:lnTo>
                      <a:pt x="79" y="214"/>
                    </a:lnTo>
                    <a:lnTo>
                      <a:pt x="79" y="216"/>
                    </a:lnTo>
                    <a:lnTo>
                      <a:pt x="80" y="216"/>
                    </a:lnTo>
                    <a:lnTo>
                      <a:pt x="82" y="216"/>
                    </a:lnTo>
                    <a:lnTo>
                      <a:pt x="84" y="216"/>
                    </a:lnTo>
                    <a:lnTo>
                      <a:pt x="86" y="217"/>
                    </a:lnTo>
                    <a:lnTo>
                      <a:pt x="86" y="219"/>
                    </a:lnTo>
                    <a:lnTo>
                      <a:pt x="87" y="226"/>
                    </a:lnTo>
                    <a:lnTo>
                      <a:pt x="87" y="226"/>
                    </a:lnTo>
                    <a:lnTo>
                      <a:pt x="89" y="226"/>
                    </a:lnTo>
                    <a:lnTo>
                      <a:pt x="91" y="226"/>
                    </a:lnTo>
                    <a:lnTo>
                      <a:pt x="93" y="228"/>
                    </a:lnTo>
                    <a:lnTo>
                      <a:pt x="93" y="234"/>
                    </a:lnTo>
                    <a:lnTo>
                      <a:pt x="95" y="237"/>
                    </a:lnTo>
                    <a:lnTo>
                      <a:pt x="98" y="237"/>
                    </a:lnTo>
                    <a:lnTo>
                      <a:pt x="100" y="237"/>
                    </a:lnTo>
                    <a:lnTo>
                      <a:pt x="104" y="237"/>
                    </a:lnTo>
                    <a:lnTo>
                      <a:pt x="105" y="239"/>
                    </a:lnTo>
                    <a:lnTo>
                      <a:pt x="109" y="239"/>
                    </a:lnTo>
                    <a:lnTo>
                      <a:pt x="111" y="237"/>
                    </a:lnTo>
                    <a:lnTo>
                      <a:pt x="111" y="237"/>
                    </a:lnTo>
                    <a:lnTo>
                      <a:pt x="112" y="235"/>
                    </a:lnTo>
                    <a:lnTo>
                      <a:pt x="112" y="235"/>
                    </a:lnTo>
                    <a:lnTo>
                      <a:pt x="114" y="234"/>
                    </a:lnTo>
                    <a:lnTo>
                      <a:pt x="120" y="235"/>
                    </a:lnTo>
                    <a:lnTo>
                      <a:pt x="121" y="235"/>
                    </a:lnTo>
                    <a:lnTo>
                      <a:pt x="123" y="237"/>
                    </a:lnTo>
                    <a:lnTo>
                      <a:pt x="125" y="235"/>
                    </a:lnTo>
                    <a:lnTo>
                      <a:pt x="127" y="234"/>
                    </a:lnTo>
                    <a:lnTo>
                      <a:pt x="130" y="235"/>
                    </a:lnTo>
                    <a:lnTo>
                      <a:pt x="139" y="239"/>
                    </a:lnTo>
                    <a:lnTo>
                      <a:pt x="143" y="242"/>
                    </a:lnTo>
                    <a:lnTo>
                      <a:pt x="143" y="244"/>
                    </a:lnTo>
                    <a:lnTo>
                      <a:pt x="134" y="255"/>
                    </a:lnTo>
                    <a:lnTo>
                      <a:pt x="134" y="259"/>
                    </a:lnTo>
                    <a:lnTo>
                      <a:pt x="134" y="259"/>
                    </a:lnTo>
                    <a:lnTo>
                      <a:pt x="136" y="260"/>
                    </a:lnTo>
                    <a:lnTo>
                      <a:pt x="137" y="259"/>
                    </a:lnTo>
                    <a:lnTo>
                      <a:pt x="139" y="260"/>
                    </a:lnTo>
                    <a:lnTo>
                      <a:pt x="143" y="264"/>
                    </a:lnTo>
                    <a:lnTo>
                      <a:pt x="145" y="264"/>
                    </a:lnTo>
                    <a:lnTo>
                      <a:pt x="145" y="262"/>
                    </a:lnTo>
                    <a:lnTo>
                      <a:pt x="146" y="260"/>
                    </a:lnTo>
                    <a:lnTo>
                      <a:pt x="146" y="253"/>
                    </a:lnTo>
                    <a:lnTo>
                      <a:pt x="146" y="253"/>
                    </a:lnTo>
                    <a:lnTo>
                      <a:pt x="150" y="242"/>
                    </a:lnTo>
                    <a:lnTo>
                      <a:pt x="150" y="241"/>
                    </a:lnTo>
                    <a:lnTo>
                      <a:pt x="154" y="219"/>
                    </a:lnTo>
                    <a:lnTo>
                      <a:pt x="152" y="210"/>
                    </a:lnTo>
                    <a:lnTo>
                      <a:pt x="143" y="201"/>
                    </a:lnTo>
                    <a:lnTo>
                      <a:pt x="143" y="191"/>
                    </a:lnTo>
                    <a:lnTo>
                      <a:pt x="152" y="187"/>
                    </a:lnTo>
                    <a:lnTo>
                      <a:pt x="155" y="189"/>
                    </a:lnTo>
                    <a:lnTo>
                      <a:pt x="155" y="189"/>
                    </a:lnTo>
                    <a:lnTo>
                      <a:pt x="155" y="189"/>
                    </a:lnTo>
                    <a:lnTo>
                      <a:pt x="157" y="189"/>
                    </a:lnTo>
                    <a:lnTo>
                      <a:pt x="157" y="189"/>
                    </a:lnTo>
                    <a:lnTo>
                      <a:pt x="157" y="184"/>
                    </a:lnTo>
                    <a:lnTo>
                      <a:pt x="155" y="182"/>
                    </a:lnTo>
                    <a:lnTo>
                      <a:pt x="152" y="182"/>
                    </a:lnTo>
                    <a:lnTo>
                      <a:pt x="152" y="182"/>
                    </a:lnTo>
                    <a:lnTo>
                      <a:pt x="148" y="182"/>
                    </a:lnTo>
                    <a:lnTo>
                      <a:pt x="148" y="182"/>
                    </a:lnTo>
                    <a:lnTo>
                      <a:pt x="146" y="180"/>
                    </a:lnTo>
                    <a:lnTo>
                      <a:pt x="146" y="180"/>
                    </a:lnTo>
                    <a:lnTo>
                      <a:pt x="146" y="180"/>
                    </a:lnTo>
                    <a:lnTo>
                      <a:pt x="146" y="171"/>
                    </a:lnTo>
                    <a:lnTo>
                      <a:pt x="146" y="171"/>
                    </a:lnTo>
                    <a:lnTo>
                      <a:pt x="171" y="171"/>
                    </a:lnTo>
                    <a:lnTo>
                      <a:pt x="171" y="169"/>
                    </a:lnTo>
                    <a:lnTo>
                      <a:pt x="171" y="167"/>
                    </a:lnTo>
                    <a:lnTo>
                      <a:pt x="173" y="167"/>
                    </a:lnTo>
                    <a:lnTo>
                      <a:pt x="173" y="167"/>
                    </a:lnTo>
                    <a:lnTo>
                      <a:pt x="175" y="167"/>
                    </a:lnTo>
                    <a:lnTo>
                      <a:pt x="177" y="169"/>
                    </a:lnTo>
                    <a:lnTo>
                      <a:pt x="177" y="169"/>
                    </a:lnTo>
                    <a:lnTo>
                      <a:pt x="182" y="166"/>
                    </a:lnTo>
                    <a:lnTo>
                      <a:pt x="186" y="166"/>
                    </a:lnTo>
                    <a:lnTo>
                      <a:pt x="187" y="167"/>
                    </a:lnTo>
                    <a:lnTo>
                      <a:pt x="189" y="171"/>
                    </a:lnTo>
                    <a:lnTo>
                      <a:pt x="191" y="180"/>
                    </a:lnTo>
                    <a:lnTo>
                      <a:pt x="195" y="178"/>
                    </a:lnTo>
                    <a:lnTo>
                      <a:pt x="195" y="178"/>
                    </a:lnTo>
                    <a:lnTo>
                      <a:pt x="186" y="159"/>
                    </a:lnTo>
                    <a:lnTo>
                      <a:pt x="180" y="153"/>
                    </a:lnTo>
                    <a:lnTo>
                      <a:pt x="180" y="153"/>
                    </a:lnTo>
                    <a:lnTo>
                      <a:pt x="186" y="148"/>
                    </a:lnTo>
                    <a:lnTo>
                      <a:pt x="186" y="148"/>
                    </a:lnTo>
                    <a:lnTo>
                      <a:pt x="187" y="146"/>
                    </a:lnTo>
                    <a:lnTo>
                      <a:pt x="187" y="146"/>
                    </a:lnTo>
                    <a:lnTo>
                      <a:pt x="187" y="144"/>
                    </a:lnTo>
                    <a:lnTo>
                      <a:pt x="187" y="142"/>
                    </a:lnTo>
                    <a:lnTo>
                      <a:pt x="187" y="141"/>
                    </a:lnTo>
                    <a:lnTo>
                      <a:pt x="186" y="139"/>
                    </a:lnTo>
                    <a:lnTo>
                      <a:pt x="184" y="137"/>
                    </a:lnTo>
                    <a:lnTo>
                      <a:pt x="180" y="135"/>
                    </a:lnTo>
                    <a:lnTo>
                      <a:pt x="180" y="134"/>
                    </a:lnTo>
                    <a:lnTo>
                      <a:pt x="180" y="126"/>
                    </a:lnTo>
                    <a:lnTo>
                      <a:pt x="179" y="125"/>
                    </a:lnTo>
                    <a:lnTo>
                      <a:pt x="179" y="121"/>
                    </a:lnTo>
                    <a:lnTo>
                      <a:pt x="179" y="119"/>
                    </a:lnTo>
                    <a:lnTo>
                      <a:pt x="180" y="116"/>
                    </a:lnTo>
                    <a:lnTo>
                      <a:pt x="180" y="114"/>
                    </a:lnTo>
                    <a:lnTo>
                      <a:pt x="182" y="110"/>
                    </a:lnTo>
                    <a:lnTo>
                      <a:pt x="182" y="107"/>
                    </a:lnTo>
                    <a:lnTo>
                      <a:pt x="184" y="105"/>
                    </a:lnTo>
                    <a:lnTo>
                      <a:pt x="186" y="103"/>
                    </a:lnTo>
                    <a:lnTo>
                      <a:pt x="186" y="101"/>
                    </a:lnTo>
                    <a:lnTo>
                      <a:pt x="184" y="100"/>
                    </a:lnTo>
                    <a:lnTo>
                      <a:pt x="184" y="98"/>
                    </a:lnTo>
                    <a:lnTo>
                      <a:pt x="182" y="98"/>
                    </a:lnTo>
                    <a:lnTo>
                      <a:pt x="171" y="101"/>
                    </a:lnTo>
                    <a:lnTo>
                      <a:pt x="166" y="101"/>
                    </a:lnTo>
                    <a:lnTo>
                      <a:pt x="162" y="100"/>
                    </a:lnTo>
                    <a:lnTo>
                      <a:pt x="159" y="100"/>
                    </a:lnTo>
                    <a:lnTo>
                      <a:pt x="159" y="101"/>
                    </a:lnTo>
                    <a:lnTo>
                      <a:pt x="154" y="101"/>
                    </a:lnTo>
                    <a:lnTo>
                      <a:pt x="154" y="100"/>
                    </a:lnTo>
                    <a:lnTo>
                      <a:pt x="154" y="100"/>
                    </a:lnTo>
                    <a:lnTo>
                      <a:pt x="145" y="89"/>
                    </a:lnTo>
                    <a:lnTo>
                      <a:pt x="145" y="87"/>
                    </a:lnTo>
                    <a:lnTo>
                      <a:pt x="136" y="84"/>
                    </a:lnTo>
                    <a:lnTo>
                      <a:pt x="121" y="87"/>
                    </a:lnTo>
                    <a:lnTo>
                      <a:pt x="112" y="84"/>
                    </a:lnTo>
                    <a:lnTo>
                      <a:pt x="111" y="82"/>
                    </a:lnTo>
                    <a:lnTo>
                      <a:pt x="111" y="82"/>
                    </a:lnTo>
                    <a:lnTo>
                      <a:pt x="107" y="80"/>
                    </a:lnTo>
                    <a:lnTo>
                      <a:pt x="107" y="78"/>
                    </a:lnTo>
                    <a:lnTo>
                      <a:pt x="105" y="67"/>
                    </a:lnTo>
                    <a:lnTo>
                      <a:pt x="105" y="66"/>
                    </a:lnTo>
                    <a:lnTo>
                      <a:pt x="104" y="64"/>
                    </a:lnTo>
                    <a:lnTo>
                      <a:pt x="104" y="64"/>
                    </a:lnTo>
                    <a:lnTo>
                      <a:pt x="102" y="60"/>
                    </a:lnTo>
                    <a:lnTo>
                      <a:pt x="98" y="51"/>
                    </a:lnTo>
                    <a:lnTo>
                      <a:pt x="98" y="51"/>
                    </a:lnTo>
                    <a:lnTo>
                      <a:pt x="91" y="51"/>
                    </a:lnTo>
                    <a:lnTo>
                      <a:pt x="98" y="30"/>
                    </a:lnTo>
                    <a:lnTo>
                      <a:pt x="114" y="10"/>
                    </a:lnTo>
                    <a:lnTo>
                      <a:pt x="118" y="9"/>
                    </a:lnTo>
                    <a:lnTo>
                      <a:pt x="123" y="9"/>
                    </a:lnTo>
                  </a:path>
                </a:pathLst>
              </a:custGeom>
              <a:pattFill prst="pct50">
                <a:fgClr>
                  <a:srgbClr val="4C2008"/>
                </a:fgClr>
                <a:bgClr>
                  <a:schemeClr val="bg1"/>
                </a:bgClr>
              </a:patt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25" name="Freeform 3281"/>
              <p:cNvSpPr>
                <a:spLocks/>
              </p:cNvSpPr>
              <p:nvPr/>
            </p:nvSpPr>
            <p:spPr bwMode="auto">
              <a:xfrm>
                <a:off x="1582" y="2866"/>
                <a:ext cx="191" cy="222"/>
              </a:xfrm>
              <a:custGeom>
                <a:avLst/>
                <a:gdLst>
                  <a:gd name="T0" fmla="*/ 0 w 191"/>
                  <a:gd name="T1" fmla="*/ 20 h 222"/>
                  <a:gd name="T2" fmla="*/ 7 w 191"/>
                  <a:gd name="T3" fmla="*/ 22 h 222"/>
                  <a:gd name="T4" fmla="*/ 34 w 191"/>
                  <a:gd name="T5" fmla="*/ 16 h 222"/>
                  <a:gd name="T6" fmla="*/ 66 w 191"/>
                  <a:gd name="T7" fmla="*/ 0 h 222"/>
                  <a:gd name="T8" fmla="*/ 70 w 191"/>
                  <a:gd name="T9" fmla="*/ 4 h 222"/>
                  <a:gd name="T10" fmla="*/ 68 w 191"/>
                  <a:gd name="T11" fmla="*/ 25 h 222"/>
                  <a:gd name="T12" fmla="*/ 70 w 191"/>
                  <a:gd name="T13" fmla="*/ 34 h 222"/>
                  <a:gd name="T14" fmla="*/ 82 w 191"/>
                  <a:gd name="T15" fmla="*/ 45 h 222"/>
                  <a:gd name="T16" fmla="*/ 102 w 191"/>
                  <a:gd name="T17" fmla="*/ 50 h 222"/>
                  <a:gd name="T18" fmla="*/ 105 w 191"/>
                  <a:gd name="T19" fmla="*/ 54 h 222"/>
                  <a:gd name="T20" fmla="*/ 125 w 191"/>
                  <a:gd name="T21" fmla="*/ 63 h 222"/>
                  <a:gd name="T22" fmla="*/ 143 w 191"/>
                  <a:gd name="T23" fmla="*/ 68 h 222"/>
                  <a:gd name="T24" fmla="*/ 146 w 191"/>
                  <a:gd name="T25" fmla="*/ 79 h 222"/>
                  <a:gd name="T26" fmla="*/ 148 w 191"/>
                  <a:gd name="T27" fmla="*/ 90 h 222"/>
                  <a:gd name="T28" fmla="*/ 146 w 191"/>
                  <a:gd name="T29" fmla="*/ 93 h 222"/>
                  <a:gd name="T30" fmla="*/ 178 w 191"/>
                  <a:gd name="T31" fmla="*/ 109 h 222"/>
                  <a:gd name="T32" fmla="*/ 180 w 191"/>
                  <a:gd name="T33" fmla="*/ 111 h 222"/>
                  <a:gd name="T34" fmla="*/ 178 w 191"/>
                  <a:gd name="T35" fmla="*/ 118 h 222"/>
                  <a:gd name="T36" fmla="*/ 186 w 191"/>
                  <a:gd name="T37" fmla="*/ 127 h 222"/>
                  <a:gd name="T38" fmla="*/ 191 w 191"/>
                  <a:gd name="T39" fmla="*/ 138 h 222"/>
                  <a:gd name="T40" fmla="*/ 187 w 191"/>
                  <a:gd name="T41" fmla="*/ 163 h 222"/>
                  <a:gd name="T42" fmla="*/ 187 w 191"/>
                  <a:gd name="T43" fmla="*/ 168 h 222"/>
                  <a:gd name="T44" fmla="*/ 187 w 191"/>
                  <a:gd name="T45" fmla="*/ 172 h 222"/>
                  <a:gd name="T46" fmla="*/ 186 w 191"/>
                  <a:gd name="T47" fmla="*/ 174 h 222"/>
                  <a:gd name="T48" fmla="*/ 157 w 191"/>
                  <a:gd name="T49" fmla="*/ 159 h 222"/>
                  <a:gd name="T50" fmla="*/ 123 w 191"/>
                  <a:gd name="T51" fmla="*/ 174 h 222"/>
                  <a:gd name="T52" fmla="*/ 116 w 191"/>
                  <a:gd name="T53" fmla="*/ 195 h 222"/>
                  <a:gd name="T54" fmla="*/ 109 w 191"/>
                  <a:gd name="T55" fmla="*/ 209 h 222"/>
                  <a:gd name="T56" fmla="*/ 89 w 191"/>
                  <a:gd name="T57" fmla="*/ 206 h 222"/>
                  <a:gd name="T58" fmla="*/ 84 w 191"/>
                  <a:gd name="T59" fmla="*/ 216 h 222"/>
                  <a:gd name="T60" fmla="*/ 82 w 191"/>
                  <a:gd name="T61" fmla="*/ 213 h 222"/>
                  <a:gd name="T62" fmla="*/ 79 w 191"/>
                  <a:gd name="T63" fmla="*/ 211 h 222"/>
                  <a:gd name="T64" fmla="*/ 61 w 191"/>
                  <a:gd name="T65" fmla="*/ 208 h 222"/>
                  <a:gd name="T66" fmla="*/ 55 w 191"/>
                  <a:gd name="T67" fmla="*/ 202 h 222"/>
                  <a:gd name="T68" fmla="*/ 43 w 191"/>
                  <a:gd name="T69" fmla="*/ 216 h 222"/>
                  <a:gd name="T70" fmla="*/ 39 w 191"/>
                  <a:gd name="T71" fmla="*/ 220 h 222"/>
                  <a:gd name="T72" fmla="*/ 36 w 191"/>
                  <a:gd name="T73" fmla="*/ 220 h 222"/>
                  <a:gd name="T74" fmla="*/ 29 w 191"/>
                  <a:gd name="T75" fmla="*/ 222 h 222"/>
                  <a:gd name="T76" fmla="*/ 23 w 191"/>
                  <a:gd name="T77" fmla="*/ 197 h 222"/>
                  <a:gd name="T78" fmla="*/ 21 w 191"/>
                  <a:gd name="T79" fmla="*/ 186 h 222"/>
                  <a:gd name="T80" fmla="*/ 16 w 191"/>
                  <a:gd name="T81" fmla="*/ 183 h 222"/>
                  <a:gd name="T82" fmla="*/ 14 w 191"/>
                  <a:gd name="T83" fmla="*/ 177 h 222"/>
                  <a:gd name="T84" fmla="*/ 14 w 191"/>
                  <a:gd name="T85" fmla="*/ 170 h 222"/>
                  <a:gd name="T86" fmla="*/ 16 w 191"/>
                  <a:gd name="T87" fmla="*/ 168 h 222"/>
                  <a:gd name="T88" fmla="*/ 16 w 191"/>
                  <a:gd name="T89" fmla="*/ 166 h 222"/>
                  <a:gd name="T90" fmla="*/ 16 w 191"/>
                  <a:gd name="T91" fmla="*/ 163 h 222"/>
                  <a:gd name="T92" fmla="*/ 18 w 191"/>
                  <a:gd name="T93" fmla="*/ 159 h 222"/>
                  <a:gd name="T94" fmla="*/ 7 w 191"/>
                  <a:gd name="T95" fmla="*/ 138 h 222"/>
                  <a:gd name="T96" fmla="*/ 4 w 191"/>
                  <a:gd name="T97" fmla="*/ 134 h 222"/>
                  <a:gd name="T98" fmla="*/ 0 w 191"/>
                  <a:gd name="T99" fmla="*/ 131 h 222"/>
                  <a:gd name="T100" fmla="*/ 0 w 191"/>
                  <a:gd name="T101" fmla="*/ 129 h 222"/>
                  <a:gd name="T102" fmla="*/ 9 w 191"/>
                  <a:gd name="T103" fmla="*/ 113 h 222"/>
                  <a:gd name="T104" fmla="*/ 9 w 191"/>
                  <a:gd name="T105" fmla="*/ 109 h 222"/>
                  <a:gd name="T106" fmla="*/ 7 w 191"/>
                  <a:gd name="T107" fmla="*/ 108 h 222"/>
                  <a:gd name="T108" fmla="*/ 5 w 191"/>
                  <a:gd name="T109" fmla="*/ 106 h 222"/>
                  <a:gd name="T110" fmla="*/ 5 w 191"/>
                  <a:gd name="T111" fmla="*/ 93 h 222"/>
                  <a:gd name="T112" fmla="*/ 7 w 191"/>
                  <a:gd name="T113" fmla="*/ 91 h 222"/>
                  <a:gd name="T114" fmla="*/ 7 w 191"/>
                  <a:gd name="T115" fmla="*/ 88 h 222"/>
                  <a:gd name="T116" fmla="*/ 4 w 191"/>
                  <a:gd name="T117" fmla="*/ 83 h 222"/>
                  <a:gd name="T118" fmla="*/ 9 w 191"/>
                  <a:gd name="T119" fmla="*/ 79 h 222"/>
                  <a:gd name="T120" fmla="*/ 9 w 191"/>
                  <a:gd name="T121" fmla="*/ 52 h 222"/>
                  <a:gd name="T122" fmla="*/ 14 w 191"/>
                  <a:gd name="T123" fmla="*/ 47 h 222"/>
                  <a:gd name="T124" fmla="*/ 0 w 191"/>
                  <a:gd name="T125" fmla="*/ 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1" h="222">
                    <a:moveTo>
                      <a:pt x="0" y="22"/>
                    </a:moveTo>
                    <a:lnTo>
                      <a:pt x="0" y="20"/>
                    </a:lnTo>
                    <a:lnTo>
                      <a:pt x="2" y="20"/>
                    </a:lnTo>
                    <a:lnTo>
                      <a:pt x="7" y="22"/>
                    </a:lnTo>
                    <a:lnTo>
                      <a:pt x="20" y="24"/>
                    </a:lnTo>
                    <a:lnTo>
                      <a:pt x="34" y="16"/>
                    </a:lnTo>
                    <a:lnTo>
                      <a:pt x="46" y="4"/>
                    </a:lnTo>
                    <a:lnTo>
                      <a:pt x="66" y="0"/>
                    </a:lnTo>
                    <a:lnTo>
                      <a:pt x="68" y="2"/>
                    </a:lnTo>
                    <a:lnTo>
                      <a:pt x="70" y="4"/>
                    </a:lnTo>
                    <a:lnTo>
                      <a:pt x="70" y="22"/>
                    </a:lnTo>
                    <a:lnTo>
                      <a:pt x="68" y="25"/>
                    </a:lnTo>
                    <a:lnTo>
                      <a:pt x="68" y="27"/>
                    </a:lnTo>
                    <a:lnTo>
                      <a:pt x="70" y="34"/>
                    </a:lnTo>
                    <a:lnTo>
                      <a:pt x="73" y="40"/>
                    </a:lnTo>
                    <a:lnTo>
                      <a:pt x="82" y="45"/>
                    </a:lnTo>
                    <a:lnTo>
                      <a:pt x="102" y="49"/>
                    </a:lnTo>
                    <a:lnTo>
                      <a:pt x="102" y="50"/>
                    </a:lnTo>
                    <a:lnTo>
                      <a:pt x="104" y="50"/>
                    </a:lnTo>
                    <a:lnTo>
                      <a:pt x="105" y="54"/>
                    </a:lnTo>
                    <a:lnTo>
                      <a:pt x="120" y="58"/>
                    </a:lnTo>
                    <a:lnTo>
                      <a:pt x="125" y="63"/>
                    </a:lnTo>
                    <a:lnTo>
                      <a:pt x="136" y="63"/>
                    </a:lnTo>
                    <a:lnTo>
                      <a:pt x="143" y="68"/>
                    </a:lnTo>
                    <a:lnTo>
                      <a:pt x="146" y="75"/>
                    </a:lnTo>
                    <a:lnTo>
                      <a:pt x="146" y="79"/>
                    </a:lnTo>
                    <a:lnTo>
                      <a:pt x="150" y="83"/>
                    </a:lnTo>
                    <a:lnTo>
                      <a:pt x="148" y="90"/>
                    </a:lnTo>
                    <a:lnTo>
                      <a:pt x="146" y="91"/>
                    </a:lnTo>
                    <a:lnTo>
                      <a:pt x="146" y="93"/>
                    </a:lnTo>
                    <a:lnTo>
                      <a:pt x="152" y="108"/>
                    </a:lnTo>
                    <a:lnTo>
                      <a:pt x="178" y="109"/>
                    </a:lnTo>
                    <a:lnTo>
                      <a:pt x="178" y="109"/>
                    </a:lnTo>
                    <a:lnTo>
                      <a:pt x="180" y="111"/>
                    </a:lnTo>
                    <a:lnTo>
                      <a:pt x="180" y="113"/>
                    </a:lnTo>
                    <a:lnTo>
                      <a:pt x="178" y="118"/>
                    </a:lnTo>
                    <a:lnTo>
                      <a:pt x="180" y="125"/>
                    </a:lnTo>
                    <a:lnTo>
                      <a:pt x="186" y="127"/>
                    </a:lnTo>
                    <a:lnTo>
                      <a:pt x="186" y="127"/>
                    </a:lnTo>
                    <a:lnTo>
                      <a:pt x="191" y="138"/>
                    </a:lnTo>
                    <a:lnTo>
                      <a:pt x="191" y="158"/>
                    </a:lnTo>
                    <a:lnTo>
                      <a:pt x="187" y="163"/>
                    </a:lnTo>
                    <a:lnTo>
                      <a:pt x="187" y="166"/>
                    </a:lnTo>
                    <a:lnTo>
                      <a:pt x="187" y="168"/>
                    </a:lnTo>
                    <a:lnTo>
                      <a:pt x="187" y="172"/>
                    </a:lnTo>
                    <a:lnTo>
                      <a:pt x="187" y="172"/>
                    </a:lnTo>
                    <a:lnTo>
                      <a:pt x="186" y="174"/>
                    </a:lnTo>
                    <a:lnTo>
                      <a:pt x="186" y="174"/>
                    </a:lnTo>
                    <a:lnTo>
                      <a:pt x="173" y="159"/>
                    </a:lnTo>
                    <a:lnTo>
                      <a:pt x="157" y="159"/>
                    </a:lnTo>
                    <a:lnTo>
                      <a:pt x="125" y="168"/>
                    </a:lnTo>
                    <a:lnTo>
                      <a:pt x="123" y="174"/>
                    </a:lnTo>
                    <a:lnTo>
                      <a:pt x="116" y="184"/>
                    </a:lnTo>
                    <a:lnTo>
                      <a:pt x="116" y="195"/>
                    </a:lnTo>
                    <a:lnTo>
                      <a:pt x="111" y="211"/>
                    </a:lnTo>
                    <a:lnTo>
                      <a:pt x="109" y="209"/>
                    </a:lnTo>
                    <a:lnTo>
                      <a:pt x="105" y="208"/>
                    </a:lnTo>
                    <a:lnTo>
                      <a:pt x="89" y="206"/>
                    </a:lnTo>
                    <a:lnTo>
                      <a:pt x="86" y="216"/>
                    </a:lnTo>
                    <a:lnTo>
                      <a:pt x="84" y="216"/>
                    </a:lnTo>
                    <a:lnTo>
                      <a:pt x="82" y="215"/>
                    </a:lnTo>
                    <a:lnTo>
                      <a:pt x="82" y="213"/>
                    </a:lnTo>
                    <a:lnTo>
                      <a:pt x="80" y="213"/>
                    </a:lnTo>
                    <a:lnTo>
                      <a:pt x="79" y="211"/>
                    </a:lnTo>
                    <a:lnTo>
                      <a:pt x="79" y="209"/>
                    </a:lnTo>
                    <a:lnTo>
                      <a:pt x="61" y="208"/>
                    </a:lnTo>
                    <a:lnTo>
                      <a:pt x="57" y="202"/>
                    </a:lnTo>
                    <a:lnTo>
                      <a:pt x="55" y="202"/>
                    </a:lnTo>
                    <a:lnTo>
                      <a:pt x="43" y="215"/>
                    </a:lnTo>
                    <a:lnTo>
                      <a:pt x="43" y="216"/>
                    </a:lnTo>
                    <a:lnTo>
                      <a:pt x="41" y="218"/>
                    </a:lnTo>
                    <a:lnTo>
                      <a:pt x="39" y="220"/>
                    </a:lnTo>
                    <a:lnTo>
                      <a:pt x="39" y="220"/>
                    </a:lnTo>
                    <a:lnTo>
                      <a:pt x="36" y="220"/>
                    </a:lnTo>
                    <a:lnTo>
                      <a:pt x="34" y="222"/>
                    </a:lnTo>
                    <a:lnTo>
                      <a:pt x="29" y="222"/>
                    </a:lnTo>
                    <a:lnTo>
                      <a:pt x="27" y="220"/>
                    </a:lnTo>
                    <a:lnTo>
                      <a:pt x="23" y="197"/>
                    </a:lnTo>
                    <a:lnTo>
                      <a:pt x="21" y="193"/>
                    </a:lnTo>
                    <a:lnTo>
                      <a:pt x="21" y="186"/>
                    </a:lnTo>
                    <a:lnTo>
                      <a:pt x="18" y="184"/>
                    </a:lnTo>
                    <a:lnTo>
                      <a:pt x="16" y="183"/>
                    </a:lnTo>
                    <a:lnTo>
                      <a:pt x="16" y="177"/>
                    </a:lnTo>
                    <a:lnTo>
                      <a:pt x="14" y="177"/>
                    </a:lnTo>
                    <a:lnTo>
                      <a:pt x="12" y="175"/>
                    </a:lnTo>
                    <a:lnTo>
                      <a:pt x="14" y="170"/>
                    </a:lnTo>
                    <a:lnTo>
                      <a:pt x="14" y="170"/>
                    </a:lnTo>
                    <a:lnTo>
                      <a:pt x="16" y="168"/>
                    </a:lnTo>
                    <a:lnTo>
                      <a:pt x="16" y="168"/>
                    </a:lnTo>
                    <a:lnTo>
                      <a:pt x="16" y="166"/>
                    </a:lnTo>
                    <a:lnTo>
                      <a:pt x="16" y="166"/>
                    </a:lnTo>
                    <a:lnTo>
                      <a:pt x="16" y="163"/>
                    </a:lnTo>
                    <a:lnTo>
                      <a:pt x="18" y="163"/>
                    </a:lnTo>
                    <a:lnTo>
                      <a:pt x="18" y="159"/>
                    </a:lnTo>
                    <a:lnTo>
                      <a:pt x="9" y="152"/>
                    </a:lnTo>
                    <a:lnTo>
                      <a:pt x="7" y="138"/>
                    </a:lnTo>
                    <a:lnTo>
                      <a:pt x="5" y="136"/>
                    </a:lnTo>
                    <a:lnTo>
                      <a:pt x="4" y="134"/>
                    </a:lnTo>
                    <a:lnTo>
                      <a:pt x="2" y="131"/>
                    </a:lnTo>
                    <a:lnTo>
                      <a:pt x="0" y="131"/>
                    </a:lnTo>
                    <a:lnTo>
                      <a:pt x="0" y="129"/>
                    </a:lnTo>
                    <a:lnTo>
                      <a:pt x="0" y="129"/>
                    </a:lnTo>
                    <a:lnTo>
                      <a:pt x="0" y="127"/>
                    </a:lnTo>
                    <a:lnTo>
                      <a:pt x="9" y="113"/>
                    </a:lnTo>
                    <a:lnTo>
                      <a:pt x="9" y="109"/>
                    </a:lnTo>
                    <a:lnTo>
                      <a:pt x="9" y="109"/>
                    </a:lnTo>
                    <a:lnTo>
                      <a:pt x="7" y="108"/>
                    </a:lnTo>
                    <a:lnTo>
                      <a:pt x="7" y="108"/>
                    </a:lnTo>
                    <a:lnTo>
                      <a:pt x="5" y="106"/>
                    </a:lnTo>
                    <a:lnTo>
                      <a:pt x="5" y="106"/>
                    </a:lnTo>
                    <a:lnTo>
                      <a:pt x="4" y="97"/>
                    </a:lnTo>
                    <a:lnTo>
                      <a:pt x="5" y="93"/>
                    </a:lnTo>
                    <a:lnTo>
                      <a:pt x="7" y="93"/>
                    </a:lnTo>
                    <a:lnTo>
                      <a:pt x="7" y="91"/>
                    </a:lnTo>
                    <a:lnTo>
                      <a:pt x="7" y="90"/>
                    </a:lnTo>
                    <a:lnTo>
                      <a:pt x="7" y="88"/>
                    </a:lnTo>
                    <a:lnTo>
                      <a:pt x="4" y="84"/>
                    </a:lnTo>
                    <a:lnTo>
                      <a:pt x="4" y="83"/>
                    </a:lnTo>
                    <a:lnTo>
                      <a:pt x="5" y="81"/>
                    </a:lnTo>
                    <a:lnTo>
                      <a:pt x="9" y="79"/>
                    </a:lnTo>
                    <a:lnTo>
                      <a:pt x="9" y="79"/>
                    </a:lnTo>
                    <a:lnTo>
                      <a:pt x="9" y="52"/>
                    </a:lnTo>
                    <a:lnTo>
                      <a:pt x="11" y="49"/>
                    </a:lnTo>
                    <a:lnTo>
                      <a:pt x="14" y="47"/>
                    </a:lnTo>
                    <a:lnTo>
                      <a:pt x="14" y="45"/>
                    </a:lnTo>
                    <a:lnTo>
                      <a:pt x="0" y="2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26" name="Freeform 3282"/>
              <p:cNvSpPr>
                <a:spLocks/>
              </p:cNvSpPr>
              <p:nvPr/>
            </p:nvSpPr>
            <p:spPr bwMode="auto">
              <a:xfrm>
                <a:off x="1582" y="2866"/>
                <a:ext cx="191" cy="222"/>
              </a:xfrm>
              <a:custGeom>
                <a:avLst/>
                <a:gdLst>
                  <a:gd name="T0" fmla="*/ 0 w 191"/>
                  <a:gd name="T1" fmla="*/ 20 h 222"/>
                  <a:gd name="T2" fmla="*/ 7 w 191"/>
                  <a:gd name="T3" fmla="*/ 22 h 222"/>
                  <a:gd name="T4" fmla="*/ 34 w 191"/>
                  <a:gd name="T5" fmla="*/ 16 h 222"/>
                  <a:gd name="T6" fmla="*/ 66 w 191"/>
                  <a:gd name="T7" fmla="*/ 0 h 222"/>
                  <a:gd name="T8" fmla="*/ 70 w 191"/>
                  <a:gd name="T9" fmla="*/ 4 h 222"/>
                  <a:gd name="T10" fmla="*/ 68 w 191"/>
                  <a:gd name="T11" fmla="*/ 25 h 222"/>
                  <a:gd name="T12" fmla="*/ 70 w 191"/>
                  <a:gd name="T13" fmla="*/ 34 h 222"/>
                  <a:gd name="T14" fmla="*/ 82 w 191"/>
                  <a:gd name="T15" fmla="*/ 45 h 222"/>
                  <a:gd name="T16" fmla="*/ 102 w 191"/>
                  <a:gd name="T17" fmla="*/ 50 h 222"/>
                  <a:gd name="T18" fmla="*/ 105 w 191"/>
                  <a:gd name="T19" fmla="*/ 54 h 222"/>
                  <a:gd name="T20" fmla="*/ 125 w 191"/>
                  <a:gd name="T21" fmla="*/ 63 h 222"/>
                  <a:gd name="T22" fmla="*/ 143 w 191"/>
                  <a:gd name="T23" fmla="*/ 68 h 222"/>
                  <a:gd name="T24" fmla="*/ 146 w 191"/>
                  <a:gd name="T25" fmla="*/ 79 h 222"/>
                  <a:gd name="T26" fmla="*/ 148 w 191"/>
                  <a:gd name="T27" fmla="*/ 90 h 222"/>
                  <a:gd name="T28" fmla="*/ 146 w 191"/>
                  <a:gd name="T29" fmla="*/ 93 h 222"/>
                  <a:gd name="T30" fmla="*/ 178 w 191"/>
                  <a:gd name="T31" fmla="*/ 109 h 222"/>
                  <a:gd name="T32" fmla="*/ 180 w 191"/>
                  <a:gd name="T33" fmla="*/ 111 h 222"/>
                  <a:gd name="T34" fmla="*/ 178 w 191"/>
                  <a:gd name="T35" fmla="*/ 118 h 222"/>
                  <a:gd name="T36" fmla="*/ 186 w 191"/>
                  <a:gd name="T37" fmla="*/ 127 h 222"/>
                  <a:gd name="T38" fmla="*/ 191 w 191"/>
                  <a:gd name="T39" fmla="*/ 138 h 222"/>
                  <a:gd name="T40" fmla="*/ 187 w 191"/>
                  <a:gd name="T41" fmla="*/ 163 h 222"/>
                  <a:gd name="T42" fmla="*/ 187 w 191"/>
                  <a:gd name="T43" fmla="*/ 168 h 222"/>
                  <a:gd name="T44" fmla="*/ 187 w 191"/>
                  <a:gd name="T45" fmla="*/ 172 h 222"/>
                  <a:gd name="T46" fmla="*/ 186 w 191"/>
                  <a:gd name="T47" fmla="*/ 174 h 222"/>
                  <a:gd name="T48" fmla="*/ 157 w 191"/>
                  <a:gd name="T49" fmla="*/ 159 h 222"/>
                  <a:gd name="T50" fmla="*/ 123 w 191"/>
                  <a:gd name="T51" fmla="*/ 174 h 222"/>
                  <a:gd name="T52" fmla="*/ 116 w 191"/>
                  <a:gd name="T53" fmla="*/ 195 h 222"/>
                  <a:gd name="T54" fmla="*/ 109 w 191"/>
                  <a:gd name="T55" fmla="*/ 209 h 222"/>
                  <a:gd name="T56" fmla="*/ 89 w 191"/>
                  <a:gd name="T57" fmla="*/ 206 h 222"/>
                  <a:gd name="T58" fmla="*/ 84 w 191"/>
                  <a:gd name="T59" fmla="*/ 216 h 222"/>
                  <a:gd name="T60" fmla="*/ 82 w 191"/>
                  <a:gd name="T61" fmla="*/ 213 h 222"/>
                  <a:gd name="T62" fmla="*/ 79 w 191"/>
                  <a:gd name="T63" fmla="*/ 211 h 222"/>
                  <a:gd name="T64" fmla="*/ 61 w 191"/>
                  <a:gd name="T65" fmla="*/ 208 h 222"/>
                  <a:gd name="T66" fmla="*/ 55 w 191"/>
                  <a:gd name="T67" fmla="*/ 202 h 222"/>
                  <a:gd name="T68" fmla="*/ 43 w 191"/>
                  <a:gd name="T69" fmla="*/ 216 h 222"/>
                  <a:gd name="T70" fmla="*/ 39 w 191"/>
                  <a:gd name="T71" fmla="*/ 220 h 222"/>
                  <a:gd name="T72" fmla="*/ 36 w 191"/>
                  <a:gd name="T73" fmla="*/ 220 h 222"/>
                  <a:gd name="T74" fmla="*/ 29 w 191"/>
                  <a:gd name="T75" fmla="*/ 222 h 222"/>
                  <a:gd name="T76" fmla="*/ 23 w 191"/>
                  <a:gd name="T77" fmla="*/ 197 h 222"/>
                  <a:gd name="T78" fmla="*/ 21 w 191"/>
                  <a:gd name="T79" fmla="*/ 186 h 222"/>
                  <a:gd name="T80" fmla="*/ 16 w 191"/>
                  <a:gd name="T81" fmla="*/ 183 h 222"/>
                  <a:gd name="T82" fmla="*/ 14 w 191"/>
                  <a:gd name="T83" fmla="*/ 177 h 222"/>
                  <a:gd name="T84" fmla="*/ 14 w 191"/>
                  <a:gd name="T85" fmla="*/ 170 h 222"/>
                  <a:gd name="T86" fmla="*/ 16 w 191"/>
                  <a:gd name="T87" fmla="*/ 168 h 222"/>
                  <a:gd name="T88" fmla="*/ 16 w 191"/>
                  <a:gd name="T89" fmla="*/ 166 h 222"/>
                  <a:gd name="T90" fmla="*/ 16 w 191"/>
                  <a:gd name="T91" fmla="*/ 163 h 222"/>
                  <a:gd name="T92" fmla="*/ 18 w 191"/>
                  <a:gd name="T93" fmla="*/ 159 h 222"/>
                  <a:gd name="T94" fmla="*/ 7 w 191"/>
                  <a:gd name="T95" fmla="*/ 138 h 222"/>
                  <a:gd name="T96" fmla="*/ 4 w 191"/>
                  <a:gd name="T97" fmla="*/ 134 h 222"/>
                  <a:gd name="T98" fmla="*/ 0 w 191"/>
                  <a:gd name="T99" fmla="*/ 131 h 222"/>
                  <a:gd name="T100" fmla="*/ 0 w 191"/>
                  <a:gd name="T101" fmla="*/ 129 h 222"/>
                  <a:gd name="T102" fmla="*/ 9 w 191"/>
                  <a:gd name="T103" fmla="*/ 113 h 222"/>
                  <a:gd name="T104" fmla="*/ 9 w 191"/>
                  <a:gd name="T105" fmla="*/ 109 h 222"/>
                  <a:gd name="T106" fmla="*/ 7 w 191"/>
                  <a:gd name="T107" fmla="*/ 108 h 222"/>
                  <a:gd name="T108" fmla="*/ 5 w 191"/>
                  <a:gd name="T109" fmla="*/ 106 h 222"/>
                  <a:gd name="T110" fmla="*/ 5 w 191"/>
                  <a:gd name="T111" fmla="*/ 93 h 222"/>
                  <a:gd name="T112" fmla="*/ 7 w 191"/>
                  <a:gd name="T113" fmla="*/ 91 h 222"/>
                  <a:gd name="T114" fmla="*/ 7 w 191"/>
                  <a:gd name="T115" fmla="*/ 88 h 222"/>
                  <a:gd name="T116" fmla="*/ 4 w 191"/>
                  <a:gd name="T117" fmla="*/ 83 h 222"/>
                  <a:gd name="T118" fmla="*/ 9 w 191"/>
                  <a:gd name="T119" fmla="*/ 79 h 222"/>
                  <a:gd name="T120" fmla="*/ 9 w 191"/>
                  <a:gd name="T121" fmla="*/ 52 h 222"/>
                  <a:gd name="T122" fmla="*/ 14 w 191"/>
                  <a:gd name="T123" fmla="*/ 47 h 222"/>
                  <a:gd name="T124" fmla="*/ 0 w 191"/>
                  <a:gd name="T125" fmla="*/ 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1" h="222">
                    <a:moveTo>
                      <a:pt x="0" y="22"/>
                    </a:moveTo>
                    <a:lnTo>
                      <a:pt x="0" y="20"/>
                    </a:lnTo>
                    <a:lnTo>
                      <a:pt x="2" y="20"/>
                    </a:lnTo>
                    <a:lnTo>
                      <a:pt x="7" y="22"/>
                    </a:lnTo>
                    <a:lnTo>
                      <a:pt x="20" y="24"/>
                    </a:lnTo>
                    <a:lnTo>
                      <a:pt x="34" y="16"/>
                    </a:lnTo>
                    <a:lnTo>
                      <a:pt x="46" y="4"/>
                    </a:lnTo>
                    <a:lnTo>
                      <a:pt x="66" y="0"/>
                    </a:lnTo>
                    <a:lnTo>
                      <a:pt x="68" y="2"/>
                    </a:lnTo>
                    <a:lnTo>
                      <a:pt x="70" y="4"/>
                    </a:lnTo>
                    <a:lnTo>
                      <a:pt x="70" y="22"/>
                    </a:lnTo>
                    <a:lnTo>
                      <a:pt x="68" y="25"/>
                    </a:lnTo>
                    <a:lnTo>
                      <a:pt x="68" y="27"/>
                    </a:lnTo>
                    <a:lnTo>
                      <a:pt x="70" y="34"/>
                    </a:lnTo>
                    <a:lnTo>
                      <a:pt x="73" y="40"/>
                    </a:lnTo>
                    <a:lnTo>
                      <a:pt x="82" y="45"/>
                    </a:lnTo>
                    <a:lnTo>
                      <a:pt x="102" y="49"/>
                    </a:lnTo>
                    <a:lnTo>
                      <a:pt x="102" y="50"/>
                    </a:lnTo>
                    <a:lnTo>
                      <a:pt x="104" y="50"/>
                    </a:lnTo>
                    <a:lnTo>
                      <a:pt x="105" y="54"/>
                    </a:lnTo>
                    <a:lnTo>
                      <a:pt x="120" y="58"/>
                    </a:lnTo>
                    <a:lnTo>
                      <a:pt x="125" y="63"/>
                    </a:lnTo>
                    <a:lnTo>
                      <a:pt x="136" y="63"/>
                    </a:lnTo>
                    <a:lnTo>
                      <a:pt x="143" y="68"/>
                    </a:lnTo>
                    <a:lnTo>
                      <a:pt x="146" y="75"/>
                    </a:lnTo>
                    <a:lnTo>
                      <a:pt x="146" y="79"/>
                    </a:lnTo>
                    <a:lnTo>
                      <a:pt x="150" y="83"/>
                    </a:lnTo>
                    <a:lnTo>
                      <a:pt x="148" y="90"/>
                    </a:lnTo>
                    <a:lnTo>
                      <a:pt x="146" y="91"/>
                    </a:lnTo>
                    <a:lnTo>
                      <a:pt x="146" y="93"/>
                    </a:lnTo>
                    <a:lnTo>
                      <a:pt x="152" y="108"/>
                    </a:lnTo>
                    <a:lnTo>
                      <a:pt x="178" y="109"/>
                    </a:lnTo>
                    <a:lnTo>
                      <a:pt x="178" y="109"/>
                    </a:lnTo>
                    <a:lnTo>
                      <a:pt x="180" y="111"/>
                    </a:lnTo>
                    <a:lnTo>
                      <a:pt x="180" y="113"/>
                    </a:lnTo>
                    <a:lnTo>
                      <a:pt x="178" y="118"/>
                    </a:lnTo>
                    <a:lnTo>
                      <a:pt x="180" y="125"/>
                    </a:lnTo>
                    <a:lnTo>
                      <a:pt x="186" y="127"/>
                    </a:lnTo>
                    <a:lnTo>
                      <a:pt x="186" y="127"/>
                    </a:lnTo>
                    <a:lnTo>
                      <a:pt x="191" y="138"/>
                    </a:lnTo>
                    <a:lnTo>
                      <a:pt x="191" y="158"/>
                    </a:lnTo>
                    <a:lnTo>
                      <a:pt x="187" y="163"/>
                    </a:lnTo>
                    <a:lnTo>
                      <a:pt x="187" y="166"/>
                    </a:lnTo>
                    <a:lnTo>
                      <a:pt x="187" y="168"/>
                    </a:lnTo>
                    <a:lnTo>
                      <a:pt x="187" y="172"/>
                    </a:lnTo>
                    <a:lnTo>
                      <a:pt x="187" y="172"/>
                    </a:lnTo>
                    <a:lnTo>
                      <a:pt x="186" y="174"/>
                    </a:lnTo>
                    <a:lnTo>
                      <a:pt x="186" y="174"/>
                    </a:lnTo>
                    <a:lnTo>
                      <a:pt x="173" y="159"/>
                    </a:lnTo>
                    <a:lnTo>
                      <a:pt x="157" y="159"/>
                    </a:lnTo>
                    <a:lnTo>
                      <a:pt x="125" y="168"/>
                    </a:lnTo>
                    <a:lnTo>
                      <a:pt x="123" y="174"/>
                    </a:lnTo>
                    <a:lnTo>
                      <a:pt x="116" y="184"/>
                    </a:lnTo>
                    <a:lnTo>
                      <a:pt x="116" y="195"/>
                    </a:lnTo>
                    <a:lnTo>
                      <a:pt x="111" y="211"/>
                    </a:lnTo>
                    <a:lnTo>
                      <a:pt x="109" y="209"/>
                    </a:lnTo>
                    <a:lnTo>
                      <a:pt x="105" y="208"/>
                    </a:lnTo>
                    <a:lnTo>
                      <a:pt x="89" y="206"/>
                    </a:lnTo>
                    <a:lnTo>
                      <a:pt x="86" y="216"/>
                    </a:lnTo>
                    <a:lnTo>
                      <a:pt x="84" y="216"/>
                    </a:lnTo>
                    <a:lnTo>
                      <a:pt x="82" y="215"/>
                    </a:lnTo>
                    <a:lnTo>
                      <a:pt x="82" y="213"/>
                    </a:lnTo>
                    <a:lnTo>
                      <a:pt x="80" y="213"/>
                    </a:lnTo>
                    <a:lnTo>
                      <a:pt x="79" y="211"/>
                    </a:lnTo>
                    <a:lnTo>
                      <a:pt x="79" y="209"/>
                    </a:lnTo>
                    <a:lnTo>
                      <a:pt x="61" y="208"/>
                    </a:lnTo>
                    <a:lnTo>
                      <a:pt x="57" y="202"/>
                    </a:lnTo>
                    <a:lnTo>
                      <a:pt x="55" y="202"/>
                    </a:lnTo>
                    <a:lnTo>
                      <a:pt x="43" y="215"/>
                    </a:lnTo>
                    <a:lnTo>
                      <a:pt x="43" y="216"/>
                    </a:lnTo>
                    <a:lnTo>
                      <a:pt x="41" y="218"/>
                    </a:lnTo>
                    <a:lnTo>
                      <a:pt x="39" y="220"/>
                    </a:lnTo>
                    <a:lnTo>
                      <a:pt x="39" y="220"/>
                    </a:lnTo>
                    <a:lnTo>
                      <a:pt x="36" y="220"/>
                    </a:lnTo>
                    <a:lnTo>
                      <a:pt x="34" y="222"/>
                    </a:lnTo>
                    <a:lnTo>
                      <a:pt x="29" y="222"/>
                    </a:lnTo>
                    <a:lnTo>
                      <a:pt x="27" y="220"/>
                    </a:lnTo>
                    <a:lnTo>
                      <a:pt x="23" y="197"/>
                    </a:lnTo>
                    <a:lnTo>
                      <a:pt x="21" y="193"/>
                    </a:lnTo>
                    <a:lnTo>
                      <a:pt x="21" y="186"/>
                    </a:lnTo>
                    <a:lnTo>
                      <a:pt x="18" y="184"/>
                    </a:lnTo>
                    <a:lnTo>
                      <a:pt x="16" y="183"/>
                    </a:lnTo>
                    <a:lnTo>
                      <a:pt x="16" y="177"/>
                    </a:lnTo>
                    <a:lnTo>
                      <a:pt x="14" y="177"/>
                    </a:lnTo>
                    <a:lnTo>
                      <a:pt x="12" y="175"/>
                    </a:lnTo>
                    <a:lnTo>
                      <a:pt x="14" y="170"/>
                    </a:lnTo>
                    <a:lnTo>
                      <a:pt x="14" y="170"/>
                    </a:lnTo>
                    <a:lnTo>
                      <a:pt x="16" y="168"/>
                    </a:lnTo>
                    <a:lnTo>
                      <a:pt x="16" y="168"/>
                    </a:lnTo>
                    <a:lnTo>
                      <a:pt x="16" y="166"/>
                    </a:lnTo>
                    <a:lnTo>
                      <a:pt x="16" y="166"/>
                    </a:lnTo>
                    <a:lnTo>
                      <a:pt x="16" y="163"/>
                    </a:lnTo>
                    <a:lnTo>
                      <a:pt x="18" y="163"/>
                    </a:lnTo>
                    <a:lnTo>
                      <a:pt x="18" y="159"/>
                    </a:lnTo>
                    <a:lnTo>
                      <a:pt x="9" y="152"/>
                    </a:lnTo>
                    <a:lnTo>
                      <a:pt x="7" y="138"/>
                    </a:lnTo>
                    <a:lnTo>
                      <a:pt x="5" y="136"/>
                    </a:lnTo>
                    <a:lnTo>
                      <a:pt x="4" y="134"/>
                    </a:lnTo>
                    <a:lnTo>
                      <a:pt x="2" y="131"/>
                    </a:lnTo>
                    <a:lnTo>
                      <a:pt x="0" y="131"/>
                    </a:lnTo>
                    <a:lnTo>
                      <a:pt x="0" y="129"/>
                    </a:lnTo>
                    <a:lnTo>
                      <a:pt x="0" y="129"/>
                    </a:lnTo>
                    <a:lnTo>
                      <a:pt x="0" y="127"/>
                    </a:lnTo>
                    <a:lnTo>
                      <a:pt x="9" y="113"/>
                    </a:lnTo>
                    <a:lnTo>
                      <a:pt x="9" y="109"/>
                    </a:lnTo>
                    <a:lnTo>
                      <a:pt x="9" y="109"/>
                    </a:lnTo>
                    <a:lnTo>
                      <a:pt x="7" y="108"/>
                    </a:lnTo>
                    <a:lnTo>
                      <a:pt x="7" y="108"/>
                    </a:lnTo>
                    <a:lnTo>
                      <a:pt x="5" y="106"/>
                    </a:lnTo>
                    <a:lnTo>
                      <a:pt x="5" y="106"/>
                    </a:lnTo>
                    <a:lnTo>
                      <a:pt x="4" y="97"/>
                    </a:lnTo>
                    <a:lnTo>
                      <a:pt x="5" y="93"/>
                    </a:lnTo>
                    <a:lnTo>
                      <a:pt x="7" y="93"/>
                    </a:lnTo>
                    <a:lnTo>
                      <a:pt x="7" y="91"/>
                    </a:lnTo>
                    <a:lnTo>
                      <a:pt x="7" y="90"/>
                    </a:lnTo>
                    <a:lnTo>
                      <a:pt x="7" y="88"/>
                    </a:lnTo>
                    <a:lnTo>
                      <a:pt x="4" y="84"/>
                    </a:lnTo>
                    <a:lnTo>
                      <a:pt x="4" y="83"/>
                    </a:lnTo>
                    <a:lnTo>
                      <a:pt x="5" y="81"/>
                    </a:lnTo>
                    <a:lnTo>
                      <a:pt x="9" y="79"/>
                    </a:lnTo>
                    <a:lnTo>
                      <a:pt x="9" y="79"/>
                    </a:lnTo>
                    <a:lnTo>
                      <a:pt x="9" y="52"/>
                    </a:lnTo>
                    <a:lnTo>
                      <a:pt x="11" y="49"/>
                    </a:lnTo>
                    <a:lnTo>
                      <a:pt x="14" y="47"/>
                    </a:lnTo>
                    <a:lnTo>
                      <a:pt x="14" y="45"/>
                    </a:lnTo>
                    <a:lnTo>
                      <a:pt x="0" y="2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27" name="Freeform 3283"/>
              <p:cNvSpPr>
                <a:spLocks/>
              </p:cNvSpPr>
              <p:nvPr/>
            </p:nvSpPr>
            <p:spPr bwMode="auto">
              <a:xfrm>
                <a:off x="1760" y="3215"/>
                <a:ext cx="86" cy="92"/>
              </a:xfrm>
              <a:custGeom>
                <a:avLst/>
                <a:gdLst>
                  <a:gd name="T0" fmla="*/ 0 w 86"/>
                  <a:gd name="T1" fmla="*/ 73 h 92"/>
                  <a:gd name="T2" fmla="*/ 0 w 86"/>
                  <a:gd name="T3" fmla="*/ 73 h 92"/>
                  <a:gd name="T4" fmla="*/ 2 w 86"/>
                  <a:gd name="T5" fmla="*/ 75 h 92"/>
                  <a:gd name="T6" fmla="*/ 8 w 86"/>
                  <a:gd name="T7" fmla="*/ 80 h 92"/>
                  <a:gd name="T8" fmla="*/ 9 w 86"/>
                  <a:gd name="T9" fmla="*/ 82 h 92"/>
                  <a:gd name="T10" fmla="*/ 20 w 86"/>
                  <a:gd name="T11" fmla="*/ 84 h 92"/>
                  <a:gd name="T12" fmla="*/ 36 w 86"/>
                  <a:gd name="T13" fmla="*/ 91 h 92"/>
                  <a:gd name="T14" fmla="*/ 49 w 86"/>
                  <a:gd name="T15" fmla="*/ 89 h 92"/>
                  <a:gd name="T16" fmla="*/ 58 w 86"/>
                  <a:gd name="T17" fmla="*/ 92 h 92"/>
                  <a:gd name="T18" fmla="*/ 67 w 86"/>
                  <a:gd name="T19" fmla="*/ 89 h 92"/>
                  <a:gd name="T20" fmla="*/ 74 w 86"/>
                  <a:gd name="T21" fmla="*/ 82 h 92"/>
                  <a:gd name="T22" fmla="*/ 74 w 86"/>
                  <a:gd name="T23" fmla="*/ 80 h 92"/>
                  <a:gd name="T24" fmla="*/ 79 w 86"/>
                  <a:gd name="T25" fmla="*/ 75 h 92"/>
                  <a:gd name="T26" fmla="*/ 79 w 86"/>
                  <a:gd name="T27" fmla="*/ 71 h 92"/>
                  <a:gd name="T28" fmla="*/ 81 w 86"/>
                  <a:gd name="T29" fmla="*/ 69 h 92"/>
                  <a:gd name="T30" fmla="*/ 81 w 86"/>
                  <a:gd name="T31" fmla="*/ 67 h 92"/>
                  <a:gd name="T32" fmla="*/ 79 w 86"/>
                  <a:gd name="T33" fmla="*/ 67 h 92"/>
                  <a:gd name="T34" fmla="*/ 81 w 86"/>
                  <a:gd name="T35" fmla="*/ 59 h 92"/>
                  <a:gd name="T36" fmla="*/ 83 w 86"/>
                  <a:gd name="T37" fmla="*/ 53 h 92"/>
                  <a:gd name="T38" fmla="*/ 83 w 86"/>
                  <a:gd name="T39" fmla="*/ 53 h 92"/>
                  <a:gd name="T40" fmla="*/ 84 w 86"/>
                  <a:gd name="T41" fmla="*/ 51 h 92"/>
                  <a:gd name="T42" fmla="*/ 86 w 86"/>
                  <a:gd name="T43" fmla="*/ 51 h 92"/>
                  <a:gd name="T44" fmla="*/ 86 w 86"/>
                  <a:gd name="T45" fmla="*/ 50 h 92"/>
                  <a:gd name="T46" fmla="*/ 84 w 86"/>
                  <a:gd name="T47" fmla="*/ 48 h 92"/>
                  <a:gd name="T48" fmla="*/ 79 w 86"/>
                  <a:gd name="T49" fmla="*/ 44 h 92"/>
                  <a:gd name="T50" fmla="*/ 77 w 86"/>
                  <a:gd name="T51" fmla="*/ 37 h 92"/>
                  <a:gd name="T52" fmla="*/ 75 w 86"/>
                  <a:gd name="T53" fmla="*/ 35 h 92"/>
                  <a:gd name="T54" fmla="*/ 72 w 86"/>
                  <a:gd name="T55" fmla="*/ 34 h 92"/>
                  <a:gd name="T56" fmla="*/ 70 w 86"/>
                  <a:gd name="T57" fmla="*/ 34 h 92"/>
                  <a:gd name="T58" fmla="*/ 67 w 86"/>
                  <a:gd name="T59" fmla="*/ 32 h 92"/>
                  <a:gd name="T60" fmla="*/ 65 w 86"/>
                  <a:gd name="T61" fmla="*/ 30 h 92"/>
                  <a:gd name="T62" fmla="*/ 63 w 86"/>
                  <a:gd name="T63" fmla="*/ 26 h 92"/>
                  <a:gd name="T64" fmla="*/ 63 w 86"/>
                  <a:gd name="T65" fmla="*/ 26 h 92"/>
                  <a:gd name="T66" fmla="*/ 59 w 86"/>
                  <a:gd name="T67" fmla="*/ 25 h 92"/>
                  <a:gd name="T68" fmla="*/ 58 w 86"/>
                  <a:gd name="T69" fmla="*/ 23 h 92"/>
                  <a:gd name="T70" fmla="*/ 54 w 86"/>
                  <a:gd name="T71" fmla="*/ 23 h 92"/>
                  <a:gd name="T72" fmla="*/ 54 w 86"/>
                  <a:gd name="T73" fmla="*/ 23 h 92"/>
                  <a:gd name="T74" fmla="*/ 52 w 86"/>
                  <a:gd name="T75" fmla="*/ 21 h 92"/>
                  <a:gd name="T76" fmla="*/ 49 w 86"/>
                  <a:gd name="T77" fmla="*/ 16 h 92"/>
                  <a:gd name="T78" fmla="*/ 49 w 86"/>
                  <a:gd name="T79" fmla="*/ 16 h 92"/>
                  <a:gd name="T80" fmla="*/ 47 w 86"/>
                  <a:gd name="T81" fmla="*/ 14 h 92"/>
                  <a:gd name="T82" fmla="*/ 43 w 86"/>
                  <a:gd name="T83" fmla="*/ 17 h 92"/>
                  <a:gd name="T84" fmla="*/ 42 w 86"/>
                  <a:gd name="T85" fmla="*/ 17 h 92"/>
                  <a:gd name="T86" fmla="*/ 40 w 86"/>
                  <a:gd name="T87" fmla="*/ 17 h 92"/>
                  <a:gd name="T88" fmla="*/ 38 w 86"/>
                  <a:gd name="T89" fmla="*/ 10 h 92"/>
                  <a:gd name="T90" fmla="*/ 27 w 86"/>
                  <a:gd name="T91" fmla="*/ 1 h 92"/>
                  <a:gd name="T92" fmla="*/ 25 w 86"/>
                  <a:gd name="T93" fmla="*/ 0 h 92"/>
                  <a:gd name="T94" fmla="*/ 24 w 86"/>
                  <a:gd name="T95" fmla="*/ 0 h 92"/>
                  <a:gd name="T96" fmla="*/ 22 w 86"/>
                  <a:gd name="T97" fmla="*/ 1 h 92"/>
                  <a:gd name="T98" fmla="*/ 22 w 86"/>
                  <a:gd name="T99" fmla="*/ 3 h 92"/>
                  <a:gd name="T100" fmla="*/ 20 w 86"/>
                  <a:gd name="T101" fmla="*/ 3 h 92"/>
                  <a:gd name="T102" fmla="*/ 13 w 86"/>
                  <a:gd name="T103" fmla="*/ 3 h 92"/>
                  <a:gd name="T104" fmla="*/ 13 w 86"/>
                  <a:gd name="T105" fmla="*/ 5 h 92"/>
                  <a:gd name="T106" fmla="*/ 11 w 86"/>
                  <a:gd name="T107" fmla="*/ 7 h 92"/>
                  <a:gd name="T108" fmla="*/ 9 w 86"/>
                  <a:gd name="T109" fmla="*/ 28 h 92"/>
                  <a:gd name="T110" fmla="*/ 6 w 86"/>
                  <a:gd name="T111" fmla="*/ 35 h 92"/>
                  <a:gd name="T112" fmla="*/ 6 w 86"/>
                  <a:gd name="T113" fmla="*/ 53 h 92"/>
                  <a:gd name="T114" fmla="*/ 6 w 86"/>
                  <a:gd name="T115" fmla="*/ 55 h 92"/>
                  <a:gd name="T116" fmla="*/ 2 w 86"/>
                  <a:gd name="T117" fmla="*/ 59 h 92"/>
                  <a:gd name="T118" fmla="*/ 0 w 86"/>
                  <a:gd name="T1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6" h="92">
                    <a:moveTo>
                      <a:pt x="0" y="73"/>
                    </a:moveTo>
                    <a:lnTo>
                      <a:pt x="0" y="73"/>
                    </a:lnTo>
                    <a:lnTo>
                      <a:pt x="2" y="75"/>
                    </a:lnTo>
                    <a:lnTo>
                      <a:pt x="8" y="80"/>
                    </a:lnTo>
                    <a:lnTo>
                      <a:pt x="9" y="82"/>
                    </a:lnTo>
                    <a:lnTo>
                      <a:pt x="20" y="84"/>
                    </a:lnTo>
                    <a:lnTo>
                      <a:pt x="36" y="91"/>
                    </a:lnTo>
                    <a:lnTo>
                      <a:pt x="49" y="89"/>
                    </a:lnTo>
                    <a:lnTo>
                      <a:pt x="58" y="92"/>
                    </a:lnTo>
                    <a:lnTo>
                      <a:pt x="67" y="89"/>
                    </a:lnTo>
                    <a:lnTo>
                      <a:pt x="74" y="82"/>
                    </a:lnTo>
                    <a:lnTo>
                      <a:pt x="74" y="80"/>
                    </a:lnTo>
                    <a:lnTo>
                      <a:pt x="79" y="75"/>
                    </a:lnTo>
                    <a:lnTo>
                      <a:pt x="79" y="71"/>
                    </a:lnTo>
                    <a:lnTo>
                      <a:pt x="81" y="69"/>
                    </a:lnTo>
                    <a:lnTo>
                      <a:pt x="81" y="67"/>
                    </a:lnTo>
                    <a:lnTo>
                      <a:pt x="79" y="67"/>
                    </a:lnTo>
                    <a:lnTo>
                      <a:pt x="81" y="59"/>
                    </a:lnTo>
                    <a:lnTo>
                      <a:pt x="83" y="53"/>
                    </a:lnTo>
                    <a:lnTo>
                      <a:pt x="83" y="53"/>
                    </a:lnTo>
                    <a:lnTo>
                      <a:pt x="84" y="51"/>
                    </a:lnTo>
                    <a:lnTo>
                      <a:pt x="86" y="51"/>
                    </a:lnTo>
                    <a:lnTo>
                      <a:pt x="86" y="50"/>
                    </a:lnTo>
                    <a:lnTo>
                      <a:pt x="84" y="48"/>
                    </a:lnTo>
                    <a:lnTo>
                      <a:pt x="79" y="44"/>
                    </a:lnTo>
                    <a:lnTo>
                      <a:pt x="77" y="37"/>
                    </a:lnTo>
                    <a:lnTo>
                      <a:pt x="75" y="35"/>
                    </a:lnTo>
                    <a:lnTo>
                      <a:pt x="72" y="34"/>
                    </a:lnTo>
                    <a:lnTo>
                      <a:pt x="70" y="34"/>
                    </a:lnTo>
                    <a:lnTo>
                      <a:pt x="67" y="32"/>
                    </a:lnTo>
                    <a:lnTo>
                      <a:pt x="65" y="30"/>
                    </a:lnTo>
                    <a:lnTo>
                      <a:pt x="63" y="26"/>
                    </a:lnTo>
                    <a:lnTo>
                      <a:pt x="63" y="26"/>
                    </a:lnTo>
                    <a:lnTo>
                      <a:pt x="59" y="25"/>
                    </a:lnTo>
                    <a:lnTo>
                      <a:pt x="58" y="23"/>
                    </a:lnTo>
                    <a:lnTo>
                      <a:pt x="54" y="23"/>
                    </a:lnTo>
                    <a:lnTo>
                      <a:pt x="54" y="23"/>
                    </a:lnTo>
                    <a:lnTo>
                      <a:pt x="52" y="21"/>
                    </a:lnTo>
                    <a:lnTo>
                      <a:pt x="49" y="16"/>
                    </a:lnTo>
                    <a:lnTo>
                      <a:pt x="49" y="16"/>
                    </a:lnTo>
                    <a:lnTo>
                      <a:pt x="47" y="14"/>
                    </a:lnTo>
                    <a:lnTo>
                      <a:pt x="43" y="17"/>
                    </a:lnTo>
                    <a:lnTo>
                      <a:pt x="42" y="17"/>
                    </a:lnTo>
                    <a:lnTo>
                      <a:pt x="40" y="17"/>
                    </a:lnTo>
                    <a:lnTo>
                      <a:pt x="38" y="10"/>
                    </a:lnTo>
                    <a:lnTo>
                      <a:pt x="27" y="1"/>
                    </a:lnTo>
                    <a:lnTo>
                      <a:pt x="25" y="0"/>
                    </a:lnTo>
                    <a:lnTo>
                      <a:pt x="24" y="0"/>
                    </a:lnTo>
                    <a:lnTo>
                      <a:pt x="22" y="1"/>
                    </a:lnTo>
                    <a:lnTo>
                      <a:pt x="22" y="3"/>
                    </a:lnTo>
                    <a:lnTo>
                      <a:pt x="20" y="3"/>
                    </a:lnTo>
                    <a:lnTo>
                      <a:pt x="13" y="3"/>
                    </a:lnTo>
                    <a:lnTo>
                      <a:pt x="13" y="5"/>
                    </a:lnTo>
                    <a:lnTo>
                      <a:pt x="11" y="7"/>
                    </a:lnTo>
                    <a:lnTo>
                      <a:pt x="9" y="28"/>
                    </a:lnTo>
                    <a:lnTo>
                      <a:pt x="6" y="35"/>
                    </a:lnTo>
                    <a:lnTo>
                      <a:pt x="6" y="53"/>
                    </a:lnTo>
                    <a:lnTo>
                      <a:pt x="6" y="55"/>
                    </a:lnTo>
                    <a:lnTo>
                      <a:pt x="2" y="59"/>
                    </a:lnTo>
                    <a:lnTo>
                      <a:pt x="0" y="7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28" name="Freeform 3284"/>
              <p:cNvSpPr>
                <a:spLocks/>
              </p:cNvSpPr>
              <p:nvPr/>
            </p:nvSpPr>
            <p:spPr bwMode="auto">
              <a:xfrm>
                <a:off x="1760" y="3215"/>
                <a:ext cx="86" cy="92"/>
              </a:xfrm>
              <a:custGeom>
                <a:avLst/>
                <a:gdLst>
                  <a:gd name="T0" fmla="*/ 0 w 86"/>
                  <a:gd name="T1" fmla="*/ 73 h 92"/>
                  <a:gd name="T2" fmla="*/ 0 w 86"/>
                  <a:gd name="T3" fmla="*/ 73 h 92"/>
                  <a:gd name="T4" fmla="*/ 2 w 86"/>
                  <a:gd name="T5" fmla="*/ 75 h 92"/>
                  <a:gd name="T6" fmla="*/ 8 w 86"/>
                  <a:gd name="T7" fmla="*/ 80 h 92"/>
                  <a:gd name="T8" fmla="*/ 9 w 86"/>
                  <a:gd name="T9" fmla="*/ 82 h 92"/>
                  <a:gd name="T10" fmla="*/ 20 w 86"/>
                  <a:gd name="T11" fmla="*/ 84 h 92"/>
                  <a:gd name="T12" fmla="*/ 36 w 86"/>
                  <a:gd name="T13" fmla="*/ 91 h 92"/>
                  <a:gd name="T14" fmla="*/ 49 w 86"/>
                  <a:gd name="T15" fmla="*/ 89 h 92"/>
                  <a:gd name="T16" fmla="*/ 58 w 86"/>
                  <a:gd name="T17" fmla="*/ 92 h 92"/>
                  <a:gd name="T18" fmla="*/ 67 w 86"/>
                  <a:gd name="T19" fmla="*/ 89 h 92"/>
                  <a:gd name="T20" fmla="*/ 74 w 86"/>
                  <a:gd name="T21" fmla="*/ 82 h 92"/>
                  <a:gd name="T22" fmla="*/ 74 w 86"/>
                  <a:gd name="T23" fmla="*/ 80 h 92"/>
                  <a:gd name="T24" fmla="*/ 79 w 86"/>
                  <a:gd name="T25" fmla="*/ 75 h 92"/>
                  <a:gd name="T26" fmla="*/ 79 w 86"/>
                  <a:gd name="T27" fmla="*/ 71 h 92"/>
                  <a:gd name="T28" fmla="*/ 81 w 86"/>
                  <a:gd name="T29" fmla="*/ 69 h 92"/>
                  <a:gd name="T30" fmla="*/ 81 w 86"/>
                  <a:gd name="T31" fmla="*/ 67 h 92"/>
                  <a:gd name="T32" fmla="*/ 79 w 86"/>
                  <a:gd name="T33" fmla="*/ 67 h 92"/>
                  <a:gd name="T34" fmla="*/ 81 w 86"/>
                  <a:gd name="T35" fmla="*/ 59 h 92"/>
                  <a:gd name="T36" fmla="*/ 83 w 86"/>
                  <a:gd name="T37" fmla="*/ 53 h 92"/>
                  <a:gd name="T38" fmla="*/ 83 w 86"/>
                  <a:gd name="T39" fmla="*/ 53 h 92"/>
                  <a:gd name="T40" fmla="*/ 84 w 86"/>
                  <a:gd name="T41" fmla="*/ 51 h 92"/>
                  <a:gd name="T42" fmla="*/ 86 w 86"/>
                  <a:gd name="T43" fmla="*/ 51 h 92"/>
                  <a:gd name="T44" fmla="*/ 86 w 86"/>
                  <a:gd name="T45" fmla="*/ 50 h 92"/>
                  <a:gd name="T46" fmla="*/ 84 w 86"/>
                  <a:gd name="T47" fmla="*/ 48 h 92"/>
                  <a:gd name="T48" fmla="*/ 79 w 86"/>
                  <a:gd name="T49" fmla="*/ 44 h 92"/>
                  <a:gd name="T50" fmla="*/ 77 w 86"/>
                  <a:gd name="T51" fmla="*/ 37 h 92"/>
                  <a:gd name="T52" fmla="*/ 75 w 86"/>
                  <a:gd name="T53" fmla="*/ 35 h 92"/>
                  <a:gd name="T54" fmla="*/ 72 w 86"/>
                  <a:gd name="T55" fmla="*/ 34 h 92"/>
                  <a:gd name="T56" fmla="*/ 70 w 86"/>
                  <a:gd name="T57" fmla="*/ 34 h 92"/>
                  <a:gd name="T58" fmla="*/ 67 w 86"/>
                  <a:gd name="T59" fmla="*/ 32 h 92"/>
                  <a:gd name="T60" fmla="*/ 65 w 86"/>
                  <a:gd name="T61" fmla="*/ 30 h 92"/>
                  <a:gd name="T62" fmla="*/ 63 w 86"/>
                  <a:gd name="T63" fmla="*/ 26 h 92"/>
                  <a:gd name="T64" fmla="*/ 63 w 86"/>
                  <a:gd name="T65" fmla="*/ 26 h 92"/>
                  <a:gd name="T66" fmla="*/ 59 w 86"/>
                  <a:gd name="T67" fmla="*/ 25 h 92"/>
                  <a:gd name="T68" fmla="*/ 58 w 86"/>
                  <a:gd name="T69" fmla="*/ 23 h 92"/>
                  <a:gd name="T70" fmla="*/ 54 w 86"/>
                  <a:gd name="T71" fmla="*/ 23 h 92"/>
                  <a:gd name="T72" fmla="*/ 54 w 86"/>
                  <a:gd name="T73" fmla="*/ 23 h 92"/>
                  <a:gd name="T74" fmla="*/ 52 w 86"/>
                  <a:gd name="T75" fmla="*/ 21 h 92"/>
                  <a:gd name="T76" fmla="*/ 49 w 86"/>
                  <a:gd name="T77" fmla="*/ 16 h 92"/>
                  <a:gd name="T78" fmla="*/ 49 w 86"/>
                  <a:gd name="T79" fmla="*/ 16 h 92"/>
                  <a:gd name="T80" fmla="*/ 47 w 86"/>
                  <a:gd name="T81" fmla="*/ 14 h 92"/>
                  <a:gd name="T82" fmla="*/ 43 w 86"/>
                  <a:gd name="T83" fmla="*/ 17 h 92"/>
                  <a:gd name="T84" fmla="*/ 42 w 86"/>
                  <a:gd name="T85" fmla="*/ 17 h 92"/>
                  <a:gd name="T86" fmla="*/ 40 w 86"/>
                  <a:gd name="T87" fmla="*/ 17 h 92"/>
                  <a:gd name="T88" fmla="*/ 38 w 86"/>
                  <a:gd name="T89" fmla="*/ 10 h 92"/>
                  <a:gd name="T90" fmla="*/ 27 w 86"/>
                  <a:gd name="T91" fmla="*/ 1 h 92"/>
                  <a:gd name="T92" fmla="*/ 25 w 86"/>
                  <a:gd name="T93" fmla="*/ 0 h 92"/>
                  <a:gd name="T94" fmla="*/ 24 w 86"/>
                  <a:gd name="T95" fmla="*/ 0 h 92"/>
                  <a:gd name="T96" fmla="*/ 22 w 86"/>
                  <a:gd name="T97" fmla="*/ 1 h 92"/>
                  <a:gd name="T98" fmla="*/ 22 w 86"/>
                  <a:gd name="T99" fmla="*/ 3 h 92"/>
                  <a:gd name="T100" fmla="*/ 20 w 86"/>
                  <a:gd name="T101" fmla="*/ 3 h 92"/>
                  <a:gd name="T102" fmla="*/ 13 w 86"/>
                  <a:gd name="T103" fmla="*/ 3 h 92"/>
                  <a:gd name="T104" fmla="*/ 13 w 86"/>
                  <a:gd name="T105" fmla="*/ 5 h 92"/>
                  <a:gd name="T106" fmla="*/ 11 w 86"/>
                  <a:gd name="T107" fmla="*/ 7 h 92"/>
                  <a:gd name="T108" fmla="*/ 9 w 86"/>
                  <a:gd name="T109" fmla="*/ 28 h 92"/>
                  <a:gd name="T110" fmla="*/ 6 w 86"/>
                  <a:gd name="T111" fmla="*/ 35 h 92"/>
                  <a:gd name="T112" fmla="*/ 6 w 86"/>
                  <a:gd name="T113" fmla="*/ 53 h 92"/>
                  <a:gd name="T114" fmla="*/ 6 w 86"/>
                  <a:gd name="T115" fmla="*/ 55 h 92"/>
                  <a:gd name="T116" fmla="*/ 2 w 86"/>
                  <a:gd name="T117" fmla="*/ 59 h 92"/>
                  <a:gd name="T118" fmla="*/ 0 w 86"/>
                  <a:gd name="T1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6" h="92">
                    <a:moveTo>
                      <a:pt x="0" y="73"/>
                    </a:moveTo>
                    <a:lnTo>
                      <a:pt x="0" y="73"/>
                    </a:lnTo>
                    <a:lnTo>
                      <a:pt x="2" y="75"/>
                    </a:lnTo>
                    <a:lnTo>
                      <a:pt x="8" y="80"/>
                    </a:lnTo>
                    <a:lnTo>
                      <a:pt x="9" y="82"/>
                    </a:lnTo>
                    <a:lnTo>
                      <a:pt x="20" y="84"/>
                    </a:lnTo>
                    <a:lnTo>
                      <a:pt x="36" y="91"/>
                    </a:lnTo>
                    <a:lnTo>
                      <a:pt x="49" y="89"/>
                    </a:lnTo>
                    <a:lnTo>
                      <a:pt x="58" y="92"/>
                    </a:lnTo>
                    <a:lnTo>
                      <a:pt x="67" y="89"/>
                    </a:lnTo>
                    <a:lnTo>
                      <a:pt x="74" y="82"/>
                    </a:lnTo>
                    <a:lnTo>
                      <a:pt x="74" y="80"/>
                    </a:lnTo>
                    <a:lnTo>
                      <a:pt x="79" y="75"/>
                    </a:lnTo>
                    <a:lnTo>
                      <a:pt x="79" y="71"/>
                    </a:lnTo>
                    <a:lnTo>
                      <a:pt x="81" y="69"/>
                    </a:lnTo>
                    <a:lnTo>
                      <a:pt x="81" y="67"/>
                    </a:lnTo>
                    <a:lnTo>
                      <a:pt x="79" y="67"/>
                    </a:lnTo>
                    <a:lnTo>
                      <a:pt x="81" y="59"/>
                    </a:lnTo>
                    <a:lnTo>
                      <a:pt x="83" y="53"/>
                    </a:lnTo>
                    <a:lnTo>
                      <a:pt x="83" y="53"/>
                    </a:lnTo>
                    <a:lnTo>
                      <a:pt x="84" y="51"/>
                    </a:lnTo>
                    <a:lnTo>
                      <a:pt x="86" y="51"/>
                    </a:lnTo>
                    <a:lnTo>
                      <a:pt x="86" y="50"/>
                    </a:lnTo>
                    <a:lnTo>
                      <a:pt x="84" y="48"/>
                    </a:lnTo>
                    <a:lnTo>
                      <a:pt x="79" y="44"/>
                    </a:lnTo>
                    <a:lnTo>
                      <a:pt x="77" y="37"/>
                    </a:lnTo>
                    <a:lnTo>
                      <a:pt x="75" y="35"/>
                    </a:lnTo>
                    <a:lnTo>
                      <a:pt x="72" y="34"/>
                    </a:lnTo>
                    <a:lnTo>
                      <a:pt x="70" y="34"/>
                    </a:lnTo>
                    <a:lnTo>
                      <a:pt x="67" y="32"/>
                    </a:lnTo>
                    <a:lnTo>
                      <a:pt x="65" y="30"/>
                    </a:lnTo>
                    <a:lnTo>
                      <a:pt x="63" y="26"/>
                    </a:lnTo>
                    <a:lnTo>
                      <a:pt x="63" y="26"/>
                    </a:lnTo>
                    <a:lnTo>
                      <a:pt x="59" y="25"/>
                    </a:lnTo>
                    <a:lnTo>
                      <a:pt x="58" y="23"/>
                    </a:lnTo>
                    <a:lnTo>
                      <a:pt x="54" y="23"/>
                    </a:lnTo>
                    <a:lnTo>
                      <a:pt x="54" y="23"/>
                    </a:lnTo>
                    <a:lnTo>
                      <a:pt x="52" y="21"/>
                    </a:lnTo>
                    <a:lnTo>
                      <a:pt x="49" y="16"/>
                    </a:lnTo>
                    <a:lnTo>
                      <a:pt x="49" y="16"/>
                    </a:lnTo>
                    <a:lnTo>
                      <a:pt x="47" y="14"/>
                    </a:lnTo>
                    <a:lnTo>
                      <a:pt x="43" y="17"/>
                    </a:lnTo>
                    <a:lnTo>
                      <a:pt x="42" y="17"/>
                    </a:lnTo>
                    <a:lnTo>
                      <a:pt x="40" y="17"/>
                    </a:lnTo>
                    <a:lnTo>
                      <a:pt x="38" y="10"/>
                    </a:lnTo>
                    <a:lnTo>
                      <a:pt x="27" y="1"/>
                    </a:lnTo>
                    <a:lnTo>
                      <a:pt x="25" y="0"/>
                    </a:lnTo>
                    <a:lnTo>
                      <a:pt x="24" y="0"/>
                    </a:lnTo>
                    <a:lnTo>
                      <a:pt x="22" y="1"/>
                    </a:lnTo>
                    <a:lnTo>
                      <a:pt x="22" y="3"/>
                    </a:lnTo>
                    <a:lnTo>
                      <a:pt x="20" y="3"/>
                    </a:lnTo>
                    <a:lnTo>
                      <a:pt x="13" y="3"/>
                    </a:lnTo>
                    <a:lnTo>
                      <a:pt x="13" y="5"/>
                    </a:lnTo>
                    <a:lnTo>
                      <a:pt x="11" y="7"/>
                    </a:lnTo>
                    <a:lnTo>
                      <a:pt x="9" y="28"/>
                    </a:lnTo>
                    <a:lnTo>
                      <a:pt x="6" y="35"/>
                    </a:lnTo>
                    <a:lnTo>
                      <a:pt x="6" y="53"/>
                    </a:lnTo>
                    <a:lnTo>
                      <a:pt x="6" y="55"/>
                    </a:lnTo>
                    <a:lnTo>
                      <a:pt x="2" y="59"/>
                    </a:lnTo>
                    <a:lnTo>
                      <a:pt x="0" y="7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29" name="Freeform 3285"/>
              <p:cNvSpPr>
                <a:spLocks/>
              </p:cNvSpPr>
              <p:nvPr/>
            </p:nvSpPr>
            <p:spPr bwMode="auto">
              <a:xfrm>
                <a:off x="1716" y="2581"/>
                <a:ext cx="78" cy="112"/>
              </a:xfrm>
              <a:custGeom>
                <a:avLst/>
                <a:gdLst>
                  <a:gd name="T0" fmla="*/ 25 w 78"/>
                  <a:gd name="T1" fmla="*/ 0 h 112"/>
                  <a:gd name="T2" fmla="*/ 28 w 78"/>
                  <a:gd name="T3" fmla="*/ 0 h 112"/>
                  <a:gd name="T4" fmla="*/ 44 w 78"/>
                  <a:gd name="T5" fmla="*/ 14 h 112"/>
                  <a:gd name="T6" fmla="*/ 53 w 78"/>
                  <a:gd name="T7" fmla="*/ 25 h 112"/>
                  <a:gd name="T8" fmla="*/ 62 w 78"/>
                  <a:gd name="T9" fmla="*/ 32 h 112"/>
                  <a:gd name="T10" fmla="*/ 68 w 78"/>
                  <a:gd name="T11" fmla="*/ 39 h 112"/>
                  <a:gd name="T12" fmla="*/ 64 w 78"/>
                  <a:gd name="T13" fmla="*/ 46 h 112"/>
                  <a:gd name="T14" fmla="*/ 64 w 78"/>
                  <a:gd name="T15" fmla="*/ 48 h 112"/>
                  <a:gd name="T16" fmla="*/ 64 w 78"/>
                  <a:gd name="T17" fmla="*/ 50 h 112"/>
                  <a:gd name="T18" fmla="*/ 62 w 78"/>
                  <a:gd name="T19" fmla="*/ 51 h 112"/>
                  <a:gd name="T20" fmla="*/ 55 w 78"/>
                  <a:gd name="T21" fmla="*/ 53 h 112"/>
                  <a:gd name="T22" fmla="*/ 53 w 78"/>
                  <a:gd name="T23" fmla="*/ 55 h 112"/>
                  <a:gd name="T24" fmla="*/ 52 w 78"/>
                  <a:gd name="T25" fmla="*/ 66 h 112"/>
                  <a:gd name="T26" fmla="*/ 55 w 78"/>
                  <a:gd name="T27" fmla="*/ 73 h 112"/>
                  <a:gd name="T28" fmla="*/ 59 w 78"/>
                  <a:gd name="T29" fmla="*/ 76 h 112"/>
                  <a:gd name="T30" fmla="*/ 59 w 78"/>
                  <a:gd name="T31" fmla="*/ 78 h 112"/>
                  <a:gd name="T32" fmla="*/ 64 w 78"/>
                  <a:gd name="T33" fmla="*/ 78 h 112"/>
                  <a:gd name="T34" fmla="*/ 64 w 78"/>
                  <a:gd name="T35" fmla="*/ 82 h 112"/>
                  <a:gd name="T36" fmla="*/ 66 w 78"/>
                  <a:gd name="T37" fmla="*/ 85 h 112"/>
                  <a:gd name="T38" fmla="*/ 77 w 78"/>
                  <a:gd name="T39" fmla="*/ 100 h 112"/>
                  <a:gd name="T40" fmla="*/ 69 w 78"/>
                  <a:gd name="T41" fmla="*/ 101 h 112"/>
                  <a:gd name="T42" fmla="*/ 68 w 78"/>
                  <a:gd name="T43" fmla="*/ 101 h 112"/>
                  <a:gd name="T44" fmla="*/ 66 w 78"/>
                  <a:gd name="T45" fmla="*/ 100 h 112"/>
                  <a:gd name="T46" fmla="*/ 61 w 78"/>
                  <a:gd name="T47" fmla="*/ 105 h 112"/>
                  <a:gd name="T48" fmla="*/ 52 w 78"/>
                  <a:gd name="T49" fmla="*/ 107 h 112"/>
                  <a:gd name="T50" fmla="*/ 46 w 78"/>
                  <a:gd name="T51" fmla="*/ 109 h 112"/>
                  <a:gd name="T52" fmla="*/ 43 w 78"/>
                  <a:gd name="T53" fmla="*/ 112 h 112"/>
                  <a:gd name="T54" fmla="*/ 32 w 78"/>
                  <a:gd name="T55" fmla="*/ 109 h 112"/>
                  <a:gd name="T56" fmla="*/ 28 w 78"/>
                  <a:gd name="T57" fmla="*/ 105 h 112"/>
                  <a:gd name="T58" fmla="*/ 27 w 78"/>
                  <a:gd name="T59" fmla="*/ 101 h 112"/>
                  <a:gd name="T60" fmla="*/ 23 w 78"/>
                  <a:gd name="T61" fmla="*/ 93 h 112"/>
                  <a:gd name="T62" fmla="*/ 23 w 78"/>
                  <a:gd name="T63" fmla="*/ 84 h 112"/>
                  <a:gd name="T64" fmla="*/ 25 w 78"/>
                  <a:gd name="T65" fmla="*/ 75 h 112"/>
                  <a:gd name="T66" fmla="*/ 28 w 78"/>
                  <a:gd name="T67" fmla="*/ 69 h 112"/>
                  <a:gd name="T68" fmla="*/ 27 w 78"/>
                  <a:gd name="T69" fmla="*/ 66 h 112"/>
                  <a:gd name="T70" fmla="*/ 23 w 78"/>
                  <a:gd name="T71" fmla="*/ 60 h 112"/>
                  <a:gd name="T72" fmla="*/ 19 w 78"/>
                  <a:gd name="T73" fmla="*/ 59 h 112"/>
                  <a:gd name="T74" fmla="*/ 21 w 78"/>
                  <a:gd name="T75" fmla="*/ 51 h 112"/>
                  <a:gd name="T76" fmla="*/ 18 w 78"/>
                  <a:gd name="T77" fmla="*/ 50 h 112"/>
                  <a:gd name="T78" fmla="*/ 11 w 78"/>
                  <a:gd name="T79" fmla="*/ 50 h 112"/>
                  <a:gd name="T80" fmla="*/ 11 w 78"/>
                  <a:gd name="T81" fmla="*/ 48 h 112"/>
                  <a:gd name="T82" fmla="*/ 0 w 78"/>
                  <a:gd name="T83" fmla="*/ 35 h 112"/>
                  <a:gd name="T84" fmla="*/ 0 w 78"/>
                  <a:gd name="T85" fmla="*/ 34 h 112"/>
                  <a:gd name="T86" fmla="*/ 3 w 78"/>
                  <a:gd name="T87" fmla="*/ 26 h 112"/>
                  <a:gd name="T88" fmla="*/ 12 w 78"/>
                  <a:gd name="T89" fmla="*/ 21 h 112"/>
                  <a:gd name="T90" fmla="*/ 12 w 78"/>
                  <a:gd name="T91" fmla="*/ 18 h 112"/>
                  <a:gd name="T92" fmla="*/ 9 w 78"/>
                  <a:gd name="T93" fmla="*/ 18 h 112"/>
                  <a:gd name="T94" fmla="*/ 7 w 78"/>
                  <a:gd name="T95" fmla="*/ 12 h 112"/>
                  <a:gd name="T96" fmla="*/ 9 w 78"/>
                  <a:gd name="T97" fmla="*/ 9 h 112"/>
                  <a:gd name="T98" fmla="*/ 12 w 78"/>
                  <a:gd name="T99" fmla="*/ 9 h 112"/>
                  <a:gd name="T100" fmla="*/ 19 w 78"/>
                  <a:gd name="T101" fmla="*/ 5 h 112"/>
                  <a:gd name="T102" fmla="*/ 21 w 78"/>
                  <a:gd name="T103" fmla="*/ 3 h 112"/>
                  <a:gd name="T104" fmla="*/ 23 w 78"/>
                  <a:gd name="T105" fmla="*/ 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 h="112">
                    <a:moveTo>
                      <a:pt x="23" y="0"/>
                    </a:moveTo>
                    <a:lnTo>
                      <a:pt x="25" y="0"/>
                    </a:lnTo>
                    <a:lnTo>
                      <a:pt x="27" y="0"/>
                    </a:lnTo>
                    <a:lnTo>
                      <a:pt x="28" y="0"/>
                    </a:lnTo>
                    <a:lnTo>
                      <a:pt x="41" y="10"/>
                    </a:lnTo>
                    <a:lnTo>
                      <a:pt x="44" y="14"/>
                    </a:lnTo>
                    <a:lnTo>
                      <a:pt x="44" y="23"/>
                    </a:lnTo>
                    <a:lnTo>
                      <a:pt x="53" y="25"/>
                    </a:lnTo>
                    <a:lnTo>
                      <a:pt x="59" y="26"/>
                    </a:lnTo>
                    <a:lnTo>
                      <a:pt x="62" y="32"/>
                    </a:lnTo>
                    <a:lnTo>
                      <a:pt x="64" y="34"/>
                    </a:lnTo>
                    <a:lnTo>
                      <a:pt x="68" y="39"/>
                    </a:lnTo>
                    <a:lnTo>
                      <a:pt x="68" y="39"/>
                    </a:lnTo>
                    <a:lnTo>
                      <a:pt x="64" y="46"/>
                    </a:lnTo>
                    <a:lnTo>
                      <a:pt x="64" y="46"/>
                    </a:lnTo>
                    <a:lnTo>
                      <a:pt x="64" y="48"/>
                    </a:lnTo>
                    <a:lnTo>
                      <a:pt x="64" y="48"/>
                    </a:lnTo>
                    <a:lnTo>
                      <a:pt x="64" y="50"/>
                    </a:lnTo>
                    <a:lnTo>
                      <a:pt x="62" y="51"/>
                    </a:lnTo>
                    <a:lnTo>
                      <a:pt x="62" y="51"/>
                    </a:lnTo>
                    <a:lnTo>
                      <a:pt x="57" y="53"/>
                    </a:lnTo>
                    <a:lnTo>
                      <a:pt x="55" y="53"/>
                    </a:lnTo>
                    <a:lnTo>
                      <a:pt x="53" y="55"/>
                    </a:lnTo>
                    <a:lnTo>
                      <a:pt x="53" y="55"/>
                    </a:lnTo>
                    <a:lnTo>
                      <a:pt x="53" y="60"/>
                    </a:lnTo>
                    <a:lnTo>
                      <a:pt x="52" y="66"/>
                    </a:lnTo>
                    <a:lnTo>
                      <a:pt x="52" y="68"/>
                    </a:lnTo>
                    <a:lnTo>
                      <a:pt x="55" y="73"/>
                    </a:lnTo>
                    <a:lnTo>
                      <a:pt x="57" y="73"/>
                    </a:lnTo>
                    <a:lnTo>
                      <a:pt x="59" y="76"/>
                    </a:lnTo>
                    <a:lnTo>
                      <a:pt x="59" y="76"/>
                    </a:lnTo>
                    <a:lnTo>
                      <a:pt x="59" y="78"/>
                    </a:lnTo>
                    <a:lnTo>
                      <a:pt x="61" y="78"/>
                    </a:lnTo>
                    <a:lnTo>
                      <a:pt x="64" y="78"/>
                    </a:lnTo>
                    <a:lnTo>
                      <a:pt x="64" y="80"/>
                    </a:lnTo>
                    <a:lnTo>
                      <a:pt x="64" y="82"/>
                    </a:lnTo>
                    <a:lnTo>
                      <a:pt x="66" y="84"/>
                    </a:lnTo>
                    <a:lnTo>
                      <a:pt x="66" y="85"/>
                    </a:lnTo>
                    <a:lnTo>
                      <a:pt x="77" y="100"/>
                    </a:lnTo>
                    <a:lnTo>
                      <a:pt x="77" y="100"/>
                    </a:lnTo>
                    <a:lnTo>
                      <a:pt x="78" y="101"/>
                    </a:lnTo>
                    <a:lnTo>
                      <a:pt x="69" y="101"/>
                    </a:lnTo>
                    <a:lnTo>
                      <a:pt x="69" y="101"/>
                    </a:lnTo>
                    <a:lnTo>
                      <a:pt x="68" y="101"/>
                    </a:lnTo>
                    <a:lnTo>
                      <a:pt x="68" y="100"/>
                    </a:lnTo>
                    <a:lnTo>
                      <a:pt x="66" y="100"/>
                    </a:lnTo>
                    <a:lnTo>
                      <a:pt x="62" y="101"/>
                    </a:lnTo>
                    <a:lnTo>
                      <a:pt x="61" y="105"/>
                    </a:lnTo>
                    <a:lnTo>
                      <a:pt x="55" y="105"/>
                    </a:lnTo>
                    <a:lnTo>
                      <a:pt x="52" y="107"/>
                    </a:lnTo>
                    <a:lnTo>
                      <a:pt x="48" y="107"/>
                    </a:lnTo>
                    <a:lnTo>
                      <a:pt x="46" y="109"/>
                    </a:lnTo>
                    <a:lnTo>
                      <a:pt x="44" y="110"/>
                    </a:lnTo>
                    <a:lnTo>
                      <a:pt x="43" y="112"/>
                    </a:lnTo>
                    <a:lnTo>
                      <a:pt x="39" y="112"/>
                    </a:lnTo>
                    <a:lnTo>
                      <a:pt x="32" y="109"/>
                    </a:lnTo>
                    <a:lnTo>
                      <a:pt x="28" y="105"/>
                    </a:lnTo>
                    <a:lnTo>
                      <a:pt x="28" y="105"/>
                    </a:lnTo>
                    <a:lnTo>
                      <a:pt x="27" y="103"/>
                    </a:lnTo>
                    <a:lnTo>
                      <a:pt x="27" y="101"/>
                    </a:lnTo>
                    <a:lnTo>
                      <a:pt x="27" y="96"/>
                    </a:lnTo>
                    <a:lnTo>
                      <a:pt x="23" y="93"/>
                    </a:lnTo>
                    <a:lnTo>
                      <a:pt x="23" y="93"/>
                    </a:lnTo>
                    <a:lnTo>
                      <a:pt x="23" y="84"/>
                    </a:lnTo>
                    <a:lnTo>
                      <a:pt x="25" y="76"/>
                    </a:lnTo>
                    <a:lnTo>
                      <a:pt x="25" y="75"/>
                    </a:lnTo>
                    <a:lnTo>
                      <a:pt x="28" y="71"/>
                    </a:lnTo>
                    <a:lnTo>
                      <a:pt x="28" y="69"/>
                    </a:lnTo>
                    <a:lnTo>
                      <a:pt x="28" y="68"/>
                    </a:lnTo>
                    <a:lnTo>
                      <a:pt x="27" y="66"/>
                    </a:lnTo>
                    <a:lnTo>
                      <a:pt x="27" y="60"/>
                    </a:lnTo>
                    <a:lnTo>
                      <a:pt x="23" y="60"/>
                    </a:lnTo>
                    <a:lnTo>
                      <a:pt x="23" y="60"/>
                    </a:lnTo>
                    <a:lnTo>
                      <a:pt x="19" y="59"/>
                    </a:lnTo>
                    <a:lnTo>
                      <a:pt x="21" y="53"/>
                    </a:lnTo>
                    <a:lnTo>
                      <a:pt x="21" y="51"/>
                    </a:lnTo>
                    <a:lnTo>
                      <a:pt x="19" y="50"/>
                    </a:lnTo>
                    <a:lnTo>
                      <a:pt x="18" y="50"/>
                    </a:lnTo>
                    <a:lnTo>
                      <a:pt x="14" y="50"/>
                    </a:lnTo>
                    <a:lnTo>
                      <a:pt x="11" y="50"/>
                    </a:lnTo>
                    <a:lnTo>
                      <a:pt x="11" y="50"/>
                    </a:lnTo>
                    <a:lnTo>
                      <a:pt x="11" y="48"/>
                    </a:lnTo>
                    <a:lnTo>
                      <a:pt x="0" y="37"/>
                    </a:lnTo>
                    <a:lnTo>
                      <a:pt x="0" y="35"/>
                    </a:lnTo>
                    <a:lnTo>
                      <a:pt x="0" y="35"/>
                    </a:lnTo>
                    <a:lnTo>
                      <a:pt x="0" y="34"/>
                    </a:lnTo>
                    <a:lnTo>
                      <a:pt x="3" y="30"/>
                    </a:lnTo>
                    <a:lnTo>
                      <a:pt x="3" y="26"/>
                    </a:lnTo>
                    <a:lnTo>
                      <a:pt x="3" y="25"/>
                    </a:lnTo>
                    <a:lnTo>
                      <a:pt x="12" y="21"/>
                    </a:lnTo>
                    <a:lnTo>
                      <a:pt x="14" y="19"/>
                    </a:lnTo>
                    <a:lnTo>
                      <a:pt x="12" y="18"/>
                    </a:lnTo>
                    <a:lnTo>
                      <a:pt x="11" y="18"/>
                    </a:lnTo>
                    <a:lnTo>
                      <a:pt x="9" y="18"/>
                    </a:lnTo>
                    <a:lnTo>
                      <a:pt x="9" y="18"/>
                    </a:lnTo>
                    <a:lnTo>
                      <a:pt x="7" y="12"/>
                    </a:lnTo>
                    <a:lnTo>
                      <a:pt x="9" y="10"/>
                    </a:lnTo>
                    <a:lnTo>
                      <a:pt x="9" y="9"/>
                    </a:lnTo>
                    <a:lnTo>
                      <a:pt x="12" y="9"/>
                    </a:lnTo>
                    <a:lnTo>
                      <a:pt x="12" y="9"/>
                    </a:lnTo>
                    <a:lnTo>
                      <a:pt x="14" y="7"/>
                    </a:lnTo>
                    <a:lnTo>
                      <a:pt x="19" y="5"/>
                    </a:lnTo>
                    <a:lnTo>
                      <a:pt x="19" y="3"/>
                    </a:lnTo>
                    <a:lnTo>
                      <a:pt x="21" y="3"/>
                    </a:lnTo>
                    <a:lnTo>
                      <a:pt x="23" y="3"/>
                    </a:lnTo>
                    <a:lnTo>
                      <a:pt x="23" y="1"/>
                    </a:lnTo>
                    <a:lnTo>
                      <a:pt x="2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30" name="Freeform 3286"/>
              <p:cNvSpPr>
                <a:spLocks/>
              </p:cNvSpPr>
              <p:nvPr/>
            </p:nvSpPr>
            <p:spPr bwMode="auto">
              <a:xfrm>
                <a:off x="1716" y="2581"/>
                <a:ext cx="78" cy="112"/>
              </a:xfrm>
              <a:custGeom>
                <a:avLst/>
                <a:gdLst>
                  <a:gd name="T0" fmla="*/ 25 w 78"/>
                  <a:gd name="T1" fmla="*/ 0 h 112"/>
                  <a:gd name="T2" fmla="*/ 28 w 78"/>
                  <a:gd name="T3" fmla="*/ 0 h 112"/>
                  <a:gd name="T4" fmla="*/ 44 w 78"/>
                  <a:gd name="T5" fmla="*/ 14 h 112"/>
                  <a:gd name="T6" fmla="*/ 53 w 78"/>
                  <a:gd name="T7" fmla="*/ 25 h 112"/>
                  <a:gd name="T8" fmla="*/ 62 w 78"/>
                  <a:gd name="T9" fmla="*/ 32 h 112"/>
                  <a:gd name="T10" fmla="*/ 68 w 78"/>
                  <a:gd name="T11" fmla="*/ 39 h 112"/>
                  <a:gd name="T12" fmla="*/ 64 w 78"/>
                  <a:gd name="T13" fmla="*/ 46 h 112"/>
                  <a:gd name="T14" fmla="*/ 64 w 78"/>
                  <a:gd name="T15" fmla="*/ 48 h 112"/>
                  <a:gd name="T16" fmla="*/ 64 w 78"/>
                  <a:gd name="T17" fmla="*/ 50 h 112"/>
                  <a:gd name="T18" fmla="*/ 62 w 78"/>
                  <a:gd name="T19" fmla="*/ 51 h 112"/>
                  <a:gd name="T20" fmla="*/ 55 w 78"/>
                  <a:gd name="T21" fmla="*/ 53 h 112"/>
                  <a:gd name="T22" fmla="*/ 53 w 78"/>
                  <a:gd name="T23" fmla="*/ 55 h 112"/>
                  <a:gd name="T24" fmla="*/ 52 w 78"/>
                  <a:gd name="T25" fmla="*/ 66 h 112"/>
                  <a:gd name="T26" fmla="*/ 55 w 78"/>
                  <a:gd name="T27" fmla="*/ 73 h 112"/>
                  <a:gd name="T28" fmla="*/ 59 w 78"/>
                  <a:gd name="T29" fmla="*/ 76 h 112"/>
                  <a:gd name="T30" fmla="*/ 59 w 78"/>
                  <a:gd name="T31" fmla="*/ 78 h 112"/>
                  <a:gd name="T32" fmla="*/ 64 w 78"/>
                  <a:gd name="T33" fmla="*/ 78 h 112"/>
                  <a:gd name="T34" fmla="*/ 64 w 78"/>
                  <a:gd name="T35" fmla="*/ 82 h 112"/>
                  <a:gd name="T36" fmla="*/ 66 w 78"/>
                  <a:gd name="T37" fmla="*/ 85 h 112"/>
                  <a:gd name="T38" fmla="*/ 77 w 78"/>
                  <a:gd name="T39" fmla="*/ 100 h 112"/>
                  <a:gd name="T40" fmla="*/ 69 w 78"/>
                  <a:gd name="T41" fmla="*/ 101 h 112"/>
                  <a:gd name="T42" fmla="*/ 68 w 78"/>
                  <a:gd name="T43" fmla="*/ 101 h 112"/>
                  <a:gd name="T44" fmla="*/ 66 w 78"/>
                  <a:gd name="T45" fmla="*/ 100 h 112"/>
                  <a:gd name="T46" fmla="*/ 61 w 78"/>
                  <a:gd name="T47" fmla="*/ 105 h 112"/>
                  <a:gd name="T48" fmla="*/ 52 w 78"/>
                  <a:gd name="T49" fmla="*/ 107 h 112"/>
                  <a:gd name="T50" fmla="*/ 46 w 78"/>
                  <a:gd name="T51" fmla="*/ 109 h 112"/>
                  <a:gd name="T52" fmla="*/ 43 w 78"/>
                  <a:gd name="T53" fmla="*/ 112 h 112"/>
                  <a:gd name="T54" fmla="*/ 32 w 78"/>
                  <a:gd name="T55" fmla="*/ 109 h 112"/>
                  <a:gd name="T56" fmla="*/ 28 w 78"/>
                  <a:gd name="T57" fmla="*/ 105 h 112"/>
                  <a:gd name="T58" fmla="*/ 27 w 78"/>
                  <a:gd name="T59" fmla="*/ 101 h 112"/>
                  <a:gd name="T60" fmla="*/ 23 w 78"/>
                  <a:gd name="T61" fmla="*/ 93 h 112"/>
                  <a:gd name="T62" fmla="*/ 23 w 78"/>
                  <a:gd name="T63" fmla="*/ 84 h 112"/>
                  <a:gd name="T64" fmla="*/ 25 w 78"/>
                  <a:gd name="T65" fmla="*/ 75 h 112"/>
                  <a:gd name="T66" fmla="*/ 28 w 78"/>
                  <a:gd name="T67" fmla="*/ 69 h 112"/>
                  <a:gd name="T68" fmla="*/ 27 w 78"/>
                  <a:gd name="T69" fmla="*/ 66 h 112"/>
                  <a:gd name="T70" fmla="*/ 23 w 78"/>
                  <a:gd name="T71" fmla="*/ 60 h 112"/>
                  <a:gd name="T72" fmla="*/ 19 w 78"/>
                  <a:gd name="T73" fmla="*/ 59 h 112"/>
                  <a:gd name="T74" fmla="*/ 21 w 78"/>
                  <a:gd name="T75" fmla="*/ 51 h 112"/>
                  <a:gd name="T76" fmla="*/ 18 w 78"/>
                  <a:gd name="T77" fmla="*/ 50 h 112"/>
                  <a:gd name="T78" fmla="*/ 11 w 78"/>
                  <a:gd name="T79" fmla="*/ 50 h 112"/>
                  <a:gd name="T80" fmla="*/ 11 w 78"/>
                  <a:gd name="T81" fmla="*/ 48 h 112"/>
                  <a:gd name="T82" fmla="*/ 0 w 78"/>
                  <a:gd name="T83" fmla="*/ 35 h 112"/>
                  <a:gd name="T84" fmla="*/ 0 w 78"/>
                  <a:gd name="T85" fmla="*/ 34 h 112"/>
                  <a:gd name="T86" fmla="*/ 3 w 78"/>
                  <a:gd name="T87" fmla="*/ 26 h 112"/>
                  <a:gd name="T88" fmla="*/ 12 w 78"/>
                  <a:gd name="T89" fmla="*/ 21 h 112"/>
                  <a:gd name="T90" fmla="*/ 12 w 78"/>
                  <a:gd name="T91" fmla="*/ 18 h 112"/>
                  <a:gd name="T92" fmla="*/ 9 w 78"/>
                  <a:gd name="T93" fmla="*/ 18 h 112"/>
                  <a:gd name="T94" fmla="*/ 7 w 78"/>
                  <a:gd name="T95" fmla="*/ 12 h 112"/>
                  <a:gd name="T96" fmla="*/ 9 w 78"/>
                  <a:gd name="T97" fmla="*/ 9 h 112"/>
                  <a:gd name="T98" fmla="*/ 12 w 78"/>
                  <a:gd name="T99" fmla="*/ 9 h 112"/>
                  <a:gd name="T100" fmla="*/ 19 w 78"/>
                  <a:gd name="T101" fmla="*/ 5 h 112"/>
                  <a:gd name="T102" fmla="*/ 21 w 78"/>
                  <a:gd name="T103" fmla="*/ 3 h 112"/>
                  <a:gd name="T104" fmla="*/ 23 w 78"/>
                  <a:gd name="T105" fmla="*/ 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 h="112">
                    <a:moveTo>
                      <a:pt x="23" y="0"/>
                    </a:moveTo>
                    <a:lnTo>
                      <a:pt x="25" y="0"/>
                    </a:lnTo>
                    <a:lnTo>
                      <a:pt x="27" y="0"/>
                    </a:lnTo>
                    <a:lnTo>
                      <a:pt x="28" y="0"/>
                    </a:lnTo>
                    <a:lnTo>
                      <a:pt x="41" y="10"/>
                    </a:lnTo>
                    <a:lnTo>
                      <a:pt x="44" y="14"/>
                    </a:lnTo>
                    <a:lnTo>
                      <a:pt x="44" y="23"/>
                    </a:lnTo>
                    <a:lnTo>
                      <a:pt x="53" y="25"/>
                    </a:lnTo>
                    <a:lnTo>
                      <a:pt x="59" y="26"/>
                    </a:lnTo>
                    <a:lnTo>
                      <a:pt x="62" y="32"/>
                    </a:lnTo>
                    <a:lnTo>
                      <a:pt x="64" y="34"/>
                    </a:lnTo>
                    <a:lnTo>
                      <a:pt x="68" y="39"/>
                    </a:lnTo>
                    <a:lnTo>
                      <a:pt x="68" y="39"/>
                    </a:lnTo>
                    <a:lnTo>
                      <a:pt x="64" y="46"/>
                    </a:lnTo>
                    <a:lnTo>
                      <a:pt x="64" y="46"/>
                    </a:lnTo>
                    <a:lnTo>
                      <a:pt x="64" y="48"/>
                    </a:lnTo>
                    <a:lnTo>
                      <a:pt x="64" y="48"/>
                    </a:lnTo>
                    <a:lnTo>
                      <a:pt x="64" y="50"/>
                    </a:lnTo>
                    <a:lnTo>
                      <a:pt x="62" y="51"/>
                    </a:lnTo>
                    <a:lnTo>
                      <a:pt x="62" y="51"/>
                    </a:lnTo>
                    <a:lnTo>
                      <a:pt x="57" y="53"/>
                    </a:lnTo>
                    <a:lnTo>
                      <a:pt x="55" y="53"/>
                    </a:lnTo>
                    <a:lnTo>
                      <a:pt x="53" y="55"/>
                    </a:lnTo>
                    <a:lnTo>
                      <a:pt x="53" y="55"/>
                    </a:lnTo>
                    <a:lnTo>
                      <a:pt x="53" y="60"/>
                    </a:lnTo>
                    <a:lnTo>
                      <a:pt x="52" y="66"/>
                    </a:lnTo>
                    <a:lnTo>
                      <a:pt x="52" y="68"/>
                    </a:lnTo>
                    <a:lnTo>
                      <a:pt x="55" y="73"/>
                    </a:lnTo>
                    <a:lnTo>
                      <a:pt x="57" y="73"/>
                    </a:lnTo>
                    <a:lnTo>
                      <a:pt x="59" y="76"/>
                    </a:lnTo>
                    <a:lnTo>
                      <a:pt x="59" y="76"/>
                    </a:lnTo>
                    <a:lnTo>
                      <a:pt x="59" y="78"/>
                    </a:lnTo>
                    <a:lnTo>
                      <a:pt x="61" y="78"/>
                    </a:lnTo>
                    <a:lnTo>
                      <a:pt x="64" y="78"/>
                    </a:lnTo>
                    <a:lnTo>
                      <a:pt x="64" y="80"/>
                    </a:lnTo>
                    <a:lnTo>
                      <a:pt x="64" y="82"/>
                    </a:lnTo>
                    <a:lnTo>
                      <a:pt x="66" y="84"/>
                    </a:lnTo>
                    <a:lnTo>
                      <a:pt x="66" y="85"/>
                    </a:lnTo>
                    <a:lnTo>
                      <a:pt x="77" y="100"/>
                    </a:lnTo>
                    <a:lnTo>
                      <a:pt x="77" y="100"/>
                    </a:lnTo>
                    <a:lnTo>
                      <a:pt x="78" y="101"/>
                    </a:lnTo>
                    <a:lnTo>
                      <a:pt x="69" y="101"/>
                    </a:lnTo>
                    <a:lnTo>
                      <a:pt x="69" y="101"/>
                    </a:lnTo>
                    <a:lnTo>
                      <a:pt x="68" y="101"/>
                    </a:lnTo>
                    <a:lnTo>
                      <a:pt x="68" y="100"/>
                    </a:lnTo>
                    <a:lnTo>
                      <a:pt x="66" y="100"/>
                    </a:lnTo>
                    <a:lnTo>
                      <a:pt x="62" y="101"/>
                    </a:lnTo>
                    <a:lnTo>
                      <a:pt x="61" y="105"/>
                    </a:lnTo>
                    <a:lnTo>
                      <a:pt x="55" y="105"/>
                    </a:lnTo>
                    <a:lnTo>
                      <a:pt x="52" y="107"/>
                    </a:lnTo>
                    <a:lnTo>
                      <a:pt x="48" y="107"/>
                    </a:lnTo>
                    <a:lnTo>
                      <a:pt x="46" y="109"/>
                    </a:lnTo>
                    <a:lnTo>
                      <a:pt x="44" y="110"/>
                    </a:lnTo>
                    <a:lnTo>
                      <a:pt x="43" y="112"/>
                    </a:lnTo>
                    <a:lnTo>
                      <a:pt x="39" y="112"/>
                    </a:lnTo>
                    <a:lnTo>
                      <a:pt x="32" y="109"/>
                    </a:lnTo>
                    <a:lnTo>
                      <a:pt x="28" y="105"/>
                    </a:lnTo>
                    <a:lnTo>
                      <a:pt x="28" y="105"/>
                    </a:lnTo>
                    <a:lnTo>
                      <a:pt x="27" y="103"/>
                    </a:lnTo>
                    <a:lnTo>
                      <a:pt x="27" y="101"/>
                    </a:lnTo>
                    <a:lnTo>
                      <a:pt x="27" y="96"/>
                    </a:lnTo>
                    <a:lnTo>
                      <a:pt x="23" y="93"/>
                    </a:lnTo>
                    <a:lnTo>
                      <a:pt x="23" y="93"/>
                    </a:lnTo>
                    <a:lnTo>
                      <a:pt x="23" y="84"/>
                    </a:lnTo>
                    <a:lnTo>
                      <a:pt x="25" y="76"/>
                    </a:lnTo>
                    <a:lnTo>
                      <a:pt x="25" y="75"/>
                    </a:lnTo>
                    <a:lnTo>
                      <a:pt x="28" y="71"/>
                    </a:lnTo>
                    <a:lnTo>
                      <a:pt x="28" y="69"/>
                    </a:lnTo>
                    <a:lnTo>
                      <a:pt x="28" y="68"/>
                    </a:lnTo>
                    <a:lnTo>
                      <a:pt x="27" y="66"/>
                    </a:lnTo>
                    <a:lnTo>
                      <a:pt x="27" y="60"/>
                    </a:lnTo>
                    <a:lnTo>
                      <a:pt x="23" y="60"/>
                    </a:lnTo>
                    <a:lnTo>
                      <a:pt x="23" y="60"/>
                    </a:lnTo>
                    <a:lnTo>
                      <a:pt x="19" y="59"/>
                    </a:lnTo>
                    <a:lnTo>
                      <a:pt x="21" y="53"/>
                    </a:lnTo>
                    <a:lnTo>
                      <a:pt x="21" y="51"/>
                    </a:lnTo>
                    <a:lnTo>
                      <a:pt x="19" y="50"/>
                    </a:lnTo>
                    <a:lnTo>
                      <a:pt x="18" y="50"/>
                    </a:lnTo>
                    <a:lnTo>
                      <a:pt x="14" y="50"/>
                    </a:lnTo>
                    <a:lnTo>
                      <a:pt x="11" y="50"/>
                    </a:lnTo>
                    <a:lnTo>
                      <a:pt x="11" y="50"/>
                    </a:lnTo>
                    <a:lnTo>
                      <a:pt x="11" y="48"/>
                    </a:lnTo>
                    <a:lnTo>
                      <a:pt x="0" y="37"/>
                    </a:lnTo>
                    <a:lnTo>
                      <a:pt x="0" y="35"/>
                    </a:lnTo>
                    <a:lnTo>
                      <a:pt x="0" y="35"/>
                    </a:lnTo>
                    <a:lnTo>
                      <a:pt x="0" y="34"/>
                    </a:lnTo>
                    <a:lnTo>
                      <a:pt x="3" y="30"/>
                    </a:lnTo>
                    <a:lnTo>
                      <a:pt x="3" y="26"/>
                    </a:lnTo>
                    <a:lnTo>
                      <a:pt x="3" y="25"/>
                    </a:lnTo>
                    <a:lnTo>
                      <a:pt x="12" y="21"/>
                    </a:lnTo>
                    <a:lnTo>
                      <a:pt x="14" y="19"/>
                    </a:lnTo>
                    <a:lnTo>
                      <a:pt x="12" y="18"/>
                    </a:lnTo>
                    <a:lnTo>
                      <a:pt x="11" y="18"/>
                    </a:lnTo>
                    <a:lnTo>
                      <a:pt x="9" y="18"/>
                    </a:lnTo>
                    <a:lnTo>
                      <a:pt x="9" y="18"/>
                    </a:lnTo>
                    <a:lnTo>
                      <a:pt x="7" y="12"/>
                    </a:lnTo>
                    <a:lnTo>
                      <a:pt x="9" y="10"/>
                    </a:lnTo>
                    <a:lnTo>
                      <a:pt x="9" y="9"/>
                    </a:lnTo>
                    <a:lnTo>
                      <a:pt x="12" y="9"/>
                    </a:lnTo>
                    <a:lnTo>
                      <a:pt x="12" y="9"/>
                    </a:lnTo>
                    <a:lnTo>
                      <a:pt x="14" y="7"/>
                    </a:lnTo>
                    <a:lnTo>
                      <a:pt x="19" y="5"/>
                    </a:lnTo>
                    <a:lnTo>
                      <a:pt x="19" y="3"/>
                    </a:lnTo>
                    <a:lnTo>
                      <a:pt x="21" y="3"/>
                    </a:lnTo>
                    <a:lnTo>
                      <a:pt x="23" y="3"/>
                    </a:lnTo>
                    <a:lnTo>
                      <a:pt x="23" y="1"/>
                    </a:lnTo>
                    <a:lnTo>
                      <a:pt x="2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31" name="Freeform 3287"/>
              <p:cNvSpPr>
                <a:spLocks/>
              </p:cNvSpPr>
              <p:nvPr/>
            </p:nvSpPr>
            <p:spPr bwMode="auto">
              <a:xfrm>
                <a:off x="1827" y="2624"/>
                <a:ext cx="44" cy="58"/>
              </a:xfrm>
              <a:custGeom>
                <a:avLst/>
                <a:gdLst>
                  <a:gd name="T0" fmla="*/ 0 w 44"/>
                  <a:gd name="T1" fmla="*/ 53 h 58"/>
                  <a:gd name="T2" fmla="*/ 3 w 44"/>
                  <a:gd name="T3" fmla="*/ 50 h 58"/>
                  <a:gd name="T4" fmla="*/ 7 w 44"/>
                  <a:gd name="T5" fmla="*/ 32 h 58"/>
                  <a:gd name="T6" fmla="*/ 5 w 44"/>
                  <a:gd name="T7" fmla="*/ 28 h 58"/>
                  <a:gd name="T8" fmla="*/ 5 w 44"/>
                  <a:gd name="T9" fmla="*/ 28 h 58"/>
                  <a:gd name="T10" fmla="*/ 5 w 44"/>
                  <a:gd name="T11" fmla="*/ 28 h 58"/>
                  <a:gd name="T12" fmla="*/ 1 w 44"/>
                  <a:gd name="T13" fmla="*/ 21 h 58"/>
                  <a:gd name="T14" fmla="*/ 0 w 44"/>
                  <a:gd name="T15" fmla="*/ 8 h 58"/>
                  <a:gd name="T16" fmla="*/ 1 w 44"/>
                  <a:gd name="T17" fmla="*/ 7 h 58"/>
                  <a:gd name="T18" fmla="*/ 5 w 44"/>
                  <a:gd name="T19" fmla="*/ 3 h 58"/>
                  <a:gd name="T20" fmla="*/ 5 w 44"/>
                  <a:gd name="T21" fmla="*/ 1 h 58"/>
                  <a:gd name="T22" fmla="*/ 5 w 44"/>
                  <a:gd name="T23" fmla="*/ 1 h 58"/>
                  <a:gd name="T24" fmla="*/ 7 w 44"/>
                  <a:gd name="T25" fmla="*/ 1 h 58"/>
                  <a:gd name="T26" fmla="*/ 8 w 44"/>
                  <a:gd name="T27" fmla="*/ 0 h 58"/>
                  <a:gd name="T28" fmla="*/ 10 w 44"/>
                  <a:gd name="T29" fmla="*/ 0 h 58"/>
                  <a:gd name="T30" fmla="*/ 21 w 44"/>
                  <a:gd name="T31" fmla="*/ 5 h 58"/>
                  <a:gd name="T32" fmla="*/ 25 w 44"/>
                  <a:gd name="T33" fmla="*/ 5 h 58"/>
                  <a:gd name="T34" fmla="*/ 44 w 44"/>
                  <a:gd name="T35" fmla="*/ 21 h 58"/>
                  <a:gd name="T36" fmla="*/ 44 w 44"/>
                  <a:gd name="T37" fmla="*/ 25 h 58"/>
                  <a:gd name="T38" fmla="*/ 44 w 44"/>
                  <a:gd name="T39" fmla="*/ 25 h 58"/>
                  <a:gd name="T40" fmla="*/ 32 w 44"/>
                  <a:gd name="T41" fmla="*/ 41 h 58"/>
                  <a:gd name="T42" fmla="*/ 30 w 44"/>
                  <a:gd name="T43" fmla="*/ 48 h 58"/>
                  <a:gd name="T44" fmla="*/ 21 w 44"/>
                  <a:gd name="T45" fmla="*/ 55 h 58"/>
                  <a:gd name="T46" fmla="*/ 19 w 44"/>
                  <a:gd name="T47" fmla="*/ 57 h 58"/>
                  <a:gd name="T48" fmla="*/ 17 w 44"/>
                  <a:gd name="T49" fmla="*/ 57 h 58"/>
                  <a:gd name="T50" fmla="*/ 16 w 44"/>
                  <a:gd name="T51" fmla="*/ 55 h 58"/>
                  <a:gd name="T52" fmla="*/ 12 w 44"/>
                  <a:gd name="T53" fmla="*/ 55 h 58"/>
                  <a:gd name="T54" fmla="*/ 7 w 44"/>
                  <a:gd name="T55" fmla="*/ 58 h 58"/>
                  <a:gd name="T56" fmla="*/ 5 w 44"/>
                  <a:gd name="T57" fmla="*/ 57 h 58"/>
                  <a:gd name="T58" fmla="*/ 1 w 44"/>
                  <a:gd name="T59" fmla="*/ 55 h 58"/>
                  <a:gd name="T60" fmla="*/ 0 w 44"/>
                  <a:gd name="T61" fmla="*/ 5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58">
                    <a:moveTo>
                      <a:pt x="0" y="53"/>
                    </a:moveTo>
                    <a:lnTo>
                      <a:pt x="3" y="50"/>
                    </a:lnTo>
                    <a:lnTo>
                      <a:pt x="7" y="32"/>
                    </a:lnTo>
                    <a:lnTo>
                      <a:pt x="5" y="28"/>
                    </a:lnTo>
                    <a:lnTo>
                      <a:pt x="5" y="28"/>
                    </a:lnTo>
                    <a:lnTo>
                      <a:pt x="5" y="28"/>
                    </a:lnTo>
                    <a:lnTo>
                      <a:pt x="1" y="21"/>
                    </a:lnTo>
                    <a:lnTo>
                      <a:pt x="0" y="8"/>
                    </a:lnTo>
                    <a:lnTo>
                      <a:pt x="1" y="7"/>
                    </a:lnTo>
                    <a:lnTo>
                      <a:pt x="5" y="3"/>
                    </a:lnTo>
                    <a:lnTo>
                      <a:pt x="5" y="1"/>
                    </a:lnTo>
                    <a:lnTo>
                      <a:pt x="5" y="1"/>
                    </a:lnTo>
                    <a:lnTo>
                      <a:pt x="7" y="1"/>
                    </a:lnTo>
                    <a:lnTo>
                      <a:pt x="8" y="0"/>
                    </a:lnTo>
                    <a:lnTo>
                      <a:pt x="10" y="0"/>
                    </a:lnTo>
                    <a:lnTo>
                      <a:pt x="21" y="5"/>
                    </a:lnTo>
                    <a:lnTo>
                      <a:pt x="25" y="5"/>
                    </a:lnTo>
                    <a:lnTo>
                      <a:pt x="44" y="21"/>
                    </a:lnTo>
                    <a:lnTo>
                      <a:pt x="44" y="25"/>
                    </a:lnTo>
                    <a:lnTo>
                      <a:pt x="44" y="25"/>
                    </a:lnTo>
                    <a:lnTo>
                      <a:pt x="32" y="41"/>
                    </a:lnTo>
                    <a:lnTo>
                      <a:pt x="30" y="48"/>
                    </a:lnTo>
                    <a:lnTo>
                      <a:pt x="21" y="55"/>
                    </a:lnTo>
                    <a:lnTo>
                      <a:pt x="19" y="57"/>
                    </a:lnTo>
                    <a:lnTo>
                      <a:pt x="17" y="57"/>
                    </a:lnTo>
                    <a:lnTo>
                      <a:pt x="16" y="55"/>
                    </a:lnTo>
                    <a:lnTo>
                      <a:pt x="12" y="55"/>
                    </a:lnTo>
                    <a:lnTo>
                      <a:pt x="7" y="58"/>
                    </a:lnTo>
                    <a:lnTo>
                      <a:pt x="5" y="57"/>
                    </a:lnTo>
                    <a:lnTo>
                      <a:pt x="1" y="55"/>
                    </a:lnTo>
                    <a:lnTo>
                      <a:pt x="0" y="53"/>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32" name="Freeform 3288"/>
              <p:cNvSpPr>
                <a:spLocks/>
              </p:cNvSpPr>
              <p:nvPr/>
            </p:nvSpPr>
            <p:spPr bwMode="auto">
              <a:xfrm>
                <a:off x="1827" y="2624"/>
                <a:ext cx="44" cy="58"/>
              </a:xfrm>
              <a:custGeom>
                <a:avLst/>
                <a:gdLst>
                  <a:gd name="T0" fmla="*/ 0 w 44"/>
                  <a:gd name="T1" fmla="*/ 53 h 58"/>
                  <a:gd name="T2" fmla="*/ 3 w 44"/>
                  <a:gd name="T3" fmla="*/ 50 h 58"/>
                  <a:gd name="T4" fmla="*/ 7 w 44"/>
                  <a:gd name="T5" fmla="*/ 32 h 58"/>
                  <a:gd name="T6" fmla="*/ 5 w 44"/>
                  <a:gd name="T7" fmla="*/ 28 h 58"/>
                  <a:gd name="T8" fmla="*/ 5 w 44"/>
                  <a:gd name="T9" fmla="*/ 28 h 58"/>
                  <a:gd name="T10" fmla="*/ 5 w 44"/>
                  <a:gd name="T11" fmla="*/ 28 h 58"/>
                  <a:gd name="T12" fmla="*/ 1 w 44"/>
                  <a:gd name="T13" fmla="*/ 21 h 58"/>
                  <a:gd name="T14" fmla="*/ 0 w 44"/>
                  <a:gd name="T15" fmla="*/ 8 h 58"/>
                  <a:gd name="T16" fmla="*/ 1 w 44"/>
                  <a:gd name="T17" fmla="*/ 7 h 58"/>
                  <a:gd name="T18" fmla="*/ 5 w 44"/>
                  <a:gd name="T19" fmla="*/ 3 h 58"/>
                  <a:gd name="T20" fmla="*/ 5 w 44"/>
                  <a:gd name="T21" fmla="*/ 1 h 58"/>
                  <a:gd name="T22" fmla="*/ 5 w 44"/>
                  <a:gd name="T23" fmla="*/ 1 h 58"/>
                  <a:gd name="T24" fmla="*/ 7 w 44"/>
                  <a:gd name="T25" fmla="*/ 1 h 58"/>
                  <a:gd name="T26" fmla="*/ 8 w 44"/>
                  <a:gd name="T27" fmla="*/ 0 h 58"/>
                  <a:gd name="T28" fmla="*/ 10 w 44"/>
                  <a:gd name="T29" fmla="*/ 0 h 58"/>
                  <a:gd name="T30" fmla="*/ 21 w 44"/>
                  <a:gd name="T31" fmla="*/ 5 h 58"/>
                  <a:gd name="T32" fmla="*/ 25 w 44"/>
                  <a:gd name="T33" fmla="*/ 5 h 58"/>
                  <a:gd name="T34" fmla="*/ 44 w 44"/>
                  <a:gd name="T35" fmla="*/ 21 h 58"/>
                  <a:gd name="T36" fmla="*/ 44 w 44"/>
                  <a:gd name="T37" fmla="*/ 25 h 58"/>
                  <a:gd name="T38" fmla="*/ 44 w 44"/>
                  <a:gd name="T39" fmla="*/ 25 h 58"/>
                  <a:gd name="T40" fmla="*/ 32 w 44"/>
                  <a:gd name="T41" fmla="*/ 41 h 58"/>
                  <a:gd name="T42" fmla="*/ 30 w 44"/>
                  <a:gd name="T43" fmla="*/ 48 h 58"/>
                  <a:gd name="T44" fmla="*/ 21 w 44"/>
                  <a:gd name="T45" fmla="*/ 55 h 58"/>
                  <a:gd name="T46" fmla="*/ 19 w 44"/>
                  <a:gd name="T47" fmla="*/ 57 h 58"/>
                  <a:gd name="T48" fmla="*/ 17 w 44"/>
                  <a:gd name="T49" fmla="*/ 57 h 58"/>
                  <a:gd name="T50" fmla="*/ 16 w 44"/>
                  <a:gd name="T51" fmla="*/ 55 h 58"/>
                  <a:gd name="T52" fmla="*/ 12 w 44"/>
                  <a:gd name="T53" fmla="*/ 55 h 58"/>
                  <a:gd name="T54" fmla="*/ 7 w 44"/>
                  <a:gd name="T55" fmla="*/ 58 h 58"/>
                  <a:gd name="T56" fmla="*/ 5 w 44"/>
                  <a:gd name="T57" fmla="*/ 57 h 58"/>
                  <a:gd name="T58" fmla="*/ 1 w 44"/>
                  <a:gd name="T59" fmla="*/ 55 h 58"/>
                  <a:gd name="T60" fmla="*/ 0 w 44"/>
                  <a:gd name="T61" fmla="*/ 53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 h="58">
                    <a:moveTo>
                      <a:pt x="0" y="53"/>
                    </a:moveTo>
                    <a:lnTo>
                      <a:pt x="3" y="50"/>
                    </a:lnTo>
                    <a:lnTo>
                      <a:pt x="7" y="32"/>
                    </a:lnTo>
                    <a:lnTo>
                      <a:pt x="5" y="28"/>
                    </a:lnTo>
                    <a:lnTo>
                      <a:pt x="5" y="28"/>
                    </a:lnTo>
                    <a:lnTo>
                      <a:pt x="5" y="28"/>
                    </a:lnTo>
                    <a:lnTo>
                      <a:pt x="1" y="21"/>
                    </a:lnTo>
                    <a:lnTo>
                      <a:pt x="0" y="8"/>
                    </a:lnTo>
                    <a:lnTo>
                      <a:pt x="1" y="7"/>
                    </a:lnTo>
                    <a:lnTo>
                      <a:pt x="5" y="3"/>
                    </a:lnTo>
                    <a:lnTo>
                      <a:pt x="5" y="1"/>
                    </a:lnTo>
                    <a:lnTo>
                      <a:pt x="5" y="1"/>
                    </a:lnTo>
                    <a:lnTo>
                      <a:pt x="7" y="1"/>
                    </a:lnTo>
                    <a:lnTo>
                      <a:pt x="8" y="0"/>
                    </a:lnTo>
                    <a:lnTo>
                      <a:pt x="10" y="0"/>
                    </a:lnTo>
                    <a:lnTo>
                      <a:pt x="21" y="5"/>
                    </a:lnTo>
                    <a:lnTo>
                      <a:pt x="25" y="5"/>
                    </a:lnTo>
                    <a:lnTo>
                      <a:pt x="44" y="21"/>
                    </a:lnTo>
                    <a:lnTo>
                      <a:pt x="44" y="25"/>
                    </a:lnTo>
                    <a:lnTo>
                      <a:pt x="44" y="25"/>
                    </a:lnTo>
                    <a:lnTo>
                      <a:pt x="32" y="41"/>
                    </a:lnTo>
                    <a:lnTo>
                      <a:pt x="30" y="48"/>
                    </a:lnTo>
                    <a:lnTo>
                      <a:pt x="21" y="55"/>
                    </a:lnTo>
                    <a:lnTo>
                      <a:pt x="19" y="57"/>
                    </a:lnTo>
                    <a:lnTo>
                      <a:pt x="17" y="57"/>
                    </a:lnTo>
                    <a:lnTo>
                      <a:pt x="16" y="55"/>
                    </a:lnTo>
                    <a:lnTo>
                      <a:pt x="12" y="55"/>
                    </a:lnTo>
                    <a:lnTo>
                      <a:pt x="7" y="58"/>
                    </a:lnTo>
                    <a:lnTo>
                      <a:pt x="5" y="57"/>
                    </a:lnTo>
                    <a:lnTo>
                      <a:pt x="1" y="55"/>
                    </a:lnTo>
                    <a:lnTo>
                      <a:pt x="0" y="53"/>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33" name="Freeform 3289"/>
              <p:cNvSpPr>
                <a:spLocks/>
              </p:cNvSpPr>
              <p:nvPr/>
            </p:nvSpPr>
            <p:spPr bwMode="auto">
              <a:xfrm>
                <a:off x="2085" y="3738"/>
                <a:ext cx="38" cy="25"/>
              </a:xfrm>
              <a:custGeom>
                <a:avLst/>
                <a:gdLst>
                  <a:gd name="T0" fmla="*/ 2 w 38"/>
                  <a:gd name="T1" fmla="*/ 2 h 25"/>
                  <a:gd name="T2" fmla="*/ 0 w 38"/>
                  <a:gd name="T3" fmla="*/ 2 h 25"/>
                  <a:gd name="T4" fmla="*/ 8 w 38"/>
                  <a:gd name="T5" fmla="*/ 0 h 25"/>
                  <a:gd name="T6" fmla="*/ 8 w 38"/>
                  <a:gd name="T7" fmla="*/ 2 h 25"/>
                  <a:gd name="T8" fmla="*/ 9 w 38"/>
                  <a:gd name="T9" fmla="*/ 2 h 25"/>
                  <a:gd name="T10" fmla="*/ 13 w 38"/>
                  <a:gd name="T11" fmla="*/ 0 h 25"/>
                  <a:gd name="T12" fmla="*/ 13 w 38"/>
                  <a:gd name="T13" fmla="*/ 2 h 25"/>
                  <a:gd name="T14" fmla="*/ 15 w 38"/>
                  <a:gd name="T15" fmla="*/ 2 h 25"/>
                  <a:gd name="T16" fmla="*/ 17 w 38"/>
                  <a:gd name="T17" fmla="*/ 3 h 25"/>
                  <a:gd name="T18" fmla="*/ 18 w 38"/>
                  <a:gd name="T19" fmla="*/ 3 h 25"/>
                  <a:gd name="T20" fmla="*/ 25 w 38"/>
                  <a:gd name="T21" fmla="*/ 5 h 25"/>
                  <a:gd name="T22" fmla="*/ 24 w 38"/>
                  <a:gd name="T23" fmla="*/ 7 h 25"/>
                  <a:gd name="T24" fmla="*/ 25 w 38"/>
                  <a:gd name="T25" fmla="*/ 7 h 25"/>
                  <a:gd name="T26" fmla="*/ 27 w 38"/>
                  <a:gd name="T27" fmla="*/ 11 h 25"/>
                  <a:gd name="T28" fmla="*/ 29 w 38"/>
                  <a:gd name="T29" fmla="*/ 11 h 25"/>
                  <a:gd name="T30" fmla="*/ 29 w 38"/>
                  <a:gd name="T31" fmla="*/ 9 h 25"/>
                  <a:gd name="T32" fmla="*/ 31 w 38"/>
                  <a:gd name="T33" fmla="*/ 11 h 25"/>
                  <a:gd name="T34" fmla="*/ 33 w 38"/>
                  <a:gd name="T35" fmla="*/ 14 h 25"/>
                  <a:gd name="T36" fmla="*/ 34 w 38"/>
                  <a:gd name="T37" fmla="*/ 14 h 25"/>
                  <a:gd name="T38" fmla="*/ 34 w 38"/>
                  <a:gd name="T39" fmla="*/ 16 h 25"/>
                  <a:gd name="T40" fmla="*/ 36 w 38"/>
                  <a:gd name="T41" fmla="*/ 18 h 25"/>
                  <a:gd name="T42" fmla="*/ 36 w 38"/>
                  <a:gd name="T43" fmla="*/ 16 h 25"/>
                  <a:gd name="T44" fmla="*/ 36 w 38"/>
                  <a:gd name="T45" fmla="*/ 18 h 25"/>
                  <a:gd name="T46" fmla="*/ 38 w 38"/>
                  <a:gd name="T47" fmla="*/ 21 h 25"/>
                  <a:gd name="T48" fmla="*/ 38 w 38"/>
                  <a:gd name="T49" fmla="*/ 21 h 25"/>
                  <a:gd name="T50" fmla="*/ 36 w 38"/>
                  <a:gd name="T51" fmla="*/ 21 h 25"/>
                  <a:gd name="T52" fmla="*/ 36 w 38"/>
                  <a:gd name="T53" fmla="*/ 23 h 25"/>
                  <a:gd name="T54" fmla="*/ 36 w 38"/>
                  <a:gd name="T55" fmla="*/ 25 h 25"/>
                  <a:gd name="T56" fmla="*/ 34 w 38"/>
                  <a:gd name="T57" fmla="*/ 25 h 25"/>
                  <a:gd name="T58" fmla="*/ 33 w 38"/>
                  <a:gd name="T59" fmla="*/ 25 h 25"/>
                  <a:gd name="T60" fmla="*/ 31 w 38"/>
                  <a:gd name="T61" fmla="*/ 21 h 25"/>
                  <a:gd name="T62" fmla="*/ 31 w 38"/>
                  <a:gd name="T63" fmla="*/ 19 h 25"/>
                  <a:gd name="T64" fmla="*/ 27 w 38"/>
                  <a:gd name="T65" fmla="*/ 18 h 25"/>
                  <a:gd name="T66" fmla="*/ 27 w 38"/>
                  <a:gd name="T67" fmla="*/ 16 h 25"/>
                  <a:gd name="T68" fmla="*/ 25 w 38"/>
                  <a:gd name="T69" fmla="*/ 14 h 25"/>
                  <a:gd name="T70" fmla="*/ 24 w 38"/>
                  <a:gd name="T71" fmla="*/ 14 h 25"/>
                  <a:gd name="T72" fmla="*/ 24 w 38"/>
                  <a:gd name="T73" fmla="*/ 12 h 25"/>
                  <a:gd name="T74" fmla="*/ 15 w 38"/>
                  <a:gd name="T75" fmla="*/ 9 h 25"/>
                  <a:gd name="T76" fmla="*/ 13 w 38"/>
                  <a:gd name="T77" fmla="*/ 9 h 25"/>
                  <a:gd name="T78" fmla="*/ 13 w 38"/>
                  <a:gd name="T79" fmla="*/ 7 h 25"/>
                  <a:gd name="T80" fmla="*/ 13 w 38"/>
                  <a:gd name="T81" fmla="*/ 7 h 25"/>
                  <a:gd name="T82" fmla="*/ 13 w 38"/>
                  <a:gd name="T83" fmla="*/ 5 h 25"/>
                  <a:gd name="T84" fmla="*/ 9 w 38"/>
                  <a:gd name="T85" fmla="*/ 5 h 25"/>
                  <a:gd name="T86" fmla="*/ 8 w 38"/>
                  <a:gd name="T87" fmla="*/ 5 h 25"/>
                  <a:gd name="T88" fmla="*/ 8 w 38"/>
                  <a:gd name="T89" fmla="*/ 3 h 25"/>
                  <a:gd name="T90" fmla="*/ 6 w 38"/>
                  <a:gd name="T91" fmla="*/ 3 h 25"/>
                  <a:gd name="T92" fmla="*/ 4 w 38"/>
                  <a:gd name="T93" fmla="*/ 2 h 25"/>
                  <a:gd name="T94" fmla="*/ 2 w 38"/>
                  <a:gd name="T95" fmla="*/ 2 h 25"/>
                  <a:gd name="T96" fmla="*/ 2 w 38"/>
                  <a:gd name="T9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 h="25">
                    <a:moveTo>
                      <a:pt x="2" y="2"/>
                    </a:moveTo>
                    <a:lnTo>
                      <a:pt x="0" y="2"/>
                    </a:lnTo>
                    <a:lnTo>
                      <a:pt x="8" y="0"/>
                    </a:lnTo>
                    <a:lnTo>
                      <a:pt x="8" y="2"/>
                    </a:lnTo>
                    <a:lnTo>
                      <a:pt x="9" y="2"/>
                    </a:lnTo>
                    <a:lnTo>
                      <a:pt x="13" y="0"/>
                    </a:lnTo>
                    <a:lnTo>
                      <a:pt x="13" y="2"/>
                    </a:lnTo>
                    <a:lnTo>
                      <a:pt x="15" y="2"/>
                    </a:lnTo>
                    <a:lnTo>
                      <a:pt x="17" y="3"/>
                    </a:lnTo>
                    <a:lnTo>
                      <a:pt x="18" y="3"/>
                    </a:lnTo>
                    <a:lnTo>
                      <a:pt x="25" y="5"/>
                    </a:lnTo>
                    <a:lnTo>
                      <a:pt x="24" y="7"/>
                    </a:lnTo>
                    <a:lnTo>
                      <a:pt x="25" y="7"/>
                    </a:lnTo>
                    <a:lnTo>
                      <a:pt x="27" y="11"/>
                    </a:lnTo>
                    <a:lnTo>
                      <a:pt x="29" y="11"/>
                    </a:lnTo>
                    <a:lnTo>
                      <a:pt x="29" y="9"/>
                    </a:lnTo>
                    <a:lnTo>
                      <a:pt x="31" y="11"/>
                    </a:lnTo>
                    <a:lnTo>
                      <a:pt x="33" y="14"/>
                    </a:lnTo>
                    <a:lnTo>
                      <a:pt x="34" y="14"/>
                    </a:lnTo>
                    <a:lnTo>
                      <a:pt x="34" y="16"/>
                    </a:lnTo>
                    <a:lnTo>
                      <a:pt x="36" y="18"/>
                    </a:lnTo>
                    <a:lnTo>
                      <a:pt x="36" y="16"/>
                    </a:lnTo>
                    <a:lnTo>
                      <a:pt x="36" y="18"/>
                    </a:lnTo>
                    <a:lnTo>
                      <a:pt x="38" y="21"/>
                    </a:lnTo>
                    <a:lnTo>
                      <a:pt x="38" y="21"/>
                    </a:lnTo>
                    <a:lnTo>
                      <a:pt x="36" y="21"/>
                    </a:lnTo>
                    <a:lnTo>
                      <a:pt x="36" y="23"/>
                    </a:lnTo>
                    <a:lnTo>
                      <a:pt x="36" y="25"/>
                    </a:lnTo>
                    <a:lnTo>
                      <a:pt x="34" y="25"/>
                    </a:lnTo>
                    <a:lnTo>
                      <a:pt x="33" y="25"/>
                    </a:lnTo>
                    <a:lnTo>
                      <a:pt x="31" y="21"/>
                    </a:lnTo>
                    <a:lnTo>
                      <a:pt x="31" y="19"/>
                    </a:lnTo>
                    <a:lnTo>
                      <a:pt x="27" y="18"/>
                    </a:lnTo>
                    <a:lnTo>
                      <a:pt x="27" y="16"/>
                    </a:lnTo>
                    <a:lnTo>
                      <a:pt x="25" y="14"/>
                    </a:lnTo>
                    <a:lnTo>
                      <a:pt x="24" y="14"/>
                    </a:lnTo>
                    <a:lnTo>
                      <a:pt x="24" y="12"/>
                    </a:lnTo>
                    <a:lnTo>
                      <a:pt x="15" y="9"/>
                    </a:lnTo>
                    <a:lnTo>
                      <a:pt x="13" y="9"/>
                    </a:lnTo>
                    <a:lnTo>
                      <a:pt x="13" y="7"/>
                    </a:lnTo>
                    <a:lnTo>
                      <a:pt x="13" y="7"/>
                    </a:lnTo>
                    <a:lnTo>
                      <a:pt x="13" y="5"/>
                    </a:lnTo>
                    <a:lnTo>
                      <a:pt x="9" y="5"/>
                    </a:lnTo>
                    <a:lnTo>
                      <a:pt x="8" y="5"/>
                    </a:lnTo>
                    <a:lnTo>
                      <a:pt x="8" y="3"/>
                    </a:lnTo>
                    <a:lnTo>
                      <a:pt x="6" y="3"/>
                    </a:lnTo>
                    <a:lnTo>
                      <a:pt x="4" y="2"/>
                    </a:lnTo>
                    <a:lnTo>
                      <a:pt x="2" y="2"/>
                    </a:lnTo>
                    <a:lnTo>
                      <a:pt x="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34" name="Freeform 3290"/>
              <p:cNvSpPr>
                <a:spLocks/>
              </p:cNvSpPr>
              <p:nvPr/>
            </p:nvSpPr>
            <p:spPr bwMode="auto">
              <a:xfrm>
                <a:off x="2085" y="3738"/>
                <a:ext cx="38" cy="25"/>
              </a:xfrm>
              <a:custGeom>
                <a:avLst/>
                <a:gdLst>
                  <a:gd name="T0" fmla="*/ 2 w 38"/>
                  <a:gd name="T1" fmla="*/ 2 h 25"/>
                  <a:gd name="T2" fmla="*/ 0 w 38"/>
                  <a:gd name="T3" fmla="*/ 2 h 25"/>
                  <a:gd name="T4" fmla="*/ 8 w 38"/>
                  <a:gd name="T5" fmla="*/ 0 h 25"/>
                  <a:gd name="T6" fmla="*/ 8 w 38"/>
                  <a:gd name="T7" fmla="*/ 2 h 25"/>
                  <a:gd name="T8" fmla="*/ 9 w 38"/>
                  <a:gd name="T9" fmla="*/ 2 h 25"/>
                  <a:gd name="T10" fmla="*/ 13 w 38"/>
                  <a:gd name="T11" fmla="*/ 0 h 25"/>
                  <a:gd name="T12" fmla="*/ 13 w 38"/>
                  <a:gd name="T13" fmla="*/ 2 h 25"/>
                  <a:gd name="T14" fmla="*/ 15 w 38"/>
                  <a:gd name="T15" fmla="*/ 2 h 25"/>
                  <a:gd name="T16" fmla="*/ 17 w 38"/>
                  <a:gd name="T17" fmla="*/ 3 h 25"/>
                  <a:gd name="T18" fmla="*/ 18 w 38"/>
                  <a:gd name="T19" fmla="*/ 3 h 25"/>
                  <a:gd name="T20" fmla="*/ 25 w 38"/>
                  <a:gd name="T21" fmla="*/ 5 h 25"/>
                  <a:gd name="T22" fmla="*/ 24 w 38"/>
                  <a:gd name="T23" fmla="*/ 7 h 25"/>
                  <a:gd name="T24" fmla="*/ 25 w 38"/>
                  <a:gd name="T25" fmla="*/ 7 h 25"/>
                  <a:gd name="T26" fmla="*/ 27 w 38"/>
                  <a:gd name="T27" fmla="*/ 11 h 25"/>
                  <a:gd name="T28" fmla="*/ 29 w 38"/>
                  <a:gd name="T29" fmla="*/ 11 h 25"/>
                  <a:gd name="T30" fmla="*/ 29 w 38"/>
                  <a:gd name="T31" fmla="*/ 9 h 25"/>
                  <a:gd name="T32" fmla="*/ 31 w 38"/>
                  <a:gd name="T33" fmla="*/ 11 h 25"/>
                  <a:gd name="T34" fmla="*/ 33 w 38"/>
                  <a:gd name="T35" fmla="*/ 14 h 25"/>
                  <a:gd name="T36" fmla="*/ 34 w 38"/>
                  <a:gd name="T37" fmla="*/ 14 h 25"/>
                  <a:gd name="T38" fmla="*/ 34 w 38"/>
                  <a:gd name="T39" fmla="*/ 16 h 25"/>
                  <a:gd name="T40" fmla="*/ 36 w 38"/>
                  <a:gd name="T41" fmla="*/ 18 h 25"/>
                  <a:gd name="T42" fmla="*/ 36 w 38"/>
                  <a:gd name="T43" fmla="*/ 16 h 25"/>
                  <a:gd name="T44" fmla="*/ 36 w 38"/>
                  <a:gd name="T45" fmla="*/ 18 h 25"/>
                  <a:gd name="T46" fmla="*/ 38 w 38"/>
                  <a:gd name="T47" fmla="*/ 21 h 25"/>
                  <a:gd name="T48" fmla="*/ 38 w 38"/>
                  <a:gd name="T49" fmla="*/ 21 h 25"/>
                  <a:gd name="T50" fmla="*/ 36 w 38"/>
                  <a:gd name="T51" fmla="*/ 21 h 25"/>
                  <a:gd name="T52" fmla="*/ 36 w 38"/>
                  <a:gd name="T53" fmla="*/ 23 h 25"/>
                  <a:gd name="T54" fmla="*/ 36 w 38"/>
                  <a:gd name="T55" fmla="*/ 25 h 25"/>
                  <a:gd name="T56" fmla="*/ 34 w 38"/>
                  <a:gd name="T57" fmla="*/ 25 h 25"/>
                  <a:gd name="T58" fmla="*/ 33 w 38"/>
                  <a:gd name="T59" fmla="*/ 25 h 25"/>
                  <a:gd name="T60" fmla="*/ 31 w 38"/>
                  <a:gd name="T61" fmla="*/ 21 h 25"/>
                  <a:gd name="T62" fmla="*/ 31 w 38"/>
                  <a:gd name="T63" fmla="*/ 19 h 25"/>
                  <a:gd name="T64" fmla="*/ 27 w 38"/>
                  <a:gd name="T65" fmla="*/ 18 h 25"/>
                  <a:gd name="T66" fmla="*/ 27 w 38"/>
                  <a:gd name="T67" fmla="*/ 16 h 25"/>
                  <a:gd name="T68" fmla="*/ 25 w 38"/>
                  <a:gd name="T69" fmla="*/ 14 h 25"/>
                  <a:gd name="T70" fmla="*/ 24 w 38"/>
                  <a:gd name="T71" fmla="*/ 14 h 25"/>
                  <a:gd name="T72" fmla="*/ 24 w 38"/>
                  <a:gd name="T73" fmla="*/ 12 h 25"/>
                  <a:gd name="T74" fmla="*/ 15 w 38"/>
                  <a:gd name="T75" fmla="*/ 9 h 25"/>
                  <a:gd name="T76" fmla="*/ 13 w 38"/>
                  <a:gd name="T77" fmla="*/ 9 h 25"/>
                  <a:gd name="T78" fmla="*/ 13 w 38"/>
                  <a:gd name="T79" fmla="*/ 7 h 25"/>
                  <a:gd name="T80" fmla="*/ 13 w 38"/>
                  <a:gd name="T81" fmla="*/ 7 h 25"/>
                  <a:gd name="T82" fmla="*/ 13 w 38"/>
                  <a:gd name="T83" fmla="*/ 5 h 25"/>
                  <a:gd name="T84" fmla="*/ 9 w 38"/>
                  <a:gd name="T85" fmla="*/ 5 h 25"/>
                  <a:gd name="T86" fmla="*/ 8 w 38"/>
                  <a:gd name="T87" fmla="*/ 5 h 25"/>
                  <a:gd name="T88" fmla="*/ 8 w 38"/>
                  <a:gd name="T89" fmla="*/ 3 h 25"/>
                  <a:gd name="T90" fmla="*/ 6 w 38"/>
                  <a:gd name="T91" fmla="*/ 3 h 25"/>
                  <a:gd name="T92" fmla="*/ 4 w 38"/>
                  <a:gd name="T93" fmla="*/ 2 h 25"/>
                  <a:gd name="T94" fmla="*/ 2 w 38"/>
                  <a:gd name="T95" fmla="*/ 2 h 25"/>
                  <a:gd name="T96" fmla="*/ 2 w 38"/>
                  <a:gd name="T9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8" h="25">
                    <a:moveTo>
                      <a:pt x="2" y="2"/>
                    </a:moveTo>
                    <a:lnTo>
                      <a:pt x="0" y="2"/>
                    </a:lnTo>
                    <a:lnTo>
                      <a:pt x="8" y="0"/>
                    </a:lnTo>
                    <a:lnTo>
                      <a:pt x="8" y="2"/>
                    </a:lnTo>
                    <a:lnTo>
                      <a:pt x="9" y="2"/>
                    </a:lnTo>
                    <a:lnTo>
                      <a:pt x="13" y="0"/>
                    </a:lnTo>
                    <a:lnTo>
                      <a:pt x="13" y="2"/>
                    </a:lnTo>
                    <a:lnTo>
                      <a:pt x="15" y="2"/>
                    </a:lnTo>
                    <a:lnTo>
                      <a:pt x="17" y="3"/>
                    </a:lnTo>
                    <a:lnTo>
                      <a:pt x="18" y="3"/>
                    </a:lnTo>
                    <a:lnTo>
                      <a:pt x="25" y="5"/>
                    </a:lnTo>
                    <a:lnTo>
                      <a:pt x="24" y="7"/>
                    </a:lnTo>
                    <a:lnTo>
                      <a:pt x="25" y="7"/>
                    </a:lnTo>
                    <a:lnTo>
                      <a:pt x="27" y="11"/>
                    </a:lnTo>
                    <a:lnTo>
                      <a:pt x="29" y="11"/>
                    </a:lnTo>
                    <a:lnTo>
                      <a:pt x="29" y="9"/>
                    </a:lnTo>
                    <a:lnTo>
                      <a:pt x="31" y="11"/>
                    </a:lnTo>
                    <a:lnTo>
                      <a:pt x="33" y="14"/>
                    </a:lnTo>
                    <a:lnTo>
                      <a:pt x="34" y="14"/>
                    </a:lnTo>
                    <a:lnTo>
                      <a:pt x="34" y="16"/>
                    </a:lnTo>
                    <a:lnTo>
                      <a:pt x="36" y="18"/>
                    </a:lnTo>
                    <a:lnTo>
                      <a:pt x="36" y="16"/>
                    </a:lnTo>
                    <a:lnTo>
                      <a:pt x="36" y="18"/>
                    </a:lnTo>
                    <a:lnTo>
                      <a:pt x="38" y="21"/>
                    </a:lnTo>
                    <a:lnTo>
                      <a:pt x="38" y="21"/>
                    </a:lnTo>
                    <a:lnTo>
                      <a:pt x="36" y="21"/>
                    </a:lnTo>
                    <a:lnTo>
                      <a:pt x="36" y="23"/>
                    </a:lnTo>
                    <a:lnTo>
                      <a:pt x="36" y="25"/>
                    </a:lnTo>
                    <a:lnTo>
                      <a:pt x="34" y="25"/>
                    </a:lnTo>
                    <a:lnTo>
                      <a:pt x="33" y="25"/>
                    </a:lnTo>
                    <a:lnTo>
                      <a:pt x="31" y="21"/>
                    </a:lnTo>
                    <a:lnTo>
                      <a:pt x="31" y="19"/>
                    </a:lnTo>
                    <a:lnTo>
                      <a:pt x="27" y="18"/>
                    </a:lnTo>
                    <a:lnTo>
                      <a:pt x="27" y="16"/>
                    </a:lnTo>
                    <a:lnTo>
                      <a:pt x="25" y="14"/>
                    </a:lnTo>
                    <a:lnTo>
                      <a:pt x="24" y="14"/>
                    </a:lnTo>
                    <a:lnTo>
                      <a:pt x="24" y="12"/>
                    </a:lnTo>
                    <a:lnTo>
                      <a:pt x="15" y="9"/>
                    </a:lnTo>
                    <a:lnTo>
                      <a:pt x="13" y="9"/>
                    </a:lnTo>
                    <a:lnTo>
                      <a:pt x="13" y="7"/>
                    </a:lnTo>
                    <a:lnTo>
                      <a:pt x="13" y="7"/>
                    </a:lnTo>
                    <a:lnTo>
                      <a:pt x="13" y="5"/>
                    </a:lnTo>
                    <a:lnTo>
                      <a:pt x="9" y="5"/>
                    </a:lnTo>
                    <a:lnTo>
                      <a:pt x="8" y="5"/>
                    </a:lnTo>
                    <a:lnTo>
                      <a:pt x="8" y="3"/>
                    </a:lnTo>
                    <a:lnTo>
                      <a:pt x="6" y="3"/>
                    </a:lnTo>
                    <a:lnTo>
                      <a:pt x="4" y="2"/>
                    </a:lnTo>
                    <a:lnTo>
                      <a:pt x="2" y="2"/>
                    </a:lnTo>
                    <a:lnTo>
                      <a:pt x="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35" name="Freeform 3291"/>
              <p:cNvSpPr>
                <a:spLocks/>
              </p:cNvSpPr>
              <p:nvPr/>
            </p:nvSpPr>
            <p:spPr bwMode="auto">
              <a:xfrm>
                <a:off x="1657" y="2415"/>
                <a:ext cx="0" cy="1"/>
              </a:xfrm>
              <a:custGeom>
                <a:avLst/>
                <a:gdLst>
                  <a:gd name="T0" fmla="*/ 0 h 1"/>
                  <a:gd name="T1" fmla="*/ 1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lnTo>
                      <a:pt x="0" y="1"/>
                    </a:lnTo>
                    <a:lnTo>
                      <a:pt x="0" y="1"/>
                    </a:lnTo>
                    <a:lnTo>
                      <a:pt x="0" y="1"/>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36" name="Freeform 3292"/>
              <p:cNvSpPr>
                <a:spLocks/>
              </p:cNvSpPr>
              <p:nvPr/>
            </p:nvSpPr>
            <p:spPr bwMode="auto">
              <a:xfrm>
                <a:off x="1657" y="2415"/>
                <a:ext cx="0" cy="1"/>
              </a:xfrm>
              <a:custGeom>
                <a:avLst/>
                <a:gdLst>
                  <a:gd name="T0" fmla="*/ 0 h 1"/>
                  <a:gd name="T1" fmla="*/ 1 h 1"/>
                  <a:gd name="T2" fmla="*/ 1 h 1"/>
                  <a:gd name="T3" fmla="*/ 1 h 1"/>
                  <a:gd name="T4" fmla="*/ 0 h 1"/>
                </a:gdLst>
                <a:ahLst/>
                <a:cxnLst>
                  <a:cxn ang="0">
                    <a:pos x="0" y="T0"/>
                  </a:cxn>
                  <a:cxn ang="0">
                    <a:pos x="0" y="T1"/>
                  </a:cxn>
                  <a:cxn ang="0">
                    <a:pos x="0" y="T2"/>
                  </a:cxn>
                  <a:cxn ang="0">
                    <a:pos x="0" y="T3"/>
                  </a:cxn>
                  <a:cxn ang="0">
                    <a:pos x="0" y="T4"/>
                  </a:cxn>
                </a:cxnLst>
                <a:rect l="0" t="0" r="r" b="b"/>
                <a:pathLst>
                  <a:path h="1">
                    <a:moveTo>
                      <a:pt x="0" y="0"/>
                    </a:moveTo>
                    <a:lnTo>
                      <a:pt x="0" y="1"/>
                    </a:lnTo>
                    <a:lnTo>
                      <a:pt x="0" y="1"/>
                    </a:lnTo>
                    <a:lnTo>
                      <a:pt x="0" y="1"/>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37" name="Freeform 3293"/>
              <p:cNvSpPr>
                <a:spLocks/>
              </p:cNvSpPr>
              <p:nvPr/>
            </p:nvSpPr>
            <p:spPr bwMode="auto">
              <a:xfrm>
                <a:off x="1659" y="2425"/>
                <a:ext cx="2" cy="2"/>
              </a:xfrm>
              <a:custGeom>
                <a:avLst/>
                <a:gdLst>
                  <a:gd name="T0" fmla="*/ 0 w 2"/>
                  <a:gd name="T1" fmla="*/ 0 h 2"/>
                  <a:gd name="T2" fmla="*/ 0 w 2"/>
                  <a:gd name="T3" fmla="*/ 2 h 2"/>
                  <a:gd name="T4" fmla="*/ 0 w 2"/>
                  <a:gd name="T5" fmla="*/ 2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0" y="2"/>
                    </a:lnTo>
                    <a:lnTo>
                      <a:pt x="2"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38" name="Freeform 3294"/>
              <p:cNvSpPr>
                <a:spLocks/>
              </p:cNvSpPr>
              <p:nvPr/>
            </p:nvSpPr>
            <p:spPr bwMode="auto">
              <a:xfrm>
                <a:off x="1659" y="2425"/>
                <a:ext cx="2" cy="2"/>
              </a:xfrm>
              <a:custGeom>
                <a:avLst/>
                <a:gdLst>
                  <a:gd name="T0" fmla="*/ 0 w 2"/>
                  <a:gd name="T1" fmla="*/ 0 h 2"/>
                  <a:gd name="T2" fmla="*/ 0 w 2"/>
                  <a:gd name="T3" fmla="*/ 2 h 2"/>
                  <a:gd name="T4" fmla="*/ 0 w 2"/>
                  <a:gd name="T5" fmla="*/ 2 h 2"/>
                  <a:gd name="T6" fmla="*/ 2 w 2"/>
                  <a:gd name="T7" fmla="*/ 0 h 2"/>
                  <a:gd name="T8" fmla="*/ 0 w 2"/>
                  <a:gd name="T9" fmla="*/ 0 h 2"/>
                </a:gdLst>
                <a:ahLst/>
                <a:cxnLst>
                  <a:cxn ang="0">
                    <a:pos x="T0" y="T1"/>
                  </a:cxn>
                  <a:cxn ang="0">
                    <a:pos x="T2" y="T3"/>
                  </a:cxn>
                  <a:cxn ang="0">
                    <a:pos x="T4" y="T5"/>
                  </a:cxn>
                  <a:cxn ang="0">
                    <a:pos x="T6" y="T7"/>
                  </a:cxn>
                  <a:cxn ang="0">
                    <a:pos x="T8" y="T9"/>
                  </a:cxn>
                </a:cxnLst>
                <a:rect l="0" t="0" r="r" b="b"/>
                <a:pathLst>
                  <a:path w="2" h="2">
                    <a:moveTo>
                      <a:pt x="0" y="0"/>
                    </a:moveTo>
                    <a:lnTo>
                      <a:pt x="0" y="2"/>
                    </a:lnTo>
                    <a:lnTo>
                      <a:pt x="0" y="2"/>
                    </a:lnTo>
                    <a:lnTo>
                      <a:pt x="2"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39" name="Freeform 3295"/>
              <p:cNvSpPr>
                <a:spLocks/>
              </p:cNvSpPr>
              <p:nvPr/>
            </p:nvSpPr>
            <p:spPr bwMode="auto">
              <a:xfrm>
                <a:off x="1714" y="2461"/>
                <a:ext cx="4" cy="7"/>
              </a:xfrm>
              <a:custGeom>
                <a:avLst/>
                <a:gdLst>
                  <a:gd name="T0" fmla="*/ 2 w 4"/>
                  <a:gd name="T1" fmla="*/ 0 h 7"/>
                  <a:gd name="T2" fmla="*/ 0 w 4"/>
                  <a:gd name="T3" fmla="*/ 0 h 7"/>
                  <a:gd name="T4" fmla="*/ 0 w 4"/>
                  <a:gd name="T5" fmla="*/ 5 h 7"/>
                  <a:gd name="T6" fmla="*/ 2 w 4"/>
                  <a:gd name="T7" fmla="*/ 7 h 7"/>
                  <a:gd name="T8" fmla="*/ 2 w 4"/>
                  <a:gd name="T9" fmla="*/ 7 h 7"/>
                  <a:gd name="T10" fmla="*/ 4 w 4"/>
                  <a:gd name="T11" fmla="*/ 5 h 7"/>
                  <a:gd name="T12" fmla="*/ 4 w 4"/>
                  <a:gd name="T13" fmla="*/ 2 h 7"/>
                  <a:gd name="T14" fmla="*/ 2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2" y="0"/>
                    </a:moveTo>
                    <a:lnTo>
                      <a:pt x="0" y="0"/>
                    </a:lnTo>
                    <a:lnTo>
                      <a:pt x="0" y="5"/>
                    </a:lnTo>
                    <a:lnTo>
                      <a:pt x="2" y="7"/>
                    </a:lnTo>
                    <a:lnTo>
                      <a:pt x="2" y="7"/>
                    </a:lnTo>
                    <a:lnTo>
                      <a:pt x="4" y="5"/>
                    </a:lnTo>
                    <a:lnTo>
                      <a:pt x="4" y="2"/>
                    </a:lnTo>
                    <a:lnTo>
                      <a:pt x="2" y="0"/>
                    </a:lnTo>
                    <a:close/>
                  </a:path>
                </a:pathLst>
              </a:custGeom>
              <a:solidFill>
                <a:srgbClr val="659EE0"/>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40" name="Freeform 3296"/>
              <p:cNvSpPr>
                <a:spLocks/>
              </p:cNvSpPr>
              <p:nvPr/>
            </p:nvSpPr>
            <p:spPr bwMode="auto">
              <a:xfrm>
                <a:off x="1714" y="2461"/>
                <a:ext cx="4" cy="7"/>
              </a:xfrm>
              <a:custGeom>
                <a:avLst/>
                <a:gdLst>
                  <a:gd name="T0" fmla="*/ 2 w 4"/>
                  <a:gd name="T1" fmla="*/ 0 h 7"/>
                  <a:gd name="T2" fmla="*/ 0 w 4"/>
                  <a:gd name="T3" fmla="*/ 0 h 7"/>
                  <a:gd name="T4" fmla="*/ 0 w 4"/>
                  <a:gd name="T5" fmla="*/ 5 h 7"/>
                  <a:gd name="T6" fmla="*/ 2 w 4"/>
                  <a:gd name="T7" fmla="*/ 7 h 7"/>
                  <a:gd name="T8" fmla="*/ 2 w 4"/>
                  <a:gd name="T9" fmla="*/ 7 h 7"/>
                  <a:gd name="T10" fmla="*/ 4 w 4"/>
                  <a:gd name="T11" fmla="*/ 5 h 7"/>
                  <a:gd name="T12" fmla="*/ 4 w 4"/>
                  <a:gd name="T13" fmla="*/ 2 h 7"/>
                  <a:gd name="T14" fmla="*/ 2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2" y="0"/>
                    </a:moveTo>
                    <a:lnTo>
                      <a:pt x="0" y="0"/>
                    </a:lnTo>
                    <a:lnTo>
                      <a:pt x="0" y="5"/>
                    </a:lnTo>
                    <a:lnTo>
                      <a:pt x="2" y="7"/>
                    </a:lnTo>
                    <a:lnTo>
                      <a:pt x="2" y="7"/>
                    </a:lnTo>
                    <a:lnTo>
                      <a:pt x="4" y="5"/>
                    </a:lnTo>
                    <a:lnTo>
                      <a:pt x="4" y="2"/>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41" name="Freeform 3297"/>
              <p:cNvSpPr>
                <a:spLocks/>
              </p:cNvSpPr>
              <p:nvPr/>
            </p:nvSpPr>
            <p:spPr bwMode="auto">
              <a:xfrm>
                <a:off x="1709" y="2518"/>
                <a:ext cx="3" cy="4"/>
              </a:xfrm>
              <a:custGeom>
                <a:avLst/>
                <a:gdLst>
                  <a:gd name="T0" fmla="*/ 3 w 3"/>
                  <a:gd name="T1" fmla="*/ 0 h 4"/>
                  <a:gd name="T2" fmla="*/ 2 w 3"/>
                  <a:gd name="T3" fmla="*/ 0 h 4"/>
                  <a:gd name="T4" fmla="*/ 0 w 3"/>
                  <a:gd name="T5" fmla="*/ 4 h 4"/>
                  <a:gd name="T6" fmla="*/ 2 w 3"/>
                  <a:gd name="T7" fmla="*/ 2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lnTo>
                      <a:pt x="2" y="0"/>
                    </a:lnTo>
                    <a:lnTo>
                      <a:pt x="0" y="4"/>
                    </a:lnTo>
                    <a:lnTo>
                      <a:pt x="2" y="2"/>
                    </a:lnTo>
                    <a:lnTo>
                      <a:pt x="3"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42" name="Freeform 3298"/>
              <p:cNvSpPr>
                <a:spLocks/>
              </p:cNvSpPr>
              <p:nvPr/>
            </p:nvSpPr>
            <p:spPr bwMode="auto">
              <a:xfrm>
                <a:off x="1709" y="2518"/>
                <a:ext cx="3" cy="4"/>
              </a:xfrm>
              <a:custGeom>
                <a:avLst/>
                <a:gdLst>
                  <a:gd name="T0" fmla="*/ 3 w 3"/>
                  <a:gd name="T1" fmla="*/ 0 h 4"/>
                  <a:gd name="T2" fmla="*/ 2 w 3"/>
                  <a:gd name="T3" fmla="*/ 0 h 4"/>
                  <a:gd name="T4" fmla="*/ 0 w 3"/>
                  <a:gd name="T5" fmla="*/ 4 h 4"/>
                  <a:gd name="T6" fmla="*/ 2 w 3"/>
                  <a:gd name="T7" fmla="*/ 2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lnTo>
                      <a:pt x="2" y="0"/>
                    </a:lnTo>
                    <a:lnTo>
                      <a:pt x="0" y="4"/>
                    </a:lnTo>
                    <a:lnTo>
                      <a:pt x="2" y="2"/>
                    </a:lnTo>
                    <a:lnTo>
                      <a:pt x="3"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43" name="Freeform 3299"/>
              <p:cNvSpPr>
                <a:spLocks/>
              </p:cNvSpPr>
              <p:nvPr/>
            </p:nvSpPr>
            <p:spPr bwMode="auto">
              <a:xfrm>
                <a:off x="1591" y="2515"/>
                <a:ext cx="5" cy="5"/>
              </a:xfrm>
              <a:custGeom>
                <a:avLst/>
                <a:gdLst>
                  <a:gd name="T0" fmla="*/ 2 w 5"/>
                  <a:gd name="T1" fmla="*/ 1 h 5"/>
                  <a:gd name="T2" fmla="*/ 0 w 5"/>
                  <a:gd name="T3" fmla="*/ 0 h 5"/>
                  <a:gd name="T4" fmla="*/ 0 w 5"/>
                  <a:gd name="T5" fmla="*/ 1 h 5"/>
                  <a:gd name="T6" fmla="*/ 2 w 5"/>
                  <a:gd name="T7" fmla="*/ 3 h 5"/>
                  <a:gd name="T8" fmla="*/ 5 w 5"/>
                  <a:gd name="T9" fmla="*/ 5 h 5"/>
                  <a:gd name="T10" fmla="*/ 5 w 5"/>
                  <a:gd name="T11" fmla="*/ 3 h 5"/>
                  <a:gd name="T12" fmla="*/ 2 w 5"/>
                  <a:gd name="T13" fmla="*/ 3 h 5"/>
                  <a:gd name="T14" fmla="*/ 2 w 5"/>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2" y="1"/>
                    </a:moveTo>
                    <a:lnTo>
                      <a:pt x="0" y="0"/>
                    </a:lnTo>
                    <a:lnTo>
                      <a:pt x="0" y="1"/>
                    </a:lnTo>
                    <a:lnTo>
                      <a:pt x="2" y="3"/>
                    </a:lnTo>
                    <a:lnTo>
                      <a:pt x="5" y="5"/>
                    </a:lnTo>
                    <a:lnTo>
                      <a:pt x="5" y="3"/>
                    </a:lnTo>
                    <a:lnTo>
                      <a:pt x="2" y="3"/>
                    </a:lnTo>
                    <a:lnTo>
                      <a:pt x="2"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44" name="Freeform 3300"/>
              <p:cNvSpPr>
                <a:spLocks/>
              </p:cNvSpPr>
              <p:nvPr/>
            </p:nvSpPr>
            <p:spPr bwMode="auto">
              <a:xfrm>
                <a:off x="1591" y="2515"/>
                <a:ext cx="5" cy="5"/>
              </a:xfrm>
              <a:custGeom>
                <a:avLst/>
                <a:gdLst>
                  <a:gd name="T0" fmla="*/ 2 w 5"/>
                  <a:gd name="T1" fmla="*/ 1 h 5"/>
                  <a:gd name="T2" fmla="*/ 0 w 5"/>
                  <a:gd name="T3" fmla="*/ 0 h 5"/>
                  <a:gd name="T4" fmla="*/ 0 w 5"/>
                  <a:gd name="T5" fmla="*/ 1 h 5"/>
                  <a:gd name="T6" fmla="*/ 2 w 5"/>
                  <a:gd name="T7" fmla="*/ 3 h 5"/>
                  <a:gd name="T8" fmla="*/ 5 w 5"/>
                  <a:gd name="T9" fmla="*/ 5 h 5"/>
                  <a:gd name="T10" fmla="*/ 5 w 5"/>
                  <a:gd name="T11" fmla="*/ 3 h 5"/>
                  <a:gd name="T12" fmla="*/ 2 w 5"/>
                  <a:gd name="T13" fmla="*/ 3 h 5"/>
                  <a:gd name="T14" fmla="*/ 2 w 5"/>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2" y="1"/>
                    </a:moveTo>
                    <a:lnTo>
                      <a:pt x="0" y="0"/>
                    </a:lnTo>
                    <a:lnTo>
                      <a:pt x="0" y="1"/>
                    </a:lnTo>
                    <a:lnTo>
                      <a:pt x="2" y="3"/>
                    </a:lnTo>
                    <a:lnTo>
                      <a:pt x="5" y="5"/>
                    </a:lnTo>
                    <a:lnTo>
                      <a:pt x="5" y="3"/>
                    </a:lnTo>
                    <a:lnTo>
                      <a:pt x="2" y="3"/>
                    </a:lnTo>
                    <a:lnTo>
                      <a:pt x="2"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45" name="Freeform 3301"/>
              <p:cNvSpPr>
                <a:spLocks/>
              </p:cNvSpPr>
              <p:nvPr/>
            </p:nvSpPr>
            <p:spPr bwMode="auto">
              <a:xfrm>
                <a:off x="1602" y="2515"/>
                <a:ext cx="3" cy="5"/>
              </a:xfrm>
              <a:custGeom>
                <a:avLst/>
                <a:gdLst>
                  <a:gd name="T0" fmla="*/ 1 w 3"/>
                  <a:gd name="T1" fmla="*/ 1 h 5"/>
                  <a:gd name="T2" fmla="*/ 0 w 3"/>
                  <a:gd name="T3" fmla="*/ 0 h 5"/>
                  <a:gd name="T4" fmla="*/ 0 w 3"/>
                  <a:gd name="T5" fmla="*/ 1 h 5"/>
                  <a:gd name="T6" fmla="*/ 1 w 3"/>
                  <a:gd name="T7" fmla="*/ 3 h 5"/>
                  <a:gd name="T8" fmla="*/ 1 w 3"/>
                  <a:gd name="T9" fmla="*/ 5 h 5"/>
                  <a:gd name="T10" fmla="*/ 3 w 3"/>
                  <a:gd name="T11" fmla="*/ 5 h 5"/>
                  <a:gd name="T12" fmla="*/ 3 w 3"/>
                  <a:gd name="T13" fmla="*/ 1 h 5"/>
                  <a:gd name="T14" fmla="*/ 1 w 3"/>
                  <a:gd name="T15" fmla="*/ 1 h 5"/>
                  <a:gd name="T16" fmla="*/ 1 w 3"/>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1" y="1"/>
                    </a:moveTo>
                    <a:lnTo>
                      <a:pt x="0" y="0"/>
                    </a:lnTo>
                    <a:lnTo>
                      <a:pt x="0" y="1"/>
                    </a:lnTo>
                    <a:lnTo>
                      <a:pt x="1" y="3"/>
                    </a:lnTo>
                    <a:lnTo>
                      <a:pt x="1" y="5"/>
                    </a:lnTo>
                    <a:lnTo>
                      <a:pt x="3" y="5"/>
                    </a:lnTo>
                    <a:lnTo>
                      <a:pt x="3" y="1"/>
                    </a:lnTo>
                    <a:lnTo>
                      <a:pt x="1" y="1"/>
                    </a:lnTo>
                    <a:lnTo>
                      <a:pt x="1"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46" name="Freeform 3302"/>
              <p:cNvSpPr>
                <a:spLocks/>
              </p:cNvSpPr>
              <p:nvPr/>
            </p:nvSpPr>
            <p:spPr bwMode="auto">
              <a:xfrm>
                <a:off x="1602" y="2515"/>
                <a:ext cx="3" cy="5"/>
              </a:xfrm>
              <a:custGeom>
                <a:avLst/>
                <a:gdLst>
                  <a:gd name="T0" fmla="*/ 1 w 3"/>
                  <a:gd name="T1" fmla="*/ 1 h 5"/>
                  <a:gd name="T2" fmla="*/ 0 w 3"/>
                  <a:gd name="T3" fmla="*/ 0 h 5"/>
                  <a:gd name="T4" fmla="*/ 0 w 3"/>
                  <a:gd name="T5" fmla="*/ 1 h 5"/>
                  <a:gd name="T6" fmla="*/ 1 w 3"/>
                  <a:gd name="T7" fmla="*/ 3 h 5"/>
                  <a:gd name="T8" fmla="*/ 1 w 3"/>
                  <a:gd name="T9" fmla="*/ 5 h 5"/>
                  <a:gd name="T10" fmla="*/ 3 w 3"/>
                  <a:gd name="T11" fmla="*/ 5 h 5"/>
                  <a:gd name="T12" fmla="*/ 3 w 3"/>
                  <a:gd name="T13" fmla="*/ 1 h 5"/>
                  <a:gd name="T14" fmla="*/ 1 w 3"/>
                  <a:gd name="T15" fmla="*/ 1 h 5"/>
                  <a:gd name="T16" fmla="*/ 1 w 3"/>
                  <a:gd name="T1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1" y="1"/>
                    </a:moveTo>
                    <a:lnTo>
                      <a:pt x="0" y="0"/>
                    </a:lnTo>
                    <a:lnTo>
                      <a:pt x="0" y="1"/>
                    </a:lnTo>
                    <a:lnTo>
                      <a:pt x="1" y="3"/>
                    </a:lnTo>
                    <a:lnTo>
                      <a:pt x="1" y="5"/>
                    </a:lnTo>
                    <a:lnTo>
                      <a:pt x="3" y="5"/>
                    </a:lnTo>
                    <a:lnTo>
                      <a:pt x="3" y="1"/>
                    </a:lnTo>
                    <a:lnTo>
                      <a:pt x="1" y="1"/>
                    </a:lnTo>
                    <a:lnTo>
                      <a:pt x="1"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47" name="Freeform 3303"/>
              <p:cNvSpPr>
                <a:spLocks/>
              </p:cNvSpPr>
              <p:nvPr/>
            </p:nvSpPr>
            <p:spPr bwMode="auto">
              <a:xfrm>
                <a:off x="1723" y="2531"/>
                <a:ext cx="5" cy="3"/>
              </a:xfrm>
              <a:custGeom>
                <a:avLst/>
                <a:gdLst>
                  <a:gd name="T0" fmla="*/ 5 w 5"/>
                  <a:gd name="T1" fmla="*/ 0 h 3"/>
                  <a:gd name="T2" fmla="*/ 4 w 5"/>
                  <a:gd name="T3" fmla="*/ 1 h 3"/>
                  <a:gd name="T4" fmla="*/ 0 w 5"/>
                  <a:gd name="T5" fmla="*/ 3 h 3"/>
                  <a:gd name="T6" fmla="*/ 2 w 5"/>
                  <a:gd name="T7" fmla="*/ 3 h 3"/>
                  <a:gd name="T8" fmla="*/ 4 w 5"/>
                  <a:gd name="T9" fmla="*/ 1 h 3"/>
                  <a:gd name="T10" fmla="*/ 5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5" y="0"/>
                    </a:moveTo>
                    <a:lnTo>
                      <a:pt x="4" y="1"/>
                    </a:lnTo>
                    <a:lnTo>
                      <a:pt x="0" y="3"/>
                    </a:lnTo>
                    <a:lnTo>
                      <a:pt x="2" y="3"/>
                    </a:lnTo>
                    <a:lnTo>
                      <a:pt x="4" y="1"/>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48" name="Freeform 3304"/>
              <p:cNvSpPr>
                <a:spLocks/>
              </p:cNvSpPr>
              <p:nvPr/>
            </p:nvSpPr>
            <p:spPr bwMode="auto">
              <a:xfrm>
                <a:off x="1723" y="2531"/>
                <a:ext cx="5" cy="3"/>
              </a:xfrm>
              <a:custGeom>
                <a:avLst/>
                <a:gdLst>
                  <a:gd name="T0" fmla="*/ 5 w 5"/>
                  <a:gd name="T1" fmla="*/ 0 h 3"/>
                  <a:gd name="T2" fmla="*/ 4 w 5"/>
                  <a:gd name="T3" fmla="*/ 1 h 3"/>
                  <a:gd name="T4" fmla="*/ 0 w 5"/>
                  <a:gd name="T5" fmla="*/ 3 h 3"/>
                  <a:gd name="T6" fmla="*/ 2 w 5"/>
                  <a:gd name="T7" fmla="*/ 3 h 3"/>
                  <a:gd name="T8" fmla="*/ 4 w 5"/>
                  <a:gd name="T9" fmla="*/ 1 h 3"/>
                  <a:gd name="T10" fmla="*/ 5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5" y="0"/>
                    </a:moveTo>
                    <a:lnTo>
                      <a:pt x="4" y="1"/>
                    </a:lnTo>
                    <a:lnTo>
                      <a:pt x="0" y="3"/>
                    </a:lnTo>
                    <a:lnTo>
                      <a:pt x="2" y="3"/>
                    </a:lnTo>
                    <a:lnTo>
                      <a:pt x="4" y="1"/>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49" name="Freeform 3305"/>
              <p:cNvSpPr>
                <a:spLocks/>
              </p:cNvSpPr>
              <p:nvPr/>
            </p:nvSpPr>
            <p:spPr bwMode="auto">
              <a:xfrm>
                <a:off x="1707" y="2540"/>
                <a:ext cx="14" cy="12"/>
              </a:xfrm>
              <a:custGeom>
                <a:avLst/>
                <a:gdLst>
                  <a:gd name="T0" fmla="*/ 14 w 14"/>
                  <a:gd name="T1" fmla="*/ 1 h 12"/>
                  <a:gd name="T2" fmla="*/ 12 w 14"/>
                  <a:gd name="T3" fmla="*/ 1 h 12"/>
                  <a:gd name="T4" fmla="*/ 12 w 14"/>
                  <a:gd name="T5" fmla="*/ 5 h 12"/>
                  <a:gd name="T6" fmla="*/ 12 w 14"/>
                  <a:gd name="T7" fmla="*/ 7 h 12"/>
                  <a:gd name="T8" fmla="*/ 14 w 14"/>
                  <a:gd name="T9" fmla="*/ 7 h 12"/>
                  <a:gd name="T10" fmla="*/ 12 w 14"/>
                  <a:gd name="T11" fmla="*/ 10 h 12"/>
                  <a:gd name="T12" fmla="*/ 11 w 14"/>
                  <a:gd name="T13" fmla="*/ 12 h 12"/>
                  <a:gd name="T14" fmla="*/ 0 w 14"/>
                  <a:gd name="T15" fmla="*/ 12 h 12"/>
                  <a:gd name="T16" fmla="*/ 0 w 14"/>
                  <a:gd name="T17" fmla="*/ 12 h 12"/>
                  <a:gd name="T18" fmla="*/ 5 w 14"/>
                  <a:gd name="T19" fmla="*/ 10 h 12"/>
                  <a:gd name="T20" fmla="*/ 5 w 14"/>
                  <a:gd name="T21" fmla="*/ 9 h 12"/>
                  <a:gd name="T22" fmla="*/ 5 w 14"/>
                  <a:gd name="T23" fmla="*/ 5 h 12"/>
                  <a:gd name="T24" fmla="*/ 5 w 14"/>
                  <a:gd name="T25" fmla="*/ 3 h 12"/>
                  <a:gd name="T26" fmla="*/ 5 w 14"/>
                  <a:gd name="T27" fmla="*/ 3 h 12"/>
                  <a:gd name="T28" fmla="*/ 4 w 14"/>
                  <a:gd name="T29" fmla="*/ 3 h 12"/>
                  <a:gd name="T30" fmla="*/ 4 w 14"/>
                  <a:gd name="T31" fmla="*/ 1 h 12"/>
                  <a:gd name="T32" fmla="*/ 4 w 14"/>
                  <a:gd name="T33" fmla="*/ 1 h 12"/>
                  <a:gd name="T34" fmla="*/ 5 w 14"/>
                  <a:gd name="T35" fmla="*/ 1 h 12"/>
                  <a:gd name="T36" fmla="*/ 14 w 14"/>
                  <a:gd name="T37" fmla="*/ 0 h 12"/>
                  <a:gd name="T38" fmla="*/ 14 w 14"/>
                  <a:gd name="T39"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2">
                    <a:moveTo>
                      <a:pt x="14" y="1"/>
                    </a:moveTo>
                    <a:lnTo>
                      <a:pt x="12" y="1"/>
                    </a:lnTo>
                    <a:lnTo>
                      <a:pt x="12" y="5"/>
                    </a:lnTo>
                    <a:lnTo>
                      <a:pt x="12" y="7"/>
                    </a:lnTo>
                    <a:lnTo>
                      <a:pt x="14" y="7"/>
                    </a:lnTo>
                    <a:lnTo>
                      <a:pt x="12" y="10"/>
                    </a:lnTo>
                    <a:lnTo>
                      <a:pt x="11" y="12"/>
                    </a:lnTo>
                    <a:lnTo>
                      <a:pt x="0" y="12"/>
                    </a:lnTo>
                    <a:lnTo>
                      <a:pt x="0" y="12"/>
                    </a:lnTo>
                    <a:lnTo>
                      <a:pt x="5" y="10"/>
                    </a:lnTo>
                    <a:lnTo>
                      <a:pt x="5" y="9"/>
                    </a:lnTo>
                    <a:lnTo>
                      <a:pt x="5" y="5"/>
                    </a:lnTo>
                    <a:lnTo>
                      <a:pt x="5" y="3"/>
                    </a:lnTo>
                    <a:lnTo>
                      <a:pt x="5" y="3"/>
                    </a:lnTo>
                    <a:lnTo>
                      <a:pt x="4" y="3"/>
                    </a:lnTo>
                    <a:lnTo>
                      <a:pt x="4" y="1"/>
                    </a:lnTo>
                    <a:lnTo>
                      <a:pt x="4" y="1"/>
                    </a:lnTo>
                    <a:lnTo>
                      <a:pt x="5" y="1"/>
                    </a:lnTo>
                    <a:lnTo>
                      <a:pt x="14" y="0"/>
                    </a:lnTo>
                    <a:lnTo>
                      <a:pt x="14"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50" name="Freeform 3306"/>
              <p:cNvSpPr>
                <a:spLocks/>
              </p:cNvSpPr>
              <p:nvPr/>
            </p:nvSpPr>
            <p:spPr bwMode="auto">
              <a:xfrm>
                <a:off x="1707" y="2540"/>
                <a:ext cx="14" cy="12"/>
              </a:xfrm>
              <a:custGeom>
                <a:avLst/>
                <a:gdLst>
                  <a:gd name="T0" fmla="*/ 14 w 14"/>
                  <a:gd name="T1" fmla="*/ 1 h 12"/>
                  <a:gd name="T2" fmla="*/ 12 w 14"/>
                  <a:gd name="T3" fmla="*/ 1 h 12"/>
                  <a:gd name="T4" fmla="*/ 12 w 14"/>
                  <a:gd name="T5" fmla="*/ 5 h 12"/>
                  <a:gd name="T6" fmla="*/ 12 w 14"/>
                  <a:gd name="T7" fmla="*/ 7 h 12"/>
                  <a:gd name="T8" fmla="*/ 14 w 14"/>
                  <a:gd name="T9" fmla="*/ 7 h 12"/>
                  <a:gd name="T10" fmla="*/ 12 w 14"/>
                  <a:gd name="T11" fmla="*/ 10 h 12"/>
                  <a:gd name="T12" fmla="*/ 11 w 14"/>
                  <a:gd name="T13" fmla="*/ 12 h 12"/>
                  <a:gd name="T14" fmla="*/ 0 w 14"/>
                  <a:gd name="T15" fmla="*/ 12 h 12"/>
                  <a:gd name="T16" fmla="*/ 0 w 14"/>
                  <a:gd name="T17" fmla="*/ 12 h 12"/>
                  <a:gd name="T18" fmla="*/ 5 w 14"/>
                  <a:gd name="T19" fmla="*/ 10 h 12"/>
                  <a:gd name="T20" fmla="*/ 5 w 14"/>
                  <a:gd name="T21" fmla="*/ 9 h 12"/>
                  <a:gd name="T22" fmla="*/ 5 w 14"/>
                  <a:gd name="T23" fmla="*/ 5 h 12"/>
                  <a:gd name="T24" fmla="*/ 5 w 14"/>
                  <a:gd name="T25" fmla="*/ 3 h 12"/>
                  <a:gd name="T26" fmla="*/ 5 w 14"/>
                  <a:gd name="T27" fmla="*/ 3 h 12"/>
                  <a:gd name="T28" fmla="*/ 4 w 14"/>
                  <a:gd name="T29" fmla="*/ 3 h 12"/>
                  <a:gd name="T30" fmla="*/ 4 w 14"/>
                  <a:gd name="T31" fmla="*/ 1 h 12"/>
                  <a:gd name="T32" fmla="*/ 4 w 14"/>
                  <a:gd name="T33" fmla="*/ 1 h 12"/>
                  <a:gd name="T34" fmla="*/ 5 w 14"/>
                  <a:gd name="T35" fmla="*/ 1 h 12"/>
                  <a:gd name="T36" fmla="*/ 14 w 14"/>
                  <a:gd name="T37" fmla="*/ 0 h 12"/>
                  <a:gd name="T38" fmla="*/ 14 w 14"/>
                  <a:gd name="T39"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12">
                    <a:moveTo>
                      <a:pt x="14" y="1"/>
                    </a:moveTo>
                    <a:lnTo>
                      <a:pt x="12" y="1"/>
                    </a:lnTo>
                    <a:lnTo>
                      <a:pt x="12" y="5"/>
                    </a:lnTo>
                    <a:lnTo>
                      <a:pt x="12" y="7"/>
                    </a:lnTo>
                    <a:lnTo>
                      <a:pt x="14" y="7"/>
                    </a:lnTo>
                    <a:lnTo>
                      <a:pt x="12" y="10"/>
                    </a:lnTo>
                    <a:lnTo>
                      <a:pt x="11" y="12"/>
                    </a:lnTo>
                    <a:lnTo>
                      <a:pt x="0" y="12"/>
                    </a:lnTo>
                    <a:lnTo>
                      <a:pt x="0" y="12"/>
                    </a:lnTo>
                    <a:lnTo>
                      <a:pt x="5" y="10"/>
                    </a:lnTo>
                    <a:lnTo>
                      <a:pt x="5" y="9"/>
                    </a:lnTo>
                    <a:lnTo>
                      <a:pt x="5" y="5"/>
                    </a:lnTo>
                    <a:lnTo>
                      <a:pt x="5" y="3"/>
                    </a:lnTo>
                    <a:lnTo>
                      <a:pt x="5" y="3"/>
                    </a:lnTo>
                    <a:lnTo>
                      <a:pt x="4" y="3"/>
                    </a:lnTo>
                    <a:lnTo>
                      <a:pt x="4" y="1"/>
                    </a:lnTo>
                    <a:lnTo>
                      <a:pt x="4" y="1"/>
                    </a:lnTo>
                    <a:lnTo>
                      <a:pt x="5" y="1"/>
                    </a:lnTo>
                    <a:lnTo>
                      <a:pt x="14" y="0"/>
                    </a:lnTo>
                    <a:lnTo>
                      <a:pt x="14" y="1"/>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51" name="Freeform 3307"/>
              <p:cNvSpPr>
                <a:spLocks/>
              </p:cNvSpPr>
              <p:nvPr/>
            </p:nvSpPr>
            <p:spPr bwMode="auto">
              <a:xfrm>
                <a:off x="1891" y="2706"/>
                <a:ext cx="9" cy="7"/>
              </a:xfrm>
              <a:custGeom>
                <a:avLst/>
                <a:gdLst>
                  <a:gd name="T0" fmla="*/ 2 w 9"/>
                  <a:gd name="T1" fmla="*/ 0 h 7"/>
                  <a:gd name="T2" fmla="*/ 0 w 9"/>
                  <a:gd name="T3" fmla="*/ 1 h 7"/>
                  <a:gd name="T4" fmla="*/ 0 w 9"/>
                  <a:gd name="T5" fmla="*/ 3 h 7"/>
                  <a:gd name="T6" fmla="*/ 2 w 9"/>
                  <a:gd name="T7" fmla="*/ 5 h 7"/>
                  <a:gd name="T8" fmla="*/ 7 w 9"/>
                  <a:gd name="T9" fmla="*/ 7 h 7"/>
                  <a:gd name="T10" fmla="*/ 9 w 9"/>
                  <a:gd name="T11" fmla="*/ 7 h 7"/>
                  <a:gd name="T12" fmla="*/ 9 w 9"/>
                  <a:gd name="T13" fmla="*/ 5 h 7"/>
                  <a:gd name="T14" fmla="*/ 7 w 9"/>
                  <a:gd name="T15" fmla="*/ 3 h 7"/>
                  <a:gd name="T16" fmla="*/ 5 w 9"/>
                  <a:gd name="T17" fmla="*/ 3 h 7"/>
                  <a:gd name="T18" fmla="*/ 3 w 9"/>
                  <a:gd name="T19" fmla="*/ 1 h 7"/>
                  <a:gd name="T20" fmla="*/ 2 w 9"/>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7">
                    <a:moveTo>
                      <a:pt x="2" y="0"/>
                    </a:moveTo>
                    <a:lnTo>
                      <a:pt x="0" y="1"/>
                    </a:lnTo>
                    <a:lnTo>
                      <a:pt x="0" y="3"/>
                    </a:lnTo>
                    <a:lnTo>
                      <a:pt x="2" y="5"/>
                    </a:lnTo>
                    <a:lnTo>
                      <a:pt x="7" y="7"/>
                    </a:lnTo>
                    <a:lnTo>
                      <a:pt x="9" y="7"/>
                    </a:lnTo>
                    <a:lnTo>
                      <a:pt x="9" y="5"/>
                    </a:lnTo>
                    <a:lnTo>
                      <a:pt x="7" y="3"/>
                    </a:lnTo>
                    <a:lnTo>
                      <a:pt x="5" y="3"/>
                    </a:lnTo>
                    <a:lnTo>
                      <a:pt x="3" y="1"/>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52" name="Freeform 3308"/>
              <p:cNvSpPr>
                <a:spLocks/>
              </p:cNvSpPr>
              <p:nvPr/>
            </p:nvSpPr>
            <p:spPr bwMode="auto">
              <a:xfrm>
                <a:off x="1891" y="2706"/>
                <a:ext cx="9" cy="7"/>
              </a:xfrm>
              <a:custGeom>
                <a:avLst/>
                <a:gdLst>
                  <a:gd name="T0" fmla="*/ 2 w 9"/>
                  <a:gd name="T1" fmla="*/ 0 h 7"/>
                  <a:gd name="T2" fmla="*/ 0 w 9"/>
                  <a:gd name="T3" fmla="*/ 1 h 7"/>
                  <a:gd name="T4" fmla="*/ 0 w 9"/>
                  <a:gd name="T5" fmla="*/ 3 h 7"/>
                  <a:gd name="T6" fmla="*/ 2 w 9"/>
                  <a:gd name="T7" fmla="*/ 5 h 7"/>
                  <a:gd name="T8" fmla="*/ 7 w 9"/>
                  <a:gd name="T9" fmla="*/ 7 h 7"/>
                  <a:gd name="T10" fmla="*/ 9 w 9"/>
                  <a:gd name="T11" fmla="*/ 7 h 7"/>
                  <a:gd name="T12" fmla="*/ 9 w 9"/>
                  <a:gd name="T13" fmla="*/ 5 h 7"/>
                  <a:gd name="T14" fmla="*/ 7 w 9"/>
                  <a:gd name="T15" fmla="*/ 3 h 7"/>
                  <a:gd name="T16" fmla="*/ 5 w 9"/>
                  <a:gd name="T17" fmla="*/ 3 h 7"/>
                  <a:gd name="T18" fmla="*/ 3 w 9"/>
                  <a:gd name="T19" fmla="*/ 1 h 7"/>
                  <a:gd name="T20" fmla="*/ 2 w 9"/>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7">
                    <a:moveTo>
                      <a:pt x="2" y="0"/>
                    </a:moveTo>
                    <a:lnTo>
                      <a:pt x="0" y="1"/>
                    </a:lnTo>
                    <a:lnTo>
                      <a:pt x="0" y="3"/>
                    </a:lnTo>
                    <a:lnTo>
                      <a:pt x="2" y="5"/>
                    </a:lnTo>
                    <a:lnTo>
                      <a:pt x="7" y="7"/>
                    </a:lnTo>
                    <a:lnTo>
                      <a:pt x="9" y="7"/>
                    </a:lnTo>
                    <a:lnTo>
                      <a:pt x="9" y="5"/>
                    </a:lnTo>
                    <a:lnTo>
                      <a:pt x="7" y="3"/>
                    </a:lnTo>
                    <a:lnTo>
                      <a:pt x="5" y="3"/>
                    </a:lnTo>
                    <a:lnTo>
                      <a:pt x="3" y="1"/>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53" name="Freeform 3309"/>
              <p:cNvSpPr>
                <a:spLocks/>
              </p:cNvSpPr>
              <p:nvPr/>
            </p:nvSpPr>
            <p:spPr bwMode="auto">
              <a:xfrm>
                <a:off x="1902" y="2713"/>
                <a:ext cx="5" cy="3"/>
              </a:xfrm>
              <a:custGeom>
                <a:avLst/>
                <a:gdLst>
                  <a:gd name="T0" fmla="*/ 5 w 5"/>
                  <a:gd name="T1" fmla="*/ 2 h 3"/>
                  <a:gd name="T2" fmla="*/ 3 w 5"/>
                  <a:gd name="T3" fmla="*/ 3 h 3"/>
                  <a:gd name="T4" fmla="*/ 0 w 5"/>
                  <a:gd name="T5" fmla="*/ 3 h 3"/>
                  <a:gd name="T6" fmla="*/ 0 w 5"/>
                  <a:gd name="T7" fmla="*/ 3 h 3"/>
                  <a:gd name="T8" fmla="*/ 0 w 5"/>
                  <a:gd name="T9" fmla="*/ 2 h 3"/>
                  <a:gd name="T10" fmla="*/ 0 w 5"/>
                  <a:gd name="T11" fmla="*/ 2 h 3"/>
                  <a:gd name="T12" fmla="*/ 0 w 5"/>
                  <a:gd name="T13" fmla="*/ 2 h 3"/>
                  <a:gd name="T14" fmla="*/ 1 w 5"/>
                  <a:gd name="T15" fmla="*/ 0 h 3"/>
                  <a:gd name="T16" fmla="*/ 3 w 5"/>
                  <a:gd name="T17" fmla="*/ 0 h 3"/>
                  <a:gd name="T18" fmla="*/ 3 w 5"/>
                  <a:gd name="T19" fmla="*/ 0 h 3"/>
                  <a:gd name="T20" fmla="*/ 5 w 5"/>
                  <a:gd name="T21" fmla="*/ 0 h 3"/>
                  <a:gd name="T22" fmla="*/ 5 w 5"/>
                  <a:gd name="T23" fmla="*/ 2 h 3"/>
                  <a:gd name="T24" fmla="*/ 5 w 5"/>
                  <a:gd name="T2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3">
                    <a:moveTo>
                      <a:pt x="5" y="2"/>
                    </a:moveTo>
                    <a:lnTo>
                      <a:pt x="3" y="3"/>
                    </a:lnTo>
                    <a:lnTo>
                      <a:pt x="0" y="3"/>
                    </a:lnTo>
                    <a:lnTo>
                      <a:pt x="0" y="3"/>
                    </a:lnTo>
                    <a:lnTo>
                      <a:pt x="0" y="2"/>
                    </a:lnTo>
                    <a:lnTo>
                      <a:pt x="0" y="2"/>
                    </a:lnTo>
                    <a:lnTo>
                      <a:pt x="0" y="2"/>
                    </a:lnTo>
                    <a:lnTo>
                      <a:pt x="1" y="0"/>
                    </a:lnTo>
                    <a:lnTo>
                      <a:pt x="3" y="0"/>
                    </a:lnTo>
                    <a:lnTo>
                      <a:pt x="3" y="0"/>
                    </a:lnTo>
                    <a:lnTo>
                      <a:pt x="5" y="0"/>
                    </a:lnTo>
                    <a:lnTo>
                      <a:pt x="5" y="2"/>
                    </a:lnTo>
                    <a:lnTo>
                      <a:pt x="5"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54" name="Freeform 3310"/>
              <p:cNvSpPr>
                <a:spLocks/>
              </p:cNvSpPr>
              <p:nvPr/>
            </p:nvSpPr>
            <p:spPr bwMode="auto">
              <a:xfrm>
                <a:off x="1902" y="2713"/>
                <a:ext cx="5" cy="3"/>
              </a:xfrm>
              <a:custGeom>
                <a:avLst/>
                <a:gdLst>
                  <a:gd name="T0" fmla="*/ 5 w 5"/>
                  <a:gd name="T1" fmla="*/ 2 h 3"/>
                  <a:gd name="T2" fmla="*/ 3 w 5"/>
                  <a:gd name="T3" fmla="*/ 3 h 3"/>
                  <a:gd name="T4" fmla="*/ 0 w 5"/>
                  <a:gd name="T5" fmla="*/ 3 h 3"/>
                  <a:gd name="T6" fmla="*/ 0 w 5"/>
                  <a:gd name="T7" fmla="*/ 3 h 3"/>
                  <a:gd name="T8" fmla="*/ 0 w 5"/>
                  <a:gd name="T9" fmla="*/ 2 h 3"/>
                  <a:gd name="T10" fmla="*/ 0 w 5"/>
                  <a:gd name="T11" fmla="*/ 2 h 3"/>
                  <a:gd name="T12" fmla="*/ 0 w 5"/>
                  <a:gd name="T13" fmla="*/ 2 h 3"/>
                  <a:gd name="T14" fmla="*/ 1 w 5"/>
                  <a:gd name="T15" fmla="*/ 0 h 3"/>
                  <a:gd name="T16" fmla="*/ 3 w 5"/>
                  <a:gd name="T17" fmla="*/ 0 h 3"/>
                  <a:gd name="T18" fmla="*/ 3 w 5"/>
                  <a:gd name="T19" fmla="*/ 0 h 3"/>
                  <a:gd name="T20" fmla="*/ 5 w 5"/>
                  <a:gd name="T21" fmla="*/ 0 h 3"/>
                  <a:gd name="T22" fmla="*/ 5 w 5"/>
                  <a:gd name="T23" fmla="*/ 2 h 3"/>
                  <a:gd name="T24" fmla="*/ 5 w 5"/>
                  <a:gd name="T25"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3">
                    <a:moveTo>
                      <a:pt x="5" y="2"/>
                    </a:moveTo>
                    <a:lnTo>
                      <a:pt x="3" y="3"/>
                    </a:lnTo>
                    <a:lnTo>
                      <a:pt x="0" y="3"/>
                    </a:lnTo>
                    <a:lnTo>
                      <a:pt x="0" y="3"/>
                    </a:lnTo>
                    <a:lnTo>
                      <a:pt x="0" y="2"/>
                    </a:lnTo>
                    <a:lnTo>
                      <a:pt x="0" y="2"/>
                    </a:lnTo>
                    <a:lnTo>
                      <a:pt x="0" y="2"/>
                    </a:lnTo>
                    <a:lnTo>
                      <a:pt x="1" y="0"/>
                    </a:lnTo>
                    <a:lnTo>
                      <a:pt x="3" y="0"/>
                    </a:lnTo>
                    <a:lnTo>
                      <a:pt x="3" y="0"/>
                    </a:lnTo>
                    <a:lnTo>
                      <a:pt x="5" y="0"/>
                    </a:lnTo>
                    <a:lnTo>
                      <a:pt x="5" y="2"/>
                    </a:lnTo>
                    <a:lnTo>
                      <a:pt x="5"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55" name="Freeform 3311"/>
              <p:cNvSpPr>
                <a:spLocks/>
              </p:cNvSpPr>
              <p:nvPr/>
            </p:nvSpPr>
            <p:spPr bwMode="auto">
              <a:xfrm>
                <a:off x="1887" y="2716"/>
                <a:ext cx="34" cy="25"/>
              </a:xfrm>
              <a:custGeom>
                <a:avLst/>
                <a:gdLst>
                  <a:gd name="T0" fmla="*/ 34 w 34"/>
                  <a:gd name="T1" fmla="*/ 2 h 25"/>
                  <a:gd name="T2" fmla="*/ 34 w 34"/>
                  <a:gd name="T3" fmla="*/ 11 h 25"/>
                  <a:gd name="T4" fmla="*/ 29 w 34"/>
                  <a:gd name="T5" fmla="*/ 18 h 25"/>
                  <a:gd name="T6" fmla="*/ 22 w 34"/>
                  <a:gd name="T7" fmla="*/ 24 h 25"/>
                  <a:gd name="T8" fmla="*/ 13 w 34"/>
                  <a:gd name="T9" fmla="*/ 25 h 25"/>
                  <a:gd name="T10" fmla="*/ 11 w 34"/>
                  <a:gd name="T11" fmla="*/ 25 h 25"/>
                  <a:gd name="T12" fmla="*/ 6 w 34"/>
                  <a:gd name="T13" fmla="*/ 25 h 25"/>
                  <a:gd name="T14" fmla="*/ 4 w 34"/>
                  <a:gd name="T15" fmla="*/ 24 h 25"/>
                  <a:gd name="T16" fmla="*/ 2 w 34"/>
                  <a:gd name="T17" fmla="*/ 22 h 25"/>
                  <a:gd name="T18" fmla="*/ 0 w 34"/>
                  <a:gd name="T19" fmla="*/ 4 h 25"/>
                  <a:gd name="T20" fmla="*/ 2 w 34"/>
                  <a:gd name="T21" fmla="*/ 4 h 25"/>
                  <a:gd name="T22" fmla="*/ 4 w 34"/>
                  <a:gd name="T23" fmla="*/ 2 h 25"/>
                  <a:gd name="T24" fmla="*/ 6 w 34"/>
                  <a:gd name="T25" fmla="*/ 0 h 25"/>
                  <a:gd name="T26" fmla="*/ 7 w 34"/>
                  <a:gd name="T27" fmla="*/ 0 h 25"/>
                  <a:gd name="T28" fmla="*/ 13 w 34"/>
                  <a:gd name="T29" fmla="*/ 0 h 25"/>
                  <a:gd name="T30" fmla="*/ 16 w 34"/>
                  <a:gd name="T31" fmla="*/ 2 h 25"/>
                  <a:gd name="T32" fmla="*/ 29 w 34"/>
                  <a:gd name="T33" fmla="*/ 0 h 25"/>
                  <a:gd name="T34" fmla="*/ 32 w 34"/>
                  <a:gd name="T35" fmla="*/ 0 h 25"/>
                  <a:gd name="T36" fmla="*/ 32 w 34"/>
                  <a:gd name="T37" fmla="*/ 0 h 25"/>
                  <a:gd name="T38" fmla="*/ 34 w 34"/>
                  <a:gd name="T39" fmla="*/ 2 h 25"/>
                  <a:gd name="T40" fmla="*/ 34 w 34"/>
                  <a:gd name="T41" fmla="*/ 2 h 25"/>
                  <a:gd name="T42" fmla="*/ 34 w 34"/>
                  <a:gd name="T43"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25">
                    <a:moveTo>
                      <a:pt x="34" y="2"/>
                    </a:moveTo>
                    <a:lnTo>
                      <a:pt x="34" y="11"/>
                    </a:lnTo>
                    <a:lnTo>
                      <a:pt x="29" y="18"/>
                    </a:lnTo>
                    <a:lnTo>
                      <a:pt x="22" y="24"/>
                    </a:lnTo>
                    <a:lnTo>
                      <a:pt x="13" y="25"/>
                    </a:lnTo>
                    <a:lnTo>
                      <a:pt x="11" y="25"/>
                    </a:lnTo>
                    <a:lnTo>
                      <a:pt x="6" y="25"/>
                    </a:lnTo>
                    <a:lnTo>
                      <a:pt x="4" y="24"/>
                    </a:lnTo>
                    <a:lnTo>
                      <a:pt x="2" y="22"/>
                    </a:lnTo>
                    <a:lnTo>
                      <a:pt x="0" y="4"/>
                    </a:lnTo>
                    <a:lnTo>
                      <a:pt x="2" y="4"/>
                    </a:lnTo>
                    <a:lnTo>
                      <a:pt x="4" y="2"/>
                    </a:lnTo>
                    <a:lnTo>
                      <a:pt x="6" y="0"/>
                    </a:lnTo>
                    <a:lnTo>
                      <a:pt x="7" y="0"/>
                    </a:lnTo>
                    <a:lnTo>
                      <a:pt x="13" y="0"/>
                    </a:lnTo>
                    <a:lnTo>
                      <a:pt x="16" y="2"/>
                    </a:lnTo>
                    <a:lnTo>
                      <a:pt x="29" y="0"/>
                    </a:lnTo>
                    <a:lnTo>
                      <a:pt x="32" y="0"/>
                    </a:lnTo>
                    <a:lnTo>
                      <a:pt x="32" y="0"/>
                    </a:lnTo>
                    <a:lnTo>
                      <a:pt x="34" y="2"/>
                    </a:lnTo>
                    <a:lnTo>
                      <a:pt x="34" y="2"/>
                    </a:lnTo>
                    <a:lnTo>
                      <a:pt x="34"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56" name="Freeform 3312"/>
              <p:cNvSpPr>
                <a:spLocks/>
              </p:cNvSpPr>
              <p:nvPr/>
            </p:nvSpPr>
            <p:spPr bwMode="auto">
              <a:xfrm>
                <a:off x="1887" y="2716"/>
                <a:ext cx="34" cy="25"/>
              </a:xfrm>
              <a:custGeom>
                <a:avLst/>
                <a:gdLst>
                  <a:gd name="T0" fmla="*/ 34 w 34"/>
                  <a:gd name="T1" fmla="*/ 2 h 25"/>
                  <a:gd name="T2" fmla="*/ 34 w 34"/>
                  <a:gd name="T3" fmla="*/ 11 h 25"/>
                  <a:gd name="T4" fmla="*/ 29 w 34"/>
                  <a:gd name="T5" fmla="*/ 18 h 25"/>
                  <a:gd name="T6" fmla="*/ 22 w 34"/>
                  <a:gd name="T7" fmla="*/ 24 h 25"/>
                  <a:gd name="T8" fmla="*/ 13 w 34"/>
                  <a:gd name="T9" fmla="*/ 25 h 25"/>
                  <a:gd name="T10" fmla="*/ 11 w 34"/>
                  <a:gd name="T11" fmla="*/ 25 h 25"/>
                  <a:gd name="T12" fmla="*/ 6 w 34"/>
                  <a:gd name="T13" fmla="*/ 25 h 25"/>
                  <a:gd name="T14" fmla="*/ 4 w 34"/>
                  <a:gd name="T15" fmla="*/ 24 h 25"/>
                  <a:gd name="T16" fmla="*/ 2 w 34"/>
                  <a:gd name="T17" fmla="*/ 22 h 25"/>
                  <a:gd name="T18" fmla="*/ 0 w 34"/>
                  <a:gd name="T19" fmla="*/ 4 h 25"/>
                  <a:gd name="T20" fmla="*/ 2 w 34"/>
                  <a:gd name="T21" fmla="*/ 4 h 25"/>
                  <a:gd name="T22" fmla="*/ 4 w 34"/>
                  <a:gd name="T23" fmla="*/ 2 h 25"/>
                  <a:gd name="T24" fmla="*/ 6 w 34"/>
                  <a:gd name="T25" fmla="*/ 0 h 25"/>
                  <a:gd name="T26" fmla="*/ 7 w 34"/>
                  <a:gd name="T27" fmla="*/ 0 h 25"/>
                  <a:gd name="T28" fmla="*/ 13 w 34"/>
                  <a:gd name="T29" fmla="*/ 0 h 25"/>
                  <a:gd name="T30" fmla="*/ 16 w 34"/>
                  <a:gd name="T31" fmla="*/ 2 h 25"/>
                  <a:gd name="T32" fmla="*/ 29 w 34"/>
                  <a:gd name="T33" fmla="*/ 0 h 25"/>
                  <a:gd name="T34" fmla="*/ 32 w 34"/>
                  <a:gd name="T35" fmla="*/ 0 h 25"/>
                  <a:gd name="T36" fmla="*/ 32 w 34"/>
                  <a:gd name="T37" fmla="*/ 0 h 25"/>
                  <a:gd name="T38" fmla="*/ 34 w 34"/>
                  <a:gd name="T39" fmla="*/ 2 h 25"/>
                  <a:gd name="T40" fmla="*/ 34 w 34"/>
                  <a:gd name="T41" fmla="*/ 2 h 25"/>
                  <a:gd name="T42" fmla="*/ 34 w 34"/>
                  <a:gd name="T43"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4" h="25">
                    <a:moveTo>
                      <a:pt x="34" y="2"/>
                    </a:moveTo>
                    <a:lnTo>
                      <a:pt x="34" y="11"/>
                    </a:lnTo>
                    <a:lnTo>
                      <a:pt x="29" y="18"/>
                    </a:lnTo>
                    <a:lnTo>
                      <a:pt x="22" y="24"/>
                    </a:lnTo>
                    <a:lnTo>
                      <a:pt x="13" y="25"/>
                    </a:lnTo>
                    <a:lnTo>
                      <a:pt x="11" y="25"/>
                    </a:lnTo>
                    <a:lnTo>
                      <a:pt x="6" y="25"/>
                    </a:lnTo>
                    <a:lnTo>
                      <a:pt x="4" y="24"/>
                    </a:lnTo>
                    <a:lnTo>
                      <a:pt x="2" y="22"/>
                    </a:lnTo>
                    <a:lnTo>
                      <a:pt x="0" y="4"/>
                    </a:lnTo>
                    <a:lnTo>
                      <a:pt x="2" y="4"/>
                    </a:lnTo>
                    <a:lnTo>
                      <a:pt x="4" y="2"/>
                    </a:lnTo>
                    <a:lnTo>
                      <a:pt x="6" y="0"/>
                    </a:lnTo>
                    <a:lnTo>
                      <a:pt x="7" y="0"/>
                    </a:lnTo>
                    <a:lnTo>
                      <a:pt x="13" y="0"/>
                    </a:lnTo>
                    <a:lnTo>
                      <a:pt x="16" y="2"/>
                    </a:lnTo>
                    <a:lnTo>
                      <a:pt x="29" y="0"/>
                    </a:lnTo>
                    <a:lnTo>
                      <a:pt x="32" y="0"/>
                    </a:lnTo>
                    <a:lnTo>
                      <a:pt x="32" y="0"/>
                    </a:lnTo>
                    <a:lnTo>
                      <a:pt x="34" y="2"/>
                    </a:lnTo>
                    <a:lnTo>
                      <a:pt x="34" y="2"/>
                    </a:lnTo>
                    <a:lnTo>
                      <a:pt x="34"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57" name="Freeform 3313"/>
              <p:cNvSpPr>
                <a:spLocks/>
              </p:cNvSpPr>
              <p:nvPr/>
            </p:nvSpPr>
            <p:spPr bwMode="auto">
              <a:xfrm>
                <a:off x="1878" y="2713"/>
                <a:ext cx="9" cy="12"/>
              </a:xfrm>
              <a:custGeom>
                <a:avLst/>
                <a:gdLst>
                  <a:gd name="T0" fmla="*/ 9 w 9"/>
                  <a:gd name="T1" fmla="*/ 5 h 12"/>
                  <a:gd name="T2" fmla="*/ 9 w 9"/>
                  <a:gd name="T3" fmla="*/ 5 h 12"/>
                  <a:gd name="T4" fmla="*/ 7 w 9"/>
                  <a:gd name="T5" fmla="*/ 7 h 12"/>
                  <a:gd name="T6" fmla="*/ 7 w 9"/>
                  <a:gd name="T7" fmla="*/ 9 h 12"/>
                  <a:gd name="T8" fmla="*/ 4 w 9"/>
                  <a:gd name="T9" fmla="*/ 12 h 12"/>
                  <a:gd name="T10" fmla="*/ 2 w 9"/>
                  <a:gd name="T11" fmla="*/ 12 h 12"/>
                  <a:gd name="T12" fmla="*/ 2 w 9"/>
                  <a:gd name="T13" fmla="*/ 11 h 12"/>
                  <a:gd name="T14" fmla="*/ 0 w 9"/>
                  <a:gd name="T15" fmla="*/ 9 h 12"/>
                  <a:gd name="T16" fmla="*/ 0 w 9"/>
                  <a:gd name="T17" fmla="*/ 9 h 12"/>
                  <a:gd name="T18" fmla="*/ 2 w 9"/>
                  <a:gd name="T19" fmla="*/ 7 h 12"/>
                  <a:gd name="T20" fmla="*/ 4 w 9"/>
                  <a:gd name="T21" fmla="*/ 5 h 12"/>
                  <a:gd name="T22" fmla="*/ 4 w 9"/>
                  <a:gd name="T23" fmla="*/ 3 h 12"/>
                  <a:gd name="T24" fmla="*/ 4 w 9"/>
                  <a:gd name="T25" fmla="*/ 2 h 12"/>
                  <a:gd name="T26" fmla="*/ 6 w 9"/>
                  <a:gd name="T27" fmla="*/ 2 h 12"/>
                  <a:gd name="T28" fmla="*/ 7 w 9"/>
                  <a:gd name="T29" fmla="*/ 2 h 12"/>
                  <a:gd name="T30" fmla="*/ 7 w 9"/>
                  <a:gd name="T31" fmla="*/ 2 h 12"/>
                  <a:gd name="T32" fmla="*/ 9 w 9"/>
                  <a:gd name="T33" fmla="*/ 0 h 12"/>
                  <a:gd name="T34" fmla="*/ 9 w 9"/>
                  <a:gd name="T35" fmla="*/ 2 h 12"/>
                  <a:gd name="T36" fmla="*/ 7 w 9"/>
                  <a:gd name="T37" fmla="*/ 2 h 12"/>
                  <a:gd name="T38" fmla="*/ 7 w 9"/>
                  <a:gd name="T39" fmla="*/ 3 h 12"/>
                  <a:gd name="T40" fmla="*/ 7 w 9"/>
                  <a:gd name="T41" fmla="*/ 3 h 12"/>
                  <a:gd name="T42" fmla="*/ 9 w 9"/>
                  <a:gd name="T43" fmla="*/ 3 h 12"/>
                  <a:gd name="T44" fmla="*/ 9 w 9"/>
                  <a:gd name="T45" fmla="*/ 5 h 12"/>
                  <a:gd name="T46" fmla="*/ 9 w 9"/>
                  <a:gd name="T47"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12">
                    <a:moveTo>
                      <a:pt x="9" y="5"/>
                    </a:moveTo>
                    <a:lnTo>
                      <a:pt x="9" y="5"/>
                    </a:lnTo>
                    <a:lnTo>
                      <a:pt x="7" y="7"/>
                    </a:lnTo>
                    <a:lnTo>
                      <a:pt x="7" y="9"/>
                    </a:lnTo>
                    <a:lnTo>
                      <a:pt x="4" y="12"/>
                    </a:lnTo>
                    <a:lnTo>
                      <a:pt x="2" y="12"/>
                    </a:lnTo>
                    <a:lnTo>
                      <a:pt x="2" y="11"/>
                    </a:lnTo>
                    <a:lnTo>
                      <a:pt x="0" y="9"/>
                    </a:lnTo>
                    <a:lnTo>
                      <a:pt x="0" y="9"/>
                    </a:lnTo>
                    <a:lnTo>
                      <a:pt x="2" y="7"/>
                    </a:lnTo>
                    <a:lnTo>
                      <a:pt x="4" y="5"/>
                    </a:lnTo>
                    <a:lnTo>
                      <a:pt x="4" y="3"/>
                    </a:lnTo>
                    <a:lnTo>
                      <a:pt x="4" y="2"/>
                    </a:lnTo>
                    <a:lnTo>
                      <a:pt x="6" y="2"/>
                    </a:lnTo>
                    <a:lnTo>
                      <a:pt x="7" y="2"/>
                    </a:lnTo>
                    <a:lnTo>
                      <a:pt x="7" y="2"/>
                    </a:lnTo>
                    <a:lnTo>
                      <a:pt x="9" y="0"/>
                    </a:lnTo>
                    <a:lnTo>
                      <a:pt x="9" y="2"/>
                    </a:lnTo>
                    <a:lnTo>
                      <a:pt x="7" y="2"/>
                    </a:lnTo>
                    <a:lnTo>
                      <a:pt x="7" y="3"/>
                    </a:lnTo>
                    <a:lnTo>
                      <a:pt x="7" y="3"/>
                    </a:lnTo>
                    <a:lnTo>
                      <a:pt x="9" y="3"/>
                    </a:lnTo>
                    <a:lnTo>
                      <a:pt x="9" y="5"/>
                    </a:lnTo>
                    <a:lnTo>
                      <a:pt x="9" y="5"/>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58" name="Freeform 3314"/>
              <p:cNvSpPr>
                <a:spLocks/>
              </p:cNvSpPr>
              <p:nvPr/>
            </p:nvSpPr>
            <p:spPr bwMode="auto">
              <a:xfrm>
                <a:off x="1878" y="2713"/>
                <a:ext cx="9" cy="12"/>
              </a:xfrm>
              <a:custGeom>
                <a:avLst/>
                <a:gdLst>
                  <a:gd name="T0" fmla="*/ 9 w 9"/>
                  <a:gd name="T1" fmla="*/ 5 h 12"/>
                  <a:gd name="T2" fmla="*/ 9 w 9"/>
                  <a:gd name="T3" fmla="*/ 5 h 12"/>
                  <a:gd name="T4" fmla="*/ 7 w 9"/>
                  <a:gd name="T5" fmla="*/ 7 h 12"/>
                  <a:gd name="T6" fmla="*/ 7 w 9"/>
                  <a:gd name="T7" fmla="*/ 9 h 12"/>
                  <a:gd name="T8" fmla="*/ 4 w 9"/>
                  <a:gd name="T9" fmla="*/ 12 h 12"/>
                  <a:gd name="T10" fmla="*/ 2 w 9"/>
                  <a:gd name="T11" fmla="*/ 12 h 12"/>
                  <a:gd name="T12" fmla="*/ 2 w 9"/>
                  <a:gd name="T13" fmla="*/ 11 h 12"/>
                  <a:gd name="T14" fmla="*/ 0 w 9"/>
                  <a:gd name="T15" fmla="*/ 9 h 12"/>
                  <a:gd name="T16" fmla="*/ 0 w 9"/>
                  <a:gd name="T17" fmla="*/ 9 h 12"/>
                  <a:gd name="T18" fmla="*/ 2 w 9"/>
                  <a:gd name="T19" fmla="*/ 7 h 12"/>
                  <a:gd name="T20" fmla="*/ 4 w 9"/>
                  <a:gd name="T21" fmla="*/ 5 h 12"/>
                  <a:gd name="T22" fmla="*/ 4 w 9"/>
                  <a:gd name="T23" fmla="*/ 3 h 12"/>
                  <a:gd name="T24" fmla="*/ 4 w 9"/>
                  <a:gd name="T25" fmla="*/ 2 h 12"/>
                  <a:gd name="T26" fmla="*/ 6 w 9"/>
                  <a:gd name="T27" fmla="*/ 2 h 12"/>
                  <a:gd name="T28" fmla="*/ 7 w 9"/>
                  <a:gd name="T29" fmla="*/ 2 h 12"/>
                  <a:gd name="T30" fmla="*/ 7 w 9"/>
                  <a:gd name="T31" fmla="*/ 2 h 12"/>
                  <a:gd name="T32" fmla="*/ 9 w 9"/>
                  <a:gd name="T33" fmla="*/ 0 h 12"/>
                  <a:gd name="T34" fmla="*/ 9 w 9"/>
                  <a:gd name="T35" fmla="*/ 2 h 12"/>
                  <a:gd name="T36" fmla="*/ 7 w 9"/>
                  <a:gd name="T37" fmla="*/ 2 h 12"/>
                  <a:gd name="T38" fmla="*/ 7 w 9"/>
                  <a:gd name="T39" fmla="*/ 3 h 12"/>
                  <a:gd name="T40" fmla="*/ 7 w 9"/>
                  <a:gd name="T41" fmla="*/ 3 h 12"/>
                  <a:gd name="T42" fmla="*/ 9 w 9"/>
                  <a:gd name="T43" fmla="*/ 3 h 12"/>
                  <a:gd name="T44" fmla="*/ 9 w 9"/>
                  <a:gd name="T45" fmla="*/ 5 h 12"/>
                  <a:gd name="T46" fmla="*/ 9 w 9"/>
                  <a:gd name="T47"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 h="12">
                    <a:moveTo>
                      <a:pt x="9" y="5"/>
                    </a:moveTo>
                    <a:lnTo>
                      <a:pt x="9" y="5"/>
                    </a:lnTo>
                    <a:lnTo>
                      <a:pt x="7" y="7"/>
                    </a:lnTo>
                    <a:lnTo>
                      <a:pt x="7" y="9"/>
                    </a:lnTo>
                    <a:lnTo>
                      <a:pt x="4" y="12"/>
                    </a:lnTo>
                    <a:lnTo>
                      <a:pt x="2" y="12"/>
                    </a:lnTo>
                    <a:lnTo>
                      <a:pt x="2" y="11"/>
                    </a:lnTo>
                    <a:lnTo>
                      <a:pt x="0" y="9"/>
                    </a:lnTo>
                    <a:lnTo>
                      <a:pt x="0" y="9"/>
                    </a:lnTo>
                    <a:lnTo>
                      <a:pt x="2" y="7"/>
                    </a:lnTo>
                    <a:lnTo>
                      <a:pt x="4" y="5"/>
                    </a:lnTo>
                    <a:lnTo>
                      <a:pt x="4" y="3"/>
                    </a:lnTo>
                    <a:lnTo>
                      <a:pt x="4" y="2"/>
                    </a:lnTo>
                    <a:lnTo>
                      <a:pt x="6" y="2"/>
                    </a:lnTo>
                    <a:lnTo>
                      <a:pt x="7" y="2"/>
                    </a:lnTo>
                    <a:lnTo>
                      <a:pt x="7" y="2"/>
                    </a:lnTo>
                    <a:lnTo>
                      <a:pt x="9" y="0"/>
                    </a:lnTo>
                    <a:lnTo>
                      <a:pt x="9" y="2"/>
                    </a:lnTo>
                    <a:lnTo>
                      <a:pt x="7" y="2"/>
                    </a:lnTo>
                    <a:lnTo>
                      <a:pt x="7" y="3"/>
                    </a:lnTo>
                    <a:lnTo>
                      <a:pt x="7" y="3"/>
                    </a:lnTo>
                    <a:lnTo>
                      <a:pt x="9" y="3"/>
                    </a:lnTo>
                    <a:lnTo>
                      <a:pt x="9" y="5"/>
                    </a:lnTo>
                    <a:lnTo>
                      <a:pt x="9" y="5"/>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59" name="Freeform 3315"/>
              <p:cNvSpPr>
                <a:spLocks/>
              </p:cNvSpPr>
              <p:nvPr/>
            </p:nvSpPr>
            <p:spPr bwMode="auto">
              <a:xfrm>
                <a:off x="1896" y="2706"/>
                <a:ext cx="2" cy="1"/>
              </a:xfrm>
              <a:custGeom>
                <a:avLst/>
                <a:gdLst>
                  <a:gd name="T0" fmla="*/ 2 w 2"/>
                  <a:gd name="T1" fmla="*/ 0 h 1"/>
                  <a:gd name="T2" fmla="*/ 2 w 2"/>
                  <a:gd name="T3" fmla="*/ 1 h 1"/>
                  <a:gd name="T4" fmla="*/ 2 w 2"/>
                  <a:gd name="T5" fmla="*/ 1 h 1"/>
                  <a:gd name="T6" fmla="*/ 0 w 2"/>
                  <a:gd name="T7" fmla="*/ 1 h 1"/>
                  <a:gd name="T8" fmla="*/ 0 w 2"/>
                  <a:gd name="T9" fmla="*/ 1 h 1"/>
                  <a:gd name="T10" fmla="*/ 0 w 2"/>
                  <a:gd name="T11" fmla="*/ 0 h 1"/>
                  <a:gd name="T12" fmla="*/ 0 w 2"/>
                  <a:gd name="T13" fmla="*/ 0 h 1"/>
                  <a:gd name="T14" fmla="*/ 2 w 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2" y="0"/>
                    </a:moveTo>
                    <a:lnTo>
                      <a:pt x="2" y="1"/>
                    </a:lnTo>
                    <a:lnTo>
                      <a:pt x="2" y="1"/>
                    </a:lnTo>
                    <a:lnTo>
                      <a:pt x="0" y="1"/>
                    </a:lnTo>
                    <a:lnTo>
                      <a:pt x="0" y="1"/>
                    </a:lnTo>
                    <a:lnTo>
                      <a:pt x="0" y="0"/>
                    </a:lnTo>
                    <a:lnTo>
                      <a:pt x="0"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60" name="Freeform 3316"/>
              <p:cNvSpPr>
                <a:spLocks/>
              </p:cNvSpPr>
              <p:nvPr/>
            </p:nvSpPr>
            <p:spPr bwMode="auto">
              <a:xfrm>
                <a:off x="1896" y="2706"/>
                <a:ext cx="2" cy="1"/>
              </a:xfrm>
              <a:custGeom>
                <a:avLst/>
                <a:gdLst>
                  <a:gd name="T0" fmla="*/ 2 w 2"/>
                  <a:gd name="T1" fmla="*/ 0 h 1"/>
                  <a:gd name="T2" fmla="*/ 2 w 2"/>
                  <a:gd name="T3" fmla="*/ 1 h 1"/>
                  <a:gd name="T4" fmla="*/ 2 w 2"/>
                  <a:gd name="T5" fmla="*/ 1 h 1"/>
                  <a:gd name="T6" fmla="*/ 0 w 2"/>
                  <a:gd name="T7" fmla="*/ 1 h 1"/>
                  <a:gd name="T8" fmla="*/ 0 w 2"/>
                  <a:gd name="T9" fmla="*/ 1 h 1"/>
                  <a:gd name="T10" fmla="*/ 0 w 2"/>
                  <a:gd name="T11" fmla="*/ 0 h 1"/>
                  <a:gd name="T12" fmla="*/ 0 w 2"/>
                  <a:gd name="T13" fmla="*/ 0 h 1"/>
                  <a:gd name="T14" fmla="*/ 2 w 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
                    <a:moveTo>
                      <a:pt x="2" y="0"/>
                    </a:moveTo>
                    <a:lnTo>
                      <a:pt x="2" y="1"/>
                    </a:lnTo>
                    <a:lnTo>
                      <a:pt x="2" y="1"/>
                    </a:lnTo>
                    <a:lnTo>
                      <a:pt x="0" y="1"/>
                    </a:lnTo>
                    <a:lnTo>
                      <a:pt x="0" y="1"/>
                    </a:lnTo>
                    <a:lnTo>
                      <a:pt x="0" y="0"/>
                    </a:lnTo>
                    <a:lnTo>
                      <a:pt x="0"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61" name="Freeform 3317"/>
              <p:cNvSpPr>
                <a:spLocks/>
              </p:cNvSpPr>
              <p:nvPr/>
            </p:nvSpPr>
            <p:spPr bwMode="auto">
              <a:xfrm>
                <a:off x="104" y="2618"/>
                <a:ext cx="1" cy="2"/>
              </a:xfrm>
              <a:custGeom>
                <a:avLst/>
                <a:gdLst>
                  <a:gd name="T0" fmla="*/ 0 w 1"/>
                  <a:gd name="T1" fmla="*/ 0 h 2"/>
                  <a:gd name="T2" fmla="*/ 0 w 1"/>
                  <a:gd name="T3" fmla="*/ 0 h 2"/>
                  <a:gd name="T4" fmla="*/ 1 w 1"/>
                  <a:gd name="T5" fmla="*/ 0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lnTo>
                      <a:pt x="0" y="0"/>
                    </a:lnTo>
                    <a:lnTo>
                      <a:pt x="1" y="0"/>
                    </a:lnTo>
                    <a:lnTo>
                      <a:pt x="1" y="2"/>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62" name="Freeform 3318"/>
              <p:cNvSpPr>
                <a:spLocks/>
              </p:cNvSpPr>
              <p:nvPr/>
            </p:nvSpPr>
            <p:spPr bwMode="auto">
              <a:xfrm>
                <a:off x="104" y="2618"/>
                <a:ext cx="1" cy="2"/>
              </a:xfrm>
              <a:custGeom>
                <a:avLst/>
                <a:gdLst>
                  <a:gd name="T0" fmla="*/ 0 w 1"/>
                  <a:gd name="T1" fmla="*/ 0 h 2"/>
                  <a:gd name="T2" fmla="*/ 0 w 1"/>
                  <a:gd name="T3" fmla="*/ 0 h 2"/>
                  <a:gd name="T4" fmla="*/ 1 w 1"/>
                  <a:gd name="T5" fmla="*/ 0 h 2"/>
                  <a:gd name="T6" fmla="*/ 1 w 1"/>
                  <a:gd name="T7" fmla="*/ 2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lnTo>
                      <a:pt x="0" y="0"/>
                    </a:lnTo>
                    <a:lnTo>
                      <a:pt x="1" y="0"/>
                    </a:lnTo>
                    <a:lnTo>
                      <a:pt x="1" y="2"/>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63" name="Freeform 3319"/>
              <p:cNvSpPr>
                <a:spLocks/>
              </p:cNvSpPr>
              <p:nvPr/>
            </p:nvSpPr>
            <p:spPr bwMode="auto">
              <a:xfrm>
                <a:off x="179" y="2681"/>
                <a:ext cx="7" cy="7"/>
              </a:xfrm>
              <a:custGeom>
                <a:avLst/>
                <a:gdLst>
                  <a:gd name="T0" fmla="*/ 0 w 7"/>
                  <a:gd name="T1" fmla="*/ 0 h 7"/>
                  <a:gd name="T2" fmla="*/ 1 w 7"/>
                  <a:gd name="T3" fmla="*/ 0 h 7"/>
                  <a:gd name="T4" fmla="*/ 1 w 7"/>
                  <a:gd name="T5" fmla="*/ 0 h 7"/>
                  <a:gd name="T6" fmla="*/ 3 w 7"/>
                  <a:gd name="T7" fmla="*/ 1 h 7"/>
                  <a:gd name="T8" fmla="*/ 3 w 7"/>
                  <a:gd name="T9" fmla="*/ 3 h 7"/>
                  <a:gd name="T10" fmla="*/ 5 w 7"/>
                  <a:gd name="T11" fmla="*/ 5 h 7"/>
                  <a:gd name="T12" fmla="*/ 7 w 7"/>
                  <a:gd name="T13" fmla="*/ 7 h 7"/>
                  <a:gd name="T14" fmla="*/ 1 w 7"/>
                  <a:gd name="T15" fmla="*/ 7 h 7"/>
                  <a:gd name="T16" fmla="*/ 0 w 7"/>
                  <a:gd name="T17" fmla="*/ 5 h 7"/>
                  <a:gd name="T18" fmla="*/ 0 w 7"/>
                  <a:gd name="T19" fmla="*/ 3 h 7"/>
                  <a:gd name="T20" fmla="*/ 1 w 7"/>
                  <a:gd name="T21" fmla="*/ 3 h 7"/>
                  <a:gd name="T22" fmla="*/ 1 w 7"/>
                  <a:gd name="T23" fmla="*/ 3 h 7"/>
                  <a:gd name="T24" fmla="*/ 1 w 7"/>
                  <a:gd name="T25" fmla="*/ 1 h 7"/>
                  <a:gd name="T26" fmla="*/ 1 w 7"/>
                  <a:gd name="T27" fmla="*/ 1 h 7"/>
                  <a:gd name="T28" fmla="*/ 0 w 7"/>
                  <a:gd name="T29" fmla="*/ 0 h 7"/>
                  <a:gd name="T30" fmla="*/ 0 w 7"/>
                  <a:gd name="T3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0" y="0"/>
                    </a:moveTo>
                    <a:lnTo>
                      <a:pt x="1" y="0"/>
                    </a:lnTo>
                    <a:lnTo>
                      <a:pt x="1" y="0"/>
                    </a:lnTo>
                    <a:lnTo>
                      <a:pt x="3" y="1"/>
                    </a:lnTo>
                    <a:lnTo>
                      <a:pt x="3" y="3"/>
                    </a:lnTo>
                    <a:lnTo>
                      <a:pt x="5" y="5"/>
                    </a:lnTo>
                    <a:lnTo>
                      <a:pt x="7" y="7"/>
                    </a:lnTo>
                    <a:lnTo>
                      <a:pt x="1" y="7"/>
                    </a:lnTo>
                    <a:lnTo>
                      <a:pt x="0" y="5"/>
                    </a:lnTo>
                    <a:lnTo>
                      <a:pt x="0" y="3"/>
                    </a:lnTo>
                    <a:lnTo>
                      <a:pt x="1" y="3"/>
                    </a:lnTo>
                    <a:lnTo>
                      <a:pt x="1" y="3"/>
                    </a:lnTo>
                    <a:lnTo>
                      <a:pt x="1" y="1"/>
                    </a:lnTo>
                    <a:lnTo>
                      <a:pt x="1" y="1"/>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64" name="Freeform 3320"/>
              <p:cNvSpPr>
                <a:spLocks/>
              </p:cNvSpPr>
              <p:nvPr/>
            </p:nvSpPr>
            <p:spPr bwMode="auto">
              <a:xfrm>
                <a:off x="179" y="2681"/>
                <a:ext cx="7" cy="7"/>
              </a:xfrm>
              <a:custGeom>
                <a:avLst/>
                <a:gdLst>
                  <a:gd name="T0" fmla="*/ 0 w 7"/>
                  <a:gd name="T1" fmla="*/ 0 h 7"/>
                  <a:gd name="T2" fmla="*/ 1 w 7"/>
                  <a:gd name="T3" fmla="*/ 0 h 7"/>
                  <a:gd name="T4" fmla="*/ 1 w 7"/>
                  <a:gd name="T5" fmla="*/ 0 h 7"/>
                  <a:gd name="T6" fmla="*/ 3 w 7"/>
                  <a:gd name="T7" fmla="*/ 1 h 7"/>
                  <a:gd name="T8" fmla="*/ 3 w 7"/>
                  <a:gd name="T9" fmla="*/ 3 h 7"/>
                  <a:gd name="T10" fmla="*/ 5 w 7"/>
                  <a:gd name="T11" fmla="*/ 5 h 7"/>
                  <a:gd name="T12" fmla="*/ 7 w 7"/>
                  <a:gd name="T13" fmla="*/ 7 h 7"/>
                  <a:gd name="T14" fmla="*/ 1 w 7"/>
                  <a:gd name="T15" fmla="*/ 7 h 7"/>
                  <a:gd name="T16" fmla="*/ 0 w 7"/>
                  <a:gd name="T17" fmla="*/ 5 h 7"/>
                  <a:gd name="T18" fmla="*/ 0 w 7"/>
                  <a:gd name="T19" fmla="*/ 3 h 7"/>
                  <a:gd name="T20" fmla="*/ 1 w 7"/>
                  <a:gd name="T21" fmla="*/ 3 h 7"/>
                  <a:gd name="T22" fmla="*/ 1 w 7"/>
                  <a:gd name="T23" fmla="*/ 3 h 7"/>
                  <a:gd name="T24" fmla="*/ 1 w 7"/>
                  <a:gd name="T25" fmla="*/ 1 h 7"/>
                  <a:gd name="T26" fmla="*/ 1 w 7"/>
                  <a:gd name="T27" fmla="*/ 1 h 7"/>
                  <a:gd name="T28" fmla="*/ 0 w 7"/>
                  <a:gd name="T29" fmla="*/ 0 h 7"/>
                  <a:gd name="T30" fmla="*/ 0 w 7"/>
                  <a:gd name="T3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 h="7">
                    <a:moveTo>
                      <a:pt x="0" y="0"/>
                    </a:moveTo>
                    <a:lnTo>
                      <a:pt x="1" y="0"/>
                    </a:lnTo>
                    <a:lnTo>
                      <a:pt x="1" y="0"/>
                    </a:lnTo>
                    <a:lnTo>
                      <a:pt x="3" y="1"/>
                    </a:lnTo>
                    <a:lnTo>
                      <a:pt x="3" y="3"/>
                    </a:lnTo>
                    <a:lnTo>
                      <a:pt x="5" y="5"/>
                    </a:lnTo>
                    <a:lnTo>
                      <a:pt x="7" y="7"/>
                    </a:lnTo>
                    <a:lnTo>
                      <a:pt x="1" y="7"/>
                    </a:lnTo>
                    <a:lnTo>
                      <a:pt x="0" y="5"/>
                    </a:lnTo>
                    <a:lnTo>
                      <a:pt x="0" y="3"/>
                    </a:lnTo>
                    <a:lnTo>
                      <a:pt x="1" y="3"/>
                    </a:lnTo>
                    <a:lnTo>
                      <a:pt x="1" y="3"/>
                    </a:lnTo>
                    <a:lnTo>
                      <a:pt x="1" y="1"/>
                    </a:lnTo>
                    <a:lnTo>
                      <a:pt x="1" y="1"/>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65" name="Freeform 3321"/>
              <p:cNvSpPr>
                <a:spLocks/>
              </p:cNvSpPr>
              <p:nvPr/>
            </p:nvSpPr>
            <p:spPr bwMode="auto">
              <a:xfrm>
                <a:off x="1891" y="2713"/>
                <a:ext cx="2" cy="2"/>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66" name="Freeform 3322"/>
              <p:cNvSpPr>
                <a:spLocks/>
              </p:cNvSpPr>
              <p:nvPr/>
            </p:nvSpPr>
            <p:spPr bwMode="auto">
              <a:xfrm>
                <a:off x="1891" y="2713"/>
                <a:ext cx="2" cy="2"/>
              </a:xfrm>
              <a:custGeom>
                <a:avLst/>
                <a:gdLst>
                  <a:gd name="T0" fmla="*/ 0 w 2"/>
                  <a:gd name="T1" fmla="*/ 0 h 2"/>
                  <a:gd name="T2" fmla="*/ 2 w 2"/>
                  <a:gd name="T3" fmla="*/ 0 h 2"/>
                  <a:gd name="T4" fmla="*/ 2 w 2"/>
                  <a:gd name="T5" fmla="*/ 2 h 2"/>
                  <a:gd name="T6" fmla="*/ 0 w 2"/>
                  <a:gd name="T7" fmla="*/ 2 h 2"/>
                  <a:gd name="T8" fmla="*/ 0 w 2"/>
                  <a:gd name="T9" fmla="*/ 0 h 2"/>
                  <a:gd name="T10" fmla="*/ 0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0" y="0"/>
                    </a:moveTo>
                    <a:lnTo>
                      <a:pt x="2" y="0"/>
                    </a:lnTo>
                    <a:lnTo>
                      <a:pt x="2" y="2"/>
                    </a:lnTo>
                    <a:lnTo>
                      <a:pt x="0" y="2"/>
                    </a:lnTo>
                    <a:lnTo>
                      <a:pt x="0" y="0"/>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67" name="Freeform 3323"/>
              <p:cNvSpPr>
                <a:spLocks/>
              </p:cNvSpPr>
              <p:nvPr/>
            </p:nvSpPr>
            <p:spPr bwMode="auto">
              <a:xfrm>
                <a:off x="1268" y="2415"/>
                <a:ext cx="19" cy="41"/>
              </a:xfrm>
              <a:custGeom>
                <a:avLst/>
                <a:gdLst>
                  <a:gd name="T0" fmla="*/ 14 w 19"/>
                  <a:gd name="T1" fmla="*/ 0 h 41"/>
                  <a:gd name="T2" fmla="*/ 12 w 19"/>
                  <a:gd name="T3" fmla="*/ 0 h 41"/>
                  <a:gd name="T4" fmla="*/ 10 w 19"/>
                  <a:gd name="T5" fmla="*/ 0 h 41"/>
                  <a:gd name="T6" fmla="*/ 7 w 19"/>
                  <a:gd name="T7" fmla="*/ 9 h 41"/>
                  <a:gd name="T8" fmla="*/ 1 w 19"/>
                  <a:gd name="T9" fmla="*/ 9 h 41"/>
                  <a:gd name="T10" fmla="*/ 1 w 19"/>
                  <a:gd name="T11" fmla="*/ 39 h 41"/>
                  <a:gd name="T12" fmla="*/ 0 w 19"/>
                  <a:gd name="T13" fmla="*/ 41 h 41"/>
                  <a:gd name="T14" fmla="*/ 3 w 19"/>
                  <a:gd name="T15" fmla="*/ 41 h 41"/>
                  <a:gd name="T16" fmla="*/ 7 w 19"/>
                  <a:gd name="T17" fmla="*/ 41 h 41"/>
                  <a:gd name="T18" fmla="*/ 7 w 19"/>
                  <a:gd name="T19" fmla="*/ 41 h 41"/>
                  <a:gd name="T20" fmla="*/ 7 w 19"/>
                  <a:gd name="T21" fmla="*/ 39 h 41"/>
                  <a:gd name="T22" fmla="*/ 7 w 19"/>
                  <a:gd name="T23" fmla="*/ 37 h 41"/>
                  <a:gd name="T24" fmla="*/ 14 w 19"/>
                  <a:gd name="T25" fmla="*/ 32 h 41"/>
                  <a:gd name="T26" fmla="*/ 14 w 19"/>
                  <a:gd name="T27" fmla="*/ 28 h 41"/>
                  <a:gd name="T28" fmla="*/ 14 w 19"/>
                  <a:gd name="T29" fmla="*/ 28 h 41"/>
                  <a:gd name="T30" fmla="*/ 16 w 19"/>
                  <a:gd name="T31" fmla="*/ 10 h 41"/>
                  <a:gd name="T32" fmla="*/ 19 w 19"/>
                  <a:gd name="T33" fmla="*/ 5 h 41"/>
                  <a:gd name="T34" fmla="*/ 19 w 19"/>
                  <a:gd name="T35" fmla="*/ 3 h 41"/>
                  <a:gd name="T36" fmla="*/ 18 w 19"/>
                  <a:gd name="T37" fmla="*/ 1 h 41"/>
                  <a:gd name="T38" fmla="*/ 14 w 19"/>
                  <a:gd name="T39" fmla="*/ 0 h 41"/>
                  <a:gd name="T40" fmla="*/ 14 w 19"/>
                  <a:gd name="T4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41">
                    <a:moveTo>
                      <a:pt x="14" y="0"/>
                    </a:moveTo>
                    <a:lnTo>
                      <a:pt x="12" y="0"/>
                    </a:lnTo>
                    <a:lnTo>
                      <a:pt x="10" y="0"/>
                    </a:lnTo>
                    <a:lnTo>
                      <a:pt x="7" y="9"/>
                    </a:lnTo>
                    <a:lnTo>
                      <a:pt x="1" y="9"/>
                    </a:lnTo>
                    <a:lnTo>
                      <a:pt x="1" y="39"/>
                    </a:lnTo>
                    <a:lnTo>
                      <a:pt x="0" y="41"/>
                    </a:lnTo>
                    <a:lnTo>
                      <a:pt x="3" y="41"/>
                    </a:lnTo>
                    <a:lnTo>
                      <a:pt x="7" y="41"/>
                    </a:lnTo>
                    <a:lnTo>
                      <a:pt x="7" y="41"/>
                    </a:lnTo>
                    <a:lnTo>
                      <a:pt x="7" y="39"/>
                    </a:lnTo>
                    <a:lnTo>
                      <a:pt x="7" y="37"/>
                    </a:lnTo>
                    <a:lnTo>
                      <a:pt x="14" y="32"/>
                    </a:lnTo>
                    <a:lnTo>
                      <a:pt x="14" y="28"/>
                    </a:lnTo>
                    <a:lnTo>
                      <a:pt x="14" y="28"/>
                    </a:lnTo>
                    <a:lnTo>
                      <a:pt x="16" y="10"/>
                    </a:lnTo>
                    <a:lnTo>
                      <a:pt x="19" y="5"/>
                    </a:lnTo>
                    <a:lnTo>
                      <a:pt x="19" y="3"/>
                    </a:lnTo>
                    <a:lnTo>
                      <a:pt x="18" y="1"/>
                    </a:lnTo>
                    <a:lnTo>
                      <a:pt x="14" y="0"/>
                    </a:lnTo>
                    <a:lnTo>
                      <a:pt x="14"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68" name="Freeform 3324"/>
              <p:cNvSpPr>
                <a:spLocks/>
              </p:cNvSpPr>
              <p:nvPr/>
            </p:nvSpPr>
            <p:spPr bwMode="auto">
              <a:xfrm>
                <a:off x="1268" y="2415"/>
                <a:ext cx="19" cy="41"/>
              </a:xfrm>
              <a:custGeom>
                <a:avLst/>
                <a:gdLst>
                  <a:gd name="T0" fmla="*/ 14 w 19"/>
                  <a:gd name="T1" fmla="*/ 0 h 41"/>
                  <a:gd name="T2" fmla="*/ 12 w 19"/>
                  <a:gd name="T3" fmla="*/ 0 h 41"/>
                  <a:gd name="T4" fmla="*/ 10 w 19"/>
                  <a:gd name="T5" fmla="*/ 0 h 41"/>
                  <a:gd name="T6" fmla="*/ 7 w 19"/>
                  <a:gd name="T7" fmla="*/ 9 h 41"/>
                  <a:gd name="T8" fmla="*/ 1 w 19"/>
                  <a:gd name="T9" fmla="*/ 9 h 41"/>
                  <a:gd name="T10" fmla="*/ 1 w 19"/>
                  <a:gd name="T11" fmla="*/ 39 h 41"/>
                  <a:gd name="T12" fmla="*/ 0 w 19"/>
                  <a:gd name="T13" fmla="*/ 41 h 41"/>
                  <a:gd name="T14" fmla="*/ 3 w 19"/>
                  <a:gd name="T15" fmla="*/ 41 h 41"/>
                  <a:gd name="T16" fmla="*/ 7 w 19"/>
                  <a:gd name="T17" fmla="*/ 41 h 41"/>
                  <a:gd name="T18" fmla="*/ 7 w 19"/>
                  <a:gd name="T19" fmla="*/ 41 h 41"/>
                  <a:gd name="T20" fmla="*/ 7 w 19"/>
                  <a:gd name="T21" fmla="*/ 39 h 41"/>
                  <a:gd name="T22" fmla="*/ 7 w 19"/>
                  <a:gd name="T23" fmla="*/ 37 h 41"/>
                  <a:gd name="T24" fmla="*/ 14 w 19"/>
                  <a:gd name="T25" fmla="*/ 32 h 41"/>
                  <a:gd name="T26" fmla="*/ 14 w 19"/>
                  <a:gd name="T27" fmla="*/ 28 h 41"/>
                  <a:gd name="T28" fmla="*/ 14 w 19"/>
                  <a:gd name="T29" fmla="*/ 28 h 41"/>
                  <a:gd name="T30" fmla="*/ 16 w 19"/>
                  <a:gd name="T31" fmla="*/ 10 h 41"/>
                  <a:gd name="T32" fmla="*/ 19 w 19"/>
                  <a:gd name="T33" fmla="*/ 5 h 41"/>
                  <a:gd name="T34" fmla="*/ 19 w 19"/>
                  <a:gd name="T35" fmla="*/ 3 h 41"/>
                  <a:gd name="T36" fmla="*/ 18 w 19"/>
                  <a:gd name="T37" fmla="*/ 1 h 41"/>
                  <a:gd name="T38" fmla="*/ 14 w 19"/>
                  <a:gd name="T39" fmla="*/ 0 h 41"/>
                  <a:gd name="T40" fmla="*/ 14 w 19"/>
                  <a:gd name="T4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 h="41">
                    <a:moveTo>
                      <a:pt x="14" y="0"/>
                    </a:moveTo>
                    <a:lnTo>
                      <a:pt x="12" y="0"/>
                    </a:lnTo>
                    <a:lnTo>
                      <a:pt x="10" y="0"/>
                    </a:lnTo>
                    <a:lnTo>
                      <a:pt x="7" y="9"/>
                    </a:lnTo>
                    <a:lnTo>
                      <a:pt x="1" y="9"/>
                    </a:lnTo>
                    <a:lnTo>
                      <a:pt x="1" y="39"/>
                    </a:lnTo>
                    <a:lnTo>
                      <a:pt x="0" y="41"/>
                    </a:lnTo>
                    <a:lnTo>
                      <a:pt x="3" y="41"/>
                    </a:lnTo>
                    <a:lnTo>
                      <a:pt x="7" y="41"/>
                    </a:lnTo>
                    <a:lnTo>
                      <a:pt x="7" y="41"/>
                    </a:lnTo>
                    <a:lnTo>
                      <a:pt x="7" y="39"/>
                    </a:lnTo>
                    <a:lnTo>
                      <a:pt x="7" y="37"/>
                    </a:lnTo>
                    <a:lnTo>
                      <a:pt x="14" y="32"/>
                    </a:lnTo>
                    <a:lnTo>
                      <a:pt x="14" y="28"/>
                    </a:lnTo>
                    <a:lnTo>
                      <a:pt x="14" y="28"/>
                    </a:lnTo>
                    <a:lnTo>
                      <a:pt x="16" y="10"/>
                    </a:lnTo>
                    <a:lnTo>
                      <a:pt x="19" y="5"/>
                    </a:lnTo>
                    <a:lnTo>
                      <a:pt x="19" y="3"/>
                    </a:lnTo>
                    <a:lnTo>
                      <a:pt x="18" y="1"/>
                    </a:lnTo>
                    <a:lnTo>
                      <a:pt x="14" y="0"/>
                    </a:lnTo>
                    <a:lnTo>
                      <a:pt x="14"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69" name="Freeform 3325"/>
              <p:cNvSpPr>
                <a:spLocks/>
              </p:cNvSpPr>
              <p:nvPr/>
            </p:nvSpPr>
            <p:spPr bwMode="auto">
              <a:xfrm>
                <a:off x="1255" y="2481"/>
                <a:ext cx="38" cy="21"/>
              </a:xfrm>
              <a:custGeom>
                <a:avLst/>
                <a:gdLst>
                  <a:gd name="T0" fmla="*/ 11 w 38"/>
                  <a:gd name="T1" fmla="*/ 0 h 21"/>
                  <a:gd name="T2" fmla="*/ 9 w 38"/>
                  <a:gd name="T3" fmla="*/ 1 h 21"/>
                  <a:gd name="T4" fmla="*/ 9 w 38"/>
                  <a:gd name="T5" fmla="*/ 3 h 21"/>
                  <a:gd name="T6" fmla="*/ 7 w 38"/>
                  <a:gd name="T7" fmla="*/ 5 h 21"/>
                  <a:gd name="T8" fmla="*/ 6 w 38"/>
                  <a:gd name="T9" fmla="*/ 5 h 21"/>
                  <a:gd name="T10" fmla="*/ 6 w 38"/>
                  <a:gd name="T11" fmla="*/ 7 h 21"/>
                  <a:gd name="T12" fmla="*/ 2 w 38"/>
                  <a:gd name="T13" fmla="*/ 7 h 21"/>
                  <a:gd name="T14" fmla="*/ 0 w 38"/>
                  <a:gd name="T15" fmla="*/ 10 h 21"/>
                  <a:gd name="T16" fmla="*/ 0 w 38"/>
                  <a:gd name="T17" fmla="*/ 12 h 21"/>
                  <a:gd name="T18" fmla="*/ 4 w 38"/>
                  <a:gd name="T19" fmla="*/ 14 h 21"/>
                  <a:gd name="T20" fmla="*/ 23 w 38"/>
                  <a:gd name="T21" fmla="*/ 19 h 21"/>
                  <a:gd name="T22" fmla="*/ 31 w 38"/>
                  <a:gd name="T23" fmla="*/ 21 h 21"/>
                  <a:gd name="T24" fmla="*/ 36 w 38"/>
                  <a:gd name="T25" fmla="*/ 18 h 21"/>
                  <a:gd name="T26" fmla="*/ 38 w 38"/>
                  <a:gd name="T27" fmla="*/ 18 h 21"/>
                  <a:gd name="T28" fmla="*/ 36 w 38"/>
                  <a:gd name="T29" fmla="*/ 16 h 21"/>
                  <a:gd name="T30" fmla="*/ 36 w 38"/>
                  <a:gd name="T31" fmla="*/ 10 h 21"/>
                  <a:gd name="T32" fmla="*/ 36 w 38"/>
                  <a:gd name="T33" fmla="*/ 10 h 21"/>
                  <a:gd name="T34" fmla="*/ 34 w 38"/>
                  <a:gd name="T35" fmla="*/ 9 h 21"/>
                  <a:gd name="T36" fmla="*/ 32 w 38"/>
                  <a:gd name="T37" fmla="*/ 9 h 21"/>
                  <a:gd name="T38" fmla="*/ 32 w 38"/>
                  <a:gd name="T39" fmla="*/ 7 h 21"/>
                  <a:gd name="T40" fmla="*/ 31 w 38"/>
                  <a:gd name="T41" fmla="*/ 9 h 21"/>
                  <a:gd name="T42" fmla="*/ 29 w 38"/>
                  <a:gd name="T43" fmla="*/ 9 h 21"/>
                  <a:gd name="T44" fmla="*/ 27 w 38"/>
                  <a:gd name="T45" fmla="*/ 9 h 21"/>
                  <a:gd name="T46" fmla="*/ 25 w 38"/>
                  <a:gd name="T47" fmla="*/ 9 h 21"/>
                  <a:gd name="T48" fmla="*/ 25 w 38"/>
                  <a:gd name="T49" fmla="*/ 9 h 21"/>
                  <a:gd name="T50" fmla="*/ 25 w 38"/>
                  <a:gd name="T51" fmla="*/ 7 h 21"/>
                  <a:gd name="T52" fmla="*/ 23 w 38"/>
                  <a:gd name="T53" fmla="*/ 7 h 21"/>
                  <a:gd name="T54" fmla="*/ 22 w 38"/>
                  <a:gd name="T55" fmla="*/ 7 h 21"/>
                  <a:gd name="T56" fmla="*/ 22 w 38"/>
                  <a:gd name="T57" fmla="*/ 5 h 21"/>
                  <a:gd name="T58" fmla="*/ 20 w 38"/>
                  <a:gd name="T59" fmla="*/ 5 h 21"/>
                  <a:gd name="T60" fmla="*/ 18 w 38"/>
                  <a:gd name="T61" fmla="*/ 3 h 21"/>
                  <a:gd name="T62" fmla="*/ 16 w 38"/>
                  <a:gd name="T63" fmla="*/ 1 h 21"/>
                  <a:gd name="T64" fmla="*/ 13 w 38"/>
                  <a:gd name="T65" fmla="*/ 1 h 21"/>
                  <a:gd name="T66" fmla="*/ 11 w 38"/>
                  <a:gd name="T6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21">
                    <a:moveTo>
                      <a:pt x="11" y="0"/>
                    </a:moveTo>
                    <a:lnTo>
                      <a:pt x="9" y="1"/>
                    </a:lnTo>
                    <a:lnTo>
                      <a:pt x="9" y="3"/>
                    </a:lnTo>
                    <a:lnTo>
                      <a:pt x="7" y="5"/>
                    </a:lnTo>
                    <a:lnTo>
                      <a:pt x="6" y="5"/>
                    </a:lnTo>
                    <a:lnTo>
                      <a:pt x="6" y="7"/>
                    </a:lnTo>
                    <a:lnTo>
                      <a:pt x="2" y="7"/>
                    </a:lnTo>
                    <a:lnTo>
                      <a:pt x="0" y="10"/>
                    </a:lnTo>
                    <a:lnTo>
                      <a:pt x="0" y="12"/>
                    </a:lnTo>
                    <a:lnTo>
                      <a:pt x="4" y="14"/>
                    </a:lnTo>
                    <a:lnTo>
                      <a:pt x="23" y="19"/>
                    </a:lnTo>
                    <a:lnTo>
                      <a:pt x="31" y="21"/>
                    </a:lnTo>
                    <a:lnTo>
                      <a:pt x="36" y="18"/>
                    </a:lnTo>
                    <a:lnTo>
                      <a:pt x="38" y="18"/>
                    </a:lnTo>
                    <a:lnTo>
                      <a:pt x="36" y="16"/>
                    </a:lnTo>
                    <a:lnTo>
                      <a:pt x="36" y="10"/>
                    </a:lnTo>
                    <a:lnTo>
                      <a:pt x="36" y="10"/>
                    </a:lnTo>
                    <a:lnTo>
                      <a:pt x="34" y="9"/>
                    </a:lnTo>
                    <a:lnTo>
                      <a:pt x="32" y="9"/>
                    </a:lnTo>
                    <a:lnTo>
                      <a:pt x="32" y="7"/>
                    </a:lnTo>
                    <a:lnTo>
                      <a:pt x="31" y="9"/>
                    </a:lnTo>
                    <a:lnTo>
                      <a:pt x="29" y="9"/>
                    </a:lnTo>
                    <a:lnTo>
                      <a:pt x="27" y="9"/>
                    </a:lnTo>
                    <a:lnTo>
                      <a:pt x="25" y="9"/>
                    </a:lnTo>
                    <a:lnTo>
                      <a:pt x="25" y="9"/>
                    </a:lnTo>
                    <a:lnTo>
                      <a:pt x="25" y="7"/>
                    </a:lnTo>
                    <a:lnTo>
                      <a:pt x="23" y="7"/>
                    </a:lnTo>
                    <a:lnTo>
                      <a:pt x="22" y="7"/>
                    </a:lnTo>
                    <a:lnTo>
                      <a:pt x="22" y="5"/>
                    </a:lnTo>
                    <a:lnTo>
                      <a:pt x="20" y="5"/>
                    </a:lnTo>
                    <a:lnTo>
                      <a:pt x="18" y="3"/>
                    </a:lnTo>
                    <a:lnTo>
                      <a:pt x="16" y="1"/>
                    </a:lnTo>
                    <a:lnTo>
                      <a:pt x="13" y="1"/>
                    </a:lnTo>
                    <a:lnTo>
                      <a:pt x="1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70" name="Freeform 3326"/>
              <p:cNvSpPr>
                <a:spLocks/>
              </p:cNvSpPr>
              <p:nvPr/>
            </p:nvSpPr>
            <p:spPr bwMode="auto">
              <a:xfrm>
                <a:off x="1255" y="2481"/>
                <a:ext cx="38" cy="21"/>
              </a:xfrm>
              <a:custGeom>
                <a:avLst/>
                <a:gdLst>
                  <a:gd name="T0" fmla="*/ 11 w 38"/>
                  <a:gd name="T1" fmla="*/ 0 h 21"/>
                  <a:gd name="T2" fmla="*/ 9 w 38"/>
                  <a:gd name="T3" fmla="*/ 1 h 21"/>
                  <a:gd name="T4" fmla="*/ 9 w 38"/>
                  <a:gd name="T5" fmla="*/ 3 h 21"/>
                  <a:gd name="T6" fmla="*/ 7 w 38"/>
                  <a:gd name="T7" fmla="*/ 5 h 21"/>
                  <a:gd name="T8" fmla="*/ 6 w 38"/>
                  <a:gd name="T9" fmla="*/ 5 h 21"/>
                  <a:gd name="T10" fmla="*/ 6 w 38"/>
                  <a:gd name="T11" fmla="*/ 7 h 21"/>
                  <a:gd name="T12" fmla="*/ 2 w 38"/>
                  <a:gd name="T13" fmla="*/ 7 h 21"/>
                  <a:gd name="T14" fmla="*/ 0 w 38"/>
                  <a:gd name="T15" fmla="*/ 10 h 21"/>
                  <a:gd name="T16" fmla="*/ 0 w 38"/>
                  <a:gd name="T17" fmla="*/ 12 h 21"/>
                  <a:gd name="T18" fmla="*/ 4 w 38"/>
                  <a:gd name="T19" fmla="*/ 14 h 21"/>
                  <a:gd name="T20" fmla="*/ 23 w 38"/>
                  <a:gd name="T21" fmla="*/ 19 h 21"/>
                  <a:gd name="T22" fmla="*/ 31 w 38"/>
                  <a:gd name="T23" fmla="*/ 21 h 21"/>
                  <a:gd name="T24" fmla="*/ 36 w 38"/>
                  <a:gd name="T25" fmla="*/ 18 h 21"/>
                  <a:gd name="T26" fmla="*/ 38 w 38"/>
                  <a:gd name="T27" fmla="*/ 18 h 21"/>
                  <a:gd name="T28" fmla="*/ 36 w 38"/>
                  <a:gd name="T29" fmla="*/ 16 h 21"/>
                  <a:gd name="T30" fmla="*/ 36 w 38"/>
                  <a:gd name="T31" fmla="*/ 10 h 21"/>
                  <a:gd name="T32" fmla="*/ 36 w 38"/>
                  <a:gd name="T33" fmla="*/ 10 h 21"/>
                  <a:gd name="T34" fmla="*/ 34 w 38"/>
                  <a:gd name="T35" fmla="*/ 9 h 21"/>
                  <a:gd name="T36" fmla="*/ 32 w 38"/>
                  <a:gd name="T37" fmla="*/ 9 h 21"/>
                  <a:gd name="T38" fmla="*/ 32 w 38"/>
                  <a:gd name="T39" fmla="*/ 7 h 21"/>
                  <a:gd name="T40" fmla="*/ 31 w 38"/>
                  <a:gd name="T41" fmla="*/ 9 h 21"/>
                  <a:gd name="T42" fmla="*/ 29 w 38"/>
                  <a:gd name="T43" fmla="*/ 9 h 21"/>
                  <a:gd name="T44" fmla="*/ 27 w 38"/>
                  <a:gd name="T45" fmla="*/ 9 h 21"/>
                  <a:gd name="T46" fmla="*/ 25 w 38"/>
                  <a:gd name="T47" fmla="*/ 9 h 21"/>
                  <a:gd name="T48" fmla="*/ 25 w 38"/>
                  <a:gd name="T49" fmla="*/ 9 h 21"/>
                  <a:gd name="T50" fmla="*/ 25 w 38"/>
                  <a:gd name="T51" fmla="*/ 7 h 21"/>
                  <a:gd name="T52" fmla="*/ 23 w 38"/>
                  <a:gd name="T53" fmla="*/ 7 h 21"/>
                  <a:gd name="T54" fmla="*/ 22 w 38"/>
                  <a:gd name="T55" fmla="*/ 7 h 21"/>
                  <a:gd name="T56" fmla="*/ 22 w 38"/>
                  <a:gd name="T57" fmla="*/ 5 h 21"/>
                  <a:gd name="T58" fmla="*/ 20 w 38"/>
                  <a:gd name="T59" fmla="*/ 5 h 21"/>
                  <a:gd name="T60" fmla="*/ 18 w 38"/>
                  <a:gd name="T61" fmla="*/ 3 h 21"/>
                  <a:gd name="T62" fmla="*/ 16 w 38"/>
                  <a:gd name="T63" fmla="*/ 1 h 21"/>
                  <a:gd name="T64" fmla="*/ 13 w 38"/>
                  <a:gd name="T65" fmla="*/ 1 h 21"/>
                  <a:gd name="T66" fmla="*/ 11 w 38"/>
                  <a:gd name="T6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21">
                    <a:moveTo>
                      <a:pt x="11" y="0"/>
                    </a:moveTo>
                    <a:lnTo>
                      <a:pt x="9" y="1"/>
                    </a:lnTo>
                    <a:lnTo>
                      <a:pt x="9" y="3"/>
                    </a:lnTo>
                    <a:lnTo>
                      <a:pt x="7" y="5"/>
                    </a:lnTo>
                    <a:lnTo>
                      <a:pt x="6" y="5"/>
                    </a:lnTo>
                    <a:lnTo>
                      <a:pt x="6" y="7"/>
                    </a:lnTo>
                    <a:lnTo>
                      <a:pt x="2" y="7"/>
                    </a:lnTo>
                    <a:lnTo>
                      <a:pt x="0" y="10"/>
                    </a:lnTo>
                    <a:lnTo>
                      <a:pt x="0" y="12"/>
                    </a:lnTo>
                    <a:lnTo>
                      <a:pt x="4" y="14"/>
                    </a:lnTo>
                    <a:lnTo>
                      <a:pt x="23" y="19"/>
                    </a:lnTo>
                    <a:lnTo>
                      <a:pt x="31" y="21"/>
                    </a:lnTo>
                    <a:lnTo>
                      <a:pt x="36" y="18"/>
                    </a:lnTo>
                    <a:lnTo>
                      <a:pt x="38" y="18"/>
                    </a:lnTo>
                    <a:lnTo>
                      <a:pt x="36" y="16"/>
                    </a:lnTo>
                    <a:lnTo>
                      <a:pt x="36" y="10"/>
                    </a:lnTo>
                    <a:lnTo>
                      <a:pt x="36" y="10"/>
                    </a:lnTo>
                    <a:lnTo>
                      <a:pt x="34" y="9"/>
                    </a:lnTo>
                    <a:lnTo>
                      <a:pt x="32" y="9"/>
                    </a:lnTo>
                    <a:lnTo>
                      <a:pt x="32" y="7"/>
                    </a:lnTo>
                    <a:lnTo>
                      <a:pt x="31" y="9"/>
                    </a:lnTo>
                    <a:lnTo>
                      <a:pt x="29" y="9"/>
                    </a:lnTo>
                    <a:lnTo>
                      <a:pt x="27" y="9"/>
                    </a:lnTo>
                    <a:lnTo>
                      <a:pt x="25" y="9"/>
                    </a:lnTo>
                    <a:lnTo>
                      <a:pt x="25" y="9"/>
                    </a:lnTo>
                    <a:lnTo>
                      <a:pt x="25" y="7"/>
                    </a:lnTo>
                    <a:lnTo>
                      <a:pt x="23" y="7"/>
                    </a:lnTo>
                    <a:lnTo>
                      <a:pt x="22" y="7"/>
                    </a:lnTo>
                    <a:lnTo>
                      <a:pt x="22" y="5"/>
                    </a:lnTo>
                    <a:lnTo>
                      <a:pt x="20" y="5"/>
                    </a:lnTo>
                    <a:lnTo>
                      <a:pt x="18" y="3"/>
                    </a:lnTo>
                    <a:lnTo>
                      <a:pt x="16" y="1"/>
                    </a:lnTo>
                    <a:lnTo>
                      <a:pt x="13" y="1"/>
                    </a:lnTo>
                    <a:lnTo>
                      <a:pt x="1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71" name="Freeform 3327"/>
              <p:cNvSpPr>
                <a:spLocks/>
              </p:cNvSpPr>
              <p:nvPr/>
            </p:nvSpPr>
            <p:spPr bwMode="auto">
              <a:xfrm>
                <a:off x="1323" y="2534"/>
                <a:ext cx="52" cy="45"/>
              </a:xfrm>
              <a:custGeom>
                <a:avLst/>
                <a:gdLst>
                  <a:gd name="T0" fmla="*/ 34 w 52"/>
                  <a:gd name="T1" fmla="*/ 6 h 45"/>
                  <a:gd name="T2" fmla="*/ 27 w 52"/>
                  <a:gd name="T3" fmla="*/ 6 h 45"/>
                  <a:gd name="T4" fmla="*/ 20 w 52"/>
                  <a:gd name="T5" fmla="*/ 2 h 45"/>
                  <a:gd name="T6" fmla="*/ 14 w 52"/>
                  <a:gd name="T7" fmla="*/ 4 h 45"/>
                  <a:gd name="T8" fmla="*/ 4 w 52"/>
                  <a:gd name="T9" fmla="*/ 0 h 45"/>
                  <a:gd name="T10" fmla="*/ 4 w 52"/>
                  <a:gd name="T11" fmla="*/ 0 h 45"/>
                  <a:gd name="T12" fmla="*/ 0 w 52"/>
                  <a:gd name="T13" fmla="*/ 2 h 45"/>
                  <a:gd name="T14" fmla="*/ 0 w 52"/>
                  <a:gd name="T15" fmla="*/ 4 h 45"/>
                  <a:gd name="T16" fmla="*/ 0 w 52"/>
                  <a:gd name="T17" fmla="*/ 4 h 45"/>
                  <a:gd name="T18" fmla="*/ 2 w 52"/>
                  <a:gd name="T19" fmla="*/ 6 h 45"/>
                  <a:gd name="T20" fmla="*/ 0 w 52"/>
                  <a:gd name="T21" fmla="*/ 9 h 45"/>
                  <a:gd name="T22" fmla="*/ 0 w 52"/>
                  <a:gd name="T23" fmla="*/ 13 h 45"/>
                  <a:gd name="T24" fmla="*/ 2 w 52"/>
                  <a:gd name="T25" fmla="*/ 18 h 45"/>
                  <a:gd name="T26" fmla="*/ 2 w 52"/>
                  <a:gd name="T27" fmla="*/ 20 h 45"/>
                  <a:gd name="T28" fmla="*/ 5 w 52"/>
                  <a:gd name="T29" fmla="*/ 22 h 45"/>
                  <a:gd name="T30" fmla="*/ 5 w 52"/>
                  <a:gd name="T31" fmla="*/ 22 h 45"/>
                  <a:gd name="T32" fmla="*/ 13 w 52"/>
                  <a:gd name="T33" fmla="*/ 25 h 45"/>
                  <a:gd name="T34" fmla="*/ 13 w 52"/>
                  <a:gd name="T35" fmla="*/ 25 h 45"/>
                  <a:gd name="T36" fmla="*/ 14 w 52"/>
                  <a:gd name="T37" fmla="*/ 22 h 45"/>
                  <a:gd name="T38" fmla="*/ 14 w 52"/>
                  <a:gd name="T39" fmla="*/ 20 h 45"/>
                  <a:gd name="T40" fmla="*/ 11 w 52"/>
                  <a:gd name="T41" fmla="*/ 20 h 45"/>
                  <a:gd name="T42" fmla="*/ 11 w 52"/>
                  <a:gd name="T43" fmla="*/ 18 h 45"/>
                  <a:gd name="T44" fmla="*/ 13 w 52"/>
                  <a:gd name="T45" fmla="*/ 18 h 45"/>
                  <a:gd name="T46" fmla="*/ 14 w 52"/>
                  <a:gd name="T47" fmla="*/ 18 h 45"/>
                  <a:gd name="T48" fmla="*/ 18 w 52"/>
                  <a:gd name="T49" fmla="*/ 22 h 45"/>
                  <a:gd name="T50" fmla="*/ 20 w 52"/>
                  <a:gd name="T51" fmla="*/ 25 h 45"/>
                  <a:gd name="T52" fmla="*/ 21 w 52"/>
                  <a:gd name="T53" fmla="*/ 27 h 45"/>
                  <a:gd name="T54" fmla="*/ 23 w 52"/>
                  <a:gd name="T55" fmla="*/ 27 h 45"/>
                  <a:gd name="T56" fmla="*/ 30 w 52"/>
                  <a:gd name="T57" fmla="*/ 31 h 45"/>
                  <a:gd name="T58" fmla="*/ 34 w 52"/>
                  <a:gd name="T59" fmla="*/ 34 h 45"/>
                  <a:gd name="T60" fmla="*/ 34 w 52"/>
                  <a:gd name="T61" fmla="*/ 41 h 45"/>
                  <a:gd name="T62" fmla="*/ 36 w 52"/>
                  <a:gd name="T63" fmla="*/ 41 h 45"/>
                  <a:gd name="T64" fmla="*/ 38 w 52"/>
                  <a:gd name="T65" fmla="*/ 43 h 45"/>
                  <a:gd name="T66" fmla="*/ 39 w 52"/>
                  <a:gd name="T67" fmla="*/ 45 h 45"/>
                  <a:gd name="T68" fmla="*/ 41 w 52"/>
                  <a:gd name="T69" fmla="*/ 43 h 45"/>
                  <a:gd name="T70" fmla="*/ 39 w 52"/>
                  <a:gd name="T71" fmla="*/ 40 h 45"/>
                  <a:gd name="T72" fmla="*/ 39 w 52"/>
                  <a:gd name="T73" fmla="*/ 40 h 45"/>
                  <a:gd name="T74" fmla="*/ 41 w 52"/>
                  <a:gd name="T75" fmla="*/ 41 h 45"/>
                  <a:gd name="T76" fmla="*/ 43 w 52"/>
                  <a:gd name="T77" fmla="*/ 43 h 45"/>
                  <a:gd name="T78" fmla="*/ 45 w 52"/>
                  <a:gd name="T79" fmla="*/ 45 h 45"/>
                  <a:gd name="T80" fmla="*/ 46 w 52"/>
                  <a:gd name="T81" fmla="*/ 45 h 45"/>
                  <a:gd name="T82" fmla="*/ 48 w 52"/>
                  <a:gd name="T83" fmla="*/ 43 h 45"/>
                  <a:gd name="T84" fmla="*/ 48 w 52"/>
                  <a:gd name="T85" fmla="*/ 41 h 45"/>
                  <a:gd name="T86" fmla="*/ 48 w 52"/>
                  <a:gd name="T87" fmla="*/ 38 h 45"/>
                  <a:gd name="T88" fmla="*/ 48 w 52"/>
                  <a:gd name="T89" fmla="*/ 38 h 45"/>
                  <a:gd name="T90" fmla="*/ 50 w 52"/>
                  <a:gd name="T91" fmla="*/ 36 h 45"/>
                  <a:gd name="T92" fmla="*/ 50 w 52"/>
                  <a:gd name="T93" fmla="*/ 34 h 45"/>
                  <a:gd name="T94" fmla="*/ 46 w 52"/>
                  <a:gd name="T95" fmla="*/ 32 h 45"/>
                  <a:gd name="T96" fmla="*/ 46 w 52"/>
                  <a:gd name="T97" fmla="*/ 27 h 45"/>
                  <a:gd name="T98" fmla="*/ 48 w 52"/>
                  <a:gd name="T99" fmla="*/ 25 h 45"/>
                  <a:gd name="T100" fmla="*/ 50 w 52"/>
                  <a:gd name="T101" fmla="*/ 25 h 45"/>
                  <a:gd name="T102" fmla="*/ 52 w 52"/>
                  <a:gd name="T103" fmla="*/ 25 h 45"/>
                  <a:gd name="T104" fmla="*/ 52 w 52"/>
                  <a:gd name="T105" fmla="*/ 25 h 45"/>
                  <a:gd name="T106" fmla="*/ 52 w 52"/>
                  <a:gd name="T107" fmla="*/ 25 h 45"/>
                  <a:gd name="T108" fmla="*/ 38 w 52"/>
                  <a:gd name="T109" fmla="*/ 13 h 45"/>
                  <a:gd name="T110" fmla="*/ 36 w 52"/>
                  <a:gd name="T111" fmla="*/ 6 h 45"/>
                  <a:gd name="T112" fmla="*/ 34 w 52"/>
                  <a:gd name="T113"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45">
                    <a:moveTo>
                      <a:pt x="34" y="6"/>
                    </a:moveTo>
                    <a:lnTo>
                      <a:pt x="27" y="6"/>
                    </a:lnTo>
                    <a:lnTo>
                      <a:pt x="20" y="2"/>
                    </a:lnTo>
                    <a:lnTo>
                      <a:pt x="14" y="4"/>
                    </a:lnTo>
                    <a:lnTo>
                      <a:pt x="4" y="0"/>
                    </a:lnTo>
                    <a:lnTo>
                      <a:pt x="4" y="0"/>
                    </a:lnTo>
                    <a:lnTo>
                      <a:pt x="0" y="2"/>
                    </a:lnTo>
                    <a:lnTo>
                      <a:pt x="0" y="4"/>
                    </a:lnTo>
                    <a:lnTo>
                      <a:pt x="0" y="4"/>
                    </a:lnTo>
                    <a:lnTo>
                      <a:pt x="2" y="6"/>
                    </a:lnTo>
                    <a:lnTo>
                      <a:pt x="0" y="9"/>
                    </a:lnTo>
                    <a:lnTo>
                      <a:pt x="0" y="13"/>
                    </a:lnTo>
                    <a:lnTo>
                      <a:pt x="2" y="18"/>
                    </a:lnTo>
                    <a:lnTo>
                      <a:pt x="2" y="20"/>
                    </a:lnTo>
                    <a:lnTo>
                      <a:pt x="5" y="22"/>
                    </a:lnTo>
                    <a:lnTo>
                      <a:pt x="5" y="22"/>
                    </a:lnTo>
                    <a:lnTo>
                      <a:pt x="13" y="25"/>
                    </a:lnTo>
                    <a:lnTo>
                      <a:pt x="13" y="25"/>
                    </a:lnTo>
                    <a:lnTo>
                      <a:pt x="14" y="22"/>
                    </a:lnTo>
                    <a:lnTo>
                      <a:pt x="14" y="20"/>
                    </a:lnTo>
                    <a:lnTo>
                      <a:pt x="11" y="20"/>
                    </a:lnTo>
                    <a:lnTo>
                      <a:pt x="11" y="18"/>
                    </a:lnTo>
                    <a:lnTo>
                      <a:pt x="13" y="18"/>
                    </a:lnTo>
                    <a:lnTo>
                      <a:pt x="14" y="18"/>
                    </a:lnTo>
                    <a:lnTo>
                      <a:pt x="18" y="22"/>
                    </a:lnTo>
                    <a:lnTo>
                      <a:pt x="20" y="25"/>
                    </a:lnTo>
                    <a:lnTo>
                      <a:pt x="21" y="27"/>
                    </a:lnTo>
                    <a:lnTo>
                      <a:pt x="23" y="27"/>
                    </a:lnTo>
                    <a:lnTo>
                      <a:pt x="30" y="31"/>
                    </a:lnTo>
                    <a:lnTo>
                      <a:pt x="34" y="34"/>
                    </a:lnTo>
                    <a:lnTo>
                      <a:pt x="34" y="41"/>
                    </a:lnTo>
                    <a:lnTo>
                      <a:pt x="36" y="41"/>
                    </a:lnTo>
                    <a:lnTo>
                      <a:pt x="38" y="43"/>
                    </a:lnTo>
                    <a:lnTo>
                      <a:pt x="39" y="45"/>
                    </a:lnTo>
                    <a:lnTo>
                      <a:pt x="41" y="43"/>
                    </a:lnTo>
                    <a:lnTo>
                      <a:pt x="39" y="40"/>
                    </a:lnTo>
                    <a:lnTo>
                      <a:pt x="39" y="40"/>
                    </a:lnTo>
                    <a:lnTo>
                      <a:pt x="41" y="41"/>
                    </a:lnTo>
                    <a:lnTo>
                      <a:pt x="43" y="43"/>
                    </a:lnTo>
                    <a:lnTo>
                      <a:pt x="45" y="45"/>
                    </a:lnTo>
                    <a:lnTo>
                      <a:pt x="46" y="45"/>
                    </a:lnTo>
                    <a:lnTo>
                      <a:pt x="48" y="43"/>
                    </a:lnTo>
                    <a:lnTo>
                      <a:pt x="48" y="41"/>
                    </a:lnTo>
                    <a:lnTo>
                      <a:pt x="48" y="38"/>
                    </a:lnTo>
                    <a:lnTo>
                      <a:pt x="48" y="38"/>
                    </a:lnTo>
                    <a:lnTo>
                      <a:pt x="50" y="36"/>
                    </a:lnTo>
                    <a:lnTo>
                      <a:pt x="50" y="34"/>
                    </a:lnTo>
                    <a:lnTo>
                      <a:pt x="46" y="32"/>
                    </a:lnTo>
                    <a:lnTo>
                      <a:pt x="46" y="27"/>
                    </a:lnTo>
                    <a:lnTo>
                      <a:pt x="48" y="25"/>
                    </a:lnTo>
                    <a:lnTo>
                      <a:pt x="50" y="25"/>
                    </a:lnTo>
                    <a:lnTo>
                      <a:pt x="52" y="25"/>
                    </a:lnTo>
                    <a:lnTo>
                      <a:pt x="52" y="25"/>
                    </a:lnTo>
                    <a:lnTo>
                      <a:pt x="52" y="25"/>
                    </a:lnTo>
                    <a:lnTo>
                      <a:pt x="38" y="13"/>
                    </a:lnTo>
                    <a:lnTo>
                      <a:pt x="36" y="6"/>
                    </a:lnTo>
                    <a:lnTo>
                      <a:pt x="34" y="6"/>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72" name="Freeform 3328"/>
              <p:cNvSpPr>
                <a:spLocks/>
              </p:cNvSpPr>
              <p:nvPr/>
            </p:nvSpPr>
            <p:spPr bwMode="auto">
              <a:xfrm>
                <a:off x="1323" y="2534"/>
                <a:ext cx="52" cy="45"/>
              </a:xfrm>
              <a:custGeom>
                <a:avLst/>
                <a:gdLst>
                  <a:gd name="T0" fmla="*/ 34 w 52"/>
                  <a:gd name="T1" fmla="*/ 6 h 45"/>
                  <a:gd name="T2" fmla="*/ 27 w 52"/>
                  <a:gd name="T3" fmla="*/ 6 h 45"/>
                  <a:gd name="T4" fmla="*/ 20 w 52"/>
                  <a:gd name="T5" fmla="*/ 2 h 45"/>
                  <a:gd name="T6" fmla="*/ 14 w 52"/>
                  <a:gd name="T7" fmla="*/ 4 h 45"/>
                  <a:gd name="T8" fmla="*/ 4 w 52"/>
                  <a:gd name="T9" fmla="*/ 0 h 45"/>
                  <a:gd name="T10" fmla="*/ 4 w 52"/>
                  <a:gd name="T11" fmla="*/ 0 h 45"/>
                  <a:gd name="T12" fmla="*/ 0 w 52"/>
                  <a:gd name="T13" fmla="*/ 2 h 45"/>
                  <a:gd name="T14" fmla="*/ 0 w 52"/>
                  <a:gd name="T15" fmla="*/ 4 h 45"/>
                  <a:gd name="T16" fmla="*/ 0 w 52"/>
                  <a:gd name="T17" fmla="*/ 4 h 45"/>
                  <a:gd name="T18" fmla="*/ 2 w 52"/>
                  <a:gd name="T19" fmla="*/ 6 h 45"/>
                  <a:gd name="T20" fmla="*/ 0 w 52"/>
                  <a:gd name="T21" fmla="*/ 9 h 45"/>
                  <a:gd name="T22" fmla="*/ 0 w 52"/>
                  <a:gd name="T23" fmla="*/ 13 h 45"/>
                  <a:gd name="T24" fmla="*/ 2 w 52"/>
                  <a:gd name="T25" fmla="*/ 18 h 45"/>
                  <a:gd name="T26" fmla="*/ 2 w 52"/>
                  <a:gd name="T27" fmla="*/ 20 h 45"/>
                  <a:gd name="T28" fmla="*/ 5 w 52"/>
                  <a:gd name="T29" fmla="*/ 22 h 45"/>
                  <a:gd name="T30" fmla="*/ 5 w 52"/>
                  <a:gd name="T31" fmla="*/ 22 h 45"/>
                  <a:gd name="T32" fmla="*/ 13 w 52"/>
                  <a:gd name="T33" fmla="*/ 25 h 45"/>
                  <a:gd name="T34" fmla="*/ 13 w 52"/>
                  <a:gd name="T35" fmla="*/ 25 h 45"/>
                  <a:gd name="T36" fmla="*/ 14 w 52"/>
                  <a:gd name="T37" fmla="*/ 22 h 45"/>
                  <a:gd name="T38" fmla="*/ 14 w 52"/>
                  <a:gd name="T39" fmla="*/ 20 h 45"/>
                  <a:gd name="T40" fmla="*/ 11 w 52"/>
                  <a:gd name="T41" fmla="*/ 20 h 45"/>
                  <a:gd name="T42" fmla="*/ 11 w 52"/>
                  <a:gd name="T43" fmla="*/ 18 h 45"/>
                  <a:gd name="T44" fmla="*/ 13 w 52"/>
                  <a:gd name="T45" fmla="*/ 18 h 45"/>
                  <a:gd name="T46" fmla="*/ 14 w 52"/>
                  <a:gd name="T47" fmla="*/ 18 h 45"/>
                  <a:gd name="T48" fmla="*/ 18 w 52"/>
                  <a:gd name="T49" fmla="*/ 22 h 45"/>
                  <a:gd name="T50" fmla="*/ 20 w 52"/>
                  <a:gd name="T51" fmla="*/ 25 h 45"/>
                  <a:gd name="T52" fmla="*/ 21 w 52"/>
                  <a:gd name="T53" fmla="*/ 27 h 45"/>
                  <a:gd name="T54" fmla="*/ 23 w 52"/>
                  <a:gd name="T55" fmla="*/ 27 h 45"/>
                  <a:gd name="T56" fmla="*/ 30 w 52"/>
                  <a:gd name="T57" fmla="*/ 31 h 45"/>
                  <a:gd name="T58" fmla="*/ 34 w 52"/>
                  <a:gd name="T59" fmla="*/ 34 h 45"/>
                  <a:gd name="T60" fmla="*/ 34 w 52"/>
                  <a:gd name="T61" fmla="*/ 41 h 45"/>
                  <a:gd name="T62" fmla="*/ 36 w 52"/>
                  <a:gd name="T63" fmla="*/ 41 h 45"/>
                  <a:gd name="T64" fmla="*/ 38 w 52"/>
                  <a:gd name="T65" fmla="*/ 43 h 45"/>
                  <a:gd name="T66" fmla="*/ 39 w 52"/>
                  <a:gd name="T67" fmla="*/ 45 h 45"/>
                  <a:gd name="T68" fmla="*/ 41 w 52"/>
                  <a:gd name="T69" fmla="*/ 43 h 45"/>
                  <a:gd name="T70" fmla="*/ 39 w 52"/>
                  <a:gd name="T71" fmla="*/ 40 h 45"/>
                  <a:gd name="T72" fmla="*/ 39 w 52"/>
                  <a:gd name="T73" fmla="*/ 40 h 45"/>
                  <a:gd name="T74" fmla="*/ 41 w 52"/>
                  <a:gd name="T75" fmla="*/ 41 h 45"/>
                  <a:gd name="T76" fmla="*/ 43 w 52"/>
                  <a:gd name="T77" fmla="*/ 43 h 45"/>
                  <a:gd name="T78" fmla="*/ 45 w 52"/>
                  <a:gd name="T79" fmla="*/ 45 h 45"/>
                  <a:gd name="T80" fmla="*/ 46 w 52"/>
                  <a:gd name="T81" fmla="*/ 45 h 45"/>
                  <a:gd name="T82" fmla="*/ 48 w 52"/>
                  <a:gd name="T83" fmla="*/ 43 h 45"/>
                  <a:gd name="T84" fmla="*/ 48 w 52"/>
                  <a:gd name="T85" fmla="*/ 41 h 45"/>
                  <a:gd name="T86" fmla="*/ 48 w 52"/>
                  <a:gd name="T87" fmla="*/ 38 h 45"/>
                  <a:gd name="T88" fmla="*/ 48 w 52"/>
                  <a:gd name="T89" fmla="*/ 38 h 45"/>
                  <a:gd name="T90" fmla="*/ 50 w 52"/>
                  <a:gd name="T91" fmla="*/ 36 h 45"/>
                  <a:gd name="T92" fmla="*/ 50 w 52"/>
                  <a:gd name="T93" fmla="*/ 34 h 45"/>
                  <a:gd name="T94" fmla="*/ 46 w 52"/>
                  <a:gd name="T95" fmla="*/ 32 h 45"/>
                  <a:gd name="T96" fmla="*/ 46 w 52"/>
                  <a:gd name="T97" fmla="*/ 27 h 45"/>
                  <a:gd name="T98" fmla="*/ 48 w 52"/>
                  <a:gd name="T99" fmla="*/ 25 h 45"/>
                  <a:gd name="T100" fmla="*/ 50 w 52"/>
                  <a:gd name="T101" fmla="*/ 25 h 45"/>
                  <a:gd name="T102" fmla="*/ 52 w 52"/>
                  <a:gd name="T103" fmla="*/ 25 h 45"/>
                  <a:gd name="T104" fmla="*/ 52 w 52"/>
                  <a:gd name="T105" fmla="*/ 25 h 45"/>
                  <a:gd name="T106" fmla="*/ 52 w 52"/>
                  <a:gd name="T107" fmla="*/ 25 h 45"/>
                  <a:gd name="T108" fmla="*/ 38 w 52"/>
                  <a:gd name="T109" fmla="*/ 13 h 45"/>
                  <a:gd name="T110" fmla="*/ 36 w 52"/>
                  <a:gd name="T111" fmla="*/ 6 h 45"/>
                  <a:gd name="T112" fmla="*/ 34 w 52"/>
                  <a:gd name="T113" fmla="*/ 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45">
                    <a:moveTo>
                      <a:pt x="34" y="6"/>
                    </a:moveTo>
                    <a:lnTo>
                      <a:pt x="27" y="6"/>
                    </a:lnTo>
                    <a:lnTo>
                      <a:pt x="20" y="2"/>
                    </a:lnTo>
                    <a:lnTo>
                      <a:pt x="14" y="4"/>
                    </a:lnTo>
                    <a:lnTo>
                      <a:pt x="4" y="0"/>
                    </a:lnTo>
                    <a:lnTo>
                      <a:pt x="4" y="0"/>
                    </a:lnTo>
                    <a:lnTo>
                      <a:pt x="0" y="2"/>
                    </a:lnTo>
                    <a:lnTo>
                      <a:pt x="0" y="4"/>
                    </a:lnTo>
                    <a:lnTo>
                      <a:pt x="0" y="4"/>
                    </a:lnTo>
                    <a:lnTo>
                      <a:pt x="2" y="6"/>
                    </a:lnTo>
                    <a:lnTo>
                      <a:pt x="0" y="9"/>
                    </a:lnTo>
                    <a:lnTo>
                      <a:pt x="0" y="13"/>
                    </a:lnTo>
                    <a:lnTo>
                      <a:pt x="2" y="18"/>
                    </a:lnTo>
                    <a:lnTo>
                      <a:pt x="2" y="20"/>
                    </a:lnTo>
                    <a:lnTo>
                      <a:pt x="5" y="22"/>
                    </a:lnTo>
                    <a:lnTo>
                      <a:pt x="5" y="22"/>
                    </a:lnTo>
                    <a:lnTo>
                      <a:pt x="13" y="25"/>
                    </a:lnTo>
                    <a:lnTo>
                      <a:pt x="13" y="25"/>
                    </a:lnTo>
                    <a:lnTo>
                      <a:pt x="14" y="22"/>
                    </a:lnTo>
                    <a:lnTo>
                      <a:pt x="14" y="20"/>
                    </a:lnTo>
                    <a:lnTo>
                      <a:pt x="11" y="20"/>
                    </a:lnTo>
                    <a:lnTo>
                      <a:pt x="11" y="18"/>
                    </a:lnTo>
                    <a:lnTo>
                      <a:pt x="13" y="18"/>
                    </a:lnTo>
                    <a:lnTo>
                      <a:pt x="14" y="18"/>
                    </a:lnTo>
                    <a:lnTo>
                      <a:pt x="18" y="22"/>
                    </a:lnTo>
                    <a:lnTo>
                      <a:pt x="20" y="25"/>
                    </a:lnTo>
                    <a:lnTo>
                      <a:pt x="21" y="27"/>
                    </a:lnTo>
                    <a:lnTo>
                      <a:pt x="23" y="27"/>
                    </a:lnTo>
                    <a:lnTo>
                      <a:pt x="30" y="31"/>
                    </a:lnTo>
                    <a:lnTo>
                      <a:pt x="34" y="34"/>
                    </a:lnTo>
                    <a:lnTo>
                      <a:pt x="34" y="41"/>
                    </a:lnTo>
                    <a:lnTo>
                      <a:pt x="36" y="41"/>
                    </a:lnTo>
                    <a:lnTo>
                      <a:pt x="38" y="43"/>
                    </a:lnTo>
                    <a:lnTo>
                      <a:pt x="39" y="45"/>
                    </a:lnTo>
                    <a:lnTo>
                      <a:pt x="41" y="43"/>
                    </a:lnTo>
                    <a:lnTo>
                      <a:pt x="39" y="40"/>
                    </a:lnTo>
                    <a:lnTo>
                      <a:pt x="39" y="40"/>
                    </a:lnTo>
                    <a:lnTo>
                      <a:pt x="41" y="41"/>
                    </a:lnTo>
                    <a:lnTo>
                      <a:pt x="43" y="43"/>
                    </a:lnTo>
                    <a:lnTo>
                      <a:pt x="45" y="45"/>
                    </a:lnTo>
                    <a:lnTo>
                      <a:pt x="46" y="45"/>
                    </a:lnTo>
                    <a:lnTo>
                      <a:pt x="48" y="43"/>
                    </a:lnTo>
                    <a:lnTo>
                      <a:pt x="48" y="41"/>
                    </a:lnTo>
                    <a:lnTo>
                      <a:pt x="48" y="38"/>
                    </a:lnTo>
                    <a:lnTo>
                      <a:pt x="48" y="38"/>
                    </a:lnTo>
                    <a:lnTo>
                      <a:pt x="50" y="36"/>
                    </a:lnTo>
                    <a:lnTo>
                      <a:pt x="50" y="34"/>
                    </a:lnTo>
                    <a:lnTo>
                      <a:pt x="46" y="32"/>
                    </a:lnTo>
                    <a:lnTo>
                      <a:pt x="46" y="27"/>
                    </a:lnTo>
                    <a:lnTo>
                      <a:pt x="48" y="25"/>
                    </a:lnTo>
                    <a:lnTo>
                      <a:pt x="50" y="25"/>
                    </a:lnTo>
                    <a:lnTo>
                      <a:pt x="52" y="25"/>
                    </a:lnTo>
                    <a:lnTo>
                      <a:pt x="52" y="25"/>
                    </a:lnTo>
                    <a:lnTo>
                      <a:pt x="52" y="25"/>
                    </a:lnTo>
                    <a:lnTo>
                      <a:pt x="38" y="13"/>
                    </a:lnTo>
                    <a:lnTo>
                      <a:pt x="36" y="6"/>
                    </a:lnTo>
                    <a:lnTo>
                      <a:pt x="34" y="6"/>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73" name="Freeform 3329"/>
              <p:cNvSpPr>
                <a:spLocks/>
              </p:cNvSpPr>
              <p:nvPr/>
            </p:nvSpPr>
            <p:spPr bwMode="auto">
              <a:xfrm>
                <a:off x="1530" y="2386"/>
                <a:ext cx="4" cy="2"/>
              </a:xfrm>
              <a:custGeom>
                <a:avLst/>
                <a:gdLst>
                  <a:gd name="T0" fmla="*/ 2 w 4"/>
                  <a:gd name="T1" fmla="*/ 0 h 2"/>
                  <a:gd name="T2" fmla="*/ 2 w 4"/>
                  <a:gd name="T3" fmla="*/ 0 h 2"/>
                  <a:gd name="T4" fmla="*/ 4 w 4"/>
                  <a:gd name="T5" fmla="*/ 2 h 2"/>
                  <a:gd name="T6" fmla="*/ 4 w 4"/>
                  <a:gd name="T7" fmla="*/ 2 h 2"/>
                  <a:gd name="T8" fmla="*/ 0 w 4"/>
                  <a:gd name="T9" fmla="*/ 2 h 2"/>
                  <a:gd name="T10" fmla="*/ 0 w 4"/>
                  <a:gd name="T11" fmla="*/ 2 h 2"/>
                  <a:gd name="T12" fmla="*/ 0 w 4"/>
                  <a:gd name="T13" fmla="*/ 2 h 2"/>
                  <a:gd name="T14" fmla="*/ 0 w 4"/>
                  <a:gd name="T15" fmla="*/ 0 h 2"/>
                  <a:gd name="T16" fmla="*/ 0 w 4"/>
                  <a:gd name="T17" fmla="*/ 0 h 2"/>
                  <a:gd name="T18" fmla="*/ 2 w 4"/>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2" y="0"/>
                    </a:moveTo>
                    <a:lnTo>
                      <a:pt x="2" y="0"/>
                    </a:lnTo>
                    <a:lnTo>
                      <a:pt x="4" y="2"/>
                    </a:lnTo>
                    <a:lnTo>
                      <a:pt x="4" y="2"/>
                    </a:lnTo>
                    <a:lnTo>
                      <a:pt x="0" y="2"/>
                    </a:lnTo>
                    <a:lnTo>
                      <a:pt x="0" y="2"/>
                    </a:lnTo>
                    <a:lnTo>
                      <a:pt x="0" y="2"/>
                    </a:lnTo>
                    <a:lnTo>
                      <a:pt x="0" y="0"/>
                    </a:lnTo>
                    <a:lnTo>
                      <a:pt x="0" y="0"/>
                    </a:lnTo>
                    <a:lnTo>
                      <a:pt x="2"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74" name="Freeform 3330"/>
              <p:cNvSpPr>
                <a:spLocks/>
              </p:cNvSpPr>
              <p:nvPr/>
            </p:nvSpPr>
            <p:spPr bwMode="auto">
              <a:xfrm>
                <a:off x="1530" y="2386"/>
                <a:ext cx="4" cy="2"/>
              </a:xfrm>
              <a:custGeom>
                <a:avLst/>
                <a:gdLst>
                  <a:gd name="T0" fmla="*/ 2 w 4"/>
                  <a:gd name="T1" fmla="*/ 0 h 2"/>
                  <a:gd name="T2" fmla="*/ 2 w 4"/>
                  <a:gd name="T3" fmla="*/ 0 h 2"/>
                  <a:gd name="T4" fmla="*/ 4 w 4"/>
                  <a:gd name="T5" fmla="*/ 2 h 2"/>
                  <a:gd name="T6" fmla="*/ 4 w 4"/>
                  <a:gd name="T7" fmla="*/ 2 h 2"/>
                  <a:gd name="T8" fmla="*/ 0 w 4"/>
                  <a:gd name="T9" fmla="*/ 2 h 2"/>
                  <a:gd name="T10" fmla="*/ 0 w 4"/>
                  <a:gd name="T11" fmla="*/ 2 h 2"/>
                  <a:gd name="T12" fmla="*/ 0 w 4"/>
                  <a:gd name="T13" fmla="*/ 2 h 2"/>
                  <a:gd name="T14" fmla="*/ 0 w 4"/>
                  <a:gd name="T15" fmla="*/ 0 h 2"/>
                  <a:gd name="T16" fmla="*/ 0 w 4"/>
                  <a:gd name="T17" fmla="*/ 0 h 2"/>
                  <a:gd name="T18" fmla="*/ 2 w 4"/>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2">
                    <a:moveTo>
                      <a:pt x="2" y="0"/>
                    </a:moveTo>
                    <a:lnTo>
                      <a:pt x="2" y="0"/>
                    </a:lnTo>
                    <a:lnTo>
                      <a:pt x="4" y="2"/>
                    </a:lnTo>
                    <a:lnTo>
                      <a:pt x="4" y="2"/>
                    </a:lnTo>
                    <a:lnTo>
                      <a:pt x="0" y="2"/>
                    </a:lnTo>
                    <a:lnTo>
                      <a:pt x="0" y="2"/>
                    </a:lnTo>
                    <a:lnTo>
                      <a:pt x="0" y="2"/>
                    </a:lnTo>
                    <a:lnTo>
                      <a:pt x="0" y="0"/>
                    </a:lnTo>
                    <a:lnTo>
                      <a:pt x="0" y="0"/>
                    </a:lnTo>
                    <a:lnTo>
                      <a:pt x="2"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75" name="Freeform 3331"/>
              <p:cNvSpPr>
                <a:spLocks/>
              </p:cNvSpPr>
              <p:nvPr/>
            </p:nvSpPr>
            <p:spPr bwMode="auto">
              <a:xfrm>
                <a:off x="1523" y="2406"/>
                <a:ext cx="7" cy="3"/>
              </a:xfrm>
              <a:custGeom>
                <a:avLst/>
                <a:gdLst>
                  <a:gd name="T0" fmla="*/ 5 w 7"/>
                  <a:gd name="T1" fmla="*/ 0 h 3"/>
                  <a:gd name="T2" fmla="*/ 7 w 7"/>
                  <a:gd name="T3" fmla="*/ 1 h 3"/>
                  <a:gd name="T4" fmla="*/ 7 w 7"/>
                  <a:gd name="T5" fmla="*/ 3 h 3"/>
                  <a:gd name="T6" fmla="*/ 5 w 7"/>
                  <a:gd name="T7" fmla="*/ 3 h 3"/>
                  <a:gd name="T8" fmla="*/ 2 w 7"/>
                  <a:gd name="T9" fmla="*/ 1 h 3"/>
                  <a:gd name="T10" fmla="*/ 0 w 7"/>
                  <a:gd name="T11" fmla="*/ 0 h 3"/>
                  <a:gd name="T12" fmla="*/ 2 w 7"/>
                  <a:gd name="T13" fmla="*/ 0 h 3"/>
                  <a:gd name="T14" fmla="*/ 5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5" y="0"/>
                    </a:moveTo>
                    <a:lnTo>
                      <a:pt x="7" y="1"/>
                    </a:lnTo>
                    <a:lnTo>
                      <a:pt x="7" y="3"/>
                    </a:lnTo>
                    <a:lnTo>
                      <a:pt x="5" y="3"/>
                    </a:lnTo>
                    <a:lnTo>
                      <a:pt x="2" y="1"/>
                    </a:lnTo>
                    <a:lnTo>
                      <a:pt x="0" y="0"/>
                    </a:lnTo>
                    <a:lnTo>
                      <a:pt x="2" y="0"/>
                    </a:lnTo>
                    <a:lnTo>
                      <a:pt x="5"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76" name="Freeform 3332"/>
              <p:cNvSpPr>
                <a:spLocks/>
              </p:cNvSpPr>
              <p:nvPr/>
            </p:nvSpPr>
            <p:spPr bwMode="auto">
              <a:xfrm>
                <a:off x="1523" y="2406"/>
                <a:ext cx="7" cy="3"/>
              </a:xfrm>
              <a:custGeom>
                <a:avLst/>
                <a:gdLst>
                  <a:gd name="T0" fmla="*/ 5 w 7"/>
                  <a:gd name="T1" fmla="*/ 0 h 3"/>
                  <a:gd name="T2" fmla="*/ 7 w 7"/>
                  <a:gd name="T3" fmla="*/ 1 h 3"/>
                  <a:gd name="T4" fmla="*/ 7 w 7"/>
                  <a:gd name="T5" fmla="*/ 3 h 3"/>
                  <a:gd name="T6" fmla="*/ 5 w 7"/>
                  <a:gd name="T7" fmla="*/ 3 h 3"/>
                  <a:gd name="T8" fmla="*/ 2 w 7"/>
                  <a:gd name="T9" fmla="*/ 1 h 3"/>
                  <a:gd name="T10" fmla="*/ 0 w 7"/>
                  <a:gd name="T11" fmla="*/ 0 h 3"/>
                  <a:gd name="T12" fmla="*/ 2 w 7"/>
                  <a:gd name="T13" fmla="*/ 0 h 3"/>
                  <a:gd name="T14" fmla="*/ 5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5" y="0"/>
                    </a:moveTo>
                    <a:lnTo>
                      <a:pt x="7" y="1"/>
                    </a:lnTo>
                    <a:lnTo>
                      <a:pt x="7" y="3"/>
                    </a:lnTo>
                    <a:lnTo>
                      <a:pt x="5" y="3"/>
                    </a:lnTo>
                    <a:lnTo>
                      <a:pt x="2" y="1"/>
                    </a:lnTo>
                    <a:lnTo>
                      <a:pt x="0" y="0"/>
                    </a:lnTo>
                    <a:lnTo>
                      <a:pt x="2" y="0"/>
                    </a:lnTo>
                    <a:lnTo>
                      <a:pt x="5"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77" name="Freeform 3333"/>
              <p:cNvSpPr>
                <a:spLocks/>
              </p:cNvSpPr>
              <p:nvPr/>
            </p:nvSpPr>
            <p:spPr bwMode="auto">
              <a:xfrm>
                <a:off x="1507" y="2390"/>
                <a:ext cx="45" cy="32"/>
              </a:xfrm>
              <a:custGeom>
                <a:avLst/>
                <a:gdLst>
                  <a:gd name="T0" fmla="*/ 41 w 45"/>
                  <a:gd name="T1" fmla="*/ 32 h 32"/>
                  <a:gd name="T2" fmla="*/ 41 w 45"/>
                  <a:gd name="T3" fmla="*/ 30 h 32"/>
                  <a:gd name="T4" fmla="*/ 43 w 45"/>
                  <a:gd name="T5" fmla="*/ 26 h 32"/>
                  <a:gd name="T6" fmla="*/ 41 w 45"/>
                  <a:gd name="T7" fmla="*/ 25 h 32"/>
                  <a:gd name="T8" fmla="*/ 39 w 45"/>
                  <a:gd name="T9" fmla="*/ 23 h 32"/>
                  <a:gd name="T10" fmla="*/ 39 w 45"/>
                  <a:gd name="T11" fmla="*/ 21 h 32"/>
                  <a:gd name="T12" fmla="*/ 41 w 45"/>
                  <a:gd name="T13" fmla="*/ 21 h 32"/>
                  <a:gd name="T14" fmla="*/ 43 w 45"/>
                  <a:gd name="T15" fmla="*/ 19 h 32"/>
                  <a:gd name="T16" fmla="*/ 43 w 45"/>
                  <a:gd name="T17" fmla="*/ 14 h 32"/>
                  <a:gd name="T18" fmla="*/ 43 w 45"/>
                  <a:gd name="T19" fmla="*/ 14 h 32"/>
                  <a:gd name="T20" fmla="*/ 45 w 45"/>
                  <a:gd name="T21" fmla="*/ 12 h 32"/>
                  <a:gd name="T22" fmla="*/ 43 w 45"/>
                  <a:gd name="T23" fmla="*/ 10 h 32"/>
                  <a:gd name="T24" fmla="*/ 43 w 45"/>
                  <a:gd name="T25" fmla="*/ 7 h 32"/>
                  <a:gd name="T26" fmla="*/ 43 w 45"/>
                  <a:gd name="T27" fmla="*/ 3 h 32"/>
                  <a:gd name="T28" fmla="*/ 41 w 45"/>
                  <a:gd name="T29" fmla="*/ 1 h 32"/>
                  <a:gd name="T30" fmla="*/ 41 w 45"/>
                  <a:gd name="T31" fmla="*/ 1 h 32"/>
                  <a:gd name="T32" fmla="*/ 41 w 45"/>
                  <a:gd name="T33" fmla="*/ 1 h 32"/>
                  <a:gd name="T34" fmla="*/ 39 w 45"/>
                  <a:gd name="T35" fmla="*/ 3 h 32"/>
                  <a:gd name="T36" fmla="*/ 30 w 45"/>
                  <a:gd name="T37" fmla="*/ 1 h 32"/>
                  <a:gd name="T38" fmla="*/ 25 w 45"/>
                  <a:gd name="T39" fmla="*/ 0 h 32"/>
                  <a:gd name="T40" fmla="*/ 21 w 45"/>
                  <a:gd name="T41" fmla="*/ 0 h 32"/>
                  <a:gd name="T42" fmla="*/ 18 w 45"/>
                  <a:gd name="T43" fmla="*/ 0 h 32"/>
                  <a:gd name="T44" fmla="*/ 16 w 45"/>
                  <a:gd name="T45" fmla="*/ 1 h 32"/>
                  <a:gd name="T46" fmla="*/ 14 w 45"/>
                  <a:gd name="T47" fmla="*/ 3 h 32"/>
                  <a:gd name="T48" fmla="*/ 14 w 45"/>
                  <a:gd name="T49" fmla="*/ 5 h 32"/>
                  <a:gd name="T50" fmla="*/ 16 w 45"/>
                  <a:gd name="T51" fmla="*/ 5 h 32"/>
                  <a:gd name="T52" fmla="*/ 21 w 45"/>
                  <a:gd name="T53" fmla="*/ 5 h 32"/>
                  <a:gd name="T54" fmla="*/ 25 w 45"/>
                  <a:gd name="T55" fmla="*/ 7 h 32"/>
                  <a:gd name="T56" fmla="*/ 25 w 45"/>
                  <a:gd name="T57" fmla="*/ 9 h 32"/>
                  <a:gd name="T58" fmla="*/ 25 w 45"/>
                  <a:gd name="T59" fmla="*/ 14 h 32"/>
                  <a:gd name="T60" fmla="*/ 25 w 45"/>
                  <a:gd name="T61" fmla="*/ 16 h 32"/>
                  <a:gd name="T62" fmla="*/ 32 w 45"/>
                  <a:gd name="T63" fmla="*/ 21 h 32"/>
                  <a:gd name="T64" fmla="*/ 32 w 45"/>
                  <a:gd name="T65" fmla="*/ 21 h 32"/>
                  <a:gd name="T66" fmla="*/ 30 w 45"/>
                  <a:gd name="T67" fmla="*/ 23 h 32"/>
                  <a:gd name="T68" fmla="*/ 12 w 45"/>
                  <a:gd name="T69" fmla="*/ 23 h 32"/>
                  <a:gd name="T70" fmla="*/ 9 w 45"/>
                  <a:gd name="T71" fmla="*/ 21 h 32"/>
                  <a:gd name="T72" fmla="*/ 0 w 45"/>
                  <a:gd name="T73" fmla="*/ 21 h 32"/>
                  <a:gd name="T74" fmla="*/ 0 w 45"/>
                  <a:gd name="T75" fmla="*/ 23 h 32"/>
                  <a:gd name="T76" fmla="*/ 0 w 45"/>
                  <a:gd name="T77" fmla="*/ 25 h 32"/>
                  <a:gd name="T78" fmla="*/ 2 w 45"/>
                  <a:gd name="T79" fmla="*/ 26 h 32"/>
                  <a:gd name="T80" fmla="*/ 5 w 45"/>
                  <a:gd name="T81" fmla="*/ 30 h 32"/>
                  <a:gd name="T82" fmla="*/ 7 w 45"/>
                  <a:gd name="T83" fmla="*/ 32 h 32"/>
                  <a:gd name="T84" fmla="*/ 9 w 45"/>
                  <a:gd name="T85" fmla="*/ 30 h 32"/>
                  <a:gd name="T86" fmla="*/ 9 w 45"/>
                  <a:gd name="T87" fmla="*/ 28 h 32"/>
                  <a:gd name="T88" fmla="*/ 9 w 45"/>
                  <a:gd name="T89" fmla="*/ 28 h 32"/>
                  <a:gd name="T90" fmla="*/ 11 w 45"/>
                  <a:gd name="T91" fmla="*/ 28 h 32"/>
                  <a:gd name="T92" fmla="*/ 25 w 45"/>
                  <a:gd name="T93" fmla="*/ 30 h 32"/>
                  <a:gd name="T94" fmla="*/ 32 w 45"/>
                  <a:gd name="T95" fmla="*/ 28 h 32"/>
                  <a:gd name="T96" fmla="*/ 36 w 45"/>
                  <a:gd name="T97" fmla="*/ 28 h 32"/>
                  <a:gd name="T98" fmla="*/ 41 w 45"/>
                  <a:gd name="T99" fmla="*/ 30 h 32"/>
                  <a:gd name="T100" fmla="*/ 41 w 45"/>
                  <a:gd name="T10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 h="32">
                    <a:moveTo>
                      <a:pt x="41" y="32"/>
                    </a:moveTo>
                    <a:lnTo>
                      <a:pt x="41" y="30"/>
                    </a:lnTo>
                    <a:lnTo>
                      <a:pt x="43" y="26"/>
                    </a:lnTo>
                    <a:lnTo>
                      <a:pt x="41" y="25"/>
                    </a:lnTo>
                    <a:lnTo>
                      <a:pt x="39" y="23"/>
                    </a:lnTo>
                    <a:lnTo>
                      <a:pt x="39" y="21"/>
                    </a:lnTo>
                    <a:lnTo>
                      <a:pt x="41" y="21"/>
                    </a:lnTo>
                    <a:lnTo>
                      <a:pt x="43" y="19"/>
                    </a:lnTo>
                    <a:lnTo>
                      <a:pt x="43" y="14"/>
                    </a:lnTo>
                    <a:lnTo>
                      <a:pt x="43" y="14"/>
                    </a:lnTo>
                    <a:lnTo>
                      <a:pt x="45" y="12"/>
                    </a:lnTo>
                    <a:lnTo>
                      <a:pt x="43" y="10"/>
                    </a:lnTo>
                    <a:lnTo>
                      <a:pt x="43" y="7"/>
                    </a:lnTo>
                    <a:lnTo>
                      <a:pt x="43" y="3"/>
                    </a:lnTo>
                    <a:lnTo>
                      <a:pt x="41" y="1"/>
                    </a:lnTo>
                    <a:lnTo>
                      <a:pt x="41" y="1"/>
                    </a:lnTo>
                    <a:lnTo>
                      <a:pt x="41" y="1"/>
                    </a:lnTo>
                    <a:lnTo>
                      <a:pt x="39" y="3"/>
                    </a:lnTo>
                    <a:lnTo>
                      <a:pt x="30" y="1"/>
                    </a:lnTo>
                    <a:lnTo>
                      <a:pt x="25" y="0"/>
                    </a:lnTo>
                    <a:lnTo>
                      <a:pt x="21" y="0"/>
                    </a:lnTo>
                    <a:lnTo>
                      <a:pt x="18" y="0"/>
                    </a:lnTo>
                    <a:lnTo>
                      <a:pt x="16" y="1"/>
                    </a:lnTo>
                    <a:lnTo>
                      <a:pt x="14" y="3"/>
                    </a:lnTo>
                    <a:lnTo>
                      <a:pt x="14" y="5"/>
                    </a:lnTo>
                    <a:lnTo>
                      <a:pt x="16" y="5"/>
                    </a:lnTo>
                    <a:lnTo>
                      <a:pt x="21" y="5"/>
                    </a:lnTo>
                    <a:lnTo>
                      <a:pt x="25" y="7"/>
                    </a:lnTo>
                    <a:lnTo>
                      <a:pt x="25" y="9"/>
                    </a:lnTo>
                    <a:lnTo>
                      <a:pt x="25" y="14"/>
                    </a:lnTo>
                    <a:lnTo>
                      <a:pt x="25" y="16"/>
                    </a:lnTo>
                    <a:lnTo>
                      <a:pt x="32" y="21"/>
                    </a:lnTo>
                    <a:lnTo>
                      <a:pt x="32" y="21"/>
                    </a:lnTo>
                    <a:lnTo>
                      <a:pt x="30" y="23"/>
                    </a:lnTo>
                    <a:lnTo>
                      <a:pt x="12" y="23"/>
                    </a:lnTo>
                    <a:lnTo>
                      <a:pt x="9" y="21"/>
                    </a:lnTo>
                    <a:lnTo>
                      <a:pt x="0" y="21"/>
                    </a:lnTo>
                    <a:lnTo>
                      <a:pt x="0" y="23"/>
                    </a:lnTo>
                    <a:lnTo>
                      <a:pt x="0" y="25"/>
                    </a:lnTo>
                    <a:lnTo>
                      <a:pt x="2" y="26"/>
                    </a:lnTo>
                    <a:lnTo>
                      <a:pt x="5" y="30"/>
                    </a:lnTo>
                    <a:lnTo>
                      <a:pt x="7" y="32"/>
                    </a:lnTo>
                    <a:lnTo>
                      <a:pt x="9" y="30"/>
                    </a:lnTo>
                    <a:lnTo>
                      <a:pt x="9" y="28"/>
                    </a:lnTo>
                    <a:lnTo>
                      <a:pt x="9" y="28"/>
                    </a:lnTo>
                    <a:lnTo>
                      <a:pt x="11" y="28"/>
                    </a:lnTo>
                    <a:lnTo>
                      <a:pt x="25" y="30"/>
                    </a:lnTo>
                    <a:lnTo>
                      <a:pt x="32" y="28"/>
                    </a:lnTo>
                    <a:lnTo>
                      <a:pt x="36" y="28"/>
                    </a:lnTo>
                    <a:lnTo>
                      <a:pt x="41" y="30"/>
                    </a:lnTo>
                    <a:lnTo>
                      <a:pt x="41" y="3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78" name="Freeform 3334"/>
              <p:cNvSpPr>
                <a:spLocks/>
              </p:cNvSpPr>
              <p:nvPr/>
            </p:nvSpPr>
            <p:spPr bwMode="auto">
              <a:xfrm>
                <a:off x="1507" y="2390"/>
                <a:ext cx="45" cy="32"/>
              </a:xfrm>
              <a:custGeom>
                <a:avLst/>
                <a:gdLst>
                  <a:gd name="T0" fmla="*/ 41 w 45"/>
                  <a:gd name="T1" fmla="*/ 32 h 32"/>
                  <a:gd name="T2" fmla="*/ 41 w 45"/>
                  <a:gd name="T3" fmla="*/ 30 h 32"/>
                  <a:gd name="T4" fmla="*/ 43 w 45"/>
                  <a:gd name="T5" fmla="*/ 26 h 32"/>
                  <a:gd name="T6" fmla="*/ 41 w 45"/>
                  <a:gd name="T7" fmla="*/ 25 h 32"/>
                  <a:gd name="T8" fmla="*/ 39 w 45"/>
                  <a:gd name="T9" fmla="*/ 23 h 32"/>
                  <a:gd name="T10" fmla="*/ 39 w 45"/>
                  <a:gd name="T11" fmla="*/ 21 h 32"/>
                  <a:gd name="T12" fmla="*/ 41 w 45"/>
                  <a:gd name="T13" fmla="*/ 21 h 32"/>
                  <a:gd name="T14" fmla="*/ 43 w 45"/>
                  <a:gd name="T15" fmla="*/ 19 h 32"/>
                  <a:gd name="T16" fmla="*/ 43 w 45"/>
                  <a:gd name="T17" fmla="*/ 14 h 32"/>
                  <a:gd name="T18" fmla="*/ 43 w 45"/>
                  <a:gd name="T19" fmla="*/ 14 h 32"/>
                  <a:gd name="T20" fmla="*/ 45 w 45"/>
                  <a:gd name="T21" fmla="*/ 12 h 32"/>
                  <a:gd name="T22" fmla="*/ 43 w 45"/>
                  <a:gd name="T23" fmla="*/ 10 h 32"/>
                  <a:gd name="T24" fmla="*/ 43 w 45"/>
                  <a:gd name="T25" fmla="*/ 7 h 32"/>
                  <a:gd name="T26" fmla="*/ 43 w 45"/>
                  <a:gd name="T27" fmla="*/ 3 h 32"/>
                  <a:gd name="T28" fmla="*/ 41 w 45"/>
                  <a:gd name="T29" fmla="*/ 1 h 32"/>
                  <a:gd name="T30" fmla="*/ 41 w 45"/>
                  <a:gd name="T31" fmla="*/ 1 h 32"/>
                  <a:gd name="T32" fmla="*/ 41 w 45"/>
                  <a:gd name="T33" fmla="*/ 1 h 32"/>
                  <a:gd name="T34" fmla="*/ 39 w 45"/>
                  <a:gd name="T35" fmla="*/ 3 h 32"/>
                  <a:gd name="T36" fmla="*/ 30 w 45"/>
                  <a:gd name="T37" fmla="*/ 1 h 32"/>
                  <a:gd name="T38" fmla="*/ 25 w 45"/>
                  <a:gd name="T39" fmla="*/ 0 h 32"/>
                  <a:gd name="T40" fmla="*/ 21 w 45"/>
                  <a:gd name="T41" fmla="*/ 0 h 32"/>
                  <a:gd name="T42" fmla="*/ 18 w 45"/>
                  <a:gd name="T43" fmla="*/ 0 h 32"/>
                  <a:gd name="T44" fmla="*/ 16 w 45"/>
                  <a:gd name="T45" fmla="*/ 1 h 32"/>
                  <a:gd name="T46" fmla="*/ 14 w 45"/>
                  <a:gd name="T47" fmla="*/ 3 h 32"/>
                  <a:gd name="T48" fmla="*/ 14 w 45"/>
                  <a:gd name="T49" fmla="*/ 5 h 32"/>
                  <a:gd name="T50" fmla="*/ 16 w 45"/>
                  <a:gd name="T51" fmla="*/ 5 h 32"/>
                  <a:gd name="T52" fmla="*/ 21 w 45"/>
                  <a:gd name="T53" fmla="*/ 5 h 32"/>
                  <a:gd name="T54" fmla="*/ 25 w 45"/>
                  <a:gd name="T55" fmla="*/ 7 h 32"/>
                  <a:gd name="T56" fmla="*/ 25 w 45"/>
                  <a:gd name="T57" fmla="*/ 9 h 32"/>
                  <a:gd name="T58" fmla="*/ 25 w 45"/>
                  <a:gd name="T59" fmla="*/ 14 h 32"/>
                  <a:gd name="T60" fmla="*/ 25 w 45"/>
                  <a:gd name="T61" fmla="*/ 16 h 32"/>
                  <a:gd name="T62" fmla="*/ 32 w 45"/>
                  <a:gd name="T63" fmla="*/ 21 h 32"/>
                  <a:gd name="T64" fmla="*/ 32 w 45"/>
                  <a:gd name="T65" fmla="*/ 21 h 32"/>
                  <a:gd name="T66" fmla="*/ 30 w 45"/>
                  <a:gd name="T67" fmla="*/ 23 h 32"/>
                  <a:gd name="T68" fmla="*/ 12 w 45"/>
                  <a:gd name="T69" fmla="*/ 23 h 32"/>
                  <a:gd name="T70" fmla="*/ 9 w 45"/>
                  <a:gd name="T71" fmla="*/ 21 h 32"/>
                  <a:gd name="T72" fmla="*/ 0 w 45"/>
                  <a:gd name="T73" fmla="*/ 21 h 32"/>
                  <a:gd name="T74" fmla="*/ 0 w 45"/>
                  <a:gd name="T75" fmla="*/ 23 h 32"/>
                  <a:gd name="T76" fmla="*/ 0 w 45"/>
                  <a:gd name="T77" fmla="*/ 25 h 32"/>
                  <a:gd name="T78" fmla="*/ 2 w 45"/>
                  <a:gd name="T79" fmla="*/ 26 h 32"/>
                  <a:gd name="T80" fmla="*/ 5 w 45"/>
                  <a:gd name="T81" fmla="*/ 30 h 32"/>
                  <a:gd name="T82" fmla="*/ 7 w 45"/>
                  <a:gd name="T83" fmla="*/ 32 h 32"/>
                  <a:gd name="T84" fmla="*/ 9 w 45"/>
                  <a:gd name="T85" fmla="*/ 30 h 32"/>
                  <a:gd name="T86" fmla="*/ 9 w 45"/>
                  <a:gd name="T87" fmla="*/ 28 h 32"/>
                  <a:gd name="T88" fmla="*/ 9 w 45"/>
                  <a:gd name="T89" fmla="*/ 28 h 32"/>
                  <a:gd name="T90" fmla="*/ 11 w 45"/>
                  <a:gd name="T91" fmla="*/ 28 h 32"/>
                  <a:gd name="T92" fmla="*/ 25 w 45"/>
                  <a:gd name="T93" fmla="*/ 30 h 32"/>
                  <a:gd name="T94" fmla="*/ 32 w 45"/>
                  <a:gd name="T95" fmla="*/ 28 h 32"/>
                  <a:gd name="T96" fmla="*/ 36 w 45"/>
                  <a:gd name="T97" fmla="*/ 28 h 32"/>
                  <a:gd name="T98" fmla="*/ 41 w 45"/>
                  <a:gd name="T99" fmla="*/ 30 h 32"/>
                  <a:gd name="T100" fmla="*/ 41 w 45"/>
                  <a:gd name="T10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 h="32">
                    <a:moveTo>
                      <a:pt x="41" y="32"/>
                    </a:moveTo>
                    <a:lnTo>
                      <a:pt x="41" y="30"/>
                    </a:lnTo>
                    <a:lnTo>
                      <a:pt x="43" y="26"/>
                    </a:lnTo>
                    <a:lnTo>
                      <a:pt x="41" y="25"/>
                    </a:lnTo>
                    <a:lnTo>
                      <a:pt x="39" y="23"/>
                    </a:lnTo>
                    <a:lnTo>
                      <a:pt x="39" y="21"/>
                    </a:lnTo>
                    <a:lnTo>
                      <a:pt x="41" y="21"/>
                    </a:lnTo>
                    <a:lnTo>
                      <a:pt x="43" y="19"/>
                    </a:lnTo>
                    <a:lnTo>
                      <a:pt x="43" y="14"/>
                    </a:lnTo>
                    <a:lnTo>
                      <a:pt x="43" y="14"/>
                    </a:lnTo>
                    <a:lnTo>
                      <a:pt x="45" y="12"/>
                    </a:lnTo>
                    <a:lnTo>
                      <a:pt x="43" y="10"/>
                    </a:lnTo>
                    <a:lnTo>
                      <a:pt x="43" y="7"/>
                    </a:lnTo>
                    <a:lnTo>
                      <a:pt x="43" y="3"/>
                    </a:lnTo>
                    <a:lnTo>
                      <a:pt x="41" y="1"/>
                    </a:lnTo>
                    <a:lnTo>
                      <a:pt x="41" y="1"/>
                    </a:lnTo>
                    <a:lnTo>
                      <a:pt x="41" y="1"/>
                    </a:lnTo>
                    <a:lnTo>
                      <a:pt x="39" y="3"/>
                    </a:lnTo>
                    <a:lnTo>
                      <a:pt x="30" y="1"/>
                    </a:lnTo>
                    <a:lnTo>
                      <a:pt x="25" y="0"/>
                    </a:lnTo>
                    <a:lnTo>
                      <a:pt x="21" y="0"/>
                    </a:lnTo>
                    <a:lnTo>
                      <a:pt x="18" y="0"/>
                    </a:lnTo>
                    <a:lnTo>
                      <a:pt x="16" y="1"/>
                    </a:lnTo>
                    <a:lnTo>
                      <a:pt x="14" y="3"/>
                    </a:lnTo>
                    <a:lnTo>
                      <a:pt x="14" y="5"/>
                    </a:lnTo>
                    <a:lnTo>
                      <a:pt x="16" y="5"/>
                    </a:lnTo>
                    <a:lnTo>
                      <a:pt x="21" y="5"/>
                    </a:lnTo>
                    <a:lnTo>
                      <a:pt x="25" y="7"/>
                    </a:lnTo>
                    <a:lnTo>
                      <a:pt x="25" y="9"/>
                    </a:lnTo>
                    <a:lnTo>
                      <a:pt x="25" y="14"/>
                    </a:lnTo>
                    <a:lnTo>
                      <a:pt x="25" y="16"/>
                    </a:lnTo>
                    <a:lnTo>
                      <a:pt x="32" y="21"/>
                    </a:lnTo>
                    <a:lnTo>
                      <a:pt x="32" y="21"/>
                    </a:lnTo>
                    <a:lnTo>
                      <a:pt x="30" y="23"/>
                    </a:lnTo>
                    <a:lnTo>
                      <a:pt x="12" y="23"/>
                    </a:lnTo>
                    <a:lnTo>
                      <a:pt x="9" y="21"/>
                    </a:lnTo>
                    <a:lnTo>
                      <a:pt x="0" y="21"/>
                    </a:lnTo>
                    <a:lnTo>
                      <a:pt x="0" y="23"/>
                    </a:lnTo>
                    <a:lnTo>
                      <a:pt x="0" y="25"/>
                    </a:lnTo>
                    <a:lnTo>
                      <a:pt x="2" y="26"/>
                    </a:lnTo>
                    <a:lnTo>
                      <a:pt x="5" y="30"/>
                    </a:lnTo>
                    <a:lnTo>
                      <a:pt x="7" y="32"/>
                    </a:lnTo>
                    <a:lnTo>
                      <a:pt x="9" y="30"/>
                    </a:lnTo>
                    <a:lnTo>
                      <a:pt x="9" y="28"/>
                    </a:lnTo>
                    <a:lnTo>
                      <a:pt x="9" y="28"/>
                    </a:lnTo>
                    <a:lnTo>
                      <a:pt x="11" y="28"/>
                    </a:lnTo>
                    <a:lnTo>
                      <a:pt x="25" y="30"/>
                    </a:lnTo>
                    <a:lnTo>
                      <a:pt x="32" y="28"/>
                    </a:lnTo>
                    <a:lnTo>
                      <a:pt x="36" y="28"/>
                    </a:lnTo>
                    <a:lnTo>
                      <a:pt x="41" y="30"/>
                    </a:lnTo>
                    <a:lnTo>
                      <a:pt x="41" y="3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79" name="Freeform 3335"/>
              <p:cNvSpPr>
                <a:spLocks/>
              </p:cNvSpPr>
              <p:nvPr/>
            </p:nvSpPr>
            <p:spPr bwMode="auto">
              <a:xfrm>
                <a:off x="1516" y="2631"/>
                <a:ext cx="623" cy="653"/>
              </a:xfrm>
              <a:custGeom>
                <a:avLst/>
                <a:gdLst>
                  <a:gd name="T0" fmla="*/ 193 w 623"/>
                  <a:gd name="T1" fmla="*/ 16 h 653"/>
                  <a:gd name="T2" fmla="*/ 145 w 623"/>
                  <a:gd name="T3" fmla="*/ 18 h 653"/>
                  <a:gd name="T4" fmla="*/ 166 w 623"/>
                  <a:gd name="T5" fmla="*/ 44 h 653"/>
                  <a:gd name="T6" fmla="*/ 155 w 623"/>
                  <a:gd name="T7" fmla="*/ 53 h 653"/>
                  <a:gd name="T8" fmla="*/ 130 w 623"/>
                  <a:gd name="T9" fmla="*/ 69 h 653"/>
                  <a:gd name="T10" fmla="*/ 105 w 623"/>
                  <a:gd name="T11" fmla="*/ 55 h 653"/>
                  <a:gd name="T12" fmla="*/ 87 w 623"/>
                  <a:gd name="T13" fmla="*/ 51 h 653"/>
                  <a:gd name="T14" fmla="*/ 64 w 623"/>
                  <a:gd name="T15" fmla="*/ 66 h 653"/>
                  <a:gd name="T16" fmla="*/ 71 w 623"/>
                  <a:gd name="T17" fmla="*/ 73 h 653"/>
                  <a:gd name="T18" fmla="*/ 66 w 623"/>
                  <a:gd name="T19" fmla="*/ 125 h 653"/>
                  <a:gd name="T20" fmla="*/ 12 w 623"/>
                  <a:gd name="T21" fmla="*/ 176 h 653"/>
                  <a:gd name="T22" fmla="*/ 3 w 623"/>
                  <a:gd name="T23" fmla="*/ 214 h 653"/>
                  <a:gd name="T24" fmla="*/ 25 w 623"/>
                  <a:gd name="T25" fmla="*/ 235 h 653"/>
                  <a:gd name="T26" fmla="*/ 53 w 623"/>
                  <a:gd name="T27" fmla="*/ 257 h 653"/>
                  <a:gd name="T28" fmla="*/ 73 w 623"/>
                  <a:gd name="T29" fmla="*/ 257 h 653"/>
                  <a:gd name="T30" fmla="*/ 134 w 623"/>
                  <a:gd name="T31" fmla="*/ 260 h 653"/>
                  <a:gd name="T32" fmla="*/ 171 w 623"/>
                  <a:gd name="T33" fmla="*/ 289 h 653"/>
                  <a:gd name="T34" fmla="*/ 216 w 623"/>
                  <a:gd name="T35" fmla="*/ 318 h 653"/>
                  <a:gd name="T36" fmla="*/ 244 w 623"/>
                  <a:gd name="T37" fmla="*/ 353 h 653"/>
                  <a:gd name="T38" fmla="*/ 253 w 623"/>
                  <a:gd name="T39" fmla="*/ 403 h 653"/>
                  <a:gd name="T40" fmla="*/ 253 w 623"/>
                  <a:gd name="T41" fmla="*/ 416 h 653"/>
                  <a:gd name="T42" fmla="*/ 287 w 623"/>
                  <a:gd name="T43" fmla="*/ 446 h 653"/>
                  <a:gd name="T44" fmla="*/ 309 w 623"/>
                  <a:gd name="T45" fmla="*/ 475 h 653"/>
                  <a:gd name="T46" fmla="*/ 312 w 623"/>
                  <a:gd name="T47" fmla="*/ 535 h 653"/>
                  <a:gd name="T48" fmla="*/ 259 w 623"/>
                  <a:gd name="T49" fmla="*/ 587 h 653"/>
                  <a:gd name="T50" fmla="*/ 286 w 623"/>
                  <a:gd name="T51" fmla="*/ 601 h 653"/>
                  <a:gd name="T52" fmla="*/ 303 w 623"/>
                  <a:gd name="T53" fmla="*/ 609 h 653"/>
                  <a:gd name="T54" fmla="*/ 328 w 623"/>
                  <a:gd name="T55" fmla="*/ 632 h 653"/>
                  <a:gd name="T56" fmla="*/ 325 w 623"/>
                  <a:gd name="T57" fmla="*/ 651 h 653"/>
                  <a:gd name="T58" fmla="*/ 393 w 623"/>
                  <a:gd name="T59" fmla="*/ 560 h 653"/>
                  <a:gd name="T60" fmla="*/ 402 w 623"/>
                  <a:gd name="T61" fmla="*/ 526 h 653"/>
                  <a:gd name="T62" fmla="*/ 416 w 623"/>
                  <a:gd name="T63" fmla="*/ 491 h 653"/>
                  <a:gd name="T64" fmla="*/ 455 w 623"/>
                  <a:gd name="T65" fmla="*/ 468 h 653"/>
                  <a:gd name="T66" fmla="*/ 468 w 623"/>
                  <a:gd name="T67" fmla="*/ 457 h 653"/>
                  <a:gd name="T68" fmla="*/ 484 w 623"/>
                  <a:gd name="T69" fmla="*/ 457 h 653"/>
                  <a:gd name="T70" fmla="*/ 523 w 623"/>
                  <a:gd name="T71" fmla="*/ 428 h 653"/>
                  <a:gd name="T72" fmla="*/ 564 w 623"/>
                  <a:gd name="T73" fmla="*/ 291 h 653"/>
                  <a:gd name="T74" fmla="*/ 593 w 623"/>
                  <a:gd name="T75" fmla="*/ 164 h 653"/>
                  <a:gd name="T76" fmla="*/ 486 w 623"/>
                  <a:gd name="T77" fmla="*/ 121 h 653"/>
                  <a:gd name="T78" fmla="*/ 471 w 623"/>
                  <a:gd name="T79" fmla="*/ 118 h 653"/>
                  <a:gd name="T80" fmla="*/ 462 w 623"/>
                  <a:gd name="T81" fmla="*/ 105 h 653"/>
                  <a:gd name="T82" fmla="*/ 446 w 623"/>
                  <a:gd name="T83" fmla="*/ 100 h 653"/>
                  <a:gd name="T84" fmla="*/ 409 w 623"/>
                  <a:gd name="T85" fmla="*/ 98 h 653"/>
                  <a:gd name="T86" fmla="*/ 391 w 623"/>
                  <a:gd name="T87" fmla="*/ 121 h 653"/>
                  <a:gd name="T88" fmla="*/ 375 w 623"/>
                  <a:gd name="T89" fmla="*/ 112 h 653"/>
                  <a:gd name="T90" fmla="*/ 359 w 623"/>
                  <a:gd name="T91" fmla="*/ 112 h 653"/>
                  <a:gd name="T92" fmla="*/ 364 w 623"/>
                  <a:gd name="T93" fmla="*/ 112 h 653"/>
                  <a:gd name="T94" fmla="*/ 368 w 623"/>
                  <a:gd name="T95" fmla="*/ 101 h 653"/>
                  <a:gd name="T96" fmla="*/ 366 w 623"/>
                  <a:gd name="T97" fmla="*/ 96 h 653"/>
                  <a:gd name="T98" fmla="*/ 359 w 623"/>
                  <a:gd name="T99" fmla="*/ 89 h 653"/>
                  <a:gd name="T100" fmla="*/ 375 w 623"/>
                  <a:gd name="T101" fmla="*/ 53 h 653"/>
                  <a:gd name="T102" fmla="*/ 341 w 623"/>
                  <a:gd name="T103" fmla="*/ 41 h 653"/>
                  <a:gd name="T104" fmla="*/ 312 w 623"/>
                  <a:gd name="T105" fmla="*/ 48 h 653"/>
                  <a:gd name="T106" fmla="*/ 287 w 623"/>
                  <a:gd name="T107" fmla="*/ 51 h 653"/>
                  <a:gd name="T108" fmla="*/ 266 w 623"/>
                  <a:gd name="T109" fmla="*/ 50 h 653"/>
                  <a:gd name="T110" fmla="*/ 243 w 623"/>
                  <a:gd name="T111" fmla="*/ 62 h 653"/>
                  <a:gd name="T112" fmla="*/ 223 w 623"/>
                  <a:gd name="T113" fmla="*/ 43 h 653"/>
                  <a:gd name="T114" fmla="*/ 227 w 623"/>
                  <a:gd name="T115" fmla="*/ 16 h 653"/>
                  <a:gd name="T116" fmla="*/ 218 w 623"/>
                  <a:gd name="T117"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3" h="653">
                    <a:moveTo>
                      <a:pt x="211" y="0"/>
                    </a:moveTo>
                    <a:lnTo>
                      <a:pt x="211" y="3"/>
                    </a:lnTo>
                    <a:lnTo>
                      <a:pt x="205" y="9"/>
                    </a:lnTo>
                    <a:lnTo>
                      <a:pt x="205" y="10"/>
                    </a:lnTo>
                    <a:lnTo>
                      <a:pt x="200" y="10"/>
                    </a:lnTo>
                    <a:lnTo>
                      <a:pt x="196" y="12"/>
                    </a:lnTo>
                    <a:lnTo>
                      <a:pt x="195" y="14"/>
                    </a:lnTo>
                    <a:lnTo>
                      <a:pt x="193" y="16"/>
                    </a:lnTo>
                    <a:lnTo>
                      <a:pt x="173" y="19"/>
                    </a:lnTo>
                    <a:lnTo>
                      <a:pt x="173" y="21"/>
                    </a:lnTo>
                    <a:lnTo>
                      <a:pt x="173" y="21"/>
                    </a:lnTo>
                    <a:lnTo>
                      <a:pt x="166" y="21"/>
                    </a:lnTo>
                    <a:lnTo>
                      <a:pt x="146" y="14"/>
                    </a:lnTo>
                    <a:lnTo>
                      <a:pt x="145" y="14"/>
                    </a:lnTo>
                    <a:lnTo>
                      <a:pt x="145" y="14"/>
                    </a:lnTo>
                    <a:lnTo>
                      <a:pt x="145" y="18"/>
                    </a:lnTo>
                    <a:lnTo>
                      <a:pt x="146" y="19"/>
                    </a:lnTo>
                    <a:lnTo>
                      <a:pt x="152" y="23"/>
                    </a:lnTo>
                    <a:lnTo>
                      <a:pt x="153" y="23"/>
                    </a:lnTo>
                    <a:lnTo>
                      <a:pt x="152" y="34"/>
                    </a:lnTo>
                    <a:lnTo>
                      <a:pt x="153" y="44"/>
                    </a:lnTo>
                    <a:lnTo>
                      <a:pt x="159" y="44"/>
                    </a:lnTo>
                    <a:lnTo>
                      <a:pt x="159" y="44"/>
                    </a:lnTo>
                    <a:lnTo>
                      <a:pt x="166" y="44"/>
                    </a:lnTo>
                    <a:lnTo>
                      <a:pt x="166" y="46"/>
                    </a:lnTo>
                    <a:lnTo>
                      <a:pt x="166" y="48"/>
                    </a:lnTo>
                    <a:lnTo>
                      <a:pt x="162" y="48"/>
                    </a:lnTo>
                    <a:lnTo>
                      <a:pt x="161" y="50"/>
                    </a:lnTo>
                    <a:lnTo>
                      <a:pt x="161" y="50"/>
                    </a:lnTo>
                    <a:lnTo>
                      <a:pt x="159" y="51"/>
                    </a:lnTo>
                    <a:lnTo>
                      <a:pt x="157" y="51"/>
                    </a:lnTo>
                    <a:lnTo>
                      <a:pt x="155" y="53"/>
                    </a:lnTo>
                    <a:lnTo>
                      <a:pt x="153" y="57"/>
                    </a:lnTo>
                    <a:lnTo>
                      <a:pt x="152" y="59"/>
                    </a:lnTo>
                    <a:lnTo>
                      <a:pt x="150" y="59"/>
                    </a:lnTo>
                    <a:lnTo>
                      <a:pt x="150" y="59"/>
                    </a:lnTo>
                    <a:lnTo>
                      <a:pt x="146" y="60"/>
                    </a:lnTo>
                    <a:lnTo>
                      <a:pt x="146" y="62"/>
                    </a:lnTo>
                    <a:lnTo>
                      <a:pt x="134" y="66"/>
                    </a:lnTo>
                    <a:lnTo>
                      <a:pt x="130" y="69"/>
                    </a:lnTo>
                    <a:lnTo>
                      <a:pt x="120" y="71"/>
                    </a:lnTo>
                    <a:lnTo>
                      <a:pt x="120" y="69"/>
                    </a:lnTo>
                    <a:lnTo>
                      <a:pt x="118" y="69"/>
                    </a:lnTo>
                    <a:lnTo>
                      <a:pt x="114" y="66"/>
                    </a:lnTo>
                    <a:lnTo>
                      <a:pt x="111" y="62"/>
                    </a:lnTo>
                    <a:lnTo>
                      <a:pt x="111" y="62"/>
                    </a:lnTo>
                    <a:lnTo>
                      <a:pt x="107" y="64"/>
                    </a:lnTo>
                    <a:lnTo>
                      <a:pt x="105" y="55"/>
                    </a:lnTo>
                    <a:lnTo>
                      <a:pt x="102" y="50"/>
                    </a:lnTo>
                    <a:lnTo>
                      <a:pt x="98" y="50"/>
                    </a:lnTo>
                    <a:lnTo>
                      <a:pt x="93" y="53"/>
                    </a:lnTo>
                    <a:lnTo>
                      <a:pt x="93" y="53"/>
                    </a:lnTo>
                    <a:lnTo>
                      <a:pt x="91" y="51"/>
                    </a:lnTo>
                    <a:lnTo>
                      <a:pt x="89" y="51"/>
                    </a:lnTo>
                    <a:lnTo>
                      <a:pt x="89" y="51"/>
                    </a:lnTo>
                    <a:lnTo>
                      <a:pt x="87" y="51"/>
                    </a:lnTo>
                    <a:lnTo>
                      <a:pt x="87" y="53"/>
                    </a:lnTo>
                    <a:lnTo>
                      <a:pt x="87" y="55"/>
                    </a:lnTo>
                    <a:lnTo>
                      <a:pt x="62" y="55"/>
                    </a:lnTo>
                    <a:lnTo>
                      <a:pt x="62" y="55"/>
                    </a:lnTo>
                    <a:lnTo>
                      <a:pt x="62" y="64"/>
                    </a:lnTo>
                    <a:lnTo>
                      <a:pt x="62" y="64"/>
                    </a:lnTo>
                    <a:lnTo>
                      <a:pt x="62" y="64"/>
                    </a:lnTo>
                    <a:lnTo>
                      <a:pt x="64" y="66"/>
                    </a:lnTo>
                    <a:lnTo>
                      <a:pt x="64" y="66"/>
                    </a:lnTo>
                    <a:lnTo>
                      <a:pt x="68" y="66"/>
                    </a:lnTo>
                    <a:lnTo>
                      <a:pt x="68" y="66"/>
                    </a:lnTo>
                    <a:lnTo>
                      <a:pt x="71" y="66"/>
                    </a:lnTo>
                    <a:lnTo>
                      <a:pt x="73" y="68"/>
                    </a:lnTo>
                    <a:lnTo>
                      <a:pt x="73" y="73"/>
                    </a:lnTo>
                    <a:lnTo>
                      <a:pt x="73" y="73"/>
                    </a:lnTo>
                    <a:lnTo>
                      <a:pt x="71" y="73"/>
                    </a:lnTo>
                    <a:lnTo>
                      <a:pt x="71" y="73"/>
                    </a:lnTo>
                    <a:lnTo>
                      <a:pt x="71" y="73"/>
                    </a:lnTo>
                    <a:lnTo>
                      <a:pt x="68" y="71"/>
                    </a:lnTo>
                    <a:lnTo>
                      <a:pt x="59" y="75"/>
                    </a:lnTo>
                    <a:lnTo>
                      <a:pt x="59" y="85"/>
                    </a:lnTo>
                    <a:lnTo>
                      <a:pt x="68" y="94"/>
                    </a:lnTo>
                    <a:lnTo>
                      <a:pt x="70" y="103"/>
                    </a:lnTo>
                    <a:lnTo>
                      <a:pt x="66" y="125"/>
                    </a:lnTo>
                    <a:lnTo>
                      <a:pt x="66" y="126"/>
                    </a:lnTo>
                    <a:lnTo>
                      <a:pt x="62" y="137"/>
                    </a:lnTo>
                    <a:lnTo>
                      <a:pt x="62" y="137"/>
                    </a:lnTo>
                    <a:lnTo>
                      <a:pt x="61" y="148"/>
                    </a:lnTo>
                    <a:lnTo>
                      <a:pt x="59" y="150"/>
                    </a:lnTo>
                    <a:lnTo>
                      <a:pt x="53" y="150"/>
                    </a:lnTo>
                    <a:lnTo>
                      <a:pt x="23" y="160"/>
                    </a:lnTo>
                    <a:lnTo>
                      <a:pt x="12" y="176"/>
                    </a:lnTo>
                    <a:lnTo>
                      <a:pt x="11" y="178"/>
                    </a:lnTo>
                    <a:lnTo>
                      <a:pt x="11" y="187"/>
                    </a:lnTo>
                    <a:lnTo>
                      <a:pt x="5" y="187"/>
                    </a:lnTo>
                    <a:lnTo>
                      <a:pt x="5" y="189"/>
                    </a:lnTo>
                    <a:lnTo>
                      <a:pt x="0" y="201"/>
                    </a:lnTo>
                    <a:lnTo>
                      <a:pt x="0" y="203"/>
                    </a:lnTo>
                    <a:lnTo>
                      <a:pt x="3" y="210"/>
                    </a:lnTo>
                    <a:lnTo>
                      <a:pt x="3" y="214"/>
                    </a:lnTo>
                    <a:lnTo>
                      <a:pt x="11" y="223"/>
                    </a:lnTo>
                    <a:lnTo>
                      <a:pt x="14" y="225"/>
                    </a:lnTo>
                    <a:lnTo>
                      <a:pt x="14" y="228"/>
                    </a:lnTo>
                    <a:lnTo>
                      <a:pt x="12" y="230"/>
                    </a:lnTo>
                    <a:lnTo>
                      <a:pt x="12" y="232"/>
                    </a:lnTo>
                    <a:lnTo>
                      <a:pt x="21" y="234"/>
                    </a:lnTo>
                    <a:lnTo>
                      <a:pt x="23" y="234"/>
                    </a:lnTo>
                    <a:lnTo>
                      <a:pt x="25" y="235"/>
                    </a:lnTo>
                    <a:lnTo>
                      <a:pt x="25" y="239"/>
                    </a:lnTo>
                    <a:lnTo>
                      <a:pt x="27" y="239"/>
                    </a:lnTo>
                    <a:lnTo>
                      <a:pt x="30" y="241"/>
                    </a:lnTo>
                    <a:lnTo>
                      <a:pt x="37" y="241"/>
                    </a:lnTo>
                    <a:lnTo>
                      <a:pt x="52" y="230"/>
                    </a:lnTo>
                    <a:lnTo>
                      <a:pt x="52" y="230"/>
                    </a:lnTo>
                    <a:lnTo>
                      <a:pt x="52" y="257"/>
                    </a:lnTo>
                    <a:lnTo>
                      <a:pt x="53" y="257"/>
                    </a:lnTo>
                    <a:lnTo>
                      <a:pt x="55" y="259"/>
                    </a:lnTo>
                    <a:lnTo>
                      <a:pt x="59" y="259"/>
                    </a:lnTo>
                    <a:lnTo>
                      <a:pt x="59" y="259"/>
                    </a:lnTo>
                    <a:lnTo>
                      <a:pt x="61" y="257"/>
                    </a:lnTo>
                    <a:lnTo>
                      <a:pt x="66" y="257"/>
                    </a:lnTo>
                    <a:lnTo>
                      <a:pt x="66" y="255"/>
                    </a:lnTo>
                    <a:lnTo>
                      <a:pt x="68" y="255"/>
                    </a:lnTo>
                    <a:lnTo>
                      <a:pt x="73" y="257"/>
                    </a:lnTo>
                    <a:lnTo>
                      <a:pt x="86" y="259"/>
                    </a:lnTo>
                    <a:lnTo>
                      <a:pt x="100" y="251"/>
                    </a:lnTo>
                    <a:lnTo>
                      <a:pt x="112" y="239"/>
                    </a:lnTo>
                    <a:lnTo>
                      <a:pt x="132" y="235"/>
                    </a:lnTo>
                    <a:lnTo>
                      <a:pt x="134" y="237"/>
                    </a:lnTo>
                    <a:lnTo>
                      <a:pt x="136" y="239"/>
                    </a:lnTo>
                    <a:lnTo>
                      <a:pt x="136" y="257"/>
                    </a:lnTo>
                    <a:lnTo>
                      <a:pt x="134" y="260"/>
                    </a:lnTo>
                    <a:lnTo>
                      <a:pt x="134" y="262"/>
                    </a:lnTo>
                    <a:lnTo>
                      <a:pt x="136" y="269"/>
                    </a:lnTo>
                    <a:lnTo>
                      <a:pt x="137" y="273"/>
                    </a:lnTo>
                    <a:lnTo>
                      <a:pt x="148" y="280"/>
                    </a:lnTo>
                    <a:lnTo>
                      <a:pt x="168" y="284"/>
                    </a:lnTo>
                    <a:lnTo>
                      <a:pt x="168" y="285"/>
                    </a:lnTo>
                    <a:lnTo>
                      <a:pt x="170" y="285"/>
                    </a:lnTo>
                    <a:lnTo>
                      <a:pt x="171" y="289"/>
                    </a:lnTo>
                    <a:lnTo>
                      <a:pt x="186" y="293"/>
                    </a:lnTo>
                    <a:lnTo>
                      <a:pt x="191" y="298"/>
                    </a:lnTo>
                    <a:lnTo>
                      <a:pt x="202" y="298"/>
                    </a:lnTo>
                    <a:lnTo>
                      <a:pt x="209" y="303"/>
                    </a:lnTo>
                    <a:lnTo>
                      <a:pt x="212" y="310"/>
                    </a:lnTo>
                    <a:lnTo>
                      <a:pt x="212" y="314"/>
                    </a:lnTo>
                    <a:lnTo>
                      <a:pt x="214" y="316"/>
                    </a:lnTo>
                    <a:lnTo>
                      <a:pt x="216" y="318"/>
                    </a:lnTo>
                    <a:lnTo>
                      <a:pt x="214" y="325"/>
                    </a:lnTo>
                    <a:lnTo>
                      <a:pt x="212" y="326"/>
                    </a:lnTo>
                    <a:lnTo>
                      <a:pt x="212" y="328"/>
                    </a:lnTo>
                    <a:lnTo>
                      <a:pt x="218" y="343"/>
                    </a:lnTo>
                    <a:lnTo>
                      <a:pt x="244" y="344"/>
                    </a:lnTo>
                    <a:lnTo>
                      <a:pt x="246" y="346"/>
                    </a:lnTo>
                    <a:lnTo>
                      <a:pt x="246" y="348"/>
                    </a:lnTo>
                    <a:lnTo>
                      <a:pt x="244" y="353"/>
                    </a:lnTo>
                    <a:lnTo>
                      <a:pt x="246" y="360"/>
                    </a:lnTo>
                    <a:lnTo>
                      <a:pt x="252" y="362"/>
                    </a:lnTo>
                    <a:lnTo>
                      <a:pt x="252" y="362"/>
                    </a:lnTo>
                    <a:lnTo>
                      <a:pt x="257" y="375"/>
                    </a:lnTo>
                    <a:lnTo>
                      <a:pt x="257" y="391"/>
                    </a:lnTo>
                    <a:lnTo>
                      <a:pt x="253" y="398"/>
                    </a:lnTo>
                    <a:lnTo>
                      <a:pt x="253" y="401"/>
                    </a:lnTo>
                    <a:lnTo>
                      <a:pt x="253" y="403"/>
                    </a:lnTo>
                    <a:lnTo>
                      <a:pt x="253" y="407"/>
                    </a:lnTo>
                    <a:lnTo>
                      <a:pt x="253" y="407"/>
                    </a:lnTo>
                    <a:lnTo>
                      <a:pt x="252" y="409"/>
                    </a:lnTo>
                    <a:lnTo>
                      <a:pt x="252" y="409"/>
                    </a:lnTo>
                    <a:lnTo>
                      <a:pt x="250" y="410"/>
                    </a:lnTo>
                    <a:lnTo>
                      <a:pt x="250" y="410"/>
                    </a:lnTo>
                    <a:lnTo>
                      <a:pt x="253" y="414"/>
                    </a:lnTo>
                    <a:lnTo>
                      <a:pt x="253" y="416"/>
                    </a:lnTo>
                    <a:lnTo>
                      <a:pt x="253" y="439"/>
                    </a:lnTo>
                    <a:lnTo>
                      <a:pt x="255" y="441"/>
                    </a:lnTo>
                    <a:lnTo>
                      <a:pt x="262" y="444"/>
                    </a:lnTo>
                    <a:lnTo>
                      <a:pt x="275" y="444"/>
                    </a:lnTo>
                    <a:lnTo>
                      <a:pt x="277" y="444"/>
                    </a:lnTo>
                    <a:lnTo>
                      <a:pt x="278" y="443"/>
                    </a:lnTo>
                    <a:lnTo>
                      <a:pt x="280" y="444"/>
                    </a:lnTo>
                    <a:lnTo>
                      <a:pt x="287" y="446"/>
                    </a:lnTo>
                    <a:lnTo>
                      <a:pt x="289" y="450"/>
                    </a:lnTo>
                    <a:lnTo>
                      <a:pt x="291" y="469"/>
                    </a:lnTo>
                    <a:lnTo>
                      <a:pt x="293" y="471"/>
                    </a:lnTo>
                    <a:lnTo>
                      <a:pt x="296" y="475"/>
                    </a:lnTo>
                    <a:lnTo>
                      <a:pt x="300" y="475"/>
                    </a:lnTo>
                    <a:lnTo>
                      <a:pt x="302" y="473"/>
                    </a:lnTo>
                    <a:lnTo>
                      <a:pt x="309" y="473"/>
                    </a:lnTo>
                    <a:lnTo>
                      <a:pt x="309" y="475"/>
                    </a:lnTo>
                    <a:lnTo>
                      <a:pt x="311" y="476"/>
                    </a:lnTo>
                    <a:lnTo>
                      <a:pt x="309" y="503"/>
                    </a:lnTo>
                    <a:lnTo>
                      <a:pt x="316" y="501"/>
                    </a:lnTo>
                    <a:lnTo>
                      <a:pt x="318" y="505"/>
                    </a:lnTo>
                    <a:lnTo>
                      <a:pt x="321" y="516"/>
                    </a:lnTo>
                    <a:lnTo>
                      <a:pt x="321" y="528"/>
                    </a:lnTo>
                    <a:lnTo>
                      <a:pt x="319" y="530"/>
                    </a:lnTo>
                    <a:lnTo>
                      <a:pt x="312" y="535"/>
                    </a:lnTo>
                    <a:lnTo>
                      <a:pt x="305" y="537"/>
                    </a:lnTo>
                    <a:lnTo>
                      <a:pt x="287" y="555"/>
                    </a:lnTo>
                    <a:lnTo>
                      <a:pt x="286" y="557"/>
                    </a:lnTo>
                    <a:lnTo>
                      <a:pt x="278" y="566"/>
                    </a:lnTo>
                    <a:lnTo>
                      <a:pt x="278" y="568"/>
                    </a:lnTo>
                    <a:lnTo>
                      <a:pt x="264" y="582"/>
                    </a:lnTo>
                    <a:lnTo>
                      <a:pt x="264" y="582"/>
                    </a:lnTo>
                    <a:lnTo>
                      <a:pt x="259" y="587"/>
                    </a:lnTo>
                    <a:lnTo>
                      <a:pt x="264" y="587"/>
                    </a:lnTo>
                    <a:lnTo>
                      <a:pt x="266" y="587"/>
                    </a:lnTo>
                    <a:lnTo>
                      <a:pt x="266" y="585"/>
                    </a:lnTo>
                    <a:lnTo>
                      <a:pt x="268" y="584"/>
                    </a:lnTo>
                    <a:lnTo>
                      <a:pt x="269" y="584"/>
                    </a:lnTo>
                    <a:lnTo>
                      <a:pt x="282" y="594"/>
                    </a:lnTo>
                    <a:lnTo>
                      <a:pt x="284" y="601"/>
                    </a:lnTo>
                    <a:lnTo>
                      <a:pt x="286" y="601"/>
                    </a:lnTo>
                    <a:lnTo>
                      <a:pt x="287" y="601"/>
                    </a:lnTo>
                    <a:lnTo>
                      <a:pt x="291" y="598"/>
                    </a:lnTo>
                    <a:lnTo>
                      <a:pt x="293" y="600"/>
                    </a:lnTo>
                    <a:lnTo>
                      <a:pt x="294" y="603"/>
                    </a:lnTo>
                    <a:lnTo>
                      <a:pt x="298" y="607"/>
                    </a:lnTo>
                    <a:lnTo>
                      <a:pt x="298" y="607"/>
                    </a:lnTo>
                    <a:lnTo>
                      <a:pt x="302" y="607"/>
                    </a:lnTo>
                    <a:lnTo>
                      <a:pt x="303" y="609"/>
                    </a:lnTo>
                    <a:lnTo>
                      <a:pt x="307" y="610"/>
                    </a:lnTo>
                    <a:lnTo>
                      <a:pt x="307" y="610"/>
                    </a:lnTo>
                    <a:lnTo>
                      <a:pt x="309" y="614"/>
                    </a:lnTo>
                    <a:lnTo>
                      <a:pt x="311" y="616"/>
                    </a:lnTo>
                    <a:lnTo>
                      <a:pt x="319" y="619"/>
                    </a:lnTo>
                    <a:lnTo>
                      <a:pt x="321" y="621"/>
                    </a:lnTo>
                    <a:lnTo>
                      <a:pt x="323" y="628"/>
                    </a:lnTo>
                    <a:lnTo>
                      <a:pt x="328" y="632"/>
                    </a:lnTo>
                    <a:lnTo>
                      <a:pt x="330" y="634"/>
                    </a:lnTo>
                    <a:lnTo>
                      <a:pt x="330" y="635"/>
                    </a:lnTo>
                    <a:lnTo>
                      <a:pt x="328" y="635"/>
                    </a:lnTo>
                    <a:lnTo>
                      <a:pt x="327" y="637"/>
                    </a:lnTo>
                    <a:lnTo>
                      <a:pt x="327" y="637"/>
                    </a:lnTo>
                    <a:lnTo>
                      <a:pt x="325" y="643"/>
                    </a:lnTo>
                    <a:lnTo>
                      <a:pt x="323" y="651"/>
                    </a:lnTo>
                    <a:lnTo>
                      <a:pt x="325" y="651"/>
                    </a:lnTo>
                    <a:lnTo>
                      <a:pt x="325" y="653"/>
                    </a:lnTo>
                    <a:lnTo>
                      <a:pt x="325" y="651"/>
                    </a:lnTo>
                    <a:lnTo>
                      <a:pt x="327" y="650"/>
                    </a:lnTo>
                    <a:lnTo>
                      <a:pt x="334" y="646"/>
                    </a:lnTo>
                    <a:lnTo>
                      <a:pt x="339" y="635"/>
                    </a:lnTo>
                    <a:lnTo>
                      <a:pt x="343" y="626"/>
                    </a:lnTo>
                    <a:lnTo>
                      <a:pt x="361" y="612"/>
                    </a:lnTo>
                    <a:lnTo>
                      <a:pt x="393" y="560"/>
                    </a:lnTo>
                    <a:lnTo>
                      <a:pt x="398" y="559"/>
                    </a:lnTo>
                    <a:lnTo>
                      <a:pt x="398" y="553"/>
                    </a:lnTo>
                    <a:lnTo>
                      <a:pt x="402" y="551"/>
                    </a:lnTo>
                    <a:lnTo>
                      <a:pt x="403" y="534"/>
                    </a:lnTo>
                    <a:lnTo>
                      <a:pt x="403" y="534"/>
                    </a:lnTo>
                    <a:lnTo>
                      <a:pt x="405" y="532"/>
                    </a:lnTo>
                    <a:lnTo>
                      <a:pt x="405" y="532"/>
                    </a:lnTo>
                    <a:lnTo>
                      <a:pt x="402" y="526"/>
                    </a:lnTo>
                    <a:lnTo>
                      <a:pt x="403" y="523"/>
                    </a:lnTo>
                    <a:lnTo>
                      <a:pt x="402" y="521"/>
                    </a:lnTo>
                    <a:lnTo>
                      <a:pt x="402" y="518"/>
                    </a:lnTo>
                    <a:lnTo>
                      <a:pt x="402" y="516"/>
                    </a:lnTo>
                    <a:lnTo>
                      <a:pt x="402" y="512"/>
                    </a:lnTo>
                    <a:lnTo>
                      <a:pt x="402" y="512"/>
                    </a:lnTo>
                    <a:lnTo>
                      <a:pt x="403" y="507"/>
                    </a:lnTo>
                    <a:lnTo>
                      <a:pt x="416" y="491"/>
                    </a:lnTo>
                    <a:lnTo>
                      <a:pt x="418" y="491"/>
                    </a:lnTo>
                    <a:lnTo>
                      <a:pt x="437" y="475"/>
                    </a:lnTo>
                    <a:lnTo>
                      <a:pt x="441" y="475"/>
                    </a:lnTo>
                    <a:lnTo>
                      <a:pt x="443" y="473"/>
                    </a:lnTo>
                    <a:lnTo>
                      <a:pt x="443" y="471"/>
                    </a:lnTo>
                    <a:lnTo>
                      <a:pt x="452" y="469"/>
                    </a:lnTo>
                    <a:lnTo>
                      <a:pt x="455" y="468"/>
                    </a:lnTo>
                    <a:lnTo>
                      <a:pt x="455" y="468"/>
                    </a:lnTo>
                    <a:lnTo>
                      <a:pt x="459" y="464"/>
                    </a:lnTo>
                    <a:lnTo>
                      <a:pt x="464" y="462"/>
                    </a:lnTo>
                    <a:lnTo>
                      <a:pt x="466" y="462"/>
                    </a:lnTo>
                    <a:lnTo>
                      <a:pt x="466" y="462"/>
                    </a:lnTo>
                    <a:lnTo>
                      <a:pt x="466" y="460"/>
                    </a:lnTo>
                    <a:lnTo>
                      <a:pt x="466" y="460"/>
                    </a:lnTo>
                    <a:lnTo>
                      <a:pt x="466" y="459"/>
                    </a:lnTo>
                    <a:lnTo>
                      <a:pt x="468" y="457"/>
                    </a:lnTo>
                    <a:lnTo>
                      <a:pt x="468" y="457"/>
                    </a:lnTo>
                    <a:lnTo>
                      <a:pt x="468" y="457"/>
                    </a:lnTo>
                    <a:lnTo>
                      <a:pt x="469" y="457"/>
                    </a:lnTo>
                    <a:lnTo>
                      <a:pt x="471" y="459"/>
                    </a:lnTo>
                    <a:lnTo>
                      <a:pt x="478" y="457"/>
                    </a:lnTo>
                    <a:lnTo>
                      <a:pt x="478" y="457"/>
                    </a:lnTo>
                    <a:lnTo>
                      <a:pt x="480" y="457"/>
                    </a:lnTo>
                    <a:lnTo>
                      <a:pt x="484" y="457"/>
                    </a:lnTo>
                    <a:lnTo>
                      <a:pt x="487" y="455"/>
                    </a:lnTo>
                    <a:lnTo>
                      <a:pt x="489" y="455"/>
                    </a:lnTo>
                    <a:lnTo>
                      <a:pt x="491" y="457"/>
                    </a:lnTo>
                    <a:lnTo>
                      <a:pt x="505" y="455"/>
                    </a:lnTo>
                    <a:lnTo>
                      <a:pt x="509" y="450"/>
                    </a:lnTo>
                    <a:lnTo>
                      <a:pt x="519" y="443"/>
                    </a:lnTo>
                    <a:lnTo>
                      <a:pt x="521" y="441"/>
                    </a:lnTo>
                    <a:lnTo>
                      <a:pt x="523" y="428"/>
                    </a:lnTo>
                    <a:lnTo>
                      <a:pt x="543" y="398"/>
                    </a:lnTo>
                    <a:lnTo>
                      <a:pt x="546" y="376"/>
                    </a:lnTo>
                    <a:lnTo>
                      <a:pt x="552" y="369"/>
                    </a:lnTo>
                    <a:lnTo>
                      <a:pt x="557" y="293"/>
                    </a:lnTo>
                    <a:lnTo>
                      <a:pt x="557" y="293"/>
                    </a:lnTo>
                    <a:lnTo>
                      <a:pt x="561" y="289"/>
                    </a:lnTo>
                    <a:lnTo>
                      <a:pt x="562" y="289"/>
                    </a:lnTo>
                    <a:lnTo>
                      <a:pt x="564" y="291"/>
                    </a:lnTo>
                    <a:lnTo>
                      <a:pt x="564" y="291"/>
                    </a:lnTo>
                    <a:lnTo>
                      <a:pt x="618" y="223"/>
                    </a:lnTo>
                    <a:lnTo>
                      <a:pt x="618" y="223"/>
                    </a:lnTo>
                    <a:lnTo>
                      <a:pt x="623" y="189"/>
                    </a:lnTo>
                    <a:lnTo>
                      <a:pt x="618" y="173"/>
                    </a:lnTo>
                    <a:lnTo>
                      <a:pt x="612" y="166"/>
                    </a:lnTo>
                    <a:lnTo>
                      <a:pt x="611" y="164"/>
                    </a:lnTo>
                    <a:lnTo>
                      <a:pt x="593" y="164"/>
                    </a:lnTo>
                    <a:lnTo>
                      <a:pt x="593" y="162"/>
                    </a:lnTo>
                    <a:lnTo>
                      <a:pt x="589" y="162"/>
                    </a:lnTo>
                    <a:lnTo>
                      <a:pt x="587" y="162"/>
                    </a:lnTo>
                    <a:lnTo>
                      <a:pt x="543" y="128"/>
                    </a:lnTo>
                    <a:lnTo>
                      <a:pt x="512" y="128"/>
                    </a:lnTo>
                    <a:lnTo>
                      <a:pt x="489" y="121"/>
                    </a:lnTo>
                    <a:lnTo>
                      <a:pt x="486" y="121"/>
                    </a:lnTo>
                    <a:lnTo>
                      <a:pt x="486" y="121"/>
                    </a:lnTo>
                    <a:lnTo>
                      <a:pt x="484" y="119"/>
                    </a:lnTo>
                    <a:lnTo>
                      <a:pt x="473" y="125"/>
                    </a:lnTo>
                    <a:lnTo>
                      <a:pt x="469" y="125"/>
                    </a:lnTo>
                    <a:lnTo>
                      <a:pt x="469" y="125"/>
                    </a:lnTo>
                    <a:lnTo>
                      <a:pt x="469" y="123"/>
                    </a:lnTo>
                    <a:lnTo>
                      <a:pt x="471" y="119"/>
                    </a:lnTo>
                    <a:lnTo>
                      <a:pt x="471" y="119"/>
                    </a:lnTo>
                    <a:lnTo>
                      <a:pt x="471" y="118"/>
                    </a:lnTo>
                    <a:lnTo>
                      <a:pt x="469" y="116"/>
                    </a:lnTo>
                    <a:lnTo>
                      <a:pt x="468" y="118"/>
                    </a:lnTo>
                    <a:lnTo>
                      <a:pt x="468" y="118"/>
                    </a:lnTo>
                    <a:lnTo>
                      <a:pt x="466" y="118"/>
                    </a:lnTo>
                    <a:lnTo>
                      <a:pt x="466" y="116"/>
                    </a:lnTo>
                    <a:lnTo>
                      <a:pt x="468" y="116"/>
                    </a:lnTo>
                    <a:lnTo>
                      <a:pt x="468" y="112"/>
                    </a:lnTo>
                    <a:lnTo>
                      <a:pt x="462" y="105"/>
                    </a:lnTo>
                    <a:lnTo>
                      <a:pt x="461" y="107"/>
                    </a:lnTo>
                    <a:lnTo>
                      <a:pt x="459" y="107"/>
                    </a:lnTo>
                    <a:lnTo>
                      <a:pt x="457" y="109"/>
                    </a:lnTo>
                    <a:lnTo>
                      <a:pt x="455" y="109"/>
                    </a:lnTo>
                    <a:lnTo>
                      <a:pt x="455" y="105"/>
                    </a:lnTo>
                    <a:lnTo>
                      <a:pt x="453" y="103"/>
                    </a:lnTo>
                    <a:lnTo>
                      <a:pt x="450" y="101"/>
                    </a:lnTo>
                    <a:lnTo>
                      <a:pt x="446" y="100"/>
                    </a:lnTo>
                    <a:lnTo>
                      <a:pt x="444" y="100"/>
                    </a:lnTo>
                    <a:lnTo>
                      <a:pt x="443" y="98"/>
                    </a:lnTo>
                    <a:lnTo>
                      <a:pt x="436" y="98"/>
                    </a:lnTo>
                    <a:lnTo>
                      <a:pt x="423" y="93"/>
                    </a:lnTo>
                    <a:lnTo>
                      <a:pt x="416" y="93"/>
                    </a:lnTo>
                    <a:lnTo>
                      <a:pt x="412" y="94"/>
                    </a:lnTo>
                    <a:lnTo>
                      <a:pt x="411" y="98"/>
                    </a:lnTo>
                    <a:lnTo>
                      <a:pt x="409" y="98"/>
                    </a:lnTo>
                    <a:lnTo>
                      <a:pt x="405" y="105"/>
                    </a:lnTo>
                    <a:lnTo>
                      <a:pt x="400" y="107"/>
                    </a:lnTo>
                    <a:lnTo>
                      <a:pt x="398" y="109"/>
                    </a:lnTo>
                    <a:lnTo>
                      <a:pt x="394" y="118"/>
                    </a:lnTo>
                    <a:lnTo>
                      <a:pt x="394" y="118"/>
                    </a:lnTo>
                    <a:lnTo>
                      <a:pt x="394" y="118"/>
                    </a:lnTo>
                    <a:lnTo>
                      <a:pt x="393" y="121"/>
                    </a:lnTo>
                    <a:lnTo>
                      <a:pt x="391" y="121"/>
                    </a:lnTo>
                    <a:lnTo>
                      <a:pt x="391" y="121"/>
                    </a:lnTo>
                    <a:lnTo>
                      <a:pt x="391" y="116"/>
                    </a:lnTo>
                    <a:lnTo>
                      <a:pt x="393" y="112"/>
                    </a:lnTo>
                    <a:lnTo>
                      <a:pt x="391" y="112"/>
                    </a:lnTo>
                    <a:lnTo>
                      <a:pt x="389" y="112"/>
                    </a:lnTo>
                    <a:lnTo>
                      <a:pt x="387" y="112"/>
                    </a:lnTo>
                    <a:lnTo>
                      <a:pt x="375" y="112"/>
                    </a:lnTo>
                    <a:lnTo>
                      <a:pt x="375" y="112"/>
                    </a:lnTo>
                    <a:lnTo>
                      <a:pt x="373" y="112"/>
                    </a:lnTo>
                    <a:lnTo>
                      <a:pt x="373" y="112"/>
                    </a:lnTo>
                    <a:lnTo>
                      <a:pt x="369" y="112"/>
                    </a:lnTo>
                    <a:lnTo>
                      <a:pt x="366" y="114"/>
                    </a:lnTo>
                    <a:lnTo>
                      <a:pt x="364" y="114"/>
                    </a:lnTo>
                    <a:lnTo>
                      <a:pt x="361" y="112"/>
                    </a:lnTo>
                    <a:lnTo>
                      <a:pt x="359" y="112"/>
                    </a:lnTo>
                    <a:lnTo>
                      <a:pt x="359" y="112"/>
                    </a:lnTo>
                    <a:lnTo>
                      <a:pt x="359" y="116"/>
                    </a:lnTo>
                    <a:lnTo>
                      <a:pt x="357" y="116"/>
                    </a:lnTo>
                    <a:lnTo>
                      <a:pt x="357" y="116"/>
                    </a:lnTo>
                    <a:lnTo>
                      <a:pt x="357" y="112"/>
                    </a:lnTo>
                    <a:lnTo>
                      <a:pt x="357" y="112"/>
                    </a:lnTo>
                    <a:lnTo>
                      <a:pt x="359" y="110"/>
                    </a:lnTo>
                    <a:lnTo>
                      <a:pt x="361" y="110"/>
                    </a:lnTo>
                    <a:lnTo>
                      <a:pt x="364" y="112"/>
                    </a:lnTo>
                    <a:lnTo>
                      <a:pt x="368" y="112"/>
                    </a:lnTo>
                    <a:lnTo>
                      <a:pt x="369" y="110"/>
                    </a:lnTo>
                    <a:lnTo>
                      <a:pt x="371" y="110"/>
                    </a:lnTo>
                    <a:lnTo>
                      <a:pt x="371" y="109"/>
                    </a:lnTo>
                    <a:lnTo>
                      <a:pt x="371" y="103"/>
                    </a:lnTo>
                    <a:lnTo>
                      <a:pt x="371" y="101"/>
                    </a:lnTo>
                    <a:lnTo>
                      <a:pt x="369" y="101"/>
                    </a:lnTo>
                    <a:lnTo>
                      <a:pt x="368" y="101"/>
                    </a:lnTo>
                    <a:lnTo>
                      <a:pt x="366" y="100"/>
                    </a:lnTo>
                    <a:lnTo>
                      <a:pt x="366" y="100"/>
                    </a:lnTo>
                    <a:lnTo>
                      <a:pt x="366" y="98"/>
                    </a:lnTo>
                    <a:lnTo>
                      <a:pt x="368" y="98"/>
                    </a:lnTo>
                    <a:lnTo>
                      <a:pt x="369" y="96"/>
                    </a:lnTo>
                    <a:lnTo>
                      <a:pt x="369" y="96"/>
                    </a:lnTo>
                    <a:lnTo>
                      <a:pt x="368" y="96"/>
                    </a:lnTo>
                    <a:lnTo>
                      <a:pt x="366" y="96"/>
                    </a:lnTo>
                    <a:lnTo>
                      <a:pt x="366" y="96"/>
                    </a:lnTo>
                    <a:lnTo>
                      <a:pt x="364" y="98"/>
                    </a:lnTo>
                    <a:lnTo>
                      <a:pt x="362" y="100"/>
                    </a:lnTo>
                    <a:lnTo>
                      <a:pt x="361" y="101"/>
                    </a:lnTo>
                    <a:lnTo>
                      <a:pt x="359" y="100"/>
                    </a:lnTo>
                    <a:lnTo>
                      <a:pt x="361" y="94"/>
                    </a:lnTo>
                    <a:lnTo>
                      <a:pt x="359" y="91"/>
                    </a:lnTo>
                    <a:lnTo>
                      <a:pt x="359" y="89"/>
                    </a:lnTo>
                    <a:lnTo>
                      <a:pt x="377" y="69"/>
                    </a:lnTo>
                    <a:lnTo>
                      <a:pt x="378" y="69"/>
                    </a:lnTo>
                    <a:lnTo>
                      <a:pt x="380" y="68"/>
                    </a:lnTo>
                    <a:lnTo>
                      <a:pt x="382" y="57"/>
                    </a:lnTo>
                    <a:lnTo>
                      <a:pt x="382" y="57"/>
                    </a:lnTo>
                    <a:lnTo>
                      <a:pt x="382" y="55"/>
                    </a:lnTo>
                    <a:lnTo>
                      <a:pt x="378" y="55"/>
                    </a:lnTo>
                    <a:lnTo>
                      <a:pt x="375" y="53"/>
                    </a:lnTo>
                    <a:lnTo>
                      <a:pt x="364" y="23"/>
                    </a:lnTo>
                    <a:lnTo>
                      <a:pt x="361" y="16"/>
                    </a:lnTo>
                    <a:lnTo>
                      <a:pt x="359" y="14"/>
                    </a:lnTo>
                    <a:lnTo>
                      <a:pt x="359" y="14"/>
                    </a:lnTo>
                    <a:lnTo>
                      <a:pt x="357" y="18"/>
                    </a:lnTo>
                    <a:lnTo>
                      <a:pt x="355" y="18"/>
                    </a:lnTo>
                    <a:lnTo>
                      <a:pt x="344" y="34"/>
                    </a:lnTo>
                    <a:lnTo>
                      <a:pt x="341" y="41"/>
                    </a:lnTo>
                    <a:lnTo>
                      <a:pt x="332" y="48"/>
                    </a:lnTo>
                    <a:lnTo>
                      <a:pt x="330" y="50"/>
                    </a:lnTo>
                    <a:lnTo>
                      <a:pt x="328" y="50"/>
                    </a:lnTo>
                    <a:lnTo>
                      <a:pt x="327" y="48"/>
                    </a:lnTo>
                    <a:lnTo>
                      <a:pt x="323" y="48"/>
                    </a:lnTo>
                    <a:lnTo>
                      <a:pt x="318" y="51"/>
                    </a:lnTo>
                    <a:lnTo>
                      <a:pt x="316" y="50"/>
                    </a:lnTo>
                    <a:lnTo>
                      <a:pt x="312" y="48"/>
                    </a:lnTo>
                    <a:lnTo>
                      <a:pt x="311" y="46"/>
                    </a:lnTo>
                    <a:lnTo>
                      <a:pt x="302" y="43"/>
                    </a:lnTo>
                    <a:lnTo>
                      <a:pt x="294" y="44"/>
                    </a:lnTo>
                    <a:lnTo>
                      <a:pt x="294" y="44"/>
                    </a:lnTo>
                    <a:lnTo>
                      <a:pt x="291" y="43"/>
                    </a:lnTo>
                    <a:lnTo>
                      <a:pt x="289" y="43"/>
                    </a:lnTo>
                    <a:lnTo>
                      <a:pt x="287" y="44"/>
                    </a:lnTo>
                    <a:lnTo>
                      <a:pt x="287" y="51"/>
                    </a:lnTo>
                    <a:lnTo>
                      <a:pt x="286" y="51"/>
                    </a:lnTo>
                    <a:lnTo>
                      <a:pt x="282" y="51"/>
                    </a:lnTo>
                    <a:lnTo>
                      <a:pt x="278" y="51"/>
                    </a:lnTo>
                    <a:lnTo>
                      <a:pt x="269" y="51"/>
                    </a:lnTo>
                    <a:lnTo>
                      <a:pt x="269" y="51"/>
                    </a:lnTo>
                    <a:lnTo>
                      <a:pt x="268" y="51"/>
                    </a:lnTo>
                    <a:lnTo>
                      <a:pt x="268" y="50"/>
                    </a:lnTo>
                    <a:lnTo>
                      <a:pt x="266" y="50"/>
                    </a:lnTo>
                    <a:lnTo>
                      <a:pt x="262" y="51"/>
                    </a:lnTo>
                    <a:lnTo>
                      <a:pt x="261" y="55"/>
                    </a:lnTo>
                    <a:lnTo>
                      <a:pt x="255" y="55"/>
                    </a:lnTo>
                    <a:lnTo>
                      <a:pt x="252" y="57"/>
                    </a:lnTo>
                    <a:lnTo>
                      <a:pt x="248" y="57"/>
                    </a:lnTo>
                    <a:lnTo>
                      <a:pt x="246" y="59"/>
                    </a:lnTo>
                    <a:lnTo>
                      <a:pt x="244" y="60"/>
                    </a:lnTo>
                    <a:lnTo>
                      <a:pt x="243" y="62"/>
                    </a:lnTo>
                    <a:lnTo>
                      <a:pt x="239" y="62"/>
                    </a:lnTo>
                    <a:lnTo>
                      <a:pt x="232" y="59"/>
                    </a:lnTo>
                    <a:lnTo>
                      <a:pt x="228" y="55"/>
                    </a:lnTo>
                    <a:lnTo>
                      <a:pt x="228" y="55"/>
                    </a:lnTo>
                    <a:lnTo>
                      <a:pt x="227" y="53"/>
                    </a:lnTo>
                    <a:lnTo>
                      <a:pt x="227" y="51"/>
                    </a:lnTo>
                    <a:lnTo>
                      <a:pt x="227" y="46"/>
                    </a:lnTo>
                    <a:lnTo>
                      <a:pt x="223" y="43"/>
                    </a:lnTo>
                    <a:lnTo>
                      <a:pt x="223" y="43"/>
                    </a:lnTo>
                    <a:lnTo>
                      <a:pt x="223" y="34"/>
                    </a:lnTo>
                    <a:lnTo>
                      <a:pt x="225" y="26"/>
                    </a:lnTo>
                    <a:lnTo>
                      <a:pt x="225" y="25"/>
                    </a:lnTo>
                    <a:lnTo>
                      <a:pt x="228" y="21"/>
                    </a:lnTo>
                    <a:lnTo>
                      <a:pt x="228" y="19"/>
                    </a:lnTo>
                    <a:lnTo>
                      <a:pt x="228" y="18"/>
                    </a:lnTo>
                    <a:lnTo>
                      <a:pt x="227" y="16"/>
                    </a:lnTo>
                    <a:lnTo>
                      <a:pt x="227" y="10"/>
                    </a:lnTo>
                    <a:lnTo>
                      <a:pt x="223" y="10"/>
                    </a:lnTo>
                    <a:lnTo>
                      <a:pt x="223" y="10"/>
                    </a:lnTo>
                    <a:lnTo>
                      <a:pt x="219" y="9"/>
                    </a:lnTo>
                    <a:lnTo>
                      <a:pt x="221" y="3"/>
                    </a:lnTo>
                    <a:lnTo>
                      <a:pt x="221" y="1"/>
                    </a:lnTo>
                    <a:lnTo>
                      <a:pt x="219" y="0"/>
                    </a:lnTo>
                    <a:lnTo>
                      <a:pt x="218" y="0"/>
                    </a:lnTo>
                    <a:lnTo>
                      <a:pt x="214" y="0"/>
                    </a:lnTo>
                    <a:lnTo>
                      <a:pt x="211"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80" name="Freeform 3336"/>
              <p:cNvSpPr>
                <a:spLocks/>
              </p:cNvSpPr>
              <p:nvPr/>
            </p:nvSpPr>
            <p:spPr bwMode="auto">
              <a:xfrm>
                <a:off x="1516" y="2631"/>
                <a:ext cx="623" cy="653"/>
              </a:xfrm>
              <a:custGeom>
                <a:avLst/>
                <a:gdLst>
                  <a:gd name="T0" fmla="*/ 193 w 623"/>
                  <a:gd name="T1" fmla="*/ 16 h 653"/>
                  <a:gd name="T2" fmla="*/ 145 w 623"/>
                  <a:gd name="T3" fmla="*/ 18 h 653"/>
                  <a:gd name="T4" fmla="*/ 166 w 623"/>
                  <a:gd name="T5" fmla="*/ 44 h 653"/>
                  <a:gd name="T6" fmla="*/ 155 w 623"/>
                  <a:gd name="T7" fmla="*/ 53 h 653"/>
                  <a:gd name="T8" fmla="*/ 130 w 623"/>
                  <a:gd name="T9" fmla="*/ 69 h 653"/>
                  <a:gd name="T10" fmla="*/ 105 w 623"/>
                  <a:gd name="T11" fmla="*/ 55 h 653"/>
                  <a:gd name="T12" fmla="*/ 87 w 623"/>
                  <a:gd name="T13" fmla="*/ 51 h 653"/>
                  <a:gd name="T14" fmla="*/ 64 w 623"/>
                  <a:gd name="T15" fmla="*/ 66 h 653"/>
                  <a:gd name="T16" fmla="*/ 71 w 623"/>
                  <a:gd name="T17" fmla="*/ 73 h 653"/>
                  <a:gd name="T18" fmla="*/ 66 w 623"/>
                  <a:gd name="T19" fmla="*/ 125 h 653"/>
                  <a:gd name="T20" fmla="*/ 12 w 623"/>
                  <a:gd name="T21" fmla="*/ 176 h 653"/>
                  <a:gd name="T22" fmla="*/ 3 w 623"/>
                  <a:gd name="T23" fmla="*/ 214 h 653"/>
                  <a:gd name="T24" fmla="*/ 25 w 623"/>
                  <a:gd name="T25" fmla="*/ 235 h 653"/>
                  <a:gd name="T26" fmla="*/ 53 w 623"/>
                  <a:gd name="T27" fmla="*/ 257 h 653"/>
                  <a:gd name="T28" fmla="*/ 73 w 623"/>
                  <a:gd name="T29" fmla="*/ 257 h 653"/>
                  <a:gd name="T30" fmla="*/ 134 w 623"/>
                  <a:gd name="T31" fmla="*/ 260 h 653"/>
                  <a:gd name="T32" fmla="*/ 171 w 623"/>
                  <a:gd name="T33" fmla="*/ 289 h 653"/>
                  <a:gd name="T34" fmla="*/ 216 w 623"/>
                  <a:gd name="T35" fmla="*/ 318 h 653"/>
                  <a:gd name="T36" fmla="*/ 244 w 623"/>
                  <a:gd name="T37" fmla="*/ 353 h 653"/>
                  <a:gd name="T38" fmla="*/ 253 w 623"/>
                  <a:gd name="T39" fmla="*/ 403 h 653"/>
                  <a:gd name="T40" fmla="*/ 253 w 623"/>
                  <a:gd name="T41" fmla="*/ 416 h 653"/>
                  <a:gd name="T42" fmla="*/ 287 w 623"/>
                  <a:gd name="T43" fmla="*/ 446 h 653"/>
                  <a:gd name="T44" fmla="*/ 309 w 623"/>
                  <a:gd name="T45" fmla="*/ 475 h 653"/>
                  <a:gd name="T46" fmla="*/ 312 w 623"/>
                  <a:gd name="T47" fmla="*/ 535 h 653"/>
                  <a:gd name="T48" fmla="*/ 259 w 623"/>
                  <a:gd name="T49" fmla="*/ 587 h 653"/>
                  <a:gd name="T50" fmla="*/ 286 w 623"/>
                  <a:gd name="T51" fmla="*/ 601 h 653"/>
                  <a:gd name="T52" fmla="*/ 303 w 623"/>
                  <a:gd name="T53" fmla="*/ 609 h 653"/>
                  <a:gd name="T54" fmla="*/ 328 w 623"/>
                  <a:gd name="T55" fmla="*/ 632 h 653"/>
                  <a:gd name="T56" fmla="*/ 325 w 623"/>
                  <a:gd name="T57" fmla="*/ 651 h 653"/>
                  <a:gd name="T58" fmla="*/ 393 w 623"/>
                  <a:gd name="T59" fmla="*/ 560 h 653"/>
                  <a:gd name="T60" fmla="*/ 402 w 623"/>
                  <a:gd name="T61" fmla="*/ 526 h 653"/>
                  <a:gd name="T62" fmla="*/ 416 w 623"/>
                  <a:gd name="T63" fmla="*/ 491 h 653"/>
                  <a:gd name="T64" fmla="*/ 455 w 623"/>
                  <a:gd name="T65" fmla="*/ 468 h 653"/>
                  <a:gd name="T66" fmla="*/ 468 w 623"/>
                  <a:gd name="T67" fmla="*/ 457 h 653"/>
                  <a:gd name="T68" fmla="*/ 484 w 623"/>
                  <a:gd name="T69" fmla="*/ 457 h 653"/>
                  <a:gd name="T70" fmla="*/ 523 w 623"/>
                  <a:gd name="T71" fmla="*/ 428 h 653"/>
                  <a:gd name="T72" fmla="*/ 564 w 623"/>
                  <a:gd name="T73" fmla="*/ 291 h 653"/>
                  <a:gd name="T74" fmla="*/ 593 w 623"/>
                  <a:gd name="T75" fmla="*/ 164 h 653"/>
                  <a:gd name="T76" fmla="*/ 486 w 623"/>
                  <a:gd name="T77" fmla="*/ 121 h 653"/>
                  <a:gd name="T78" fmla="*/ 471 w 623"/>
                  <a:gd name="T79" fmla="*/ 118 h 653"/>
                  <a:gd name="T80" fmla="*/ 462 w 623"/>
                  <a:gd name="T81" fmla="*/ 105 h 653"/>
                  <a:gd name="T82" fmla="*/ 446 w 623"/>
                  <a:gd name="T83" fmla="*/ 100 h 653"/>
                  <a:gd name="T84" fmla="*/ 409 w 623"/>
                  <a:gd name="T85" fmla="*/ 98 h 653"/>
                  <a:gd name="T86" fmla="*/ 391 w 623"/>
                  <a:gd name="T87" fmla="*/ 121 h 653"/>
                  <a:gd name="T88" fmla="*/ 375 w 623"/>
                  <a:gd name="T89" fmla="*/ 112 h 653"/>
                  <a:gd name="T90" fmla="*/ 359 w 623"/>
                  <a:gd name="T91" fmla="*/ 112 h 653"/>
                  <a:gd name="T92" fmla="*/ 364 w 623"/>
                  <a:gd name="T93" fmla="*/ 112 h 653"/>
                  <a:gd name="T94" fmla="*/ 368 w 623"/>
                  <a:gd name="T95" fmla="*/ 101 h 653"/>
                  <a:gd name="T96" fmla="*/ 366 w 623"/>
                  <a:gd name="T97" fmla="*/ 96 h 653"/>
                  <a:gd name="T98" fmla="*/ 359 w 623"/>
                  <a:gd name="T99" fmla="*/ 89 h 653"/>
                  <a:gd name="T100" fmla="*/ 375 w 623"/>
                  <a:gd name="T101" fmla="*/ 53 h 653"/>
                  <a:gd name="T102" fmla="*/ 341 w 623"/>
                  <a:gd name="T103" fmla="*/ 41 h 653"/>
                  <a:gd name="T104" fmla="*/ 312 w 623"/>
                  <a:gd name="T105" fmla="*/ 48 h 653"/>
                  <a:gd name="T106" fmla="*/ 287 w 623"/>
                  <a:gd name="T107" fmla="*/ 51 h 653"/>
                  <a:gd name="T108" fmla="*/ 266 w 623"/>
                  <a:gd name="T109" fmla="*/ 50 h 653"/>
                  <a:gd name="T110" fmla="*/ 243 w 623"/>
                  <a:gd name="T111" fmla="*/ 62 h 653"/>
                  <a:gd name="T112" fmla="*/ 223 w 623"/>
                  <a:gd name="T113" fmla="*/ 43 h 653"/>
                  <a:gd name="T114" fmla="*/ 227 w 623"/>
                  <a:gd name="T115" fmla="*/ 16 h 653"/>
                  <a:gd name="T116" fmla="*/ 218 w 623"/>
                  <a:gd name="T117" fmla="*/ 0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3" h="653">
                    <a:moveTo>
                      <a:pt x="211" y="0"/>
                    </a:moveTo>
                    <a:lnTo>
                      <a:pt x="211" y="3"/>
                    </a:lnTo>
                    <a:lnTo>
                      <a:pt x="205" y="9"/>
                    </a:lnTo>
                    <a:lnTo>
                      <a:pt x="205" y="10"/>
                    </a:lnTo>
                    <a:lnTo>
                      <a:pt x="200" y="10"/>
                    </a:lnTo>
                    <a:lnTo>
                      <a:pt x="196" y="12"/>
                    </a:lnTo>
                    <a:lnTo>
                      <a:pt x="195" y="14"/>
                    </a:lnTo>
                    <a:lnTo>
                      <a:pt x="193" y="16"/>
                    </a:lnTo>
                    <a:lnTo>
                      <a:pt x="173" y="19"/>
                    </a:lnTo>
                    <a:lnTo>
                      <a:pt x="173" y="21"/>
                    </a:lnTo>
                    <a:lnTo>
                      <a:pt x="173" y="21"/>
                    </a:lnTo>
                    <a:lnTo>
                      <a:pt x="166" y="21"/>
                    </a:lnTo>
                    <a:lnTo>
                      <a:pt x="146" y="14"/>
                    </a:lnTo>
                    <a:lnTo>
                      <a:pt x="145" y="14"/>
                    </a:lnTo>
                    <a:lnTo>
                      <a:pt x="145" y="14"/>
                    </a:lnTo>
                    <a:lnTo>
                      <a:pt x="145" y="18"/>
                    </a:lnTo>
                    <a:lnTo>
                      <a:pt x="146" y="19"/>
                    </a:lnTo>
                    <a:lnTo>
                      <a:pt x="152" y="23"/>
                    </a:lnTo>
                    <a:lnTo>
                      <a:pt x="153" y="23"/>
                    </a:lnTo>
                    <a:lnTo>
                      <a:pt x="152" y="34"/>
                    </a:lnTo>
                    <a:lnTo>
                      <a:pt x="153" y="44"/>
                    </a:lnTo>
                    <a:lnTo>
                      <a:pt x="159" y="44"/>
                    </a:lnTo>
                    <a:lnTo>
                      <a:pt x="159" y="44"/>
                    </a:lnTo>
                    <a:lnTo>
                      <a:pt x="166" y="44"/>
                    </a:lnTo>
                    <a:lnTo>
                      <a:pt x="166" y="46"/>
                    </a:lnTo>
                    <a:lnTo>
                      <a:pt x="166" y="48"/>
                    </a:lnTo>
                    <a:lnTo>
                      <a:pt x="162" y="48"/>
                    </a:lnTo>
                    <a:lnTo>
                      <a:pt x="161" y="50"/>
                    </a:lnTo>
                    <a:lnTo>
                      <a:pt x="161" y="50"/>
                    </a:lnTo>
                    <a:lnTo>
                      <a:pt x="159" y="51"/>
                    </a:lnTo>
                    <a:lnTo>
                      <a:pt x="157" y="51"/>
                    </a:lnTo>
                    <a:lnTo>
                      <a:pt x="155" y="53"/>
                    </a:lnTo>
                    <a:lnTo>
                      <a:pt x="153" y="57"/>
                    </a:lnTo>
                    <a:lnTo>
                      <a:pt x="152" y="59"/>
                    </a:lnTo>
                    <a:lnTo>
                      <a:pt x="150" y="59"/>
                    </a:lnTo>
                    <a:lnTo>
                      <a:pt x="150" y="59"/>
                    </a:lnTo>
                    <a:lnTo>
                      <a:pt x="146" y="60"/>
                    </a:lnTo>
                    <a:lnTo>
                      <a:pt x="146" y="62"/>
                    </a:lnTo>
                    <a:lnTo>
                      <a:pt x="134" y="66"/>
                    </a:lnTo>
                    <a:lnTo>
                      <a:pt x="130" y="69"/>
                    </a:lnTo>
                    <a:lnTo>
                      <a:pt x="120" y="71"/>
                    </a:lnTo>
                    <a:lnTo>
                      <a:pt x="120" y="69"/>
                    </a:lnTo>
                    <a:lnTo>
                      <a:pt x="118" y="69"/>
                    </a:lnTo>
                    <a:lnTo>
                      <a:pt x="114" y="66"/>
                    </a:lnTo>
                    <a:lnTo>
                      <a:pt x="111" y="62"/>
                    </a:lnTo>
                    <a:lnTo>
                      <a:pt x="111" y="62"/>
                    </a:lnTo>
                    <a:lnTo>
                      <a:pt x="107" y="64"/>
                    </a:lnTo>
                    <a:lnTo>
                      <a:pt x="105" y="55"/>
                    </a:lnTo>
                    <a:lnTo>
                      <a:pt x="102" y="50"/>
                    </a:lnTo>
                    <a:lnTo>
                      <a:pt x="98" y="50"/>
                    </a:lnTo>
                    <a:lnTo>
                      <a:pt x="93" y="53"/>
                    </a:lnTo>
                    <a:lnTo>
                      <a:pt x="93" y="53"/>
                    </a:lnTo>
                    <a:lnTo>
                      <a:pt x="91" y="51"/>
                    </a:lnTo>
                    <a:lnTo>
                      <a:pt x="89" y="51"/>
                    </a:lnTo>
                    <a:lnTo>
                      <a:pt x="89" y="51"/>
                    </a:lnTo>
                    <a:lnTo>
                      <a:pt x="87" y="51"/>
                    </a:lnTo>
                    <a:lnTo>
                      <a:pt x="87" y="53"/>
                    </a:lnTo>
                    <a:lnTo>
                      <a:pt x="87" y="55"/>
                    </a:lnTo>
                    <a:lnTo>
                      <a:pt x="62" y="55"/>
                    </a:lnTo>
                    <a:lnTo>
                      <a:pt x="62" y="55"/>
                    </a:lnTo>
                    <a:lnTo>
                      <a:pt x="62" y="64"/>
                    </a:lnTo>
                    <a:lnTo>
                      <a:pt x="62" y="64"/>
                    </a:lnTo>
                    <a:lnTo>
                      <a:pt x="62" y="64"/>
                    </a:lnTo>
                    <a:lnTo>
                      <a:pt x="64" y="66"/>
                    </a:lnTo>
                    <a:lnTo>
                      <a:pt x="64" y="66"/>
                    </a:lnTo>
                    <a:lnTo>
                      <a:pt x="68" y="66"/>
                    </a:lnTo>
                    <a:lnTo>
                      <a:pt x="68" y="66"/>
                    </a:lnTo>
                    <a:lnTo>
                      <a:pt x="71" y="66"/>
                    </a:lnTo>
                    <a:lnTo>
                      <a:pt x="73" y="68"/>
                    </a:lnTo>
                    <a:lnTo>
                      <a:pt x="73" y="73"/>
                    </a:lnTo>
                    <a:lnTo>
                      <a:pt x="73" y="73"/>
                    </a:lnTo>
                    <a:lnTo>
                      <a:pt x="71" y="73"/>
                    </a:lnTo>
                    <a:lnTo>
                      <a:pt x="71" y="73"/>
                    </a:lnTo>
                    <a:lnTo>
                      <a:pt x="71" y="73"/>
                    </a:lnTo>
                    <a:lnTo>
                      <a:pt x="68" y="71"/>
                    </a:lnTo>
                    <a:lnTo>
                      <a:pt x="59" y="75"/>
                    </a:lnTo>
                    <a:lnTo>
                      <a:pt x="59" y="85"/>
                    </a:lnTo>
                    <a:lnTo>
                      <a:pt x="68" y="94"/>
                    </a:lnTo>
                    <a:lnTo>
                      <a:pt x="70" y="103"/>
                    </a:lnTo>
                    <a:lnTo>
                      <a:pt x="66" y="125"/>
                    </a:lnTo>
                    <a:lnTo>
                      <a:pt x="66" y="126"/>
                    </a:lnTo>
                    <a:lnTo>
                      <a:pt x="62" y="137"/>
                    </a:lnTo>
                    <a:lnTo>
                      <a:pt x="62" y="137"/>
                    </a:lnTo>
                    <a:lnTo>
                      <a:pt x="61" y="148"/>
                    </a:lnTo>
                    <a:lnTo>
                      <a:pt x="59" y="150"/>
                    </a:lnTo>
                    <a:lnTo>
                      <a:pt x="53" y="150"/>
                    </a:lnTo>
                    <a:lnTo>
                      <a:pt x="23" y="160"/>
                    </a:lnTo>
                    <a:lnTo>
                      <a:pt x="12" y="176"/>
                    </a:lnTo>
                    <a:lnTo>
                      <a:pt x="11" y="178"/>
                    </a:lnTo>
                    <a:lnTo>
                      <a:pt x="11" y="187"/>
                    </a:lnTo>
                    <a:lnTo>
                      <a:pt x="5" y="187"/>
                    </a:lnTo>
                    <a:lnTo>
                      <a:pt x="5" y="189"/>
                    </a:lnTo>
                    <a:lnTo>
                      <a:pt x="0" y="201"/>
                    </a:lnTo>
                    <a:lnTo>
                      <a:pt x="0" y="203"/>
                    </a:lnTo>
                    <a:lnTo>
                      <a:pt x="3" y="210"/>
                    </a:lnTo>
                    <a:lnTo>
                      <a:pt x="3" y="214"/>
                    </a:lnTo>
                    <a:lnTo>
                      <a:pt x="11" y="223"/>
                    </a:lnTo>
                    <a:lnTo>
                      <a:pt x="14" y="225"/>
                    </a:lnTo>
                    <a:lnTo>
                      <a:pt x="14" y="228"/>
                    </a:lnTo>
                    <a:lnTo>
                      <a:pt x="12" y="230"/>
                    </a:lnTo>
                    <a:lnTo>
                      <a:pt x="12" y="232"/>
                    </a:lnTo>
                    <a:lnTo>
                      <a:pt x="21" y="234"/>
                    </a:lnTo>
                    <a:lnTo>
                      <a:pt x="23" y="234"/>
                    </a:lnTo>
                    <a:lnTo>
                      <a:pt x="25" y="235"/>
                    </a:lnTo>
                    <a:lnTo>
                      <a:pt x="25" y="239"/>
                    </a:lnTo>
                    <a:lnTo>
                      <a:pt x="27" y="239"/>
                    </a:lnTo>
                    <a:lnTo>
                      <a:pt x="30" y="241"/>
                    </a:lnTo>
                    <a:lnTo>
                      <a:pt x="37" y="241"/>
                    </a:lnTo>
                    <a:lnTo>
                      <a:pt x="52" y="230"/>
                    </a:lnTo>
                    <a:lnTo>
                      <a:pt x="52" y="230"/>
                    </a:lnTo>
                    <a:lnTo>
                      <a:pt x="52" y="257"/>
                    </a:lnTo>
                    <a:lnTo>
                      <a:pt x="53" y="257"/>
                    </a:lnTo>
                    <a:lnTo>
                      <a:pt x="55" y="259"/>
                    </a:lnTo>
                    <a:lnTo>
                      <a:pt x="59" y="259"/>
                    </a:lnTo>
                    <a:lnTo>
                      <a:pt x="59" y="259"/>
                    </a:lnTo>
                    <a:lnTo>
                      <a:pt x="61" y="257"/>
                    </a:lnTo>
                    <a:lnTo>
                      <a:pt x="66" y="257"/>
                    </a:lnTo>
                    <a:lnTo>
                      <a:pt x="66" y="255"/>
                    </a:lnTo>
                    <a:lnTo>
                      <a:pt x="68" y="255"/>
                    </a:lnTo>
                    <a:lnTo>
                      <a:pt x="73" y="257"/>
                    </a:lnTo>
                    <a:lnTo>
                      <a:pt x="86" y="259"/>
                    </a:lnTo>
                    <a:lnTo>
                      <a:pt x="100" y="251"/>
                    </a:lnTo>
                    <a:lnTo>
                      <a:pt x="112" y="239"/>
                    </a:lnTo>
                    <a:lnTo>
                      <a:pt x="132" y="235"/>
                    </a:lnTo>
                    <a:lnTo>
                      <a:pt x="134" y="237"/>
                    </a:lnTo>
                    <a:lnTo>
                      <a:pt x="136" y="239"/>
                    </a:lnTo>
                    <a:lnTo>
                      <a:pt x="136" y="257"/>
                    </a:lnTo>
                    <a:lnTo>
                      <a:pt x="134" y="260"/>
                    </a:lnTo>
                    <a:lnTo>
                      <a:pt x="134" y="262"/>
                    </a:lnTo>
                    <a:lnTo>
                      <a:pt x="136" y="269"/>
                    </a:lnTo>
                    <a:lnTo>
                      <a:pt x="137" y="273"/>
                    </a:lnTo>
                    <a:lnTo>
                      <a:pt x="148" y="280"/>
                    </a:lnTo>
                    <a:lnTo>
                      <a:pt x="168" y="284"/>
                    </a:lnTo>
                    <a:lnTo>
                      <a:pt x="168" y="285"/>
                    </a:lnTo>
                    <a:lnTo>
                      <a:pt x="170" y="285"/>
                    </a:lnTo>
                    <a:lnTo>
                      <a:pt x="171" y="289"/>
                    </a:lnTo>
                    <a:lnTo>
                      <a:pt x="186" y="293"/>
                    </a:lnTo>
                    <a:lnTo>
                      <a:pt x="191" y="298"/>
                    </a:lnTo>
                    <a:lnTo>
                      <a:pt x="202" y="298"/>
                    </a:lnTo>
                    <a:lnTo>
                      <a:pt x="209" y="303"/>
                    </a:lnTo>
                    <a:lnTo>
                      <a:pt x="212" y="310"/>
                    </a:lnTo>
                    <a:lnTo>
                      <a:pt x="212" y="314"/>
                    </a:lnTo>
                    <a:lnTo>
                      <a:pt x="214" y="316"/>
                    </a:lnTo>
                    <a:lnTo>
                      <a:pt x="216" y="318"/>
                    </a:lnTo>
                    <a:lnTo>
                      <a:pt x="214" y="325"/>
                    </a:lnTo>
                    <a:lnTo>
                      <a:pt x="212" y="326"/>
                    </a:lnTo>
                    <a:lnTo>
                      <a:pt x="212" y="328"/>
                    </a:lnTo>
                    <a:lnTo>
                      <a:pt x="218" y="343"/>
                    </a:lnTo>
                    <a:lnTo>
                      <a:pt x="244" y="344"/>
                    </a:lnTo>
                    <a:lnTo>
                      <a:pt x="246" y="346"/>
                    </a:lnTo>
                    <a:lnTo>
                      <a:pt x="246" y="348"/>
                    </a:lnTo>
                    <a:lnTo>
                      <a:pt x="244" y="353"/>
                    </a:lnTo>
                    <a:lnTo>
                      <a:pt x="246" y="360"/>
                    </a:lnTo>
                    <a:lnTo>
                      <a:pt x="252" y="362"/>
                    </a:lnTo>
                    <a:lnTo>
                      <a:pt x="252" y="362"/>
                    </a:lnTo>
                    <a:lnTo>
                      <a:pt x="257" y="375"/>
                    </a:lnTo>
                    <a:lnTo>
                      <a:pt x="257" y="391"/>
                    </a:lnTo>
                    <a:lnTo>
                      <a:pt x="253" y="398"/>
                    </a:lnTo>
                    <a:lnTo>
                      <a:pt x="253" y="401"/>
                    </a:lnTo>
                    <a:lnTo>
                      <a:pt x="253" y="403"/>
                    </a:lnTo>
                    <a:lnTo>
                      <a:pt x="253" y="407"/>
                    </a:lnTo>
                    <a:lnTo>
                      <a:pt x="253" y="407"/>
                    </a:lnTo>
                    <a:lnTo>
                      <a:pt x="252" y="409"/>
                    </a:lnTo>
                    <a:lnTo>
                      <a:pt x="252" y="409"/>
                    </a:lnTo>
                    <a:lnTo>
                      <a:pt x="250" y="410"/>
                    </a:lnTo>
                    <a:lnTo>
                      <a:pt x="250" y="410"/>
                    </a:lnTo>
                    <a:lnTo>
                      <a:pt x="253" y="414"/>
                    </a:lnTo>
                    <a:lnTo>
                      <a:pt x="253" y="416"/>
                    </a:lnTo>
                    <a:lnTo>
                      <a:pt x="253" y="439"/>
                    </a:lnTo>
                    <a:lnTo>
                      <a:pt x="255" y="441"/>
                    </a:lnTo>
                    <a:lnTo>
                      <a:pt x="262" y="444"/>
                    </a:lnTo>
                    <a:lnTo>
                      <a:pt x="275" y="444"/>
                    </a:lnTo>
                    <a:lnTo>
                      <a:pt x="277" y="444"/>
                    </a:lnTo>
                    <a:lnTo>
                      <a:pt x="278" y="443"/>
                    </a:lnTo>
                    <a:lnTo>
                      <a:pt x="280" y="444"/>
                    </a:lnTo>
                    <a:lnTo>
                      <a:pt x="287" y="446"/>
                    </a:lnTo>
                    <a:lnTo>
                      <a:pt x="289" y="450"/>
                    </a:lnTo>
                    <a:lnTo>
                      <a:pt x="291" y="469"/>
                    </a:lnTo>
                    <a:lnTo>
                      <a:pt x="293" y="471"/>
                    </a:lnTo>
                    <a:lnTo>
                      <a:pt x="296" y="475"/>
                    </a:lnTo>
                    <a:lnTo>
                      <a:pt x="300" y="475"/>
                    </a:lnTo>
                    <a:lnTo>
                      <a:pt x="302" y="473"/>
                    </a:lnTo>
                    <a:lnTo>
                      <a:pt x="309" y="473"/>
                    </a:lnTo>
                    <a:lnTo>
                      <a:pt x="309" y="475"/>
                    </a:lnTo>
                    <a:lnTo>
                      <a:pt x="311" y="476"/>
                    </a:lnTo>
                    <a:lnTo>
                      <a:pt x="309" y="503"/>
                    </a:lnTo>
                    <a:lnTo>
                      <a:pt x="316" y="501"/>
                    </a:lnTo>
                    <a:lnTo>
                      <a:pt x="318" y="505"/>
                    </a:lnTo>
                    <a:lnTo>
                      <a:pt x="321" y="516"/>
                    </a:lnTo>
                    <a:lnTo>
                      <a:pt x="321" y="528"/>
                    </a:lnTo>
                    <a:lnTo>
                      <a:pt x="319" y="530"/>
                    </a:lnTo>
                    <a:lnTo>
                      <a:pt x="312" y="535"/>
                    </a:lnTo>
                    <a:lnTo>
                      <a:pt x="305" y="537"/>
                    </a:lnTo>
                    <a:lnTo>
                      <a:pt x="287" y="555"/>
                    </a:lnTo>
                    <a:lnTo>
                      <a:pt x="286" y="557"/>
                    </a:lnTo>
                    <a:lnTo>
                      <a:pt x="278" y="566"/>
                    </a:lnTo>
                    <a:lnTo>
                      <a:pt x="278" y="568"/>
                    </a:lnTo>
                    <a:lnTo>
                      <a:pt x="264" y="582"/>
                    </a:lnTo>
                    <a:lnTo>
                      <a:pt x="264" y="582"/>
                    </a:lnTo>
                    <a:lnTo>
                      <a:pt x="259" y="587"/>
                    </a:lnTo>
                    <a:lnTo>
                      <a:pt x="264" y="587"/>
                    </a:lnTo>
                    <a:lnTo>
                      <a:pt x="266" y="587"/>
                    </a:lnTo>
                    <a:lnTo>
                      <a:pt x="266" y="585"/>
                    </a:lnTo>
                    <a:lnTo>
                      <a:pt x="268" y="584"/>
                    </a:lnTo>
                    <a:lnTo>
                      <a:pt x="269" y="584"/>
                    </a:lnTo>
                    <a:lnTo>
                      <a:pt x="282" y="594"/>
                    </a:lnTo>
                    <a:lnTo>
                      <a:pt x="284" y="601"/>
                    </a:lnTo>
                    <a:lnTo>
                      <a:pt x="286" y="601"/>
                    </a:lnTo>
                    <a:lnTo>
                      <a:pt x="287" y="601"/>
                    </a:lnTo>
                    <a:lnTo>
                      <a:pt x="291" y="598"/>
                    </a:lnTo>
                    <a:lnTo>
                      <a:pt x="293" y="600"/>
                    </a:lnTo>
                    <a:lnTo>
                      <a:pt x="294" y="603"/>
                    </a:lnTo>
                    <a:lnTo>
                      <a:pt x="298" y="607"/>
                    </a:lnTo>
                    <a:lnTo>
                      <a:pt x="298" y="607"/>
                    </a:lnTo>
                    <a:lnTo>
                      <a:pt x="302" y="607"/>
                    </a:lnTo>
                    <a:lnTo>
                      <a:pt x="303" y="609"/>
                    </a:lnTo>
                    <a:lnTo>
                      <a:pt x="307" y="610"/>
                    </a:lnTo>
                    <a:lnTo>
                      <a:pt x="307" y="610"/>
                    </a:lnTo>
                    <a:lnTo>
                      <a:pt x="309" y="614"/>
                    </a:lnTo>
                    <a:lnTo>
                      <a:pt x="311" y="616"/>
                    </a:lnTo>
                    <a:lnTo>
                      <a:pt x="319" y="619"/>
                    </a:lnTo>
                    <a:lnTo>
                      <a:pt x="321" y="621"/>
                    </a:lnTo>
                    <a:lnTo>
                      <a:pt x="323" y="628"/>
                    </a:lnTo>
                    <a:lnTo>
                      <a:pt x="328" y="632"/>
                    </a:lnTo>
                    <a:lnTo>
                      <a:pt x="330" y="634"/>
                    </a:lnTo>
                    <a:lnTo>
                      <a:pt x="330" y="635"/>
                    </a:lnTo>
                    <a:lnTo>
                      <a:pt x="328" y="635"/>
                    </a:lnTo>
                    <a:lnTo>
                      <a:pt x="327" y="637"/>
                    </a:lnTo>
                    <a:lnTo>
                      <a:pt x="327" y="637"/>
                    </a:lnTo>
                    <a:lnTo>
                      <a:pt x="325" y="643"/>
                    </a:lnTo>
                    <a:lnTo>
                      <a:pt x="323" y="651"/>
                    </a:lnTo>
                    <a:lnTo>
                      <a:pt x="325" y="651"/>
                    </a:lnTo>
                    <a:lnTo>
                      <a:pt x="325" y="653"/>
                    </a:lnTo>
                    <a:lnTo>
                      <a:pt x="325" y="651"/>
                    </a:lnTo>
                    <a:lnTo>
                      <a:pt x="327" y="650"/>
                    </a:lnTo>
                    <a:lnTo>
                      <a:pt x="334" y="646"/>
                    </a:lnTo>
                    <a:lnTo>
                      <a:pt x="339" y="635"/>
                    </a:lnTo>
                    <a:lnTo>
                      <a:pt x="343" y="626"/>
                    </a:lnTo>
                    <a:lnTo>
                      <a:pt x="361" y="612"/>
                    </a:lnTo>
                    <a:lnTo>
                      <a:pt x="393" y="560"/>
                    </a:lnTo>
                    <a:lnTo>
                      <a:pt x="398" y="559"/>
                    </a:lnTo>
                    <a:lnTo>
                      <a:pt x="398" y="553"/>
                    </a:lnTo>
                    <a:lnTo>
                      <a:pt x="402" y="551"/>
                    </a:lnTo>
                    <a:lnTo>
                      <a:pt x="403" y="534"/>
                    </a:lnTo>
                    <a:lnTo>
                      <a:pt x="403" y="534"/>
                    </a:lnTo>
                    <a:lnTo>
                      <a:pt x="405" y="532"/>
                    </a:lnTo>
                    <a:lnTo>
                      <a:pt x="405" y="532"/>
                    </a:lnTo>
                    <a:lnTo>
                      <a:pt x="402" y="526"/>
                    </a:lnTo>
                    <a:lnTo>
                      <a:pt x="403" y="523"/>
                    </a:lnTo>
                    <a:lnTo>
                      <a:pt x="402" y="521"/>
                    </a:lnTo>
                    <a:lnTo>
                      <a:pt x="402" y="518"/>
                    </a:lnTo>
                    <a:lnTo>
                      <a:pt x="402" y="516"/>
                    </a:lnTo>
                    <a:lnTo>
                      <a:pt x="402" y="512"/>
                    </a:lnTo>
                    <a:lnTo>
                      <a:pt x="402" y="512"/>
                    </a:lnTo>
                    <a:lnTo>
                      <a:pt x="403" y="507"/>
                    </a:lnTo>
                    <a:lnTo>
                      <a:pt x="416" y="491"/>
                    </a:lnTo>
                    <a:lnTo>
                      <a:pt x="418" y="491"/>
                    </a:lnTo>
                    <a:lnTo>
                      <a:pt x="437" y="475"/>
                    </a:lnTo>
                    <a:lnTo>
                      <a:pt x="441" y="475"/>
                    </a:lnTo>
                    <a:lnTo>
                      <a:pt x="443" y="473"/>
                    </a:lnTo>
                    <a:lnTo>
                      <a:pt x="443" y="471"/>
                    </a:lnTo>
                    <a:lnTo>
                      <a:pt x="452" y="469"/>
                    </a:lnTo>
                    <a:lnTo>
                      <a:pt x="455" y="468"/>
                    </a:lnTo>
                    <a:lnTo>
                      <a:pt x="455" y="468"/>
                    </a:lnTo>
                    <a:lnTo>
                      <a:pt x="459" y="464"/>
                    </a:lnTo>
                    <a:lnTo>
                      <a:pt x="464" y="462"/>
                    </a:lnTo>
                    <a:lnTo>
                      <a:pt x="466" y="462"/>
                    </a:lnTo>
                    <a:lnTo>
                      <a:pt x="466" y="462"/>
                    </a:lnTo>
                    <a:lnTo>
                      <a:pt x="466" y="460"/>
                    </a:lnTo>
                    <a:lnTo>
                      <a:pt x="466" y="460"/>
                    </a:lnTo>
                    <a:lnTo>
                      <a:pt x="466" y="459"/>
                    </a:lnTo>
                    <a:lnTo>
                      <a:pt x="468" y="457"/>
                    </a:lnTo>
                    <a:lnTo>
                      <a:pt x="468" y="457"/>
                    </a:lnTo>
                    <a:lnTo>
                      <a:pt x="468" y="457"/>
                    </a:lnTo>
                    <a:lnTo>
                      <a:pt x="469" y="457"/>
                    </a:lnTo>
                    <a:lnTo>
                      <a:pt x="471" y="459"/>
                    </a:lnTo>
                    <a:lnTo>
                      <a:pt x="478" y="457"/>
                    </a:lnTo>
                    <a:lnTo>
                      <a:pt x="478" y="457"/>
                    </a:lnTo>
                    <a:lnTo>
                      <a:pt x="480" y="457"/>
                    </a:lnTo>
                    <a:lnTo>
                      <a:pt x="484" y="457"/>
                    </a:lnTo>
                    <a:lnTo>
                      <a:pt x="487" y="455"/>
                    </a:lnTo>
                    <a:lnTo>
                      <a:pt x="489" y="455"/>
                    </a:lnTo>
                    <a:lnTo>
                      <a:pt x="491" y="457"/>
                    </a:lnTo>
                    <a:lnTo>
                      <a:pt x="505" y="455"/>
                    </a:lnTo>
                    <a:lnTo>
                      <a:pt x="509" y="450"/>
                    </a:lnTo>
                    <a:lnTo>
                      <a:pt x="519" y="443"/>
                    </a:lnTo>
                    <a:lnTo>
                      <a:pt x="521" y="441"/>
                    </a:lnTo>
                    <a:lnTo>
                      <a:pt x="523" y="428"/>
                    </a:lnTo>
                    <a:lnTo>
                      <a:pt x="543" y="398"/>
                    </a:lnTo>
                    <a:lnTo>
                      <a:pt x="546" y="376"/>
                    </a:lnTo>
                    <a:lnTo>
                      <a:pt x="552" y="369"/>
                    </a:lnTo>
                    <a:lnTo>
                      <a:pt x="557" y="293"/>
                    </a:lnTo>
                    <a:lnTo>
                      <a:pt x="557" y="293"/>
                    </a:lnTo>
                    <a:lnTo>
                      <a:pt x="561" y="289"/>
                    </a:lnTo>
                    <a:lnTo>
                      <a:pt x="562" y="289"/>
                    </a:lnTo>
                    <a:lnTo>
                      <a:pt x="564" y="291"/>
                    </a:lnTo>
                    <a:lnTo>
                      <a:pt x="564" y="291"/>
                    </a:lnTo>
                    <a:lnTo>
                      <a:pt x="618" y="223"/>
                    </a:lnTo>
                    <a:lnTo>
                      <a:pt x="618" y="223"/>
                    </a:lnTo>
                    <a:lnTo>
                      <a:pt x="623" y="189"/>
                    </a:lnTo>
                    <a:lnTo>
                      <a:pt x="618" y="173"/>
                    </a:lnTo>
                    <a:lnTo>
                      <a:pt x="612" y="166"/>
                    </a:lnTo>
                    <a:lnTo>
                      <a:pt x="611" y="164"/>
                    </a:lnTo>
                    <a:lnTo>
                      <a:pt x="593" y="164"/>
                    </a:lnTo>
                    <a:lnTo>
                      <a:pt x="593" y="162"/>
                    </a:lnTo>
                    <a:lnTo>
                      <a:pt x="589" y="162"/>
                    </a:lnTo>
                    <a:lnTo>
                      <a:pt x="587" y="162"/>
                    </a:lnTo>
                    <a:lnTo>
                      <a:pt x="543" y="128"/>
                    </a:lnTo>
                    <a:lnTo>
                      <a:pt x="512" y="128"/>
                    </a:lnTo>
                    <a:lnTo>
                      <a:pt x="489" y="121"/>
                    </a:lnTo>
                    <a:lnTo>
                      <a:pt x="486" y="121"/>
                    </a:lnTo>
                    <a:lnTo>
                      <a:pt x="486" y="121"/>
                    </a:lnTo>
                    <a:lnTo>
                      <a:pt x="484" y="119"/>
                    </a:lnTo>
                    <a:lnTo>
                      <a:pt x="473" y="125"/>
                    </a:lnTo>
                    <a:lnTo>
                      <a:pt x="469" y="125"/>
                    </a:lnTo>
                    <a:lnTo>
                      <a:pt x="469" y="125"/>
                    </a:lnTo>
                    <a:lnTo>
                      <a:pt x="469" y="123"/>
                    </a:lnTo>
                    <a:lnTo>
                      <a:pt x="471" y="119"/>
                    </a:lnTo>
                    <a:lnTo>
                      <a:pt x="471" y="119"/>
                    </a:lnTo>
                    <a:lnTo>
                      <a:pt x="471" y="118"/>
                    </a:lnTo>
                    <a:lnTo>
                      <a:pt x="469" y="116"/>
                    </a:lnTo>
                    <a:lnTo>
                      <a:pt x="468" y="118"/>
                    </a:lnTo>
                    <a:lnTo>
                      <a:pt x="468" y="118"/>
                    </a:lnTo>
                    <a:lnTo>
                      <a:pt x="466" y="118"/>
                    </a:lnTo>
                    <a:lnTo>
                      <a:pt x="466" y="116"/>
                    </a:lnTo>
                    <a:lnTo>
                      <a:pt x="468" y="116"/>
                    </a:lnTo>
                    <a:lnTo>
                      <a:pt x="468" y="112"/>
                    </a:lnTo>
                    <a:lnTo>
                      <a:pt x="462" y="105"/>
                    </a:lnTo>
                    <a:lnTo>
                      <a:pt x="461" y="107"/>
                    </a:lnTo>
                    <a:lnTo>
                      <a:pt x="459" y="107"/>
                    </a:lnTo>
                    <a:lnTo>
                      <a:pt x="457" y="109"/>
                    </a:lnTo>
                    <a:lnTo>
                      <a:pt x="455" y="109"/>
                    </a:lnTo>
                    <a:lnTo>
                      <a:pt x="455" y="105"/>
                    </a:lnTo>
                    <a:lnTo>
                      <a:pt x="453" y="103"/>
                    </a:lnTo>
                    <a:lnTo>
                      <a:pt x="450" y="101"/>
                    </a:lnTo>
                    <a:lnTo>
                      <a:pt x="446" y="100"/>
                    </a:lnTo>
                    <a:lnTo>
                      <a:pt x="444" y="100"/>
                    </a:lnTo>
                    <a:lnTo>
                      <a:pt x="443" y="98"/>
                    </a:lnTo>
                    <a:lnTo>
                      <a:pt x="436" y="98"/>
                    </a:lnTo>
                    <a:lnTo>
                      <a:pt x="423" y="93"/>
                    </a:lnTo>
                    <a:lnTo>
                      <a:pt x="416" y="93"/>
                    </a:lnTo>
                    <a:lnTo>
                      <a:pt x="412" y="94"/>
                    </a:lnTo>
                    <a:lnTo>
                      <a:pt x="411" y="98"/>
                    </a:lnTo>
                    <a:lnTo>
                      <a:pt x="409" y="98"/>
                    </a:lnTo>
                    <a:lnTo>
                      <a:pt x="405" y="105"/>
                    </a:lnTo>
                    <a:lnTo>
                      <a:pt x="400" y="107"/>
                    </a:lnTo>
                    <a:lnTo>
                      <a:pt x="398" y="109"/>
                    </a:lnTo>
                    <a:lnTo>
                      <a:pt x="394" y="118"/>
                    </a:lnTo>
                    <a:lnTo>
                      <a:pt x="394" y="118"/>
                    </a:lnTo>
                    <a:lnTo>
                      <a:pt x="394" y="118"/>
                    </a:lnTo>
                    <a:lnTo>
                      <a:pt x="393" y="121"/>
                    </a:lnTo>
                    <a:lnTo>
                      <a:pt x="391" y="121"/>
                    </a:lnTo>
                    <a:lnTo>
                      <a:pt x="391" y="121"/>
                    </a:lnTo>
                    <a:lnTo>
                      <a:pt x="391" y="116"/>
                    </a:lnTo>
                    <a:lnTo>
                      <a:pt x="393" y="112"/>
                    </a:lnTo>
                    <a:lnTo>
                      <a:pt x="391" y="112"/>
                    </a:lnTo>
                    <a:lnTo>
                      <a:pt x="389" y="112"/>
                    </a:lnTo>
                    <a:lnTo>
                      <a:pt x="387" y="112"/>
                    </a:lnTo>
                    <a:lnTo>
                      <a:pt x="375" y="112"/>
                    </a:lnTo>
                    <a:lnTo>
                      <a:pt x="375" y="112"/>
                    </a:lnTo>
                    <a:lnTo>
                      <a:pt x="373" y="112"/>
                    </a:lnTo>
                    <a:lnTo>
                      <a:pt x="373" y="112"/>
                    </a:lnTo>
                    <a:lnTo>
                      <a:pt x="369" y="112"/>
                    </a:lnTo>
                    <a:lnTo>
                      <a:pt x="366" y="114"/>
                    </a:lnTo>
                    <a:lnTo>
                      <a:pt x="364" y="114"/>
                    </a:lnTo>
                    <a:lnTo>
                      <a:pt x="361" y="112"/>
                    </a:lnTo>
                    <a:lnTo>
                      <a:pt x="359" y="112"/>
                    </a:lnTo>
                    <a:lnTo>
                      <a:pt x="359" y="112"/>
                    </a:lnTo>
                    <a:lnTo>
                      <a:pt x="359" y="116"/>
                    </a:lnTo>
                    <a:lnTo>
                      <a:pt x="357" y="116"/>
                    </a:lnTo>
                    <a:lnTo>
                      <a:pt x="357" y="116"/>
                    </a:lnTo>
                    <a:lnTo>
                      <a:pt x="357" y="112"/>
                    </a:lnTo>
                    <a:lnTo>
                      <a:pt x="357" y="112"/>
                    </a:lnTo>
                    <a:lnTo>
                      <a:pt x="359" y="110"/>
                    </a:lnTo>
                    <a:lnTo>
                      <a:pt x="361" y="110"/>
                    </a:lnTo>
                    <a:lnTo>
                      <a:pt x="364" y="112"/>
                    </a:lnTo>
                    <a:lnTo>
                      <a:pt x="368" y="112"/>
                    </a:lnTo>
                    <a:lnTo>
                      <a:pt x="369" y="110"/>
                    </a:lnTo>
                    <a:lnTo>
                      <a:pt x="371" y="110"/>
                    </a:lnTo>
                    <a:lnTo>
                      <a:pt x="371" y="109"/>
                    </a:lnTo>
                    <a:lnTo>
                      <a:pt x="371" y="103"/>
                    </a:lnTo>
                    <a:lnTo>
                      <a:pt x="371" y="101"/>
                    </a:lnTo>
                    <a:lnTo>
                      <a:pt x="369" y="101"/>
                    </a:lnTo>
                    <a:lnTo>
                      <a:pt x="368" y="101"/>
                    </a:lnTo>
                    <a:lnTo>
                      <a:pt x="366" y="100"/>
                    </a:lnTo>
                    <a:lnTo>
                      <a:pt x="366" y="100"/>
                    </a:lnTo>
                    <a:lnTo>
                      <a:pt x="366" y="98"/>
                    </a:lnTo>
                    <a:lnTo>
                      <a:pt x="368" y="98"/>
                    </a:lnTo>
                    <a:lnTo>
                      <a:pt x="369" y="96"/>
                    </a:lnTo>
                    <a:lnTo>
                      <a:pt x="369" y="96"/>
                    </a:lnTo>
                    <a:lnTo>
                      <a:pt x="368" y="96"/>
                    </a:lnTo>
                    <a:lnTo>
                      <a:pt x="366" y="96"/>
                    </a:lnTo>
                    <a:lnTo>
                      <a:pt x="366" y="96"/>
                    </a:lnTo>
                    <a:lnTo>
                      <a:pt x="364" y="98"/>
                    </a:lnTo>
                    <a:lnTo>
                      <a:pt x="362" y="100"/>
                    </a:lnTo>
                    <a:lnTo>
                      <a:pt x="361" y="101"/>
                    </a:lnTo>
                    <a:lnTo>
                      <a:pt x="359" y="100"/>
                    </a:lnTo>
                    <a:lnTo>
                      <a:pt x="361" y="94"/>
                    </a:lnTo>
                    <a:lnTo>
                      <a:pt x="359" y="91"/>
                    </a:lnTo>
                    <a:lnTo>
                      <a:pt x="359" y="89"/>
                    </a:lnTo>
                    <a:lnTo>
                      <a:pt x="377" y="69"/>
                    </a:lnTo>
                    <a:lnTo>
                      <a:pt x="378" y="69"/>
                    </a:lnTo>
                    <a:lnTo>
                      <a:pt x="380" y="68"/>
                    </a:lnTo>
                    <a:lnTo>
                      <a:pt x="382" y="57"/>
                    </a:lnTo>
                    <a:lnTo>
                      <a:pt x="382" y="57"/>
                    </a:lnTo>
                    <a:lnTo>
                      <a:pt x="382" y="55"/>
                    </a:lnTo>
                    <a:lnTo>
                      <a:pt x="378" y="55"/>
                    </a:lnTo>
                    <a:lnTo>
                      <a:pt x="375" y="53"/>
                    </a:lnTo>
                    <a:lnTo>
                      <a:pt x="364" y="23"/>
                    </a:lnTo>
                    <a:lnTo>
                      <a:pt x="361" y="16"/>
                    </a:lnTo>
                    <a:lnTo>
                      <a:pt x="359" y="14"/>
                    </a:lnTo>
                    <a:lnTo>
                      <a:pt x="359" y="14"/>
                    </a:lnTo>
                    <a:lnTo>
                      <a:pt x="357" y="18"/>
                    </a:lnTo>
                    <a:lnTo>
                      <a:pt x="355" y="18"/>
                    </a:lnTo>
                    <a:lnTo>
                      <a:pt x="344" y="34"/>
                    </a:lnTo>
                    <a:lnTo>
                      <a:pt x="341" y="41"/>
                    </a:lnTo>
                    <a:lnTo>
                      <a:pt x="332" y="48"/>
                    </a:lnTo>
                    <a:lnTo>
                      <a:pt x="330" y="50"/>
                    </a:lnTo>
                    <a:lnTo>
                      <a:pt x="328" y="50"/>
                    </a:lnTo>
                    <a:lnTo>
                      <a:pt x="327" y="48"/>
                    </a:lnTo>
                    <a:lnTo>
                      <a:pt x="323" y="48"/>
                    </a:lnTo>
                    <a:lnTo>
                      <a:pt x="318" y="51"/>
                    </a:lnTo>
                    <a:lnTo>
                      <a:pt x="316" y="50"/>
                    </a:lnTo>
                    <a:lnTo>
                      <a:pt x="312" y="48"/>
                    </a:lnTo>
                    <a:lnTo>
                      <a:pt x="311" y="46"/>
                    </a:lnTo>
                    <a:lnTo>
                      <a:pt x="302" y="43"/>
                    </a:lnTo>
                    <a:lnTo>
                      <a:pt x="294" y="44"/>
                    </a:lnTo>
                    <a:lnTo>
                      <a:pt x="294" y="44"/>
                    </a:lnTo>
                    <a:lnTo>
                      <a:pt x="291" y="43"/>
                    </a:lnTo>
                    <a:lnTo>
                      <a:pt x="289" y="43"/>
                    </a:lnTo>
                    <a:lnTo>
                      <a:pt x="287" y="44"/>
                    </a:lnTo>
                    <a:lnTo>
                      <a:pt x="287" y="51"/>
                    </a:lnTo>
                    <a:lnTo>
                      <a:pt x="286" y="51"/>
                    </a:lnTo>
                    <a:lnTo>
                      <a:pt x="282" y="51"/>
                    </a:lnTo>
                    <a:lnTo>
                      <a:pt x="278" y="51"/>
                    </a:lnTo>
                    <a:lnTo>
                      <a:pt x="269" y="51"/>
                    </a:lnTo>
                    <a:lnTo>
                      <a:pt x="269" y="51"/>
                    </a:lnTo>
                    <a:lnTo>
                      <a:pt x="268" y="51"/>
                    </a:lnTo>
                    <a:lnTo>
                      <a:pt x="268" y="50"/>
                    </a:lnTo>
                    <a:lnTo>
                      <a:pt x="266" y="50"/>
                    </a:lnTo>
                    <a:lnTo>
                      <a:pt x="262" y="51"/>
                    </a:lnTo>
                    <a:lnTo>
                      <a:pt x="261" y="55"/>
                    </a:lnTo>
                    <a:lnTo>
                      <a:pt x="255" y="55"/>
                    </a:lnTo>
                    <a:lnTo>
                      <a:pt x="252" y="57"/>
                    </a:lnTo>
                    <a:lnTo>
                      <a:pt x="248" y="57"/>
                    </a:lnTo>
                    <a:lnTo>
                      <a:pt x="246" y="59"/>
                    </a:lnTo>
                    <a:lnTo>
                      <a:pt x="244" y="60"/>
                    </a:lnTo>
                    <a:lnTo>
                      <a:pt x="243" y="62"/>
                    </a:lnTo>
                    <a:lnTo>
                      <a:pt x="239" y="62"/>
                    </a:lnTo>
                    <a:lnTo>
                      <a:pt x="232" y="59"/>
                    </a:lnTo>
                    <a:lnTo>
                      <a:pt x="228" y="55"/>
                    </a:lnTo>
                    <a:lnTo>
                      <a:pt x="228" y="55"/>
                    </a:lnTo>
                    <a:lnTo>
                      <a:pt x="227" y="53"/>
                    </a:lnTo>
                    <a:lnTo>
                      <a:pt x="227" y="51"/>
                    </a:lnTo>
                    <a:lnTo>
                      <a:pt x="227" y="46"/>
                    </a:lnTo>
                    <a:lnTo>
                      <a:pt x="223" y="43"/>
                    </a:lnTo>
                    <a:lnTo>
                      <a:pt x="223" y="43"/>
                    </a:lnTo>
                    <a:lnTo>
                      <a:pt x="223" y="34"/>
                    </a:lnTo>
                    <a:lnTo>
                      <a:pt x="225" y="26"/>
                    </a:lnTo>
                    <a:lnTo>
                      <a:pt x="225" y="25"/>
                    </a:lnTo>
                    <a:lnTo>
                      <a:pt x="228" y="21"/>
                    </a:lnTo>
                    <a:lnTo>
                      <a:pt x="228" y="19"/>
                    </a:lnTo>
                    <a:lnTo>
                      <a:pt x="228" y="18"/>
                    </a:lnTo>
                    <a:lnTo>
                      <a:pt x="227" y="16"/>
                    </a:lnTo>
                    <a:lnTo>
                      <a:pt x="227" y="10"/>
                    </a:lnTo>
                    <a:lnTo>
                      <a:pt x="223" y="10"/>
                    </a:lnTo>
                    <a:lnTo>
                      <a:pt x="223" y="10"/>
                    </a:lnTo>
                    <a:lnTo>
                      <a:pt x="219" y="9"/>
                    </a:lnTo>
                    <a:lnTo>
                      <a:pt x="221" y="3"/>
                    </a:lnTo>
                    <a:lnTo>
                      <a:pt x="221" y="1"/>
                    </a:lnTo>
                    <a:lnTo>
                      <a:pt x="219" y="0"/>
                    </a:lnTo>
                    <a:lnTo>
                      <a:pt x="218" y="0"/>
                    </a:lnTo>
                    <a:lnTo>
                      <a:pt x="214" y="0"/>
                    </a:lnTo>
                    <a:lnTo>
                      <a:pt x="211"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81" name="Freeform 3337"/>
              <p:cNvSpPr>
                <a:spLocks/>
              </p:cNvSpPr>
              <p:nvPr/>
            </p:nvSpPr>
            <p:spPr bwMode="auto">
              <a:xfrm>
                <a:off x="1621" y="2413"/>
                <a:ext cx="23" cy="9"/>
              </a:xfrm>
              <a:custGeom>
                <a:avLst/>
                <a:gdLst>
                  <a:gd name="T0" fmla="*/ 22 w 23"/>
                  <a:gd name="T1" fmla="*/ 2 h 9"/>
                  <a:gd name="T2" fmla="*/ 23 w 23"/>
                  <a:gd name="T3" fmla="*/ 3 h 9"/>
                  <a:gd name="T4" fmla="*/ 23 w 23"/>
                  <a:gd name="T5" fmla="*/ 5 h 9"/>
                  <a:gd name="T6" fmla="*/ 20 w 23"/>
                  <a:gd name="T7" fmla="*/ 9 h 9"/>
                  <a:gd name="T8" fmla="*/ 2 w 23"/>
                  <a:gd name="T9" fmla="*/ 9 h 9"/>
                  <a:gd name="T10" fmla="*/ 2 w 23"/>
                  <a:gd name="T11" fmla="*/ 9 h 9"/>
                  <a:gd name="T12" fmla="*/ 0 w 23"/>
                  <a:gd name="T13" fmla="*/ 7 h 9"/>
                  <a:gd name="T14" fmla="*/ 0 w 23"/>
                  <a:gd name="T15" fmla="*/ 3 h 9"/>
                  <a:gd name="T16" fmla="*/ 0 w 23"/>
                  <a:gd name="T17" fmla="*/ 2 h 9"/>
                  <a:gd name="T18" fmla="*/ 0 w 23"/>
                  <a:gd name="T19" fmla="*/ 0 h 9"/>
                  <a:gd name="T20" fmla="*/ 20 w 23"/>
                  <a:gd name="T21" fmla="*/ 0 h 9"/>
                  <a:gd name="T22" fmla="*/ 22 w 23"/>
                  <a:gd name="T23" fmla="*/ 2 h 9"/>
                  <a:gd name="T24" fmla="*/ 22 w 23"/>
                  <a:gd name="T2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9">
                    <a:moveTo>
                      <a:pt x="22" y="2"/>
                    </a:moveTo>
                    <a:lnTo>
                      <a:pt x="23" y="3"/>
                    </a:lnTo>
                    <a:lnTo>
                      <a:pt x="23" y="5"/>
                    </a:lnTo>
                    <a:lnTo>
                      <a:pt x="20" y="9"/>
                    </a:lnTo>
                    <a:lnTo>
                      <a:pt x="2" y="9"/>
                    </a:lnTo>
                    <a:lnTo>
                      <a:pt x="2" y="9"/>
                    </a:lnTo>
                    <a:lnTo>
                      <a:pt x="0" y="7"/>
                    </a:lnTo>
                    <a:lnTo>
                      <a:pt x="0" y="3"/>
                    </a:lnTo>
                    <a:lnTo>
                      <a:pt x="0" y="2"/>
                    </a:lnTo>
                    <a:lnTo>
                      <a:pt x="0" y="0"/>
                    </a:lnTo>
                    <a:lnTo>
                      <a:pt x="20" y="0"/>
                    </a:lnTo>
                    <a:lnTo>
                      <a:pt x="22" y="2"/>
                    </a:lnTo>
                    <a:lnTo>
                      <a:pt x="22"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82" name="Freeform 3338"/>
              <p:cNvSpPr>
                <a:spLocks/>
              </p:cNvSpPr>
              <p:nvPr/>
            </p:nvSpPr>
            <p:spPr bwMode="auto">
              <a:xfrm>
                <a:off x="1621" y="2413"/>
                <a:ext cx="23" cy="9"/>
              </a:xfrm>
              <a:custGeom>
                <a:avLst/>
                <a:gdLst>
                  <a:gd name="T0" fmla="*/ 22 w 23"/>
                  <a:gd name="T1" fmla="*/ 2 h 9"/>
                  <a:gd name="T2" fmla="*/ 23 w 23"/>
                  <a:gd name="T3" fmla="*/ 3 h 9"/>
                  <a:gd name="T4" fmla="*/ 23 w 23"/>
                  <a:gd name="T5" fmla="*/ 5 h 9"/>
                  <a:gd name="T6" fmla="*/ 20 w 23"/>
                  <a:gd name="T7" fmla="*/ 9 h 9"/>
                  <a:gd name="T8" fmla="*/ 2 w 23"/>
                  <a:gd name="T9" fmla="*/ 9 h 9"/>
                  <a:gd name="T10" fmla="*/ 2 w 23"/>
                  <a:gd name="T11" fmla="*/ 9 h 9"/>
                  <a:gd name="T12" fmla="*/ 0 w 23"/>
                  <a:gd name="T13" fmla="*/ 7 h 9"/>
                  <a:gd name="T14" fmla="*/ 0 w 23"/>
                  <a:gd name="T15" fmla="*/ 3 h 9"/>
                  <a:gd name="T16" fmla="*/ 0 w 23"/>
                  <a:gd name="T17" fmla="*/ 2 h 9"/>
                  <a:gd name="T18" fmla="*/ 0 w 23"/>
                  <a:gd name="T19" fmla="*/ 0 h 9"/>
                  <a:gd name="T20" fmla="*/ 20 w 23"/>
                  <a:gd name="T21" fmla="*/ 0 h 9"/>
                  <a:gd name="T22" fmla="*/ 22 w 23"/>
                  <a:gd name="T23" fmla="*/ 2 h 9"/>
                  <a:gd name="T24" fmla="*/ 22 w 23"/>
                  <a:gd name="T25"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9">
                    <a:moveTo>
                      <a:pt x="22" y="2"/>
                    </a:moveTo>
                    <a:lnTo>
                      <a:pt x="23" y="3"/>
                    </a:lnTo>
                    <a:lnTo>
                      <a:pt x="23" y="5"/>
                    </a:lnTo>
                    <a:lnTo>
                      <a:pt x="20" y="9"/>
                    </a:lnTo>
                    <a:lnTo>
                      <a:pt x="2" y="9"/>
                    </a:lnTo>
                    <a:lnTo>
                      <a:pt x="2" y="9"/>
                    </a:lnTo>
                    <a:lnTo>
                      <a:pt x="0" y="7"/>
                    </a:lnTo>
                    <a:lnTo>
                      <a:pt x="0" y="3"/>
                    </a:lnTo>
                    <a:lnTo>
                      <a:pt x="0" y="2"/>
                    </a:lnTo>
                    <a:lnTo>
                      <a:pt x="0" y="0"/>
                    </a:lnTo>
                    <a:lnTo>
                      <a:pt x="20" y="0"/>
                    </a:lnTo>
                    <a:lnTo>
                      <a:pt x="22" y="2"/>
                    </a:lnTo>
                    <a:lnTo>
                      <a:pt x="22"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83" name="Freeform 3339"/>
              <p:cNvSpPr>
                <a:spLocks/>
              </p:cNvSpPr>
              <p:nvPr/>
            </p:nvSpPr>
            <p:spPr bwMode="auto">
              <a:xfrm>
                <a:off x="1719" y="2499"/>
                <a:ext cx="2" cy="5"/>
              </a:xfrm>
              <a:custGeom>
                <a:avLst/>
                <a:gdLst>
                  <a:gd name="T0" fmla="*/ 2 w 2"/>
                  <a:gd name="T1" fmla="*/ 1 h 5"/>
                  <a:gd name="T2" fmla="*/ 0 w 2"/>
                  <a:gd name="T3" fmla="*/ 1 h 5"/>
                  <a:gd name="T4" fmla="*/ 0 w 2"/>
                  <a:gd name="T5" fmla="*/ 5 h 5"/>
                  <a:gd name="T6" fmla="*/ 2 w 2"/>
                  <a:gd name="T7" fmla="*/ 3 h 5"/>
                  <a:gd name="T8" fmla="*/ 0 w 2"/>
                  <a:gd name="T9" fmla="*/ 0 h 5"/>
                  <a:gd name="T10" fmla="*/ 2 w 2"/>
                  <a:gd name="T11" fmla="*/ 1 h 5"/>
                </a:gdLst>
                <a:ahLst/>
                <a:cxnLst>
                  <a:cxn ang="0">
                    <a:pos x="T0" y="T1"/>
                  </a:cxn>
                  <a:cxn ang="0">
                    <a:pos x="T2" y="T3"/>
                  </a:cxn>
                  <a:cxn ang="0">
                    <a:pos x="T4" y="T5"/>
                  </a:cxn>
                  <a:cxn ang="0">
                    <a:pos x="T6" y="T7"/>
                  </a:cxn>
                  <a:cxn ang="0">
                    <a:pos x="T8" y="T9"/>
                  </a:cxn>
                  <a:cxn ang="0">
                    <a:pos x="T10" y="T11"/>
                  </a:cxn>
                </a:cxnLst>
                <a:rect l="0" t="0" r="r" b="b"/>
                <a:pathLst>
                  <a:path w="2" h="5">
                    <a:moveTo>
                      <a:pt x="2" y="1"/>
                    </a:moveTo>
                    <a:lnTo>
                      <a:pt x="0" y="1"/>
                    </a:lnTo>
                    <a:lnTo>
                      <a:pt x="0" y="5"/>
                    </a:lnTo>
                    <a:lnTo>
                      <a:pt x="2" y="3"/>
                    </a:lnTo>
                    <a:lnTo>
                      <a:pt x="0" y="0"/>
                    </a:lnTo>
                    <a:lnTo>
                      <a:pt x="2" y="1"/>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84" name="Freeform 3340"/>
              <p:cNvSpPr>
                <a:spLocks/>
              </p:cNvSpPr>
              <p:nvPr/>
            </p:nvSpPr>
            <p:spPr bwMode="auto">
              <a:xfrm>
                <a:off x="1719" y="2499"/>
                <a:ext cx="2" cy="5"/>
              </a:xfrm>
              <a:custGeom>
                <a:avLst/>
                <a:gdLst>
                  <a:gd name="T0" fmla="*/ 2 w 2"/>
                  <a:gd name="T1" fmla="*/ 1 h 5"/>
                  <a:gd name="T2" fmla="*/ 0 w 2"/>
                  <a:gd name="T3" fmla="*/ 1 h 5"/>
                  <a:gd name="T4" fmla="*/ 0 w 2"/>
                  <a:gd name="T5" fmla="*/ 5 h 5"/>
                  <a:gd name="T6" fmla="*/ 2 w 2"/>
                  <a:gd name="T7" fmla="*/ 3 h 5"/>
                  <a:gd name="T8" fmla="*/ 0 w 2"/>
                  <a:gd name="T9" fmla="*/ 0 h 5"/>
                </a:gdLst>
                <a:ahLst/>
                <a:cxnLst>
                  <a:cxn ang="0">
                    <a:pos x="T0" y="T1"/>
                  </a:cxn>
                  <a:cxn ang="0">
                    <a:pos x="T2" y="T3"/>
                  </a:cxn>
                  <a:cxn ang="0">
                    <a:pos x="T4" y="T5"/>
                  </a:cxn>
                  <a:cxn ang="0">
                    <a:pos x="T6" y="T7"/>
                  </a:cxn>
                  <a:cxn ang="0">
                    <a:pos x="T8" y="T9"/>
                  </a:cxn>
                </a:cxnLst>
                <a:rect l="0" t="0" r="r" b="b"/>
                <a:pathLst>
                  <a:path w="2" h="5">
                    <a:moveTo>
                      <a:pt x="2" y="1"/>
                    </a:moveTo>
                    <a:lnTo>
                      <a:pt x="0" y="1"/>
                    </a:lnTo>
                    <a:lnTo>
                      <a:pt x="0" y="5"/>
                    </a:lnTo>
                    <a:lnTo>
                      <a:pt x="2" y="3"/>
                    </a:lnTo>
                    <a:lnTo>
                      <a:pt x="0" y="0"/>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85" name="Freeform 3341"/>
              <p:cNvSpPr>
                <a:spLocks/>
              </p:cNvSpPr>
              <p:nvPr/>
            </p:nvSpPr>
            <p:spPr bwMode="auto">
              <a:xfrm>
                <a:off x="1707" y="2447"/>
                <a:ext cx="9" cy="9"/>
              </a:xfrm>
              <a:custGeom>
                <a:avLst/>
                <a:gdLst>
                  <a:gd name="T0" fmla="*/ 7 w 9"/>
                  <a:gd name="T1" fmla="*/ 0 h 9"/>
                  <a:gd name="T2" fmla="*/ 5 w 9"/>
                  <a:gd name="T3" fmla="*/ 0 h 9"/>
                  <a:gd name="T4" fmla="*/ 5 w 9"/>
                  <a:gd name="T5" fmla="*/ 2 h 9"/>
                  <a:gd name="T6" fmla="*/ 2 w 9"/>
                  <a:gd name="T7" fmla="*/ 2 h 9"/>
                  <a:gd name="T8" fmla="*/ 0 w 9"/>
                  <a:gd name="T9" fmla="*/ 5 h 9"/>
                  <a:gd name="T10" fmla="*/ 2 w 9"/>
                  <a:gd name="T11" fmla="*/ 9 h 9"/>
                  <a:gd name="T12" fmla="*/ 4 w 9"/>
                  <a:gd name="T13" fmla="*/ 9 h 9"/>
                  <a:gd name="T14" fmla="*/ 4 w 9"/>
                  <a:gd name="T15" fmla="*/ 5 h 9"/>
                  <a:gd name="T16" fmla="*/ 5 w 9"/>
                  <a:gd name="T17" fmla="*/ 5 h 9"/>
                  <a:gd name="T18" fmla="*/ 7 w 9"/>
                  <a:gd name="T19" fmla="*/ 5 h 9"/>
                  <a:gd name="T20" fmla="*/ 9 w 9"/>
                  <a:gd name="T21" fmla="*/ 3 h 9"/>
                  <a:gd name="T22" fmla="*/ 9 w 9"/>
                  <a:gd name="T23" fmla="*/ 2 h 9"/>
                  <a:gd name="T24" fmla="*/ 7 w 9"/>
                  <a:gd name="T25" fmla="*/ 2 h 9"/>
                  <a:gd name="T26" fmla="*/ 7 w 9"/>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9">
                    <a:moveTo>
                      <a:pt x="7" y="0"/>
                    </a:moveTo>
                    <a:lnTo>
                      <a:pt x="5" y="0"/>
                    </a:lnTo>
                    <a:lnTo>
                      <a:pt x="5" y="2"/>
                    </a:lnTo>
                    <a:lnTo>
                      <a:pt x="2" y="2"/>
                    </a:lnTo>
                    <a:lnTo>
                      <a:pt x="0" y="5"/>
                    </a:lnTo>
                    <a:lnTo>
                      <a:pt x="2" y="9"/>
                    </a:lnTo>
                    <a:lnTo>
                      <a:pt x="4" y="9"/>
                    </a:lnTo>
                    <a:lnTo>
                      <a:pt x="4" y="5"/>
                    </a:lnTo>
                    <a:lnTo>
                      <a:pt x="5" y="5"/>
                    </a:lnTo>
                    <a:lnTo>
                      <a:pt x="7" y="5"/>
                    </a:lnTo>
                    <a:lnTo>
                      <a:pt x="9" y="3"/>
                    </a:lnTo>
                    <a:lnTo>
                      <a:pt x="9" y="2"/>
                    </a:lnTo>
                    <a:lnTo>
                      <a:pt x="7" y="2"/>
                    </a:lnTo>
                    <a:lnTo>
                      <a:pt x="7" y="0"/>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86" name="Freeform 3342"/>
              <p:cNvSpPr>
                <a:spLocks/>
              </p:cNvSpPr>
              <p:nvPr/>
            </p:nvSpPr>
            <p:spPr bwMode="auto">
              <a:xfrm>
                <a:off x="1707" y="2447"/>
                <a:ext cx="9" cy="9"/>
              </a:xfrm>
              <a:custGeom>
                <a:avLst/>
                <a:gdLst>
                  <a:gd name="T0" fmla="*/ 7 w 9"/>
                  <a:gd name="T1" fmla="*/ 0 h 9"/>
                  <a:gd name="T2" fmla="*/ 5 w 9"/>
                  <a:gd name="T3" fmla="*/ 0 h 9"/>
                  <a:gd name="T4" fmla="*/ 5 w 9"/>
                  <a:gd name="T5" fmla="*/ 2 h 9"/>
                  <a:gd name="T6" fmla="*/ 2 w 9"/>
                  <a:gd name="T7" fmla="*/ 2 h 9"/>
                  <a:gd name="T8" fmla="*/ 0 w 9"/>
                  <a:gd name="T9" fmla="*/ 5 h 9"/>
                  <a:gd name="T10" fmla="*/ 2 w 9"/>
                  <a:gd name="T11" fmla="*/ 9 h 9"/>
                  <a:gd name="T12" fmla="*/ 4 w 9"/>
                  <a:gd name="T13" fmla="*/ 9 h 9"/>
                  <a:gd name="T14" fmla="*/ 4 w 9"/>
                  <a:gd name="T15" fmla="*/ 5 h 9"/>
                  <a:gd name="T16" fmla="*/ 5 w 9"/>
                  <a:gd name="T17" fmla="*/ 5 h 9"/>
                  <a:gd name="T18" fmla="*/ 7 w 9"/>
                  <a:gd name="T19" fmla="*/ 5 h 9"/>
                  <a:gd name="T20" fmla="*/ 9 w 9"/>
                  <a:gd name="T21" fmla="*/ 3 h 9"/>
                  <a:gd name="T22" fmla="*/ 9 w 9"/>
                  <a:gd name="T23" fmla="*/ 2 h 9"/>
                  <a:gd name="T24" fmla="*/ 7 w 9"/>
                  <a:gd name="T25" fmla="*/ 2 h 9"/>
                  <a:gd name="T26" fmla="*/ 7 w 9"/>
                  <a:gd name="T2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9">
                    <a:moveTo>
                      <a:pt x="7" y="0"/>
                    </a:moveTo>
                    <a:lnTo>
                      <a:pt x="5" y="0"/>
                    </a:lnTo>
                    <a:lnTo>
                      <a:pt x="5" y="2"/>
                    </a:lnTo>
                    <a:lnTo>
                      <a:pt x="2" y="2"/>
                    </a:lnTo>
                    <a:lnTo>
                      <a:pt x="0" y="5"/>
                    </a:lnTo>
                    <a:lnTo>
                      <a:pt x="2" y="9"/>
                    </a:lnTo>
                    <a:lnTo>
                      <a:pt x="4" y="9"/>
                    </a:lnTo>
                    <a:lnTo>
                      <a:pt x="4" y="5"/>
                    </a:lnTo>
                    <a:lnTo>
                      <a:pt x="5" y="5"/>
                    </a:lnTo>
                    <a:lnTo>
                      <a:pt x="7" y="5"/>
                    </a:lnTo>
                    <a:lnTo>
                      <a:pt x="9" y="3"/>
                    </a:lnTo>
                    <a:lnTo>
                      <a:pt x="9" y="2"/>
                    </a:lnTo>
                    <a:lnTo>
                      <a:pt x="7" y="2"/>
                    </a:lnTo>
                    <a:lnTo>
                      <a:pt x="7" y="0"/>
                    </a:lnTo>
                  </a:path>
                </a:pathLst>
              </a:custGeom>
              <a:solidFill>
                <a:srgbClr val="D9D9D9"/>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87" name="Freeform 3343"/>
              <p:cNvSpPr>
                <a:spLocks/>
              </p:cNvSpPr>
              <p:nvPr/>
            </p:nvSpPr>
            <p:spPr bwMode="auto">
              <a:xfrm>
                <a:off x="302" y="2995"/>
                <a:ext cx="7" cy="7"/>
              </a:xfrm>
              <a:custGeom>
                <a:avLst/>
                <a:gdLst>
                  <a:gd name="T0" fmla="*/ 3 w 7"/>
                  <a:gd name="T1" fmla="*/ 2 h 7"/>
                  <a:gd name="T2" fmla="*/ 3 w 7"/>
                  <a:gd name="T3" fmla="*/ 2 h 7"/>
                  <a:gd name="T4" fmla="*/ 3 w 7"/>
                  <a:gd name="T5" fmla="*/ 4 h 7"/>
                  <a:gd name="T6" fmla="*/ 7 w 7"/>
                  <a:gd name="T7" fmla="*/ 5 h 7"/>
                  <a:gd name="T8" fmla="*/ 5 w 7"/>
                  <a:gd name="T9" fmla="*/ 7 h 7"/>
                  <a:gd name="T10" fmla="*/ 3 w 7"/>
                  <a:gd name="T11" fmla="*/ 5 h 7"/>
                  <a:gd name="T12" fmla="*/ 2 w 7"/>
                  <a:gd name="T13" fmla="*/ 5 h 7"/>
                  <a:gd name="T14" fmla="*/ 0 w 7"/>
                  <a:gd name="T15" fmla="*/ 4 h 7"/>
                  <a:gd name="T16" fmla="*/ 0 w 7"/>
                  <a:gd name="T17" fmla="*/ 0 h 7"/>
                  <a:gd name="T18" fmla="*/ 3 w 7"/>
                  <a:gd name="T1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3" y="2"/>
                    </a:moveTo>
                    <a:lnTo>
                      <a:pt x="3" y="2"/>
                    </a:lnTo>
                    <a:lnTo>
                      <a:pt x="3" y="4"/>
                    </a:lnTo>
                    <a:lnTo>
                      <a:pt x="7" y="5"/>
                    </a:lnTo>
                    <a:lnTo>
                      <a:pt x="5" y="7"/>
                    </a:lnTo>
                    <a:lnTo>
                      <a:pt x="3" y="5"/>
                    </a:lnTo>
                    <a:lnTo>
                      <a:pt x="2" y="5"/>
                    </a:lnTo>
                    <a:lnTo>
                      <a:pt x="0" y="4"/>
                    </a:lnTo>
                    <a:lnTo>
                      <a:pt x="0" y="0"/>
                    </a:lnTo>
                    <a:lnTo>
                      <a:pt x="3" y="2"/>
                    </a:lnTo>
                    <a:close/>
                  </a:path>
                </a:pathLst>
              </a:custGeom>
              <a:grp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488" name="Freeform 3344"/>
              <p:cNvSpPr>
                <a:spLocks/>
              </p:cNvSpPr>
              <p:nvPr/>
            </p:nvSpPr>
            <p:spPr bwMode="auto">
              <a:xfrm>
                <a:off x="302" y="2995"/>
                <a:ext cx="7" cy="7"/>
              </a:xfrm>
              <a:custGeom>
                <a:avLst/>
                <a:gdLst>
                  <a:gd name="T0" fmla="*/ 3 w 7"/>
                  <a:gd name="T1" fmla="*/ 2 h 7"/>
                  <a:gd name="T2" fmla="*/ 3 w 7"/>
                  <a:gd name="T3" fmla="*/ 2 h 7"/>
                  <a:gd name="T4" fmla="*/ 3 w 7"/>
                  <a:gd name="T5" fmla="*/ 4 h 7"/>
                  <a:gd name="T6" fmla="*/ 7 w 7"/>
                  <a:gd name="T7" fmla="*/ 5 h 7"/>
                  <a:gd name="T8" fmla="*/ 5 w 7"/>
                  <a:gd name="T9" fmla="*/ 7 h 7"/>
                  <a:gd name="T10" fmla="*/ 3 w 7"/>
                  <a:gd name="T11" fmla="*/ 5 h 7"/>
                  <a:gd name="T12" fmla="*/ 2 w 7"/>
                  <a:gd name="T13" fmla="*/ 5 h 7"/>
                  <a:gd name="T14" fmla="*/ 0 w 7"/>
                  <a:gd name="T15" fmla="*/ 4 h 7"/>
                  <a:gd name="T16" fmla="*/ 0 w 7"/>
                  <a:gd name="T17" fmla="*/ 0 h 7"/>
                  <a:gd name="T18" fmla="*/ 3 w 7"/>
                  <a:gd name="T1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3" y="2"/>
                    </a:moveTo>
                    <a:lnTo>
                      <a:pt x="3" y="2"/>
                    </a:lnTo>
                    <a:lnTo>
                      <a:pt x="3" y="4"/>
                    </a:lnTo>
                    <a:lnTo>
                      <a:pt x="7" y="5"/>
                    </a:lnTo>
                    <a:lnTo>
                      <a:pt x="5" y="7"/>
                    </a:lnTo>
                    <a:lnTo>
                      <a:pt x="3" y="5"/>
                    </a:lnTo>
                    <a:lnTo>
                      <a:pt x="2" y="5"/>
                    </a:lnTo>
                    <a:lnTo>
                      <a:pt x="0" y="4"/>
                    </a:lnTo>
                    <a:lnTo>
                      <a:pt x="0" y="0"/>
                    </a:lnTo>
                    <a:lnTo>
                      <a:pt x="3" y="2"/>
                    </a:lnTo>
                  </a:path>
                </a:pathLst>
              </a:custGeom>
              <a:grp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grpSp>
        <p:sp>
          <p:nvSpPr>
            <p:cNvPr id="152" name="Freeform 3346"/>
            <p:cNvSpPr>
              <a:spLocks/>
            </p:cNvSpPr>
            <p:nvPr/>
          </p:nvSpPr>
          <p:spPr bwMode="auto">
            <a:xfrm>
              <a:off x="656589" y="5120963"/>
              <a:ext cx="3220" cy="6440"/>
            </a:xfrm>
            <a:custGeom>
              <a:avLst/>
              <a:gdLst>
                <a:gd name="T0" fmla="*/ 0 w 2"/>
                <a:gd name="T1" fmla="*/ 0 h 4"/>
                <a:gd name="T2" fmla="*/ 0 w 2"/>
                <a:gd name="T3" fmla="*/ 0 h 4"/>
                <a:gd name="T4" fmla="*/ 0 w 2"/>
                <a:gd name="T5" fmla="*/ 0 h 4"/>
                <a:gd name="T6" fmla="*/ 2 w 2"/>
                <a:gd name="T7" fmla="*/ 0 h 4"/>
                <a:gd name="T8" fmla="*/ 2 w 2"/>
                <a:gd name="T9" fmla="*/ 2 h 4"/>
                <a:gd name="T10" fmla="*/ 2 w 2"/>
                <a:gd name="T11" fmla="*/ 4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0" y="0"/>
                  </a:lnTo>
                  <a:lnTo>
                    <a:pt x="0" y="0"/>
                  </a:lnTo>
                  <a:lnTo>
                    <a:pt x="2" y="0"/>
                  </a:lnTo>
                  <a:lnTo>
                    <a:pt x="2" y="2"/>
                  </a:lnTo>
                  <a:lnTo>
                    <a:pt x="2" y="4"/>
                  </a:lnTo>
                  <a:lnTo>
                    <a:pt x="0" y="2"/>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3" name="Freeform 3347"/>
            <p:cNvSpPr>
              <a:spLocks/>
            </p:cNvSpPr>
            <p:nvPr/>
          </p:nvSpPr>
          <p:spPr bwMode="auto">
            <a:xfrm>
              <a:off x="656589" y="5120963"/>
              <a:ext cx="3220" cy="6440"/>
            </a:xfrm>
            <a:custGeom>
              <a:avLst/>
              <a:gdLst>
                <a:gd name="T0" fmla="*/ 0 w 2"/>
                <a:gd name="T1" fmla="*/ 0 h 4"/>
                <a:gd name="T2" fmla="*/ 0 w 2"/>
                <a:gd name="T3" fmla="*/ 0 h 4"/>
                <a:gd name="T4" fmla="*/ 0 w 2"/>
                <a:gd name="T5" fmla="*/ 0 h 4"/>
                <a:gd name="T6" fmla="*/ 2 w 2"/>
                <a:gd name="T7" fmla="*/ 0 h 4"/>
                <a:gd name="T8" fmla="*/ 2 w 2"/>
                <a:gd name="T9" fmla="*/ 2 h 4"/>
                <a:gd name="T10" fmla="*/ 2 w 2"/>
                <a:gd name="T11" fmla="*/ 4 h 4"/>
                <a:gd name="T12" fmla="*/ 0 w 2"/>
                <a:gd name="T13" fmla="*/ 2 h 4"/>
                <a:gd name="T14" fmla="*/ 0 w 2"/>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4">
                  <a:moveTo>
                    <a:pt x="0" y="0"/>
                  </a:moveTo>
                  <a:lnTo>
                    <a:pt x="0" y="0"/>
                  </a:lnTo>
                  <a:lnTo>
                    <a:pt x="0" y="0"/>
                  </a:lnTo>
                  <a:lnTo>
                    <a:pt x="2" y="0"/>
                  </a:lnTo>
                  <a:lnTo>
                    <a:pt x="2" y="2"/>
                  </a:lnTo>
                  <a:lnTo>
                    <a:pt x="2" y="4"/>
                  </a:lnTo>
                  <a:lnTo>
                    <a:pt x="0" y="2"/>
                  </a:lnTo>
                  <a:lnTo>
                    <a:pt x="0"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5" name="Freeform 3348"/>
            <p:cNvSpPr>
              <a:spLocks/>
            </p:cNvSpPr>
            <p:nvPr/>
          </p:nvSpPr>
          <p:spPr bwMode="auto">
            <a:xfrm>
              <a:off x="809537" y="5135452"/>
              <a:ext cx="3220" cy="6440"/>
            </a:xfrm>
            <a:custGeom>
              <a:avLst/>
              <a:gdLst>
                <a:gd name="T0" fmla="*/ 0 w 2"/>
                <a:gd name="T1" fmla="*/ 2 h 4"/>
                <a:gd name="T2" fmla="*/ 2 w 2"/>
                <a:gd name="T3" fmla="*/ 2 h 4"/>
                <a:gd name="T4" fmla="*/ 2 w 2"/>
                <a:gd name="T5" fmla="*/ 4 h 4"/>
                <a:gd name="T6" fmla="*/ 0 w 2"/>
                <a:gd name="T7" fmla="*/ 4 h 4"/>
                <a:gd name="T8" fmla="*/ 0 w 2"/>
                <a:gd name="T9" fmla="*/ 0 h 4"/>
                <a:gd name="T10" fmla="*/ 0 w 2"/>
                <a:gd name="T11" fmla="*/ 2 h 4"/>
                <a:gd name="T12" fmla="*/ 0 w 2"/>
                <a:gd name="T13" fmla="*/ 2 h 4"/>
                <a:gd name="T14" fmla="*/ 0 w 2"/>
                <a:gd name="T15" fmla="*/ 0 h 4"/>
                <a:gd name="T16" fmla="*/ 0 w 2"/>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0" y="2"/>
                  </a:moveTo>
                  <a:lnTo>
                    <a:pt x="2" y="2"/>
                  </a:lnTo>
                  <a:lnTo>
                    <a:pt x="2" y="4"/>
                  </a:lnTo>
                  <a:lnTo>
                    <a:pt x="0" y="4"/>
                  </a:lnTo>
                  <a:lnTo>
                    <a:pt x="0" y="0"/>
                  </a:lnTo>
                  <a:lnTo>
                    <a:pt x="0" y="2"/>
                  </a:lnTo>
                  <a:lnTo>
                    <a:pt x="0" y="2"/>
                  </a:lnTo>
                  <a:lnTo>
                    <a:pt x="0" y="0"/>
                  </a:lnTo>
                  <a:lnTo>
                    <a:pt x="0" y="2"/>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6" name="Freeform 3349"/>
            <p:cNvSpPr>
              <a:spLocks/>
            </p:cNvSpPr>
            <p:nvPr/>
          </p:nvSpPr>
          <p:spPr bwMode="auto">
            <a:xfrm>
              <a:off x="809537" y="5135452"/>
              <a:ext cx="3220" cy="6440"/>
            </a:xfrm>
            <a:custGeom>
              <a:avLst/>
              <a:gdLst>
                <a:gd name="T0" fmla="*/ 0 w 2"/>
                <a:gd name="T1" fmla="*/ 2 h 4"/>
                <a:gd name="T2" fmla="*/ 2 w 2"/>
                <a:gd name="T3" fmla="*/ 2 h 4"/>
                <a:gd name="T4" fmla="*/ 2 w 2"/>
                <a:gd name="T5" fmla="*/ 4 h 4"/>
                <a:gd name="T6" fmla="*/ 0 w 2"/>
                <a:gd name="T7" fmla="*/ 4 h 4"/>
                <a:gd name="T8" fmla="*/ 0 w 2"/>
                <a:gd name="T9" fmla="*/ 0 h 4"/>
                <a:gd name="T10" fmla="*/ 0 w 2"/>
                <a:gd name="T11" fmla="*/ 2 h 4"/>
                <a:gd name="T12" fmla="*/ 0 w 2"/>
                <a:gd name="T13" fmla="*/ 2 h 4"/>
                <a:gd name="T14" fmla="*/ 0 w 2"/>
                <a:gd name="T15" fmla="*/ 0 h 4"/>
                <a:gd name="T16" fmla="*/ 0 w 2"/>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0" y="2"/>
                  </a:moveTo>
                  <a:lnTo>
                    <a:pt x="2" y="2"/>
                  </a:lnTo>
                  <a:lnTo>
                    <a:pt x="2" y="4"/>
                  </a:lnTo>
                  <a:lnTo>
                    <a:pt x="0" y="4"/>
                  </a:lnTo>
                  <a:lnTo>
                    <a:pt x="0" y="0"/>
                  </a:lnTo>
                  <a:lnTo>
                    <a:pt x="0" y="2"/>
                  </a:lnTo>
                  <a:lnTo>
                    <a:pt x="0" y="2"/>
                  </a:lnTo>
                  <a:lnTo>
                    <a:pt x="0" y="0"/>
                  </a:lnTo>
                  <a:lnTo>
                    <a:pt x="0" y="2"/>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7" name="Freeform 3350"/>
            <p:cNvSpPr>
              <a:spLocks/>
            </p:cNvSpPr>
            <p:nvPr/>
          </p:nvSpPr>
          <p:spPr bwMode="auto">
            <a:xfrm>
              <a:off x="820807" y="5104863"/>
              <a:ext cx="3220" cy="0"/>
            </a:xfrm>
            <a:custGeom>
              <a:avLst/>
              <a:gdLst>
                <a:gd name="T0" fmla="*/ 0 w 2"/>
                <a:gd name="T1" fmla="*/ 2 w 2"/>
                <a:gd name="T2" fmla="*/ 0 w 2"/>
              </a:gdLst>
              <a:ahLst/>
              <a:cxnLst>
                <a:cxn ang="0">
                  <a:pos x="T0" y="0"/>
                </a:cxn>
                <a:cxn ang="0">
                  <a:pos x="T1" y="0"/>
                </a:cxn>
                <a:cxn ang="0">
                  <a:pos x="T2" y="0"/>
                </a:cxn>
              </a:cxnLst>
              <a:rect l="0" t="0" r="r" b="b"/>
              <a:pathLst>
                <a:path w="2">
                  <a:moveTo>
                    <a:pt x="0" y="0"/>
                  </a:moveTo>
                  <a:lnTo>
                    <a:pt x="2" y="0"/>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8" name="Line 3351"/>
            <p:cNvSpPr>
              <a:spLocks noChangeShapeType="1"/>
            </p:cNvSpPr>
            <p:nvPr/>
          </p:nvSpPr>
          <p:spPr bwMode="auto">
            <a:xfrm>
              <a:off x="820807" y="5104863"/>
              <a:ext cx="3220" cy="0"/>
            </a:xfrm>
            <a:prstGeom prst="line">
              <a:avLst/>
            </a:pr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59" name="Freeform 3352"/>
            <p:cNvSpPr>
              <a:spLocks/>
            </p:cNvSpPr>
            <p:nvPr/>
          </p:nvSpPr>
          <p:spPr bwMode="auto">
            <a:xfrm>
              <a:off x="795048" y="5058173"/>
              <a:ext cx="6440" cy="6440"/>
            </a:xfrm>
            <a:custGeom>
              <a:avLst/>
              <a:gdLst>
                <a:gd name="T0" fmla="*/ 2 w 4"/>
                <a:gd name="T1" fmla="*/ 0 h 4"/>
                <a:gd name="T2" fmla="*/ 0 w 4"/>
                <a:gd name="T3" fmla="*/ 2 h 4"/>
                <a:gd name="T4" fmla="*/ 0 w 4"/>
                <a:gd name="T5" fmla="*/ 2 h 4"/>
                <a:gd name="T6" fmla="*/ 0 w 4"/>
                <a:gd name="T7" fmla="*/ 4 h 4"/>
                <a:gd name="T8" fmla="*/ 2 w 4"/>
                <a:gd name="T9" fmla="*/ 2 h 4"/>
                <a:gd name="T10" fmla="*/ 4 w 4"/>
                <a:gd name="T11" fmla="*/ 2 h 4"/>
                <a:gd name="T12" fmla="*/ 4 w 4"/>
                <a:gd name="T13" fmla="*/ 0 h 4"/>
                <a:gd name="T14" fmla="*/ 2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0"/>
                  </a:moveTo>
                  <a:lnTo>
                    <a:pt x="0" y="2"/>
                  </a:lnTo>
                  <a:lnTo>
                    <a:pt x="0" y="2"/>
                  </a:lnTo>
                  <a:lnTo>
                    <a:pt x="0" y="4"/>
                  </a:lnTo>
                  <a:lnTo>
                    <a:pt x="2" y="2"/>
                  </a:lnTo>
                  <a:lnTo>
                    <a:pt x="4" y="2"/>
                  </a:lnTo>
                  <a:lnTo>
                    <a:pt x="4" y="0"/>
                  </a:lnTo>
                  <a:lnTo>
                    <a:pt x="2"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0" name="Freeform 3353"/>
            <p:cNvSpPr>
              <a:spLocks/>
            </p:cNvSpPr>
            <p:nvPr/>
          </p:nvSpPr>
          <p:spPr bwMode="auto">
            <a:xfrm>
              <a:off x="795048" y="5058173"/>
              <a:ext cx="6440" cy="6440"/>
            </a:xfrm>
            <a:custGeom>
              <a:avLst/>
              <a:gdLst>
                <a:gd name="T0" fmla="*/ 2 w 4"/>
                <a:gd name="T1" fmla="*/ 0 h 4"/>
                <a:gd name="T2" fmla="*/ 0 w 4"/>
                <a:gd name="T3" fmla="*/ 2 h 4"/>
                <a:gd name="T4" fmla="*/ 0 w 4"/>
                <a:gd name="T5" fmla="*/ 2 h 4"/>
                <a:gd name="T6" fmla="*/ 0 w 4"/>
                <a:gd name="T7" fmla="*/ 4 h 4"/>
                <a:gd name="T8" fmla="*/ 2 w 4"/>
                <a:gd name="T9" fmla="*/ 2 h 4"/>
                <a:gd name="T10" fmla="*/ 4 w 4"/>
                <a:gd name="T11" fmla="*/ 2 h 4"/>
                <a:gd name="T12" fmla="*/ 4 w 4"/>
                <a:gd name="T13" fmla="*/ 0 h 4"/>
                <a:gd name="T14" fmla="*/ 2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2" y="0"/>
                  </a:moveTo>
                  <a:lnTo>
                    <a:pt x="0" y="2"/>
                  </a:lnTo>
                  <a:lnTo>
                    <a:pt x="0" y="2"/>
                  </a:lnTo>
                  <a:lnTo>
                    <a:pt x="0" y="4"/>
                  </a:lnTo>
                  <a:lnTo>
                    <a:pt x="2" y="2"/>
                  </a:lnTo>
                  <a:lnTo>
                    <a:pt x="4" y="2"/>
                  </a:lnTo>
                  <a:lnTo>
                    <a:pt x="4" y="0"/>
                  </a:lnTo>
                  <a:lnTo>
                    <a:pt x="2"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1" name="Freeform 3354"/>
            <p:cNvSpPr>
              <a:spLocks/>
            </p:cNvSpPr>
            <p:nvPr/>
          </p:nvSpPr>
          <p:spPr bwMode="auto">
            <a:xfrm>
              <a:off x="947996" y="5101643"/>
              <a:ext cx="3220" cy="3220"/>
            </a:xfrm>
            <a:custGeom>
              <a:avLst/>
              <a:gdLst>
                <a:gd name="T0" fmla="*/ 0 w 2"/>
                <a:gd name="T1" fmla="*/ 0 h 2"/>
                <a:gd name="T2" fmla="*/ 0 w 2"/>
                <a:gd name="T3" fmla="*/ 0 h 2"/>
                <a:gd name="T4" fmla="*/ 0 w 2"/>
                <a:gd name="T5" fmla="*/ 2 h 2"/>
                <a:gd name="T6" fmla="*/ 0 w 2"/>
                <a:gd name="T7" fmla="*/ 2 h 2"/>
                <a:gd name="T8" fmla="*/ 2 w 2"/>
                <a:gd name="T9" fmla="*/ 0 h 2"/>
                <a:gd name="T10" fmla="*/ 0 w 2"/>
                <a:gd name="T11" fmla="*/ 0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0" y="2"/>
                  </a:lnTo>
                  <a:lnTo>
                    <a:pt x="0" y="2"/>
                  </a:lnTo>
                  <a:lnTo>
                    <a:pt x="2" y="0"/>
                  </a:lnTo>
                  <a:lnTo>
                    <a:pt x="0" y="0"/>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3" name="Freeform 3355"/>
            <p:cNvSpPr>
              <a:spLocks/>
            </p:cNvSpPr>
            <p:nvPr/>
          </p:nvSpPr>
          <p:spPr bwMode="auto">
            <a:xfrm>
              <a:off x="947996" y="5101643"/>
              <a:ext cx="3220" cy="3220"/>
            </a:xfrm>
            <a:custGeom>
              <a:avLst/>
              <a:gdLst>
                <a:gd name="T0" fmla="*/ 0 w 2"/>
                <a:gd name="T1" fmla="*/ 0 h 2"/>
                <a:gd name="T2" fmla="*/ 0 w 2"/>
                <a:gd name="T3" fmla="*/ 0 h 2"/>
                <a:gd name="T4" fmla="*/ 0 w 2"/>
                <a:gd name="T5" fmla="*/ 2 h 2"/>
                <a:gd name="T6" fmla="*/ 0 w 2"/>
                <a:gd name="T7" fmla="*/ 2 h 2"/>
                <a:gd name="T8" fmla="*/ 2 w 2"/>
                <a:gd name="T9" fmla="*/ 0 h 2"/>
                <a:gd name="T10" fmla="*/ 0 w 2"/>
                <a:gd name="T11" fmla="*/ 0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0" y="2"/>
                  </a:lnTo>
                  <a:lnTo>
                    <a:pt x="0" y="2"/>
                  </a:lnTo>
                  <a:lnTo>
                    <a:pt x="2" y="0"/>
                  </a:lnTo>
                  <a:lnTo>
                    <a:pt x="0" y="0"/>
                  </a:lnTo>
                  <a:lnTo>
                    <a:pt x="0"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4" name="Freeform 3356"/>
            <p:cNvSpPr>
              <a:spLocks/>
            </p:cNvSpPr>
            <p:nvPr/>
          </p:nvSpPr>
          <p:spPr bwMode="auto">
            <a:xfrm>
              <a:off x="933506" y="5256201"/>
              <a:ext cx="3220" cy="3220"/>
            </a:xfrm>
            <a:custGeom>
              <a:avLst/>
              <a:gdLst>
                <a:gd name="T0" fmla="*/ 2 w 2"/>
                <a:gd name="T1" fmla="*/ 2 h 2"/>
                <a:gd name="T2" fmla="*/ 2 w 2"/>
                <a:gd name="T3" fmla="*/ 0 h 2"/>
                <a:gd name="T4" fmla="*/ 0 w 2"/>
                <a:gd name="T5" fmla="*/ 0 h 2"/>
                <a:gd name="T6" fmla="*/ 2 w 2"/>
                <a:gd name="T7" fmla="*/ 2 h 2"/>
                <a:gd name="T8" fmla="*/ 2 w 2"/>
                <a:gd name="T9" fmla="*/ 2 h 2"/>
                <a:gd name="T10" fmla="*/ 2 w 2"/>
                <a:gd name="T11" fmla="*/ 0 h 2"/>
                <a:gd name="T12" fmla="*/ 2 w 2"/>
                <a:gd name="T13" fmla="*/ 0 h 2"/>
                <a:gd name="T14" fmla="*/ 2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2"/>
                  </a:moveTo>
                  <a:lnTo>
                    <a:pt x="2" y="0"/>
                  </a:lnTo>
                  <a:lnTo>
                    <a:pt x="0" y="0"/>
                  </a:lnTo>
                  <a:lnTo>
                    <a:pt x="2" y="2"/>
                  </a:lnTo>
                  <a:lnTo>
                    <a:pt x="2" y="2"/>
                  </a:lnTo>
                  <a:lnTo>
                    <a:pt x="2" y="0"/>
                  </a:lnTo>
                  <a:lnTo>
                    <a:pt x="2" y="0"/>
                  </a:lnTo>
                  <a:lnTo>
                    <a:pt x="2" y="2"/>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5" name="Freeform 3357"/>
            <p:cNvSpPr>
              <a:spLocks/>
            </p:cNvSpPr>
            <p:nvPr/>
          </p:nvSpPr>
          <p:spPr bwMode="auto">
            <a:xfrm>
              <a:off x="933506" y="5256201"/>
              <a:ext cx="3220" cy="3220"/>
            </a:xfrm>
            <a:custGeom>
              <a:avLst/>
              <a:gdLst>
                <a:gd name="T0" fmla="*/ 2 w 2"/>
                <a:gd name="T1" fmla="*/ 2 h 2"/>
                <a:gd name="T2" fmla="*/ 2 w 2"/>
                <a:gd name="T3" fmla="*/ 0 h 2"/>
                <a:gd name="T4" fmla="*/ 0 w 2"/>
                <a:gd name="T5" fmla="*/ 0 h 2"/>
                <a:gd name="T6" fmla="*/ 2 w 2"/>
                <a:gd name="T7" fmla="*/ 2 h 2"/>
                <a:gd name="T8" fmla="*/ 2 w 2"/>
                <a:gd name="T9" fmla="*/ 2 h 2"/>
                <a:gd name="T10" fmla="*/ 2 w 2"/>
                <a:gd name="T11" fmla="*/ 0 h 2"/>
                <a:gd name="T12" fmla="*/ 2 w 2"/>
                <a:gd name="T13" fmla="*/ 0 h 2"/>
                <a:gd name="T14" fmla="*/ 2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2" y="2"/>
                  </a:moveTo>
                  <a:lnTo>
                    <a:pt x="2" y="0"/>
                  </a:lnTo>
                  <a:lnTo>
                    <a:pt x="0" y="0"/>
                  </a:lnTo>
                  <a:lnTo>
                    <a:pt x="2" y="2"/>
                  </a:lnTo>
                  <a:lnTo>
                    <a:pt x="2" y="2"/>
                  </a:lnTo>
                  <a:lnTo>
                    <a:pt x="2" y="0"/>
                  </a:lnTo>
                  <a:lnTo>
                    <a:pt x="2" y="0"/>
                  </a:lnTo>
                  <a:lnTo>
                    <a:pt x="2" y="2"/>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6" name="Freeform 3358"/>
            <p:cNvSpPr>
              <a:spLocks/>
            </p:cNvSpPr>
            <p:nvPr/>
          </p:nvSpPr>
          <p:spPr bwMode="auto">
            <a:xfrm>
              <a:off x="938336" y="5199852"/>
              <a:ext cx="3220" cy="1610"/>
            </a:xfrm>
            <a:custGeom>
              <a:avLst/>
              <a:gdLst>
                <a:gd name="T0" fmla="*/ 0 w 2"/>
                <a:gd name="T1" fmla="*/ 1 h 1"/>
                <a:gd name="T2" fmla="*/ 0 w 2"/>
                <a:gd name="T3" fmla="*/ 1 h 1"/>
                <a:gd name="T4" fmla="*/ 2 w 2"/>
                <a:gd name="T5" fmla="*/ 1 h 1"/>
                <a:gd name="T6" fmla="*/ 2 w 2"/>
                <a:gd name="T7" fmla="*/ 0 h 1"/>
                <a:gd name="T8" fmla="*/ 2 w 2"/>
                <a:gd name="T9" fmla="*/ 0 h 1"/>
                <a:gd name="T10" fmla="*/ 0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0" y="1"/>
                  </a:moveTo>
                  <a:lnTo>
                    <a:pt x="0" y="1"/>
                  </a:lnTo>
                  <a:lnTo>
                    <a:pt x="2" y="1"/>
                  </a:lnTo>
                  <a:lnTo>
                    <a:pt x="2" y="0"/>
                  </a:lnTo>
                  <a:lnTo>
                    <a:pt x="2" y="0"/>
                  </a:lnTo>
                  <a:lnTo>
                    <a:pt x="0" y="1"/>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7" name="Freeform 3359"/>
            <p:cNvSpPr>
              <a:spLocks/>
            </p:cNvSpPr>
            <p:nvPr/>
          </p:nvSpPr>
          <p:spPr bwMode="auto">
            <a:xfrm>
              <a:off x="938336" y="5199852"/>
              <a:ext cx="3220" cy="1610"/>
            </a:xfrm>
            <a:custGeom>
              <a:avLst/>
              <a:gdLst>
                <a:gd name="T0" fmla="*/ 0 w 2"/>
                <a:gd name="T1" fmla="*/ 1 h 1"/>
                <a:gd name="T2" fmla="*/ 0 w 2"/>
                <a:gd name="T3" fmla="*/ 1 h 1"/>
                <a:gd name="T4" fmla="*/ 2 w 2"/>
                <a:gd name="T5" fmla="*/ 1 h 1"/>
                <a:gd name="T6" fmla="*/ 2 w 2"/>
                <a:gd name="T7" fmla="*/ 0 h 1"/>
                <a:gd name="T8" fmla="*/ 2 w 2"/>
                <a:gd name="T9" fmla="*/ 0 h 1"/>
                <a:gd name="T10" fmla="*/ 0 w 2"/>
                <a:gd name="T11" fmla="*/ 1 h 1"/>
              </a:gdLst>
              <a:ahLst/>
              <a:cxnLst>
                <a:cxn ang="0">
                  <a:pos x="T0" y="T1"/>
                </a:cxn>
                <a:cxn ang="0">
                  <a:pos x="T2" y="T3"/>
                </a:cxn>
                <a:cxn ang="0">
                  <a:pos x="T4" y="T5"/>
                </a:cxn>
                <a:cxn ang="0">
                  <a:pos x="T6" y="T7"/>
                </a:cxn>
                <a:cxn ang="0">
                  <a:pos x="T8" y="T9"/>
                </a:cxn>
                <a:cxn ang="0">
                  <a:pos x="T10" y="T11"/>
                </a:cxn>
              </a:cxnLst>
              <a:rect l="0" t="0" r="r" b="b"/>
              <a:pathLst>
                <a:path w="2" h="1">
                  <a:moveTo>
                    <a:pt x="0" y="1"/>
                  </a:moveTo>
                  <a:lnTo>
                    <a:pt x="0" y="1"/>
                  </a:lnTo>
                  <a:lnTo>
                    <a:pt x="2" y="1"/>
                  </a:lnTo>
                  <a:lnTo>
                    <a:pt x="2" y="0"/>
                  </a:lnTo>
                  <a:lnTo>
                    <a:pt x="2" y="0"/>
                  </a:lnTo>
                  <a:lnTo>
                    <a:pt x="0" y="1"/>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8" name="Freeform 3360"/>
            <p:cNvSpPr>
              <a:spLocks/>
            </p:cNvSpPr>
            <p:nvPr/>
          </p:nvSpPr>
          <p:spPr bwMode="auto">
            <a:xfrm>
              <a:off x="820807" y="5204681"/>
              <a:ext cx="3220" cy="3220"/>
            </a:xfrm>
            <a:custGeom>
              <a:avLst/>
              <a:gdLst>
                <a:gd name="T0" fmla="*/ 2 w 2"/>
                <a:gd name="T1" fmla="*/ 0 h 2"/>
                <a:gd name="T2" fmla="*/ 2 w 2"/>
                <a:gd name="T3" fmla="*/ 0 h 2"/>
                <a:gd name="T4" fmla="*/ 0 w 2"/>
                <a:gd name="T5" fmla="*/ 2 h 2"/>
                <a:gd name="T6" fmla="*/ 2 w 2"/>
                <a:gd name="T7" fmla="*/ 2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0" y="2"/>
                  </a:lnTo>
                  <a:lnTo>
                    <a:pt x="2" y="2"/>
                  </a:lnTo>
                  <a:lnTo>
                    <a:pt x="2" y="2"/>
                  </a:lnTo>
                  <a:lnTo>
                    <a:pt x="2"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69" name="Freeform 3361"/>
            <p:cNvSpPr>
              <a:spLocks/>
            </p:cNvSpPr>
            <p:nvPr/>
          </p:nvSpPr>
          <p:spPr bwMode="auto">
            <a:xfrm>
              <a:off x="820807" y="5204681"/>
              <a:ext cx="3220" cy="3220"/>
            </a:xfrm>
            <a:custGeom>
              <a:avLst/>
              <a:gdLst>
                <a:gd name="T0" fmla="*/ 2 w 2"/>
                <a:gd name="T1" fmla="*/ 0 h 2"/>
                <a:gd name="T2" fmla="*/ 2 w 2"/>
                <a:gd name="T3" fmla="*/ 0 h 2"/>
                <a:gd name="T4" fmla="*/ 0 w 2"/>
                <a:gd name="T5" fmla="*/ 2 h 2"/>
                <a:gd name="T6" fmla="*/ 2 w 2"/>
                <a:gd name="T7" fmla="*/ 2 h 2"/>
                <a:gd name="T8" fmla="*/ 2 w 2"/>
                <a:gd name="T9" fmla="*/ 2 h 2"/>
                <a:gd name="T10" fmla="*/ 2 w 2"/>
                <a:gd name="T11" fmla="*/ 0 h 2"/>
              </a:gdLst>
              <a:ahLst/>
              <a:cxnLst>
                <a:cxn ang="0">
                  <a:pos x="T0" y="T1"/>
                </a:cxn>
                <a:cxn ang="0">
                  <a:pos x="T2" y="T3"/>
                </a:cxn>
                <a:cxn ang="0">
                  <a:pos x="T4" y="T5"/>
                </a:cxn>
                <a:cxn ang="0">
                  <a:pos x="T6" y="T7"/>
                </a:cxn>
                <a:cxn ang="0">
                  <a:pos x="T8" y="T9"/>
                </a:cxn>
                <a:cxn ang="0">
                  <a:pos x="T10" y="T11"/>
                </a:cxn>
              </a:cxnLst>
              <a:rect l="0" t="0" r="r" b="b"/>
              <a:pathLst>
                <a:path w="2" h="2">
                  <a:moveTo>
                    <a:pt x="2" y="0"/>
                  </a:moveTo>
                  <a:lnTo>
                    <a:pt x="2" y="0"/>
                  </a:lnTo>
                  <a:lnTo>
                    <a:pt x="0" y="2"/>
                  </a:lnTo>
                  <a:lnTo>
                    <a:pt x="2" y="2"/>
                  </a:lnTo>
                  <a:lnTo>
                    <a:pt x="2" y="2"/>
                  </a:lnTo>
                  <a:lnTo>
                    <a:pt x="2"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0" name="Freeform 3362"/>
            <p:cNvSpPr>
              <a:spLocks/>
            </p:cNvSpPr>
            <p:nvPr/>
          </p:nvSpPr>
          <p:spPr bwMode="auto">
            <a:xfrm>
              <a:off x="1065524" y="5251371"/>
              <a:ext cx="3220" cy="3220"/>
            </a:xfrm>
            <a:custGeom>
              <a:avLst/>
              <a:gdLst>
                <a:gd name="T0" fmla="*/ 0 w 2"/>
                <a:gd name="T1" fmla="*/ 0 h 2"/>
                <a:gd name="T2" fmla="*/ 0 w 2"/>
                <a:gd name="T3" fmla="*/ 0 h 2"/>
                <a:gd name="T4" fmla="*/ 0 w 2"/>
                <a:gd name="T5" fmla="*/ 2 h 2"/>
                <a:gd name="T6" fmla="*/ 0 w 2"/>
                <a:gd name="T7" fmla="*/ 2 h 2"/>
                <a:gd name="T8" fmla="*/ 2 w 2"/>
                <a:gd name="T9" fmla="*/ 2 h 2"/>
                <a:gd name="T10" fmla="*/ 2 w 2"/>
                <a:gd name="T11" fmla="*/ 0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0" y="2"/>
                  </a:lnTo>
                  <a:lnTo>
                    <a:pt x="0" y="2"/>
                  </a:lnTo>
                  <a:lnTo>
                    <a:pt x="2" y="2"/>
                  </a:lnTo>
                  <a:lnTo>
                    <a:pt x="2" y="0"/>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1" name="Freeform 3363"/>
            <p:cNvSpPr>
              <a:spLocks/>
            </p:cNvSpPr>
            <p:nvPr/>
          </p:nvSpPr>
          <p:spPr bwMode="auto">
            <a:xfrm>
              <a:off x="1065524" y="5251371"/>
              <a:ext cx="3220" cy="3220"/>
            </a:xfrm>
            <a:custGeom>
              <a:avLst/>
              <a:gdLst>
                <a:gd name="T0" fmla="*/ 0 w 2"/>
                <a:gd name="T1" fmla="*/ 0 h 2"/>
                <a:gd name="T2" fmla="*/ 0 w 2"/>
                <a:gd name="T3" fmla="*/ 0 h 2"/>
                <a:gd name="T4" fmla="*/ 0 w 2"/>
                <a:gd name="T5" fmla="*/ 2 h 2"/>
                <a:gd name="T6" fmla="*/ 0 w 2"/>
                <a:gd name="T7" fmla="*/ 2 h 2"/>
                <a:gd name="T8" fmla="*/ 2 w 2"/>
                <a:gd name="T9" fmla="*/ 2 h 2"/>
                <a:gd name="T10" fmla="*/ 2 w 2"/>
                <a:gd name="T11" fmla="*/ 0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0"/>
                  </a:lnTo>
                  <a:lnTo>
                    <a:pt x="0" y="2"/>
                  </a:lnTo>
                  <a:lnTo>
                    <a:pt x="0" y="2"/>
                  </a:lnTo>
                  <a:lnTo>
                    <a:pt x="2" y="2"/>
                  </a:lnTo>
                  <a:lnTo>
                    <a:pt x="2" y="0"/>
                  </a:lnTo>
                  <a:lnTo>
                    <a:pt x="0"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2" name="Freeform 3364"/>
            <p:cNvSpPr>
              <a:spLocks/>
            </p:cNvSpPr>
            <p:nvPr/>
          </p:nvSpPr>
          <p:spPr bwMode="auto">
            <a:xfrm>
              <a:off x="1025275" y="5294840"/>
              <a:ext cx="0" cy="4830"/>
            </a:xfrm>
            <a:custGeom>
              <a:avLst/>
              <a:gdLst>
                <a:gd name="T0" fmla="*/ 1 h 3"/>
                <a:gd name="T1" fmla="*/ 0 h 3"/>
                <a:gd name="T2" fmla="*/ 3 h 3"/>
                <a:gd name="T3" fmla="*/ 1 h 3"/>
                <a:gd name="T4" fmla="*/ 1 h 3"/>
              </a:gdLst>
              <a:ahLst/>
              <a:cxnLst>
                <a:cxn ang="0">
                  <a:pos x="0" y="T0"/>
                </a:cxn>
                <a:cxn ang="0">
                  <a:pos x="0" y="T1"/>
                </a:cxn>
                <a:cxn ang="0">
                  <a:pos x="0" y="T2"/>
                </a:cxn>
                <a:cxn ang="0">
                  <a:pos x="0" y="T3"/>
                </a:cxn>
                <a:cxn ang="0">
                  <a:pos x="0" y="T4"/>
                </a:cxn>
              </a:cxnLst>
              <a:rect l="0" t="0" r="r" b="b"/>
              <a:pathLst>
                <a:path h="3">
                  <a:moveTo>
                    <a:pt x="0" y="1"/>
                  </a:moveTo>
                  <a:lnTo>
                    <a:pt x="0" y="0"/>
                  </a:lnTo>
                  <a:lnTo>
                    <a:pt x="0" y="3"/>
                  </a:lnTo>
                  <a:lnTo>
                    <a:pt x="0" y="1"/>
                  </a:lnTo>
                  <a:lnTo>
                    <a:pt x="0" y="1"/>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3" name="Freeform 3365"/>
            <p:cNvSpPr>
              <a:spLocks/>
            </p:cNvSpPr>
            <p:nvPr/>
          </p:nvSpPr>
          <p:spPr bwMode="auto">
            <a:xfrm>
              <a:off x="1025275" y="5294840"/>
              <a:ext cx="0" cy="4830"/>
            </a:xfrm>
            <a:custGeom>
              <a:avLst/>
              <a:gdLst>
                <a:gd name="T0" fmla="*/ 1 h 3"/>
                <a:gd name="T1" fmla="*/ 0 h 3"/>
                <a:gd name="T2" fmla="*/ 3 h 3"/>
                <a:gd name="T3" fmla="*/ 1 h 3"/>
                <a:gd name="T4" fmla="*/ 1 h 3"/>
              </a:gdLst>
              <a:ahLst/>
              <a:cxnLst>
                <a:cxn ang="0">
                  <a:pos x="0" y="T0"/>
                </a:cxn>
                <a:cxn ang="0">
                  <a:pos x="0" y="T1"/>
                </a:cxn>
                <a:cxn ang="0">
                  <a:pos x="0" y="T2"/>
                </a:cxn>
                <a:cxn ang="0">
                  <a:pos x="0" y="T3"/>
                </a:cxn>
                <a:cxn ang="0">
                  <a:pos x="0" y="T4"/>
                </a:cxn>
              </a:cxnLst>
              <a:rect l="0" t="0" r="r" b="b"/>
              <a:pathLst>
                <a:path h="3">
                  <a:moveTo>
                    <a:pt x="0" y="1"/>
                  </a:moveTo>
                  <a:lnTo>
                    <a:pt x="0" y="0"/>
                  </a:lnTo>
                  <a:lnTo>
                    <a:pt x="0" y="3"/>
                  </a:lnTo>
                  <a:lnTo>
                    <a:pt x="0" y="1"/>
                  </a:lnTo>
                  <a:lnTo>
                    <a:pt x="0" y="1"/>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4" name="Freeform 3366"/>
            <p:cNvSpPr>
              <a:spLocks/>
            </p:cNvSpPr>
            <p:nvPr/>
          </p:nvSpPr>
          <p:spPr bwMode="auto">
            <a:xfrm>
              <a:off x="952826" y="4911665"/>
              <a:ext cx="3220" cy="6440"/>
            </a:xfrm>
            <a:custGeom>
              <a:avLst/>
              <a:gdLst>
                <a:gd name="T0" fmla="*/ 0 w 2"/>
                <a:gd name="T1" fmla="*/ 0 h 4"/>
                <a:gd name="T2" fmla="*/ 0 w 2"/>
                <a:gd name="T3" fmla="*/ 0 h 4"/>
                <a:gd name="T4" fmla="*/ 2 w 2"/>
                <a:gd name="T5" fmla="*/ 0 h 4"/>
                <a:gd name="T6" fmla="*/ 2 w 2"/>
                <a:gd name="T7" fmla="*/ 2 h 4"/>
                <a:gd name="T8" fmla="*/ 2 w 2"/>
                <a:gd name="T9" fmla="*/ 4 h 4"/>
                <a:gd name="T10" fmla="*/ 2 w 2"/>
                <a:gd name="T11" fmla="*/ 4 h 4"/>
                <a:gd name="T12" fmla="*/ 0 w 2"/>
                <a:gd name="T13" fmla="*/ 4 h 4"/>
                <a:gd name="T14" fmla="*/ 0 w 2"/>
                <a:gd name="T15" fmla="*/ 2 h 4"/>
                <a:gd name="T16" fmla="*/ 0 w 2"/>
                <a:gd name="T17" fmla="*/ 2 h 4"/>
                <a:gd name="T18" fmla="*/ 0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0"/>
                  </a:moveTo>
                  <a:lnTo>
                    <a:pt x="0" y="0"/>
                  </a:lnTo>
                  <a:lnTo>
                    <a:pt x="2" y="0"/>
                  </a:lnTo>
                  <a:lnTo>
                    <a:pt x="2" y="2"/>
                  </a:lnTo>
                  <a:lnTo>
                    <a:pt x="2" y="4"/>
                  </a:lnTo>
                  <a:lnTo>
                    <a:pt x="2" y="4"/>
                  </a:lnTo>
                  <a:lnTo>
                    <a:pt x="0" y="4"/>
                  </a:lnTo>
                  <a:lnTo>
                    <a:pt x="0" y="2"/>
                  </a:lnTo>
                  <a:lnTo>
                    <a:pt x="0" y="2"/>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5" name="Freeform 3367"/>
            <p:cNvSpPr>
              <a:spLocks/>
            </p:cNvSpPr>
            <p:nvPr/>
          </p:nvSpPr>
          <p:spPr bwMode="auto">
            <a:xfrm>
              <a:off x="952826" y="4911665"/>
              <a:ext cx="3220" cy="6440"/>
            </a:xfrm>
            <a:custGeom>
              <a:avLst/>
              <a:gdLst>
                <a:gd name="T0" fmla="*/ 0 w 2"/>
                <a:gd name="T1" fmla="*/ 0 h 4"/>
                <a:gd name="T2" fmla="*/ 0 w 2"/>
                <a:gd name="T3" fmla="*/ 0 h 4"/>
                <a:gd name="T4" fmla="*/ 2 w 2"/>
                <a:gd name="T5" fmla="*/ 0 h 4"/>
                <a:gd name="T6" fmla="*/ 2 w 2"/>
                <a:gd name="T7" fmla="*/ 2 h 4"/>
                <a:gd name="T8" fmla="*/ 2 w 2"/>
                <a:gd name="T9" fmla="*/ 4 h 4"/>
                <a:gd name="T10" fmla="*/ 2 w 2"/>
                <a:gd name="T11" fmla="*/ 4 h 4"/>
                <a:gd name="T12" fmla="*/ 0 w 2"/>
                <a:gd name="T13" fmla="*/ 4 h 4"/>
                <a:gd name="T14" fmla="*/ 0 w 2"/>
                <a:gd name="T15" fmla="*/ 2 h 4"/>
                <a:gd name="T16" fmla="*/ 0 w 2"/>
                <a:gd name="T17" fmla="*/ 2 h 4"/>
                <a:gd name="T18" fmla="*/ 0 w 2"/>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4">
                  <a:moveTo>
                    <a:pt x="0" y="0"/>
                  </a:moveTo>
                  <a:lnTo>
                    <a:pt x="0" y="0"/>
                  </a:lnTo>
                  <a:lnTo>
                    <a:pt x="2" y="0"/>
                  </a:lnTo>
                  <a:lnTo>
                    <a:pt x="2" y="2"/>
                  </a:lnTo>
                  <a:lnTo>
                    <a:pt x="2" y="4"/>
                  </a:lnTo>
                  <a:lnTo>
                    <a:pt x="2" y="4"/>
                  </a:lnTo>
                  <a:lnTo>
                    <a:pt x="0" y="4"/>
                  </a:lnTo>
                  <a:lnTo>
                    <a:pt x="0" y="2"/>
                  </a:lnTo>
                  <a:lnTo>
                    <a:pt x="0" y="2"/>
                  </a:lnTo>
                  <a:lnTo>
                    <a:pt x="0"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6" name="Freeform 3368"/>
            <p:cNvSpPr>
              <a:spLocks/>
            </p:cNvSpPr>
            <p:nvPr/>
          </p:nvSpPr>
          <p:spPr bwMode="auto">
            <a:xfrm>
              <a:off x="981805" y="4934205"/>
              <a:ext cx="6440" cy="3220"/>
            </a:xfrm>
            <a:custGeom>
              <a:avLst/>
              <a:gdLst>
                <a:gd name="T0" fmla="*/ 0 w 4"/>
                <a:gd name="T1" fmla="*/ 2 h 2"/>
                <a:gd name="T2" fmla="*/ 0 w 4"/>
                <a:gd name="T3" fmla="*/ 2 h 2"/>
                <a:gd name="T4" fmla="*/ 2 w 4"/>
                <a:gd name="T5" fmla="*/ 0 h 2"/>
                <a:gd name="T6" fmla="*/ 2 w 4"/>
                <a:gd name="T7" fmla="*/ 2 h 2"/>
                <a:gd name="T8" fmla="*/ 4 w 4"/>
                <a:gd name="T9" fmla="*/ 2 h 2"/>
                <a:gd name="T10" fmla="*/ 4 w 4"/>
                <a:gd name="T11" fmla="*/ 2 h 2"/>
                <a:gd name="T12" fmla="*/ 0 w 4"/>
                <a:gd name="T13" fmla="*/ 2 h 2"/>
                <a:gd name="T14" fmla="*/ 0 w 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0" y="2"/>
                  </a:moveTo>
                  <a:lnTo>
                    <a:pt x="0" y="2"/>
                  </a:lnTo>
                  <a:lnTo>
                    <a:pt x="2" y="0"/>
                  </a:lnTo>
                  <a:lnTo>
                    <a:pt x="2" y="2"/>
                  </a:lnTo>
                  <a:lnTo>
                    <a:pt x="4" y="2"/>
                  </a:lnTo>
                  <a:lnTo>
                    <a:pt x="4" y="2"/>
                  </a:lnTo>
                  <a:lnTo>
                    <a:pt x="0" y="2"/>
                  </a:lnTo>
                  <a:lnTo>
                    <a:pt x="0" y="2"/>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7" name="Freeform 3369"/>
            <p:cNvSpPr>
              <a:spLocks/>
            </p:cNvSpPr>
            <p:nvPr/>
          </p:nvSpPr>
          <p:spPr bwMode="auto">
            <a:xfrm>
              <a:off x="981805" y="4934205"/>
              <a:ext cx="6440" cy="3220"/>
            </a:xfrm>
            <a:custGeom>
              <a:avLst/>
              <a:gdLst>
                <a:gd name="T0" fmla="*/ 0 w 4"/>
                <a:gd name="T1" fmla="*/ 2 h 2"/>
                <a:gd name="T2" fmla="*/ 0 w 4"/>
                <a:gd name="T3" fmla="*/ 2 h 2"/>
                <a:gd name="T4" fmla="*/ 2 w 4"/>
                <a:gd name="T5" fmla="*/ 0 h 2"/>
                <a:gd name="T6" fmla="*/ 2 w 4"/>
                <a:gd name="T7" fmla="*/ 2 h 2"/>
                <a:gd name="T8" fmla="*/ 4 w 4"/>
                <a:gd name="T9" fmla="*/ 2 h 2"/>
                <a:gd name="T10" fmla="*/ 4 w 4"/>
                <a:gd name="T11" fmla="*/ 2 h 2"/>
                <a:gd name="T12" fmla="*/ 0 w 4"/>
                <a:gd name="T13" fmla="*/ 2 h 2"/>
                <a:gd name="T14" fmla="*/ 0 w 4"/>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
                  <a:moveTo>
                    <a:pt x="0" y="2"/>
                  </a:moveTo>
                  <a:lnTo>
                    <a:pt x="0" y="2"/>
                  </a:lnTo>
                  <a:lnTo>
                    <a:pt x="2" y="0"/>
                  </a:lnTo>
                  <a:lnTo>
                    <a:pt x="2" y="2"/>
                  </a:lnTo>
                  <a:lnTo>
                    <a:pt x="4" y="2"/>
                  </a:lnTo>
                  <a:lnTo>
                    <a:pt x="4" y="2"/>
                  </a:lnTo>
                  <a:lnTo>
                    <a:pt x="0" y="2"/>
                  </a:lnTo>
                  <a:lnTo>
                    <a:pt x="0" y="2"/>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79" name="Freeform 3370"/>
            <p:cNvSpPr>
              <a:spLocks/>
            </p:cNvSpPr>
            <p:nvPr/>
          </p:nvSpPr>
          <p:spPr bwMode="auto">
            <a:xfrm>
              <a:off x="2372827" y="4077696"/>
              <a:ext cx="276916" cy="91769"/>
            </a:xfrm>
            <a:custGeom>
              <a:avLst/>
              <a:gdLst>
                <a:gd name="T0" fmla="*/ 124 w 172"/>
                <a:gd name="T1" fmla="*/ 27 h 57"/>
                <a:gd name="T2" fmla="*/ 136 w 172"/>
                <a:gd name="T3" fmla="*/ 32 h 57"/>
                <a:gd name="T4" fmla="*/ 145 w 172"/>
                <a:gd name="T5" fmla="*/ 34 h 57"/>
                <a:gd name="T6" fmla="*/ 149 w 172"/>
                <a:gd name="T7" fmla="*/ 36 h 57"/>
                <a:gd name="T8" fmla="*/ 147 w 172"/>
                <a:gd name="T9" fmla="*/ 40 h 57"/>
                <a:gd name="T10" fmla="*/ 147 w 172"/>
                <a:gd name="T11" fmla="*/ 41 h 57"/>
                <a:gd name="T12" fmla="*/ 161 w 172"/>
                <a:gd name="T13" fmla="*/ 41 h 57"/>
                <a:gd name="T14" fmla="*/ 163 w 172"/>
                <a:gd name="T15" fmla="*/ 45 h 57"/>
                <a:gd name="T16" fmla="*/ 172 w 172"/>
                <a:gd name="T17" fmla="*/ 48 h 57"/>
                <a:gd name="T18" fmla="*/ 157 w 172"/>
                <a:gd name="T19" fmla="*/ 56 h 57"/>
                <a:gd name="T20" fmla="*/ 115 w 172"/>
                <a:gd name="T21" fmla="*/ 57 h 57"/>
                <a:gd name="T22" fmla="*/ 118 w 172"/>
                <a:gd name="T23" fmla="*/ 52 h 57"/>
                <a:gd name="T24" fmla="*/ 125 w 172"/>
                <a:gd name="T25" fmla="*/ 47 h 57"/>
                <a:gd name="T26" fmla="*/ 120 w 172"/>
                <a:gd name="T27" fmla="*/ 43 h 57"/>
                <a:gd name="T28" fmla="*/ 104 w 172"/>
                <a:gd name="T29" fmla="*/ 38 h 57"/>
                <a:gd name="T30" fmla="*/ 100 w 172"/>
                <a:gd name="T31" fmla="*/ 29 h 57"/>
                <a:gd name="T32" fmla="*/ 75 w 172"/>
                <a:gd name="T33" fmla="*/ 23 h 57"/>
                <a:gd name="T34" fmla="*/ 63 w 172"/>
                <a:gd name="T35" fmla="*/ 20 h 57"/>
                <a:gd name="T36" fmla="*/ 59 w 172"/>
                <a:gd name="T37" fmla="*/ 18 h 57"/>
                <a:gd name="T38" fmla="*/ 54 w 172"/>
                <a:gd name="T39" fmla="*/ 18 h 57"/>
                <a:gd name="T40" fmla="*/ 47 w 172"/>
                <a:gd name="T41" fmla="*/ 16 h 57"/>
                <a:gd name="T42" fmla="*/ 45 w 172"/>
                <a:gd name="T43" fmla="*/ 15 h 57"/>
                <a:gd name="T44" fmla="*/ 50 w 172"/>
                <a:gd name="T45" fmla="*/ 13 h 57"/>
                <a:gd name="T46" fmla="*/ 50 w 172"/>
                <a:gd name="T47" fmla="*/ 11 h 57"/>
                <a:gd name="T48" fmla="*/ 49 w 172"/>
                <a:gd name="T49" fmla="*/ 9 h 57"/>
                <a:gd name="T50" fmla="*/ 29 w 172"/>
                <a:gd name="T51" fmla="*/ 13 h 57"/>
                <a:gd name="T52" fmla="*/ 18 w 172"/>
                <a:gd name="T53" fmla="*/ 18 h 57"/>
                <a:gd name="T54" fmla="*/ 11 w 172"/>
                <a:gd name="T55" fmla="*/ 22 h 57"/>
                <a:gd name="T56" fmla="*/ 7 w 172"/>
                <a:gd name="T57" fmla="*/ 25 h 57"/>
                <a:gd name="T58" fmla="*/ 6 w 172"/>
                <a:gd name="T59" fmla="*/ 23 h 57"/>
                <a:gd name="T60" fmla="*/ 0 w 172"/>
                <a:gd name="T61" fmla="*/ 22 h 57"/>
                <a:gd name="T62" fmla="*/ 7 w 172"/>
                <a:gd name="T63" fmla="*/ 20 h 57"/>
                <a:gd name="T64" fmla="*/ 9 w 172"/>
                <a:gd name="T65" fmla="*/ 13 h 57"/>
                <a:gd name="T66" fmla="*/ 40 w 172"/>
                <a:gd name="T67" fmla="*/ 0 h 57"/>
                <a:gd name="T68" fmla="*/ 68 w 172"/>
                <a:gd name="T69" fmla="*/ 2 h 57"/>
                <a:gd name="T70" fmla="*/ 77 w 172"/>
                <a:gd name="T71" fmla="*/ 4 h 57"/>
                <a:gd name="T72" fmla="*/ 84 w 172"/>
                <a:gd name="T73" fmla="*/ 9 h 57"/>
                <a:gd name="T74" fmla="*/ 90 w 172"/>
                <a:gd name="T75" fmla="*/ 13 h 57"/>
                <a:gd name="T76" fmla="*/ 99 w 172"/>
                <a:gd name="T77" fmla="*/ 15 h 57"/>
                <a:gd name="T78" fmla="*/ 102 w 172"/>
                <a:gd name="T79" fmla="*/ 15 h 57"/>
                <a:gd name="T80" fmla="*/ 100 w 172"/>
                <a:gd name="T81" fmla="*/ 16 h 57"/>
                <a:gd name="T82" fmla="*/ 106 w 172"/>
                <a:gd name="T83" fmla="*/ 16 h 57"/>
                <a:gd name="T84" fmla="*/ 111 w 172"/>
                <a:gd name="T85" fmla="*/ 2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2" h="57">
                  <a:moveTo>
                    <a:pt x="124" y="25"/>
                  </a:moveTo>
                  <a:lnTo>
                    <a:pt x="124" y="27"/>
                  </a:lnTo>
                  <a:lnTo>
                    <a:pt x="134" y="32"/>
                  </a:lnTo>
                  <a:lnTo>
                    <a:pt x="136" y="32"/>
                  </a:lnTo>
                  <a:lnTo>
                    <a:pt x="141" y="34"/>
                  </a:lnTo>
                  <a:lnTo>
                    <a:pt x="145" y="34"/>
                  </a:lnTo>
                  <a:lnTo>
                    <a:pt x="147" y="34"/>
                  </a:lnTo>
                  <a:lnTo>
                    <a:pt x="149" y="36"/>
                  </a:lnTo>
                  <a:lnTo>
                    <a:pt x="149" y="38"/>
                  </a:lnTo>
                  <a:lnTo>
                    <a:pt x="147" y="40"/>
                  </a:lnTo>
                  <a:lnTo>
                    <a:pt x="147" y="41"/>
                  </a:lnTo>
                  <a:lnTo>
                    <a:pt x="147" y="41"/>
                  </a:lnTo>
                  <a:lnTo>
                    <a:pt x="159" y="41"/>
                  </a:lnTo>
                  <a:lnTo>
                    <a:pt x="161" y="41"/>
                  </a:lnTo>
                  <a:lnTo>
                    <a:pt x="163" y="45"/>
                  </a:lnTo>
                  <a:lnTo>
                    <a:pt x="163" y="45"/>
                  </a:lnTo>
                  <a:lnTo>
                    <a:pt x="166" y="48"/>
                  </a:lnTo>
                  <a:lnTo>
                    <a:pt x="172" y="48"/>
                  </a:lnTo>
                  <a:lnTo>
                    <a:pt x="172" y="50"/>
                  </a:lnTo>
                  <a:lnTo>
                    <a:pt x="157" y="56"/>
                  </a:lnTo>
                  <a:lnTo>
                    <a:pt x="116" y="57"/>
                  </a:lnTo>
                  <a:lnTo>
                    <a:pt x="115" y="57"/>
                  </a:lnTo>
                  <a:lnTo>
                    <a:pt x="115" y="56"/>
                  </a:lnTo>
                  <a:lnTo>
                    <a:pt x="118" y="52"/>
                  </a:lnTo>
                  <a:lnTo>
                    <a:pt x="125" y="48"/>
                  </a:lnTo>
                  <a:lnTo>
                    <a:pt x="125" y="47"/>
                  </a:lnTo>
                  <a:lnTo>
                    <a:pt x="125" y="45"/>
                  </a:lnTo>
                  <a:lnTo>
                    <a:pt x="120" y="43"/>
                  </a:lnTo>
                  <a:lnTo>
                    <a:pt x="109" y="43"/>
                  </a:lnTo>
                  <a:lnTo>
                    <a:pt x="104" y="38"/>
                  </a:lnTo>
                  <a:lnTo>
                    <a:pt x="102" y="31"/>
                  </a:lnTo>
                  <a:lnTo>
                    <a:pt x="100" y="29"/>
                  </a:lnTo>
                  <a:lnTo>
                    <a:pt x="88" y="27"/>
                  </a:lnTo>
                  <a:lnTo>
                    <a:pt x="75" y="23"/>
                  </a:lnTo>
                  <a:lnTo>
                    <a:pt x="70" y="20"/>
                  </a:lnTo>
                  <a:lnTo>
                    <a:pt x="63" y="20"/>
                  </a:lnTo>
                  <a:lnTo>
                    <a:pt x="61" y="18"/>
                  </a:lnTo>
                  <a:lnTo>
                    <a:pt x="59" y="18"/>
                  </a:lnTo>
                  <a:lnTo>
                    <a:pt x="56" y="20"/>
                  </a:lnTo>
                  <a:lnTo>
                    <a:pt x="54" y="18"/>
                  </a:lnTo>
                  <a:lnTo>
                    <a:pt x="54" y="18"/>
                  </a:lnTo>
                  <a:lnTo>
                    <a:pt x="47" y="16"/>
                  </a:lnTo>
                  <a:lnTo>
                    <a:pt x="47" y="16"/>
                  </a:lnTo>
                  <a:lnTo>
                    <a:pt x="45" y="15"/>
                  </a:lnTo>
                  <a:lnTo>
                    <a:pt x="45" y="15"/>
                  </a:lnTo>
                  <a:lnTo>
                    <a:pt x="50" y="13"/>
                  </a:lnTo>
                  <a:lnTo>
                    <a:pt x="52" y="11"/>
                  </a:lnTo>
                  <a:lnTo>
                    <a:pt x="50" y="11"/>
                  </a:lnTo>
                  <a:lnTo>
                    <a:pt x="49" y="9"/>
                  </a:lnTo>
                  <a:lnTo>
                    <a:pt x="49" y="9"/>
                  </a:lnTo>
                  <a:lnTo>
                    <a:pt x="34" y="9"/>
                  </a:lnTo>
                  <a:lnTo>
                    <a:pt x="29" y="13"/>
                  </a:lnTo>
                  <a:lnTo>
                    <a:pt x="27" y="15"/>
                  </a:lnTo>
                  <a:lnTo>
                    <a:pt x="18" y="18"/>
                  </a:lnTo>
                  <a:lnTo>
                    <a:pt x="15" y="20"/>
                  </a:lnTo>
                  <a:lnTo>
                    <a:pt x="11" y="22"/>
                  </a:lnTo>
                  <a:lnTo>
                    <a:pt x="7" y="25"/>
                  </a:lnTo>
                  <a:lnTo>
                    <a:pt x="7" y="25"/>
                  </a:lnTo>
                  <a:lnTo>
                    <a:pt x="7" y="23"/>
                  </a:lnTo>
                  <a:lnTo>
                    <a:pt x="6" y="23"/>
                  </a:lnTo>
                  <a:lnTo>
                    <a:pt x="0" y="23"/>
                  </a:lnTo>
                  <a:lnTo>
                    <a:pt x="0" y="22"/>
                  </a:lnTo>
                  <a:lnTo>
                    <a:pt x="6" y="20"/>
                  </a:lnTo>
                  <a:lnTo>
                    <a:pt x="7" y="20"/>
                  </a:lnTo>
                  <a:lnTo>
                    <a:pt x="7" y="20"/>
                  </a:lnTo>
                  <a:lnTo>
                    <a:pt x="9" y="13"/>
                  </a:lnTo>
                  <a:lnTo>
                    <a:pt x="9" y="11"/>
                  </a:lnTo>
                  <a:lnTo>
                    <a:pt x="40" y="0"/>
                  </a:lnTo>
                  <a:lnTo>
                    <a:pt x="66" y="0"/>
                  </a:lnTo>
                  <a:lnTo>
                    <a:pt x="68" y="2"/>
                  </a:lnTo>
                  <a:lnTo>
                    <a:pt x="70" y="4"/>
                  </a:lnTo>
                  <a:lnTo>
                    <a:pt x="77" y="4"/>
                  </a:lnTo>
                  <a:lnTo>
                    <a:pt x="82" y="7"/>
                  </a:lnTo>
                  <a:lnTo>
                    <a:pt x="84" y="9"/>
                  </a:lnTo>
                  <a:lnTo>
                    <a:pt x="88" y="13"/>
                  </a:lnTo>
                  <a:lnTo>
                    <a:pt x="90" y="13"/>
                  </a:lnTo>
                  <a:lnTo>
                    <a:pt x="97" y="13"/>
                  </a:lnTo>
                  <a:lnTo>
                    <a:pt x="99" y="15"/>
                  </a:lnTo>
                  <a:lnTo>
                    <a:pt x="100" y="15"/>
                  </a:lnTo>
                  <a:lnTo>
                    <a:pt x="102" y="15"/>
                  </a:lnTo>
                  <a:lnTo>
                    <a:pt x="100" y="15"/>
                  </a:lnTo>
                  <a:lnTo>
                    <a:pt x="100" y="16"/>
                  </a:lnTo>
                  <a:lnTo>
                    <a:pt x="102" y="16"/>
                  </a:lnTo>
                  <a:lnTo>
                    <a:pt x="106" y="16"/>
                  </a:lnTo>
                  <a:lnTo>
                    <a:pt x="107" y="18"/>
                  </a:lnTo>
                  <a:lnTo>
                    <a:pt x="111" y="22"/>
                  </a:lnTo>
                  <a:lnTo>
                    <a:pt x="124" y="25"/>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1" name="Freeform 3371"/>
            <p:cNvSpPr>
              <a:spLocks/>
            </p:cNvSpPr>
            <p:nvPr/>
          </p:nvSpPr>
          <p:spPr bwMode="auto">
            <a:xfrm>
              <a:off x="2372827" y="4077696"/>
              <a:ext cx="276916" cy="91769"/>
            </a:xfrm>
            <a:custGeom>
              <a:avLst/>
              <a:gdLst>
                <a:gd name="T0" fmla="*/ 124 w 172"/>
                <a:gd name="T1" fmla="*/ 27 h 57"/>
                <a:gd name="T2" fmla="*/ 136 w 172"/>
                <a:gd name="T3" fmla="*/ 32 h 57"/>
                <a:gd name="T4" fmla="*/ 145 w 172"/>
                <a:gd name="T5" fmla="*/ 34 h 57"/>
                <a:gd name="T6" fmla="*/ 149 w 172"/>
                <a:gd name="T7" fmla="*/ 36 h 57"/>
                <a:gd name="T8" fmla="*/ 147 w 172"/>
                <a:gd name="T9" fmla="*/ 40 h 57"/>
                <a:gd name="T10" fmla="*/ 147 w 172"/>
                <a:gd name="T11" fmla="*/ 41 h 57"/>
                <a:gd name="T12" fmla="*/ 161 w 172"/>
                <a:gd name="T13" fmla="*/ 41 h 57"/>
                <a:gd name="T14" fmla="*/ 163 w 172"/>
                <a:gd name="T15" fmla="*/ 45 h 57"/>
                <a:gd name="T16" fmla="*/ 172 w 172"/>
                <a:gd name="T17" fmla="*/ 48 h 57"/>
                <a:gd name="T18" fmla="*/ 157 w 172"/>
                <a:gd name="T19" fmla="*/ 56 h 57"/>
                <a:gd name="T20" fmla="*/ 115 w 172"/>
                <a:gd name="T21" fmla="*/ 57 h 57"/>
                <a:gd name="T22" fmla="*/ 118 w 172"/>
                <a:gd name="T23" fmla="*/ 52 h 57"/>
                <a:gd name="T24" fmla="*/ 125 w 172"/>
                <a:gd name="T25" fmla="*/ 47 h 57"/>
                <a:gd name="T26" fmla="*/ 120 w 172"/>
                <a:gd name="T27" fmla="*/ 43 h 57"/>
                <a:gd name="T28" fmla="*/ 104 w 172"/>
                <a:gd name="T29" fmla="*/ 38 h 57"/>
                <a:gd name="T30" fmla="*/ 100 w 172"/>
                <a:gd name="T31" fmla="*/ 29 h 57"/>
                <a:gd name="T32" fmla="*/ 75 w 172"/>
                <a:gd name="T33" fmla="*/ 23 h 57"/>
                <a:gd name="T34" fmla="*/ 63 w 172"/>
                <a:gd name="T35" fmla="*/ 20 h 57"/>
                <a:gd name="T36" fmla="*/ 59 w 172"/>
                <a:gd name="T37" fmla="*/ 18 h 57"/>
                <a:gd name="T38" fmla="*/ 54 w 172"/>
                <a:gd name="T39" fmla="*/ 18 h 57"/>
                <a:gd name="T40" fmla="*/ 47 w 172"/>
                <a:gd name="T41" fmla="*/ 16 h 57"/>
                <a:gd name="T42" fmla="*/ 45 w 172"/>
                <a:gd name="T43" fmla="*/ 15 h 57"/>
                <a:gd name="T44" fmla="*/ 50 w 172"/>
                <a:gd name="T45" fmla="*/ 13 h 57"/>
                <a:gd name="T46" fmla="*/ 50 w 172"/>
                <a:gd name="T47" fmla="*/ 11 h 57"/>
                <a:gd name="T48" fmla="*/ 49 w 172"/>
                <a:gd name="T49" fmla="*/ 9 h 57"/>
                <a:gd name="T50" fmla="*/ 29 w 172"/>
                <a:gd name="T51" fmla="*/ 13 h 57"/>
                <a:gd name="T52" fmla="*/ 18 w 172"/>
                <a:gd name="T53" fmla="*/ 18 h 57"/>
                <a:gd name="T54" fmla="*/ 11 w 172"/>
                <a:gd name="T55" fmla="*/ 22 h 57"/>
                <a:gd name="T56" fmla="*/ 7 w 172"/>
                <a:gd name="T57" fmla="*/ 25 h 57"/>
                <a:gd name="T58" fmla="*/ 6 w 172"/>
                <a:gd name="T59" fmla="*/ 23 h 57"/>
                <a:gd name="T60" fmla="*/ 0 w 172"/>
                <a:gd name="T61" fmla="*/ 22 h 57"/>
                <a:gd name="T62" fmla="*/ 7 w 172"/>
                <a:gd name="T63" fmla="*/ 20 h 57"/>
                <a:gd name="T64" fmla="*/ 9 w 172"/>
                <a:gd name="T65" fmla="*/ 13 h 57"/>
                <a:gd name="T66" fmla="*/ 40 w 172"/>
                <a:gd name="T67" fmla="*/ 0 h 57"/>
                <a:gd name="T68" fmla="*/ 68 w 172"/>
                <a:gd name="T69" fmla="*/ 2 h 57"/>
                <a:gd name="T70" fmla="*/ 77 w 172"/>
                <a:gd name="T71" fmla="*/ 4 h 57"/>
                <a:gd name="T72" fmla="*/ 84 w 172"/>
                <a:gd name="T73" fmla="*/ 9 h 57"/>
                <a:gd name="T74" fmla="*/ 90 w 172"/>
                <a:gd name="T75" fmla="*/ 13 h 57"/>
                <a:gd name="T76" fmla="*/ 99 w 172"/>
                <a:gd name="T77" fmla="*/ 15 h 57"/>
                <a:gd name="T78" fmla="*/ 102 w 172"/>
                <a:gd name="T79" fmla="*/ 15 h 57"/>
                <a:gd name="T80" fmla="*/ 100 w 172"/>
                <a:gd name="T81" fmla="*/ 16 h 57"/>
                <a:gd name="T82" fmla="*/ 106 w 172"/>
                <a:gd name="T83" fmla="*/ 16 h 57"/>
                <a:gd name="T84" fmla="*/ 111 w 172"/>
                <a:gd name="T85" fmla="*/ 2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2" h="57">
                  <a:moveTo>
                    <a:pt x="124" y="25"/>
                  </a:moveTo>
                  <a:lnTo>
                    <a:pt x="124" y="27"/>
                  </a:lnTo>
                  <a:lnTo>
                    <a:pt x="134" y="32"/>
                  </a:lnTo>
                  <a:lnTo>
                    <a:pt x="136" y="32"/>
                  </a:lnTo>
                  <a:lnTo>
                    <a:pt x="141" y="34"/>
                  </a:lnTo>
                  <a:lnTo>
                    <a:pt x="145" y="34"/>
                  </a:lnTo>
                  <a:lnTo>
                    <a:pt x="147" y="34"/>
                  </a:lnTo>
                  <a:lnTo>
                    <a:pt x="149" y="36"/>
                  </a:lnTo>
                  <a:lnTo>
                    <a:pt x="149" y="38"/>
                  </a:lnTo>
                  <a:lnTo>
                    <a:pt x="147" y="40"/>
                  </a:lnTo>
                  <a:lnTo>
                    <a:pt x="147" y="41"/>
                  </a:lnTo>
                  <a:lnTo>
                    <a:pt x="147" y="41"/>
                  </a:lnTo>
                  <a:lnTo>
                    <a:pt x="159" y="41"/>
                  </a:lnTo>
                  <a:lnTo>
                    <a:pt x="161" y="41"/>
                  </a:lnTo>
                  <a:lnTo>
                    <a:pt x="163" y="45"/>
                  </a:lnTo>
                  <a:lnTo>
                    <a:pt x="163" y="45"/>
                  </a:lnTo>
                  <a:lnTo>
                    <a:pt x="166" y="48"/>
                  </a:lnTo>
                  <a:lnTo>
                    <a:pt x="172" y="48"/>
                  </a:lnTo>
                  <a:lnTo>
                    <a:pt x="172" y="50"/>
                  </a:lnTo>
                  <a:lnTo>
                    <a:pt x="157" y="56"/>
                  </a:lnTo>
                  <a:lnTo>
                    <a:pt x="116" y="57"/>
                  </a:lnTo>
                  <a:lnTo>
                    <a:pt x="115" y="57"/>
                  </a:lnTo>
                  <a:lnTo>
                    <a:pt x="115" y="56"/>
                  </a:lnTo>
                  <a:lnTo>
                    <a:pt x="118" y="52"/>
                  </a:lnTo>
                  <a:lnTo>
                    <a:pt x="125" y="48"/>
                  </a:lnTo>
                  <a:lnTo>
                    <a:pt x="125" y="47"/>
                  </a:lnTo>
                  <a:lnTo>
                    <a:pt x="125" y="45"/>
                  </a:lnTo>
                  <a:lnTo>
                    <a:pt x="120" y="43"/>
                  </a:lnTo>
                  <a:lnTo>
                    <a:pt x="109" y="43"/>
                  </a:lnTo>
                  <a:lnTo>
                    <a:pt x="104" y="38"/>
                  </a:lnTo>
                  <a:lnTo>
                    <a:pt x="102" y="31"/>
                  </a:lnTo>
                  <a:lnTo>
                    <a:pt x="100" y="29"/>
                  </a:lnTo>
                  <a:lnTo>
                    <a:pt x="88" y="27"/>
                  </a:lnTo>
                  <a:lnTo>
                    <a:pt x="75" y="23"/>
                  </a:lnTo>
                  <a:lnTo>
                    <a:pt x="70" y="20"/>
                  </a:lnTo>
                  <a:lnTo>
                    <a:pt x="63" y="20"/>
                  </a:lnTo>
                  <a:lnTo>
                    <a:pt x="61" y="18"/>
                  </a:lnTo>
                  <a:lnTo>
                    <a:pt x="59" y="18"/>
                  </a:lnTo>
                  <a:lnTo>
                    <a:pt x="56" y="20"/>
                  </a:lnTo>
                  <a:lnTo>
                    <a:pt x="54" y="18"/>
                  </a:lnTo>
                  <a:lnTo>
                    <a:pt x="54" y="18"/>
                  </a:lnTo>
                  <a:lnTo>
                    <a:pt x="47" y="16"/>
                  </a:lnTo>
                  <a:lnTo>
                    <a:pt x="47" y="16"/>
                  </a:lnTo>
                  <a:lnTo>
                    <a:pt x="45" y="15"/>
                  </a:lnTo>
                  <a:lnTo>
                    <a:pt x="45" y="15"/>
                  </a:lnTo>
                  <a:lnTo>
                    <a:pt x="50" y="13"/>
                  </a:lnTo>
                  <a:lnTo>
                    <a:pt x="52" y="11"/>
                  </a:lnTo>
                  <a:lnTo>
                    <a:pt x="50" y="11"/>
                  </a:lnTo>
                  <a:lnTo>
                    <a:pt x="49" y="9"/>
                  </a:lnTo>
                  <a:lnTo>
                    <a:pt x="49" y="9"/>
                  </a:lnTo>
                  <a:lnTo>
                    <a:pt x="34" y="9"/>
                  </a:lnTo>
                  <a:lnTo>
                    <a:pt x="29" y="13"/>
                  </a:lnTo>
                  <a:lnTo>
                    <a:pt x="27" y="15"/>
                  </a:lnTo>
                  <a:lnTo>
                    <a:pt x="18" y="18"/>
                  </a:lnTo>
                  <a:lnTo>
                    <a:pt x="15" y="20"/>
                  </a:lnTo>
                  <a:lnTo>
                    <a:pt x="11" y="22"/>
                  </a:lnTo>
                  <a:lnTo>
                    <a:pt x="7" y="25"/>
                  </a:lnTo>
                  <a:lnTo>
                    <a:pt x="7" y="25"/>
                  </a:lnTo>
                  <a:lnTo>
                    <a:pt x="7" y="23"/>
                  </a:lnTo>
                  <a:lnTo>
                    <a:pt x="6" y="23"/>
                  </a:lnTo>
                  <a:lnTo>
                    <a:pt x="0" y="23"/>
                  </a:lnTo>
                  <a:lnTo>
                    <a:pt x="0" y="22"/>
                  </a:lnTo>
                  <a:lnTo>
                    <a:pt x="6" y="20"/>
                  </a:lnTo>
                  <a:lnTo>
                    <a:pt x="7" y="20"/>
                  </a:lnTo>
                  <a:lnTo>
                    <a:pt x="7" y="20"/>
                  </a:lnTo>
                  <a:lnTo>
                    <a:pt x="9" y="13"/>
                  </a:lnTo>
                  <a:lnTo>
                    <a:pt x="9" y="11"/>
                  </a:lnTo>
                  <a:lnTo>
                    <a:pt x="40" y="0"/>
                  </a:lnTo>
                  <a:lnTo>
                    <a:pt x="66" y="0"/>
                  </a:lnTo>
                  <a:lnTo>
                    <a:pt x="68" y="2"/>
                  </a:lnTo>
                  <a:lnTo>
                    <a:pt x="70" y="4"/>
                  </a:lnTo>
                  <a:lnTo>
                    <a:pt x="77" y="4"/>
                  </a:lnTo>
                  <a:lnTo>
                    <a:pt x="82" y="7"/>
                  </a:lnTo>
                  <a:lnTo>
                    <a:pt x="84" y="9"/>
                  </a:lnTo>
                  <a:lnTo>
                    <a:pt x="88" y="13"/>
                  </a:lnTo>
                  <a:lnTo>
                    <a:pt x="90" y="13"/>
                  </a:lnTo>
                  <a:lnTo>
                    <a:pt x="97" y="13"/>
                  </a:lnTo>
                  <a:lnTo>
                    <a:pt x="99" y="15"/>
                  </a:lnTo>
                  <a:lnTo>
                    <a:pt x="100" y="15"/>
                  </a:lnTo>
                  <a:lnTo>
                    <a:pt x="102" y="15"/>
                  </a:lnTo>
                  <a:lnTo>
                    <a:pt x="100" y="15"/>
                  </a:lnTo>
                  <a:lnTo>
                    <a:pt x="100" y="16"/>
                  </a:lnTo>
                  <a:lnTo>
                    <a:pt x="102" y="16"/>
                  </a:lnTo>
                  <a:lnTo>
                    <a:pt x="106" y="16"/>
                  </a:lnTo>
                  <a:lnTo>
                    <a:pt x="107" y="18"/>
                  </a:lnTo>
                  <a:lnTo>
                    <a:pt x="111" y="22"/>
                  </a:lnTo>
                  <a:lnTo>
                    <a:pt x="124" y="25"/>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2" name="Freeform 3372"/>
            <p:cNvSpPr>
              <a:spLocks/>
            </p:cNvSpPr>
            <p:nvPr/>
          </p:nvSpPr>
          <p:spPr bwMode="auto">
            <a:xfrm>
              <a:off x="2416297" y="4113115"/>
              <a:ext cx="14490" cy="14490"/>
            </a:xfrm>
            <a:custGeom>
              <a:avLst/>
              <a:gdLst>
                <a:gd name="T0" fmla="*/ 7 w 9"/>
                <a:gd name="T1" fmla="*/ 0 h 9"/>
                <a:gd name="T2" fmla="*/ 7 w 9"/>
                <a:gd name="T3" fmla="*/ 1 h 9"/>
                <a:gd name="T4" fmla="*/ 9 w 9"/>
                <a:gd name="T5" fmla="*/ 3 h 9"/>
                <a:gd name="T6" fmla="*/ 9 w 9"/>
                <a:gd name="T7" fmla="*/ 7 h 9"/>
                <a:gd name="T8" fmla="*/ 5 w 9"/>
                <a:gd name="T9" fmla="*/ 9 h 9"/>
                <a:gd name="T10" fmla="*/ 2 w 9"/>
                <a:gd name="T11" fmla="*/ 9 h 9"/>
                <a:gd name="T12" fmla="*/ 2 w 9"/>
                <a:gd name="T13" fmla="*/ 7 h 9"/>
                <a:gd name="T14" fmla="*/ 0 w 9"/>
                <a:gd name="T15" fmla="*/ 5 h 9"/>
                <a:gd name="T16" fmla="*/ 4 w 9"/>
                <a:gd name="T17" fmla="*/ 7 h 9"/>
                <a:gd name="T18" fmla="*/ 4 w 9"/>
                <a:gd name="T19" fmla="*/ 5 h 9"/>
                <a:gd name="T20" fmla="*/ 4 w 9"/>
                <a:gd name="T21" fmla="*/ 3 h 9"/>
                <a:gd name="T22" fmla="*/ 4 w 9"/>
                <a:gd name="T23" fmla="*/ 1 h 9"/>
                <a:gd name="T24" fmla="*/ 4 w 9"/>
                <a:gd name="T25" fmla="*/ 0 h 9"/>
                <a:gd name="T26" fmla="*/ 5 w 9"/>
                <a:gd name="T27" fmla="*/ 0 h 9"/>
                <a:gd name="T28" fmla="*/ 7 w 9"/>
                <a:gd name="T29" fmla="*/ 0 h 9"/>
                <a:gd name="T30" fmla="*/ 7 w 9"/>
                <a:gd name="T31" fmla="*/ 0 h 9"/>
                <a:gd name="T32" fmla="*/ 7 w 9"/>
                <a:gd name="T3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9">
                  <a:moveTo>
                    <a:pt x="7" y="0"/>
                  </a:moveTo>
                  <a:lnTo>
                    <a:pt x="7" y="1"/>
                  </a:lnTo>
                  <a:lnTo>
                    <a:pt x="9" y="3"/>
                  </a:lnTo>
                  <a:lnTo>
                    <a:pt x="9" y="7"/>
                  </a:lnTo>
                  <a:lnTo>
                    <a:pt x="5" y="9"/>
                  </a:lnTo>
                  <a:lnTo>
                    <a:pt x="2" y="9"/>
                  </a:lnTo>
                  <a:lnTo>
                    <a:pt x="2" y="7"/>
                  </a:lnTo>
                  <a:lnTo>
                    <a:pt x="0" y="5"/>
                  </a:lnTo>
                  <a:lnTo>
                    <a:pt x="4" y="7"/>
                  </a:lnTo>
                  <a:lnTo>
                    <a:pt x="4" y="5"/>
                  </a:lnTo>
                  <a:lnTo>
                    <a:pt x="4" y="3"/>
                  </a:lnTo>
                  <a:lnTo>
                    <a:pt x="4" y="1"/>
                  </a:lnTo>
                  <a:lnTo>
                    <a:pt x="4" y="0"/>
                  </a:lnTo>
                  <a:lnTo>
                    <a:pt x="5" y="0"/>
                  </a:lnTo>
                  <a:lnTo>
                    <a:pt x="7" y="0"/>
                  </a:lnTo>
                  <a:lnTo>
                    <a:pt x="7" y="0"/>
                  </a:lnTo>
                  <a:lnTo>
                    <a:pt x="7"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7" name="Freeform 3373"/>
            <p:cNvSpPr>
              <a:spLocks/>
            </p:cNvSpPr>
            <p:nvPr/>
          </p:nvSpPr>
          <p:spPr bwMode="auto">
            <a:xfrm>
              <a:off x="2416297" y="4113115"/>
              <a:ext cx="14490" cy="14490"/>
            </a:xfrm>
            <a:custGeom>
              <a:avLst/>
              <a:gdLst>
                <a:gd name="T0" fmla="*/ 7 w 9"/>
                <a:gd name="T1" fmla="*/ 0 h 9"/>
                <a:gd name="T2" fmla="*/ 7 w 9"/>
                <a:gd name="T3" fmla="*/ 1 h 9"/>
                <a:gd name="T4" fmla="*/ 9 w 9"/>
                <a:gd name="T5" fmla="*/ 3 h 9"/>
                <a:gd name="T6" fmla="*/ 9 w 9"/>
                <a:gd name="T7" fmla="*/ 7 h 9"/>
                <a:gd name="T8" fmla="*/ 5 w 9"/>
                <a:gd name="T9" fmla="*/ 9 h 9"/>
                <a:gd name="T10" fmla="*/ 2 w 9"/>
                <a:gd name="T11" fmla="*/ 9 h 9"/>
                <a:gd name="T12" fmla="*/ 2 w 9"/>
                <a:gd name="T13" fmla="*/ 7 h 9"/>
                <a:gd name="T14" fmla="*/ 0 w 9"/>
                <a:gd name="T15" fmla="*/ 5 h 9"/>
                <a:gd name="T16" fmla="*/ 4 w 9"/>
                <a:gd name="T17" fmla="*/ 7 h 9"/>
                <a:gd name="T18" fmla="*/ 4 w 9"/>
                <a:gd name="T19" fmla="*/ 5 h 9"/>
                <a:gd name="T20" fmla="*/ 4 w 9"/>
                <a:gd name="T21" fmla="*/ 3 h 9"/>
                <a:gd name="T22" fmla="*/ 4 w 9"/>
                <a:gd name="T23" fmla="*/ 1 h 9"/>
                <a:gd name="T24" fmla="*/ 4 w 9"/>
                <a:gd name="T25" fmla="*/ 0 h 9"/>
                <a:gd name="T26" fmla="*/ 5 w 9"/>
                <a:gd name="T27" fmla="*/ 0 h 9"/>
                <a:gd name="T28" fmla="*/ 7 w 9"/>
                <a:gd name="T29" fmla="*/ 0 h 9"/>
                <a:gd name="T30" fmla="*/ 7 w 9"/>
                <a:gd name="T31" fmla="*/ 0 h 9"/>
                <a:gd name="T32" fmla="*/ 7 w 9"/>
                <a:gd name="T33"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9">
                  <a:moveTo>
                    <a:pt x="7" y="0"/>
                  </a:moveTo>
                  <a:lnTo>
                    <a:pt x="7" y="1"/>
                  </a:lnTo>
                  <a:lnTo>
                    <a:pt x="9" y="3"/>
                  </a:lnTo>
                  <a:lnTo>
                    <a:pt x="9" y="7"/>
                  </a:lnTo>
                  <a:lnTo>
                    <a:pt x="5" y="9"/>
                  </a:lnTo>
                  <a:lnTo>
                    <a:pt x="2" y="9"/>
                  </a:lnTo>
                  <a:lnTo>
                    <a:pt x="2" y="7"/>
                  </a:lnTo>
                  <a:lnTo>
                    <a:pt x="0" y="5"/>
                  </a:lnTo>
                  <a:lnTo>
                    <a:pt x="4" y="7"/>
                  </a:lnTo>
                  <a:lnTo>
                    <a:pt x="4" y="5"/>
                  </a:lnTo>
                  <a:lnTo>
                    <a:pt x="4" y="3"/>
                  </a:lnTo>
                  <a:lnTo>
                    <a:pt x="4" y="1"/>
                  </a:lnTo>
                  <a:lnTo>
                    <a:pt x="4" y="0"/>
                  </a:lnTo>
                  <a:lnTo>
                    <a:pt x="5" y="0"/>
                  </a:lnTo>
                  <a:lnTo>
                    <a:pt x="7" y="0"/>
                  </a:lnTo>
                  <a:lnTo>
                    <a:pt x="7" y="0"/>
                  </a:lnTo>
                  <a:lnTo>
                    <a:pt x="7"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89" name="Freeform 3374"/>
            <p:cNvSpPr>
              <a:spLocks/>
            </p:cNvSpPr>
            <p:nvPr/>
          </p:nvSpPr>
          <p:spPr bwMode="auto">
            <a:xfrm>
              <a:off x="2533825" y="4095406"/>
              <a:ext cx="25760" cy="17710"/>
            </a:xfrm>
            <a:custGeom>
              <a:avLst/>
              <a:gdLst>
                <a:gd name="T0" fmla="*/ 11 w 16"/>
                <a:gd name="T1" fmla="*/ 4 h 11"/>
                <a:gd name="T2" fmla="*/ 15 w 16"/>
                <a:gd name="T3" fmla="*/ 5 h 11"/>
                <a:gd name="T4" fmla="*/ 16 w 16"/>
                <a:gd name="T5" fmla="*/ 7 h 11"/>
                <a:gd name="T6" fmla="*/ 16 w 16"/>
                <a:gd name="T7" fmla="*/ 11 h 11"/>
                <a:gd name="T8" fmla="*/ 13 w 16"/>
                <a:gd name="T9" fmla="*/ 11 h 11"/>
                <a:gd name="T10" fmla="*/ 11 w 16"/>
                <a:gd name="T11" fmla="*/ 7 h 11"/>
                <a:gd name="T12" fmla="*/ 9 w 16"/>
                <a:gd name="T13" fmla="*/ 5 h 11"/>
                <a:gd name="T14" fmla="*/ 7 w 16"/>
                <a:gd name="T15" fmla="*/ 4 h 11"/>
                <a:gd name="T16" fmla="*/ 4 w 16"/>
                <a:gd name="T17" fmla="*/ 4 h 11"/>
                <a:gd name="T18" fmla="*/ 0 w 16"/>
                <a:gd name="T19" fmla="*/ 2 h 11"/>
                <a:gd name="T20" fmla="*/ 0 w 16"/>
                <a:gd name="T21" fmla="*/ 0 h 11"/>
                <a:gd name="T22" fmla="*/ 0 w 16"/>
                <a:gd name="T23" fmla="*/ 0 h 11"/>
                <a:gd name="T24" fmla="*/ 4 w 16"/>
                <a:gd name="T25" fmla="*/ 0 h 11"/>
                <a:gd name="T26" fmla="*/ 11 w 16"/>
                <a:gd name="T2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1">
                  <a:moveTo>
                    <a:pt x="11" y="4"/>
                  </a:moveTo>
                  <a:lnTo>
                    <a:pt x="15" y="5"/>
                  </a:lnTo>
                  <a:lnTo>
                    <a:pt x="16" y="7"/>
                  </a:lnTo>
                  <a:lnTo>
                    <a:pt x="16" y="11"/>
                  </a:lnTo>
                  <a:lnTo>
                    <a:pt x="13" y="11"/>
                  </a:lnTo>
                  <a:lnTo>
                    <a:pt x="11" y="7"/>
                  </a:lnTo>
                  <a:lnTo>
                    <a:pt x="9" y="5"/>
                  </a:lnTo>
                  <a:lnTo>
                    <a:pt x="7" y="4"/>
                  </a:lnTo>
                  <a:lnTo>
                    <a:pt x="4" y="4"/>
                  </a:lnTo>
                  <a:lnTo>
                    <a:pt x="0" y="2"/>
                  </a:lnTo>
                  <a:lnTo>
                    <a:pt x="0" y="0"/>
                  </a:lnTo>
                  <a:lnTo>
                    <a:pt x="0" y="0"/>
                  </a:lnTo>
                  <a:lnTo>
                    <a:pt x="4" y="0"/>
                  </a:lnTo>
                  <a:lnTo>
                    <a:pt x="11" y="4"/>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91" name="Freeform 3375"/>
            <p:cNvSpPr>
              <a:spLocks/>
            </p:cNvSpPr>
            <p:nvPr/>
          </p:nvSpPr>
          <p:spPr bwMode="auto">
            <a:xfrm>
              <a:off x="2533825" y="4095406"/>
              <a:ext cx="25760" cy="17710"/>
            </a:xfrm>
            <a:custGeom>
              <a:avLst/>
              <a:gdLst>
                <a:gd name="T0" fmla="*/ 11 w 16"/>
                <a:gd name="T1" fmla="*/ 4 h 11"/>
                <a:gd name="T2" fmla="*/ 15 w 16"/>
                <a:gd name="T3" fmla="*/ 5 h 11"/>
                <a:gd name="T4" fmla="*/ 16 w 16"/>
                <a:gd name="T5" fmla="*/ 7 h 11"/>
                <a:gd name="T6" fmla="*/ 16 w 16"/>
                <a:gd name="T7" fmla="*/ 11 h 11"/>
                <a:gd name="T8" fmla="*/ 13 w 16"/>
                <a:gd name="T9" fmla="*/ 11 h 11"/>
                <a:gd name="T10" fmla="*/ 11 w 16"/>
                <a:gd name="T11" fmla="*/ 7 h 11"/>
                <a:gd name="T12" fmla="*/ 9 w 16"/>
                <a:gd name="T13" fmla="*/ 5 h 11"/>
                <a:gd name="T14" fmla="*/ 7 w 16"/>
                <a:gd name="T15" fmla="*/ 4 h 11"/>
                <a:gd name="T16" fmla="*/ 4 w 16"/>
                <a:gd name="T17" fmla="*/ 4 h 11"/>
                <a:gd name="T18" fmla="*/ 0 w 16"/>
                <a:gd name="T19" fmla="*/ 2 h 11"/>
                <a:gd name="T20" fmla="*/ 0 w 16"/>
                <a:gd name="T21" fmla="*/ 0 h 11"/>
                <a:gd name="T22" fmla="*/ 0 w 16"/>
                <a:gd name="T23" fmla="*/ 0 h 11"/>
                <a:gd name="T24" fmla="*/ 4 w 16"/>
                <a:gd name="T25" fmla="*/ 0 h 11"/>
                <a:gd name="T26" fmla="*/ 11 w 16"/>
                <a:gd name="T2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1">
                  <a:moveTo>
                    <a:pt x="11" y="4"/>
                  </a:moveTo>
                  <a:lnTo>
                    <a:pt x="15" y="5"/>
                  </a:lnTo>
                  <a:lnTo>
                    <a:pt x="16" y="7"/>
                  </a:lnTo>
                  <a:lnTo>
                    <a:pt x="16" y="11"/>
                  </a:lnTo>
                  <a:lnTo>
                    <a:pt x="13" y="11"/>
                  </a:lnTo>
                  <a:lnTo>
                    <a:pt x="11" y="7"/>
                  </a:lnTo>
                  <a:lnTo>
                    <a:pt x="9" y="5"/>
                  </a:lnTo>
                  <a:lnTo>
                    <a:pt x="7" y="4"/>
                  </a:lnTo>
                  <a:lnTo>
                    <a:pt x="4" y="4"/>
                  </a:lnTo>
                  <a:lnTo>
                    <a:pt x="0" y="2"/>
                  </a:lnTo>
                  <a:lnTo>
                    <a:pt x="0" y="0"/>
                  </a:lnTo>
                  <a:lnTo>
                    <a:pt x="0" y="0"/>
                  </a:lnTo>
                  <a:lnTo>
                    <a:pt x="4" y="0"/>
                  </a:lnTo>
                  <a:lnTo>
                    <a:pt x="11" y="4"/>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92" name="Freeform 3376"/>
            <p:cNvSpPr>
              <a:spLocks/>
            </p:cNvSpPr>
            <p:nvPr/>
          </p:nvSpPr>
          <p:spPr bwMode="auto">
            <a:xfrm>
              <a:off x="2896070" y="6371917"/>
              <a:ext cx="25760" cy="9660"/>
            </a:xfrm>
            <a:custGeom>
              <a:avLst/>
              <a:gdLst>
                <a:gd name="T0" fmla="*/ 4 w 16"/>
                <a:gd name="T1" fmla="*/ 2 h 6"/>
                <a:gd name="T2" fmla="*/ 7 w 16"/>
                <a:gd name="T3" fmla="*/ 0 h 6"/>
                <a:gd name="T4" fmla="*/ 11 w 16"/>
                <a:gd name="T5" fmla="*/ 0 h 6"/>
                <a:gd name="T6" fmla="*/ 15 w 16"/>
                <a:gd name="T7" fmla="*/ 0 h 6"/>
                <a:gd name="T8" fmla="*/ 16 w 16"/>
                <a:gd name="T9" fmla="*/ 0 h 6"/>
                <a:gd name="T10" fmla="*/ 15 w 16"/>
                <a:gd name="T11" fmla="*/ 2 h 6"/>
                <a:gd name="T12" fmla="*/ 15 w 16"/>
                <a:gd name="T13" fmla="*/ 2 h 6"/>
                <a:gd name="T14" fmla="*/ 11 w 16"/>
                <a:gd name="T15" fmla="*/ 2 h 6"/>
                <a:gd name="T16" fmla="*/ 9 w 16"/>
                <a:gd name="T17" fmla="*/ 2 h 6"/>
                <a:gd name="T18" fmla="*/ 9 w 16"/>
                <a:gd name="T19" fmla="*/ 4 h 6"/>
                <a:gd name="T20" fmla="*/ 6 w 16"/>
                <a:gd name="T21" fmla="*/ 4 h 6"/>
                <a:gd name="T22" fmla="*/ 4 w 16"/>
                <a:gd name="T23" fmla="*/ 6 h 6"/>
                <a:gd name="T24" fmla="*/ 0 w 16"/>
                <a:gd name="T25" fmla="*/ 4 h 6"/>
                <a:gd name="T26" fmla="*/ 2 w 16"/>
                <a:gd name="T27" fmla="*/ 2 h 6"/>
                <a:gd name="T28" fmla="*/ 2 w 16"/>
                <a:gd name="T29" fmla="*/ 0 h 6"/>
                <a:gd name="T30" fmla="*/ 4 w 16"/>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6">
                  <a:moveTo>
                    <a:pt x="4" y="2"/>
                  </a:moveTo>
                  <a:lnTo>
                    <a:pt x="7" y="0"/>
                  </a:lnTo>
                  <a:lnTo>
                    <a:pt x="11" y="0"/>
                  </a:lnTo>
                  <a:lnTo>
                    <a:pt x="15" y="0"/>
                  </a:lnTo>
                  <a:lnTo>
                    <a:pt x="16" y="0"/>
                  </a:lnTo>
                  <a:lnTo>
                    <a:pt x="15" y="2"/>
                  </a:lnTo>
                  <a:lnTo>
                    <a:pt x="15" y="2"/>
                  </a:lnTo>
                  <a:lnTo>
                    <a:pt x="11" y="2"/>
                  </a:lnTo>
                  <a:lnTo>
                    <a:pt x="9" y="2"/>
                  </a:lnTo>
                  <a:lnTo>
                    <a:pt x="9" y="4"/>
                  </a:lnTo>
                  <a:lnTo>
                    <a:pt x="6" y="4"/>
                  </a:lnTo>
                  <a:lnTo>
                    <a:pt x="4" y="6"/>
                  </a:lnTo>
                  <a:lnTo>
                    <a:pt x="0" y="4"/>
                  </a:lnTo>
                  <a:lnTo>
                    <a:pt x="2" y="2"/>
                  </a:lnTo>
                  <a:lnTo>
                    <a:pt x="2" y="0"/>
                  </a:lnTo>
                  <a:lnTo>
                    <a:pt x="4" y="2"/>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93" name="Freeform 3377"/>
            <p:cNvSpPr>
              <a:spLocks/>
            </p:cNvSpPr>
            <p:nvPr/>
          </p:nvSpPr>
          <p:spPr bwMode="auto">
            <a:xfrm>
              <a:off x="2896070" y="6371917"/>
              <a:ext cx="25760" cy="9660"/>
            </a:xfrm>
            <a:custGeom>
              <a:avLst/>
              <a:gdLst>
                <a:gd name="T0" fmla="*/ 4 w 16"/>
                <a:gd name="T1" fmla="*/ 2 h 6"/>
                <a:gd name="T2" fmla="*/ 7 w 16"/>
                <a:gd name="T3" fmla="*/ 0 h 6"/>
                <a:gd name="T4" fmla="*/ 11 w 16"/>
                <a:gd name="T5" fmla="*/ 0 h 6"/>
                <a:gd name="T6" fmla="*/ 15 w 16"/>
                <a:gd name="T7" fmla="*/ 0 h 6"/>
                <a:gd name="T8" fmla="*/ 16 w 16"/>
                <a:gd name="T9" fmla="*/ 0 h 6"/>
                <a:gd name="T10" fmla="*/ 15 w 16"/>
                <a:gd name="T11" fmla="*/ 2 h 6"/>
                <a:gd name="T12" fmla="*/ 15 w 16"/>
                <a:gd name="T13" fmla="*/ 2 h 6"/>
                <a:gd name="T14" fmla="*/ 11 w 16"/>
                <a:gd name="T15" fmla="*/ 2 h 6"/>
                <a:gd name="T16" fmla="*/ 9 w 16"/>
                <a:gd name="T17" fmla="*/ 2 h 6"/>
                <a:gd name="T18" fmla="*/ 9 w 16"/>
                <a:gd name="T19" fmla="*/ 4 h 6"/>
                <a:gd name="T20" fmla="*/ 6 w 16"/>
                <a:gd name="T21" fmla="*/ 4 h 6"/>
                <a:gd name="T22" fmla="*/ 4 w 16"/>
                <a:gd name="T23" fmla="*/ 6 h 6"/>
                <a:gd name="T24" fmla="*/ 0 w 16"/>
                <a:gd name="T25" fmla="*/ 4 h 6"/>
                <a:gd name="T26" fmla="*/ 2 w 16"/>
                <a:gd name="T27" fmla="*/ 2 h 6"/>
                <a:gd name="T28" fmla="*/ 2 w 16"/>
                <a:gd name="T29" fmla="*/ 0 h 6"/>
                <a:gd name="T30" fmla="*/ 4 w 16"/>
                <a:gd name="T3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6">
                  <a:moveTo>
                    <a:pt x="4" y="2"/>
                  </a:moveTo>
                  <a:lnTo>
                    <a:pt x="7" y="0"/>
                  </a:lnTo>
                  <a:lnTo>
                    <a:pt x="11" y="0"/>
                  </a:lnTo>
                  <a:lnTo>
                    <a:pt x="15" y="0"/>
                  </a:lnTo>
                  <a:lnTo>
                    <a:pt x="16" y="0"/>
                  </a:lnTo>
                  <a:lnTo>
                    <a:pt x="15" y="2"/>
                  </a:lnTo>
                  <a:lnTo>
                    <a:pt x="15" y="2"/>
                  </a:lnTo>
                  <a:lnTo>
                    <a:pt x="11" y="2"/>
                  </a:lnTo>
                  <a:lnTo>
                    <a:pt x="9" y="2"/>
                  </a:lnTo>
                  <a:lnTo>
                    <a:pt x="9" y="4"/>
                  </a:lnTo>
                  <a:lnTo>
                    <a:pt x="6" y="4"/>
                  </a:lnTo>
                  <a:lnTo>
                    <a:pt x="4" y="6"/>
                  </a:lnTo>
                  <a:lnTo>
                    <a:pt x="0" y="4"/>
                  </a:lnTo>
                  <a:lnTo>
                    <a:pt x="2" y="2"/>
                  </a:lnTo>
                  <a:lnTo>
                    <a:pt x="2" y="0"/>
                  </a:lnTo>
                  <a:lnTo>
                    <a:pt x="4" y="2"/>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95" name="Freeform 3378"/>
            <p:cNvSpPr>
              <a:spLocks/>
            </p:cNvSpPr>
            <p:nvPr/>
          </p:nvSpPr>
          <p:spPr bwMode="auto">
            <a:xfrm>
              <a:off x="2258519" y="4274113"/>
              <a:ext cx="157778" cy="77279"/>
            </a:xfrm>
            <a:custGeom>
              <a:avLst/>
              <a:gdLst>
                <a:gd name="T0" fmla="*/ 95 w 98"/>
                <a:gd name="T1" fmla="*/ 16 h 48"/>
                <a:gd name="T2" fmla="*/ 89 w 98"/>
                <a:gd name="T3" fmla="*/ 19 h 48"/>
                <a:gd name="T4" fmla="*/ 84 w 98"/>
                <a:gd name="T5" fmla="*/ 19 h 48"/>
                <a:gd name="T6" fmla="*/ 77 w 98"/>
                <a:gd name="T7" fmla="*/ 21 h 48"/>
                <a:gd name="T8" fmla="*/ 75 w 98"/>
                <a:gd name="T9" fmla="*/ 19 h 48"/>
                <a:gd name="T10" fmla="*/ 73 w 98"/>
                <a:gd name="T11" fmla="*/ 19 h 48"/>
                <a:gd name="T12" fmla="*/ 71 w 98"/>
                <a:gd name="T13" fmla="*/ 21 h 48"/>
                <a:gd name="T14" fmla="*/ 70 w 98"/>
                <a:gd name="T15" fmla="*/ 26 h 48"/>
                <a:gd name="T16" fmla="*/ 66 w 98"/>
                <a:gd name="T17" fmla="*/ 28 h 48"/>
                <a:gd name="T18" fmla="*/ 64 w 98"/>
                <a:gd name="T19" fmla="*/ 30 h 48"/>
                <a:gd name="T20" fmla="*/ 61 w 98"/>
                <a:gd name="T21" fmla="*/ 32 h 48"/>
                <a:gd name="T22" fmla="*/ 59 w 98"/>
                <a:gd name="T23" fmla="*/ 34 h 48"/>
                <a:gd name="T24" fmla="*/ 57 w 98"/>
                <a:gd name="T25" fmla="*/ 34 h 48"/>
                <a:gd name="T26" fmla="*/ 52 w 98"/>
                <a:gd name="T27" fmla="*/ 32 h 48"/>
                <a:gd name="T28" fmla="*/ 43 w 98"/>
                <a:gd name="T29" fmla="*/ 37 h 48"/>
                <a:gd name="T30" fmla="*/ 43 w 98"/>
                <a:gd name="T31" fmla="*/ 43 h 48"/>
                <a:gd name="T32" fmla="*/ 39 w 98"/>
                <a:gd name="T33" fmla="*/ 44 h 48"/>
                <a:gd name="T34" fmla="*/ 37 w 98"/>
                <a:gd name="T35" fmla="*/ 48 h 48"/>
                <a:gd name="T36" fmla="*/ 32 w 98"/>
                <a:gd name="T37" fmla="*/ 48 h 48"/>
                <a:gd name="T38" fmla="*/ 30 w 98"/>
                <a:gd name="T39" fmla="*/ 44 h 48"/>
                <a:gd name="T40" fmla="*/ 28 w 98"/>
                <a:gd name="T41" fmla="*/ 43 h 48"/>
                <a:gd name="T42" fmla="*/ 25 w 98"/>
                <a:gd name="T43" fmla="*/ 41 h 48"/>
                <a:gd name="T44" fmla="*/ 25 w 98"/>
                <a:gd name="T45" fmla="*/ 35 h 48"/>
                <a:gd name="T46" fmla="*/ 21 w 98"/>
                <a:gd name="T47" fmla="*/ 34 h 48"/>
                <a:gd name="T48" fmla="*/ 20 w 98"/>
                <a:gd name="T49" fmla="*/ 34 h 48"/>
                <a:gd name="T50" fmla="*/ 16 w 98"/>
                <a:gd name="T51" fmla="*/ 34 h 48"/>
                <a:gd name="T52" fmla="*/ 14 w 98"/>
                <a:gd name="T53" fmla="*/ 34 h 48"/>
                <a:gd name="T54" fmla="*/ 12 w 98"/>
                <a:gd name="T55" fmla="*/ 32 h 48"/>
                <a:gd name="T56" fmla="*/ 11 w 98"/>
                <a:gd name="T57" fmla="*/ 30 h 48"/>
                <a:gd name="T58" fmla="*/ 7 w 98"/>
                <a:gd name="T59" fmla="*/ 28 h 48"/>
                <a:gd name="T60" fmla="*/ 2 w 98"/>
                <a:gd name="T61" fmla="*/ 26 h 48"/>
                <a:gd name="T62" fmla="*/ 0 w 98"/>
                <a:gd name="T63" fmla="*/ 25 h 48"/>
                <a:gd name="T64" fmla="*/ 3 w 98"/>
                <a:gd name="T65" fmla="*/ 21 h 48"/>
                <a:gd name="T66" fmla="*/ 2 w 98"/>
                <a:gd name="T67" fmla="*/ 19 h 48"/>
                <a:gd name="T68" fmla="*/ 2 w 98"/>
                <a:gd name="T69" fmla="*/ 18 h 48"/>
                <a:gd name="T70" fmla="*/ 5 w 98"/>
                <a:gd name="T71" fmla="*/ 14 h 48"/>
                <a:gd name="T72" fmla="*/ 7 w 98"/>
                <a:gd name="T73" fmla="*/ 14 h 48"/>
                <a:gd name="T74" fmla="*/ 18 w 98"/>
                <a:gd name="T75" fmla="*/ 3 h 48"/>
                <a:gd name="T76" fmla="*/ 23 w 98"/>
                <a:gd name="T77" fmla="*/ 1 h 48"/>
                <a:gd name="T78" fmla="*/ 53 w 98"/>
                <a:gd name="T79" fmla="*/ 0 h 48"/>
                <a:gd name="T80" fmla="*/ 59 w 98"/>
                <a:gd name="T81" fmla="*/ 0 h 48"/>
                <a:gd name="T82" fmla="*/ 64 w 98"/>
                <a:gd name="T83" fmla="*/ 1 h 48"/>
                <a:gd name="T84" fmla="*/ 71 w 98"/>
                <a:gd name="T85" fmla="*/ 0 h 48"/>
                <a:gd name="T86" fmla="*/ 82 w 98"/>
                <a:gd name="T87" fmla="*/ 3 h 48"/>
                <a:gd name="T88" fmla="*/ 98 w 98"/>
                <a:gd name="T89"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48">
                  <a:moveTo>
                    <a:pt x="98" y="16"/>
                  </a:moveTo>
                  <a:lnTo>
                    <a:pt x="95" y="16"/>
                  </a:lnTo>
                  <a:lnTo>
                    <a:pt x="91" y="18"/>
                  </a:lnTo>
                  <a:lnTo>
                    <a:pt x="89" y="19"/>
                  </a:lnTo>
                  <a:lnTo>
                    <a:pt x="87" y="19"/>
                  </a:lnTo>
                  <a:lnTo>
                    <a:pt x="84" y="19"/>
                  </a:lnTo>
                  <a:lnTo>
                    <a:pt x="82" y="21"/>
                  </a:lnTo>
                  <a:lnTo>
                    <a:pt x="77" y="21"/>
                  </a:lnTo>
                  <a:lnTo>
                    <a:pt x="77" y="21"/>
                  </a:lnTo>
                  <a:lnTo>
                    <a:pt x="75" y="19"/>
                  </a:lnTo>
                  <a:lnTo>
                    <a:pt x="73" y="19"/>
                  </a:lnTo>
                  <a:lnTo>
                    <a:pt x="73" y="19"/>
                  </a:lnTo>
                  <a:lnTo>
                    <a:pt x="71" y="21"/>
                  </a:lnTo>
                  <a:lnTo>
                    <a:pt x="71" y="21"/>
                  </a:lnTo>
                  <a:lnTo>
                    <a:pt x="70" y="23"/>
                  </a:lnTo>
                  <a:lnTo>
                    <a:pt x="70" y="26"/>
                  </a:lnTo>
                  <a:lnTo>
                    <a:pt x="68" y="26"/>
                  </a:lnTo>
                  <a:lnTo>
                    <a:pt x="66" y="28"/>
                  </a:lnTo>
                  <a:lnTo>
                    <a:pt x="64" y="30"/>
                  </a:lnTo>
                  <a:lnTo>
                    <a:pt x="64" y="30"/>
                  </a:lnTo>
                  <a:lnTo>
                    <a:pt x="62" y="30"/>
                  </a:lnTo>
                  <a:lnTo>
                    <a:pt x="61" y="32"/>
                  </a:lnTo>
                  <a:lnTo>
                    <a:pt x="59" y="32"/>
                  </a:lnTo>
                  <a:lnTo>
                    <a:pt x="59" y="34"/>
                  </a:lnTo>
                  <a:lnTo>
                    <a:pt x="59" y="34"/>
                  </a:lnTo>
                  <a:lnTo>
                    <a:pt x="57" y="34"/>
                  </a:lnTo>
                  <a:lnTo>
                    <a:pt x="53" y="32"/>
                  </a:lnTo>
                  <a:lnTo>
                    <a:pt x="52" y="32"/>
                  </a:lnTo>
                  <a:lnTo>
                    <a:pt x="50" y="37"/>
                  </a:lnTo>
                  <a:lnTo>
                    <a:pt x="43" y="37"/>
                  </a:lnTo>
                  <a:lnTo>
                    <a:pt x="43" y="39"/>
                  </a:lnTo>
                  <a:lnTo>
                    <a:pt x="43" y="43"/>
                  </a:lnTo>
                  <a:lnTo>
                    <a:pt x="41" y="43"/>
                  </a:lnTo>
                  <a:lnTo>
                    <a:pt x="39" y="44"/>
                  </a:lnTo>
                  <a:lnTo>
                    <a:pt x="39" y="46"/>
                  </a:lnTo>
                  <a:lnTo>
                    <a:pt x="37" y="48"/>
                  </a:lnTo>
                  <a:lnTo>
                    <a:pt x="32" y="48"/>
                  </a:lnTo>
                  <a:lnTo>
                    <a:pt x="32" y="48"/>
                  </a:lnTo>
                  <a:lnTo>
                    <a:pt x="30" y="44"/>
                  </a:lnTo>
                  <a:lnTo>
                    <a:pt x="30" y="44"/>
                  </a:lnTo>
                  <a:lnTo>
                    <a:pt x="30" y="43"/>
                  </a:lnTo>
                  <a:lnTo>
                    <a:pt x="28" y="43"/>
                  </a:lnTo>
                  <a:lnTo>
                    <a:pt x="27" y="43"/>
                  </a:lnTo>
                  <a:lnTo>
                    <a:pt x="25" y="41"/>
                  </a:lnTo>
                  <a:lnTo>
                    <a:pt x="25" y="35"/>
                  </a:lnTo>
                  <a:lnTo>
                    <a:pt x="25" y="35"/>
                  </a:lnTo>
                  <a:lnTo>
                    <a:pt x="23" y="34"/>
                  </a:lnTo>
                  <a:lnTo>
                    <a:pt x="21" y="34"/>
                  </a:lnTo>
                  <a:lnTo>
                    <a:pt x="21" y="32"/>
                  </a:lnTo>
                  <a:lnTo>
                    <a:pt x="20" y="34"/>
                  </a:lnTo>
                  <a:lnTo>
                    <a:pt x="18" y="34"/>
                  </a:lnTo>
                  <a:lnTo>
                    <a:pt x="16" y="34"/>
                  </a:lnTo>
                  <a:lnTo>
                    <a:pt x="14" y="34"/>
                  </a:lnTo>
                  <a:lnTo>
                    <a:pt x="14" y="34"/>
                  </a:lnTo>
                  <a:lnTo>
                    <a:pt x="14" y="32"/>
                  </a:lnTo>
                  <a:lnTo>
                    <a:pt x="12" y="32"/>
                  </a:lnTo>
                  <a:lnTo>
                    <a:pt x="11" y="32"/>
                  </a:lnTo>
                  <a:lnTo>
                    <a:pt x="11" y="30"/>
                  </a:lnTo>
                  <a:lnTo>
                    <a:pt x="9" y="30"/>
                  </a:lnTo>
                  <a:lnTo>
                    <a:pt x="7" y="28"/>
                  </a:lnTo>
                  <a:lnTo>
                    <a:pt x="5" y="26"/>
                  </a:lnTo>
                  <a:lnTo>
                    <a:pt x="2" y="26"/>
                  </a:lnTo>
                  <a:lnTo>
                    <a:pt x="0" y="25"/>
                  </a:lnTo>
                  <a:lnTo>
                    <a:pt x="0" y="25"/>
                  </a:lnTo>
                  <a:lnTo>
                    <a:pt x="0" y="23"/>
                  </a:lnTo>
                  <a:lnTo>
                    <a:pt x="3" y="21"/>
                  </a:lnTo>
                  <a:lnTo>
                    <a:pt x="3" y="19"/>
                  </a:lnTo>
                  <a:lnTo>
                    <a:pt x="2" y="19"/>
                  </a:lnTo>
                  <a:lnTo>
                    <a:pt x="2" y="19"/>
                  </a:lnTo>
                  <a:lnTo>
                    <a:pt x="2" y="18"/>
                  </a:lnTo>
                  <a:lnTo>
                    <a:pt x="2" y="16"/>
                  </a:lnTo>
                  <a:lnTo>
                    <a:pt x="5" y="14"/>
                  </a:lnTo>
                  <a:lnTo>
                    <a:pt x="5" y="14"/>
                  </a:lnTo>
                  <a:lnTo>
                    <a:pt x="7" y="14"/>
                  </a:lnTo>
                  <a:lnTo>
                    <a:pt x="16" y="7"/>
                  </a:lnTo>
                  <a:lnTo>
                    <a:pt x="18" y="3"/>
                  </a:lnTo>
                  <a:lnTo>
                    <a:pt x="21" y="3"/>
                  </a:lnTo>
                  <a:lnTo>
                    <a:pt x="23" y="1"/>
                  </a:lnTo>
                  <a:lnTo>
                    <a:pt x="53" y="1"/>
                  </a:lnTo>
                  <a:lnTo>
                    <a:pt x="53" y="0"/>
                  </a:lnTo>
                  <a:lnTo>
                    <a:pt x="57" y="0"/>
                  </a:lnTo>
                  <a:lnTo>
                    <a:pt x="59" y="0"/>
                  </a:lnTo>
                  <a:lnTo>
                    <a:pt x="61" y="1"/>
                  </a:lnTo>
                  <a:lnTo>
                    <a:pt x="64" y="1"/>
                  </a:lnTo>
                  <a:lnTo>
                    <a:pt x="66" y="0"/>
                  </a:lnTo>
                  <a:lnTo>
                    <a:pt x="71" y="0"/>
                  </a:lnTo>
                  <a:lnTo>
                    <a:pt x="75" y="1"/>
                  </a:lnTo>
                  <a:lnTo>
                    <a:pt x="82" y="3"/>
                  </a:lnTo>
                  <a:lnTo>
                    <a:pt x="96" y="12"/>
                  </a:lnTo>
                  <a:lnTo>
                    <a:pt x="98" y="14"/>
                  </a:lnTo>
                  <a:lnTo>
                    <a:pt x="98" y="16"/>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196" name="Freeform 3379"/>
            <p:cNvSpPr>
              <a:spLocks/>
            </p:cNvSpPr>
            <p:nvPr/>
          </p:nvSpPr>
          <p:spPr bwMode="auto">
            <a:xfrm>
              <a:off x="2258519" y="4274113"/>
              <a:ext cx="157778" cy="77279"/>
            </a:xfrm>
            <a:custGeom>
              <a:avLst/>
              <a:gdLst>
                <a:gd name="T0" fmla="*/ 95 w 98"/>
                <a:gd name="T1" fmla="*/ 16 h 48"/>
                <a:gd name="T2" fmla="*/ 89 w 98"/>
                <a:gd name="T3" fmla="*/ 19 h 48"/>
                <a:gd name="T4" fmla="*/ 84 w 98"/>
                <a:gd name="T5" fmla="*/ 19 h 48"/>
                <a:gd name="T6" fmla="*/ 77 w 98"/>
                <a:gd name="T7" fmla="*/ 21 h 48"/>
                <a:gd name="T8" fmla="*/ 75 w 98"/>
                <a:gd name="T9" fmla="*/ 19 h 48"/>
                <a:gd name="T10" fmla="*/ 73 w 98"/>
                <a:gd name="T11" fmla="*/ 19 h 48"/>
                <a:gd name="T12" fmla="*/ 71 w 98"/>
                <a:gd name="T13" fmla="*/ 21 h 48"/>
                <a:gd name="T14" fmla="*/ 70 w 98"/>
                <a:gd name="T15" fmla="*/ 26 h 48"/>
                <a:gd name="T16" fmla="*/ 66 w 98"/>
                <a:gd name="T17" fmla="*/ 28 h 48"/>
                <a:gd name="T18" fmla="*/ 64 w 98"/>
                <a:gd name="T19" fmla="*/ 30 h 48"/>
                <a:gd name="T20" fmla="*/ 61 w 98"/>
                <a:gd name="T21" fmla="*/ 32 h 48"/>
                <a:gd name="T22" fmla="*/ 59 w 98"/>
                <a:gd name="T23" fmla="*/ 34 h 48"/>
                <a:gd name="T24" fmla="*/ 57 w 98"/>
                <a:gd name="T25" fmla="*/ 34 h 48"/>
                <a:gd name="T26" fmla="*/ 52 w 98"/>
                <a:gd name="T27" fmla="*/ 32 h 48"/>
                <a:gd name="T28" fmla="*/ 43 w 98"/>
                <a:gd name="T29" fmla="*/ 37 h 48"/>
                <a:gd name="T30" fmla="*/ 43 w 98"/>
                <a:gd name="T31" fmla="*/ 43 h 48"/>
                <a:gd name="T32" fmla="*/ 39 w 98"/>
                <a:gd name="T33" fmla="*/ 44 h 48"/>
                <a:gd name="T34" fmla="*/ 37 w 98"/>
                <a:gd name="T35" fmla="*/ 48 h 48"/>
                <a:gd name="T36" fmla="*/ 32 w 98"/>
                <a:gd name="T37" fmla="*/ 48 h 48"/>
                <a:gd name="T38" fmla="*/ 30 w 98"/>
                <a:gd name="T39" fmla="*/ 44 h 48"/>
                <a:gd name="T40" fmla="*/ 28 w 98"/>
                <a:gd name="T41" fmla="*/ 43 h 48"/>
                <a:gd name="T42" fmla="*/ 25 w 98"/>
                <a:gd name="T43" fmla="*/ 41 h 48"/>
                <a:gd name="T44" fmla="*/ 25 w 98"/>
                <a:gd name="T45" fmla="*/ 35 h 48"/>
                <a:gd name="T46" fmla="*/ 21 w 98"/>
                <a:gd name="T47" fmla="*/ 34 h 48"/>
                <a:gd name="T48" fmla="*/ 20 w 98"/>
                <a:gd name="T49" fmla="*/ 34 h 48"/>
                <a:gd name="T50" fmla="*/ 16 w 98"/>
                <a:gd name="T51" fmla="*/ 34 h 48"/>
                <a:gd name="T52" fmla="*/ 14 w 98"/>
                <a:gd name="T53" fmla="*/ 34 h 48"/>
                <a:gd name="T54" fmla="*/ 12 w 98"/>
                <a:gd name="T55" fmla="*/ 32 h 48"/>
                <a:gd name="T56" fmla="*/ 11 w 98"/>
                <a:gd name="T57" fmla="*/ 30 h 48"/>
                <a:gd name="T58" fmla="*/ 7 w 98"/>
                <a:gd name="T59" fmla="*/ 28 h 48"/>
                <a:gd name="T60" fmla="*/ 2 w 98"/>
                <a:gd name="T61" fmla="*/ 26 h 48"/>
                <a:gd name="T62" fmla="*/ 0 w 98"/>
                <a:gd name="T63" fmla="*/ 25 h 48"/>
                <a:gd name="T64" fmla="*/ 3 w 98"/>
                <a:gd name="T65" fmla="*/ 21 h 48"/>
                <a:gd name="T66" fmla="*/ 2 w 98"/>
                <a:gd name="T67" fmla="*/ 19 h 48"/>
                <a:gd name="T68" fmla="*/ 2 w 98"/>
                <a:gd name="T69" fmla="*/ 18 h 48"/>
                <a:gd name="T70" fmla="*/ 5 w 98"/>
                <a:gd name="T71" fmla="*/ 14 h 48"/>
                <a:gd name="T72" fmla="*/ 7 w 98"/>
                <a:gd name="T73" fmla="*/ 14 h 48"/>
                <a:gd name="T74" fmla="*/ 18 w 98"/>
                <a:gd name="T75" fmla="*/ 3 h 48"/>
                <a:gd name="T76" fmla="*/ 23 w 98"/>
                <a:gd name="T77" fmla="*/ 1 h 48"/>
                <a:gd name="T78" fmla="*/ 53 w 98"/>
                <a:gd name="T79" fmla="*/ 0 h 48"/>
                <a:gd name="T80" fmla="*/ 59 w 98"/>
                <a:gd name="T81" fmla="*/ 0 h 48"/>
                <a:gd name="T82" fmla="*/ 64 w 98"/>
                <a:gd name="T83" fmla="*/ 1 h 48"/>
                <a:gd name="T84" fmla="*/ 71 w 98"/>
                <a:gd name="T85" fmla="*/ 0 h 48"/>
                <a:gd name="T86" fmla="*/ 82 w 98"/>
                <a:gd name="T87" fmla="*/ 3 h 48"/>
                <a:gd name="T88" fmla="*/ 98 w 98"/>
                <a:gd name="T89" fmla="*/ 1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48">
                  <a:moveTo>
                    <a:pt x="98" y="16"/>
                  </a:moveTo>
                  <a:lnTo>
                    <a:pt x="95" y="16"/>
                  </a:lnTo>
                  <a:lnTo>
                    <a:pt x="91" y="18"/>
                  </a:lnTo>
                  <a:lnTo>
                    <a:pt x="89" y="19"/>
                  </a:lnTo>
                  <a:lnTo>
                    <a:pt x="87" y="19"/>
                  </a:lnTo>
                  <a:lnTo>
                    <a:pt x="84" y="19"/>
                  </a:lnTo>
                  <a:lnTo>
                    <a:pt x="82" y="21"/>
                  </a:lnTo>
                  <a:lnTo>
                    <a:pt x="77" y="21"/>
                  </a:lnTo>
                  <a:lnTo>
                    <a:pt x="77" y="21"/>
                  </a:lnTo>
                  <a:lnTo>
                    <a:pt x="75" y="19"/>
                  </a:lnTo>
                  <a:lnTo>
                    <a:pt x="73" y="19"/>
                  </a:lnTo>
                  <a:lnTo>
                    <a:pt x="73" y="19"/>
                  </a:lnTo>
                  <a:lnTo>
                    <a:pt x="71" y="21"/>
                  </a:lnTo>
                  <a:lnTo>
                    <a:pt x="71" y="21"/>
                  </a:lnTo>
                  <a:lnTo>
                    <a:pt x="70" y="23"/>
                  </a:lnTo>
                  <a:lnTo>
                    <a:pt x="70" y="26"/>
                  </a:lnTo>
                  <a:lnTo>
                    <a:pt x="68" y="26"/>
                  </a:lnTo>
                  <a:lnTo>
                    <a:pt x="66" y="28"/>
                  </a:lnTo>
                  <a:lnTo>
                    <a:pt x="64" y="30"/>
                  </a:lnTo>
                  <a:lnTo>
                    <a:pt x="64" y="30"/>
                  </a:lnTo>
                  <a:lnTo>
                    <a:pt x="62" y="30"/>
                  </a:lnTo>
                  <a:lnTo>
                    <a:pt x="61" y="32"/>
                  </a:lnTo>
                  <a:lnTo>
                    <a:pt x="59" y="32"/>
                  </a:lnTo>
                  <a:lnTo>
                    <a:pt x="59" y="34"/>
                  </a:lnTo>
                  <a:lnTo>
                    <a:pt x="59" y="34"/>
                  </a:lnTo>
                  <a:lnTo>
                    <a:pt x="57" y="34"/>
                  </a:lnTo>
                  <a:lnTo>
                    <a:pt x="53" y="32"/>
                  </a:lnTo>
                  <a:lnTo>
                    <a:pt x="52" y="32"/>
                  </a:lnTo>
                  <a:lnTo>
                    <a:pt x="50" y="37"/>
                  </a:lnTo>
                  <a:lnTo>
                    <a:pt x="43" y="37"/>
                  </a:lnTo>
                  <a:lnTo>
                    <a:pt x="43" y="39"/>
                  </a:lnTo>
                  <a:lnTo>
                    <a:pt x="43" y="43"/>
                  </a:lnTo>
                  <a:lnTo>
                    <a:pt x="41" y="43"/>
                  </a:lnTo>
                  <a:lnTo>
                    <a:pt x="39" y="44"/>
                  </a:lnTo>
                  <a:lnTo>
                    <a:pt x="39" y="46"/>
                  </a:lnTo>
                  <a:lnTo>
                    <a:pt x="37" y="48"/>
                  </a:lnTo>
                  <a:lnTo>
                    <a:pt x="32" y="48"/>
                  </a:lnTo>
                  <a:lnTo>
                    <a:pt x="32" y="48"/>
                  </a:lnTo>
                  <a:lnTo>
                    <a:pt x="30" y="44"/>
                  </a:lnTo>
                  <a:lnTo>
                    <a:pt x="30" y="44"/>
                  </a:lnTo>
                  <a:lnTo>
                    <a:pt x="30" y="43"/>
                  </a:lnTo>
                  <a:lnTo>
                    <a:pt x="28" y="43"/>
                  </a:lnTo>
                  <a:lnTo>
                    <a:pt x="27" y="43"/>
                  </a:lnTo>
                  <a:lnTo>
                    <a:pt x="25" y="41"/>
                  </a:lnTo>
                  <a:lnTo>
                    <a:pt x="25" y="35"/>
                  </a:lnTo>
                  <a:lnTo>
                    <a:pt x="25" y="35"/>
                  </a:lnTo>
                  <a:lnTo>
                    <a:pt x="23" y="34"/>
                  </a:lnTo>
                  <a:lnTo>
                    <a:pt x="21" y="34"/>
                  </a:lnTo>
                  <a:lnTo>
                    <a:pt x="21" y="32"/>
                  </a:lnTo>
                  <a:lnTo>
                    <a:pt x="20" y="34"/>
                  </a:lnTo>
                  <a:lnTo>
                    <a:pt x="18" y="34"/>
                  </a:lnTo>
                  <a:lnTo>
                    <a:pt x="16" y="34"/>
                  </a:lnTo>
                  <a:lnTo>
                    <a:pt x="14" y="34"/>
                  </a:lnTo>
                  <a:lnTo>
                    <a:pt x="14" y="34"/>
                  </a:lnTo>
                  <a:lnTo>
                    <a:pt x="14" y="32"/>
                  </a:lnTo>
                  <a:lnTo>
                    <a:pt x="12" y="32"/>
                  </a:lnTo>
                  <a:lnTo>
                    <a:pt x="11" y="32"/>
                  </a:lnTo>
                  <a:lnTo>
                    <a:pt x="11" y="30"/>
                  </a:lnTo>
                  <a:lnTo>
                    <a:pt x="9" y="30"/>
                  </a:lnTo>
                  <a:lnTo>
                    <a:pt x="7" y="28"/>
                  </a:lnTo>
                  <a:lnTo>
                    <a:pt x="5" y="26"/>
                  </a:lnTo>
                  <a:lnTo>
                    <a:pt x="2" y="26"/>
                  </a:lnTo>
                  <a:lnTo>
                    <a:pt x="0" y="25"/>
                  </a:lnTo>
                  <a:lnTo>
                    <a:pt x="0" y="25"/>
                  </a:lnTo>
                  <a:lnTo>
                    <a:pt x="0" y="23"/>
                  </a:lnTo>
                  <a:lnTo>
                    <a:pt x="3" y="21"/>
                  </a:lnTo>
                  <a:lnTo>
                    <a:pt x="3" y="19"/>
                  </a:lnTo>
                  <a:lnTo>
                    <a:pt x="2" y="19"/>
                  </a:lnTo>
                  <a:lnTo>
                    <a:pt x="2" y="19"/>
                  </a:lnTo>
                  <a:lnTo>
                    <a:pt x="2" y="18"/>
                  </a:lnTo>
                  <a:lnTo>
                    <a:pt x="2" y="16"/>
                  </a:lnTo>
                  <a:lnTo>
                    <a:pt x="5" y="14"/>
                  </a:lnTo>
                  <a:lnTo>
                    <a:pt x="5" y="14"/>
                  </a:lnTo>
                  <a:lnTo>
                    <a:pt x="7" y="14"/>
                  </a:lnTo>
                  <a:lnTo>
                    <a:pt x="16" y="7"/>
                  </a:lnTo>
                  <a:lnTo>
                    <a:pt x="18" y="3"/>
                  </a:lnTo>
                  <a:lnTo>
                    <a:pt x="21" y="3"/>
                  </a:lnTo>
                  <a:lnTo>
                    <a:pt x="23" y="1"/>
                  </a:lnTo>
                  <a:lnTo>
                    <a:pt x="53" y="1"/>
                  </a:lnTo>
                  <a:lnTo>
                    <a:pt x="53" y="0"/>
                  </a:lnTo>
                  <a:lnTo>
                    <a:pt x="57" y="0"/>
                  </a:lnTo>
                  <a:lnTo>
                    <a:pt x="59" y="0"/>
                  </a:lnTo>
                  <a:lnTo>
                    <a:pt x="61" y="1"/>
                  </a:lnTo>
                  <a:lnTo>
                    <a:pt x="64" y="1"/>
                  </a:lnTo>
                  <a:lnTo>
                    <a:pt x="66" y="0"/>
                  </a:lnTo>
                  <a:lnTo>
                    <a:pt x="71" y="0"/>
                  </a:lnTo>
                  <a:lnTo>
                    <a:pt x="75" y="1"/>
                  </a:lnTo>
                  <a:lnTo>
                    <a:pt x="82" y="3"/>
                  </a:lnTo>
                  <a:lnTo>
                    <a:pt x="96" y="12"/>
                  </a:lnTo>
                  <a:lnTo>
                    <a:pt x="98" y="14"/>
                  </a:lnTo>
                  <a:lnTo>
                    <a:pt x="98" y="16"/>
                  </a:lnTo>
                </a:path>
              </a:pathLst>
            </a:custGeom>
            <a:pattFill prst="pct50">
              <a:fgClr>
                <a:srgbClr val="4C2008"/>
              </a:fgClr>
              <a:bgClr>
                <a:schemeClr val="bg1"/>
              </a:bgClr>
            </a:patt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00" name="Freeform 3380"/>
            <p:cNvSpPr>
              <a:spLocks/>
            </p:cNvSpPr>
            <p:nvPr/>
          </p:nvSpPr>
          <p:spPr bwMode="auto">
            <a:xfrm>
              <a:off x="2467816" y="4691098"/>
              <a:ext cx="321996" cy="470114"/>
            </a:xfrm>
            <a:custGeom>
              <a:avLst/>
              <a:gdLst>
                <a:gd name="T0" fmla="*/ 91 w 200"/>
                <a:gd name="T1" fmla="*/ 0 h 292"/>
                <a:gd name="T2" fmla="*/ 93 w 200"/>
                <a:gd name="T3" fmla="*/ 3 h 292"/>
                <a:gd name="T4" fmla="*/ 97 w 200"/>
                <a:gd name="T5" fmla="*/ 14 h 292"/>
                <a:gd name="T6" fmla="*/ 88 w 200"/>
                <a:gd name="T7" fmla="*/ 25 h 292"/>
                <a:gd name="T8" fmla="*/ 50 w 200"/>
                <a:gd name="T9" fmla="*/ 50 h 292"/>
                <a:gd name="T10" fmla="*/ 48 w 200"/>
                <a:gd name="T11" fmla="*/ 55 h 292"/>
                <a:gd name="T12" fmla="*/ 47 w 200"/>
                <a:gd name="T13" fmla="*/ 55 h 292"/>
                <a:gd name="T14" fmla="*/ 40 w 200"/>
                <a:gd name="T15" fmla="*/ 73 h 292"/>
                <a:gd name="T16" fmla="*/ 34 w 200"/>
                <a:gd name="T17" fmla="*/ 76 h 292"/>
                <a:gd name="T18" fmla="*/ 25 w 200"/>
                <a:gd name="T19" fmla="*/ 71 h 292"/>
                <a:gd name="T20" fmla="*/ 20 w 200"/>
                <a:gd name="T21" fmla="*/ 69 h 292"/>
                <a:gd name="T22" fmla="*/ 13 w 200"/>
                <a:gd name="T23" fmla="*/ 71 h 292"/>
                <a:gd name="T24" fmla="*/ 11 w 200"/>
                <a:gd name="T25" fmla="*/ 64 h 292"/>
                <a:gd name="T26" fmla="*/ 15 w 200"/>
                <a:gd name="T27" fmla="*/ 62 h 292"/>
                <a:gd name="T28" fmla="*/ 15 w 200"/>
                <a:gd name="T29" fmla="*/ 57 h 292"/>
                <a:gd name="T30" fmla="*/ 15 w 200"/>
                <a:gd name="T31" fmla="*/ 53 h 292"/>
                <a:gd name="T32" fmla="*/ 0 w 200"/>
                <a:gd name="T33" fmla="*/ 76 h 292"/>
                <a:gd name="T34" fmla="*/ 7 w 200"/>
                <a:gd name="T35" fmla="*/ 87 h 292"/>
                <a:gd name="T36" fmla="*/ 2 w 200"/>
                <a:gd name="T37" fmla="*/ 92 h 292"/>
                <a:gd name="T38" fmla="*/ 23 w 200"/>
                <a:gd name="T39" fmla="*/ 110 h 292"/>
                <a:gd name="T40" fmla="*/ 29 w 200"/>
                <a:gd name="T41" fmla="*/ 123 h 292"/>
                <a:gd name="T42" fmla="*/ 63 w 200"/>
                <a:gd name="T43" fmla="*/ 185 h 292"/>
                <a:gd name="T44" fmla="*/ 79 w 200"/>
                <a:gd name="T45" fmla="*/ 221 h 292"/>
                <a:gd name="T46" fmla="*/ 97 w 200"/>
                <a:gd name="T47" fmla="*/ 244 h 292"/>
                <a:gd name="T48" fmla="*/ 143 w 200"/>
                <a:gd name="T49" fmla="*/ 269 h 292"/>
                <a:gd name="T50" fmla="*/ 172 w 200"/>
                <a:gd name="T51" fmla="*/ 292 h 292"/>
                <a:gd name="T52" fmla="*/ 182 w 200"/>
                <a:gd name="T53" fmla="*/ 289 h 292"/>
                <a:gd name="T54" fmla="*/ 186 w 200"/>
                <a:gd name="T55" fmla="*/ 282 h 292"/>
                <a:gd name="T56" fmla="*/ 186 w 200"/>
                <a:gd name="T57" fmla="*/ 280 h 292"/>
                <a:gd name="T58" fmla="*/ 197 w 200"/>
                <a:gd name="T59" fmla="*/ 260 h 292"/>
                <a:gd name="T60" fmla="*/ 193 w 200"/>
                <a:gd name="T61" fmla="*/ 259 h 292"/>
                <a:gd name="T62" fmla="*/ 190 w 200"/>
                <a:gd name="T63" fmla="*/ 251 h 292"/>
                <a:gd name="T64" fmla="*/ 193 w 200"/>
                <a:gd name="T65" fmla="*/ 244 h 292"/>
                <a:gd name="T66" fmla="*/ 191 w 200"/>
                <a:gd name="T67" fmla="*/ 235 h 292"/>
                <a:gd name="T68" fmla="*/ 195 w 200"/>
                <a:gd name="T69" fmla="*/ 230 h 292"/>
                <a:gd name="T70" fmla="*/ 197 w 200"/>
                <a:gd name="T71" fmla="*/ 200 h 292"/>
                <a:gd name="T72" fmla="*/ 186 w 200"/>
                <a:gd name="T73" fmla="*/ 173 h 292"/>
                <a:gd name="T74" fmla="*/ 179 w 200"/>
                <a:gd name="T75" fmla="*/ 175 h 292"/>
                <a:gd name="T76" fmla="*/ 172 w 200"/>
                <a:gd name="T77" fmla="*/ 173 h 292"/>
                <a:gd name="T78" fmla="*/ 157 w 200"/>
                <a:gd name="T79" fmla="*/ 157 h 292"/>
                <a:gd name="T80" fmla="*/ 145 w 200"/>
                <a:gd name="T81" fmla="*/ 155 h 292"/>
                <a:gd name="T82" fmla="*/ 141 w 200"/>
                <a:gd name="T83" fmla="*/ 150 h 292"/>
                <a:gd name="T84" fmla="*/ 134 w 200"/>
                <a:gd name="T85" fmla="*/ 144 h 292"/>
                <a:gd name="T86" fmla="*/ 123 w 200"/>
                <a:gd name="T87" fmla="*/ 130 h 292"/>
                <a:gd name="T88" fmla="*/ 120 w 200"/>
                <a:gd name="T89" fmla="*/ 117 h 292"/>
                <a:gd name="T90" fmla="*/ 131 w 200"/>
                <a:gd name="T91" fmla="*/ 103 h 292"/>
                <a:gd name="T92" fmla="*/ 148 w 200"/>
                <a:gd name="T93" fmla="*/ 73 h 292"/>
                <a:gd name="T94" fmla="*/ 181 w 200"/>
                <a:gd name="T95" fmla="*/ 64 h 292"/>
                <a:gd name="T96" fmla="*/ 175 w 200"/>
                <a:gd name="T97" fmla="*/ 59 h 292"/>
                <a:gd name="T98" fmla="*/ 170 w 200"/>
                <a:gd name="T99" fmla="*/ 55 h 292"/>
                <a:gd name="T100" fmla="*/ 175 w 200"/>
                <a:gd name="T101" fmla="*/ 39 h 292"/>
                <a:gd name="T102" fmla="*/ 161 w 200"/>
                <a:gd name="T103" fmla="*/ 35 h 292"/>
                <a:gd name="T104" fmla="*/ 156 w 200"/>
                <a:gd name="T105" fmla="*/ 35 h 292"/>
                <a:gd name="T106" fmla="*/ 148 w 200"/>
                <a:gd name="T107" fmla="*/ 35 h 292"/>
                <a:gd name="T108" fmla="*/ 145 w 200"/>
                <a:gd name="T109" fmla="*/ 39 h 292"/>
                <a:gd name="T110" fmla="*/ 136 w 200"/>
                <a:gd name="T111" fmla="*/ 37 h 292"/>
                <a:gd name="T112" fmla="*/ 129 w 200"/>
                <a:gd name="T113" fmla="*/ 34 h 292"/>
                <a:gd name="T114" fmla="*/ 125 w 200"/>
                <a:gd name="T115" fmla="*/ 26 h 292"/>
                <a:gd name="T116" fmla="*/ 122 w 200"/>
                <a:gd name="T117" fmla="*/ 19 h 292"/>
                <a:gd name="T118" fmla="*/ 118 w 200"/>
                <a:gd name="T119" fmla="*/ 16 h 292"/>
                <a:gd name="T120" fmla="*/ 115 w 200"/>
                <a:gd name="T121" fmla="*/ 14 h 292"/>
                <a:gd name="T122" fmla="*/ 106 w 200"/>
                <a:gd name="T123" fmla="*/ 5 h 292"/>
                <a:gd name="T124" fmla="*/ 97 w 200"/>
                <a:gd name="T125"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92">
                  <a:moveTo>
                    <a:pt x="95" y="0"/>
                  </a:moveTo>
                  <a:lnTo>
                    <a:pt x="95" y="0"/>
                  </a:lnTo>
                  <a:lnTo>
                    <a:pt x="91" y="0"/>
                  </a:lnTo>
                  <a:lnTo>
                    <a:pt x="91" y="3"/>
                  </a:lnTo>
                  <a:lnTo>
                    <a:pt x="93" y="3"/>
                  </a:lnTo>
                  <a:lnTo>
                    <a:pt x="93" y="3"/>
                  </a:lnTo>
                  <a:lnTo>
                    <a:pt x="95" y="7"/>
                  </a:lnTo>
                  <a:lnTo>
                    <a:pt x="95" y="9"/>
                  </a:lnTo>
                  <a:lnTo>
                    <a:pt x="97" y="14"/>
                  </a:lnTo>
                  <a:lnTo>
                    <a:pt x="97" y="14"/>
                  </a:lnTo>
                  <a:lnTo>
                    <a:pt x="95" y="14"/>
                  </a:lnTo>
                  <a:lnTo>
                    <a:pt x="88" y="25"/>
                  </a:lnTo>
                  <a:lnTo>
                    <a:pt x="73" y="39"/>
                  </a:lnTo>
                  <a:lnTo>
                    <a:pt x="52" y="48"/>
                  </a:lnTo>
                  <a:lnTo>
                    <a:pt x="50" y="50"/>
                  </a:lnTo>
                  <a:lnTo>
                    <a:pt x="50" y="51"/>
                  </a:lnTo>
                  <a:lnTo>
                    <a:pt x="48" y="55"/>
                  </a:lnTo>
                  <a:lnTo>
                    <a:pt x="48" y="55"/>
                  </a:lnTo>
                  <a:lnTo>
                    <a:pt x="48" y="55"/>
                  </a:lnTo>
                  <a:lnTo>
                    <a:pt x="47" y="55"/>
                  </a:lnTo>
                  <a:lnTo>
                    <a:pt x="47" y="55"/>
                  </a:lnTo>
                  <a:lnTo>
                    <a:pt x="47" y="55"/>
                  </a:lnTo>
                  <a:lnTo>
                    <a:pt x="41" y="60"/>
                  </a:lnTo>
                  <a:lnTo>
                    <a:pt x="40" y="73"/>
                  </a:lnTo>
                  <a:lnTo>
                    <a:pt x="40" y="73"/>
                  </a:lnTo>
                  <a:lnTo>
                    <a:pt x="38" y="75"/>
                  </a:lnTo>
                  <a:lnTo>
                    <a:pt x="34" y="76"/>
                  </a:lnTo>
                  <a:lnTo>
                    <a:pt x="32" y="78"/>
                  </a:lnTo>
                  <a:lnTo>
                    <a:pt x="29" y="78"/>
                  </a:lnTo>
                  <a:lnTo>
                    <a:pt x="25" y="71"/>
                  </a:lnTo>
                  <a:lnTo>
                    <a:pt x="22" y="71"/>
                  </a:lnTo>
                  <a:lnTo>
                    <a:pt x="20" y="69"/>
                  </a:lnTo>
                  <a:lnTo>
                    <a:pt x="20" y="69"/>
                  </a:lnTo>
                  <a:lnTo>
                    <a:pt x="16" y="69"/>
                  </a:lnTo>
                  <a:lnTo>
                    <a:pt x="15" y="71"/>
                  </a:lnTo>
                  <a:lnTo>
                    <a:pt x="13" y="71"/>
                  </a:lnTo>
                  <a:lnTo>
                    <a:pt x="13" y="69"/>
                  </a:lnTo>
                  <a:lnTo>
                    <a:pt x="11" y="66"/>
                  </a:lnTo>
                  <a:lnTo>
                    <a:pt x="11" y="64"/>
                  </a:lnTo>
                  <a:lnTo>
                    <a:pt x="11" y="64"/>
                  </a:lnTo>
                  <a:lnTo>
                    <a:pt x="13" y="62"/>
                  </a:lnTo>
                  <a:lnTo>
                    <a:pt x="15" y="62"/>
                  </a:lnTo>
                  <a:lnTo>
                    <a:pt x="16" y="60"/>
                  </a:lnTo>
                  <a:lnTo>
                    <a:pt x="16" y="59"/>
                  </a:lnTo>
                  <a:lnTo>
                    <a:pt x="15" y="57"/>
                  </a:lnTo>
                  <a:lnTo>
                    <a:pt x="15" y="55"/>
                  </a:lnTo>
                  <a:lnTo>
                    <a:pt x="15" y="55"/>
                  </a:lnTo>
                  <a:lnTo>
                    <a:pt x="15" y="53"/>
                  </a:lnTo>
                  <a:lnTo>
                    <a:pt x="0" y="67"/>
                  </a:lnTo>
                  <a:lnTo>
                    <a:pt x="0" y="67"/>
                  </a:lnTo>
                  <a:lnTo>
                    <a:pt x="0" y="76"/>
                  </a:lnTo>
                  <a:lnTo>
                    <a:pt x="2" y="78"/>
                  </a:lnTo>
                  <a:lnTo>
                    <a:pt x="2" y="82"/>
                  </a:lnTo>
                  <a:lnTo>
                    <a:pt x="7" y="87"/>
                  </a:lnTo>
                  <a:lnTo>
                    <a:pt x="7" y="87"/>
                  </a:lnTo>
                  <a:lnTo>
                    <a:pt x="6" y="89"/>
                  </a:lnTo>
                  <a:lnTo>
                    <a:pt x="2" y="92"/>
                  </a:lnTo>
                  <a:lnTo>
                    <a:pt x="4" y="94"/>
                  </a:lnTo>
                  <a:lnTo>
                    <a:pt x="22" y="107"/>
                  </a:lnTo>
                  <a:lnTo>
                    <a:pt x="23" y="110"/>
                  </a:lnTo>
                  <a:lnTo>
                    <a:pt x="23" y="110"/>
                  </a:lnTo>
                  <a:lnTo>
                    <a:pt x="25" y="112"/>
                  </a:lnTo>
                  <a:lnTo>
                    <a:pt x="29" y="123"/>
                  </a:lnTo>
                  <a:lnTo>
                    <a:pt x="38" y="132"/>
                  </a:lnTo>
                  <a:lnTo>
                    <a:pt x="57" y="182"/>
                  </a:lnTo>
                  <a:lnTo>
                    <a:pt x="63" y="185"/>
                  </a:lnTo>
                  <a:lnTo>
                    <a:pt x="79" y="210"/>
                  </a:lnTo>
                  <a:lnTo>
                    <a:pt x="81" y="219"/>
                  </a:lnTo>
                  <a:lnTo>
                    <a:pt x="79" y="221"/>
                  </a:lnTo>
                  <a:lnTo>
                    <a:pt x="77" y="223"/>
                  </a:lnTo>
                  <a:lnTo>
                    <a:pt x="79" y="226"/>
                  </a:lnTo>
                  <a:lnTo>
                    <a:pt x="97" y="244"/>
                  </a:lnTo>
                  <a:lnTo>
                    <a:pt x="140" y="269"/>
                  </a:lnTo>
                  <a:lnTo>
                    <a:pt x="141" y="269"/>
                  </a:lnTo>
                  <a:lnTo>
                    <a:pt x="143" y="269"/>
                  </a:lnTo>
                  <a:lnTo>
                    <a:pt x="170" y="291"/>
                  </a:lnTo>
                  <a:lnTo>
                    <a:pt x="170" y="291"/>
                  </a:lnTo>
                  <a:lnTo>
                    <a:pt x="172" y="292"/>
                  </a:lnTo>
                  <a:lnTo>
                    <a:pt x="175" y="291"/>
                  </a:lnTo>
                  <a:lnTo>
                    <a:pt x="182" y="289"/>
                  </a:lnTo>
                  <a:lnTo>
                    <a:pt x="182" y="289"/>
                  </a:lnTo>
                  <a:lnTo>
                    <a:pt x="182" y="285"/>
                  </a:lnTo>
                  <a:lnTo>
                    <a:pt x="184" y="284"/>
                  </a:lnTo>
                  <a:lnTo>
                    <a:pt x="186" y="282"/>
                  </a:lnTo>
                  <a:lnTo>
                    <a:pt x="186" y="282"/>
                  </a:lnTo>
                  <a:lnTo>
                    <a:pt x="186" y="280"/>
                  </a:lnTo>
                  <a:lnTo>
                    <a:pt x="186" y="280"/>
                  </a:lnTo>
                  <a:lnTo>
                    <a:pt x="186" y="278"/>
                  </a:lnTo>
                  <a:lnTo>
                    <a:pt x="195" y="264"/>
                  </a:lnTo>
                  <a:lnTo>
                    <a:pt x="197" y="260"/>
                  </a:lnTo>
                  <a:lnTo>
                    <a:pt x="195" y="260"/>
                  </a:lnTo>
                  <a:lnTo>
                    <a:pt x="193" y="259"/>
                  </a:lnTo>
                  <a:lnTo>
                    <a:pt x="193" y="259"/>
                  </a:lnTo>
                  <a:lnTo>
                    <a:pt x="191" y="257"/>
                  </a:lnTo>
                  <a:lnTo>
                    <a:pt x="191" y="257"/>
                  </a:lnTo>
                  <a:lnTo>
                    <a:pt x="190" y="251"/>
                  </a:lnTo>
                  <a:lnTo>
                    <a:pt x="190" y="248"/>
                  </a:lnTo>
                  <a:lnTo>
                    <a:pt x="191" y="244"/>
                  </a:lnTo>
                  <a:lnTo>
                    <a:pt x="193" y="244"/>
                  </a:lnTo>
                  <a:lnTo>
                    <a:pt x="193" y="242"/>
                  </a:lnTo>
                  <a:lnTo>
                    <a:pt x="193" y="239"/>
                  </a:lnTo>
                  <a:lnTo>
                    <a:pt x="191" y="235"/>
                  </a:lnTo>
                  <a:lnTo>
                    <a:pt x="191" y="234"/>
                  </a:lnTo>
                  <a:lnTo>
                    <a:pt x="191" y="232"/>
                  </a:lnTo>
                  <a:lnTo>
                    <a:pt x="195" y="230"/>
                  </a:lnTo>
                  <a:lnTo>
                    <a:pt x="197" y="230"/>
                  </a:lnTo>
                  <a:lnTo>
                    <a:pt x="195" y="203"/>
                  </a:lnTo>
                  <a:lnTo>
                    <a:pt x="197" y="200"/>
                  </a:lnTo>
                  <a:lnTo>
                    <a:pt x="200" y="198"/>
                  </a:lnTo>
                  <a:lnTo>
                    <a:pt x="200" y="196"/>
                  </a:lnTo>
                  <a:lnTo>
                    <a:pt x="186" y="173"/>
                  </a:lnTo>
                  <a:lnTo>
                    <a:pt x="181" y="173"/>
                  </a:lnTo>
                  <a:lnTo>
                    <a:pt x="179" y="175"/>
                  </a:lnTo>
                  <a:lnTo>
                    <a:pt x="179" y="175"/>
                  </a:lnTo>
                  <a:lnTo>
                    <a:pt x="175" y="175"/>
                  </a:lnTo>
                  <a:lnTo>
                    <a:pt x="173" y="173"/>
                  </a:lnTo>
                  <a:lnTo>
                    <a:pt x="172" y="173"/>
                  </a:lnTo>
                  <a:lnTo>
                    <a:pt x="172" y="146"/>
                  </a:lnTo>
                  <a:lnTo>
                    <a:pt x="172" y="146"/>
                  </a:lnTo>
                  <a:lnTo>
                    <a:pt x="157" y="157"/>
                  </a:lnTo>
                  <a:lnTo>
                    <a:pt x="150" y="157"/>
                  </a:lnTo>
                  <a:lnTo>
                    <a:pt x="147" y="155"/>
                  </a:lnTo>
                  <a:lnTo>
                    <a:pt x="145" y="155"/>
                  </a:lnTo>
                  <a:lnTo>
                    <a:pt x="145" y="151"/>
                  </a:lnTo>
                  <a:lnTo>
                    <a:pt x="143" y="150"/>
                  </a:lnTo>
                  <a:lnTo>
                    <a:pt x="141" y="150"/>
                  </a:lnTo>
                  <a:lnTo>
                    <a:pt x="132" y="148"/>
                  </a:lnTo>
                  <a:lnTo>
                    <a:pt x="132" y="146"/>
                  </a:lnTo>
                  <a:lnTo>
                    <a:pt x="134" y="144"/>
                  </a:lnTo>
                  <a:lnTo>
                    <a:pt x="134" y="141"/>
                  </a:lnTo>
                  <a:lnTo>
                    <a:pt x="131" y="139"/>
                  </a:lnTo>
                  <a:lnTo>
                    <a:pt x="123" y="130"/>
                  </a:lnTo>
                  <a:lnTo>
                    <a:pt x="123" y="126"/>
                  </a:lnTo>
                  <a:lnTo>
                    <a:pt x="120" y="119"/>
                  </a:lnTo>
                  <a:lnTo>
                    <a:pt x="120" y="117"/>
                  </a:lnTo>
                  <a:lnTo>
                    <a:pt x="125" y="105"/>
                  </a:lnTo>
                  <a:lnTo>
                    <a:pt x="125" y="103"/>
                  </a:lnTo>
                  <a:lnTo>
                    <a:pt x="131" y="103"/>
                  </a:lnTo>
                  <a:lnTo>
                    <a:pt x="131" y="94"/>
                  </a:lnTo>
                  <a:lnTo>
                    <a:pt x="141" y="80"/>
                  </a:lnTo>
                  <a:lnTo>
                    <a:pt x="148" y="73"/>
                  </a:lnTo>
                  <a:lnTo>
                    <a:pt x="173" y="66"/>
                  </a:lnTo>
                  <a:lnTo>
                    <a:pt x="179" y="66"/>
                  </a:lnTo>
                  <a:lnTo>
                    <a:pt x="181" y="64"/>
                  </a:lnTo>
                  <a:lnTo>
                    <a:pt x="181" y="64"/>
                  </a:lnTo>
                  <a:lnTo>
                    <a:pt x="179" y="64"/>
                  </a:lnTo>
                  <a:lnTo>
                    <a:pt x="175" y="59"/>
                  </a:lnTo>
                  <a:lnTo>
                    <a:pt x="170" y="59"/>
                  </a:lnTo>
                  <a:lnTo>
                    <a:pt x="170" y="59"/>
                  </a:lnTo>
                  <a:lnTo>
                    <a:pt x="170" y="55"/>
                  </a:lnTo>
                  <a:lnTo>
                    <a:pt x="179" y="44"/>
                  </a:lnTo>
                  <a:lnTo>
                    <a:pt x="179" y="42"/>
                  </a:lnTo>
                  <a:lnTo>
                    <a:pt x="175" y="39"/>
                  </a:lnTo>
                  <a:lnTo>
                    <a:pt x="166" y="35"/>
                  </a:lnTo>
                  <a:lnTo>
                    <a:pt x="163" y="34"/>
                  </a:lnTo>
                  <a:lnTo>
                    <a:pt x="161" y="35"/>
                  </a:lnTo>
                  <a:lnTo>
                    <a:pt x="159" y="37"/>
                  </a:lnTo>
                  <a:lnTo>
                    <a:pt x="157" y="35"/>
                  </a:lnTo>
                  <a:lnTo>
                    <a:pt x="156" y="35"/>
                  </a:lnTo>
                  <a:lnTo>
                    <a:pt x="150" y="34"/>
                  </a:lnTo>
                  <a:lnTo>
                    <a:pt x="148" y="35"/>
                  </a:lnTo>
                  <a:lnTo>
                    <a:pt x="148" y="35"/>
                  </a:lnTo>
                  <a:lnTo>
                    <a:pt x="147" y="37"/>
                  </a:lnTo>
                  <a:lnTo>
                    <a:pt x="147" y="37"/>
                  </a:lnTo>
                  <a:lnTo>
                    <a:pt x="145" y="39"/>
                  </a:lnTo>
                  <a:lnTo>
                    <a:pt x="141" y="39"/>
                  </a:lnTo>
                  <a:lnTo>
                    <a:pt x="140" y="37"/>
                  </a:lnTo>
                  <a:lnTo>
                    <a:pt x="136" y="37"/>
                  </a:lnTo>
                  <a:lnTo>
                    <a:pt x="134" y="37"/>
                  </a:lnTo>
                  <a:lnTo>
                    <a:pt x="132" y="37"/>
                  </a:lnTo>
                  <a:lnTo>
                    <a:pt x="129" y="34"/>
                  </a:lnTo>
                  <a:lnTo>
                    <a:pt x="129" y="28"/>
                  </a:lnTo>
                  <a:lnTo>
                    <a:pt x="127" y="26"/>
                  </a:lnTo>
                  <a:lnTo>
                    <a:pt x="125" y="26"/>
                  </a:lnTo>
                  <a:lnTo>
                    <a:pt x="123" y="26"/>
                  </a:lnTo>
                  <a:lnTo>
                    <a:pt x="123" y="26"/>
                  </a:lnTo>
                  <a:lnTo>
                    <a:pt x="122" y="19"/>
                  </a:lnTo>
                  <a:lnTo>
                    <a:pt x="122" y="17"/>
                  </a:lnTo>
                  <a:lnTo>
                    <a:pt x="120" y="16"/>
                  </a:lnTo>
                  <a:lnTo>
                    <a:pt x="118" y="16"/>
                  </a:lnTo>
                  <a:lnTo>
                    <a:pt x="116" y="16"/>
                  </a:lnTo>
                  <a:lnTo>
                    <a:pt x="115" y="16"/>
                  </a:lnTo>
                  <a:lnTo>
                    <a:pt x="115" y="14"/>
                  </a:lnTo>
                  <a:lnTo>
                    <a:pt x="113" y="12"/>
                  </a:lnTo>
                  <a:lnTo>
                    <a:pt x="109" y="7"/>
                  </a:lnTo>
                  <a:lnTo>
                    <a:pt x="106" y="5"/>
                  </a:lnTo>
                  <a:lnTo>
                    <a:pt x="106" y="5"/>
                  </a:lnTo>
                  <a:lnTo>
                    <a:pt x="104" y="1"/>
                  </a:lnTo>
                  <a:lnTo>
                    <a:pt x="97" y="0"/>
                  </a:lnTo>
                  <a:lnTo>
                    <a:pt x="95"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01" name="Freeform 3381"/>
            <p:cNvSpPr>
              <a:spLocks/>
            </p:cNvSpPr>
            <p:nvPr/>
          </p:nvSpPr>
          <p:spPr bwMode="auto">
            <a:xfrm>
              <a:off x="2467816" y="4691098"/>
              <a:ext cx="321996" cy="470114"/>
            </a:xfrm>
            <a:custGeom>
              <a:avLst/>
              <a:gdLst>
                <a:gd name="T0" fmla="*/ 91 w 200"/>
                <a:gd name="T1" fmla="*/ 0 h 292"/>
                <a:gd name="T2" fmla="*/ 93 w 200"/>
                <a:gd name="T3" fmla="*/ 3 h 292"/>
                <a:gd name="T4" fmla="*/ 97 w 200"/>
                <a:gd name="T5" fmla="*/ 14 h 292"/>
                <a:gd name="T6" fmla="*/ 88 w 200"/>
                <a:gd name="T7" fmla="*/ 25 h 292"/>
                <a:gd name="T8" fmla="*/ 50 w 200"/>
                <a:gd name="T9" fmla="*/ 50 h 292"/>
                <a:gd name="T10" fmla="*/ 48 w 200"/>
                <a:gd name="T11" fmla="*/ 55 h 292"/>
                <a:gd name="T12" fmla="*/ 47 w 200"/>
                <a:gd name="T13" fmla="*/ 55 h 292"/>
                <a:gd name="T14" fmla="*/ 40 w 200"/>
                <a:gd name="T15" fmla="*/ 73 h 292"/>
                <a:gd name="T16" fmla="*/ 34 w 200"/>
                <a:gd name="T17" fmla="*/ 76 h 292"/>
                <a:gd name="T18" fmla="*/ 25 w 200"/>
                <a:gd name="T19" fmla="*/ 71 h 292"/>
                <a:gd name="T20" fmla="*/ 20 w 200"/>
                <a:gd name="T21" fmla="*/ 69 h 292"/>
                <a:gd name="T22" fmla="*/ 13 w 200"/>
                <a:gd name="T23" fmla="*/ 71 h 292"/>
                <a:gd name="T24" fmla="*/ 11 w 200"/>
                <a:gd name="T25" fmla="*/ 64 h 292"/>
                <a:gd name="T26" fmla="*/ 15 w 200"/>
                <a:gd name="T27" fmla="*/ 62 h 292"/>
                <a:gd name="T28" fmla="*/ 15 w 200"/>
                <a:gd name="T29" fmla="*/ 57 h 292"/>
                <a:gd name="T30" fmla="*/ 15 w 200"/>
                <a:gd name="T31" fmla="*/ 53 h 292"/>
                <a:gd name="T32" fmla="*/ 0 w 200"/>
                <a:gd name="T33" fmla="*/ 76 h 292"/>
                <a:gd name="T34" fmla="*/ 7 w 200"/>
                <a:gd name="T35" fmla="*/ 87 h 292"/>
                <a:gd name="T36" fmla="*/ 2 w 200"/>
                <a:gd name="T37" fmla="*/ 92 h 292"/>
                <a:gd name="T38" fmla="*/ 23 w 200"/>
                <a:gd name="T39" fmla="*/ 110 h 292"/>
                <a:gd name="T40" fmla="*/ 29 w 200"/>
                <a:gd name="T41" fmla="*/ 123 h 292"/>
                <a:gd name="T42" fmla="*/ 63 w 200"/>
                <a:gd name="T43" fmla="*/ 185 h 292"/>
                <a:gd name="T44" fmla="*/ 79 w 200"/>
                <a:gd name="T45" fmla="*/ 221 h 292"/>
                <a:gd name="T46" fmla="*/ 97 w 200"/>
                <a:gd name="T47" fmla="*/ 244 h 292"/>
                <a:gd name="T48" fmla="*/ 143 w 200"/>
                <a:gd name="T49" fmla="*/ 269 h 292"/>
                <a:gd name="T50" fmla="*/ 172 w 200"/>
                <a:gd name="T51" fmla="*/ 292 h 292"/>
                <a:gd name="T52" fmla="*/ 182 w 200"/>
                <a:gd name="T53" fmla="*/ 289 h 292"/>
                <a:gd name="T54" fmla="*/ 186 w 200"/>
                <a:gd name="T55" fmla="*/ 282 h 292"/>
                <a:gd name="T56" fmla="*/ 186 w 200"/>
                <a:gd name="T57" fmla="*/ 280 h 292"/>
                <a:gd name="T58" fmla="*/ 197 w 200"/>
                <a:gd name="T59" fmla="*/ 260 h 292"/>
                <a:gd name="T60" fmla="*/ 193 w 200"/>
                <a:gd name="T61" fmla="*/ 259 h 292"/>
                <a:gd name="T62" fmla="*/ 190 w 200"/>
                <a:gd name="T63" fmla="*/ 251 h 292"/>
                <a:gd name="T64" fmla="*/ 193 w 200"/>
                <a:gd name="T65" fmla="*/ 244 h 292"/>
                <a:gd name="T66" fmla="*/ 191 w 200"/>
                <a:gd name="T67" fmla="*/ 235 h 292"/>
                <a:gd name="T68" fmla="*/ 195 w 200"/>
                <a:gd name="T69" fmla="*/ 230 h 292"/>
                <a:gd name="T70" fmla="*/ 197 w 200"/>
                <a:gd name="T71" fmla="*/ 200 h 292"/>
                <a:gd name="T72" fmla="*/ 186 w 200"/>
                <a:gd name="T73" fmla="*/ 173 h 292"/>
                <a:gd name="T74" fmla="*/ 179 w 200"/>
                <a:gd name="T75" fmla="*/ 175 h 292"/>
                <a:gd name="T76" fmla="*/ 172 w 200"/>
                <a:gd name="T77" fmla="*/ 173 h 292"/>
                <a:gd name="T78" fmla="*/ 157 w 200"/>
                <a:gd name="T79" fmla="*/ 157 h 292"/>
                <a:gd name="T80" fmla="*/ 145 w 200"/>
                <a:gd name="T81" fmla="*/ 155 h 292"/>
                <a:gd name="T82" fmla="*/ 141 w 200"/>
                <a:gd name="T83" fmla="*/ 150 h 292"/>
                <a:gd name="T84" fmla="*/ 134 w 200"/>
                <a:gd name="T85" fmla="*/ 144 h 292"/>
                <a:gd name="T86" fmla="*/ 123 w 200"/>
                <a:gd name="T87" fmla="*/ 130 h 292"/>
                <a:gd name="T88" fmla="*/ 120 w 200"/>
                <a:gd name="T89" fmla="*/ 117 h 292"/>
                <a:gd name="T90" fmla="*/ 131 w 200"/>
                <a:gd name="T91" fmla="*/ 103 h 292"/>
                <a:gd name="T92" fmla="*/ 148 w 200"/>
                <a:gd name="T93" fmla="*/ 73 h 292"/>
                <a:gd name="T94" fmla="*/ 181 w 200"/>
                <a:gd name="T95" fmla="*/ 64 h 292"/>
                <a:gd name="T96" fmla="*/ 175 w 200"/>
                <a:gd name="T97" fmla="*/ 59 h 292"/>
                <a:gd name="T98" fmla="*/ 170 w 200"/>
                <a:gd name="T99" fmla="*/ 55 h 292"/>
                <a:gd name="T100" fmla="*/ 175 w 200"/>
                <a:gd name="T101" fmla="*/ 39 h 292"/>
                <a:gd name="T102" fmla="*/ 161 w 200"/>
                <a:gd name="T103" fmla="*/ 35 h 292"/>
                <a:gd name="T104" fmla="*/ 156 w 200"/>
                <a:gd name="T105" fmla="*/ 35 h 292"/>
                <a:gd name="T106" fmla="*/ 148 w 200"/>
                <a:gd name="T107" fmla="*/ 35 h 292"/>
                <a:gd name="T108" fmla="*/ 145 w 200"/>
                <a:gd name="T109" fmla="*/ 39 h 292"/>
                <a:gd name="T110" fmla="*/ 136 w 200"/>
                <a:gd name="T111" fmla="*/ 37 h 292"/>
                <a:gd name="T112" fmla="*/ 129 w 200"/>
                <a:gd name="T113" fmla="*/ 34 h 292"/>
                <a:gd name="T114" fmla="*/ 125 w 200"/>
                <a:gd name="T115" fmla="*/ 26 h 292"/>
                <a:gd name="T116" fmla="*/ 122 w 200"/>
                <a:gd name="T117" fmla="*/ 19 h 292"/>
                <a:gd name="T118" fmla="*/ 118 w 200"/>
                <a:gd name="T119" fmla="*/ 16 h 292"/>
                <a:gd name="T120" fmla="*/ 115 w 200"/>
                <a:gd name="T121" fmla="*/ 14 h 292"/>
                <a:gd name="T122" fmla="*/ 106 w 200"/>
                <a:gd name="T123" fmla="*/ 5 h 292"/>
                <a:gd name="T124" fmla="*/ 97 w 200"/>
                <a:gd name="T125"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92">
                  <a:moveTo>
                    <a:pt x="95" y="0"/>
                  </a:moveTo>
                  <a:lnTo>
                    <a:pt x="95" y="0"/>
                  </a:lnTo>
                  <a:lnTo>
                    <a:pt x="91" y="0"/>
                  </a:lnTo>
                  <a:lnTo>
                    <a:pt x="91" y="3"/>
                  </a:lnTo>
                  <a:lnTo>
                    <a:pt x="93" y="3"/>
                  </a:lnTo>
                  <a:lnTo>
                    <a:pt x="93" y="3"/>
                  </a:lnTo>
                  <a:lnTo>
                    <a:pt x="95" y="7"/>
                  </a:lnTo>
                  <a:lnTo>
                    <a:pt x="95" y="9"/>
                  </a:lnTo>
                  <a:lnTo>
                    <a:pt x="97" y="14"/>
                  </a:lnTo>
                  <a:lnTo>
                    <a:pt x="97" y="14"/>
                  </a:lnTo>
                  <a:lnTo>
                    <a:pt x="95" y="14"/>
                  </a:lnTo>
                  <a:lnTo>
                    <a:pt x="88" y="25"/>
                  </a:lnTo>
                  <a:lnTo>
                    <a:pt x="73" y="39"/>
                  </a:lnTo>
                  <a:lnTo>
                    <a:pt x="52" y="48"/>
                  </a:lnTo>
                  <a:lnTo>
                    <a:pt x="50" y="50"/>
                  </a:lnTo>
                  <a:lnTo>
                    <a:pt x="50" y="51"/>
                  </a:lnTo>
                  <a:lnTo>
                    <a:pt x="48" y="55"/>
                  </a:lnTo>
                  <a:lnTo>
                    <a:pt x="48" y="55"/>
                  </a:lnTo>
                  <a:lnTo>
                    <a:pt x="48" y="55"/>
                  </a:lnTo>
                  <a:lnTo>
                    <a:pt x="47" y="55"/>
                  </a:lnTo>
                  <a:lnTo>
                    <a:pt x="47" y="55"/>
                  </a:lnTo>
                  <a:lnTo>
                    <a:pt x="47" y="55"/>
                  </a:lnTo>
                  <a:lnTo>
                    <a:pt x="41" y="60"/>
                  </a:lnTo>
                  <a:lnTo>
                    <a:pt x="40" y="73"/>
                  </a:lnTo>
                  <a:lnTo>
                    <a:pt x="40" y="73"/>
                  </a:lnTo>
                  <a:lnTo>
                    <a:pt x="38" y="75"/>
                  </a:lnTo>
                  <a:lnTo>
                    <a:pt x="34" y="76"/>
                  </a:lnTo>
                  <a:lnTo>
                    <a:pt x="32" y="78"/>
                  </a:lnTo>
                  <a:lnTo>
                    <a:pt x="29" y="78"/>
                  </a:lnTo>
                  <a:lnTo>
                    <a:pt x="25" y="71"/>
                  </a:lnTo>
                  <a:lnTo>
                    <a:pt x="22" y="71"/>
                  </a:lnTo>
                  <a:lnTo>
                    <a:pt x="20" y="69"/>
                  </a:lnTo>
                  <a:lnTo>
                    <a:pt x="20" y="69"/>
                  </a:lnTo>
                  <a:lnTo>
                    <a:pt x="16" y="69"/>
                  </a:lnTo>
                  <a:lnTo>
                    <a:pt x="15" y="71"/>
                  </a:lnTo>
                  <a:lnTo>
                    <a:pt x="13" y="71"/>
                  </a:lnTo>
                  <a:lnTo>
                    <a:pt x="13" y="69"/>
                  </a:lnTo>
                  <a:lnTo>
                    <a:pt x="11" y="66"/>
                  </a:lnTo>
                  <a:lnTo>
                    <a:pt x="11" y="64"/>
                  </a:lnTo>
                  <a:lnTo>
                    <a:pt x="11" y="64"/>
                  </a:lnTo>
                  <a:lnTo>
                    <a:pt x="13" y="62"/>
                  </a:lnTo>
                  <a:lnTo>
                    <a:pt x="15" y="62"/>
                  </a:lnTo>
                  <a:lnTo>
                    <a:pt x="16" y="60"/>
                  </a:lnTo>
                  <a:lnTo>
                    <a:pt x="16" y="59"/>
                  </a:lnTo>
                  <a:lnTo>
                    <a:pt x="15" y="57"/>
                  </a:lnTo>
                  <a:lnTo>
                    <a:pt x="15" y="55"/>
                  </a:lnTo>
                  <a:lnTo>
                    <a:pt x="15" y="55"/>
                  </a:lnTo>
                  <a:lnTo>
                    <a:pt x="15" y="53"/>
                  </a:lnTo>
                  <a:lnTo>
                    <a:pt x="0" y="67"/>
                  </a:lnTo>
                  <a:lnTo>
                    <a:pt x="0" y="67"/>
                  </a:lnTo>
                  <a:lnTo>
                    <a:pt x="0" y="76"/>
                  </a:lnTo>
                  <a:lnTo>
                    <a:pt x="2" y="78"/>
                  </a:lnTo>
                  <a:lnTo>
                    <a:pt x="2" y="82"/>
                  </a:lnTo>
                  <a:lnTo>
                    <a:pt x="7" y="87"/>
                  </a:lnTo>
                  <a:lnTo>
                    <a:pt x="7" y="87"/>
                  </a:lnTo>
                  <a:lnTo>
                    <a:pt x="6" y="89"/>
                  </a:lnTo>
                  <a:lnTo>
                    <a:pt x="2" y="92"/>
                  </a:lnTo>
                  <a:lnTo>
                    <a:pt x="4" y="94"/>
                  </a:lnTo>
                  <a:lnTo>
                    <a:pt x="22" y="107"/>
                  </a:lnTo>
                  <a:lnTo>
                    <a:pt x="23" y="110"/>
                  </a:lnTo>
                  <a:lnTo>
                    <a:pt x="23" y="110"/>
                  </a:lnTo>
                  <a:lnTo>
                    <a:pt x="25" y="112"/>
                  </a:lnTo>
                  <a:lnTo>
                    <a:pt x="29" y="123"/>
                  </a:lnTo>
                  <a:lnTo>
                    <a:pt x="38" y="132"/>
                  </a:lnTo>
                  <a:lnTo>
                    <a:pt x="57" y="182"/>
                  </a:lnTo>
                  <a:lnTo>
                    <a:pt x="63" y="185"/>
                  </a:lnTo>
                  <a:lnTo>
                    <a:pt x="79" y="210"/>
                  </a:lnTo>
                  <a:lnTo>
                    <a:pt x="81" y="219"/>
                  </a:lnTo>
                  <a:lnTo>
                    <a:pt x="79" y="221"/>
                  </a:lnTo>
                  <a:lnTo>
                    <a:pt x="77" y="223"/>
                  </a:lnTo>
                  <a:lnTo>
                    <a:pt x="79" y="226"/>
                  </a:lnTo>
                  <a:lnTo>
                    <a:pt x="97" y="244"/>
                  </a:lnTo>
                  <a:lnTo>
                    <a:pt x="140" y="269"/>
                  </a:lnTo>
                  <a:lnTo>
                    <a:pt x="141" y="269"/>
                  </a:lnTo>
                  <a:lnTo>
                    <a:pt x="143" y="269"/>
                  </a:lnTo>
                  <a:lnTo>
                    <a:pt x="170" y="291"/>
                  </a:lnTo>
                  <a:lnTo>
                    <a:pt x="170" y="291"/>
                  </a:lnTo>
                  <a:lnTo>
                    <a:pt x="172" y="292"/>
                  </a:lnTo>
                  <a:lnTo>
                    <a:pt x="175" y="291"/>
                  </a:lnTo>
                  <a:lnTo>
                    <a:pt x="182" y="289"/>
                  </a:lnTo>
                  <a:lnTo>
                    <a:pt x="182" y="289"/>
                  </a:lnTo>
                  <a:lnTo>
                    <a:pt x="182" y="285"/>
                  </a:lnTo>
                  <a:lnTo>
                    <a:pt x="184" y="284"/>
                  </a:lnTo>
                  <a:lnTo>
                    <a:pt x="186" y="282"/>
                  </a:lnTo>
                  <a:lnTo>
                    <a:pt x="186" y="282"/>
                  </a:lnTo>
                  <a:lnTo>
                    <a:pt x="186" y="280"/>
                  </a:lnTo>
                  <a:lnTo>
                    <a:pt x="186" y="280"/>
                  </a:lnTo>
                  <a:lnTo>
                    <a:pt x="186" y="278"/>
                  </a:lnTo>
                  <a:lnTo>
                    <a:pt x="195" y="264"/>
                  </a:lnTo>
                  <a:lnTo>
                    <a:pt x="197" y="260"/>
                  </a:lnTo>
                  <a:lnTo>
                    <a:pt x="195" y="260"/>
                  </a:lnTo>
                  <a:lnTo>
                    <a:pt x="193" y="259"/>
                  </a:lnTo>
                  <a:lnTo>
                    <a:pt x="193" y="259"/>
                  </a:lnTo>
                  <a:lnTo>
                    <a:pt x="191" y="257"/>
                  </a:lnTo>
                  <a:lnTo>
                    <a:pt x="191" y="257"/>
                  </a:lnTo>
                  <a:lnTo>
                    <a:pt x="190" y="251"/>
                  </a:lnTo>
                  <a:lnTo>
                    <a:pt x="190" y="248"/>
                  </a:lnTo>
                  <a:lnTo>
                    <a:pt x="191" y="244"/>
                  </a:lnTo>
                  <a:lnTo>
                    <a:pt x="193" y="244"/>
                  </a:lnTo>
                  <a:lnTo>
                    <a:pt x="193" y="242"/>
                  </a:lnTo>
                  <a:lnTo>
                    <a:pt x="193" y="239"/>
                  </a:lnTo>
                  <a:lnTo>
                    <a:pt x="191" y="235"/>
                  </a:lnTo>
                  <a:lnTo>
                    <a:pt x="191" y="234"/>
                  </a:lnTo>
                  <a:lnTo>
                    <a:pt x="191" y="232"/>
                  </a:lnTo>
                  <a:lnTo>
                    <a:pt x="195" y="230"/>
                  </a:lnTo>
                  <a:lnTo>
                    <a:pt x="197" y="230"/>
                  </a:lnTo>
                  <a:lnTo>
                    <a:pt x="195" y="203"/>
                  </a:lnTo>
                  <a:lnTo>
                    <a:pt x="197" y="200"/>
                  </a:lnTo>
                  <a:lnTo>
                    <a:pt x="200" y="198"/>
                  </a:lnTo>
                  <a:lnTo>
                    <a:pt x="200" y="196"/>
                  </a:lnTo>
                  <a:lnTo>
                    <a:pt x="186" y="173"/>
                  </a:lnTo>
                  <a:lnTo>
                    <a:pt x="181" y="173"/>
                  </a:lnTo>
                  <a:lnTo>
                    <a:pt x="179" y="175"/>
                  </a:lnTo>
                  <a:lnTo>
                    <a:pt x="179" y="175"/>
                  </a:lnTo>
                  <a:lnTo>
                    <a:pt x="175" y="175"/>
                  </a:lnTo>
                  <a:lnTo>
                    <a:pt x="173" y="173"/>
                  </a:lnTo>
                  <a:lnTo>
                    <a:pt x="172" y="173"/>
                  </a:lnTo>
                  <a:lnTo>
                    <a:pt x="172" y="146"/>
                  </a:lnTo>
                  <a:lnTo>
                    <a:pt x="172" y="146"/>
                  </a:lnTo>
                  <a:lnTo>
                    <a:pt x="157" y="157"/>
                  </a:lnTo>
                  <a:lnTo>
                    <a:pt x="150" y="157"/>
                  </a:lnTo>
                  <a:lnTo>
                    <a:pt x="147" y="155"/>
                  </a:lnTo>
                  <a:lnTo>
                    <a:pt x="145" y="155"/>
                  </a:lnTo>
                  <a:lnTo>
                    <a:pt x="145" y="151"/>
                  </a:lnTo>
                  <a:lnTo>
                    <a:pt x="143" y="150"/>
                  </a:lnTo>
                  <a:lnTo>
                    <a:pt x="141" y="150"/>
                  </a:lnTo>
                  <a:lnTo>
                    <a:pt x="132" y="148"/>
                  </a:lnTo>
                  <a:lnTo>
                    <a:pt x="132" y="146"/>
                  </a:lnTo>
                  <a:lnTo>
                    <a:pt x="134" y="144"/>
                  </a:lnTo>
                  <a:lnTo>
                    <a:pt x="134" y="141"/>
                  </a:lnTo>
                  <a:lnTo>
                    <a:pt x="131" y="139"/>
                  </a:lnTo>
                  <a:lnTo>
                    <a:pt x="123" y="130"/>
                  </a:lnTo>
                  <a:lnTo>
                    <a:pt x="123" y="126"/>
                  </a:lnTo>
                  <a:lnTo>
                    <a:pt x="120" y="119"/>
                  </a:lnTo>
                  <a:lnTo>
                    <a:pt x="120" y="117"/>
                  </a:lnTo>
                  <a:lnTo>
                    <a:pt x="125" y="105"/>
                  </a:lnTo>
                  <a:lnTo>
                    <a:pt x="125" y="103"/>
                  </a:lnTo>
                  <a:lnTo>
                    <a:pt x="131" y="103"/>
                  </a:lnTo>
                  <a:lnTo>
                    <a:pt x="131" y="94"/>
                  </a:lnTo>
                  <a:lnTo>
                    <a:pt x="141" y="80"/>
                  </a:lnTo>
                  <a:lnTo>
                    <a:pt x="148" y="73"/>
                  </a:lnTo>
                  <a:lnTo>
                    <a:pt x="173" y="66"/>
                  </a:lnTo>
                  <a:lnTo>
                    <a:pt x="179" y="66"/>
                  </a:lnTo>
                  <a:lnTo>
                    <a:pt x="181" y="64"/>
                  </a:lnTo>
                  <a:lnTo>
                    <a:pt x="181" y="64"/>
                  </a:lnTo>
                  <a:lnTo>
                    <a:pt x="179" y="64"/>
                  </a:lnTo>
                  <a:lnTo>
                    <a:pt x="175" y="59"/>
                  </a:lnTo>
                  <a:lnTo>
                    <a:pt x="170" y="59"/>
                  </a:lnTo>
                  <a:lnTo>
                    <a:pt x="170" y="59"/>
                  </a:lnTo>
                  <a:lnTo>
                    <a:pt x="170" y="55"/>
                  </a:lnTo>
                  <a:lnTo>
                    <a:pt x="179" y="44"/>
                  </a:lnTo>
                  <a:lnTo>
                    <a:pt x="179" y="42"/>
                  </a:lnTo>
                  <a:lnTo>
                    <a:pt x="175" y="39"/>
                  </a:lnTo>
                  <a:lnTo>
                    <a:pt x="166" y="35"/>
                  </a:lnTo>
                  <a:lnTo>
                    <a:pt x="163" y="34"/>
                  </a:lnTo>
                  <a:lnTo>
                    <a:pt x="161" y="35"/>
                  </a:lnTo>
                  <a:lnTo>
                    <a:pt x="159" y="37"/>
                  </a:lnTo>
                  <a:lnTo>
                    <a:pt x="157" y="35"/>
                  </a:lnTo>
                  <a:lnTo>
                    <a:pt x="156" y="35"/>
                  </a:lnTo>
                  <a:lnTo>
                    <a:pt x="150" y="34"/>
                  </a:lnTo>
                  <a:lnTo>
                    <a:pt x="148" y="35"/>
                  </a:lnTo>
                  <a:lnTo>
                    <a:pt x="148" y="35"/>
                  </a:lnTo>
                  <a:lnTo>
                    <a:pt x="147" y="37"/>
                  </a:lnTo>
                  <a:lnTo>
                    <a:pt x="147" y="37"/>
                  </a:lnTo>
                  <a:lnTo>
                    <a:pt x="145" y="39"/>
                  </a:lnTo>
                  <a:lnTo>
                    <a:pt x="141" y="39"/>
                  </a:lnTo>
                  <a:lnTo>
                    <a:pt x="140" y="37"/>
                  </a:lnTo>
                  <a:lnTo>
                    <a:pt x="136" y="37"/>
                  </a:lnTo>
                  <a:lnTo>
                    <a:pt x="134" y="37"/>
                  </a:lnTo>
                  <a:lnTo>
                    <a:pt x="132" y="37"/>
                  </a:lnTo>
                  <a:lnTo>
                    <a:pt x="129" y="34"/>
                  </a:lnTo>
                  <a:lnTo>
                    <a:pt x="129" y="28"/>
                  </a:lnTo>
                  <a:lnTo>
                    <a:pt x="127" y="26"/>
                  </a:lnTo>
                  <a:lnTo>
                    <a:pt x="125" y="26"/>
                  </a:lnTo>
                  <a:lnTo>
                    <a:pt x="123" y="26"/>
                  </a:lnTo>
                  <a:lnTo>
                    <a:pt x="123" y="26"/>
                  </a:lnTo>
                  <a:lnTo>
                    <a:pt x="122" y="19"/>
                  </a:lnTo>
                  <a:lnTo>
                    <a:pt x="122" y="17"/>
                  </a:lnTo>
                  <a:lnTo>
                    <a:pt x="120" y="16"/>
                  </a:lnTo>
                  <a:lnTo>
                    <a:pt x="118" y="16"/>
                  </a:lnTo>
                  <a:lnTo>
                    <a:pt x="116" y="16"/>
                  </a:lnTo>
                  <a:lnTo>
                    <a:pt x="115" y="16"/>
                  </a:lnTo>
                  <a:lnTo>
                    <a:pt x="115" y="14"/>
                  </a:lnTo>
                  <a:lnTo>
                    <a:pt x="113" y="12"/>
                  </a:lnTo>
                  <a:lnTo>
                    <a:pt x="109" y="7"/>
                  </a:lnTo>
                  <a:lnTo>
                    <a:pt x="106" y="5"/>
                  </a:lnTo>
                  <a:lnTo>
                    <a:pt x="106" y="5"/>
                  </a:lnTo>
                  <a:lnTo>
                    <a:pt x="104" y="1"/>
                  </a:lnTo>
                  <a:lnTo>
                    <a:pt x="97" y="0"/>
                  </a:lnTo>
                  <a:lnTo>
                    <a:pt x="95" y="0"/>
                  </a:lnTo>
                </a:path>
              </a:pathLst>
            </a:custGeom>
            <a:pattFill prst="pct50">
              <a:fgClr>
                <a:srgbClr val="4C2008"/>
              </a:fgClr>
              <a:bgClr>
                <a:schemeClr val="bg1"/>
              </a:bgClr>
            </a:patt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02" name="Freeform 3382"/>
            <p:cNvSpPr>
              <a:spLocks/>
            </p:cNvSpPr>
            <p:nvPr/>
          </p:nvSpPr>
          <p:spPr bwMode="auto">
            <a:xfrm>
              <a:off x="2672283" y="5259421"/>
              <a:ext cx="505533" cy="1009457"/>
            </a:xfrm>
            <a:custGeom>
              <a:avLst/>
              <a:gdLst>
                <a:gd name="T0" fmla="*/ 41 w 314"/>
                <a:gd name="T1" fmla="*/ 620 h 627"/>
                <a:gd name="T2" fmla="*/ 16 w 314"/>
                <a:gd name="T3" fmla="*/ 584 h 627"/>
                <a:gd name="T4" fmla="*/ 7 w 314"/>
                <a:gd name="T5" fmla="*/ 584 h 627"/>
                <a:gd name="T6" fmla="*/ 0 w 314"/>
                <a:gd name="T7" fmla="*/ 582 h 627"/>
                <a:gd name="T8" fmla="*/ 14 w 314"/>
                <a:gd name="T9" fmla="*/ 536 h 627"/>
                <a:gd name="T10" fmla="*/ 14 w 314"/>
                <a:gd name="T11" fmla="*/ 520 h 627"/>
                <a:gd name="T12" fmla="*/ 27 w 314"/>
                <a:gd name="T13" fmla="*/ 459 h 627"/>
                <a:gd name="T14" fmla="*/ 21 w 314"/>
                <a:gd name="T15" fmla="*/ 445 h 627"/>
                <a:gd name="T16" fmla="*/ 30 w 314"/>
                <a:gd name="T17" fmla="*/ 436 h 627"/>
                <a:gd name="T18" fmla="*/ 23 w 314"/>
                <a:gd name="T19" fmla="*/ 422 h 627"/>
                <a:gd name="T20" fmla="*/ 21 w 314"/>
                <a:gd name="T21" fmla="*/ 388 h 627"/>
                <a:gd name="T22" fmla="*/ 21 w 314"/>
                <a:gd name="T23" fmla="*/ 368 h 627"/>
                <a:gd name="T24" fmla="*/ 36 w 314"/>
                <a:gd name="T25" fmla="*/ 270 h 627"/>
                <a:gd name="T26" fmla="*/ 43 w 314"/>
                <a:gd name="T27" fmla="*/ 264 h 627"/>
                <a:gd name="T28" fmla="*/ 48 w 314"/>
                <a:gd name="T29" fmla="*/ 241 h 627"/>
                <a:gd name="T30" fmla="*/ 52 w 314"/>
                <a:gd name="T31" fmla="*/ 198 h 627"/>
                <a:gd name="T32" fmla="*/ 46 w 314"/>
                <a:gd name="T33" fmla="*/ 164 h 627"/>
                <a:gd name="T34" fmla="*/ 54 w 314"/>
                <a:gd name="T35" fmla="*/ 150 h 627"/>
                <a:gd name="T36" fmla="*/ 80 w 314"/>
                <a:gd name="T37" fmla="*/ 89 h 627"/>
                <a:gd name="T38" fmla="*/ 79 w 314"/>
                <a:gd name="T39" fmla="*/ 47 h 627"/>
                <a:gd name="T40" fmla="*/ 98 w 314"/>
                <a:gd name="T41" fmla="*/ 20 h 627"/>
                <a:gd name="T42" fmla="*/ 102 w 314"/>
                <a:gd name="T43" fmla="*/ 13 h 627"/>
                <a:gd name="T44" fmla="*/ 138 w 314"/>
                <a:gd name="T45" fmla="*/ 9 h 627"/>
                <a:gd name="T46" fmla="*/ 145 w 314"/>
                <a:gd name="T47" fmla="*/ 14 h 627"/>
                <a:gd name="T48" fmla="*/ 177 w 314"/>
                <a:gd name="T49" fmla="*/ 13 h 627"/>
                <a:gd name="T50" fmla="*/ 200 w 314"/>
                <a:gd name="T51" fmla="*/ 38 h 627"/>
                <a:gd name="T52" fmla="*/ 243 w 314"/>
                <a:gd name="T53" fmla="*/ 57 h 627"/>
                <a:gd name="T54" fmla="*/ 250 w 314"/>
                <a:gd name="T55" fmla="*/ 68 h 627"/>
                <a:gd name="T56" fmla="*/ 264 w 314"/>
                <a:gd name="T57" fmla="*/ 100 h 627"/>
                <a:gd name="T58" fmla="*/ 273 w 314"/>
                <a:gd name="T59" fmla="*/ 98 h 627"/>
                <a:gd name="T60" fmla="*/ 302 w 314"/>
                <a:gd name="T61" fmla="*/ 66 h 627"/>
                <a:gd name="T62" fmla="*/ 312 w 314"/>
                <a:gd name="T63" fmla="*/ 93 h 627"/>
                <a:gd name="T64" fmla="*/ 271 w 314"/>
                <a:gd name="T65" fmla="*/ 129 h 627"/>
                <a:gd name="T66" fmla="*/ 250 w 314"/>
                <a:gd name="T67" fmla="*/ 152 h 627"/>
                <a:gd name="T68" fmla="*/ 243 w 314"/>
                <a:gd name="T69" fmla="*/ 202 h 627"/>
                <a:gd name="T70" fmla="*/ 257 w 314"/>
                <a:gd name="T71" fmla="*/ 247 h 627"/>
                <a:gd name="T72" fmla="*/ 262 w 314"/>
                <a:gd name="T73" fmla="*/ 266 h 627"/>
                <a:gd name="T74" fmla="*/ 248 w 314"/>
                <a:gd name="T75" fmla="*/ 306 h 627"/>
                <a:gd name="T76" fmla="*/ 177 w 314"/>
                <a:gd name="T77" fmla="*/ 325 h 627"/>
                <a:gd name="T78" fmla="*/ 177 w 314"/>
                <a:gd name="T79" fmla="*/ 338 h 627"/>
                <a:gd name="T80" fmla="*/ 168 w 314"/>
                <a:gd name="T81" fmla="*/ 363 h 627"/>
                <a:gd name="T82" fmla="*/ 130 w 314"/>
                <a:gd name="T83" fmla="*/ 359 h 627"/>
                <a:gd name="T84" fmla="*/ 141 w 314"/>
                <a:gd name="T85" fmla="*/ 389 h 627"/>
                <a:gd name="T86" fmla="*/ 145 w 314"/>
                <a:gd name="T87" fmla="*/ 388 h 627"/>
                <a:gd name="T88" fmla="*/ 155 w 314"/>
                <a:gd name="T89" fmla="*/ 398 h 627"/>
                <a:gd name="T90" fmla="*/ 145 w 314"/>
                <a:gd name="T91" fmla="*/ 397 h 627"/>
                <a:gd name="T92" fmla="*/ 134 w 314"/>
                <a:gd name="T93" fmla="*/ 397 h 627"/>
                <a:gd name="T94" fmla="*/ 136 w 314"/>
                <a:gd name="T95" fmla="*/ 411 h 627"/>
                <a:gd name="T96" fmla="*/ 125 w 314"/>
                <a:gd name="T97" fmla="*/ 441 h 627"/>
                <a:gd name="T98" fmla="*/ 113 w 314"/>
                <a:gd name="T99" fmla="*/ 452 h 627"/>
                <a:gd name="T100" fmla="*/ 93 w 314"/>
                <a:gd name="T101" fmla="*/ 477 h 627"/>
                <a:gd name="T102" fmla="*/ 121 w 314"/>
                <a:gd name="T103" fmla="*/ 500 h 627"/>
                <a:gd name="T104" fmla="*/ 120 w 314"/>
                <a:gd name="T105" fmla="*/ 520 h 627"/>
                <a:gd name="T106" fmla="*/ 91 w 314"/>
                <a:gd name="T107" fmla="*/ 550 h 627"/>
                <a:gd name="T108" fmla="*/ 79 w 314"/>
                <a:gd name="T109" fmla="*/ 568 h 627"/>
                <a:gd name="T110" fmla="*/ 79 w 314"/>
                <a:gd name="T111" fmla="*/ 572 h 627"/>
                <a:gd name="T112" fmla="*/ 66 w 314"/>
                <a:gd name="T113" fmla="*/ 593 h 627"/>
                <a:gd name="T114" fmla="*/ 66 w 314"/>
                <a:gd name="T115" fmla="*/ 609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4" h="627">
                  <a:moveTo>
                    <a:pt x="80" y="627"/>
                  </a:moveTo>
                  <a:lnTo>
                    <a:pt x="79" y="625"/>
                  </a:lnTo>
                  <a:lnTo>
                    <a:pt x="73" y="623"/>
                  </a:lnTo>
                  <a:lnTo>
                    <a:pt x="57" y="620"/>
                  </a:lnTo>
                  <a:lnTo>
                    <a:pt x="41" y="620"/>
                  </a:lnTo>
                  <a:lnTo>
                    <a:pt x="41" y="620"/>
                  </a:lnTo>
                  <a:lnTo>
                    <a:pt x="23" y="620"/>
                  </a:lnTo>
                  <a:lnTo>
                    <a:pt x="20" y="618"/>
                  </a:lnTo>
                  <a:lnTo>
                    <a:pt x="16" y="613"/>
                  </a:lnTo>
                  <a:lnTo>
                    <a:pt x="16" y="584"/>
                  </a:lnTo>
                  <a:lnTo>
                    <a:pt x="16" y="584"/>
                  </a:lnTo>
                  <a:lnTo>
                    <a:pt x="14" y="584"/>
                  </a:lnTo>
                  <a:lnTo>
                    <a:pt x="14" y="584"/>
                  </a:lnTo>
                  <a:lnTo>
                    <a:pt x="13" y="586"/>
                  </a:lnTo>
                  <a:lnTo>
                    <a:pt x="7" y="584"/>
                  </a:lnTo>
                  <a:lnTo>
                    <a:pt x="4" y="586"/>
                  </a:lnTo>
                  <a:lnTo>
                    <a:pt x="4" y="588"/>
                  </a:lnTo>
                  <a:lnTo>
                    <a:pt x="2" y="589"/>
                  </a:lnTo>
                  <a:lnTo>
                    <a:pt x="2" y="588"/>
                  </a:lnTo>
                  <a:lnTo>
                    <a:pt x="0" y="582"/>
                  </a:lnTo>
                  <a:lnTo>
                    <a:pt x="0" y="582"/>
                  </a:lnTo>
                  <a:lnTo>
                    <a:pt x="2" y="557"/>
                  </a:lnTo>
                  <a:lnTo>
                    <a:pt x="4" y="554"/>
                  </a:lnTo>
                  <a:lnTo>
                    <a:pt x="5" y="552"/>
                  </a:lnTo>
                  <a:lnTo>
                    <a:pt x="14" y="536"/>
                  </a:lnTo>
                  <a:lnTo>
                    <a:pt x="14" y="527"/>
                  </a:lnTo>
                  <a:lnTo>
                    <a:pt x="16" y="527"/>
                  </a:lnTo>
                  <a:lnTo>
                    <a:pt x="16" y="525"/>
                  </a:lnTo>
                  <a:lnTo>
                    <a:pt x="16" y="522"/>
                  </a:lnTo>
                  <a:lnTo>
                    <a:pt x="14" y="520"/>
                  </a:lnTo>
                  <a:lnTo>
                    <a:pt x="14" y="518"/>
                  </a:lnTo>
                  <a:lnTo>
                    <a:pt x="14" y="518"/>
                  </a:lnTo>
                  <a:lnTo>
                    <a:pt x="14" y="511"/>
                  </a:lnTo>
                  <a:lnTo>
                    <a:pt x="27" y="488"/>
                  </a:lnTo>
                  <a:lnTo>
                    <a:pt x="27" y="459"/>
                  </a:lnTo>
                  <a:lnTo>
                    <a:pt x="30" y="456"/>
                  </a:lnTo>
                  <a:lnTo>
                    <a:pt x="30" y="452"/>
                  </a:lnTo>
                  <a:lnTo>
                    <a:pt x="27" y="448"/>
                  </a:lnTo>
                  <a:lnTo>
                    <a:pt x="23" y="447"/>
                  </a:lnTo>
                  <a:lnTo>
                    <a:pt x="21" y="445"/>
                  </a:lnTo>
                  <a:lnTo>
                    <a:pt x="23" y="443"/>
                  </a:lnTo>
                  <a:lnTo>
                    <a:pt x="32" y="445"/>
                  </a:lnTo>
                  <a:lnTo>
                    <a:pt x="32" y="441"/>
                  </a:lnTo>
                  <a:lnTo>
                    <a:pt x="32" y="439"/>
                  </a:lnTo>
                  <a:lnTo>
                    <a:pt x="30" y="436"/>
                  </a:lnTo>
                  <a:lnTo>
                    <a:pt x="25" y="436"/>
                  </a:lnTo>
                  <a:lnTo>
                    <a:pt x="23" y="436"/>
                  </a:lnTo>
                  <a:lnTo>
                    <a:pt x="23" y="434"/>
                  </a:lnTo>
                  <a:lnTo>
                    <a:pt x="25" y="425"/>
                  </a:lnTo>
                  <a:lnTo>
                    <a:pt x="23" y="422"/>
                  </a:lnTo>
                  <a:lnTo>
                    <a:pt x="21" y="418"/>
                  </a:lnTo>
                  <a:lnTo>
                    <a:pt x="21" y="407"/>
                  </a:lnTo>
                  <a:lnTo>
                    <a:pt x="21" y="406"/>
                  </a:lnTo>
                  <a:lnTo>
                    <a:pt x="20" y="404"/>
                  </a:lnTo>
                  <a:lnTo>
                    <a:pt x="21" y="388"/>
                  </a:lnTo>
                  <a:lnTo>
                    <a:pt x="25" y="382"/>
                  </a:lnTo>
                  <a:lnTo>
                    <a:pt x="25" y="377"/>
                  </a:lnTo>
                  <a:lnTo>
                    <a:pt x="25" y="375"/>
                  </a:lnTo>
                  <a:lnTo>
                    <a:pt x="23" y="373"/>
                  </a:lnTo>
                  <a:lnTo>
                    <a:pt x="21" y="368"/>
                  </a:lnTo>
                  <a:lnTo>
                    <a:pt x="32" y="318"/>
                  </a:lnTo>
                  <a:lnTo>
                    <a:pt x="36" y="314"/>
                  </a:lnTo>
                  <a:lnTo>
                    <a:pt x="36" y="311"/>
                  </a:lnTo>
                  <a:lnTo>
                    <a:pt x="36" y="304"/>
                  </a:lnTo>
                  <a:lnTo>
                    <a:pt x="36" y="270"/>
                  </a:lnTo>
                  <a:lnTo>
                    <a:pt x="38" y="268"/>
                  </a:lnTo>
                  <a:lnTo>
                    <a:pt x="39" y="266"/>
                  </a:lnTo>
                  <a:lnTo>
                    <a:pt x="41" y="266"/>
                  </a:lnTo>
                  <a:lnTo>
                    <a:pt x="41" y="266"/>
                  </a:lnTo>
                  <a:lnTo>
                    <a:pt x="43" y="264"/>
                  </a:lnTo>
                  <a:lnTo>
                    <a:pt x="43" y="263"/>
                  </a:lnTo>
                  <a:lnTo>
                    <a:pt x="46" y="261"/>
                  </a:lnTo>
                  <a:lnTo>
                    <a:pt x="45" y="245"/>
                  </a:lnTo>
                  <a:lnTo>
                    <a:pt x="48" y="243"/>
                  </a:lnTo>
                  <a:lnTo>
                    <a:pt x="48" y="241"/>
                  </a:lnTo>
                  <a:lnTo>
                    <a:pt x="50" y="232"/>
                  </a:lnTo>
                  <a:lnTo>
                    <a:pt x="55" y="223"/>
                  </a:lnTo>
                  <a:lnTo>
                    <a:pt x="54" y="207"/>
                  </a:lnTo>
                  <a:lnTo>
                    <a:pt x="52" y="204"/>
                  </a:lnTo>
                  <a:lnTo>
                    <a:pt x="52" y="198"/>
                  </a:lnTo>
                  <a:lnTo>
                    <a:pt x="46" y="189"/>
                  </a:lnTo>
                  <a:lnTo>
                    <a:pt x="46" y="181"/>
                  </a:lnTo>
                  <a:lnTo>
                    <a:pt x="45" y="177"/>
                  </a:lnTo>
                  <a:lnTo>
                    <a:pt x="46" y="166"/>
                  </a:lnTo>
                  <a:lnTo>
                    <a:pt x="46" y="164"/>
                  </a:lnTo>
                  <a:lnTo>
                    <a:pt x="50" y="156"/>
                  </a:lnTo>
                  <a:lnTo>
                    <a:pt x="52" y="154"/>
                  </a:lnTo>
                  <a:lnTo>
                    <a:pt x="52" y="152"/>
                  </a:lnTo>
                  <a:lnTo>
                    <a:pt x="52" y="152"/>
                  </a:lnTo>
                  <a:lnTo>
                    <a:pt x="54" y="150"/>
                  </a:lnTo>
                  <a:lnTo>
                    <a:pt x="61" y="111"/>
                  </a:lnTo>
                  <a:lnTo>
                    <a:pt x="68" y="104"/>
                  </a:lnTo>
                  <a:lnTo>
                    <a:pt x="70" y="97"/>
                  </a:lnTo>
                  <a:lnTo>
                    <a:pt x="75" y="91"/>
                  </a:lnTo>
                  <a:lnTo>
                    <a:pt x="80" y="89"/>
                  </a:lnTo>
                  <a:lnTo>
                    <a:pt x="80" y="88"/>
                  </a:lnTo>
                  <a:lnTo>
                    <a:pt x="77" y="59"/>
                  </a:lnTo>
                  <a:lnTo>
                    <a:pt x="77" y="59"/>
                  </a:lnTo>
                  <a:lnTo>
                    <a:pt x="79" y="57"/>
                  </a:lnTo>
                  <a:lnTo>
                    <a:pt x="79" y="47"/>
                  </a:lnTo>
                  <a:lnTo>
                    <a:pt x="96" y="38"/>
                  </a:lnTo>
                  <a:lnTo>
                    <a:pt x="100" y="22"/>
                  </a:lnTo>
                  <a:lnTo>
                    <a:pt x="98" y="20"/>
                  </a:lnTo>
                  <a:lnTo>
                    <a:pt x="98" y="20"/>
                  </a:lnTo>
                  <a:lnTo>
                    <a:pt x="98" y="20"/>
                  </a:lnTo>
                  <a:lnTo>
                    <a:pt x="98" y="18"/>
                  </a:lnTo>
                  <a:lnTo>
                    <a:pt x="98" y="18"/>
                  </a:lnTo>
                  <a:lnTo>
                    <a:pt x="100" y="16"/>
                  </a:lnTo>
                  <a:lnTo>
                    <a:pt x="102" y="14"/>
                  </a:lnTo>
                  <a:lnTo>
                    <a:pt x="102" y="13"/>
                  </a:lnTo>
                  <a:lnTo>
                    <a:pt x="114" y="0"/>
                  </a:lnTo>
                  <a:lnTo>
                    <a:pt x="116" y="0"/>
                  </a:lnTo>
                  <a:lnTo>
                    <a:pt x="120" y="6"/>
                  </a:lnTo>
                  <a:lnTo>
                    <a:pt x="138" y="7"/>
                  </a:lnTo>
                  <a:lnTo>
                    <a:pt x="138" y="9"/>
                  </a:lnTo>
                  <a:lnTo>
                    <a:pt x="139" y="11"/>
                  </a:lnTo>
                  <a:lnTo>
                    <a:pt x="141" y="11"/>
                  </a:lnTo>
                  <a:lnTo>
                    <a:pt x="141" y="13"/>
                  </a:lnTo>
                  <a:lnTo>
                    <a:pt x="143" y="14"/>
                  </a:lnTo>
                  <a:lnTo>
                    <a:pt x="145" y="14"/>
                  </a:lnTo>
                  <a:lnTo>
                    <a:pt x="148" y="4"/>
                  </a:lnTo>
                  <a:lnTo>
                    <a:pt x="164" y="6"/>
                  </a:lnTo>
                  <a:lnTo>
                    <a:pt x="168" y="7"/>
                  </a:lnTo>
                  <a:lnTo>
                    <a:pt x="175" y="11"/>
                  </a:lnTo>
                  <a:lnTo>
                    <a:pt x="177" y="13"/>
                  </a:lnTo>
                  <a:lnTo>
                    <a:pt x="180" y="18"/>
                  </a:lnTo>
                  <a:lnTo>
                    <a:pt x="184" y="22"/>
                  </a:lnTo>
                  <a:lnTo>
                    <a:pt x="184" y="23"/>
                  </a:lnTo>
                  <a:lnTo>
                    <a:pt x="196" y="32"/>
                  </a:lnTo>
                  <a:lnTo>
                    <a:pt x="200" y="38"/>
                  </a:lnTo>
                  <a:lnTo>
                    <a:pt x="202" y="38"/>
                  </a:lnTo>
                  <a:lnTo>
                    <a:pt x="218" y="41"/>
                  </a:lnTo>
                  <a:lnTo>
                    <a:pt x="237" y="52"/>
                  </a:lnTo>
                  <a:lnTo>
                    <a:pt x="239" y="56"/>
                  </a:lnTo>
                  <a:lnTo>
                    <a:pt x="243" y="57"/>
                  </a:lnTo>
                  <a:lnTo>
                    <a:pt x="246" y="59"/>
                  </a:lnTo>
                  <a:lnTo>
                    <a:pt x="248" y="61"/>
                  </a:lnTo>
                  <a:lnTo>
                    <a:pt x="248" y="61"/>
                  </a:lnTo>
                  <a:lnTo>
                    <a:pt x="248" y="63"/>
                  </a:lnTo>
                  <a:lnTo>
                    <a:pt x="250" y="68"/>
                  </a:lnTo>
                  <a:lnTo>
                    <a:pt x="239" y="88"/>
                  </a:lnTo>
                  <a:lnTo>
                    <a:pt x="237" y="93"/>
                  </a:lnTo>
                  <a:lnTo>
                    <a:pt x="239" y="93"/>
                  </a:lnTo>
                  <a:lnTo>
                    <a:pt x="255" y="95"/>
                  </a:lnTo>
                  <a:lnTo>
                    <a:pt x="264" y="100"/>
                  </a:lnTo>
                  <a:lnTo>
                    <a:pt x="266" y="100"/>
                  </a:lnTo>
                  <a:lnTo>
                    <a:pt x="268" y="100"/>
                  </a:lnTo>
                  <a:lnTo>
                    <a:pt x="270" y="100"/>
                  </a:lnTo>
                  <a:lnTo>
                    <a:pt x="273" y="98"/>
                  </a:lnTo>
                  <a:lnTo>
                    <a:pt x="273" y="98"/>
                  </a:lnTo>
                  <a:lnTo>
                    <a:pt x="277" y="97"/>
                  </a:lnTo>
                  <a:lnTo>
                    <a:pt x="280" y="97"/>
                  </a:lnTo>
                  <a:lnTo>
                    <a:pt x="282" y="97"/>
                  </a:lnTo>
                  <a:lnTo>
                    <a:pt x="298" y="82"/>
                  </a:lnTo>
                  <a:lnTo>
                    <a:pt x="302" y="66"/>
                  </a:lnTo>
                  <a:lnTo>
                    <a:pt x="309" y="64"/>
                  </a:lnTo>
                  <a:lnTo>
                    <a:pt x="311" y="68"/>
                  </a:lnTo>
                  <a:lnTo>
                    <a:pt x="314" y="79"/>
                  </a:lnTo>
                  <a:lnTo>
                    <a:pt x="314" y="91"/>
                  </a:lnTo>
                  <a:lnTo>
                    <a:pt x="312" y="93"/>
                  </a:lnTo>
                  <a:lnTo>
                    <a:pt x="305" y="98"/>
                  </a:lnTo>
                  <a:lnTo>
                    <a:pt x="298" y="100"/>
                  </a:lnTo>
                  <a:lnTo>
                    <a:pt x="280" y="118"/>
                  </a:lnTo>
                  <a:lnTo>
                    <a:pt x="279" y="120"/>
                  </a:lnTo>
                  <a:lnTo>
                    <a:pt x="271" y="129"/>
                  </a:lnTo>
                  <a:lnTo>
                    <a:pt x="271" y="131"/>
                  </a:lnTo>
                  <a:lnTo>
                    <a:pt x="257" y="145"/>
                  </a:lnTo>
                  <a:lnTo>
                    <a:pt x="257" y="145"/>
                  </a:lnTo>
                  <a:lnTo>
                    <a:pt x="252" y="150"/>
                  </a:lnTo>
                  <a:lnTo>
                    <a:pt x="250" y="152"/>
                  </a:lnTo>
                  <a:lnTo>
                    <a:pt x="248" y="154"/>
                  </a:lnTo>
                  <a:lnTo>
                    <a:pt x="246" y="173"/>
                  </a:lnTo>
                  <a:lnTo>
                    <a:pt x="243" y="182"/>
                  </a:lnTo>
                  <a:lnTo>
                    <a:pt x="243" y="200"/>
                  </a:lnTo>
                  <a:lnTo>
                    <a:pt x="243" y="202"/>
                  </a:lnTo>
                  <a:lnTo>
                    <a:pt x="239" y="206"/>
                  </a:lnTo>
                  <a:lnTo>
                    <a:pt x="237" y="225"/>
                  </a:lnTo>
                  <a:lnTo>
                    <a:pt x="237" y="227"/>
                  </a:lnTo>
                  <a:lnTo>
                    <a:pt x="239" y="232"/>
                  </a:lnTo>
                  <a:lnTo>
                    <a:pt x="257" y="247"/>
                  </a:lnTo>
                  <a:lnTo>
                    <a:pt x="257" y="250"/>
                  </a:lnTo>
                  <a:lnTo>
                    <a:pt x="254" y="257"/>
                  </a:lnTo>
                  <a:lnTo>
                    <a:pt x="255" y="261"/>
                  </a:lnTo>
                  <a:lnTo>
                    <a:pt x="259" y="264"/>
                  </a:lnTo>
                  <a:lnTo>
                    <a:pt x="262" y="266"/>
                  </a:lnTo>
                  <a:lnTo>
                    <a:pt x="266" y="266"/>
                  </a:lnTo>
                  <a:lnTo>
                    <a:pt x="266" y="277"/>
                  </a:lnTo>
                  <a:lnTo>
                    <a:pt x="254" y="297"/>
                  </a:lnTo>
                  <a:lnTo>
                    <a:pt x="252" y="304"/>
                  </a:lnTo>
                  <a:lnTo>
                    <a:pt x="248" y="306"/>
                  </a:lnTo>
                  <a:lnTo>
                    <a:pt x="196" y="320"/>
                  </a:lnTo>
                  <a:lnTo>
                    <a:pt x="180" y="318"/>
                  </a:lnTo>
                  <a:lnTo>
                    <a:pt x="177" y="314"/>
                  </a:lnTo>
                  <a:lnTo>
                    <a:pt x="175" y="318"/>
                  </a:lnTo>
                  <a:lnTo>
                    <a:pt x="177" y="325"/>
                  </a:lnTo>
                  <a:lnTo>
                    <a:pt x="179" y="327"/>
                  </a:lnTo>
                  <a:lnTo>
                    <a:pt x="180" y="331"/>
                  </a:lnTo>
                  <a:lnTo>
                    <a:pt x="179" y="338"/>
                  </a:lnTo>
                  <a:lnTo>
                    <a:pt x="177" y="338"/>
                  </a:lnTo>
                  <a:lnTo>
                    <a:pt x="177" y="338"/>
                  </a:lnTo>
                  <a:lnTo>
                    <a:pt x="175" y="345"/>
                  </a:lnTo>
                  <a:lnTo>
                    <a:pt x="177" y="354"/>
                  </a:lnTo>
                  <a:lnTo>
                    <a:pt x="175" y="359"/>
                  </a:lnTo>
                  <a:lnTo>
                    <a:pt x="173" y="361"/>
                  </a:lnTo>
                  <a:lnTo>
                    <a:pt x="168" y="363"/>
                  </a:lnTo>
                  <a:lnTo>
                    <a:pt x="164" y="364"/>
                  </a:lnTo>
                  <a:lnTo>
                    <a:pt x="154" y="364"/>
                  </a:lnTo>
                  <a:lnTo>
                    <a:pt x="138" y="357"/>
                  </a:lnTo>
                  <a:lnTo>
                    <a:pt x="134" y="356"/>
                  </a:lnTo>
                  <a:lnTo>
                    <a:pt x="130" y="359"/>
                  </a:lnTo>
                  <a:lnTo>
                    <a:pt x="130" y="364"/>
                  </a:lnTo>
                  <a:lnTo>
                    <a:pt x="132" y="370"/>
                  </a:lnTo>
                  <a:lnTo>
                    <a:pt x="134" y="384"/>
                  </a:lnTo>
                  <a:lnTo>
                    <a:pt x="138" y="388"/>
                  </a:lnTo>
                  <a:lnTo>
                    <a:pt x="141" y="389"/>
                  </a:lnTo>
                  <a:lnTo>
                    <a:pt x="139" y="391"/>
                  </a:lnTo>
                  <a:lnTo>
                    <a:pt x="141" y="393"/>
                  </a:lnTo>
                  <a:lnTo>
                    <a:pt x="148" y="391"/>
                  </a:lnTo>
                  <a:lnTo>
                    <a:pt x="146" y="389"/>
                  </a:lnTo>
                  <a:lnTo>
                    <a:pt x="145" y="388"/>
                  </a:lnTo>
                  <a:lnTo>
                    <a:pt x="150" y="388"/>
                  </a:lnTo>
                  <a:lnTo>
                    <a:pt x="154" y="384"/>
                  </a:lnTo>
                  <a:lnTo>
                    <a:pt x="155" y="388"/>
                  </a:lnTo>
                  <a:lnTo>
                    <a:pt x="155" y="395"/>
                  </a:lnTo>
                  <a:lnTo>
                    <a:pt x="155" y="398"/>
                  </a:lnTo>
                  <a:lnTo>
                    <a:pt x="154" y="400"/>
                  </a:lnTo>
                  <a:lnTo>
                    <a:pt x="150" y="402"/>
                  </a:lnTo>
                  <a:lnTo>
                    <a:pt x="148" y="402"/>
                  </a:lnTo>
                  <a:lnTo>
                    <a:pt x="145" y="400"/>
                  </a:lnTo>
                  <a:lnTo>
                    <a:pt x="145" y="397"/>
                  </a:lnTo>
                  <a:lnTo>
                    <a:pt x="143" y="395"/>
                  </a:lnTo>
                  <a:lnTo>
                    <a:pt x="141" y="395"/>
                  </a:lnTo>
                  <a:lnTo>
                    <a:pt x="138" y="395"/>
                  </a:lnTo>
                  <a:lnTo>
                    <a:pt x="136" y="397"/>
                  </a:lnTo>
                  <a:lnTo>
                    <a:pt x="134" y="397"/>
                  </a:lnTo>
                  <a:lnTo>
                    <a:pt x="134" y="398"/>
                  </a:lnTo>
                  <a:lnTo>
                    <a:pt x="134" y="400"/>
                  </a:lnTo>
                  <a:lnTo>
                    <a:pt x="145" y="404"/>
                  </a:lnTo>
                  <a:lnTo>
                    <a:pt x="145" y="406"/>
                  </a:lnTo>
                  <a:lnTo>
                    <a:pt x="136" y="411"/>
                  </a:lnTo>
                  <a:lnTo>
                    <a:pt x="130" y="418"/>
                  </a:lnTo>
                  <a:lnTo>
                    <a:pt x="130" y="434"/>
                  </a:lnTo>
                  <a:lnTo>
                    <a:pt x="129" y="438"/>
                  </a:lnTo>
                  <a:lnTo>
                    <a:pt x="127" y="439"/>
                  </a:lnTo>
                  <a:lnTo>
                    <a:pt x="125" y="441"/>
                  </a:lnTo>
                  <a:lnTo>
                    <a:pt x="123" y="443"/>
                  </a:lnTo>
                  <a:lnTo>
                    <a:pt x="125" y="448"/>
                  </a:lnTo>
                  <a:lnTo>
                    <a:pt x="125" y="450"/>
                  </a:lnTo>
                  <a:lnTo>
                    <a:pt x="114" y="450"/>
                  </a:lnTo>
                  <a:lnTo>
                    <a:pt x="113" y="452"/>
                  </a:lnTo>
                  <a:lnTo>
                    <a:pt x="109" y="454"/>
                  </a:lnTo>
                  <a:lnTo>
                    <a:pt x="107" y="454"/>
                  </a:lnTo>
                  <a:lnTo>
                    <a:pt x="104" y="456"/>
                  </a:lnTo>
                  <a:lnTo>
                    <a:pt x="93" y="472"/>
                  </a:lnTo>
                  <a:lnTo>
                    <a:pt x="93" y="477"/>
                  </a:lnTo>
                  <a:lnTo>
                    <a:pt x="96" y="486"/>
                  </a:lnTo>
                  <a:lnTo>
                    <a:pt x="105" y="495"/>
                  </a:lnTo>
                  <a:lnTo>
                    <a:pt x="113" y="498"/>
                  </a:lnTo>
                  <a:lnTo>
                    <a:pt x="120" y="498"/>
                  </a:lnTo>
                  <a:lnTo>
                    <a:pt x="121" y="500"/>
                  </a:lnTo>
                  <a:lnTo>
                    <a:pt x="123" y="507"/>
                  </a:lnTo>
                  <a:lnTo>
                    <a:pt x="121" y="511"/>
                  </a:lnTo>
                  <a:lnTo>
                    <a:pt x="120" y="513"/>
                  </a:lnTo>
                  <a:lnTo>
                    <a:pt x="121" y="518"/>
                  </a:lnTo>
                  <a:lnTo>
                    <a:pt x="120" y="520"/>
                  </a:lnTo>
                  <a:lnTo>
                    <a:pt x="118" y="522"/>
                  </a:lnTo>
                  <a:lnTo>
                    <a:pt x="116" y="522"/>
                  </a:lnTo>
                  <a:lnTo>
                    <a:pt x="93" y="543"/>
                  </a:lnTo>
                  <a:lnTo>
                    <a:pt x="89" y="552"/>
                  </a:lnTo>
                  <a:lnTo>
                    <a:pt x="91" y="550"/>
                  </a:lnTo>
                  <a:lnTo>
                    <a:pt x="88" y="566"/>
                  </a:lnTo>
                  <a:lnTo>
                    <a:pt x="86" y="568"/>
                  </a:lnTo>
                  <a:lnTo>
                    <a:pt x="82" y="570"/>
                  </a:lnTo>
                  <a:lnTo>
                    <a:pt x="80" y="570"/>
                  </a:lnTo>
                  <a:lnTo>
                    <a:pt x="79" y="568"/>
                  </a:lnTo>
                  <a:lnTo>
                    <a:pt x="75" y="561"/>
                  </a:lnTo>
                  <a:lnTo>
                    <a:pt x="75" y="568"/>
                  </a:lnTo>
                  <a:lnTo>
                    <a:pt x="77" y="568"/>
                  </a:lnTo>
                  <a:lnTo>
                    <a:pt x="79" y="570"/>
                  </a:lnTo>
                  <a:lnTo>
                    <a:pt x="79" y="572"/>
                  </a:lnTo>
                  <a:lnTo>
                    <a:pt x="70" y="579"/>
                  </a:lnTo>
                  <a:lnTo>
                    <a:pt x="66" y="591"/>
                  </a:lnTo>
                  <a:lnTo>
                    <a:pt x="63" y="595"/>
                  </a:lnTo>
                  <a:lnTo>
                    <a:pt x="64" y="595"/>
                  </a:lnTo>
                  <a:lnTo>
                    <a:pt x="66" y="593"/>
                  </a:lnTo>
                  <a:lnTo>
                    <a:pt x="70" y="606"/>
                  </a:lnTo>
                  <a:lnTo>
                    <a:pt x="68" y="607"/>
                  </a:lnTo>
                  <a:lnTo>
                    <a:pt x="64" y="607"/>
                  </a:lnTo>
                  <a:lnTo>
                    <a:pt x="63" y="607"/>
                  </a:lnTo>
                  <a:lnTo>
                    <a:pt x="66" y="609"/>
                  </a:lnTo>
                  <a:lnTo>
                    <a:pt x="68" y="609"/>
                  </a:lnTo>
                  <a:lnTo>
                    <a:pt x="70" y="609"/>
                  </a:lnTo>
                  <a:lnTo>
                    <a:pt x="80" y="625"/>
                  </a:lnTo>
                  <a:lnTo>
                    <a:pt x="80" y="627"/>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03" name="Freeform 3383"/>
            <p:cNvSpPr>
              <a:spLocks/>
            </p:cNvSpPr>
            <p:nvPr/>
          </p:nvSpPr>
          <p:spPr bwMode="auto">
            <a:xfrm>
              <a:off x="2672283" y="5259421"/>
              <a:ext cx="505533" cy="1009457"/>
            </a:xfrm>
            <a:custGeom>
              <a:avLst/>
              <a:gdLst>
                <a:gd name="T0" fmla="*/ 41 w 314"/>
                <a:gd name="T1" fmla="*/ 620 h 627"/>
                <a:gd name="T2" fmla="*/ 16 w 314"/>
                <a:gd name="T3" fmla="*/ 584 h 627"/>
                <a:gd name="T4" fmla="*/ 7 w 314"/>
                <a:gd name="T5" fmla="*/ 584 h 627"/>
                <a:gd name="T6" fmla="*/ 0 w 314"/>
                <a:gd name="T7" fmla="*/ 582 h 627"/>
                <a:gd name="T8" fmla="*/ 14 w 314"/>
                <a:gd name="T9" fmla="*/ 536 h 627"/>
                <a:gd name="T10" fmla="*/ 14 w 314"/>
                <a:gd name="T11" fmla="*/ 520 h 627"/>
                <a:gd name="T12" fmla="*/ 27 w 314"/>
                <a:gd name="T13" fmla="*/ 459 h 627"/>
                <a:gd name="T14" fmla="*/ 21 w 314"/>
                <a:gd name="T15" fmla="*/ 445 h 627"/>
                <a:gd name="T16" fmla="*/ 30 w 314"/>
                <a:gd name="T17" fmla="*/ 436 h 627"/>
                <a:gd name="T18" fmla="*/ 23 w 314"/>
                <a:gd name="T19" fmla="*/ 422 h 627"/>
                <a:gd name="T20" fmla="*/ 21 w 314"/>
                <a:gd name="T21" fmla="*/ 388 h 627"/>
                <a:gd name="T22" fmla="*/ 21 w 314"/>
                <a:gd name="T23" fmla="*/ 368 h 627"/>
                <a:gd name="T24" fmla="*/ 36 w 314"/>
                <a:gd name="T25" fmla="*/ 270 h 627"/>
                <a:gd name="T26" fmla="*/ 43 w 314"/>
                <a:gd name="T27" fmla="*/ 264 h 627"/>
                <a:gd name="T28" fmla="*/ 48 w 314"/>
                <a:gd name="T29" fmla="*/ 241 h 627"/>
                <a:gd name="T30" fmla="*/ 52 w 314"/>
                <a:gd name="T31" fmla="*/ 198 h 627"/>
                <a:gd name="T32" fmla="*/ 46 w 314"/>
                <a:gd name="T33" fmla="*/ 164 h 627"/>
                <a:gd name="T34" fmla="*/ 54 w 314"/>
                <a:gd name="T35" fmla="*/ 150 h 627"/>
                <a:gd name="T36" fmla="*/ 80 w 314"/>
                <a:gd name="T37" fmla="*/ 89 h 627"/>
                <a:gd name="T38" fmla="*/ 79 w 314"/>
                <a:gd name="T39" fmla="*/ 47 h 627"/>
                <a:gd name="T40" fmla="*/ 98 w 314"/>
                <a:gd name="T41" fmla="*/ 20 h 627"/>
                <a:gd name="T42" fmla="*/ 102 w 314"/>
                <a:gd name="T43" fmla="*/ 13 h 627"/>
                <a:gd name="T44" fmla="*/ 138 w 314"/>
                <a:gd name="T45" fmla="*/ 9 h 627"/>
                <a:gd name="T46" fmla="*/ 145 w 314"/>
                <a:gd name="T47" fmla="*/ 14 h 627"/>
                <a:gd name="T48" fmla="*/ 177 w 314"/>
                <a:gd name="T49" fmla="*/ 13 h 627"/>
                <a:gd name="T50" fmla="*/ 200 w 314"/>
                <a:gd name="T51" fmla="*/ 38 h 627"/>
                <a:gd name="T52" fmla="*/ 243 w 314"/>
                <a:gd name="T53" fmla="*/ 57 h 627"/>
                <a:gd name="T54" fmla="*/ 250 w 314"/>
                <a:gd name="T55" fmla="*/ 68 h 627"/>
                <a:gd name="T56" fmla="*/ 264 w 314"/>
                <a:gd name="T57" fmla="*/ 100 h 627"/>
                <a:gd name="T58" fmla="*/ 273 w 314"/>
                <a:gd name="T59" fmla="*/ 98 h 627"/>
                <a:gd name="T60" fmla="*/ 302 w 314"/>
                <a:gd name="T61" fmla="*/ 66 h 627"/>
                <a:gd name="T62" fmla="*/ 312 w 314"/>
                <a:gd name="T63" fmla="*/ 93 h 627"/>
                <a:gd name="T64" fmla="*/ 271 w 314"/>
                <a:gd name="T65" fmla="*/ 129 h 627"/>
                <a:gd name="T66" fmla="*/ 250 w 314"/>
                <a:gd name="T67" fmla="*/ 152 h 627"/>
                <a:gd name="T68" fmla="*/ 243 w 314"/>
                <a:gd name="T69" fmla="*/ 202 h 627"/>
                <a:gd name="T70" fmla="*/ 257 w 314"/>
                <a:gd name="T71" fmla="*/ 247 h 627"/>
                <a:gd name="T72" fmla="*/ 262 w 314"/>
                <a:gd name="T73" fmla="*/ 266 h 627"/>
                <a:gd name="T74" fmla="*/ 248 w 314"/>
                <a:gd name="T75" fmla="*/ 306 h 627"/>
                <a:gd name="T76" fmla="*/ 177 w 314"/>
                <a:gd name="T77" fmla="*/ 325 h 627"/>
                <a:gd name="T78" fmla="*/ 177 w 314"/>
                <a:gd name="T79" fmla="*/ 338 h 627"/>
                <a:gd name="T80" fmla="*/ 168 w 314"/>
                <a:gd name="T81" fmla="*/ 363 h 627"/>
                <a:gd name="T82" fmla="*/ 130 w 314"/>
                <a:gd name="T83" fmla="*/ 359 h 627"/>
                <a:gd name="T84" fmla="*/ 141 w 314"/>
                <a:gd name="T85" fmla="*/ 389 h 627"/>
                <a:gd name="T86" fmla="*/ 145 w 314"/>
                <a:gd name="T87" fmla="*/ 388 h 627"/>
                <a:gd name="T88" fmla="*/ 155 w 314"/>
                <a:gd name="T89" fmla="*/ 398 h 627"/>
                <a:gd name="T90" fmla="*/ 145 w 314"/>
                <a:gd name="T91" fmla="*/ 397 h 627"/>
                <a:gd name="T92" fmla="*/ 134 w 314"/>
                <a:gd name="T93" fmla="*/ 397 h 627"/>
                <a:gd name="T94" fmla="*/ 136 w 314"/>
                <a:gd name="T95" fmla="*/ 411 h 627"/>
                <a:gd name="T96" fmla="*/ 125 w 314"/>
                <a:gd name="T97" fmla="*/ 441 h 627"/>
                <a:gd name="T98" fmla="*/ 113 w 314"/>
                <a:gd name="T99" fmla="*/ 452 h 627"/>
                <a:gd name="T100" fmla="*/ 93 w 314"/>
                <a:gd name="T101" fmla="*/ 477 h 627"/>
                <a:gd name="T102" fmla="*/ 121 w 314"/>
                <a:gd name="T103" fmla="*/ 500 h 627"/>
                <a:gd name="T104" fmla="*/ 120 w 314"/>
                <a:gd name="T105" fmla="*/ 520 h 627"/>
                <a:gd name="T106" fmla="*/ 91 w 314"/>
                <a:gd name="T107" fmla="*/ 550 h 627"/>
                <a:gd name="T108" fmla="*/ 79 w 314"/>
                <a:gd name="T109" fmla="*/ 568 h 627"/>
                <a:gd name="T110" fmla="*/ 79 w 314"/>
                <a:gd name="T111" fmla="*/ 572 h 627"/>
                <a:gd name="T112" fmla="*/ 66 w 314"/>
                <a:gd name="T113" fmla="*/ 593 h 627"/>
                <a:gd name="T114" fmla="*/ 66 w 314"/>
                <a:gd name="T115" fmla="*/ 609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4" h="627">
                  <a:moveTo>
                    <a:pt x="80" y="627"/>
                  </a:moveTo>
                  <a:lnTo>
                    <a:pt x="79" y="625"/>
                  </a:lnTo>
                  <a:lnTo>
                    <a:pt x="73" y="623"/>
                  </a:lnTo>
                  <a:lnTo>
                    <a:pt x="57" y="620"/>
                  </a:lnTo>
                  <a:lnTo>
                    <a:pt x="41" y="620"/>
                  </a:lnTo>
                  <a:lnTo>
                    <a:pt x="41" y="620"/>
                  </a:lnTo>
                  <a:lnTo>
                    <a:pt x="23" y="620"/>
                  </a:lnTo>
                  <a:lnTo>
                    <a:pt x="20" y="618"/>
                  </a:lnTo>
                  <a:lnTo>
                    <a:pt x="16" y="613"/>
                  </a:lnTo>
                  <a:lnTo>
                    <a:pt x="16" y="584"/>
                  </a:lnTo>
                  <a:lnTo>
                    <a:pt x="16" y="584"/>
                  </a:lnTo>
                  <a:lnTo>
                    <a:pt x="14" y="584"/>
                  </a:lnTo>
                  <a:lnTo>
                    <a:pt x="14" y="584"/>
                  </a:lnTo>
                  <a:lnTo>
                    <a:pt x="13" y="586"/>
                  </a:lnTo>
                  <a:lnTo>
                    <a:pt x="7" y="584"/>
                  </a:lnTo>
                  <a:lnTo>
                    <a:pt x="4" y="586"/>
                  </a:lnTo>
                  <a:lnTo>
                    <a:pt x="4" y="588"/>
                  </a:lnTo>
                  <a:lnTo>
                    <a:pt x="2" y="589"/>
                  </a:lnTo>
                  <a:lnTo>
                    <a:pt x="2" y="588"/>
                  </a:lnTo>
                  <a:lnTo>
                    <a:pt x="0" y="582"/>
                  </a:lnTo>
                  <a:lnTo>
                    <a:pt x="0" y="582"/>
                  </a:lnTo>
                  <a:lnTo>
                    <a:pt x="2" y="557"/>
                  </a:lnTo>
                  <a:lnTo>
                    <a:pt x="4" y="554"/>
                  </a:lnTo>
                  <a:lnTo>
                    <a:pt x="5" y="552"/>
                  </a:lnTo>
                  <a:lnTo>
                    <a:pt x="14" y="536"/>
                  </a:lnTo>
                  <a:lnTo>
                    <a:pt x="14" y="527"/>
                  </a:lnTo>
                  <a:lnTo>
                    <a:pt x="16" y="527"/>
                  </a:lnTo>
                  <a:lnTo>
                    <a:pt x="16" y="525"/>
                  </a:lnTo>
                  <a:lnTo>
                    <a:pt x="16" y="522"/>
                  </a:lnTo>
                  <a:lnTo>
                    <a:pt x="14" y="520"/>
                  </a:lnTo>
                  <a:lnTo>
                    <a:pt x="14" y="518"/>
                  </a:lnTo>
                  <a:lnTo>
                    <a:pt x="14" y="518"/>
                  </a:lnTo>
                  <a:lnTo>
                    <a:pt x="14" y="511"/>
                  </a:lnTo>
                  <a:lnTo>
                    <a:pt x="27" y="488"/>
                  </a:lnTo>
                  <a:lnTo>
                    <a:pt x="27" y="459"/>
                  </a:lnTo>
                  <a:lnTo>
                    <a:pt x="30" y="456"/>
                  </a:lnTo>
                  <a:lnTo>
                    <a:pt x="30" y="452"/>
                  </a:lnTo>
                  <a:lnTo>
                    <a:pt x="27" y="448"/>
                  </a:lnTo>
                  <a:lnTo>
                    <a:pt x="23" y="447"/>
                  </a:lnTo>
                  <a:lnTo>
                    <a:pt x="21" y="445"/>
                  </a:lnTo>
                  <a:lnTo>
                    <a:pt x="23" y="443"/>
                  </a:lnTo>
                  <a:lnTo>
                    <a:pt x="32" y="445"/>
                  </a:lnTo>
                  <a:lnTo>
                    <a:pt x="32" y="441"/>
                  </a:lnTo>
                  <a:lnTo>
                    <a:pt x="32" y="439"/>
                  </a:lnTo>
                  <a:lnTo>
                    <a:pt x="30" y="436"/>
                  </a:lnTo>
                  <a:lnTo>
                    <a:pt x="25" y="436"/>
                  </a:lnTo>
                  <a:lnTo>
                    <a:pt x="23" y="436"/>
                  </a:lnTo>
                  <a:lnTo>
                    <a:pt x="23" y="434"/>
                  </a:lnTo>
                  <a:lnTo>
                    <a:pt x="25" y="425"/>
                  </a:lnTo>
                  <a:lnTo>
                    <a:pt x="23" y="422"/>
                  </a:lnTo>
                  <a:lnTo>
                    <a:pt x="21" y="418"/>
                  </a:lnTo>
                  <a:lnTo>
                    <a:pt x="21" y="407"/>
                  </a:lnTo>
                  <a:lnTo>
                    <a:pt x="21" y="406"/>
                  </a:lnTo>
                  <a:lnTo>
                    <a:pt x="20" y="404"/>
                  </a:lnTo>
                  <a:lnTo>
                    <a:pt x="21" y="388"/>
                  </a:lnTo>
                  <a:lnTo>
                    <a:pt x="25" y="382"/>
                  </a:lnTo>
                  <a:lnTo>
                    <a:pt x="25" y="377"/>
                  </a:lnTo>
                  <a:lnTo>
                    <a:pt x="25" y="375"/>
                  </a:lnTo>
                  <a:lnTo>
                    <a:pt x="23" y="373"/>
                  </a:lnTo>
                  <a:lnTo>
                    <a:pt x="21" y="368"/>
                  </a:lnTo>
                  <a:lnTo>
                    <a:pt x="32" y="318"/>
                  </a:lnTo>
                  <a:lnTo>
                    <a:pt x="36" y="314"/>
                  </a:lnTo>
                  <a:lnTo>
                    <a:pt x="36" y="311"/>
                  </a:lnTo>
                  <a:lnTo>
                    <a:pt x="36" y="304"/>
                  </a:lnTo>
                  <a:lnTo>
                    <a:pt x="36" y="270"/>
                  </a:lnTo>
                  <a:lnTo>
                    <a:pt x="38" y="268"/>
                  </a:lnTo>
                  <a:lnTo>
                    <a:pt x="39" y="266"/>
                  </a:lnTo>
                  <a:lnTo>
                    <a:pt x="41" y="266"/>
                  </a:lnTo>
                  <a:lnTo>
                    <a:pt x="41" y="266"/>
                  </a:lnTo>
                  <a:lnTo>
                    <a:pt x="43" y="264"/>
                  </a:lnTo>
                  <a:lnTo>
                    <a:pt x="43" y="263"/>
                  </a:lnTo>
                  <a:lnTo>
                    <a:pt x="46" y="261"/>
                  </a:lnTo>
                  <a:lnTo>
                    <a:pt x="45" y="245"/>
                  </a:lnTo>
                  <a:lnTo>
                    <a:pt x="48" y="243"/>
                  </a:lnTo>
                  <a:lnTo>
                    <a:pt x="48" y="241"/>
                  </a:lnTo>
                  <a:lnTo>
                    <a:pt x="50" y="232"/>
                  </a:lnTo>
                  <a:lnTo>
                    <a:pt x="55" y="223"/>
                  </a:lnTo>
                  <a:lnTo>
                    <a:pt x="54" y="207"/>
                  </a:lnTo>
                  <a:lnTo>
                    <a:pt x="52" y="204"/>
                  </a:lnTo>
                  <a:lnTo>
                    <a:pt x="52" y="198"/>
                  </a:lnTo>
                  <a:lnTo>
                    <a:pt x="46" y="189"/>
                  </a:lnTo>
                  <a:lnTo>
                    <a:pt x="46" y="181"/>
                  </a:lnTo>
                  <a:lnTo>
                    <a:pt x="45" y="177"/>
                  </a:lnTo>
                  <a:lnTo>
                    <a:pt x="46" y="166"/>
                  </a:lnTo>
                  <a:lnTo>
                    <a:pt x="46" y="164"/>
                  </a:lnTo>
                  <a:lnTo>
                    <a:pt x="50" y="156"/>
                  </a:lnTo>
                  <a:lnTo>
                    <a:pt x="52" y="154"/>
                  </a:lnTo>
                  <a:lnTo>
                    <a:pt x="52" y="152"/>
                  </a:lnTo>
                  <a:lnTo>
                    <a:pt x="52" y="152"/>
                  </a:lnTo>
                  <a:lnTo>
                    <a:pt x="54" y="150"/>
                  </a:lnTo>
                  <a:lnTo>
                    <a:pt x="61" y="111"/>
                  </a:lnTo>
                  <a:lnTo>
                    <a:pt x="68" y="104"/>
                  </a:lnTo>
                  <a:lnTo>
                    <a:pt x="70" y="97"/>
                  </a:lnTo>
                  <a:lnTo>
                    <a:pt x="75" y="91"/>
                  </a:lnTo>
                  <a:lnTo>
                    <a:pt x="80" y="89"/>
                  </a:lnTo>
                  <a:lnTo>
                    <a:pt x="80" y="88"/>
                  </a:lnTo>
                  <a:lnTo>
                    <a:pt x="77" y="59"/>
                  </a:lnTo>
                  <a:lnTo>
                    <a:pt x="77" y="59"/>
                  </a:lnTo>
                  <a:lnTo>
                    <a:pt x="79" y="57"/>
                  </a:lnTo>
                  <a:lnTo>
                    <a:pt x="79" y="47"/>
                  </a:lnTo>
                  <a:lnTo>
                    <a:pt x="96" y="38"/>
                  </a:lnTo>
                  <a:lnTo>
                    <a:pt x="100" y="22"/>
                  </a:lnTo>
                  <a:lnTo>
                    <a:pt x="98" y="20"/>
                  </a:lnTo>
                  <a:lnTo>
                    <a:pt x="98" y="20"/>
                  </a:lnTo>
                  <a:lnTo>
                    <a:pt x="98" y="20"/>
                  </a:lnTo>
                  <a:lnTo>
                    <a:pt x="98" y="18"/>
                  </a:lnTo>
                  <a:lnTo>
                    <a:pt x="98" y="18"/>
                  </a:lnTo>
                  <a:lnTo>
                    <a:pt x="100" y="16"/>
                  </a:lnTo>
                  <a:lnTo>
                    <a:pt x="102" y="14"/>
                  </a:lnTo>
                  <a:lnTo>
                    <a:pt x="102" y="13"/>
                  </a:lnTo>
                  <a:lnTo>
                    <a:pt x="114" y="0"/>
                  </a:lnTo>
                  <a:lnTo>
                    <a:pt x="116" y="0"/>
                  </a:lnTo>
                  <a:lnTo>
                    <a:pt x="120" y="6"/>
                  </a:lnTo>
                  <a:lnTo>
                    <a:pt x="138" y="7"/>
                  </a:lnTo>
                  <a:lnTo>
                    <a:pt x="138" y="9"/>
                  </a:lnTo>
                  <a:lnTo>
                    <a:pt x="139" y="11"/>
                  </a:lnTo>
                  <a:lnTo>
                    <a:pt x="141" y="11"/>
                  </a:lnTo>
                  <a:lnTo>
                    <a:pt x="141" y="13"/>
                  </a:lnTo>
                  <a:lnTo>
                    <a:pt x="143" y="14"/>
                  </a:lnTo>
                  <a:lnTo>
                    <a:pt x="145" y="14"/>
                  </a:lnTo>
                  <a:lnTo>
                    <a:pt x="148" y="4"/>
                  </a:lnTo>
                  <a:lnTo>
                    <a:pt x="164" y="6"/>
                  </a:lnTo>
                  <a:lnTo>
                    <a:pt x="168" y="7"/>
                  </a:lnTo>
                  <a:lnTo>
                    <a:pt x="175" y="11"/>
                  </a:lnTo>
                  <a:lnTo>
                    <a:pt x="177" y="13"/>
                  </a:lnTo>
                  <a:lnTo>
                    <a:pt x="180" y="18"/>
                  </a:lnTo>
                  <a:lnTo>
                    <a:pt x="184" y="22"/>
                  </a:lnTo>
                  <a:lnTo>
                    <a:pt x="184" y="23"/>
                  </a:lnTo>
                  <a:lnTo>
                    <a:pt x="196" y="32"/>
                  </a:lnTo>
                  <a:lnTo>
                    <a:pt x="200" y="38"/>
                  </a:lnTo>
                  <a:lnTo>
                    <a:pt x="202" y="38"/>
                  </a:lnTo>
                  <a:lnTo>
                    <a:pt x="218" y="41"/>
                  </a:lnTo>
                  <a:lnTo>
                    <a:pt x="237" y="52"/>
                  </a:lnTo>
                  <a:lnTo>
                    <a:pt x="239" y="56"/>
                  </a:lnTo>
                  <a:lnTo>
                    <a:pt x="243" y="57"/>
                  </a:lnTo>
                  <a:lnTo>
                    <a:pt x="246" y="59"/>
                  </a:lnTo>
                  <a:lnTo>
                    <a:pt x="248" y="61"/>
                  </a:lnTo>
                  <a:lnTo>
                    <a:pt x="248" y="61"/>
                  </a:lnTo>
                  <a:lnTo>
                    <a:pt x="248" y="63"/>
                  </a:lnTo>
                  <a:lnTo>
                    <a:pt x="250" y="68"/>
                  </a:lnTo>
                  <a:lnTo>
                    <a:pt x="239" y="88"/>
                  </a:lnTo>
                  <a:lnTo>
                    <a:pt x="237" y="93"/>
                  </a:lnTo>
                  <a:lnTo>
                    <a:pt x="239" y="93"/>
                  </a:lnTo>
                  <a:lnTo>
                    <a:pt x="255" y="95"/>
                  </a:lnTo>
                  <a:lnTo>
                    <a:pt x="264" y="100"/>
                  </a:lnTo>
                  <a:lnTo>
                    <a:pt x="266" y="100"/>
                  </a:lnTo>
                  <a:lnTo>
                    <a:pt x="268" y="100"/>
                  </a:lnTo>
                  <a:lnTo>
                    <a:pt x="270" y="100"/>
                  </a:lnTo>
                  <a:lnTo>
                    <a:pt x="273" y="98"/>
                  </a:lnTo>
                  <a:lnTo>
                    <a:pt x="273" y="98"/>
                  </a:lnTo>
                  <a:lnTo>
                    <a:pt x="277" y="97"/>
                  </a:lnTo>
                  <a:lnTo>
                    <a:pt x="280" y="97"/>
                  </a:lnTo>
                  <a:lnTo>
                    <a:pt x="282" y="97"/>
                  </a:lnTo>
                  <a:lnTo>
                    <a:pt x="298" y="82"/>
                  </a:lnTo>
                  <a:lnTo>
                    <a:pt x="302" y="66"/>
                  </a:lnTo>
                  <a:lnTo>
                    <a:pt x="309" y="64"/>
                  </a:lnTo>
                  <a:lnTo>
                    <a:pt x="311" y="68"/>
                  </a:lnTo>
                  <a:lnTo>
                    <a:pt x="314" y="79"/>
                  </a:lnTo>
                  <a:lnTo>
                    <a:pt x="314" y="91"/>
                  </a:lnTo>
                  <a:lnTo>
                    <a:pt x="312" y="93"/>
                  </a:lnTo>
                  <a:lnTo>
                    <a:pt x="305" y="98"/>
                  </a:lnTo>
                  <a:lnTo>
                    <a:pt x="298" y="100"/>
                  </a:lnTo>
                  <a:lnTo>
                    <a:pt x="280" y="118"/>
                  </a:lnTo>
                  <a:lnTo>
                    <a:pt x="279" y="120"/>
                  </a:lnTo>
                  <a:lnTo>
                    <a:pt x="271" y="129"/>
                  </a:lnTo>
                  <a:lnTo>
                    <a:pt x="271" y="131"/>
                  </a:lnTo>
                  <a:lnTo>
                    <a:pt x="257" y="145"/>
                  </a:lnTo>
                  <a:lnTo>
                    <a:pt x="257" y="145"/>
                  </a:lnTo>
                  <a:lnTo>
                    <a:pt x="252" y="150"/>
                  </a:lnTo>
                  <a:lnTo>
                    <a:pt x="250" y="152"/>
                  </a:lnTo>
                  <a:lnTo>
                    <a:pt x="248" y="154"/>
                  </a:lnTo>
                  <a:lnTo>
                    <a:pt x="246" y="173"/>
                  </a:lnTo>
                  <a:lnTo>
                    <a:pt x="243" y="182"/>
                  </a:lnTo>
                  <a:lnTo>
                    <a:pt x="243" y="200"/>
                  </a:lnTo>
                  <a:lnTo>
                    <a:pt x="243" y="202"/>
                  </a:lnTo>
                  <a:lnTo>
                    <a:pt x="239" y="206"/>
                  </a:lnTo>
                  <a:lnTo>
                    <a:pt x="237" y="225"/>
                  </a:lnTo>
                  <a:lnTo>
                    <a:pt x="237" y="227"/>
                  </a:lnTo>
                  <a:lnTo>
                    <a:pt x="239" y="232"/>
                  </a:lnTo>
                  <a:lnTo>
                    <a:pt x="257" y="247"/>
                  </a:lnTo>
                  <a:lnTo>
                    <a:pt x="257" y="250"/>
                  </a:lnTo>
                  <a:lnTo>
                    <a:pt x="254" y="257"/>
                  </a:lnTo>
                  <a:lnTo>
                    <a:pt x="255" y="261"/>
                  </a:lnTo>
                  <a:lnTo>
                    <a:pt x="259" y="264"/>
                  </a:lnTo>
                  <a:lnTo>
                    <a:pt x="262" y="266"/>
                  </a:lnTo>
                  <a:lnTo>
                    <a:pt x="266" y="266"/>
                  </a:lnTo>
                  <a:lnTo>
                    <a:pt x="266" y="277"/>
                  </a:lnTo>
                  <a:lnTo>
                    <a:pt x="254" y="297"/>
                  </a:lnTo>
                  <a:lnTo>
                    <a:pt x="252" y="304"/>
                  </a:lnTo>
                  <a:lnTo>
                    <a:pt x="248" y="306"/>
                  </a:lnTo>
                  <a:lnTo>
                    <a:pt x="196" y="320"/>
                  </a:lnTo>
                  <a:lnTo>
                    <a:pt x="180" y="318"/>
                  </a:lnTo>
                  <a:lnTo>
                    <a:pt x="177" y="314"/>
                  </a:lnTo>
                  <a:lnTo>
                    <a:pt x="175" y="318"/>
                  </a:lnTo>
                  <a:lnTo>
                    <a:pt x="177" y="325"/>
                  </a:lnTo>
                  <a:lnTo>
                    <a:pt x="179" y="327"/>
                  </a:lnTo>
                  <a:lnTo>
                    <a:pt x="180" y="331"/>
                  </a:lnTo>
                  <a:lnTo>
                    <a:pt x="179" y="338"/>
                  </a:lnTo>
                  <a:lnTo>
                    <a:pt x="177" y="338"/>
                  </a:lnTo>
                  <a:lnTo>
                    <a:pt x="177" y="338"/>
                  </a:lnTo>
                  <a:lnTo>
                    <a:pt x="175" y="345"/>
                  </a:lnTo>
                  <a:lnTo>
                    <a:pt x="177" y="354"/>
                  </a:lnTo>
                  <a:lnTo>
                    <a:pt x="175" y="359"/>
                  </a:lnTo>
                  <a:lnTo>
                    <a:pt x="173" y="361"/>
                  </a:lnTo>
                  <a:lnTo>
                    <a:pt x="168" y="363"/>
                  </a:lnTo>
                  <a:lnTo>
                    <a:pt x="164" y="364"/>
                  </a:lnTo>
                  <a:lnTo>
                    <a:pt x="154" y="364"/>
                  </a:lnTo>
                  <a:lnTo>
                    <a:pt x="138" y="357"/>
                  </a:lnTo>
                  <a:lnTo>
                    <a:pt x="134" y="356"/>
                  </a:lnTo>
                  <a:lnTo>
                    <a:pt x="130" y="359"/>
                  </a:lnTo>
                  <a:lnTo>
                    <a:pt x="130" y="364"/>
                  </a:lnTo>
                  <a:lnTo>
                    <a:pt x="132" y="370"/>
                  </a:lnTo>
                  <a:lnTo>
                    <a:pt x="134" y="384"/>
                  </a:lnTo>
                  <a:lnTo>
                    <a:pt x="138" y="388"/>
                  </a:lnTo>
                  <a:lnTo>
                    <a:pt x="141" y="389"/>
                  </a:lnTo>
                  <a:lnTo>
                    <a:pt x="139" y="391"/>
                  </a:lnTo>
                  <a:lnTo>
                    <a:pt x="141" y="393"/>
                  </a:lnTo>
                  <a:lnTo>
                    <a:pt x="148" y="391"/>
                  </a:lnTo>
                  <a:lnTo>
                    <a:pt x="146" y="389"/>
                  </a:lnTo>
                  <a:lnTo>
                    <a:pt x="145" y="388"/>
                  </a:lnTo>
                  <a:lnTo>
                    <a:pt x="150" y="388"/>
                  </a:lnTo>
                  <a:lnTo>
                    <a:pt x="154" y="384"/>
                  </a:lnTo>
                  <a:lnTo>
                    <a:pt x="155" y="388"/>
                  </a:lnTo>
                  <a:lnTo>
                    <a:pt x="155" y="395"/>
                  </a:lnTo>
                  <a:lnTo>
                    <a:pt x="155" y="398"/>
                  </a:lnTo>
                  <a:lnTo>
                    <a:pt x="154" y="400"/>
                  </a:lnTo>
                  <a:lnTo>
                    <a:pt x="150" y="402"/>
                  </a:lnTo>
                  <a:lnTo>
                    <a:pt x="148" y="402"/>
                  </a:lnTo>
                  <a:lnTo>
                    <a:pt x="145" y="400"/>
                  </a:lnTo>
                  <a:lnTo>
                    <a:pt x="145" y="397"/>
                  </a:lnTo>
                  <a:lnTo>
                    <a:pt x="143" y="395"/>
                  </a:lnTo>
                  <a:lnTo>
                    <a:pt x="141" y="395"/>
                  </a:lnTo>
                  <a:lnTo>
                    <a:pt x="138" y="395"/>
                  </a:lnTo>
                  <a:lnTo>
                    <a:pt x="136" y="397"/>
                  </a:lnTo>
                  <a:lnTo>
                    <a:pt x="134" y="397"/>
                  </a:lnTo>
                  <a:lnTo>
                    <a:pt x="134" y="398"/>
                  </a:lnTo>
                  <a:lnTo>
                    <a:pt x="134" y="400"/>
                  </a:lnTo>
                  <a:lnTo>
                    <a:pt x="145" y="404"/>
                  </a:lnTo>
                  <a:lnTo>
                    <a:pt x="145" y="406"/>
                  </a:lnTo>
                  <a:lnTo>
                    <a:pt x="136" y="411"/>
                  </a:lnTo>
                  <a:lnTo>
                    <a:pt x="130" y="418"/>
                  </a:lnTo>
                  <a:lnTo>
                    <a:pt x="130" y="434"/>
                  </a:lnTo>
                  <a:lnTo>
                    <a:pt x="129" y="438"/>
                  </a:lnTo>
                  <a:lnTo>
                    <a:pt x="127" y="439"/>
                  </a:lnTo>
                  <a:lnTo>
                    <a:pt x="125" y="441"/>
                  </a:lnTo>
                  <a:lnTo>
                    <a:pt x="123" y="443"/>
                  </a:lnTo>
                  <a:lnTo>
                    <a:pt x="125" y="448"/>
                  </a:lnTo>
                  <a:lnTo>
                    <a:pt x="125" y="450"/>
                  </a:lnTo>
                  <a:lnTo>
                    <a:pt x="114" y="450"/>
                  </a:lnTo>
                  <a:lnTo>
                    <a:pt x="113" y="452"/>
                  </a:lnTo>
                  <a:lnTo>
                    <a:pt x="109" y="454"/>
                  </a:lnTo>
                  <a:lnTo>
                    <a:pt x="107" y="454"/>
                  </a:lnTo>
                  <a:lnTo>
                    <a:pt x="104" y="456"/>
                  </a:lnTo>
                  <a:lnTo>
                    <a:pt x="93" y="472"/>
                  </a:lnTo>
                  <a:lnTo>
                    <a:pt x="93" y="477"/>
                  </a:lnTo>
                  <a:lnTo>
                    <a:pt x="96" y="486"/>
                  </a:lnTo>
                  <a:lnTo>
                    <a:pt x="105" y="495"/>
                  </a:lnTo>
                  <a:lnTo>
                    <a:pt x="113" y="498"/>
                  </a:lnTo>
                  <a:lnTo>
                    <a:pt x="120" y="498"/>
                  </a:lnTo>
                  <a:lnTo>
                    <a:pt x="121" y="500"/>
                  </a:lnTo>
                  <a:lnTo>
                    <a:pt x="123" y="507"/>
                  </a:lnTo>
                  <a:lnTo>
                    <a:pt x="121" y="511"/>
                  </a:lnTo>
                  <a:lnTo>
                    <a:pt x="120" y="513"/>
                  </a:lnTo>
                  <a:lnTo>
                    <a:pt x="121" y="518"/>
                  </a:lnTo>
                  <a:lnTo>
                    <a:pt x="120" y="520"/>
                  </a:lnTo>
                  <a:lnTo>
                    <a:pt x="118" y="522"/>
                  </a:lnTo>
                  <a:lnTo>
                    <a:pt x="116" y="522"/>
                  </a:lnTo>
                  <a:lnTo>
                    <a:pt x="93" y="543"/>
                  </a:lnTo>
                  <a:lnTo>
                    <a:pt x="89" y="552"/>
                  </a:lnTo>
                  <a:lnTo>
                    <a:pt x="91" y="550"/>
                  </a:lnTo>
                  <a:lnTo>
                    <a:pt x="88" y="566"/>
                  </a:lnTo>
                  <a:lnTo>
                    <a:pt x="86" y="568"/>
                  </a:lnTo>
                  <a:lnTo>
                    <a:pt x="82" y="570"/>
                  </a:lnTo>
                  <a:lnTo>
                    <a:pt x="80" y="570"/>
                  </a:lnTo>
                  <a:lnTo>
                    <a:pt x="79" y="568"/>
                  </a:lnTo>
                  <a:lnTo>
                    <a:pt x="75" y="561"/>
                  </a:lnTo>
                  <a:lnTo>
                    <a:pt x="75" y="568"/>
                  </a:lnTo>
                  <a:lnTo>
                    <a:pt x="77" y="568"/>
                  </a:lnTo>
                  <a:lnTo>
                    <a:pt x="79" y="570"/>
                  </a:lnTo>
                  <a:lnTo>
                    <a:pt x="79" y="572"/>
                  </a:lnTo>
                  <a:lnTo>
                    <a:pt x="70" y="579"/>
                  </a:lnTo>
                  <a:lnTo>
                    <a:pt x="66" y="591"/>
                  </a:lnTo>
                  <a:lnTo>
                    <a:pt x="63" y="595"/>
                  </a:lnTo>
                  <a:lnTo>
                    <a:pt x="64" y="595"/>
                  </a:lnTo>
                  <a:lnTo>
                    <a:pt x="66" y="593"/>
                  </a:lnTo>
                  <a:lnTo>
                    <a:pt x="70" y="606"/>
                  </a:lnTo>
                  <a:lnTo>
                    <a:pt x="68" y="607"/>
                  </a:lnTo>
                  <a:lnTo>
                    <a:pt x="64" y="607"/>
                  </a:lnTo>
                  <a:lnTo>
                    <a:pt x="63" y="607"/>
                  </a:lnTo>
                  <a:lnTo>
                    <a:pt x="66" y="609"/>
                  </a:lnTo>
                  <a:lnTo>
                    <a:pt x="68" y="609"/>
                  </a:lnTo>
                  <a:lnTo>
                    <a:pt x="70" y="609"/>
                  </a:lnTo>
                  <a:lnTo>
                    <a:pt x="80" y="625"/>
                  </a:lnTo>
                  <a:lnTo>
                    <a:pt x="80" y="627"/>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04" name="Freeform 3384"/>
            <p:cNvSpPr>
              <a:spLocks/>
            </p:cNvSpPr>
            <p:nvPr/>
          </p:nvSpPr>
          <p:spPr bwMode="auto">
            <a:xfrm>
              <a:off x="2793032" y="6280148"/>
              <a:ext cx="88549" cy="106259"/>
            </a:xfrm>
            <a:custGeom>
              <a:avLst/>
              <a:gdLst>
                <a:gd name="T0" fmla="*/ 2 w 55"/>
                <a:gd name="T1" fmla="*/ 61 h 66"/>
                <a:gd name="T2" fmla="*/ 0 w 55"/>
                <a:gd name="T3" fmla="*/ 0 h 66"/>
                <a:gd name="T4" fmla="*/ 7 w 55"/>
                <a:gd name="T5" fmla="*/ 13 h 66"/>
                <a:gd name="T6" fmla="*/ 9 w 55"/>
                <a:gd name="T7" fmla="*/ 14 h 66"/>
                <a:gd name="T8" fmla="*/ 7 w 55"/>
                <a:gd name="T9" fmla="*/ 13 h 66"/>
                <a:gd name="T10" fmla="*/ 5 w 55"/>
                <a:gd name="T11" fmla="*/ 13 h 66"/>
                <a:gd name="T12" fmla="*/ 4 w 55"/>
                <a:gd name="T13" fmla="*/ 13 h 66"/>
                <a:gd name="T14" fmla="*/ 4 w 55"/>
                <a:gd name="T15" fmla="*/ 14 h 66"/>
                <a:gd name="T16" fmla="*/ 4 w 55"/>
                <a:gd name="T17" fmla="*/ 18 h 66"/>
                <a:gd name="T18" fmla="*/ 5 w 55"/>
                <a:gd name="T19" fmla="*/ 18 h 66"/>
                <a:gd name="T20" fmla="*/ 7 w 55"/>
                <a:gd name="T21" fmla="*/ 20 h 66"/>
                <a:gd name="T22" fmla="*/ 11 w 55"/>
                <a:gd name="T23" fmla="*/ 29 h 66"/>
                <a:gd name="T24" fmla="*/ 21 w 55"/>
                <a:gd name="T25" fmla="*/ 39 h 66"/>
                <a:gd name="T26" fmla="*/ 23 w 55"/>
                <a:gd name="T27" fmla="*/ 39 h 66"/>
                <a:gd name="T28" fmla="*/ 25 w 55"/>
                <a:gd name="T29" fmla="*/ 39 h 66"/>
                <a:gd name="T30" fmla="*/ 27 w 55"/>
                <a:gd name="T31" fmla="*/ 41 h 66"/>
                <a:gd name="T32" fmla="*/ 29 w 55"/>
                <a:gd name="T33" fmla="*/ 43 h 66"/>
                <a:gd name="T34" fmla="*/ 32 w 55"/>
                <a:gd name="T35" fmla="*/ 45 h 66"/>
                <a:gd name="T36" fmla="*/ 46 w 55"/>
                <a:gd name="T37" fmla="*/ 55 h 66"/>
                <a:gd name="T38" fmla="*/ 54 w 55"/>
                <a:gd name="T39" fmla="*/ 55 h 66"/>
                <a:gd name="T40" fmla="*/ 55 w 55"/>
                <a:gd name="T41" fmla="*/ 55 h 66"/>
                <a:gd name="T42" fmla="*/ 55 w 55"/>
                <a:gd name="T43" fmla="*/ 61 h 66"/>
                <a:gd name="T44" fmla="*/ 55 w 55"/>
                <a:gd name="T45" fmla="*/ 63 h 66"/>
                <a:gd name="T46" fmla="*/ 50 w 55"/>
                <a:gd name="T47" fmla="*/ 64 h 66"/>
                <a:gd name="T48" fmla="*/ 45 w 55"/>
                <a:gd name="T49" fmla="*/ 63 h 66"/>
                <a:gd name="T50" fmla="*/ 38 w 55"/>
                <a:gd name="T51" fmla="*/ 64 h 66"/>
                <a:gd name="T52" fmla="*/ 38 w 55"/>
                <a:gd name="T53" fmla="*/ 66 h 66"/>
                <a:gd name="T54" fmla="*/ 34 w 55"/>
                <a:gd name="T55" fmla="*/ 66 h 66"/>
                <a:gd name="T56" fmla="*/ 30 w 55"/>
                <a:gd name="T57" fmla="*/ 63 h 66"/>
                <a:gd name="T58" fmla="*/ 14 w 55"/>
                <a:gd name="T59" fmla="*/ 61 h 66"/>
                <a:gd name="T60" fmla="*/ 11 w 55"/>
                <a:gd name="T61" fmla="*/ 59 h 66"/>
                <a:gd name="T62" fmla="*/ 7 w 55"/>
                <a:gd name="T63" fmla="*/ 59 h 66"/>
                <a:gd name="T64" fmla="*/ 2 w 55"/>
                <a:gd name="T65" fmla="*/ 61 h 66"/>
                <a:gd name="T66" fmla="*/ 2 w 55"/>
                <a:gd name="T6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66">
                  <a:moveTo>
                    <a:pt x="2" y="61"/>
                  </a:moveTo>
                  <a:lnTo>
                    <a:pt x="0" y="0"/>
                  </a:lnTo>
                  <a:lnTo>
                    <a:pt x="7" y="13"/>
                  </a:lnTo>
                  <a:lnTo>
                    <a:pt x="9" y="14"/>
                  </a:lnTo>
                  <a:lnTo>
                    <a:pt x="7" y="13"/>
                  </a:lnTo>
                  <a:lnTo>
                    <a:pt x="5" y="13"/>
                  </a:lnTo>
                  <a:lnTo>
                    <a:pt x="4" y="13"/>
                  </a:lnTo>
                  <a:lnTo>
                    <a:pt x="4" y="14"/>
                  </a:lnTo>
                  <a:lnTo>
                    <a:pt x="4" y="18"/>
                  </a:lnTo>
                  <a:lnTo>
                    <a:pt x="5" y="18"/>
                  </a:lnTo>
                  <a:lnTo>
                    <a:pt x="7" y="20"/>
                  </a:lnTo>
                  <a:lnTo>
                    <a:pt x="11" y="29"/>
                  </a:lnTo>
                  <a:lnTo>
                    <a:pt x="21" y="39"/>
                  </a:lnTo>
                  <a:lnTo>
                    <a:pt x="23" y="39"/>
                  </a:lnTo>
                  <a:lnTo>
                    <a:pt x="25" y="39"/>
                  </a:lnTo>
                  <a:lnTo>
                    <a:pt x="27" y="41"/>
                  </a:lnTo>
                  <a:lnTo>
                    <a:pt x="29" y="43"/>
                  </a:lnTo>
                  <a:lnTo>
                    <a:pt x="32" y="45"/>
                  </a:lnTo>
                  <a:lnTo>
                    <a:pt x="46" y="55"/>
                  </a:lnTo>
                  <a:lnTo>
                    <a:pt x="54" y="55"/>
                  </a:lnTo>
                  <a:lnTo>
                    <a:pt x="55" y="55"/>
                  </a:lnTo>
                  <a:lnTo>
                    <a:pt x="55" y="61"/>
                  </a:lnTo>
                  <a:lnTo>
                    <a:pt x="55" y="63"/>
                  </a:lnTo>
                  <a:lnTo>
                    <a:pt x="50" y="64"/>
                  </a:lnTo>
                  <a:lnTo>
                    <a:pt x="45" y="63"/>
                  </a:lnTo>
                  <a:lnTo>
                    <a:pt x="38" y="64"/>
                  </a:lnTo>
                  <a:lnTo>
                    <a:pt x="38" y="66"/>
                  </a:lnTo>
                  <a:lnTo>
                    <a:pt x="34" y="66"/>
                  </a:lnTo>
                  <a:lnTo>
                    <a:pt x="30" y="63"/>
                  </a:lnTo>
                  <a:lnTo>
                    <a:pt x="14" y="61"/>
                  </a:lnTo>
                  <a:lnTo>
                    <a:pt x="11" y="59"/>
                  </a:lnTo>
                  <a:lnTo>
                    <a:pt x="7" y="59"/>
                  </a:lnTo>
                  <a:lnTo>
                    <a:pt x="2" y="61"/>
                  </a:lnTo>
                  <a:lnTo>
                    <a:pt x="2" y="61"/>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05" name="Freeform 3385"/>
            <p:cNvSpPr>
              <a:spLocks/>
            </p:cNvSpPr>
            <p:nvPr/>
          </p:nvSpPr>
          <p:spPr bwMode="auto">
            <a:xfrm>
              <a:off x="2793032" y="6280148"/>
              <a:ext cx="88549" cy="106259"/>
            </a:xfrm>
            <a:custGeom>
              <a:avLst/>
              <a:gdLst>
                <a:gd name="T0" fmla="*/ 2 w 55"/>
                <a:gd name="T1" fmla="*/ 61 h 66"/>
                <a:gd name="T2" fmla="*/ 0 w 55"/>
                <a:gd name="T3" fmla="*/ 0 h 66"/>
                <a:gd name="T4" fmla="*/ 7 w 55"/>
                <a:gd name="T5" fmla="*/ 13 h 66"/>
                <a:gd name="T6" fmla="*/ 9 w 55"/>
                <a:gd name="T7" fmla="*/ 14 h 66"/>
                <a:gd name="T8" fmla="*/ 7 w 55"/>
                <a:gd name="T9" fmla="*/ 13 h 66"/>
                <a:gd name="T10" fmla="*/ 5 w 55"/>
                <a:gd name="T11" fmla="*/ 13 h 66"/>
                <a:gd name="T12" fmla="*/ 4 w 55"/>
                <a:gd name="T13" fmla="*/ 13 h 66"/>
                <a:gd name="T14" fmla="*/ 4 w 55"/>
                <a:gd name="T15" fmla="*/ 14 h 66"/>
                <a:gd name="T16" fmla="*/ 4 w 55"/>
                <a:gd name="T17" fmla="*/ 18 h 66"/>
                <a:gd name="T18" fmla="*/ 5 w 55"/>
                <a:gd name="T19" fmla="*/ 18 h 66"/>
                <a:gd name="T20" fmla="*/ 7 w 55"/>
                <a:gd name="T21" fmla="*/ 20 h 66"/>
                <a:gd name="T22" fmla="*/ 11 w 55"/>
                <a:gd name="T23" fmla="*/ 29 h 66"/>
                <a:gd name="T24" fmla="*/ 21 w 55"/>
                <a:gd name="T25" fmla="*/ 39 h 66"/>
                <a:gd name="T26" fmla="*/ 23 w 55"/>
                <a:gd name="T27" fmla="*/ 39 h 66"/>
                <a:gd name="T28" fmla="*/ 25 w 55"/>
                <a:gd name="T29" fmla="*/ 39 h 66"/>
                <a:gd name="T30" fmla="*/ 27 w 55"/>
                <a:gd name="T31" fmla="*/ 41 h 66"/>
                <a:gd name="T32" fmla="*/ 29 w 55"/>
                <a:gd name="T33" fmla="*/ 43 h 66"/>
                <a:gd name="T34" fmla="*/ 32 w 55"/>
                <a:gd name="T35" fmla="*/ 45 h 66"/>
                <a:gd name="T36" fmla="*/ 46 w 55"/>
                <a:gd name="T37" fmla="*/ 55 h 66"/>
                <a:gd name="T38" fmla="*/ 54 w 55"/>
                <a:gd name="T39" fmla="*/ 55 h 66"/>
                <a:gd name="T40" fmla="*/ 55 w 55"/>
                <a:gd name="T41" fmla="*/ 55 h 66"/>
                <a:gd name="T42" fmla="*/ 55 w 55"/>
                <a:gd name="T43" fmla="*/ 61 h 66"/>
                <a:gd name="T44" fmla="*/ 55 w 55"/>
                <a:gd name="T45" fmla="*/ 63 h 66"/>
                <a:gd name="T46" fmla="*/ 50 w 55"/>
                <a:gd name="T47" fmla="*/ 64 h 66"/>
                <a:gd name="T48" fmla="*/ 45 w 55"/>
                <a:gd name="T49" fmla="*/ 63 h 66"/>
                <a:gd name="T50" fmla="*/ 38 w 55"/>
                <a:gd name="T51" fmla="*/ 64 h 66"/>
                <a:gd name="T52" fmla="*/ 38 w 55"/>
                <a:gd name="T53" fmla="*/ 66 h 66"/>
                <a:gd name="T54" fmla="*/ 34 w 55"/>
                <a:gd name="T55" fmla="*/ 66 h 66"/>
                <a:gd name="T56" fmla="*/ 30 w 55"/>
                <a:gd name="T57" fmla="*/ 63 h 66"/>
                <a:gd name="T58" fmla="*/ 14 w 55"/>
                <a:gd name="T59" fmla="*/ 61 h 66"/>
                <a:gd name="T60" fmla="*/ 11 w 55"/>
                <a:gd name="T61" fmla="*/ 59 h 66"/>
                <a:gd name="T62" fmla="*/ 7 w 55"/>
                <a:gd name="T63" fmla="*/ 59 h 66"/>
                <a:gd name="T64" fmla="*/ 2 w 55"/>
                <a:gd name="T65" fmla="*/ 61 h 66"/>
                <a:gd name="T66" fmla="*/ 2 w 55"/>
                <a:gd name="T6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5" h="66">
                  <a:moveTo>
                    <a:pt x="2" y="61"/>
                  </a:moveTo>
                  <a:lnTo>
                    <a:pt x="0" y="0"/>
                  </a:lnTo>
                  <a:lnTo>
                    <a:pt x="7" y="13"/>
                  </a:lnTo>
                  <a:lnTo>
                    <a:pt x="9" y="14"/>
                  </a:lnTo>
                  <a:lnTo>
                    <a:pt x="7" y="13"/>
                  </a:lnTo>
                  <a:lnTo>
                    <a:pt x="5" y="13"/>
                  </a:lnTo>
                  <a:lnTo>
                    <a:pt x="4" y="13"/>
                  </a:lnTo>
                  <a:lnTo>
                    <a:pt x="4" y="14"/>
                  </a:lnTo>
                  <a:lnTo>
                    <a:pt x="4" y="18"/>
                  </a:lnTo>
                  <a:lnTo>
                    <a:pt x="5" y="18"/>
                  </a:lnTo>
                  <a:lnTo>
                    <a:pt x="7" y="20"/>
                  </a:lnTo>
                  <a:lnTo>
                    <a:pt x="11" y="29"/>
                  </a:lnTo>
                  <a:lnTo>
                    <a:pt x="21" y="39"/>
                  </a:lnTo>
                  <a:lnTo>
                    <a:pt x="23" y="39"/>
                  </a:lnTo>
                  <a:lnTo>
                    <a:pt x="25" y="39"/>
                  </a:lnTo>
                  <a:lnTo>
                    <a:pt x="27" y="41"/>
                  </a:lnTo>
                  <a:lnTo>
                    <a:pt x="29" y="43"/>
                  </a:lnTo>
                  <a:lnTo>
                    <a:pt x="32" y="45"/>
                  </a:lnTo>
                  <a:lnTo>
                    <a:pt x="46" y="55"/>
                  </a:lnTo>
                  <a:lnTo>
                    <a:pt x="54" y="55"/>
                  </a:lnTo>
                  <a:lnTo>
                    <a:pt x="55" y="55"/>
                  </a:lnTo>
                  <a:lnTo>
                    <a:pt x="55" y="61"/>
                  </a:lnTo>
                  <a:lnTo>
                    <a:pt x="55" y="63"/>
                  </a:lnTo>
                  <a:lnTo>
                    <a:pt x="50" y="64"/>
                  </a:lnTo>
                  <a:lnTo>
                    <a:pt x="45" y="63"/>
                  </a:lnTo>
                  <a:lnTo>
                    <a:pt x="38" y="64"/>
                  </a:lnTo>
                  <a:lnTo>
                    <a:pt x="38" y="66"/>
                  </a:lnTo>
                  <a:lnTo>
                    <a:pt x="34" y="66"/>
                  </a:lnTo>
                  <a:lnTo>
                    <a:pt x="30" y="63"/>
                  </a:lnTo>
                  <a:lnTo>
                    <a:pt x="14" y="61"/>
                  </a:lnTo>
                  <a:lnTo>
                    <a:pt x="11" y="59"/>
                  </a:lnTo>
                  <a:lnTo>
                    <a:pt x="7" y="59"/>
                  </a:lnTo>
                  <a:lnTo>
                    <a:pt x="2" y="61"/>
                  </a:lnTo>
                  <a:lnTo>
                    <a:pt x="2" y="61"/>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06" name="Freeform 3386"/>
            <p:cNvSpPr>
              <a:spLocks/>
            </p:cNvSpPr>
            <p:nvPr/>
          </p:nvSpPr>
          <p:spPr bwMode="auto">
            <a:xfrm>
              <a:off x="3066728" y="4534930"/>
              <a:ext cx="106259" cy="103039"/>
            </a:xfrm>
            <a:custGeom>
              <a:avLst/>
              <a:gdLst>
                <a:gd name="T0" fmla="*/ 59 w 66"/>
                <a:gd name="T1" fmla="*/ 59 h 64"/>
                <a:gd name="T2" fmla="*/ 50 w 66"/>
                <a:gd name="T3" fmla="*/ 56 h 64"/>
                <a:gd name="T4" fmla="*/ 42 w 66"/>
                <a:gd name="T5" fmla="*/ 57 h 64"/>
                <a:gd name="T6" fmla="*/ 42 w 66"/>
                <a:gd name="T7" fmla="*/ 57 h 64"/>
                <a:gd name="T8" fmla="*/ 39 w 66"/>
                <a:gd name="T9" fmla="*/ 56 h 64"/>
                <a:gd name="T10" fmla="*/ 37 w 66"/>
                <a:gd name="T11" fmla="*/ 56 h 64"/>
                <a:gd name="T12" fmla="*/ 35 w 66"/>
                <a:gd name="T13" fmla="*/ 57 h 64"/>
                <a:gd name="T14" fmla="*/ 35 w 66"/>
                <a:gd name="T15" fmla="*/ 64 h 64"/>
                <a:gd name="T16" fmla="*/ 34 w 66"/>
                <a:gd name="T17" fmla="*/ 64 h 64"/>
                <a:gd name="T18" fmla="*/ 30 w 66"/>
                <a:gd name="T19" fmla="*/ 64 h 64"/>
                <a:gd name="T20" fmla="*/ 26 w 66"/>
                <a:gd name="T21" fmla="*/ 64 h 64"/>
                <a:gd name="T22" fmla="*/ 25 w 66"/>
                <a:gd name="T23" fmla="*/ 63 h 64"/>
                <a:gd name="T24" fmla="*/ 25 w 66"/>
                <a:gd name="T25" fmla="*/ 63 h 64"/>
                <a:gd name="T26" fmla="*/ 14 w 66"/>
                <a:gd name="T27" fmla="*/ 48 h 64"/>
                <a:gd name="T28" fmla="*/ 14 w 66"/>
                <a:gd name="T29" fmla="*/ 47 h 64"/>
                <a:gd name="T30" fmla="*/ 12 w 66"/>
                <a:gd name="T31" fmla="*/ 45 h 64"/>
                <a:gd name="T32" fmla="*/ 12 w 66"/>
                <a:gd name="T33" fmla="*/ 43 h 64"/>
                <a:gd name="T34" fmla="*/ 12 w 66"/>
                <a:gd name="T35" fmla="*/ 41 h 64"/>
                <a:gd name="T36" fmla="*/ 9 w 66"/>
                <a:gd name="T37" fmla="*/ 41 h 64"/>
                <a:gd name="T38" fmla="*/ 7 w 66"/>
                <a:gd name="T39" fmla="*/ 41 h 64"/>
                <a:gd name="T40" fmla="*/ 7 w 66"/>
                <a:gd name="T41" fmla="*/ 39 h 64"/>
                <a:gd name="T42" fmla="*/ 7 w 66"/>
                <a:gd name="T43" fmla="*/ 39 h 64"/>
                <a:gd name="T44" fmla="*/ 5 w 66"/>
                <a:gd name="T45" fmla="*/ 36 h 64"/>
                <a:gd name="T46" fmla="*/ 3 w 66"/>
                <a:gd name="T47" fmla="*/ 36 h 64"/>
                <a:gd name="T48" fmla="*/ 0 w 66"/>
                <a:gd name="T49" fmla="*/ 31 h 64"/>
                <a:gd name="T50" fmla="*/ 0 w 66"/>
                <a:gd name="T51" fmla="*/ 29 h 64"/>
                <a:gd name="T52" fmla="*/ 1 w 66"/>
                <a:gd name="T53" fmla="*/ 23 h 64"/>
                <a:gd name="T54" fmla="*/ 1 w 66"/>
                <a:gd name="T55" fmla="*/ 18 h 64"/>
                <a:gd name="T56" fmla="*/ 3 w 66"/>
                <a:gd name="T57" fmla="*/ 16 h 64"/>
                <a:gd name="T58" fmla="*/ 5 w 66"/>
                <a:gd name="T59" fmla="*/ 16 h 64"/>
                <a:gd name="T60" fmla="*/ 10 w 66"/>
                <a:gd name="T61" fmla="*/ 14 h 64"/>
                <a:gd name="T62" fmla="*/ 10 w 66"/>
                <a:gd name="T63" fmla="*/ 14 h 64"/>
                <a:gd name="T64" fmla="*/ 12 w 66"/>
                <a:gd name="T65" fmla="*/ 13 h 64"/>
                <a:gd name="T66" fmla="*/ 12 w 66"/>
                <a:gd name="T67" fmla="*/ 11 h 64"/>
                <a:gd name="T68" fmla="*/ 12 w 66"/>
                <a:gd name="T69" fmla="*/ 11 h 64"/>
                <a:gd name="T70" fmla="*/ 12 w 66"/>
                <a:gd name="T71" fmla="*/ 9 h 64"/>
                <a:gd name="T72" fmla="*/ 12 w 66"/>
                <a:gd name="T73" fmla="*/ 9 h 64"/>
                <a:gd name="T74" fmla="*/ 16 w 66"/>
                <a:gd name="T75" fmla="*/ 2 h 64"/>
                <a:gd name="T76" fmla="*/ 17 w 66"/>
                <a:gd name="T77" fmla="*/ 2 h 64"/>
                <a:gd name="T78" fmla="*/ 17 w 66"/>
                <a:gd name="T79" fmla="*/ 0 h 64"/>
                <a:gd name="T80" fmla="*/ 19 w 66"/>
                <a:gd name="T81" fmla="*/ 0 h 64"/>
                <a:gd name="T82" fmla="*/ 26 w 66"/>
                <a:gd name="T83" fmla="*/ 2 h 64"/>
                <a:gd name="T84" fmla="*/ 48 w 66"/>
                <a:gd name="T85" fmla="*/ 2 h 64"/>
                <a:gd name="T86" fmla="*/ 48 w 66"/>
                <a:gd name="T87" fmla="*/ 0 h 64"/>
                <a:gd name="T88" fmla="*/ 64 w 66"/>
                <a:gd name="T89" fmla="*/ 4 h 64"/>
                <a:gd name="T90" fmla="*/ 64 w 66"/>
                <a:gd name="T91" fmla="*/ 4 h 64"/>
                <a:gd name="T92" fmla="*/ 64 w 66"/>
                <a:gd name="T93" fmla="*/ 7 h 64"/>
                <a:gd name="T94" fmla="*/ 64 w 66"/>
                <a:gd name="T95" fmla="*/ 7 h 64"/>
                <a:gd name="T96" fmla="*/ 64 w 66"/>
                <a:gd name="T97" fmla="*/ 9 h 64"/>
                <a:gd name="T98" fmla="*/ 60 w 66"/>
                <a:gd name="T99" fmla="*/ 13 h 64"/>
                <a:gd name="T100" fmla="*/ 59 w 66"/>
                <a:gd name="T101" fmla="*/ 14 h 64"/>
                <a:gd name="T102" fmla="*/ 60 w 66"/>
                <a:gd name="T103" fmla="*/ 27 h 64"/>
                <a:gd name="T104" fmla="*/ 64 w 66"/>
                <a:gd name="T105" fmla="*/ 34 h 64"/>
                <a:gd name="T106" fmla="*/ 64 w 66"/>
                <a:gd name="T107" fmla="*/ 34 h 64"/>
                <a:gd name="T108" fmla="*/ 64 w 66"/>
                <a:gd name="T109" fmla="*/ 34 h 64"/>
                <a:gd name="T110" fmla="*/ 66 w 66"/>
                <a:gd name="T111" fmla="*/ 38 h 64"/>
                <a:gd name="T112" fmla="*/ 62 w 66"/>
                <a:gd name="T113" fmla="*/ 56 h 64"/>
                <a:gd name="T114" fmla="*/ 59 w 66"/>
                <a:gd name="T115" fmla="*/ 5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64">
                  <a:moveTo>
                    <a:pt x="59" y="59"/>
                  </a:moveTo>
                  <a:lnTo>
                    <a:pt x="50" y="56"/>
                  </a:lnTo>
                  <a:lnTo>
                    <a:pt x="42" y="57"/>
                  </a:lnTo>
                  <a:lnTo>
                    <a:pt x="42" y="57"/>
                  </a:lnTo>
                  <a:lnTo>
                    <a:pt x="39" y="56"/>
                  </a:lnTo>
                  <a:lnTo>
                    <a:pt x="37" y="56"/>
                  </a:lnTo>
                  <a:lnTo>
                    <a:pt x="35" y="57"/>
                  </a:lnTo>
                  <a:lnTo>
                    <a:pt x="35" y="64"/>
                  </a:lnTo>
                  <a:lnTo>
                    <a:pt x="34" y="64"/>
                  </a:lnTo>
                  <a:lnTo>
                    <a:pt x="30" y="64"/>
                  </a:lnTo>
                  <a:lnTo>
                    <a:pt x="26" y="64"/>
                  </a:lnTo>
                  <a:lnTo>
                    <a:pt x="25" y="63"/>
                  </a:lnTo>
                  <a:lnTo>
                    <a:pt x="25" y="63"/>
                  </a:lnTo>
                  <a:lnTo>
                    <a:pt x="14" y="48"/>
                  </a:lnTo>
                  <a:lnTo>
                    <a:pt x="14" y="47"/>
                  </a:lnTo>
                  <a:lnTo>
                    <a:pt x="12" y="45"/>
                  </a:lnTo>
                  <a:lnTo>
                    <a:pt x="12" y="43"/>
                  </a:lnTo>
                  <a:lnTo>
                    <a:pt x="12" y="41"/>
                  </a:lnTo>
                  <a:lnTo>
                    <a:pt x="9" y="41"/>
                  </a:lnTo>
                  <a:lnTo>
                    <a:pt x="7" y="41"/>
                  </a:lnTo>
                  <a:lnTo>
                    <a:pt x="7" y="39"/>
                  </a:lnTo>
                  <a:lnTo>
                    <a:pt x="7" y="39"/>
                  </a:lnTo>
                  <a:lnTo>
                    <a:pt x="5" y="36"/>
                  </a:lnTo>
                  <a:lnTo>
                    <a:pt x="3" y="36"/>
                  </a:lnTo>
                  <a:lnTo>
                    <a:pt x="0" y="31"/>
                  </a:lnTo>
                  <a:lnTo>
                    <a:pt x="0" y="29"/>
                  </a:lnTo>
                  <a:lnTo>
                    <a:pt x="1" y="23"/>
                  </a:lnTo>
                  <a:lnTo>
                    <a:pt x="1" y="18"/>
                  </a:lnTo>
                  <a:lnTo>
                    <a:pt x="3" y="16"/>
                  </a:lnTo>
                  <a:lnTo>
                    <a:pt x="5" y="16"/>
                  </a:lnTo>
                  <a:lnTo>
                    <a:pt x="10" y="14"/>
                  </a:lnTo>
                  <a:lnTo>
                    <a:pt x="10" y="14"/>
                  </a:lnTo>
                  <a:lnTo>
                    <a:pt x="12" y="13"/>
                  </a:lnTo>
                  <a:lnTo>
                    <a:pt x="12" y="11"/>
                  </a:lnTo>
                  <a:lnTo>
                    <a:pt x="12" y="11"/>
                  </a:lnTo>
                  <a:lnTo>
                    <a:pt x="12" y="9"/>
                  </a:lnTo>
                  <a:lnTo>
                    <a:pt x="12" y="9"/>
                  </a:lnTo>
                  <a:lnTo>
                    <a:pt x="16" y="2"/>
                  </a:lnTo>
                  <a:lnTo>
                    <a:pt x="17" y="2"/>
                  </a:lnTo>
                  <a:lnTo>
                    <a:pt x="17" y="0"/>
                  </a:lnTo>
                  <a:lnTo>
                    <a:pt x="19" y="0"/>
                  </a:lnTo>
                  <a:lnTo>
                    <a:pt x="26" y="2"/>
                  </a:lnTo>
                  <a:lnTo>
                    <a:pt x="48" y="2"/>
                  </a:lnTo>
                  <a:lnTo>
                    <a:pt x="48" y="0"/>
                  </a:lnTo>
                  <a:lnTo>
                    <a:pt x="64" y="4"/>
                  </a:lnTo>
                  <a:lnTo>
                    <a:pt x="64" y="4"/>
                  </a:lnTo>
                  <a:lnTo>
                    <a:pt x="64" y="7"/>
                  </a:lnTo>
                  <a:lnTo>
                    <a:pt x="64" y="7"/>
                  </a:lnTo>
                  <a:lnTo>
                    <a:pt x="64" y="9"/>
                  </a:lnTo>
                  <a:lnTo>
                    <a:pt x="60" y="13"/>
                  </a:lnTo>
                  <a:lnTo>
                    <a:pt x="59" y="14"/>
                  </a:lnTo>
                  <a:lnTo>
                    <a:pt x="60" y="27"/>
                  </a:lnTo>
                  <a:lnTo>
                    <a:pt x="64" y="34"/>
                  </a:lnTo>
                  <a:lnTo>
                    <a:pt x="64" y="34"/>
                  </a:lnTo>
                  <a:lnTo>
                    <a:pt x="64" y="34"/>
                  </a:lnTo>
                  <a:lnTo>
                    <a:pt x="66" y="38"/>
                  </a:lnTo>
                  <a:lnTo>
                    <a:pt x="62" y="56"/>
                  </a:lnTo>
                  <a:lnTo>
                    <a:pt x="59" y="59"/>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07" name="Freeform 3387"/>
            <p:cNvSpPr>
              <a:spLocks/>
            </p:cNvSpPr>
            <p:nvPr/>
          </p:nvSpPr>
          <p:spPr bwMode="auto">
            <a:xfrm>
              <a:off x="3066728" y="4534930"/>
              <a:ext cx="106259" cy="103039"/>
            </a:xfrm>
            <a:custGeom>
              <a:avLst/>
              <a:gdLst>
                <a:gd name="T0" fmla="*/ 59 w 66"/>
                <a:gd name="T1" fmla="*/ 59 h 64"/>
                <a:gd name="T2" fmla="*/ 50 w 66"/>
                <a:gd name="T3" fmla="*/ 56 h 64"/>
                <a:gd name="T4" fmla="*/ 42 w 66"/>
                <a:gd name="T5" fmla="*/ 57 h 64"/>
                <a:gd name="T6" fmla="*/ 42 w 66"/>
                <a:gd name="T7" fmla="*/ 57 h 64"/>
                <a:gd name="T8" fmla="*/ 39 w 66"/>
                <a:gd name="T9" fmla="*/ 56 h 64"/>
                <a:gd name="T10" fmla="*/ 37 w 66"/>
                <a:gd name="T11" fmla="*/ 56 h 64"/>
                <a:gd name="T12" fmla="*/ 35 w 66"/>
                <a:gd name="T13" fmla="*/ 57 h 64"/>
                <a:gd name="T14" fmla="*/ 35 w 66"/>
                <a:gd name="T15" fmla="*/ 64 h 64"/>
                <a:gd name="T16" fmla="*/ 34 w 66"/>
                <a:gd name="T17" fmla="*/ 64 h 64"/>
                <a:gd name="T18" fmla="*/ 30 w 66"/>
                <a:gd name="T19" fmla="*/ 64 h 64"/>
                <a:gd name="T20" fmla="*/ 26 w 66"/>
                <a:gd name="T21" fmla="*/ 64 h 64"/>
                <a:gd name="T22" fmla="*/ 25 w 66"/>
                <a:gd name="T23" fmla="*/ 63 h 64"/>
                <a:gd name="T24" fmla="*/ 25 w 66"/>
                <a:gd name="T25" fmla="*/ 63 h 64"/>
                <a:gd name="T26" fmla="*/ 14 w 66"/>
                <a:gd name="T27" fmla="*/ 48 h 64"/>
                <a:gd name="T28" fmla="*/ 14 w 66"/>
                <a:gd name="T29" fmla="*/ 47 h 64"/>
                <a:gd name="T30" fmla="*/ 12 w 66"/>
                <a:gd name="T31" fmla="*/ 45 h 64"/>
                <a:gd name="T32" fmla="*/ 12 w 66"/>
                <a:gd name="T33" fmla="*/ 43 h 64"/>
                <a:gd name="T34" fmla="*/ 12 w 66"/>
                <a:gd name="T35" fmla="*/ 41 h 64"/>
                <a:gd name="T36" fmla="*/ 9 w 66"/>
                <a:gd name="T37" fmla="*/ 41 h 64"/>
                <a:gd name="T38" fmla="*/ 7 w 66"/>
                <a:gd name="T39" fmla="*/ 41 h 64"/>
                <a:gd name="T40" fmla="*/ 7 w 66"/>
                <a:gd name="T41" fmla="*/ 39 h 64"/>
                <a:gd name="T42" fmla="*/ 7 w 66"/>
                <a:gd name="T43" fmla="*/ 39 h 64"/>
                <a:gd name="T44" fmla="*/ 5 w 66"/>
                <a:gd name="T45" fmla="*/ 36 h 64"/>
                <a:gd name="T46" fmla="*/ 3 w 66"/>
                <a:gd name="T47" fmla="*/ 36 h 64"/>
                <a:gd name="T48" fmla="*/ 0 w 66"/>
                <a:gd name="T49" fmla="*/ 31 h 64"/>
                <a:gd name="T50" fmla="*/ 0 w 66"/>
                <a:gd name="T51" fmla="*/ 29 h 64"/>
                <a:gd name="T52" fmla="*/ 1 w 66"/>
                <a:gd name="T53" fmla="*/ 23 h 64"/>
                <a:gd name="T54" fmla="*/ 1 w 66"/>
                <a:gd name="T55" fmla="*/ 18 h 64"/>
                <a:gd name="T56" fmla="*/ 3 w 66"/>
                <a:gd name="T57" fmla="*/ 16 h 64"/>
                <a:gd name="T58" fmla="*/ 5 w 66"/>
                <a:gd name="T59" fmla="*/ 16 h 64"/>
                <a:gd name="T60" fmla="*/ 10 w 66"/>
                <a:gd name="T61" fmla="*/ 14 h 64"/>
                <a:gd name="T62" fmla="*/ 10 w 66"/>
                <a:gd name="T63" fmla="*/ 14 h 64"/>
                <a:gd name="T64" fmla="*/ 12 w 66"/>
                <a:gd name="T65" fmla="*/ 13 h 64"/>
                <a:gd name="T66" fmla="*/ 12 w 66"/>
                <a:gd name="T67" fmla="*/ 11 h 64"/>
                <a:gd name="T68" fmla="*/ 12 w 66"/>
                <a:gd name="T69" fmla="*/ 11 h 64"/>
                <a:gd name="T70" fmla="*/ 12 w 66"/>
                <a:gd name="T71" fmla="*/ 9 h 64"/>
                <a:gd name="T72" fmla="*/ 12 w 66"/>
                <a:gd name="T73" fmla="*/ 9 h 64"/>
                <a:gd name="T74" fmla="*/ 16 w 66"/>
                <a:gd name="T75" fmla="*/ 2 h 64"/>
                <a:gd name="T76" fmla="*/ 17 w 66"/>
                <a:gd name="T77" fmla="*/ 2 h 64"/>
                <a:gd name="T78" fmla="*/ 17 w 66"/>
                <a:gd name="T79" fmla="*/ 0 h 64"/>
                <a:gd name="T80" fmla="*/ 19 w 66"/>
                <a:gd name="T81" fmla="*/ 0 h 64"/>
                <a:gd name="T82" fmla="*/ 26 w 66"/>
                <a:gd name="T83" fmla="*/ 2 h 64"/>
                <a:gd name="T84" fmla="*/ 48 w 66"/>
                <a:gd name="T85" fmla="*/ 2 h 64"/>
                <a:gd name="T86" fmla="*/ 48 w 66"/>
                <a:gd name="T87" fmla="*/ 0 h 64"/>
                <a:gd name="T88" fmla="*/ 64 w 66"/>
                <a:gd name="T89" fmla="*/ 4 h 64"/>
                <a:gd name="T90" fmla="*/ 64 w 66"/>
                <a:gd name="T91" fmla="*/ 4 h 64"/>
                <a:gd name="T92" fmla="*/ 64 w 66"/>
                <a:gd name="T93" fmla="*/ 7 h 64"/>
                <a:gd name="T94" fmla="*/ 64 w 66"/>
                <a:gd name="T95" fmla="*/ 7 h 64"/>
                <a:gd name="T96" fmla="*/ 64 w 66"/>
                <a:gd name="T97" fmla="*/ 9 h 64"/>
                <a:gd name="T98" fmla="*/ 60 w 66"/>
                <a:gd name="T99" fmla="*/ 13 h 64"/>
                <a:gd name="T100" fmla="*/ 59 w 66"/>
                <a:gd name="T101" fmla="*/ 14 h 64"/>
                <a:gd name="T102" fmla="*/ 60 w 66"/>
                <a:gd name="T103" fmla="*/ 27 h 64"/>
                <a:gd name="T104" fmla="*/ 64 w 66"/>
                <a:gd name="T105" fmla="*/ 34 h 64"/>
                <a:gd name="T106" fmla="*/ 64 w 66"/>
                <a:gd name="T107" fmla="*/ 34 h 64"/>
                <a:gd name="T108" fmla="*/ 64 w 66"/>
                <a:gd name="T109" fmla="*/ 34 h 64"/>
                <a:gd name="T110" fmla="*/ 66 w 66"/>
                <a:gd name="T111" fmla="*/ 38 h 64"/>
                <a:gd name="T112" fmla="*/ 62 w 66"/>
                <a:gd name="T113" fmla="*/ 56 h 64"/>
                <a:gd name="T114" fmla="*/ 59 w 66"/>
                <a:gd name="T115" fmla="*/ 59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64">
                  <a:moveTo>
                    <a:pt x="59" y="59"/>
                  </a:moveTo>
                  <a:lnTo>
                    <a:pt x="50" y="56"/>
                  </a:lnTo>
                  <a:lnTo>
                    <a:pt x="42" y="57"/>
                  </a:lnTo>
                  <a:lnTo>
                    <a:pt x="42" y="57"/>
                  </a:lnTo>
                  <a:lnTo>
                    <a:pt x="39" y="56"/>
                  </a:lnTo>
                  <a:lnTo>
                    <a:pt x="37" y="56"/>
                  </a:lnTo>
                  <a:lnTo>
                    <a:pt x="35" y="57"/>
                  </a:lnTo>
                  <a:lnTo>
                    <a:pt x="35" y="64"/>
                  </a:lnTo>
                  <a:lnTo>
                    <a:pt x="34" y="64"/>
                  </a:lnTo>
                  <a:lnTo>
                    <a:pt x="30" y="64"/>
                  </a:lnTo>
                  <a:lnTo>
                    <a:pt x="26" y="64"/>
                  </a:lnTo>
                  <a:lnTo>
                    <a:pt x="25" y="63"/>
                  </a:lnTo>
                  <a:lnTo>
                    <a:pt x="25" y="63"/>
                  </a:lnTo>
                  <a:lnTo>
                    <a:pt x="14" y="48"/>
                  </a:lnTo>
                  <a:lnTo>
                    <a:pt x="14" y="47"/>
                  </a:lnTo>
                  <a:lnTo>
                    <a:pt x="12" y="45"/>
                  </a:lnTo>
                  <a:lnTo>
                    <a:pt x="12" y="43"/>
                  </a:lnTo>
                  <a:lnTo>
                    <a:pt x="12" y="41"/>
                  </a:lnTo>
                  <a:lnTo>
                    <a:pt x="9" y="41"/>
                  </a:lnTo>
                  <a:lnTo>
                    <a:pt x="7" y="41"/>
                  </a:lnTo>
                  <a:lnTo>
                    <a:pt x="7" y="39"/>
                  </a:lnTo>
                  <a:lnTo>
                    <a:pt x="7" y="39"/>
                  </a:lnTo>
                  <a:lnTo>
                    <a:pt x="5" y="36"/>
                  </a:lnTo>
                  <a:lnTo>
                    <a:pt x="3" y="36"/>
                  </a:lnTo>
                  <a:lnTo>
                    <a:pt x="0" y="31"/>
                  </a:lnTo>
                  <a:lnTo>
                    <a:pt x="0" y="29"/>
                  </a:lnTo>
                  <a:lnTo>
                    <a:pt x="1" y="23"/>
                  </a:lnTo>
                  <a:lnTo>
                    <a:pt x="1" y="18"/>
                  </a:lnTo>
                  <a:lnTo>
                    <a:pt x="3" y="16"/>
                  </a:lnTo>
                  <a:lnTo>
                    <a:pt x="5" y="16"/>
                  </a:lnTo>
                  <a:lnTo>
                    <a:pt x="10" y="14"/>
                  </a:lnTo>
                  <a:lnTo>
                    <a:pt x="10" y="14"/>
                  </a:lnTo>
                  <a:lnTo>
                    <a:pt x="12" y="13"/>
                  </a:lnTo>
                  <a:lnTo>
                    <a:pt x="12" y="11"/>
                  </a:lnTo>
                  <a:lnTo>
                    <a:pt x="12" y="11"/>
                  </a:lnTo>
                  <a:lnTo>
                    <a:pt x="12" y="9"/>
                  </a:lnTo>
                  <a:lnTo>
                    <a:pt x="12" y="9"/>
                  </a:lnTo>
                  <a:lnTo>
                    <a:pt x="16" y="2"/>
                  </a:lnTo>
                  <a:lnTo>
                    <a:pt x="17" y="2"/>
                  </a:lnTo>
                  <a:lnTo>
                    <a:pt x="17" y="0"/>
                  </a:lnTo>
                  <a:lnTo>
                    <a:pt x="19" y="0"/>
                  </a:lnTo>
                  <a:lnTo>
                    <a:pt x="26" y="2"/>
                  </a:lnTo>
                  <a:lnTo>
                    <a:pt x="48" y="2"/>
                  </a:lnTo>
                  <a:lnTo>
                    <a:pt x="48" y="0"/>
                  </a:lnTo>
                  <a:lnTo>
                    <a:pt x="64" y="4"/>
                  </a:lnTo>
                  <a:lnTo>
                    <a:pt x="64" y="4"/>
                  </a:lnTo>
                  <a:lnTo>
                    <a:pt x="64" y="7"/>
                  </a:lnTo>
                  <a:lnTo>
                    <a:pt x="64" y="7"/>
                  </a:lnTo>
                  <a:lnTo>
                    <a:pt x="64" y="9"/>
                  </a:lnTo>
                  <a:lnTo>
                    <a:pt x="60" y="13"/>
                  </a:lnTo>
                  <a:lnTo>
                    <a:pt x="59" y="14"/>
                  </a:lnTo>
                  <a:lnTo>
                    <a:pt x="60" y="27"/>
                  </a:lnTo>
                  <a:lnTo>
                    <a:pt x="64" y="34"/>
                  </a:lnTo>
                  <a:lnTo>
                    <a:pt x="64" y="34"/>
                  </a:lnTo>
                  <a:lnTo>
                    <a:pt x="64" y="34"/>
                  </a:lnTo>
                  <a:lnTo>
                    <a:pt x="66" y="38"/>
                  </a:lnTo>
                  <a:lnTo>
                    <a:pt x="62" y="56"/>
                  </a:lnTo>
                  <a:lnTo>
                    <a:pt x="59" y="59"/>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08" name="Freeform 3388"/>
            <p:cNvSpPr>
              <a:spLocks/>
            </p:cNvSpPr>
            <p:nvPr/>
          </p:nvSpPr>
          <p:spPr bwMode="auto">
            <a:xfrm>
              <a:off x="2942760" y="4233864"/>
              <a:ext cx="3220" cy="4830"/>
            </a:xfrm>
            <a:custGeom>
              <a:avLst/>
              <a:gdLst>
                <a:gd name="T0" fmla="*/ 2 w 2"/>
                <a:gd name="T1" fmla="*/ 0 h 3"/>
                <a:gd name="T2" fmla="*/ 0 w 2"/>
                <a:gd name="T3" fmla="*/ 0 h 3"/>
                <a:gd name="T4" fmla="*/ 0 w 2"/>
                <a:gd name="T5" fmla="*/ 1 h 3"/>
                <a:gd name="T6" fmla="*/ 2 w 2"/>
                <a:gd name="T7" fmla="*/ 3 h 3"/>
                <a:gd name="T8" fmla="*/ 2 w 2"/>
                <a:gd name="T9" fmla="*/ 3 h 3"/>
                <a:gd name="T10" fmla="*/ 2 w 2"/>
                <a:gd name="T11" fmla="*/ 1 h 3"/>
                <a:gd name="T12" fmla="*/ 2 w 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0"/>
                  </a:moveTo>
                  <a:lnTo>
                    <a:pt x="0" y="0"/>
                  </a:lnTo>
                  <a:lnTo>
                    <a:pt x="0" y="1"/>
                  </a:lnTo>
                  <a:lnTo>
                    <a:pt x="2" y="3"/>
                  </a:lnTo>
                  <a:lnTo>
                    <a:pt x="2" y="3"/>
                  </a:lnTo>
                  <a:lnTo>
                    <a:pt x="2" y="1"/>
                  </a:lnTo>
                  <a:lnTo>
                    <a:pt x="2"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09" name="Freeform 3389"/>
            <p:cNvSpPr>
              <a:spLocks/>
            </p:cNvSpPr>
            <p:nvPr/>
          </p:nvSpPr>
          <p:spPr bwMode="auto">
            <a:xfrm>
              <a:off x="2942760" y="4233864"/>
              <a:ext cx="3220" cy="4830"/>
            </a:xfrm>
            <a:custGeom>
              <a:avLst/>
              <a:gdLst>
                <a:gd name="T0" fmla="*/ 2 w 2"/>
                <a:gd name="T1" fmla="*/ 0 h 3"/>
                <a:gd name="T2" fmla="*/ 0 w 2"/>
                <a:gd name="T3" fmla="*/ 0 h 3"/>
                <a:gd name="T4" fmla="*/ 0 w 2"/>
                <a:gd name="T5" fmla="*/ 1 h 3"/>
                <a:gd name="T6" fmla="*/ 2 w 2"/>
                <a:gd name="T7" fmla="*/ 3 h 3"/>
                <a:gd name="T8" fmla="*/ 2 w 2"/>
                <a:gd name="T9" fmla="*/ 3 h 3"/>
                <a:gd name="T10" fmla="*/ 2 w 2"/>
                <a:gd name="T11" fmla="*/ 1 h 3"/>
                <a:gd name="T12" fmla="*/ 2 w 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2" y="0"/>
                  </a:moveTo>
                  <a:lnTo>
                    <a:pt x="0" y="0"/>
                  </a:lnTo>
                  <a:lnTo>
                    <a:pt x="0" y="1"/>
                  </a:lnTo>
                  <a:lnTo>
                    <a:pt x="2" y="3"/>
                  </a:lnTo>
                  <a:lnTo>
                    <a:pt x="2" y="3"/>
                  </a:lnTo>
                  <a:lnTo>
                    <a:pt x="2" y="1"/>
                  </a:lnTo>
                  <a:lnTo>
                    <a:pt x="2"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10" name="Freeform 3390"/>
            <p:cNvSpPr>
              <a:spLocks/>
            </p:cNvSpPr>
            <p:nvPr/>
          </p:nvSpPr>
          <p:spPr bwMode="auto">
            <a:xfrm>
              <a:off x="2991059" y="4325633"/>
              <a:ext cx="3220" cy="8050"/>
            </a:xfrm>
            <a:custGeom>
              <a:avLst/>
              <a:gdLst>
                <a:gd name="T0" fmla="*/ 0 w 2"/>
                <a:gd name="T1" fmla="*/ 0 h 5"/>
                <a:gd name="T2" fmla="*/ 0 w 2"/>
                <a:gd name="T3" fmla="*/ 5 h 5"/>
                <a:gd name="T4" fmla="*/ 0 w 2"/>
                <a:gd name="T5" fmla="*/ 5 h 5"/>
                <a:gd name="T6" fmla="*/ 2 w 2"/>
                <a:gd name="T7" fmla="*/ 3 h 5"/>
                <a:gd name="T8" fmla="*/ 2 w 2"/>
                <a:gd name="T9" fmla="*/ 0 h 5"/>
                <a:gd name="T10" fmla="*/ 0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0" y="0"/>
                  </a:moveTo>
                  <a:lnTo>
                    <a:pt x="0" y="5"/>
                  </a:lnTo>
                  <a:lnTo>
                    <a:pt x="0" y="5"/>
                  </a:lnTo>
                  <a:lnTo>
                    <a:pt x="2" y="3"/>
                  </a:lnTo>
                  <a:lnTo>
                    <a:pt x="2" y="0"/>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11" name="Freeform 3391"/>
            <p:cNvSpPr>
              <a:spLocks/>
            </p:cNvSpPr>
            <p:nvPr/>
          </p:nvSpPr>
          <p:spPr bwMode="auto">
            <a:xfrm>
              <a:off x="2991059" y="4325633"/>
              <a:ext cx="3220" cy="8050"/>
            </a:xfrm>
            <a:custGeom>
              <a:avLst/>
              <a:gdLst>
                <a:gd name="T0" fmla="*/ 0 w 2"/>
                <a:gd name="T1" fmla="*/ 0 h 5"/>
                <a:gd name="T2" fmla="*/ 0 w 2"/>
                <a:gd name="T3" fmla="*/ 5 h 5"/>
                <a:gd name="T4" fmla="*/ 0 w 2"/>
                <a:gd name="T5" fmla="*/ 5 h 5"/>
                <a:gd name="T6" fmla="*/ 2 w 2"/>
                <a:gd name="T7" fmla="*/ 3 h 5"/>
                <a:gd name="T8" fmla="*/ 2 w 2"/>
                <a:gd name="T9" fmla="*/ 0 h 5"/>
                <a:gd name="T10" fmla="*/ 0 w 2"/>
                <a:gd name="T11" fmla="*/ 0 h 5"/>
              </a:gdLst>
              <a:ahLst/>
              <a:cxnLst>
                <a:cxn ang="0">
                  <a:pos x="T0" y="T1"/>
                </a:cxn>
                <a:cxn ang="0">
                  <a:pos x="T2" y="T3"/>
                </a:cxn>
                <a:cxn ang="0">
                  <a:pos x="T4" y="T5"/>
                </a:cxn>
                <a:cxn ang="0">
                  <a:pos x="T6" y="T7"/>
                </a:cxn>
                <a:cxn ang="0">
                  <a:pos x="T8" y="T9"/>
                </a:cxn>
                <a:cxn ang="0">
                  <a:pos x="T10" y="T11"/>
                </a:cxn>
              </a:cxnLst>
              <a:rect l="0" t="0" r="r" b="b"/>
              <a:pathLst>
                <a:path w="2" h="5">
                  <a:moveTo>
                    <a:pt x="0" y="0"/>
                  </a:moveTo>
                  <a:lnTo>
                    <a:pt x="0" y="5"/>
                  </a:lnTo>
                  <a:lnTo>
                    <a:pt x="0" y="5"/>
                  </a:lnTo>
                  <a:lnTo>
                    <a:pt x="2" y="3"/>
                  </a:lnTo>
                  <a:lnTo>
                    <a:pt x="2" y="0"/>
                  </a:lnTo>
                  <a:lnTo>
                    <a:pt x="0"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12" name="Freeform 3392"/>
            <p:cNvSpPr>
              <a:spLocks/>
            </p:cNvSpPr>
            <p:nvPr/>
          </p:nvSpPr>
          <p:spPr bwMode="auto">
            <a:xfrm>
              <a:off x="2577295" y="3605972"/>
              <a:ext cx="0" cy="3220"/>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13" name="Freeform 3393"/>
            <p:cNvSpPr>
              <a:spLocks/>
            </p:cNvSpPr>
            <p:nvPr/>
          </p:nvSpPr>
          <p:spPr bwMode="auto">
            <a:xfrm>
              <a:off x="2577295" y="3605972"/>
              <a:ext cx="0" cy="3220"/>
            </a:xfrm>
            <a:custGeom>
              <a:avLst/>
              <a:gdLst>
                <a:gd name="T0" fmla="*/ 2 h 2"/>
                <a:gd name="T1" fmla="*/ 0 h 2"/>
                <a:gd name="T2" fmla="*/ 2 h 2"/>
              </a:gdLst>
              <a:ahLst/>
              <a:cxnLst>
                <a:cxn ang="0">
                  <a:pos x="0" y="T0"/>
                </a:cxn>
                <a:cxn ang="0">
                  <a:pos x="0" y="T1"/>
                </a:cxn>
                <a:cxn ang="0">
                  <a:pos x="0" y="T2"/>
                </a:cxn>
              </a:cxnLst>
              <a:rect l="0" t="0" r="r" b="b"/>
              <a:pathLst>
                <a:path h="2">
                  <a:moveTo>
                    <a:pt x="0" y="2"/>
                  </a:moveTo>
                  <a:lnTo>
                    <a:pt x="0" y="0"/>
                  </a:lnTo>
                  <a:lnTo>
                    <a:pt x="0" y="2"/>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14" name="Freeform 3394"/>
            <p:cNvSpPr>
              <a:spLocks/>
            </p:cNvSpPr>
            <p:nvPr/>
          </p:nvSpPr>
          <p:spPr bwMode="auto">
            <a:xfrm>
              <a:off x="2574075" y="3604362"/>
              <a:ext cx="3220" cy="1610"/>
            </a:xfrm>
            <a:custGeom>
              <a:avLst/>
              <a:gdLst>
                <a:gd name="T0" fmla="*/ 0 w 2"/>
                <a:gd name="T1" fmla="*/ 0 h 1"/>
                <a:gd name="T2" fmla="*/ 0 w 2"/>
                <a:gd name="T3" fmla="*/ 0 h 1"/>
                <a:gd name="T4" fmla="*/ 0 w 2"/>
                <a:gd name="T5" fmla="*/ 0 h 1"/>
                <a:gd name="T6" fmla="*/ 2 w 2"/>
                <a:gd name="T7" fmla="*/ 1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lnTo>
                    <a:pt x="0" y="0"/>
                  </a:lnTo>
                  <a:lnTo>
                    <a:pt x="0" y="0"/>
                  </a:lnTo>
                  <a:lnTo>
                    <a:pt x="2" y="1"/>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15" name="Freeform 3395"/>
            <p:cNvSpPr>
              <a:spLocks/>
            </p:cNvSpPr>
            <p:nvPr/>
          </p:nvSpPr>
          <p:spPr bwMode="auto">
            <a:xfrm>
              <a:off x="2574075" y="3604362"/>
              <a:ext cx="3220" cy="1610"/>
            </a:xfrm>
            <a:custGeom>
              <a:avLst/>
              <a:gdLst>
                <a:gd name="T0" fmla="*/ 0 w 2"/>
                <a:gd name="T1" fmla="*/ 0 h 1"/>
                <a:gd name="T2" fmla="*/ 0 w 2"/>
                <a:gd name="T3" fmla="*/ 0 h 1"/>
                <a:gd name="T4" fmla="*/ 0 w 2"/>
                <a:gd name="T5" fmla="*/ 0 h 1"/>
                <a:gd name="T6" fmla="*/ 2 w 2"/>
                <a:gd name="T7" fmla="*/ 1 h 1"/>
                <a:gd name="T8" fmla="*/ 0 w 2"/>
                <a:gd name="T9" fmla="*/ 0 h 1"/>
              </a:gdLst>
              <a:ahLst/>
              <a:cxnLst>
                <a:cxn ang="0">
                  <a:pos x="T0" y="T1"/>
                </a:cxn>
                <a:cxn ang="0">
                  <a:pos x="T2" y="T3"/>
                </a:cxn>
                <a:cxn ang="0">
                  <a:pos x="T4" y="T5"/>
                </a:cxn>
                <a:cxn ang="0">
                  <a:pos x="T6" y="T7"/>
                </a:cxn>
                <a:cxn ang="0">
                  <a:pos x="T8" y="T9"/>
                </a:cxn>
              </a:cxnLst>
              <a:rect l="0" t="0" r="r" b="b"/>
              <a:pathLst>
                <a:path w="2" h="1">
                  <a:moveTo>
                    <a:pt x="0" y="0"/>
                  </a:moveTo>
                  <a:lnTo>
                    <a:pt x="0" y="0"/>
                  </a:lnTo>
                  <a:lnTo>
                    <a:pt x="0" y="0"/>
                  </a:lnTo>
                  <a:lnTo>
                    <a:pt x="2" y="1"/>
                  </a:lnTo>
                  <a:lnTo>
                    <a:pt x="0"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16" name="Freeform 3396"/>
            <p:cNvSpPr>
              <a:spLocks/>
            </p:cNvSpPr>
            <p:nvPr/>
          </p:nvSpPr>
          <p:spPr bwMode="auto">
            <a:xfrm>
              <a:off x="447292" y="4106676"/>
              <a:ext cx="11270" cy="11270"/>
            </a:xfrm>
            <a:custGeom>
              <a:avLst/>
              <a:gdLst>
                <a:gd name="T0" fmla="*/ 2 w 7"/>
                <a:gd name="T1" fmla="*/ 0 h 7"/>
                <a:gd name="T2" fmla="*/ 5 w 7"/>
                <a:gd name="T3" fmla="*/ 0 h 7"/>
                <a:gd name="T4" fmla="*/ 5 w 7"/>
                <a:gd name="T5" fmla="*/ 0 h 7"/>
                <a:gd name="T6" fmla="*/ 7 w 7"/>
                <a:gd name="T7" fmla="*/ 2 h 7"/>
                <a:gd name="T8" fmla="*/ 7 w 7"/>
                <a:gd name="T9" fmla="*/ 4 h 7"/>
                <a:gd name="T10" fmla="*/ 4 w 7"/>
                <a:gd name="T11" fmla="*/ 7 h 7"/>
                <a:gd name="T12" fmla="*/ 4 w 7"/>
                <a:gd name="T13" fmla="*/ 7 h 7"/>
                <a:gd name="T14" fmla="*/ 2 w 7"/>
                <a:gd name="T15" fmla="*/ 5 h 7"/>
                <a:gd name="T16" fmla="*/ 0 w 7"/>
                <a:gd name="T17" fmla="*/ 5 h 7"/>
                <a:gd name="T18" fmla="*/ 0 w 7"/>
                <a:gd name="T19" fmla="*/ 4 h 7"/>
                <a:gd name="T20" fmla="*/ 2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2" y="0"/>
                  </a:moveTo>
                  <a:lnTo>
                    <a:pt x="5" y="0"/>
                  </a:lnTo>
                  <a:lnTo>
                    <a:pt x="5" y="0"/>
                  </a:lnTo>
                  <a:lnTo>
                    <a:pt x="7" y="2"/>
                  </a:lnTo>
                  <a:lnTo>
                    <a:pt x="7" y="4"/>
                  </a:lnTo>
                  <a:lnTo>
                    <a:pt x="4" y="7"/>
                  </a:lnTo>
                  <a:lnTo>
                    <a:pt x="4" y="7"/>
                  </a:lnTo>
                  <a:lnTo>
                    <a:pt x="2" y="5"/>
                  </a:lnTo>
                  <a:lnTo>
                    <a:pt x="0" y="5"/>
                  </a:lnTo>
                  <a:lnTo>
                    <a:pt x="0" y="4"/>
                  </a:lnTo>
                  <a:lnTo>
                    <a:pt x="2"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17" name="Freeform 3397"/>
            <p:cNvSpPr>
              <a:spLocks/>
            </p:cNvSpPr>
            <p:nvPr/>
          </p:nvSpPr>
          <p:spPr bwMode="auto">
            <a:xfrm>
              <a:off x="447292" y="4106676"/>
              <a:ext cx="11270" cy="11270"/>
            </a:xfrm>
            <a:custGeom>
              <a:avLst/>
              <a:gdLst>
                <a:gd name="T0" fmla="*/ 2 w 7"/>
                <a:gd name="T1" fmla="*/ 0 h 7"/>
                <a:gd name="T2" fmla="*/ 5 w 7"/>
                <a:gd name="T3" fmla="*/ 0 h 7"/>
                <a:gd name="T4" fmla="*/ 5 w 7"/>
                <a:gd name="T5" fmla="*/ 0 h 7"/>
                <a:gd name="T6" fmla="*/ 7 w 7"/>
                <a:gd name="T7" fmla="*/ 2 h 7"/>
                <a:gd name="T8" fmla="*/ 7 w 7"/>
                <a:gd name="T9" fmla="*/ 4 h 7"/>
                <a:gd name="T10" fmla="*/ 4 w 7"/>
                <a:gd name="T11" fmla="*/ 7 h 7"/>
                <a:gd name="T12" fmla="*/ 4 w 7"/>
                <a:gd name="T13" fmla="*/ 7 h 7"/>
                <a:gd name="T14" fmla="*/ 2 w 7"/>
                <a:gd name="T15" fmla="*/ 5 h 7"/>
                <a:gd name="T16" fmla="*/ 0 w 7"/>
                <a:gd name="T17" fmla="*/ 5 h 7"/>
                <a:gd name="T18" fmla="*/ 0 w 7"/>
                <a:gd name="T19" fmla="*/ 4 h 7"/>
                <a:gd name="T20" fmla="*/ 2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2" y="0"/>
                  </a:moveTo>
                  <a:lnTo>
                    <a:pt x="5" y="0"/>
                  </a:lnTo>
                  <a:lnTo>
                    <a:pt x="5" y="0"/>
                  </a:lnTo>
                  <a:lnTo>
                    <a:pt x="7" y="2"/>
                  </a:lnTo>
                  <a:lnTo>
                    <a:pt x="7" y="4"/>
                  </a:lnTo>
                  <a:lnTo>
                    <a:pt x="4" y="7"/>
                  </a:lnTo>
                  <a:lnTo>
                    <a:pt x="4" y="7"/>
                  </a:lnTo>
                  <a:lnTo>
                    <a:pt x="2" y="5"/>
                  </a:lnTo>
                  <a:lnTo>
                    <a:pt x="0" y="5"/>
                  </a:lnTo>
                  <a:lnTo>
                    <a:pt x="0" y="4"/>
                  </a:lnTo>
                  <a:lnTo>
                    <a:pt x="2"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18" name="Freeform 3398"/>
            <p:cNvSpPr>
              <a:spLocks/>
            </p:cNvSpPr>
            <p:nvPr/>
          </p:nvSpPr>
          <p:spPr bwMode="auto">
            <a:xfrm>
              <a:off x="487542" y="4124385"/>
              <a:ext cx="11270" cy="8050"/>
            </a:xfrm>
            <a:custGeom>
              <a:avLst/>
              <a:gdLst>
                <a:gd name="T0" fmla="*/ 0 w 7"/>
                <a:gd name="T1" fmla="*/ 2 h 5"/>
                <a:gd name="T2" fmla="*/ 0 w 7"/>
                <a:gd name="T3" fmla="*/ 0 h 5"/>
                <a:gd name="T4" fmla="*/ 2 w 7"/>
                <a:gd name="T5" fmla="*/ 0 h 5"/>
                <a:gd name="T6" fmla="*/ 7 w 7"/>
                <a:gd name="T7" fmla="*/ 5 h 5"/>
                <a:gd name="T8" fmla="*/ 4 w 7"/>
                <a:gd name="T9" fmla="*/ 5 h 5"/>
                <a:gd name="T10" fmla="*/ 2 w 7"/>
                <a:gd name="T11" fmla="*/ 3 h 5"/>
                <a:gd name="T12" fmla="*/ 0 w 7"/>
                <a:gd name="T13" fmla="*/ 2 h 5"/>
                <a:gd name="T14" fmla="*/ 0 w 7"/>
                <a:gd name="T15" fmla="*/ 2 h 5"/>
                <a:gd name="T16" fmla="*/ 0 w 7"/>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0" y="2"/>
                  </a:moveTo>
                  <a:lnTo>
                    <a:pt x="0" y="0"/>
                  </a:lnTo>
                  <a:lnTo>
                    <a:pt x="2" y="0"/>
                  </a:lnTo>
                  <a:lnTo>
                    <a:pt x="7" y="5"/>
                  </a:lnTo>
                  <a:lnTo>
                    <a:pt x="4" y="5"/>
                  </a:lnTo>
                  <a:lnTo>
                    <a:pt x="2" y="3"/>
                  </a:lnTo>
                  <a:lnTo>
                    <a:pt x="0" y="2"/>
                  </a:lnTo>
                  <a:lnTo>
                    <a:pt x="0" y="2"/>
                  </a:lnTo>
                  <a:lnTo>
                    <a:pt x="0" y="2"/>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19" name="Freeform 3399"/>
            <p:cNvSpPr>
              <a:spLocks/>
            </p:cNvSpPr>
            <p:nvPr/>
          </p:nvSpPr>
          <p:spPr bwMode="auto">
            <a:xfrm>
              <a:off x="487542" y="4124385"/>
              <a:ext cx="11270" cy="8050"/>
            </a:xfrm>
            <a:custGeom>
              <a:avLst/>
              <a:gdLst>
                <a:gd name="T0" fmla="*/ 0 w 7"/>
                <a:gd name="T1" fmla="*/ 2 h 5"/>
                <a:gd name="T2" fmla="*/ 0 w 7"/>
                <a:gd name="T3" fmla="*/ 0 h 5"/>
                <a:gd name="T4" fmla="*/ 2 w 7"/>
                <a:gd name="T5" fmla="*/ 0 h 5"/>
                <a:gd name="T6" fmla="*/ 7 w 7"/>
                <a:gd name="T7" fmla="*/ 5 h 5"/>
                <a:gd name="T8" fmla="*/ 4 w 7"/>
                <a:gd name="T9" fmla="*/ 5 h 5"/>
                <a:gd name="T10" fmla="*/ 2 w 7"/>
                <a:gd name="T11" fmla="*/ 3 h 5"/>
                <a:gd name="T12" fmla="*/ 0 w 7"/>
                <a:gd name="T13" fmla="*/ 2 h 5"/>
                <a:gd name="T14" fmla="*/ 0 w 7"/>
                <a:gd name="T15" fmla="*/ 2 h 5"/>
                <a:gd name="T16" fmla="*/ 0 w 7"/>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5">
                  <a:moveTo>
                    <a:pt x="0" y="2"/>
                  </a:moveTo>
                  <a:lnTo>
                    <a:pt x="0" y="0"/>
                  </a:lnTo>
                  <a:lnTo>
                    <a:pt x="2" y="0"/>
                  </a:lnTo>
                  <a:lnTo>
                    <a:pt x="7" y="5"/>
                  </a:lnTo>
                  <a:lnTo>
                    <a:pt x="4" y="5"/>
                  </a:lnTo>
                  <a:lnTo>
                    <a:pt x="2" y="3"/>
                  </a:lnTo>
                  <a:lnTo>
                    <a:pt x="0" y="2"/>
                  </a:lnTo>
                  <a:lnTo>
                    <a:pt x="0" y="2"/>
                  </a:lnTo>
                  <a:lnTo>
                    <a:pt x="0" y="2"/>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20" name="Freeform 3400"/>
            <p:cNvSpPr>
              <a:spLocks/>
            </p:cNvSpPr>
            <p:nvPr/>
          </p:nvSpPr>
          <p:spPr bwMode="auto">
            <a:xfrm>
              <a:off x="510081" y="4135655"/>
              <a:ext cx="14490" cy="6440"/>
            </a:xfrm>
            <a:custGeom>
              <a:avLst/>
              <a:gdLst>
                <a:gd name="T0" fmla="*/ 0 w 9"/>
                <a:gd name="T1" fmla="*/ 0 h 4"/>
                <a:gd name="T2" fmla="*/ 0 w 9"/>
                <a:gd name="T3" fmla="*/ 2 h 4"/>
                <a:gd name="T4" fmla="*/ 0 w 9"/>
                <a:gd name="T5" fmla="*/ 0 h 4"/>
                <a:gd name="T6" fmla="*/ 9 w 9"/>
                <a:gd name="T7" fmla="*/ 0 h 4"/>
                <a:gd name="T8" fmla="*/ 9 w 9"/>
                <a:gd name="T9" fmla="*/ 2 h 4"/>
                <a:gd name="T10" fmla="*/ 9 w 9"/>
                <a:gd name="T11" fmla="*/ 2 h 4"/>
                <a:gd name="T12" fmla="*/ 7 w 9"/>
                <a:gd name="T13" fmla="*/ 4 h 4"/>
                <a:gd name="T14" fmla="*/ 4 w 9"/>
                <a:gd name="T15" fmla="*/ 2 h 4"/>
                <a:gd name="T16" fmla="*/ 0 w 9"/>
                <a:gd name="T17" fmla="*/ 2 h 4"/>
                <a:gd name="T18" fmla="*/ 0 w 9"/>
                <a:gd name="T19" fmla="*/ 2 h 4"/>
                <a:gd name="T20" fmla="*/ 0 w 9"/>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4">
                  <a:moveTo>
                    <a:pt x="0" y="0"/>
                  </a:moveTo>
                  <a:lnTo>
                    <a:pt x="0" y="2"/>
                  </a:lnTo>
                  <a:lnTo>
                    <a:pt x="0" y="0"/>
                  </a:lnTo>
                  <a:lnTo>
                    <a:pt x="9" y="0"/>
                  </a:lnTo>
                  <a:lnTo>
                    <a:pt x="9" y="2"/>
                  </a:lnTo>
                  <a:lnTo>
                    <a:pt x="9" y="2"/>
                  </a:lnTo>
                  <a:lnTo>
                    <a:pt x="7" y="4"/>
                  </a:lnTo>
                  <a:lnTo>
                    <a:pt x="4" y="2"/>
                  </a:lnTo>
                  <a:lnTo>
                    <a:pt x="0" y="2"/>
                  </a:lnTo>
                  <a:lnTo>
                    <a:pt x="0" y="2"/>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21" name="Freeform 3401"/>
            <p:cNvSpPr>
              <a:spLocks/>
            </p:cNvSpPr>
            <p:nvPr/>
          </p:nvSpPr>
          <p:spPr bwMode="auto">
            <a:xfrm>
              <a:off x="510081" y="4135655"/>
              <a:ext cx="14490" cy="6440"/>
            </a:xfrm>
            <a:custGeom>
              <a:avLst/>
              <a:gdLst>
                <a:gd name="T0" fmla="*/ 0 w 9"/>
                <a:gd name="T1" fmla="*/ 0 h 4"/>
                <a:gd name="T2" fmla="*/ 0 w 9"/>
                <a:gd name="T3" fmla="*/ 2 h 4"/>
                <a:gd name="T4" fmla="*/ 0 w 9"/>
                <a:gd name="T5" fmla="*/ 0 h 4"/>
                <a:gd name="T6" fmla="*/ 9 w 9"/>
                <a:gd name="T7" fmla="*/ 0 h 4"/>
                <a:gd name="T8" fmla="*/ 9 w 9"/>
                <a:gd name="T9" fmla="*/ 2 h 4"/>
                <a:gd name="T10" fmla="*/ 9 w 9"/>
                <a:gd name="T11" fmla="*/ 2 h 4"/>
                <a:gd name="T12" fmla="*/ 7 w 9"/>
                <a:gd name="T13" fmla="*/ 4 h 4"/>
                <a:gd name="T14" fmla="*/ 4 w 9"/>
                <a:gd name="T15" fmla="*/ 2 h 4"/>
                <a:gd name="T16" fmla="*/ 0 w 9"/>
                <a:gd name="T17" fmla="*/ 2 h 4"/>
                <a:gd name="T18" fmla="*/ 0 w 9"/>
                <a:gd name="T19" fmla="*/ 2 h 4"/>
                <a:gd name="T20" fmla="*/ 0 w 9"/>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4">
                  <a:moveTo>
                    <a:pt x="0" y="0"/>
                  </a:moveTo>
                  <a:lnTo>
                    <a:pt x="0" y="2"/>
                  </a:lnTo>
                  <a:lnTo>
                    <a:pt x="0" y="0"/>
                  </a:lnTo>
                  <a:lnTo>
                    <a:pt x="9" y="0"/>
                  </a:lnTo>
                  <a:lnTo>
                    <a:pt x="9" y="2"/>
                  </a:lnTo>
                  <a:lnTo>
                    <a:pt x="9" y="2"/>
                  </a:lnTo>
                  <a:lnTo>
                    <a:pt x="7" y="4"/>
                  </a:lnTo>
                  <a:lnTo>
                    <a:pt x="4" y="2"/>
                  </a:lnTo>
                  <a:lnTo>
                    <a:pt x="0" y="2"/>
                  </a:lnTo>
                  <a:lnTo>
                    <a:pt x="0" y="2"/>
                  </a:lnTo>
                  <a:lnTo>
                    <a:pt x="0"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22" name="Freeform 3402"/>
            <p:cNvSpPr>
              <a:spLocks/>
            </p:cNvSpPr>
            <p:nvPr/>
          </p:nvSpPr>
          <p:spPr bwMode="auto">
            <a:xfrm>
              <a:off x="527791" y="4142095"/>
              <a:ext cx="14490" cy="11270"/>
            </a:xfrm>
            <a:custGeom>
              <a:avLst/>
              <a:gdLst>
                <a:gd name="T0" fmla="*/ 4 w 9"/>
                <a:gd name="T1" fmla="*/ 1 h 7"/>
                <a:gd name="T2" fmla="*/ 4 w 9"/>
                <a:gd name="T3" fmla="*/ 1 h 7"/>
                <a:gd name="T4" fmla="*/ 5 w 9"/>
                <a:gd name="T5" fmla="*/ 0 h 7"/>
                <a:gd name="T6" fmla="*/ 9 w 9"/>
                <a:gd name="T7" fmla="*/ 3 h 7"/>
                <a:gd name="T8" fmla="*/ 9 w 9"/>
                <a:gd name="T9" fmla="*/ 5 h 7"/>
                <a:gd name="T10" fmla="*/ 7 w 9"/>
                <a:gd name="T11" fmla="*/ 7 h 7"/>
                <a:gd name="T12" fmla="*/ 5 w 9"/>
                <a:gd name="T13" fmla="*/ 7 h 7"/>
                <a:gd name="T14" fmla="*/ 4 w 9"/>
                <a:gd name="T15" fmla="*/ 7 h 7"/>
                <a:gd name="T16" fmla="*/ 2 w 9"/>
                <a:gd name="T17" fmla="*/ 3 h 7"/>
                <a:gd name="T18" fmla="*/ 2 w 9"/>
                <a:gd name="T19" fmla="*/ 1 h 7"/>
                <a:gd name="T20" fmla="*/ 0 w 9"/>
                <a:gd name="T21" fmla="*/ 0 h 7"/>
                <a:gd name="T22" fmla="*/ 0 w 9"/>
                <a:gd name="T23" fmla="*/ 0 h 7"/>
                <a:gd name="T24" fmla="*/ 2 w 9"/>
                <a:gd name="T25" fmla="*/ 0 h 7"/>
                <a:gd name="T26" fmla="*/ 4 w 9"/>
                <a:gd name="T2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7">
                  <a:moveTo>
                    <a:pt x="4" y="1"/>
                  </a:moveTo>
                  <a:lnTo>
                    <a:pt x="4" y="1"/>
                  </a:lnTo>
                  <a:lnTo>
                    <a:pt x="5" y="0"/>
                  </a:lnTo>
                  <a:lnTo>
                    <a:pt x="9" y="3"/>
                  </a:lnTo>
                  <a:lnTo>
                    <a:pt x="9" y="5"/>
                  </a:lnTo>
                  <a:lnTo>
                    <a:pt x="7" y="7"/>
                  </a:lnTo>
                  <a:lnTo>
                    <a:pt x="5" y="7"/>
                  </a:lnTo>
                  <a:lnTo>
                    <a:pt x="4" y="7"/>
                  </a:lnTo>
                  <a:lnTo>
                    <a:pt x="2" y="3"/>
                  </a:lnTo>
                  <a:lnTo>
                    <a:pt x="2" y="1"/>
                  </a:lnTo>
                  <a:lnTo>
                    <a:pt x="0" y="0"/>
                  </a:lnTo>
                  <a:lnTo>
                    <a:pt x="0" y="0"/>
                  </a:lnTo>
                  <a:lnTo>
                    <a:pt x="2" y="0"/>
                  </a:lnTo>
                  <a:lnTo>
                    <a:pt x="4" y="1"/>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23" name="Freeform 3403"/>
            <p:cNvSpPr>
              <a:spLocks/>
            </p:cNvSpPr>
            <p:nvPr/>
          </p:nvSpPr>
          <p:spPr bwMode="auto">
            <a:xfrm>
              <a:off x="527791" y="4142095"/>
              <a:ext cx="14490" cy="11270"/>
            </a:xfrm>
            <a:custGeom>
              <a:avLst/>
              <a:gdLst>
                <a:gd name="T0" fmla="*/ 4 w 9"/>
                <a:gd name="T1" fmla="*/ 1 h 7"/>
                <a:gd name="T2" fmla="*/ 4 w 9"/>
                <a:gd name="T3" fmla="*/ 1 h 7"/>
                <a:gd name="T4" fmla="*/ 5 w 9"/>
                <a:gd name="T5" fmla="*/ 0 h 7"/>
                <a:gd name="T6" fmla="*/ 9 w 9"/>
                <a:gd name="T7" fmla="*/ 3 h 7"/>
                <a:gd name="T8" fmla="*/ 9 w 9"/>
                <a:gd name="T9" fmla="*/ 5 h 7"/>
                <a:gd name="T10" fmla="*/ 7 w 9"/>
                <a:gd name="T11" fmla="*/ 7 h 7"/>
                <a:gd name="T12" fmla="*/ 5 w 9"/>
                <a:gd name="T13" fmla="*/ 7 h 7"/>
                <a:gd name="T14" fmla="*/ 4 w 9"/>
                <a:gd name="T15" fmla="*/ 7 h 7"/>
                <a:gd name="T16" fmla="*/ 2 w 9"/>
                <a:gd name="T17" fmla="*/ 3 h 7"/>
                <a:gd name="T18" fmla="*/ 2 w 9"/>
                <a:gd name="T19" fmla="*/ 1 h 7"/>
                <a:gd name="T20" fmla="*/ 0 w 9"/>
                <a:gd name="T21" fmla="*/ 0 h 7"/>
                <a:gd name="T22" fmla="*/ 0 w 9"/>
                <a:gd name="T23" fmla="*/ 0 h 7"/>
                <a:gd name="T24" fmla="*/ 2 w 9"/>
                <a:gd name="T25" fmla="*/ 0 h 7"/>
                <a:gd name="T26" fmla="*/ 4 w 9"/>
                <a:gd name="T27"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 h="7">
                  <a:moveTo>
                    <a:pt x="4" y="1"/>
                  </a:moveTo>
                  <a:lnTo>
                    <a:pt x="4" y="1"/>
                  </a:lnTo>
                  <a:lnTo>
                    <a:pt x="5" y="0"/>
                  </a:lnTo>
                  <a:lnTo>
                    <a:pt x="9" y="3"/>
                  </a:lnTo>
                  <a:lnTo>
                    <a:pt x="9" y="5"/>
                  </a:lnTo>
                  <a:lnTo>
                    <a:pt x="7" y="7"/>
                  </a:lnTo>
                  <a:lnTo>
                    <a:pt x="5" y="7"/>
                  </a:lnTo>
                  <a:lnTo>
                    <a:pt x="4" y="7"/>
                  </a:lnTo>
                  <a:lnTo>
                    <a:pt x="2" y="3"/>
                  </a:lnTo>
                  <a:lnTo>
                    <a:pt x="2" y="1"/>
                  </a:lnTo>
                  <a:lnTo>
                    <a:pt x="0" y="0"/>
                  </a:lnTo>
                  <a:lnTo>
                    <a:pt x="0" y="0"/>
                  </a:lnTo>
                  <a:lnTo>
                    <a:pt x="2" y="0"/>
                  </a:lnTo>
                  <a:lnTo>
                    <a:pt x="4" y="1"/>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24" name="Freeform 3404"/>
            <p:cNvSpPr>
              <a:spLocks/>
            </p:cNvSpPr>
            <p:nvPr/>
          </p:nvSpPr>
          <p:spPr bwMode="auto">
            <a:xfrm>
              <a:off x="545501" y="4164635"/>
              <a:ext cx="28980" cy="33810"/>
            </a:xfrm>
            <a:custGeom>
              <a:avLst/>
              <a:gdLst>
                <a:gd name="T0" fmla="*/ 2 w 18"/>
                <a:gd name="T1" fmla="*/ 0 h 21"/>
                <a:gd name="T2" fmla="*/ 2 w 18"/>
                <a:gd name="T3" fmla="*/ 0 h 21"/>
                <a:gd name="T4" fmla="*/ 2 w 18"/>
                <a:gd name="T5" fmla="*/ 0 h 21"/>
                <a:gd name="T6" fmla="*/ 3 w 18"/>
                <a:gd name="T7" fmla="*/ 0 h 21"/>
                <a:gd name="T8" fmla="*/ 3 w 18"/>
                <a:gd name="T9" fmla="*/ 0 h 21"/>
                <a:gd name="T10" fmla="*/ 5 w 18"/>
                <a:gd name="T11" fmla="*/ 0 h 21"/>
                <a:gd name="T12" fmla="*/ 10 w 18"/>
                <a:gd name="T13" fmla="*/ 3 h 21"/>
                <a:gd name="T14" fmla="*/ 12 w 18"/>
                <a:gd name="T15" fmla="*/ 3 h 21"/>
                <a:gd name="T16" fmla="*/ 14 w 18"/>
                <a:gd name="T17" fmla="*/ 5 h 21"/>
                <a:gd name="T18" fmla="*/ 16 w 18"/>
                <a:gd name="T19" fmla="*/ 7 h 21"/>
                <a:gd name="T20" fmla="*/ 16 w 18"/>
                <a:gd name="T21" fmla="*/ 9 h 21"/>
                <a:gd name="T22" fmla="*/ 18 w 18"/>
                <a:gd name="T23" fmla="*/ 11 h 21"/>
                <a:gd name="T24" fmla="*/ 18 w 18"/>
                <a:gd name="T25" fmla="*/ 12 h 21"/>
                <a:gd name="T26" fmla="*/ 18 w 18"/>
                <a:gd name="T27" fmla="*/ 14 h 21"/>
                <a:gd name="T28" fmla="*/ 12 w 18"/>
                <a:gd name="T29" fmla="*/ 14 h 21"/>
                <a:gd name="T30" fmla="*/ 10 w 18"/>
                <a:gd name="T31" fmla="*/ 14 h 21"/>
                <a:gd name="T32" fmla="*/ 7 w 18"/>
                <a:gd name="T33" fmla="*/ 18 h 21"/>
                <a:gd name="T34" fmla="*/ 7 w 18"/>
                <a:gd name="T35" fmla="*/ 19 h 21"/>
                <a:gd name="T36" fmla="*/ 5 w 18"/>
                <a:gd name="T37" fmla="*/ 21 h 21"/>
                <a:gd name="T38" fmla="*/ 3 w 18"/>
                <a:gd name="T39" fmla="*/ 19 h 21"/>
                <a:gd name="T40" fmla="*/ 2 w 18"/>
                <a:gd name="T41" fmla="*/ 18 h 21"/>
                <a:gd name="T42" fmla="*/ 0 w 18"/>
                <a:gd name="T43" fmla="*/ 7 h 21"/>
                <a:gd name="T44" fmla="*/ 2 w 18"/>
                <a:gd name="T45" fmla="*/ 3 h 21"/>
                <a:gd name="T46" fmla="*/ 2 w 18"/>
                <a:gd name="T47" fmla="*/ 2 h 21"/>
                <a:gd name="T48" fmla="*/ 2 w 18"/>
                <a:gd name="T4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1">
                  <a:moveTo>
                    <a:pt x="2" y="0"/>
                  </a:moveTo>
                  <a:lnTo>
                    <a:pt x="2" y="0"/>
                  </a:lnTo>
                  <a:lnTo>
                    <a:pt x="2" y="0"/>
                  </a:lnTo>
                  <a:lnTo>
                    <a:pt x="3" y="0"/>
                  </a:lnTo>
                  <a:lnTo>
                    <a:pt x="3" y="0"/>
                  </a:lnTo>
                  <a:lnTo>
                    <a:pt x="5" y="0"/>
                  </a:lnTo>
                  <a:lnTo>
                    <a:pt x="10" y="3"/>
                  </a:lnTo>
                  <a:lnTo>
                    <a:pt x="12" y="3"/>
                  </a:lnTo>
                  <a:lnTo>
                    <a:pt x="14" y="5"/>
                  </a:lnTo>
                  <a:lnTo>
                    <a:pt x="16" y="7"/>
                  </a:lnTo>
                  <a:lnTo>
                    <a:pt x="16" y="9"/>
                  </a:lnTo>
                  <a:lnTo>
                    <a:pt x="18" y="11"/>
                  </a:lnTo>
                  <a:lnTo>
                    <a:pt x="18" y="12"/>
                  </a:lnTo>
                  <a:lnTo>
                    <a:pt x="18" y="14"/>
                  </a:lnTo>
                  <a:lnTo>
                    <a:pt x="12" y="14"/>
                  </a:lnTo>
                  <a:lnTo>
                    <a:pt x="10" y="14"/>
                  </a:lnTo>
                  <a:lnTo>
                    <a:pt x="7" y="18"/>
                  </a:lnTo>
                  <a:lnTo>
                    <a:pt x="7" y="19"/>
                  </a:lnTo>
                  <a:lnTo>
                    <a:pt x="5" y="21"/>
                  </a:lnTo>
                  <a:lnTo>
                    <a:pt x="3" y="19"/>
                  </a:lnTo>
                  <a:lnTo>
                    <a:pt x="2" y="18"/>
                  </a:lnTo>
                  <a:lnTo>
                    <a:pt x="0" y="7"/>
                  </a:lnTo>
                  <a:lnTo>
                    <a:pt x="2" y="3"/>
                  </a:lnTo>
                  <a:lnTo>
                    <a:pt x="2" y="2"/>
                  </a:lnTo>
                  <a:lnTo>
                    <a:pt x="2"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25" name="Freeform 3405"/>
            <p:cNvSpPr>
              <a:spLocks/>
            </p:cNvSpPr>
            <p:nvPr/>
          </p:nvSpPr>
          <p:spPr bwMode="auto">
            <a:xfrm>
              <a:off x="545501" y="4164635"/>
              <a:ext cx="28980" cy="33810"/>
            </a:xfrm>
            <a:custGeom>
              <a:avLst/>
              <a:gdLst>
                <a:gd name="T0" fmla="*/ 2 w 18"/>
                <a:gd name="T1" fmla="*/ 0 h 21"/>
                <a:gd name="T2" fmla="*/ 2 w 18"/>
                <a:gd name="T3" fmla="*/ 0 h 21"/>
                <a:gd name="T4" fmla="*/ 2 w 18"/>
                <a:gd name="T5" fmla="*/ 0 h 21"/>
                <a:gd name="T6" fmla="*/ 3 w 18"/>
                <a:gd name="T7" fmla="*/ 0 h 21"/>
                <a:gd name="T8" fmla="*/ 3 w 18"/>
                <a:gd name="T9" fmla="*/ 0 h 21"/>
                <a:gd name="T10" fmla="*/ 5 w 18"/>
                <a:gd name="T11" fmla="*/ 0 h 21"/>
                <a:gd name="T12" fmla="*/ 10 w 18"/>
                <a:gd name="T13" fmla="*/ 3 h 21"/>
                <a:gd name="T14" fmla="*/ 12 w 18"/>
                <a:gd name="T15" fmla="*/ 3 h 21"/>
                <a:gd name="T16" fmla="*/ 14 w 18"/>
                <a:gd name="T17" fmla="*/ 5 h 21"/>
                <a:gd name="T18" fmla="*/ 16 w 18"/>
                <a:gd name="T19" fmla="*/ 7 h 21"/>
                <a:gd name="T20" fmla="*/ 16 w 18"/>
                <a:gd name="T21" fmla="*/ 9 h 21"/>
                <a:gd name="T22" fmla="*/ 18 w 18"/>
                <a:gd name="T23" fmla="*/ 11 h 21"/>
                <a:gd name="T24" fmla="*/ 18 w 18"/>
                <a:gd name="T25" fmla="*/ 12 h 21"/>
                <a:gd name="T26" fmla="*/ 18 w 18"/>
                <a:gd name="T27" fmla="*/ 14 h 21"/>
                <a:gd name="T28" fmla="*/ 12 w 18"/>
                <a:gd name="T29" fmla="*/ 14 h 21"/>
                <a:gd name="T30" fmla="*/ 10 w 18"/>
                <a:gd name="T31" fmla="*/ 14 h 21"/>
                <a:gd name="T32" fmla="*/ 7 w 18"/>
                <a:gd name="T33" fmla="*/ 18 h 21"/>
                <a:gd name="T34" fmla="*/ 7 w 18"/>
                <a:gd name="T35" fmla="*/ 19 h 21"/>
                <a:gd name="T36" fmla="*/ 5 w 18"/>
                <a:gd name="T37" fmla="*/ 21 h 21"/>
                <a:gd name="T38" fmla="*/ 3 w 18"/>
                <a:gd name="T39" fmla="*/ 19 h 21"/>
                <a:gd name="T40" fmla="*/ 2 w 18"/>
                <a:gd name="T41" fmla="*/ 18 h 21"/>
                <a:gd name="T42" fmla="*/ 0 w 18"/>
                <a:gd name="T43" fmla="*/ 7 h 21"/>
                <a:gd name="T44" fmla="*/ 2 w 18"/>
                <a:gd name="T45" fmla="*/ 3 h 21"/>
                <a:gd name="T46" fmla="*/ 2 w 18"/>
                <a:gd name="T47" fmla="*/ 2 h 21"/>
                <a:gd name="T48" fmla="*/ 2 w 18"/>
                <a:gd name="T4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1">
                  <a:moveTo>
                    <a:pt x="2" y="0"/>
                  </a:moveTo>
                  <a:lnTo>
                    <a:pt x="2" y="0"/>
                  </a:lnTo>
                  <a:lnTo>
                    <a:pt x="2" y="0"/>
                  </a:lnTo>
                  <a:lnTo>
                    <a:pt x="3" y="0"/>
                  </a:lnTo>
                  <a:lnTo>
                    <a:pt x="3" y="0"/>
                  </a:lnTo>
                  <a:lnTo>
                    <a:pt x="5" y="0"/>
                  </a:lnTo>
                  <a:lnTo>
                    <a:pt x="10" y="3"/>
                  </a:lnTo>
                  <a:lnTo>
                    <a:pt x="12" y="3"/>
                  </a:lnTo>
                  <a:lnTo>
                    <a:pt x="14" y="5"/>
                  </a:lnTo>
                  <a:lnTo>
                    <a:pt x="16" y="7"/>
                  </a:lnTo>
                  <a:lnTo>
                    <a:pt x="16" y="9"/>
                  </a:lnTo>
                  <a:lnTo>
                    <a:pt x="18" y="11"/>
                  </a:lnTo>
                  <a:lnTo>
                    <a:pt x="18" y="12"/>
                  </a:lnTo>
                  <a:lnTo>
                    <a:pt x="18" y="14"/>
                  </a:lnTo>
                  <a:lnTo>
                    <a:pt x="12" y="14"/>
                  </a:lnTo>
                  <a:lnTo>
                    <a:pt x="10" y="14"/>
                  </a:lnTo>
                  <a:lnTo>
                    <a:pt x="7" y="18"/>
                  </a:lnTo>
                  <a:lnTo>
                    <a:pt x="7" y="19"/>
                  </a:lnTo>
                  <a:lnTo>
                    <a:pt x="5" y="21"/>
                  </a:lnTo>
                  <a:lnTo>
                    <a:pt x="3" y="19"/>
                  </a:lnTo>
                  <a:lnTo>
                    <a:pt x="2" y="18"/>
                  </a:lnTo>
                  <a:lnTo>
                    <a:pt x="0" y="7"/>
                  </a:lnTo>
                  <a:lnTo>
                    <a:pt x="2" y="3"/>
                  </a:lnTo>
                  <a:lnTo>
                    <a:pt x="2" y="2"/>
                  </a:lnTo>
                  <a:lnTo>
                    <a:pt x="2"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26" name="Freeform 3406"/>
            <p:cNvSpPr>
              <a:spLocks/>
            </p:cNvSpPr>
            <p:nvPr/>
          </p:nvSpPr>
          <p:spPr bwMode="auto">
            <a:xfrm>
              <a:off x="516521" y="4143705"/>
              <a:ext cx="4830" cy="3220"/>
            </a:xfrm>
            <a:custGeom>
              <a:avLst/>
              <a:gdLst>
                <a:gd name="T0" fmla="*/ 2 w 3"/>
                <a:gd name="T1" fmla="*/ 0 h 2"/>
                <a:gd name="T2" fmla="*/ 0 w 3"/>
                <a:gd name="T3" fmla="*/ 0 h 2"/>
                <a:gd name="T4" fmla="*/ 3 w 3"/>
                <a:gd name="T5" fmla="*/ 0 h 2"/>
                <a:gd name="T6" fmla="*/ 3 w 3"/>
                <a:gd name="T7" fmla="*/ 2 h 2"/>
                <a:gd name="T8" fmla="*/ 3 w 3"/>
                <a:gd name="T9" fmla="*/ 2 h 2"/>
                <a:gd name="T10" fmla="*/ 3 w 3"/>
                <a:gd name="T11" fmla="*/ 2 h 2"/>
                <a:gd name="T12" fmla="*/ 2 w 3"/>
                <a:gd name="T13" fmla="*/ 2 h 2"/>
                <a:gd name="T14" fmla="*/ 2 w 3"/>
                <a:gd name="T15" fmla="*/ 0 h 2"/>
                <a:gd name="T16" fmla="*/ 2 w 3"/>
                <a:gd name="T17" fmla="*/ 2 h 2"/>
                <a:gd name="T18" fmla="*/ 2 w 3"/>
                <a:gd name="T19" fmla="*/ 2 h 2"/>
                <a:gd name="T20" fmla="*/ 2 w 3"/>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2" y="0"/>
                  </a:moveTo>
                  <a:lnTo>
                    <a:pt x="0" y="0"/>
                  </a:lnTo>
                  <a:lnTo>
                    <a:pt x="3" y="0"/>
                  </a:lnTo>
                  <a:lnTo>
                    <a:pt x="3" y="2"/>
                  </a:lnTo>
                  <a:lnTo>
                    <a:pt x="3" y="2"/>
                  </a:lnTo>
                  <a:lnTo>
                    <a:pt x="3" y="2"/>
                  </a:lnTo>
                  <a:lnTo>
                    <a:pt x="2" y="2"/>
                  </a:lnTo>
                  <a:lnTo>
                    <a:pt x="2" y="0"/>
                  </a:lnTo>
                  <a:lnTo>
                    <a:pt x="2" y="2"/>
                  </a:lnTo>
                  <a:lnTo>
                    <a:pt x="2" y="2"/>
                  </a:lnTo>
                  <a:lnTo>
                    <a:pt x="2"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27" name="Freeform 3407"/>
            <p:cNvSpPr>
              <a:spLocks/>
            </p:cNvSpPr>
            <p:nvPr/>
          </p:nvSpPr>
          <p:spPr bwMode="auto">
            <a:xfrm>
              <a:off x="516521" y="4143705"/>
              <a:ext cx="4830" cy="3220"/>
            </a:xfrm>
            <a:custGeom>
              <a:avLst/>
              <a:gdLst>
                <a:gd name="T0" fmla="*/ 2 w 3"/>
                <a:gd name="T1" fmla="*/ 0 h 2"/>
                <a:gd name="T2" fmla="*/ 0 w 3"/>
                <a:gd name="T3" fmla="*/ 0 h 2"/>
                <a:gd name="T4" fmla="*/ 3 w 3"/>
                <a:gd name="T5" fmla="*/ 0 h 2"/>
                <a:gd name="T6" fmla="*/ 3 w 3"/>
                <a:gd name="T7" fmla="*/ 2 h 2"/>
                <a:gd name="T8" fmla="*/ 3 w 3"/>
                <a:gd name="T9" fmla="*/ 2 h 2"/>
                <a:gd name="T10" fmla="*/ 3 w 3"/>
                <a:gd name="T11" fmla="*/ 2 h 2"/>
                <a:gd name="T12" fmla="*/ 2 w 3"/>
                <a:gd name="T13" fmla="*/ 2 h 2"/>
                <a:gd name="T14" fmla="*/ 2 w 3"/>
                <a:gd name="T15" fmla="*/ 0 h 2"/>
                <a:gd name="T16" fmla="*/ 2 w 3"/>
                <a:gd name="T17" fmla="*/ 2 h 2"/>
                <a:gd name="T18" fmla="*/ 2 w 3"/>
                <a:gd name="T19" fmla="*/ 2 h 2"/>
                <a:gd name="T20" fmla="*/ 2 w 3"/>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2" y="0"/>
                  </a:moveTo>
                  <a:lnTo>
                    <a:pt x="0" y="0"/>
                  </a:lnTo>
                  <a:lnTo>
                    <a:pt x="3" y="0"/>
                  </a:lnTo>
                  <a:lnTo>
                    <a:pt x="3" y="2"/>
                  </a:lnTo>
                  <a:lnTo>
                    <a:pt x="3" y="2"/>
                  </a:lnTo>
                  <a:lnTo>
                    <a:pt x="3" y="2"/>
                  </a:lnTo>
                  <a:lnTo>
                    <a:pt x="2" y="2"/>
                  </a:lnTo>
                  <a:lnTo>
                    <a:pt x="2" y="0"/>
                  </a:lnTo>
                  <a:lnTo>
                    <a:pt x="2" y="2"/>
                  </a:lnTo>
                  <a:lnTo>
                    <a:pt x="2" y="2"/>
                  </a:lnTo>
                  <a:lnTo>
                    <a:pt x="2"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28" name="Freeform 3408"/>
            <p:cNvSpPr>
              <a:spLocks/>
            </p:cNvSpPr>
            <p:nvPr/>
          </p:nvSpPr>
          <p:spPr bwMode="auto">
            <a:xfrm>
              <a:off x="1468019" y="3758920"/>
              <a:ext cx="4830" cy="6440"/>
            </a:xfrm>
            <a:custGeom>
              <a:avLst/>
              <a:gdLst>
                <a:gd name="T0" fmla="*/ 0 w 3"/>
                <a:gd name="T1" fmla="*/ 2 h 4"/>
                <a:gd name="T2" fmla="*/ 0 w 3"/>
                <a:gd name="T3" fmla="*/ 2 h 4"/>
                <a:gd name="T4" fmla="*/ 2 w 3"/>
                <a:gd name="T5" fmla="*/ 0 h 4"/>
                <a:gd name="T6" fmla="*/ 3 w 3"/>
                <a:gd name="T7" fmla="*/ 2 h 4"/>
                <a:gd name="T8" fmla="*/ 3 w 3"/>
                <a:gd name="T9" fmla="*/ 4 h 4"/>
                <a:gd name="T10" fmla="*/ 3 w 3"/>
                <a:gd name="T11" fmla="*/ 4 h 4"/>
                <a:gd name="T12" fmla="*/ 2 w 3"/>
                <a:gd name="T13" fmla="*/ 4 h 4"/>
                <a:gd name="T14" fmla="*/ 0 w 3"/>
                <a:gd name="T15" fmla="*/ 2 h 4"/>
                <a:gd name="T16" fmla="*/ 2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0" y="2"/>
                  </a:lnTo>
                  <a:lnTo>
                    <a:pt x="2" y="0"/>
                  </a:lnTo>
                  <a:lnTo>
                    <a:pt x="3" y="2"/>
                  </a:lnTo>
                  <a:lnTo>
                    <a:pt x="3" y="4"/>
                  </a:lnTo>
                  <a:lnTo>
                    <a:pt x="3" y="4"/>
                  </a:lnTo>
                  <a:lnTo>
                    <a:pt x="2" y="4"/>
                  </a:lnTo>
                  <a:lnTo>
                    <a:pt x="0" y="2"/>
                  </a:lnTo>
                  <a:lnTo>
                    <a:pt x="2" y="4"/>
                  </a:lnTo>
                  <a:lnTo>
                    <a:pt x="0" y="2"/>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30" name="Freeform 3409"/>
            <p:cNvSpPr>
              <a:spLocks/>
            </p:cNvSpPr>
            <p:nvPr/>
          </p:nvSpPr>
          <p:spPr bwMode="auto">
            <a:xfrm>
              <a:off x="1468019" y="3758920"/>
              <a:ext cx="4830" cy="6440"/>
            </a:xfrm>
            <a:custGeom>
              <a:avLst/>
              <a:gdLst>
                <a:gd name="T0" fmla="*/ 0 w 3"/>
                <a:gd name="T1" fmla="*/ 2 h 4"/>
                <a:gd name="T2" fmla="*/ 0 w 3"/>
                <a:gd name="T3" fmla="*/ 2 h 4"/>
                <a:gd name="T4" fmla="*/ 2 w 3"/>
                <a:gd name="T5" fmla="*/ 0 h 4"/>
                <a:gd name="T6" fmla="*/ 3 w 3"/>
                <a:gd name="T7" fmla="*/ 2 h 4"/>
                <a:gd name="T8" fmla="*/ 3 w 3"/>
                <a:gd name="T9" fmla="*/ 4 h 4"/>
                <a:gd name="T10" fmla="*/ 3 w 3"/>
                <a:gd name="T11" fmla="*/ 4 h 4"/>
                <a:gd name="T12" fmla="*/ 2 w 3"/>
                <a:gd name="T13" fmla="*/ 4 h 4"/>
                <a:gd name="T14" fmla="*/ 0 w 3"/>
                <a:gd name="T15" fmla="*/ 2 h 4"/>
                <a:gd name="T16" fmla="*/ 2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0" y="2"/>
                  </a:lnTo>
                  <a:lnTo>
                    <a:pt x="2" y="0"/>
                  </a:lnTo>
                  <a:lnTo>
                    <a:pt x="3" y="2"/>
                  </a:lnTo>
                  <a:lnTo>
                    <a:pt x="3" y="4"/>
                  </a:lnTo>
                  <a:lnTo>
                    <a:pt x="3" y="4"/>
                  </a:lnTo>
                  <a:lnTo>
                    <a:pt x="2" y="4"/>
                  </a:lnTo>
                  <a:lnTo>
                    <a:pt x="0" y="2"/>
                  </a:lnTo>
                  <a:lnTo>
                    <a:pt x="2" y="4"/>
                  </a:lnTo>
                  <a:lnTo>
                    <a:pt x="0" y="2"/>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31" name="Freeform 3410"/>
            <p:cNvSpPr>
              <a:spLocks/>
            </p:cNvSpPr>
            <p:nvPr/>
          </p:nvSpPr>
          <p:spPr bwMode="auto">
            <a:xfrm>
              <a:off x="1476069" y="3758920"/>
              <a:ext cx="9660" cy="6440"/>
            </a:xfrm>
            <a:custGeom>
              <a:avLst/>
              <a:gdLst>
                <a:gd name="T0" fmla="*/ 0 w 6"/>
                <a:gd name="T1" fmla="*/ 0 h 4"/>
                <a:gd name="T2" fmla="*/ 2 w 6"/>
                <a:gd name="T3" fmla="*/ 2 h 4"/>
                <a:gd name="T4" fmla="*/ 6 w 6"/>
                <a:gd name="T5" fmla="*/ 0 h 4"/>
                <a:gd name="T6" fmla="*/ 6 w 6"/>
                <a:gd name="T7" fmla="*/ 2 h 4"/>
                <a:gd name="T8" fmla="*/ 4 w 6"/>
                <a:gd name="T9" fmla="*/ 2 h 4"/>
                <a:gd name="T10" fmla="*/ 2 w 6"/>
                <a:gd name="T11" fmla="*/ 4 h 4"/>
                <a:gd name="T12" fmla="*/ 0 w 6"/>
                <a:gd name="T13" fmla="*/ 2 h 4"/>
                <a:gd name="T14" fmla="*/ 0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0"/>
                  </a:moveTo>
                  <a:lnTo>
                    <a:pt x="2" y="2"/>
                  </a:lnTo>
                  <a:lnTo>
                    <a:pt x="6" y="0"/>
                  </a:lnTo>
                  <a:lnTo>
                    <a:pt x="6" y="2"/>
                  </a:lnTo>
                  <a:lnTo>
                    <a:pt x="4" y="2"/>
                  </a:lnTo>
                  <a:lnTo>
                    <a:pt x="2" y="4"/>
                  </a:lnTo>
                  <a:lnTo>
                    <a:pt x="0" y="2"/>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32" name="Freeform 3411"/>
            <p:cNvSpPr>
              <a:spLocks/>
            </p:cNvSpPr>
            <p:nvPr/>
          </p:nvSpPr>
          <p:spPr bwMode="auto">
            <a:xfrm>
              <a:off x="1476069" y="3758920"/>
              <a:ext cx="9660" cy="6440"/>
            </a:xfrm>
            <a:custGeom>
              <a:avLst/>
              <a:gdLst>
                <a:gd name="T0" fmla="*/ 0 w 6"/>
                <a:gd name="T1" fmla="*/ 0 h 4"/>
                <a:gd name="T2" fmla="*/ 2 w 6"/>
                <a:gd name="T3" fmla="*/ 2 h 4"/>
                <a:gd name="T4" fmla="*/ 6 w 6"/>
                <a:gd name="T5" fmla="*/ 0 h 4"/>
                <a:gd name="T6" fmla="*/ 6 w 6"/>
                <a:gd name="T7" fmla="*/ 2 h 4"/>
                <a:gd name="T8" fmla="*/ 4 w 6"/>
                <a:gd name="T9" fmla="*/ 2 h 4"/>
                <a:gd name="T10" fmla="*/ 2 w 6"/>
                <a:gd name="T11" fmla="*/ 4 h 4"/>
                <a:gd name="T12" fmla="*/ 0 w 6"/>
                <a:gd name="T13" fmla="*/ 2 h 4"/>
                <a:gd name="T14" fmla="*/ 0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0"/>
                  </a:moveTo>
                  <a:lnTo>
                    <a:pt x="2" y="2"/>
                  </a:lnTo>
                  <a:lnTo>
                    <a:pt x="6" y="0"/>
                  </a:lnTo>
                  <a:lnTo>
                    <a:pt x="6" y="2"/>
                  </a:lnTo>
                  <a:lnTo>
                    <a:pt x="4" y="2"/>
                  </a:lnTo>
                  <a:lnTo>
                    <a:pt x="2" y="4"/>
                  </a:lnTo>
                  <a:lnTo>
                    <a:pt x="0" y="2"/>
                  </a:lnTo>
                  <a:lnTo>
                    <a:pt x="0"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33" name="Freeform 3412"/>
            <p:cNvSpPr>
              <a:spLocks/>
            </p:cNvSpPr>
            <p:nvPr/>
          </p:nvSpPr>
          <p:spPr bwMode="auto">
            <a:xfrm>
              <a:off x="1511488" y="3779850"/>
              <a:ext cx="4830" cy="1610"/>
            </a:xfrm>
            <a:custGeom>
              <a:avLst/>
              <a:gdLst>
                <a:gd name="T0" fmla="*/ 0 w 3"/>
                <a:gd name="T1" fmla="*/ 0 h 1"/>
                <a:gd name="T2" fmla="*/ 0 w 3"/>
                <a:gd name="T3" fmla="*/ 0 h 1"/>
                <a:gd name="T4" fmla="*/ 0 w 3"/>
                <a:gd name="T5" fmla="*/ 0 h 1"/>
                <a:gd name="T6" fmla="*/ 1 w 3"/>
                <a:gd name="T7" fmla="*/ 0 h 1"/>
                <a:gd name="T8" fmla="*/ 1 w 3"/>
                <a:gd name="T9" fmla="*/ 1 h 1"/>
                <a:gd name="T10" fmla="*/ 3 w 3"/>
                <a:gd name="T11" fmla="*/ 1 h 1"/>
                <a:gd name="T12" fmla="*/ 3 w 3"/>
                <a:gd name="T13" fmla="*/ 1 h 1"/>
                <a:gd name="T14" fmla="*/ 1 w 3"/>
                <a:gd name="T15" fmla="*/ 1 h 1"/>
                <a:gd name="T16" fmla="*/ 1 w 3"/>
                <a:gd name="T17" fmla="*/ 1 h 1"/>
                <a:gd name="T18" fmla="*/ 1 w 3"/>
                <a:gd name="T19" fmla="*/ 0 h 1"/>
                <a:gd name="T20" fmla="*/ 0 w 3"/>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
                  <a:moveTo>
                    <a:pt x="0" y="0"/>
                  </a:moveTo>
                  <a:lnTo>
                    <a:pt x="0" y="0"/>
                  </a:lnTo>
                  <a:lnTo>
                    <a:pt x="0" y="0"/>
                  </a:lnTo>
                  <a:lnTo>
                    <a:pt x="1" y="0"/>
                  </a:lnTo>
                  <a:lnTo>
                    <a:pt x="1" y="1"/>
                  </a:lnTo>
                  <a:lnTo>
                    <a:pt x="3" y="1"/>
                  </a:lnTo>
                  <a:lnTo>
                    <a:pt x="3" y="1"/>
                  </a:lnTo>
                  <a:lnTo>
                    <a:pt x="1" y="1"/>
                  </a:lnTo>
                  <a:lnTo>
                    <a:pt x="1" y="1"/>
                  </a:lnTo>
                  <a:lnTo>
                    <a:pt x="1" y="0"/>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34" name="Freeform 3413"/>
            <p:cNvSpPr>
              <a:spLocks/>
            </p:cNvSpPr>
            <p:nvPr/>
          </p:nvSpPr>
          <p:spPr bwMode="auto">
            <a:xfrm>
              <a:off x="1511488" y="3779850"/>
              <a:ext cx="4830" cy="1610"/>
            </a:xfrm>
            <a:custGeom>
              <a:avLst/>
              <a:gdLst>
                <a:gd name="T0" fmla="*/ 0 w 3"/>
                <a:gd name="T1" fmla="*/ 0 h 1"/>
                <a:gd name="T2" fmla="*/ 0 w 3"/>
                <a:gd name="T3" fmla="*/ 0 h 1"/>
                <a:gd name="T4" fmla="*/ 0 w 3"/>
                <a:gd name="T5" fmla="*/ 0 h 1"/>
                <a:gd name="T6" fmla="*/ 1 w 3"/>
                <a:gd name="T7" fmla="*/ 0 h 1"/>
                <a:gd name="T8" fmla="*/ 1 w 3"/>
                <a:gd name="T9" fmla="*/ 1 h 1"/>
                <a:gd name="T10" fmla="*/ 3 w 3"/>
                <a:gd name="T11" fmla="*/ 1 h 1"/>
                <a:gd name="T12" fmla="*/ 3 w 3"/>
                <a:gd name="T13" fmla="*/ 1 h 1"/>
                <a:gd name="T14" fmla="*/ 1 w 3"/>
                <a:gd name="T15" fmla="*/ 1 h 1"/>
                <a:gd name="T16" fmla="*/ 1 w 3"/>
                <a:gd name="T17" fmla="*/ 1 h 1"/>
                <a:gd name="T18" fmla="*/ 1 w 3"/>
                <a:gd name="T19" fmla="*/ 0 h 1"/>
                <a:gd name="T20" fmla="*/ 0 w 3"/>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
                  <a:moveTo>
                    <a:pt x="0" y="0"/>
                  </a:moveTo>
                  <a:lnTo>
                    <a:pt x="0" y="0"/>
                  </a:lnTo>
                  <a:lnTo>
                    <a:pt x="0" y="0"/>
                  </a:lnTo>
                  <a:lnTo>
                    <a:pt x="1" y="0"/>
                  </a:lnTo>
                  <a:lnTo>
                    <a:pt x="1" y="1"/>
                  </a:lnTo>
                  <a:lnTo>
                    <a:pt x="3" y="1"/>
                  </a:lnTo>
                  <a:lnTo>
                    <a:pt x="3" y="1"/>
                  </a:lnTo>
                  <a:lnTo>
                    <a:pt x="1" y="1"/>
                  </a:lnTo>
                  <a:lnTo>
                    <a:pt x="1" y="1"/>
                  </a:lnTo>
                  <a:lnTo>
                    <a:pt x="1" y="0"/>
                  </a:lnTo>
                  <a:lnTo>
                    <a:pt x="0"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35" name="Freeform 3414"/>
            <p:cNvSpPr>
              <a:spLocks/>
            </p:cNvSpPr>
            <p:nvPr/>
          </p:nvSpPr>
          <p:spPr bwMode="auto">
            <a:xfrm>
              <a:off x="1508268" y="3791120"/>
              <a:ext cx="8050" cy="8050"/>
            </a:xfrm>
            <a:custGeom>
              <a:avLst/>
              <a:gdLst>
                <a:gd name="T0" fmla="*/ 0 w 5"/>
                <a:gd name="T1" fmla="*/ 0 h 5"/>
                <a:gd name="T2" fmla="*/ 2 w 5"/>
                <a:gd name="T3" fmla="*/ 0 h 5"/>
                <a:gd name="T4" fmla="*/ 2 w 5"/>
                <a:gd name="T5" fmla="*/ 0 h 5"/>
                <a:gd name="T6" fmla="*/ 2 w 5"/>
                <a:gd name="T7" fmla="*/ 3 h 5"/>
                <a:gd name="T8" fmla="*/ 3 w 5"/>
                <a:gd name="T9" fmla="*/ 3 h 5"/>
                <a:gd name="T10" fmla="*/ 5 w 5"/>
                <a:gd name="T11" fmla="*/ 5 h 5"/>
                <a:gd name="T12" fmla="*/ 3 w 5"/>
                <a:gd name="T13" fmla="*/ 5 h 5"/>
                <a:gd name="T14" fmla="*/ 2 w 5"/>
                <a:gd name="T15" fmla="*/ 1 h 5"/>
                <a:gd name="T16" fmla="*/ 0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0" y="0"/>
                  </a:moveTo>
                  <a:lnTo>
                    <a:pt x="2" y="0"/>
                  </a:lnTo>
                  <a:lnTo>
                    <a:pt x="2" y="0"/>
                  </a:lnTo>
                  <a:lnTo>
                    <a:pt x="2" y="3"/>
                  </a:lnTo>
                  <a:lnTo>
                    <a:pt x="3" y="3"/>
                  </a:lnTo>
                  <a:lnTo>
                    <a:pt x="5" y="5"/>
                  </a:lnTo>
                  <a:lnTo>
                    <a:pt x="3" y="5"/>
                  </a:lnTo>
                  <a:lnTo>
                    <a:pt x="2" y="1"/>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36" name="Freeform 3415"/>
            <p:cNvSpPr>
              <a:spLocks/>
            </p:cNvSpPr>
            <p:nvPr/>
          </p:nvSpPr>
          <p:spPr bwMode="auto">
            <a:xfrm>
              <a:off x="1508268" y="3791120"/>
              <a:ext cx="8050" cy="8050"/>
            </a:xfrm>
            <a:custGeom>
              <a:avLst/>
              <a:gdLst>
                <a:gd name="T0" fmla="*/ 0 w 5"/>
                <a:gd name="T1" fmla="*/ 0 h 5"/>
                <a:gd name="T2" fmla="*/ 2 w 5"/>
                <a:gd name="T3" fmla="*/ 0 h 5"/>
                <a:gd name="T4" fmla="*/ 2 w 5"/>
                <a:gd name="T5" fmla="*/ 0 h 5"/>
                <a:gd name="T6" fmla="*/ 2 w 5"/>
                <a:gd name="T7" fmla="*/ 3 h 5"/>
                <a:gd name="T8" fmla="*/ 3 w 5"/>
                <a:gd name="T9" fmla="*/ 3 h 5"/>
                <a:gd name="T10" fmla="*/ 5 w 5"/>
                <a:gd name="T11" fmla="*/ 5 h 5"/>
                <a:gd name="T12" fmla="*/ 3 w 5"/>
                <a:gd name="T13" fmla="*/ 5 h 5"/>
                <a:gd name="T14" fmla="*/ 2 w 5"/>
                <a:gd name="T15" fmla="*/ 1 h 5"/>
                <a:gd name="T16" fmla="*/ 0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0" y="0"/>
                  </a:moveTo>
                  <a:lnTo>
                    <a:pt x="2" y="0"/>
                  </a:lnTo>
                  <a:lnTo>
                    <a:pt x="2" y="0"/>
                  </a:lnTo>
                  <a:lnTo>
                    <a:pt x="2" y="3"/>
                  </a:lnTo>
                  <a:lnTo>
                    <a:pt x="3" y="3"/>
                  </a:lnTo>
                  <a:lnTo>
                    <a:pt x="5" y="5"/>
                  </a:lnTo>
                  <a:lnTo>
                    <a:pt x="3" y="5"/>
                  </a:lnTo>
                  <a:lnTo>
                    <a:pt x="2" y="1"/>
                  </a:lnTo>
                  <a:lnTo>
                    <a:pt x="0"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37" name="Freeform 3416"/>
            <p:cNvSpPr>
              <a:spLocks/>
            </p:cNvSpPr>
            <p:nvPr/>
          </p:nvSpPr>
          <p:spPr bwMode="auto">
            <a:xfrm>
              <a:off x="1468019" y="3758920"/>
              <a:ext cx="4830" cy="6440"/>
            </a:xfrm>
            <a:custGeom>
              <a:avLst/>
              <a:gdLst>
                <a:gd name="T0" fmla="*/ 0 w 3"/>
                <a:gd name="T1" fmla="*/ 2 h 4"/>
                <a:gd name="T2" fmla="*/ 0 w 3"/>
                <a:gd name="T3" fmla="*/ 2 h 4"/>
                <a:gd name="T4" fmla="*/ 2 w 3"/>
                <a:gd name="T5" fmla="*/ 0 h 4"/>
                <a:gd name="T6" fmla="*/ 3 w 3"/>
                <a:gd name="T7" fmla="*/ 2 h 4"/>
                <a:gd name="T8" fmla="*/ 3 w 3"/>
                <a:gd name="T9" fmla="*/ 4 h 4"/>
                <a:gd name="T10" fmla="*/ 3 w 3"/>
                <a:gd name="T11" fmla="*/ 4 h 4"/>
                <a:gd name="T12" fmla="*/ 2 w 3"/>
                <a:gd name="T13" fmla="*/ 4 h 4"/>
                <a:gd name="T14" fmla="*/ 0 w 3"/>
                <a:gd name="T15" fmla="*/ 2 h 4"/>
                <a:gd name="T16" fmla="*/ 2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0" y="2"/>
                  </a:lnTo>
                  <a:lnTo>
                    <a:pt x="2" y="0"/>
                  </a:lnTo>
                  <a:lnTo>
                    <a:pt x="3" y="2"/>
                  </a:lnTo>
                  <a:lnTo>
                    <a:pt x="3" y="4"/>
                  </a:lnTo>
                  <a:lnTo>
                    <a:pt x="3" y="4"/>
                  </a:lnTo>
                  <a:lnTo>
                    <a:pt x="2" y="4"/>
                  </a:lnTo>
                  <a:lnTo>
                    <a:pt x="0" y="2"/>
                  </a:lnTo>
                  <a:lnTo>
                    <a:pt x="2" y="4"/>
                  </a:lnTo>
                  <a:lnTo>
                    <a:pt x="0" y="2"/>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38" name="Freeform 3417"/>
            <p:cNvSpPr>
              <a:spLocks/>
            </p:cNvSpPr>
            <p:nvPr/>
          </p:nvSpPr>
          <p:spPr bwMode="auto">
            <a:xfrm>
              <a:off x="1468019" y="3758920"/>
              <a:ext cx="4830" cy="6440"/>
            </a:xfrm>
            <a:custGeom>
              <a:avLst/>
              <a:gdLst>
                <a:gd name="T0" fmla="*/ 0 w 3"/>
                <a:gd name="T1" fmla="*/ 2 h 4"/>
                <a:gd name="T2" fmla="*/ 0 w 3"/>
                <a:gd name="T3" fmla="*/ 2 h 4"/>
                <a:gd name="T4" fmla="*/ 2 w 3"/>
                <a:gd name="T5" fmla="*/ 0 h 4"/>
                <a:gd name="T6" fmla="*/ 3 w 3"/>
                <a:gd name="T7" fmla="*/ 2 h 4"/>
                <a:gd name="T8" fmla="*/ 3 w 3"/>
                <a:gd name="T9" fmla="*/ 4 h 4"/>
                <a:gd name="T10" fmla="*/ 3 w 3"/>
                <a:gd name="T11" fmla="*/ 4 h 4"/>
                <a:gd name="T12" fmla="*/ 2 w 3"/>
                <a:gd name="T13" fmla="*/ 4 h 4"/>
                <a:gd name="T14" fmla="*/ 0 w 3"/>
                <a:gd name="T15" fmla="*/ 2 h 4"/>
                <a:gd name="T16" fmla="*/ 2 w 3"/>
                <a:gd name="T17" fmla="*/ 4 h 4"/>
                <a:gd name="T18" fmla="*/ 0 w 3"/>
                <a:gd name="T19"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0" y="2"/>
                  </a:moveTo>
                  <a:lnTo>
                    <a:pt x="0" y="2"/>
                  </a:lnTo>
                  <a:lnTo>
                    <a:pt x="2" y="0"/>
                  </a:lnTo>
                  <a:lnTo>
                    <a:pt x="3" y="2"/>
                  </a:lnTo>
                  <a:lnTo>
                    <a:pt x="3" y="4"/>
                  </a:lnTo>
                  <a:lnTo>
                    <a:pt x="3" y="4"/>
                  </a:lnTo>
                  <a:lnTo>
                    <a:pt x="2" y="4"/>
                  </a:lnTo>
                  <a:lnTo>
                    <a:pt x="0" y="2"/>
                  </a:lnTo>
                  <a:lnTo>
                    <a:pt x="2" y="4"/>
                  </a:lnTo>
                  <a:lnTo>
                    <a:pt x="0" y="2"/>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39" name="Freeform 3418"/>
            <p:cNvSpPr>
              <a:spLocks/>
            </p:cNvSpPr>
            <p:nvPr/>
          </p:nvSpPr>
          <p:spPr bwMode="auto">
            <a:xfrm>
              <a:off x="1476069" y="3758920"/>
              <a:ext cx="9660" cy="6440"/>
            </a:xfrm>
            <a:custGeom>
              <a:avLst/>
              <a:gdLst>
                <a:gd name="T0" fmla="*/ 0 w 6"/>
                <a:gd name="T1" fmla="*/ 0 h 4"/>
                <a:gd name="T2" fmla="*/ 2 w 6"/>
                <a:gd name="T3" fmla="*/ 2 h 4"/>
                <a:gd name="T4" fmla="*/ 6 w 6"/>
                <a:gd name="T5" fmla="*/ 0 h 4"/>
                <a:gd name="T6" fmla="*/ 6 w 6"/>
                <a:gd name="T7" fmla="*/ 2 h 4"/>
                <a:gd name="T8" fmla="*/ 4 w 6"/>
                <a:gd name="T9" fmla="*/ 2 h 4"/>
                <a:gd name="T10" fmla="*/ 2 w 6"/>
                <a:gd name="T11" fmla="*/ 4 h 4"/>
                <a:gd name="T12" fmla="*/ 0 w 6"/>
                <a:gd name="T13" fmla="*/ 2 h 4"/>
                <a:gd name="T14" fmla="*/ 0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0"/>
                  </a:moveTo>
                  <a:lnTo>
                    <a:pt x="2" y="2"/>
                  </a:lnTo>
                  <a:lnTo>
                    <a:pt x="6" y="0"/>
                  </a:lnTo>
                  <a:lnTo>
                    <a:pt x="6" y="2"/>
                  </a:lnTo>
                  <a:lnTo>
                    <a:pt x="4" y="2"/>
                  </a:lnTo>
                  <a:lnTo>
                    <a:pt x="2" y="4"/>
                  </a:lnTo>
                  <a:lnTo>
                    <a:pt x="0" y="2"/>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40" name="Freeform 3419"/>
            <p:cNvSpPr>
              <a:spLocks/>
            </p:cNvSpPr>
            <p:nvPr/>
          </p:nvSpPr>
          <p:spPr bwMode="auto">
            <a:xfrm>
              <a:off x="1476069" y="3758920"/>
              <a:ext cx="9660" cy="6440"/>
            </a:xfrm>
            <a:custGeom>
              <a:avLst/>
              <a:gdLst>
                <a:gd name="T0" fmla="*/ 0 w 6"/>
                <a:gd name="T1" fmla="*/ 0 h 4"/>
                <a:gd name="T2" fmla="*/ 2 w 6"/>
                <a:gd name="T3" fmla="*/ 2 h 4"/>
                <a:gd name="T4" fmla="*/ 6 w 6"/>
                <a:gd name="T5" fmla="*/ 0 h 4"/>
                <a:gd name="T6" fmla="*/ 6 w 6"/>
                <a:gd name="T7" fmla="*/ 2 h 4"/>
                <a:gd name="T8" fmla="*/ 4 w 6"/>
                <a:gd name="T9" fmla="*/ 2 h 4"/>
                <a:gd name="T10" fmla="*/ 2 w 6"/>
                <a:gd name="T11" fmla="*/ 4 h 4"/>
                <a:gd name="T12" fmla="*/ 0 w 6"/>
                <a:gd name="T13" fmla="*/ 2 h 4"/>
                <a:gd name="T14" fmla="*/ 0 w 6"/>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4">
                  <a:moveTo>
                    <a:pt x="0" y="0"/>
                  </a:moveTo>
                  <a:lnTo>
                    <a:pt x="2" y="2"/>
                  </a:lnTo>
                  <a:lnTo>
                    <a:pt x="6" y="0"/>
                  </a:lnTo>
                  <a:lnTo>
                    <a:pt x="6" y="2"/>
                  </a:lnTo>
                  <a:lnTo>
                    <a:pt x="4" y="2"/>
                  </a:lnTo>
                  <a:lnTo>
                    <a:pt x="2" y="4"/>
                  </a:lnTo>
                  <a:lnTo>
                    <a:pt x="0" y="2"/>
                  </a:lnTo>
                  <a:lnTo>
                    <a:pt x="0"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41" name="Freeform 3420"/>
            <p:cNvSpPr>
              <a:spLocks/>
            </p:cNvSpPr>
            <p:nvPr/>
          </p:nvSpPr>
          <p:spPr bwMode="auto">
            <a:xfrm>
              <a:off x="1511488" y="3779850"/>
              <a:ext cx="4830" cy="1610"/>
            </a:xfrm>
            <a:custGeom>
              <a:avLst/>
              <a:gdLst>
                <a:gd name="T0" fmla="*/ 0 w 3"/>
                <a:gd name="T1" fmla="*/ 0 h 1"/>
                <a:gd name="T2" fmla="*/ 0 w 3"/>
                <a:gd name="T3" fmla="*/ 0 h 1"/>
                <a:gd name="T4" fmla="*/ 0 w 3"/>
                <a:gd name="T5" fmla="*/ 0 h 1"/>
                <a:gd name="T6" fmla="*/ 1 w 3"/>
                <a:gd name="T7" fmla="*/ 0 h 1"/>
                <a:gd name="T8" fmla="*/ 1 w 3"/>
                <a:gd name="T9" fmla="*/ 1 h 1"/>
                <a:gd name="T10" fmla="*/ 3 w 3"/>
                <a:gd name="T11" fmla="*/ 1 h 1"/>
                <a:gd name="T12" fmla="*/ 3 w 3"/>
                <a:gd name="T13" fmla="*/ 1 h 1"/>
                <a:gd name="T14" fmla="*/ 1 w 3"/>
                <a:gd name="T15" fmla="*/ 1 h 1"/>
                <a:gd name="T16" fmla="*/ 1 w 3"/>
                <a:gd name="T17" fmla="*/ 1 h 1"/>
                <a:gd name="T18" fmla="*/ 1 w 3"/>
                <a:gd name="T19" fmla="*/ 0 h 1"/>
                <a:gd name="T20" fmla="*/ 0 w 3"/>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
                  <a:moveTo>
                    <a:pt x="0" y="0"/>
                  </a:moveTo>
                  <a:lnTo>
                    <a:pt x="0" y="0"/>
                  </a:lnTo>
                  <a:lnTo>
                    <a:pt x="0" y="0"/>
                  </a:lnTo>
                  <a:lnTo>
                    <a:pt x="1" y="0"/>
                  </a:lnTo>
                  <a:lnTo>
                    <a:pt x="1" y="1"/>
                  </a:lnTo>
                  <a:lnTo>
                    <a:pt x="3" y="1"/>
                  </a:lnTo>
                  <a:lnTo>
                    <a:pt x="3" y="1"/>
                  </a:lnTo>
                  <a:lnTo>
                    <a:pt x="1" y="1"/>
                  </a:lnTo>
                  <a:lnTo>
                    <a:pt x="1" y="1"/>
                  </a:lnTo>
                  <a:lnTo>
                    <a:pt x="1" y="0"/>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42" name="Freeform 3421"/>
            <p:cNvSpPr>
              <a:spLocks/>
            </p:cNvSpPr>
            <p:nvPr/>
          </p:nvSpPr>
          <p:spPr bwMode="auto">
            <a:xfrm>
              <a:off x="1511488" y="3779850"/>
              <a:ext cx="4830" cy="1610"/>
            </a:xfrm>
            <a:custGeom>
              <a:avLst/>
              <a:gdLst>
                <a:gd name="T0" fmla="*/ 0 w 3"/>
                <a:gd name="T1" fmla="*/ 0 h 1"/>
                <a:gd name="T2" fmla="*/ 0 w 3"/>
                <a:gd name="T3" fmla="*/ 0 h 1"/>
                <a:gd name="T4" fmla="*/ 0 w 3"/>
                <a:gd name="T5" fmla="*/ 0 h 1"/>
                <a:gd name="T6" fmla="*/ 1 w 3"/>
                <a:gd name="T7" fmla="*/ 0 h 1"/>
                <a:gd name="T8" fmla="*/ 1 w 3"/>
                <a:gd name="T9" fmla="*/ 1 h 1"/>
                <a:gd name="T10" fmla="*/ 3 w 3"/>
                <a:gd name="T11" fmla="*/ 1 h 1"/>
                <a:gd name="T12" fmla="*/ 3 w 3"/>
                <a:gd name="T13" fmla="*/ 1 h 1"/>
                <a:gd name="T14" fmla="*/ 1 w 3"/>
                <a:gd name="T15" fmla="*/ 1 h 1"/>
                <a:gd name="T16" fmla="*/ 1 w 3"/>
                <a:gd name="T17" fmla="*/ 1 h 1"/>
                <a:gd name="T18" fmla="*/ 1 w 3"/>
                <a:gd name="T19" fmla="*/ 0 h 1"/>
                <a:gd name="T20" fmla="*/ 0 w 3"/>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
                  <a:moveTo>
                    <a:pt x="0" y="0"/>
                  </a:moveTo>
                  <a:lnTo>
                    <a:pt x="0" y="0"/>
                  </a:lnTo>
                  <a:lnTo>
                    <a:pt x="0" y="0"/>
                  </a:lnTo>
                  <a:lnTo>
                    <a:pt x="1" y="0"/>
                  </a:lnTo>
                  <a:lnTo>
                    <a:pt x="1" y="1"/>
                  </a:lnTo>
                  <a:lnTo>
                    <a:pt x="3" y="1"/>
                  </a:lnTo>
                  <a:lnTo>
                    <a:pt x="3" y="1"/>
                  </a:lnTo>
                  <a:lnTo>
                    <a:pt x="1" y="1"/>
                  </a:lnTo>
                  <a:lnTo>
                    <a:pt x="1" y="1"/>
                  </a:lnTo>
                  <a:lnTo>
                    <a:pt x="1" y="0"/>
                  </a:lnTo>
                  <a:lnTo>
                    <a:pt x="0"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43" name="Freeform 3422"/>
            <p:cNvSpPr>
              <a:spLocks/>
            </p:cNvSpPr>
            <p:nvPr/>
          </p:nvSpPr>
          <p:spPr bwMode="auto">
            <a:xfrm>
              <a:off x="1508268" y="3791120"/>
              <a:ext cx="8050" cy="8050"/>
            </a:xfrm>
            <a:custGeom>
              <a:avLst/>
              <a:gdLst>
                <a:gd name="T0" fmla="*/ 0 w 5"/>
                <a:gd name="T1" fmla="*/ 0 h 5"/>
                <a:gd name="T2" fmla="*/ 2 w 5"/>
                <a:gd name="T3" fmla="*/ 0 h 5"/>
                <a:gd name="T4" fmla="*/ 2 w 5"/>
                <a:gd name="T5" fmla="*/ 0 h 5"/>
                <a:gd name="T6" fmla="*/ 2 w 5"/>
                <a:gd name="T7" fmla="*/ 3 h 5"/>
                <a:gd name="T8" fmla="*/ 3 w 5"/>
                <a:gd name="T9" fmla="*/ 3 h 5"/>
                <a:gd name="T10" fmla="*/ 5 w 5"/>
                <a:gd name="T11" fmla="*/ 5 h 5"/>
                <a:gd name="T12" fmla="*/ 3 w 5"/>
                <a:gd name="T13" fmla="*/ 5 h 5"/>
                <a:gd name="T14" fmla="*/ 2 w 5"/>
                <a:gd name="T15" fmla="*/ 1 h 5"/>
                <a:gd name="T16" fmla="*/ 0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0" y="0"/>
                  </a:moveTo>
                  <a:lnTo>
                    <a:pt x="2" y="0"/>
                  </a:lnTo>
                  <a:lnTo>
                    <a:pt x="2" y="0"/>
                  </a:lnTo>
                  <a:lnTo>
                    <a:pt x="2" y="3"/>
                  </a:lnTo>
                  <a:lnTo>
                    <a:pt x="3" y="3"/>
                  </a:lnTo>
                  <a:lnTo>
                    <a:pt x="5" y="5"/>
                  </a:lnTo>
                  <a:lnTo>
                    <a:pt x="3" y="5"/>
                  </a:lnTo>
                  <a:lnTo>
                    <a:pt x="2" y="1"/>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44" name="Freeform 3423"/>
            <p:cNvSpPr>
              <a:spLocks/>
            </p:cNvSpPr>
            <p:nvPr/>
          </p:nvSpPr>
          <p:spPr bwMode="auto">
            <a:xfrm>
              <a:off x="1508268" y="3791120"/>
              <a:ext cx="8050" cy="8050"/>
            </a:xfrm>
            <a:custGeom>
              <a:avLst/>
              <a:gdLst>
                <a:gd name="T0" fmla="*/ 0 w 5"/>
                <a:gd name="T1" fmla="*/ 0 h 5"/>
                <a:gd name="T2" fmla="*/ 2 w 5"/>
                <a:gd name="T3" fmla="*/ 0 h 5"/>
                <a:gd name="T4" fmla="*/ 2 w 5"/>
                <a:gd name="T5" fmla="*/ 0 h 5"/>
                <a:gd name="T6" fmla="*/ 2 w 5"/>
                <a:gd name="T7" fmla="*/ 3 h 5"/>
                <a:gd name="T8" fmla="*/ 3 w 5"/>
                <a:gd name="T9" fmla="*/ 3 h 5"/>
                <a:gd name="T10" fmla="*/ 5 w 5"/>
                <a:gd name="T11" fmla="*/ 5 h 5"/>
                <a:gd name="T12" fmla="*/ 3 w 5"/>
                <a:gd name="T13" fmla="*/ 5 h 5"/>
                <a:gd name="T14" fmla="*/ 2 w 5"/>
                <a:gd name="T15" fmla="*/ 1 h 5"/>
                <a:gd name="T16" fmla="*/ 0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0" y="0"/>
                  </a:moveTo>
                  <a:lnTo>
                    <a:pt x="2" y="0"/>
                  </a:lnTo>
                  <a:lnTo>
                    <a:pt x="2" y="0"/>
                  </a:lnTo>
                  <a:lnTo>
                    <a:pt x="2" y="3"/>
                  </a:lnTo>
                  <a:lnTo>
                    <a:pt x="3" y="3"/>
                  </a:lnTo>
                  <a:lnTo>
                    <a:pt x="5" y="5"/>
                  </a:lnTo>
                  <a:lnTo>
                    <a:pt x="3" y="5"/>
                  </a:lnTo>
                  <a:lnTo>
                    <a:pt x="2" y="1"/>
                  </a:lnTo>
                  <a:lnTo>
                    <a:pt x="0"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45" name="Freeform 3424"/>
            <p:cNvSpPr>
              <a:spLocks/>
            </p:cNvSpPr>
            <p:nvPr/>
          </p:nvSpPr>
          <p:spPr bwMode="auto">
            <a:xfrm>
              <a:off x="2063711" y="3931188"/>
              <a:ext cx="12880" cy="17710"/>
            </a:xfrm>
            <a:custGeom>
              <a:avLst/>
              <a:gdLst>
                <a:gd name="T0" fmla="*/ 1 w 8"/>
                <a:gd name="T1" fmla="*/ 7 h 11"/>
                <a:gd name="T2" fmla="*/ 1 w 8"/>
                <a:gd name="T3" fmla="*/ 7 h 11"/>
                <a:gd name="T4" fmla="*/ 3 w 8"/>
                <a:gd name="T5" fmla="*/ 6 h 11"/>
                <a:gd name="T6" fmla="*/ 5 w 8"/>
                <a:gd name="T7" fmla="*/ 4 h 11"/>
                <a:gd name="T8" fmla="*/ 5 w 8"/>
                <a:gd name="T9" fmla="*/ 4 h 11"/>
                <a:gd name="T10" fmla="*/ 7 w 8"/>
                <a:gd name="T11" fmla="*/ 2 h 11"/>
                <a:gd name="T12" fmla="*/ 8 w 8"/>
                <a:gd name="T13" fmla="*/ 2 h 11"/>
                <a:gd name="T14" fmla="*/ 8 w 8"/>
                <a:gd name="T15" fmla="*/ 0 h 11"/>
                <a:gd name="T16" fmla="*/ 8 w 8"/>
                <a:gd name="T17" fmla="*/ 2 h 11"/>
                <a:gd name="T18" fmla="*/ 8 w 8"/>
                <a:gd name="T19" fmla="*/ 2 h 11"/>
                <a:gd name="T20" fmla="*/ 1 w 8"/>
                <a:gd name="T21" fmla="*/ 11 h 11"/>
                <a:gd name="T22" fmla="*/ 0 w 8"/>
                <a:gd name="T23" fmla="*/ 11 h 11"/>
                <a:gd name="T24" fmla="*/ 0 w 8"/>
                <a:gd name="T25" fmla="*/ 11 h 11"/>
                <a:gd name="T26" fmla="*/ 1 w 8"/>
                <a:gd name="T27" fmla="*/ 7 h 11"/>
                <a:gd name="T28" fmla="*/ 1 w 8"/>
                <a:gd name="T29"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1">
                  <a:moveTo>
                    <a:pt x="1" y="7"/>
                  </a:moveTo>
                  <a:lnTo>
                    <a:pt x="1" y="7"/>
                  </a:lnTo>
                  <a:lnTo>
                    <a:pt x="3" y="6"/>
                  </a:lnTo>
                  <a:lnTo>
                    <a:pt x="5" y="4"/>
                  </a:lnTo>
                  <a:lnTo>
                    <a:pt x="5" y="4"/>
                  </a:lnTo>
                  <a:lnTo>
                    <a:pt x="7" y="2"/>
                  </a:lnTo>
                  <a:lnTo>
                    <a:pt x="8" y="2"/>
                  </a:lnTo>
                  <a:lnTo>
                    <a:pt x="8" y="0"/>
                  </a:lnTo>
                  <a:lnTo>
                    <a:pt x="8" y="2"/>
                  </a:lnTo>
                  <a:lnTo>
                    <a:pt x="8" y="2"/>
                  </a:lnTo>
                  <a:lnTo>
                    <a:pt x="1" y="11"/>
                  </a:lnTo>
                  <a:lnTo>
                    <a:pt x="0" y="11"/>
                  </a:lnTo>
                  <a:lnTo>
                    <a:pt x="0" y="11"/>
                  </a:lnTo>
                  <a:lnTo>
                    <a:pt x="1" y="7"/>
                  </a:lnTo>
                  <a:lnTo>
                    <a:pt x="1" y="7"/>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46" name="Freeform 3425"/>
            <p:cNvSpPr>
              <a:spLocks/>
            </p:cNvSpPr>
            <p:nvPr/>
          </p:nvSpPr>
          <p:spPr bwMode="auto">
            <a:xfrm>
              <a:off x="2063711" y="3931188"/>
              <a:ext cx="12880" cy="17710"/>
            </a:xfrm>
            <a:custGeom>
              <a:avLst/>
              <a:gdLst>
                <a:gd name="T0" fmla="*/ 1 w 8"/>
                <a:gd name="T1" fmla="*/ 7 h 11"/>
                <a:gd name="T2" fmla="*/ 1 w 8"/>
                <a:gd name="T3" fmla="*/ 7 h 11"/>
                <a:gd name="T4" fmla="*/ 3 w 8"/>
                <a:gd name="T5" fmla="*/ 6 h 11"/>
                <a:gd name="T6" fmla="*/ 5 w 8"/>
                <a:gd name="T7" fmla="*/ 4 h 11"/>
                <a:gd name="T8" fmla="*/ 5 w 8"/>
                <a:gd name="T9" fmla="*/ 4 h 11"/>
                <a:gd name="T10" fmla="*/ 7 w 8"/>
                <a:gd name="T11" fmla="*/ 2 h 11"/>
                <a:gd name="T12" fmla="*/ 8 w 8"/>
                <a:gd name="T13" fmla="*/ 2 h 11"/>
                <a:gd name="T14" fmla="*/ 8 w 8"/>
                <a:gd name="T15" fmla="*/ 0 h 11"/>
                <a:gd name="T16" fmla="*/ 8 w 8"/>
                <a:gd name="T17" fmla="*/ 2 h 11"/>
                <a:gd name="T18" fmla="*/ 8 w 8"/>
                <a:gd name="T19" fmla="*/ 2 h 11"/>
                <a:gd name="T20" fmla="*/ 1 w 8"/>
                <a:gd name="T21" fmla="*/ 11 h 11"/>
                <a:gd name="T22" fmla="*/ 0 w 8"/>
                <a:gd name="T23" fmla="*/ 11 h 11"/>
                <a:gd name="T24" fmla="*/ 0 w 8"/>
                <a:gd name="T25" fmla="*/ 11 h 11"/>
                <a:gd name="T26" fmla="*/ 1 w 8"/>
                <a:gd name="T27" fmla="*/ 7 h 11"/>
                <a:gd name="T28" fmla="*/ 1 w 8"/>
                <a:gd name="T29"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11">
                  <a:moveTo>
                    <a:pt x="1" y="7"/>
                  </a:moveTo>
                  <a:lnTo>
                    <a:pt x="1" y="7"/>
                  </a:lnTo>
                  <a:lnTo>
                    <a:pt x="3" y="6"/>
                  </a:lnTo>
                  <a:lnTo>
                    <a:pt x="5" y="4"/>
                  </a:lnTo>
                  <a:lnTo>
                    <a:pt x="5" y="4"/>
                  </a:lnTo>
                  <a:lnTo>
                    <a:pt x="7" y="2"/>
                  </a:lnTo>
                  <a:lnTo>
                    <a:pt x="8" y="2"/>
                  </a:lnTo>
                  <a:lnTo>
                    <a:pt x="8" y="0"/>
                  </a:lnTo>
                  <a:lnTo>
                    <a:pt x="8" y="2"/>
                  </a:lnTo>
                  <a:lnTo>
                    <a:pt x="8" y="2"/>
                  </a:lnTo>
                  <a:lnTo>
                    <a:pt x="1" y="11"/>
                  </a:lnTo>
                  <a:lnTo>
                    <a:pt x="0" y="11"/>
                  </a:lnTo>
                  <a:lnTo>
                    <a:pt x="0" y="11"/>
                  </a:lnTo>
                  <a:lnTo>
                    <a:pt x="1" y="7"/>
                  </a:lnTo>
                  <a:lnTo>
                    <a:pt x="1" y="7"/>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47" name="Freeform 3426"/>
            <p:cNvSpPr>
              <a:spLocks/>
            </p:cNvSpPr>
            <p:nvPr/>
          </p:nvSpPr>
          <p:spPr bwMode="auto">
            <a:xfrm>
              <a:off x="2485526" y="4021347"/>
              <a:ext cx="6440" cy="8050"/>
            </a:xfrm>
            <a:custGeom>
              <a:avLst/>
              <a:gdLst>
                <a:gd name="T0" fmla="*/ 4 w 4"/>
                <a:gd name="T1" fmla="*/ 0 h 5"/>
                <a:gd name="T2" fmla="*/ 2 w 4"/>
                <a:gd name="T3" fmla="*/ 0 h 5"/>
                <a:gd name="T4" fmla="*/ 0 w 4"/>
                <a:gd name="T5" fmla="*/ 3 h 5"/>
                <a:gd name="T6" fmla="*/ 0 w 4"/>
                <a:gd name="T7" fmla="*/ 5 h 5"/>
                <a:gd name="T8" fmla="*/ 4 w 4"/>
                <a:gd name="T9" fmla="*/ 0 h 5"/>
              </a:gdLst>
              <a:ahLst/>
              <a:cxnLst>
                <a:cxn ang="0">
                  <a:pos x="T0" y="T1"/>
                </a:cxn>
                <a:cxn ang="0">
                  <a:pos x="T2" y="T3"/>
                </a:cxn>
                <a:cxn ang="0">
                  <a:pos x="T4" y="T5"/>
                </a:cxn>
                <a:cxn ang="0">
                  <a:pos x="T6" y="T7"/>
                </a:cxn>
                <a:cxn ang="0">
                  <a:pos x="T8" y="T9"/>
                </a:cxn>
              </a:cxnLst>
              <a:rect l="0" t="0" r="r" b="b"/>
              <a:pathLst>
                <a:path w="4" h="5">
                  <a:moveTo>
                    <a:pt x="4" y="0"/>
                  </a:moveTo>
                  <a:lnTo>
                    <a:pt x="2" y="0"/>
                  </a:lnTo>
                  <a:lnTo>
                    <a:pt x="0" y="3"/>
                  </a:lnTo>
                  <a:lnTo>
                    <a:pt x="0" y="5"/>
                  </a:lnTo>
                  <a:lnTo>
                    <a:pt x="4"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48" name="Freeform 3427"/>
            <p:cNvSpPr>
              <a:spLocks/>
            </p:cNvSpPr>
            <p:nvPr/>
          </p:nvSpPr>
          <p:spPr bwMode="auto">
            <a:xfrm>
              <a:off x="2485526" y="4021347"/>
              <a:ext cx="6440" cy="8050"/>
            </a:xfrm>
            <a:custGeom>
              <a:avLst/>
              <a:gdLst>
                <a:gd name="T0" fmla="*/ 4 w 4"/>
                <a:gd name="T1" fmla="*/ 0 h 5"/>
                <a:gd name="T2" fmla="*/ 2 w 4"/>
                <a:gd name="T3" fmla="*/ 0 h 5"/>
                <a:gd name="T4" fmla="*/ 0 w 4"/>
                <a:gd name="T5" fmla="*/ 3 h 5"/>
                <a:gd name="T6" fmla="*/ 0 w 4"/>
                <a:gd name="T7" fmla="*/ 5 h 5"/>
                <a:gd name="T8" fmla="*/ 4 w 4"/>
                <a:gd name="T9" fmla="*/ 0 h 5"/>
              </a:gdLst>
              <a:ahLst/>
              <a:cxnLst>
                <a:cxn ang="0">
                  <a:pos x="T0" y="T1"/>
                </a:cxn>
                <a:cxn ang="0">
                  <a:pos x="T2" y="T3"/>
                </a:cxn>
                <a:cxn ang="0">
                  <a:pos x="T4" y="T5"/>
                </a:cxn>
                <a:cxn ang="0">
                  <a:pos x="T6" y="T7"/>
                </a:cxn>
                <a:cxn ang="0">
                  <a:pos x="T8" y="T9"/>
                </a:cxn>
              </a:cxnLst>
              <a:rect l="0" t="0" r="r" b="b"/>
              <a:pathLst>
                <a:path w="4" h="5">
                  <a:moveTo>
                    <a:pt x="4" y="0"/>
                  </a:moveTo>
                  <a:lnTo>
                    <a:pt x="2" y="0"/>
                  </a:lnTo>
                  <a:lnTo>
                    <a:pt x="0" y="3"/>
                  </a:lnTo>
                  <a:lnTo>
                    <a:pt x="0" y="5"/>
                  </a:lnTo>
                  <a:lnTo>
                    <a:pt x="4"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49" name="Freeform 3428"/>
            <p:cNvSpPr>
              <a:spLocks/>
            </p:cNvSpPr>
            <p:nvPr/>
          </p:nvSpPr>
          <p:spPr bwMode="auto">
            <a:xfrm>
              <a:off x="2477476" y="4029397"/>
              <a:ext cx="4830" cy="3220"/>
            </a:xfrm>
            <a:custGeom>
              <a:avLst/>
              <a:gdLst>
                <a:gd name="T0" fmla="*/ 3 w 3"/>
                <a:gd name="T1" fmla="*/ 0 h 2"/>
                <a:gd name="T2" fmla="*/ 0 w 3"/>
                <a:gd name="T3" fmla="*/ 2 h 2"/>
                <a:gd name="T4" fmla="*/ 0 w 3"/>
                <a:gd name="T5" fmla="*/ 2 h 2"/>
                <a:gd name="T6" fmla="*/ 3 w 3"/>
                <a:gd name="T7" fmla="*/ 2 h 2"/>
                <a:gd name="T8" fmla="*/ 3 w 3"/>
                <a:gd name="T9" fmla="*/ 0 h 2"/>
              </a:gdLst>
              <a:ahLst/>
              <a:cxnLst>
                <a:cxn ang="0">
                  <a:pos x="T0" y="T1"/>
                </a:cxn>
                <a:cxn ang="0">
                  <a:pos x="T2" y="T3"/>
                </a:cxn>
                <a:cxn ang="0">
                  <a:pos x="T4" y="T5"/>
                </a:cxn>
                <a:cxn ang="0">
                  <a:pos x="T6" y="T7"/>
                </a:cxn>
                <a:cxn ang="0">
                  <a:pos x="T8" y="T9"/>
                </a:cxn>
              </a:cxnLst>
              <a:rect l="0" t="0" r="r" b="b"/>
              <a:pathLst>
                <a:path w="3" h="2">
                  <a:moveTo>
                    <a:pt x="3" y="0"/>
                  </a:moveTo>
                  <a:lnTo>
                    <a:pt x="0" y="2"/>
                  </a:lnTo>
                  <a:lnTo>
                    <a:pt x="0" y="2"/>
                  </a:lnTo>
                  <a:lnTo>
                    <a:pt x="3" y="2"/>
                  </a:lnTo>
                  <a:lnTo>
                    <a:pt x="3"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50" name="Freeform 3429"/>
            <p:cNvSpPr>
              <a:spLocks/>
            </p:cNvSpPr>
            <p:nvPr/>
          </p:nvSpPr>
          <p:spPr bwMode="auto">
            <a:xfrm>
              <a:off x="2477476" y="4029397"/>
              <a:ext cx="4830" cy="3220"/>
            </a:xfrm>
            <a:custGeom>
              <a:avLst/>
              <a:gdLst>
                <a:gd name="T0" fmla="*/ 3 w 3"/>
                <a:gd name="T1" fmla="*/ 0 h 2"/>
                <a:gd name="T2" fmla="*/ 0 w 3"/>
                <a:gd name="T3" fmla="*/ 2 h 2"/>
                <a:gd name="T4" fmla="*/ 0 w 3"/>
                <a:gd name="T5" fmla="*/ 2 h 2"/>
                <a:gd name="T6" fmla="*/ 3 w 3"/>
                <a:gd name="T7" fmla="*/ 2 h 2"/>
                <a:gd name="T8" fmla="*/ 3 w 3"/>
                <a:gd name="T9" fmla="*/ 0 h 2"/>
              </a:gdLst>
              <a:ahLst/>
              <a:cxnLst>
                <a:cxn ang="0">
                  <a:pos x="T0" y="T1"/>
                </a:cxn>
                <a:cxn ang="0">
                  <a:pos x="T2" y="T3"/>
                </a:cxn>
                <a:cxn ang="0">
                  <a:pos x="T4" y="T5"/>
                </a:cxn>
                <a:cxn ang="0">
                  <a:pos x="T6" y="T7"/>
                </a:cxn>
                <a:cxn ang="0">
                  <a:pos x="T8" y="T9"/>
                </a:cxn>
              </a:cxnLst>
              <a:rect l="0" t="0" r="r" b="b"/>
              <a:pathLst>
                <a:path w="3" h="2">
                  <a:moveTo>
                    <a:pt x="3" y="0"/>
                  </a:moveTo>
                  <a:lnTo>
                    <a:pt x="0" y="2"/>
                  </a:lnTo>
                  <a:lnTo>
                    <a:pt x="0" y="2"/>
                  </a:lnTo>
                  <a:lnTo>
                    <a:pt x="3" y="2"/>
                  </a:lnTo>
                  <a:lnTo>
                    <a:pt x="3"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51" name="Freeform 3430"/>
            <p:cNvSpPr>
              <a:spLocks/>
            </p:cNvSpPr>
            <p:nvPr/>
          </p:nvSpPr>
          <p:spPr bwMode="auto">
            <a:xfrm>
              <a:off x="2453326" y="4032616"/>
              <a:ext cx="11270" cy="4830"/>
            </a:xfrm>
            <a:custGeom>
              <a:avLst/>
              <a:gdLst>
                <a:gd name="T0" fmla="*/ 7 w 7"/>
                <a:gd name="T1" fmla="*/ 1 h 3"/>
                <a:gd name="T2" fmla="*/ 6 w 7"/>
                <a:gd name="T3" fmla="*/ 1 h 3"/>
                <a:gd name="T4" fmla="*/ 2 w 7"/>
                <a:gd name="T5" fmla="*/ 3 h 3"/>
                <a:gd name="T6" fmla="*/ 0 w 7"/>
                <a:gd name="T7" fmla="*/ 3 h 3"/>
                <a:gd name="T8" fmla="*/ 0 w 7"/>
                <a:gd name="T9" fmla="*/ 3 h 3"/>
                <a:gd name="T10" fmla="*/ 2 w 7"/>
                <a:gd name="T11" fmla="*/ 1 h 3"/>
                <a:gd name="T12" fmla="*/ 6 w 7"/>
                <a:gd name="T13" fmla="*/ 0 h 3"/>
                <a:gd name="T14" fmla="*/ 7 w 7"/>
                <a:gd name="T15" fmla="*/ 0 h 3"/>
                <a:gd name="T16" fmla="*/ 7 w 7"/>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7" y="1"/>
                  </a:moveTo>
                  <a:lnTo>
                    <a:pt x="6" y="1"/>
                  </a:lnTo>
                  <a:lnTo>
                    <a:pt x="2" y="3"/>
                  </a:lnTo>
                  <a:lnTo>
                    <a:pt x="0" y="3"/>
                  </a:lnTo>
                  <a:lnTo>
                    <a:pt x="0" y="3"/>
                  </a:lnTo>
                  <a:lnTo>
                    <a:pt x="2" y="1"/>
                  </a:lnTo>
                  <a:lnTo>
                    <a:pt x="6" y="0"/>
                  </a:lnTo>
                  <a:lnTo>
                    <a:pt x="7" y="0"/>
                  </a:lnTo>
                  <a:lnTo>
                    <a:pt x="7" y="1"/>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52" name="Freeform 3431"/>
            <p:cNvSpPr>
              <a:spLocks/>
            </p:cNvSpPr>
            <p:nvPr/>
          </p:nvSpPr>
          <p:spPr bwMode="auto">
            <a:xfrm>
              <a:off x="2453326" y="4032616"/>
              <a:ext cx="11270" cy="4830"/>
            </a:xfrm>
            <a:custGeom>
              <a:avLst/>
              <a:gdLst>
                <a:gd name="T0" fmla="*/ 7 w 7"/>
                <a:gd name="T1" fmla="*/ 1 h 3"/>
                <a:gd name="T2" fmla="*/ 6 w 7"/>
                <a:gd name="T3" fmla="*/ 1 h 3"/>
                <a:gd name="T4" fmla="*/ 2 w 7"/>
                <a:gd name="T5" fmla="*/ 3 h 3"/>
                <a:gd name="T6" fmla="*/ 0 w 7"/>
                <a:gd name="T7" fmla="*/ 3 h 3"/>
                <a:gd name="T8" fmla="*/ 0 w 7"/>
                <a:gd name="T9" fmla="*/ 3 h 3"/>
                <a:gd name="T10" fmla="*/ 2 w 7"/>
                <a:gd name="T11" fmla="*/ 1 h 3"/>
                <a:gd name="T12" fmla="*/ 6 w 7"/>
                <a:gd name="T13" fmla="*/ 0 h 3"/>
                <a:gd name="T14" fmla="*/ 7 w 7"/>
                <a:gd name="T15" fmla="*/ 0 h 3"/>
                <a:gd name="T16" fmla="*/ 7 w 7"/>
                <a:gd name="T17"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7" y="1"/>
                  </a:moveTo>
                  <a:lnTo>
                    <a:pt x="6" y="1"/>
                  </a:lnTo>
                  <a:lnTo>
                    <a:pt x="2" y="3"/>
                  </a:lnTo>
                  <a:lnTo>
                    <a:pt x="0" y="3"/>
                  </a:lnTo>
                  <a:lnTo>
                    <a:pt x="0" y="3"/>
                  </a:lnTo>
                  <a:lnTo>
                    <a:pt x="2" y="1"/>
                  </a:lnTo>
                  <a:lnTo>
                    <a:pt x="6" y="0"/>
                  </a:lnTo>
                  <a:lnTo>
                    <a:pt x="7" y="0"/>
                  </a:lnTo>
                  <a:lnTo>
                    <a:pt x="7" y="1"/>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53" name="Freeform 3432"/>
            <p:cNvSpPr>
              <a:spLocks/>
            </p:cNvSpPr>
            <p:nvPr/>
          </p:nvSpPr>
          <p:spPr bwMode="auto">
            <a:xfrm>
              <a:off x="2598224" y="3725110"/>
              <a:ext cx="11270" cy="4830"/>
            </a:xfrm>
            <a:custGeom>
              <a:avLst/>
              <a:gdLst>
                <a:gd name="T0" fmla="*/ 0 w 7"/>
                <a:gd name="T1" fmla="*/ 3 h 3"/>
                <a:gd name="T2" fmla="*/ 1 w 7"/>
                <a:gd name="T3" fmla="*/ 3 h 3"/>
                <a:gd name="T4" fmla="*/ 7 w 7"/>
                <a:gd name="T5" fmla="*/ 0 h 3"/>
                <a:gd name="T6" fmla="*/ 7 w 7"/>
                <a:gd name="T7" fmla="*/ 0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1" y="3"/>
                  </a:lnTo>
                  <a:lnTo>
                    <a:pt x="7" y="0"/>
                  </a:lnTo>
                  <a:lnTo>
                    <a:pt x="7" y="0"/>
                  </a:lnTo>
                  <a:lnTo>
                    <a:pt x="0" y="3"/>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54" name="Freeform 3433"/>
            <p:cNvSpPr>
              <a:spLocks/>
            </p:cNvSpPr>
            <p:nvPr/>
          </p:nvSpPr>
          <p:spPr bwMode="auto">
            <a:xfrm>
              <a:off x="2598224" y="3725110"/>
              <a:ext cx="11270" cy="4830"/>
            </a:xfrm>
            <a:custGeom>
              <a:avLst/>
              <a:gdLst>
                <a:gd name="T0" fmla="*/ 0 w 7"/>
                <a:gd name="T1" fmla="*/ 3 h 3"/>
                <a:gd name="T2" fmla="*/ 1 w 7"/>
                <a:gd name="T3" fmla="*/ 3 h 3"/>
                <a:gd name="T4" fmla="*/ 7 w 7"/>
                <a:gd name="T5" fmla="*/ 0 h 3"/>
                <a:gd name="T6" fmla="*/ 7 w 7"/>
                <a:gd name="T7" fmla="*/ 0 h 3"/>
                <a:gd name="T8" fmla="*/ 0 w 7"/>
                <a:gd name="T9" fmla="*/ 3 h 3"/>
              </a:gdLst>
              <a:ahLst/>
              <a:cxnLst>
                <a:cxn ang="0">
                  <a:pos x="T0" y="T1"/>
                </a:cxn>
                <a:cxn ang="0">
                  <a:pos x="T2" y="T3"/>
                </a:cxn>
                <a:cxn ang="0">
                  <a:pos x="T4" y="T5"/>
                </a:cxn>
                <a:cxn ang="0">
                  <a:pos x="T6" y="T7"/>
                </a:cxn>
                <a:cxn ang="0">
                  <a:pos x="T8" y="T9"/>
                </a:cxn>
              </a:cxnLst>
              <a:rect l="0" t="0" r="r" b="b"/>
              <a:pathLst>
                <a:path w="7" h="3">
                  <a:moveTo>
                    <a:pt x="0" y="3"/>
                  </a:moveTo>
                  <a:lnTo>
                    <a:pt x="1" y="3"/>
                  </a:lnTo>
                  <a:lnTo>
                    <a:pt x="7" y="0"/>
                  </a:lnTo>
                  <a:lnTo>
                    <a:pt x="7" y="0"/>
                  </a:lnTo>
                  <a:lnTo>
                    <a:pt x="0" y="3"/>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55" name="Freeform 3434"/>
            <p:cNvSpPr>
              <a:spLocks/>
            </p:cNvSpPr>
            <p:nvPr/>
          </p:nvSpPr>
          <p:spPr bwMode="auto">
            <a:xfrm>
              <a:off x="2609494" y="3696131"/>
              <a:ext cx="8050" cy="28980"/>
            </a:xfrm>
            <a:custGeom>
              <a:avLst/>
              <a:gdLst>
                <a:gd name="T0" fmla="*/ 0 w 5"/>
                <a:gd name="T1" fmla="*/ 16 h 18"/>
                <a:gd name="T2" fmla="*/ 2 w 5"/>
                <a:gd name="T3" fmla="*/ 18 h 18"/>
                <a:gd name="T4" fmla="*/ 3 w 5"/>
                <a:gd name="T5" fmla="*/ 16 h 18"/>
                <a:gd name="T6" fmla="*/ 5 w 5"/>
                <a:gd name="T7" fmla="*/ 9 h 18"/>
                <a:gd name="T8" fmla="*/ 2 w 5"/>
                <a:gd name="T9" fmla="*/ 0 h 18"/>
                <a:gd name="T10" fmla="*/ 2 w 5"/>
                <a:gd name="T11" fmla="*/ 0 h 18"/>
                <a:gd name="T12" fmla="*/ 3 w 5"/>
                <a:gd name="T13" fmla="*/ 9 h 18"/>
                <a:gd name="T14" fmla="*/ 3 w 5"/>
                <a:gd name="T15" fmla="*/ 16 h 18"/>
                <a:gd name="T16" fmla="*/ 0 w 5"/>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8">
                  <a:moveTo>
                    <a:pt x="0" y="16"/>
                  </a:moveTo>
                  <a:lnTo>
                    <a:pt x="2" y="18"/>
                  </a:lnTo>
                  <a:lnTo>
                    <a:pt x="3" y="16"/>
                  </a:lnTo>
                  <a:lnTo>
                    <a:pt x="5" y="9"/>
                  </a:lnTo>
                  <a:lnTo>
                    <a:pt x="2" y="0"/>
                  </a:lnTo>
                  <a:lnTo>
                    <a:pt x="2" y="0"/>
                  </a:lnTo>
                  <a:lnTo>
                    <a:pt x="3" y="9"/>
                  </a:lnTo>
                  <a:lnTo>
                    <a:pt x="3" y="16"/>
                  </a:lnTo>
                  <a:lnTo>
                    <a:pt x="0" y="16"/>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56" name="Freeform 3435"/>
            <p:cNvSpPr>
              <a:spLocks/>
            </p:cNvSpPr>
            <p:nvPr/>
          </p:nvSpPr>
          <p:spPr bwMode="auto">
            <a:xfrm>
              <a:off x="2609494" y="3696131"/>
              <a:ext cx="8050" cy="28980"/>
            </a:xfrm>
            <a:custGeom>
              <a:avLst/>
              <a:gdLst>
                <a:gd name="T0" fmla="*/ 0 w 5"/>
                <a:gd name="T1" fmla="*/ 16 h 18"/>
                <a:gd name="T2" fmla="*/ 2 w 5"/>
                <a:gd name="T3" fmla="*/ 18 h 18"/>
                <a:gd name="T4" fmla="*/ 3 w 5"/>
                <a:gd name="T5" fmla="*/ 16 h 18"/>
                <a:gd name="T6" fmla="*/ 5 w 5"/>
                <a:gd name="T7" fmla="*/ 9 h 18"/>
                <a:gd name="T8" fmla="*/ 2 w 5"/>
                <a:gd name="T9" fmla="*/ 0 h 18"/>
                <a:gd name="T10" fmla="*/ 2 w 5"/>
                <a:gd name="T11" fmla="*/ 0 h 18"/>
                <a:gd name="T12" fmla="*/ 3 w 5"/>
                <a:gd name="T13" fmla="*/ 9 h 18"/>
                <a:gd name="T14" fmla="*/ 3 w 5"/>
                <a:gd name="T15" fmla="*/ 16 h 18"/>
                <a:gd name="T16" fmla="*/ 0 w 5"/>
                <a:gd name="T17" fmla="*/ 1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18">
                  <a:moveTo>
                    <a:pt x="0" y="16"/>
                  </a:moveTo>
                  <a:lnTo>
                    <a:pt x="2" y="18"/>
                  </a:lnTo>
                  <a:lnTo>
                    <a:pt x="3" y="16"/>
                  </a:lnTo>
                  <a:lnTo>
                    <a:pt x="5" y="9"/>
                  </a:lnTo>
                  <a:lnTo>
                    <a:pt x="2" y="0"/>
                  </a:lnTo>
                  <a:lnTo>
                    <a:pt x="2" y="0"/>
                  </a:lnTo>
                  <a:lnTo>
                    <a:pt x="3" y="9"/>
                  </a:lnTo>
                  <a:lnTo>
                    <a:pt x="3" y="16"/>
                  </a:lnTo>
                  <a:lnTo>
                    <a:pt x="0" y="16"/>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57" name="Freeform 3436"/>
            <p:cNvSpPr>
              <a:spLocks/>
            </p:cNvSpPr>
            <p:nvPr/>
          </p:nvSpPr>
          <p:spPr bwMode="auto">
            <a:xfrm>
              <a:off x="4121265" y="3795950"/>
              <a:ext cx="11270" cy="6440"/>
            </a:xfrm>
            <a:custGeom>
              <a:avLst/>
              <a:gdLst>
                <a:gd name="T0" fmla="*/ 5 w 7"/>
                <a:gd name="T1" fmla="*/ 0 h 4"/>
                <a:gd name="T2" fmla="*/ 5 w 7"/>
                <a:gd name="T3" fmla="*/ 0 h 4"/>
                <a:gd name="T4" fmla="*/ 3 w 7"/>
                <a:gd name="T5" fmla="*/ 2 h 4"/>
                <a:gd name="T6" fmla="*/ 2 w 7"/>
                <a:gd name="T7" fmla="*/ 0 h 4"/>
                <a:gd name="T8" fmla="*/ 0 w 7"/>
                <a:gd name="T9" fmla="*/ 2 h 4"/>
                <a:gd name="T10" fmla="*/ 2 w 7"/>
                <a:gd name="T11" fmla="*/ 4 h 4"/>
                <a:gd name="T12" fmla="*/ 5 w 7"/>
                <a:gd name="T13" fmla="*/ 4 h 4"/>
                <a:gd name="T14" fmla="*/ 7 w 7"/>
                <a:gd name="T15" fmla="*/ 4 h 4"/>
                <a:gd name="T16" fmla="*/ 7 w 7"/>
                <a:gd name="T17" fmla="*/ 2 h 4"/>
                <a:gd name="T18" fmla="*/ 5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5" y="0"/>
                  </a:moveTo>
                  <a:lnTo>
                    <a:pt x="5" y="0"/>
                  </a:lnTo>
                  <a:lnTo>
                    <a:pt x="3" y="2"/>
                  </a:lnTo>
                  <a:lnTo>
                    <a:pt x="2" y="0"/>
                  </a:lnTo>
                  <a:lnTo>
                    <a:pt x="0" y="2"/>
                  </a:lnTo>
                  <a:lnTo>
                    <a:pt x="2" y="4"/>
                  </a:lnTo>
                  <a:lnTo>
                    <a:pt x="5" y="4"/>
                  </a:lnTo>
                  <a:lnTo>
                    <a:pt x="7" y="4"/>
                  </a:lnTo>
                  <a:lnTo>
                    <a:pt x="7" y="2"/>
                  </a:lnTo>
                  <a:lnTo>
                    <a:pt x="5"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58" name="Freeform 3437"/>
            <p:cNvSpPr>
              <a:spLocks/>
            </p:cNvSpPr>
            <p:nvPr/>
          </p:nvSpPr>
          <p:spPr bwMode="auto">
            <a:xfrm>
              <a:off x="4121265" y="3795950"/>
              <a:ext cx="11270" cy="6440"/>
            </a:xfrm>
            <a:custGeom>
              <a:avLst/>
              <a:gdLst>
                <a:gd name="T0" fmla="*/ 5 w 7"/>
                <a:gd name="T1" fmla="*/ 0 h 4"/>
                <a:gd name="T2" fmla="*/ 5 w 7"/>
                <a:gd name="T3" fmla="*/ 0 h 4"/>
                <a:gd name="T4" fmla="*/ 3 w 7"/>
                <a:gd name="T5" fmla="*/ 2 h 4"/>
                <a:gd name="T6" fmla="*/ 2 w 7"/>
                <a:gd name="T7" fmla="*/ 0 h 4"/>
                <a:gd name="T8" fmla="*/ 0 w 7"/>
                <a:gd name="T9" fmla="*/ 2 h 4"/>
                <a:gd name="T10" fmla="*/ 2 w 7"/>
                <a:gd name="T11" fmla="*/ 4 h 4"/>
                <a:gd name="T12" fmla="*/ 5 w 7"/>
                <a:gd name="T13" fmla="*/ 4 h 4"/>
                <a:gd name="T14" fmla="*/ 7 w 7"/>
                <a:gd name="T15" fmla="*/ 4 h 4"/>
                <a:gd name="T16" fmla="*/ 7 w 7"/>
                <a:gd name="T17" fmla="*/ 2 h 4"/>
                <a:gd name="T18" fmla="*/ 5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5" y="0"/>
                  </a:moveTo>
                  <a:lnTo>
                    <a:pt x="5" y="0"/>
                  </a:lnTo>
                  <a:lnTo>
                    <a:pt x="3" y="2"/>
                  </a:lnTo>
                  <a:lnTo>
                    <a:pt x="2" y="0"/>
                  </a:lnTo>
                  <a:lnTo>
                    <a:pt x="0" y="2"/>
                  </a:lnTo>
                  <a:lnTo>
                    <a:pt x="2" y="4"/>
                  </a:lnTo>
                  <a:lnTo>
                    <a:pt x="5" y="4"/>
                  </a:lnTo>
                  <a:lnTo>
                    <a:pt x="7" y="4"/>
                  </a:lnTo>
                  <a:lnTo>
                    <a:pt x="7" y="2"/>
                  </a:lnTo>
                  <a:lnTo>
                    <a:pt x="5"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59" name="Rectangle 3438"/>
            <p:cNvSpPr>
              <a:spLocks noChangeArrowheads="1"/>
            </p:cNvSpPr>
            <p:nvPr/>
          </p:nvSpPr>
          <p:spPr bwMode="auto">
            <a:xfrm>
              <a:off x="4140584" y="3787900"/>
              <a:ext cx="3220" cy="3220"/>
            </a:xfrm>
            <a:prstGeom prst="rect">
              <a:avLst/>
            </a:prstGeom>
            <a:solidFill>
              <a:schemeClr val="bg1">
                <a:lumMod val="85000"/>
              </a:schemeClr>
            </a:solidFill>
            <a:ln w="3175">
              <a:solidFill>
                <a:schemeClr val="bg1"/>
              </a:solidFill>
              <a:miter lim="800000"/>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60" name="Rectangle 3439"/>
            <p:cNvSpPr>
              <a:spLocks noChangeArrowheads="1"/>
            </p:cNvSpPr>
            <p:nvPr/>
          </p:nvSpPr>
          <p:spPr bwMode="auto">
            <a:xfrm>
              <a:off x="4140584" y="3787900"/>
              <a:ext cx="3220" cy="3220"/>
            </a:xfrm>
            <a:prstGeom prst="rect">
              <a:avLst/>
            </a:prstGeom>
            <a:solidFill>
              <a:schemeClr val="bg1">
                <a:lumMod val="85000"/>
              </a:schemeClr>
            </a:solidFill>
            <a:ln w="3175">
              <a:solidFill>
                <a:schemeClr val="bg1"/>
              </a:solidFill>
              <a:miter lim="800000"/>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61" name="Freeform 3440"/>
            <p:cNvSpPr>
              <a:spLocks/>
            </p:cNvSpPr>
            <p:nvPr/>
          </p:nvSpPr>
          <p:spPr bwMode="auto">
            <a:xfrm>
              <a:off x="3836298" y="3609192"/>
              <a:ext cx="11270" cy="6440"/>
            </a:xfrm>
            <a:custGeom>
              <a:avLst/>
              <a:gdLst>
                <a:gd name="T0" fmla="*/ 7 w 7"/>
                <a:gd name="T1" fmla="*/ 4 h 4"/>
                <a:gd name="T2" fmla="*/ 7 w 7"/>
                <a:gd name="T3" fmla="*/ 4 h 4"/>
                <a:gd name="T4" fmla="*/ 2 w 7"/>
                <a:gd name="T5" fmla="*/ 0 h 4"/>
                <a:gd name="T6" fmla="*/ 0 w 7"/>
                <a:gd name="T7" fmla="*/ 0 h 4"/>
                <a:gd name="T8" fmla="*/ 4 w 7"/>
                <a:gd name="T9" fmla="*/ 4 h 4"/>
                <a:gd name="T10" fmla="*/ 6 w 7"/>
                <a:gd name="T11" fmla="*/ 4 h 4"/>
                <a:gd name="T12" fmla="*/ 7 w 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7" y="4"/>
                  </a:moveTo>
                  <a:lnTo>
                    <a:pt x="7" y="4"/>
                  </a:lnTo>
                  <a:lnTo>
                    <a:pt x="2" y="0"/>
                  </a:lnTo>
                  <a:lnTo>
                    <a:pt x="0" y="0"/>
                  </a:lnTo>
                  <a:lnTo>
                    <a:pt x="4" y="4"/>
                  </a:lnTo>
                  <a:lnTo>
                    <a:pt x="6" y="4"/>
                  </a:lnTo>
                  <a:lnTo>
                    <a:pt x="7" y="4"/>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62" name="Freeform 3441"/>
            <p:cNvSpPr>
              <a:spLocks/>
            </p:cNvSpPr>
            <p:nvPr/>
          </p:nvSpPr>
          <p:spPr bwMode="auto">
            <a:xfrm>
              <a:off x="3836298" y="3609192"/>
              <a:ext cx="11270" cy="6440"/>
            </a:xfrm>
            <a:custGeom>
              <a:avLst/>
              <a:gdLst>
                <a:gd name="T0" fmla="*/ 7 w 7"/>
                <a:gd name="T1" fmla="*/ 4 h 4"/>
                <a:gd name="T2" fmla="*/ 7 w 7"/>
                <a:gd name="T3" fmla="*/ 4 h 4"/>
                <a:gd name="T4" fmla="*/ 2 w 7"/>
                <a:gd name="T5" fmla="*/ 0 h 4"/>
                <a:gd name="T6" fmla="*/ 0 w 7"/>
                <a:gd name="T7" fmla="*/ 0 h 4"/>
                <a:gd name="T8" fmla="*/ 4 w 7"/>
                <a:gd name="T9" fmla="*/ 4 h 4"/>
                <a:gd name="T10" fmla="*/ 6 w 7"/>
                <a:gd name="T11" fmla="*/ 4 h 4"/>
                <a:gd name="T12" fmla="*/ 7 w 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7" y="4"/>
                  </a:moveTo>
                  <a:lnTo>
                    <a:pt x="7" y="4"/>
                  </a:lnTo>
                  <a:lnTo>
                    <a:pt x="2" y="0"/>
                  </a:lnTo>
                  <a:lnTo>
                    <a:pt x="0" y="0"/>
                  </a:lnTo>
                  <a:lnTo>
                    <a:pt x="4" y="4"/>
                  </a:lnTo>
                  <a:lnTo>
                    <a:pt x="6" y="4"/>
                  </a:lnTo>
                  <a:lnTo>
                    <a:pt x="7" y="4"/>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63" name="Freeform 3442"/>
            <p:cNvSpPr>
              <a:spLocks/>
            </p:cNvSpPr>
            <p:nvPr/>
          </p:nvSpPr>
          <p:spPr bwMode="auto">
            <a:xfrm>
              <a:off x="3821808" y="3615632"/>
              <a:ext cx="3220" cy="3220"/>
            </a:xfrm>
            <a:custGeom>
              <a:avLst/>
              <a:gdLst>
                <a:gd name="T0" fmla="*/ 2 w 2"/>
                <a:gd name="T1" fmla="*/ 0 h 2"/>
                <a:gd name="T2" fmla="*/ 0 w 2"/>
                <a:gd name="T3" fmla="*/ 0 h 2"/>
                <a:gd name="T4" fmla="*/ 2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0"/>
                  </a:lnTo>
                  <a:lnTo>
                    <a:pt x="2" y="2"/>
                  </a:lnTo>
                  <a:lnTo>
                    <a:pt x="2" y="0"/>
                  </a:lnTo>
                  <a:lnTo>
                    <a:pt x="2"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64" name="Freeform 3443"/>
            <p:cNvSpPr>
              <a:spLocks/>
            </p:cNvSpPr>
            <p:nvPr/>
          </p:nvSpPr>
          <p:spPr bwMode="auto">
            <a:xfrm>
              <a:off x="3821808" y="3615632"/>
              <a:ext cx="3220" cy="3220"/>
            </a:xfrm>
            <a:custGeom>
              <a:avLst/>
              <a:gdLst>
                <a:gd name="T0" fmla="*/ 2 w 2"/>
                <a:gd name="T1" fmla="*/ 0 h 2"/>
                <a:gd name="T2" fmla="*/ 0 w 2"/>
                <a:gd name="T3" fmla="*/ 0 h 2"/>
                <a:gd name="T4" fmla="*/ 2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0"/>
                  </a:lnTo>
                  <a:lnTo>
                    <a:pt x="2" y="2"/>
                  </a:lnTo>
                  <a:lnTo>
                    <a:pt x="2" y="0"/>
                  </a:lnTo>
                  <a:lnTo>
                    <a:pt x="2"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65" name="Freeform 3444"/>
            <p:cNvSpPr>
              <a:spLocks/>
            </p:cNvSpPr>
            <p:nvPr/>
          </p:nvSpPr>
          <p:spPr bwMode="auto">
            <a:xfrm>
              <a:off x="3831468" y="3615632"/>
              <a:ext cx="11270" cy="4830"/>
            </a:xfrm>
            <a:custGeom>
              <a:avLst/>
              <a:gdLst>
                <a:gd name="T0" fmla="*/ 5 w 7"/>
                <a:gd name="T1" fmla="*/ 3 h 3"/>
                <a:gd name="T2" fmla="*/ 7 w 7"/>
                <a:gd name="T3" fmla="*/ 3 h 3"/>
                <a:gd name="T4" fmla="*/ 5 w 7"/>
                <a:gd name="T5" fmla="*/ 2 h 3"/>
                <a:gd name="T6" fmla="*/ 0 w 7"/>
                <a:gd name="T7" fmla="*/ 0 h 3"/>
                <a:gd name="T8" fmla="*/ 0 w 7"/>
                <a:gd name="T9" fmla="*/ 2 h 3"/>
                <a:gd name="T10" fmla="*/ 0 w 7"/>
                <a:gd name="T11" fmla="*/ 2 h 3"/>
                <a:gd name="T12" fmla="*/ 1 w 7"/>
                <a:gd name="T13" fmla="*/ 3 h 3"/>
                <a:gd name="T14" fmla="*/ 3 w 7"/>
                <a:gd name="T15" fmla="*/ 3 h 3"/>
                <a:gd name="T16" fmla="*/ 5 w 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5" y="3"/>
                  </a:moveTo>
                  <a:lnTo>
                    <a:pt x="7" y="3"/>
                  </a:lnTo>
                  <a:lnTo>
                    <a:pt x="5" y="2"/>
                  </a:lnTo>
                  <a:lnTo>
                    <a:pt x="0" y="0"/>
                  </a:lnTo>
                  <a:lnTo>
                    <a:pt x="0" y="2"/>
                  </a:lnTo>
                  <a:lnTo>
                    <a:pt x="0" y="2"/>
                  </a:lnTo>
                  <a:lnTo>
                    <a:pt x="1" y="3"/>
                  </a:lnTo>
                  <a:lnTo>
                    <a:pt x="3" y="3"/>
                  </a:lnTo>
                  <a:lnTo>
                    <a:pt x="5" y="3"/>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66" name="Freeform 3445"/>
            <p:cNvSpPr>
              <a:spLocks/>
            </p:cNvSpPr>
            <p:nvPr/>
          </p:nvSpPr>
          <p:spPr bwMode="auto">
            <a:xfrm>
              <a:off x="3831468" y="3615632"/>
              <a:ext cx="11270" cy="4830"/>
            </a:xfrm>
            <a:custGeom>
              <a:avLst/>
              <a:gdLst>
                <a:gd name="T0" fmla="*/ 5 w 7"/>
                <a:gd name="T1" fmla="*/ 3 h 3"/>
                <a:gd name="T2" fmla="*/ 7 w 7"/>
                <a:gd name="T3" fmla="*/ 3 h 3"/>
                <a:gd name="T4" fmla="*/ 5 w 7"/>
                <a:gd name="T5" fmla="*/ 2 h 3"/>
                <a:gd name="T6" fmla="*/ 0 w 7"/>
                <a:gd name="T7" fmla="*/ 0 h 3"/>
                <a:gd name="T8" fmla="*/ 0 w 7"/>
                <a:gd name="T9" fmla="*/ 2 h 3"/>
                <a:gd name="T10" fmla="*/ 0 w 7"/>
                <a:gd name="T11" fmla="*/ 2 h 3"/>
                <a:gd name="T12" fmla="*/ 1 w 7"/>
                <a:gd name="T13" fmla="*/ 3 h 3"/>
                <a:gd name="T14" fmla="*/ 3 w 7"/>
                <a:gd name="T15" fmla="*/ 3 h 3"/>
                <a:gd name="T16" fmla="*/ 5 w 7"/>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5" y="3"/>
                  </a:moveTo>
                  <a:lnTo>
                    <a:pt x="7" y="3"/>
                  </a:lnTo>
                  <a:lnTo>
                    <a:pt x="5" y="2"/>
                  </a:lnTo>
                  <a:lnTo>
                    <a:pt x="0" y="0"/>
                  </a:lnTo>
                  <a:lnTo>
                    <a:pt x="0" y="2"/>
                  </a:lnTo>
                  <a:lnTo>
                    <a:pt x="0" y="2"/>
                  </a:lnTo>
                  <a:lnTo>
                    <a:pt x="1" y="3"/>
                  </a:lnTo>
                  <a:lnTo>
                    <a:pt x="3" y="3"/>
                  </a:lnTo>
                  <a:lnTo>
                    <a:pt x="5" y="3"/>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67" name="Freeform 3446"/>
            <p:cNvSpPr>
              <a:spLocks/>
            </p:cNvSpPr>
            <p:nvPr/>
          </p:nvSpPr>
          <p:spPr bwMode="auto">
            <a:xfrm>
              <a:off x="3858838" y="3605972"/>
              <a:ext cx="6440" cy="6440"/>
            </a:xfrm>
            <a:custGeom>
              <a:avLst/>
              <a:gdLst>
                <a:gd name="T0" fmla="*/ 4 w 4"/>
                <a:gd name="T1" fmla="*/ 2 h 4"/>
                <a:gd name="T2" fmla="*/ 2 w 4"/>
                <a:gd name="T3" fmla="*/ 0 h 4"/>
                <a:gd name="T4" fmla="*/ 0 w 4"/>
                <a:gd name="T5" fmla="*/ 2 h 4"/>
                <a:gd name="T6" fmla="*/ 0 w 4"/>
                <a:gd name="T7" fmla="*/ 4 h 4"/>
                <a:gd name="T8" fmla="*/ 2 w 4"/>
                <a:gd name="T9" fmla="*/ 4 h 4"/>
                <a:gd name="T10" fmla="*/ 4 w 4"/>
                <a:gd name="T11" fmla="*/ 4 h 4"/>
                <a:gd name="T12" fmla="*/ 4 w 4"/>
                <a:gd name="T13" fmla="*/ 4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lnTo>
                    <a:pt x="2" y="0"/>
                  </a:lnTo>
                  <a:lnTo>
                    <a:pt x="0" y="2"/>
                  </a:lnTo>
                  <a:lnTo>
                    <a:pt x="0" y="4"/>
                  </a:lnTo>
                  <a:lnTo>
                    <a:pt x="2" y="4"/>
                  </a:lnTo>
                  <a:lnTo>
                    <a:pt x="4" y="4"/>
                  </a:lnTo>
                  <a:lnTo>
                    <a:pt x="4" y="4"/>
                  </a:lnTo>
                  <a:lnTo>
                    <a:pt x="4" y="2"/>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68" name="Freeform 3447"/>
            <p:cNvSpPr>
              <a:spLocks/>
            </p:cNvSpPr>
            <p:nvPr/>
          </p:nvSpPr>
          <p:spPr bwMode="auto">
            <a:xfrm>
              <a:off x="3858838" y="3605972"/>
              <a:ext cx="6440" cy="6440"/>
            </a:xfrm>
            <a:custGeom>
              <a:avLst/>
              <a:gdLst>
                <a:gd name="T0" fmla="*/ 4 w 4"/>
                <a:gd name="T1" fmla="*/ 2 h 4"/>
                <a:gd name="T2" fmla="*/ 2 w 4"/>
                <a:gd name="T3" fmla="*/ 0 h 4"/>
                <a:gd name="T4" fmla="*/ 0 w 4"/>
                <a:gd name="T5" fmla="*/ 2 h 4"/>
                <a:gd name="T6" fmla="*/ 0 w 4"/>
                <a:gd name="T7" fmla="*/ 4 h 4"/>
                <a:gd name="T8" fmla="*/ 2 w 4"/>
                <a:gd name="T9" fmla="*/ 4 h 4"/>
                <a:gd name="T10" fmla="*/ 4 w 4"/>
                <a:gd name="T11" fmla="*/ 4 h 4"/>
                <a:gd name="T12" fmla="*/ 4 w 4"/>
                <a:gd name="T13" fmla="*/ 4 h 4"/>
                <a:gd name="T14" fmla="*/ 4 w 4"/>
                <a:gd name="T15" fmla="*/ 2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2"/>
                  </a:moveTo>
                  <a:lnTo>
                    <a:pt x="2" y="0"/>
                  </a:lnTo>
                  <a:lnTo>
                    <a:pt x="0" y="2"/>
                  </a:lnTo>
                  <a:lnTo>
                    <a:pt x="0" y="4"/>
                  </a:lnTo>
                  <a:lnTo>
                    <a:pt x="2" y="4"/>
                  </a:lnTo>
                  <a:lnTo>
                    <a:pt x="4" y="4"/>
                  </a:lnTo>
                  <a:lnTo>
                    <a:pt x="4" y="4"/>
                  </a:lnTo>
                  <a:lnTo>
                    <a:pt x="4" y="2"/>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69" name="Freeform 3448"/>
            <p:cNvSpPr>
              <a:spLocks/>
            </p:cNvSpPr>
            <p:nvPr/>
          </p:nvSpPr>
          <p:spPr bwMode="auto">
            <a:xfrm>
              <a:off x="3899087" y="3638172"/>
              <a:ext cx="17710" cy="6440"/>
            </a:xfrm>
            <a:custGeom>
              <a:avLst/>
              <a:gdLst>
                <a:gd name="T0" fmla="*/ 11 w 11"/>
                <a:gd name="T1" fmla="*/ 0 h 4"/>
                <a:gd name="T2" fmla="*/ 9 w 11"/>
                <a:gd name="T3" fmla="*/ 0 h 4"/>
                <a:gd name="T4" fmla="*/ 0 w 11"/>
                <a:gd name="T5" fmla="*/ 0 h 4"/>
                <a:gd name="T6" fmla="*/ 0 w 11"/>
                <a:gd name="T7" fmla="*/ 2 h 4"/>
                <a:gd name="T8" fmla="*/ 6 w 11"/>
                <a:gd name="T9" fmla="*/ 4 h 4"/>
                <a:gd name="T10" fmla="*/ 9 w 11"/>
                <a:gd name="T11" fmla="*/ 2 h 4"/>
                <a:gd name="T12" fmla="*/ 11 w 11"/>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1" y="0"/>
                  </a:moveTo>
                  <a:lnTo>
                    <a:pt x="9" y="0"/>
                  </a:lnTo>
                  <a:lnTo>
                    <a:pt x="0" y="0"/>
                  </a:lnTo>
                  <a:lnTo>
                    <a:pt x="0" y="2"/>
                  </a:lnTo>
                  <a:lnTo>
                    <a:pt x="6" y="4"/>
                  </a:lnTo>
                  <a:lnTo>
                    <a:pt x="9" y="2"/>
                  </a:lnTo>
                  <a:lnTo>
                    <a:pt x="11"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70" name="Freeform 3449"/>
            <p:cNvSpPr>
              <a:spLocks/>
            </p:cNvSpPr>
            <p:nvPr/>
          </p:nvSpPr>
          <p:spPr bwMode="auto">
            <a:xfrm>
              <a:off x="3899087" y="3638172"/>
              <a:ext cx="17710" cy="6440"/>
            </a:xfrm>
            <a:custGeom>
              <a:avLst/>
              <a:gdLst>
                <a:gd name="T0" fmla="*/ 11 w 11"/>
                <a:gd name="T1" fmla="*/ 0 h 4"/>
                <a:gd name="T2" fmla="*/ 9 w 11"/>
                <a:gd name="T3" fmla="*/ 0 h 4"/>
                <a:gd name="T4" fmla="*/ 0 w 11"/>
                <a:gd name="T5" fmla="*/ 0 h 4"/>
                <a:gd name="T6" fmla="*/ 0 w 11"/>
                <a:gd name="T7" fmla="*/ 2 h 4"/>
                <a:gd name="T8" fmla="*/ 6 w 11"/>
                <a:gd name="T9" fmla="*/ 4 h 4"/>
                <a:gd name="T10" fmla="*/ 9 w 11"/>
                <a:gd name="T11" fmla="*/ 2 h 4"/>
                <a:gd name="T12" fmla="*/ 11 w 11"/>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11" h="4">
                  <a:moveTo>
                    <a:pt x="11" y="0"/>
                  </a:moveTo>
                  <a:lnTo>
                    <a:pt x="9" y="0"/>
                  </a:lnTo>
                  <a:lnTo>
                    <a:pt x="0" y="0"/>
                  </a:lnTo>
                  <a:lnTo>
                    <a:pt x="0" y="2"/>
                  </a:lnTo>
                  <a:lnTo>
                    <a:pt x="6" y="4"/>
                  </a:lnTo>
                  <a:lnTo>
                    <a:pt x="9" y="2"/>
                  </a:lnTo>
                  <a:lnTo>
                    <a:pt x="11"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71" name="Freeform 3450"/>
            <p:cNvSpPr>
              <a:spLocks/>
            </p:cNvSpPr>
            <p:nvPr/>
          </p:nvSpPr>
          <p:spPr bwMode="auto">
            <a:xfrm>
              <a:off x="3916797" y="3667151"/>
              <a:ext cx="3220" cy="0"/>
            </a:xfrm>
            <a:custGeom>
              <a:avLst/>
              <a:gdLst>
                <a:gd name="T0" fmla="*/ 2 w 2"/>
                <a:gd name="T1" fmla="*/ 2 w 2"/>
                <a:gd name="T2" fmla="*/ 2 w 2"/>
                <a:gd name="T3" fmla="*/ 0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2" y="0"/>
                  </a:lnTo>
                  <a:lnTo>
                    <a:pt x="0" y="0"/>
                  </a:lnTo>
                  <a:lnTo>
                    <a:pt x="0" y="0"/>
                  </a:lnTo>
                  <a:lnTo>
                    <a:pt x="2"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72" name="Freeform 3451"/>
            <p:cNvSpPr>
              <a:spLocks/>
            </p:cNvSpPr>
            <p:nvPr/>
          </p:nvSpPr>
          <p:spPr bwMode="auto">
            <a:xfrm>
              <a:off x="3916797" y="3667151"/>
              <a:ext cx="3220" cy="0"/>
            </a:xfrm>
            <a:custGeom>
              <a:avLst/>
              <a:gdLst>
                <a:gd name="T0" fmla="*/ 2 w 2"/>
                <a:gd name="T1" fmla="*/ 2 w 2"/>
                <a:gd name="T2" fmla="*/ 2 w 2"/>
                <a:gd name="T3" fmla="*/ 0 w 2"/>
                <a:gd name="T4" fmla="*/ 0 w 2"/>
                <a:gd name="T5" fmla="*/ 2 w 2"/>
              </a:gdLst>
              <a:ahLst/>
              <a:cxnLst>
                <a:cxn ang="0">
                  <a:pos x="T0" y="0"/>
                </a:cxn>
                <a:cxn ang="0">
                  <a:pos x="T1" y="0"/>
                </a:cxn>
                <a:cxn ang="0">
                  <a:pos x="T2" y="0"/>
                </a:cxn>
                <a:cxn ang="0">
                  <a:pos x="T3" y="0"/>
                </a:cxn>
                <a:cxn ang="0">
                  <a:pos x="T4" y="0"/>
                </a:cxn>
                <a:cxn ang="0">
                  <a:pos x="T5" y="0"/>
                </a:cxn>
              </a:cxnLst>
              <a:rect l="0" t="0" r="r" b="b"/>
              <a:pathLst>
                <a:path w="2">
                  <a:moveTo>
                    <a:pt x="2" y="0"/>
                  </a:moveTo>
                  <a:lnTo>
                    <a:pt x="2" y="0"/>
                  </a:lnTo>
                  <a:lnTo>
                    <a:pt x="2" y="0"/>
                  </a:lnTo>
                  <a:lnTo>
                    <a:pt x="0" y="0"/>
                  </a:lnTo>
                  <a:lnTo>
                    <a:pt x="0" y="0"/>
                  </a:lnTo>
                  <a:lnTo>
                    <a:pt x="2" y="0"/>
                  </a:lnTo>
                </a:path>
              </a:pathLst>
            </a:custGeom>
            <a:solidFill>
              <a:schemeClr val="bg1">
                <a:lumMod val="85000"/>
              </a:schemeClr>
            </a:solidFill>
            <a:ln w="3175">
              <a:solidFill>
                <a:schemeClr val="bg1"/>
              </a:solidFill>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73" name="Freeform 3452"/>
            <p:cNvSpPr>
              <a:spLocks/>
            </p:cNvSpPr>
            <p:nvPr/>
          </p:nvSpPr>
          <p:spPr bwMode="auto">
            <a:xfrm>
              <a:off x="4058475" y="3913478"/>
              <a:ext cx="8050" cy="14490"/>
            </a:xfrm>
            <a:custGeom>
              <a:avLst/>
              <a:gdLst>
                <a:gd name="T0" fmla="*/ 3 w 5"/>
                <a:gd name="T1" fmla="*/ 2 h 9"/>
                <a:gd name="T2" fmla="*/ 3 w 5"/>
                <a:gd name="T3" fmla="*/ 2 h 9"/>
                <a:gd name="T4" fmla="*/ 1 w 5"/>
                <a:gd name="T5" fmla="*/ 0 h 9"/>
                <a:gd name="T6" fmla="*/ 1 w 5"/>
                <a:gd name="T7" fmla="*/ 0 h 9"/>
                <a:gd name="T8" fmla="*/ 1 w 5"/>
                <a:gd name="T9" fmla="*/ 0 h 9"/>
                <a:gd name="T10" fmla="*/ 1 w 5"/>
                <a:gd name="T11" fmla="*/ 0 h 9"/>
                <a:gd name="T12" fmla="*/ 0 w 5"/>
                <a:gd name="T13" fmla="*/ 2 h 9"/>
                <a:gd name="T14" fmla="*/ 0 w 5"/>
                <a:gd name="T15" fmla="*/ 2 h 9"/>
                <a:gd name="T16" fmla="*/ 0 w 5"/>
                <a:gd name="T17" fmla="*/ 4 h 9"/>
                <a:gd name="T18" fmla="*/ 0 w 5"/>
                <a:gd name="T19" fmla="*/ 4 h 9"/>
                <a:gd name="T20" fmla="*/ 0 w 5"/>
                <a:gd name="T21" fmla="*/ 4 h 9"/>
                <a:gd name="T22" fmla="*/ 0 w 5"/>
                <a:gd name="T23" fmla="*/ 4 h 9"/>
                <a:gd name="T24" fmla="*/ 1 w 5"/>
                <a:gd name="T25" fmla="*/ 6 h 9"/>
                <a:gd name="T26" fmla="*/ 1 w 5"/>
                <a:gd name="T27" fmla="*/ 6 h 9"/>
                <a:gd name="T28" fmla="*/ 1 w 5"/>
                <a:gd name="T29" fmla="*/ 6 h 9"/>
                <a:gd name="T30" fmla="*/ 1 w 5"/>
                <a:gd name="T31" fmla="*/ 6 h 9"/>
                <a:gd name="T32" fmla="*/ 1 w 5"/>
                <a:gd name="T33" fmla="*/ 8 h 9"/>
                <a:gd name="T34" fmla="*/ 1 w 5"/>
                <a:gd name="T35" fmla="*/ 8 h 9"/>
                <a:gd name="T36" fmla="*/ 3 w 5"/>
                <a:gd name="T37" fmla="*/ 8 h 9"/>
                <a:gd name="T38" fmla="*/ 3 w 5"/>
                <a:gd name="T39" fmla="*/ 8 h 9"/>
                <a:gd name="T40" fmla="*/ 3 w 5"/>
                <a:gd name="T41" fmla="*/ 9 h 9"/>
                <a:gd name="T42" fmla="*/ 3 w 5"/>
                <a:gd name="T43" fmla="*/ 9 h 9"/>
                <a:gd name="T44" fmla="*/ 3 w 5"/>
                <a:gd name="T45" fmla="*/ 9 h 9"/>
                <a:gd name="T46" fmla="*/ 3 w 5"/>
                <a:gd name="T47" fmla="*/ 9 h 9"/>
                <a:gd name="T48" fmla="*/ 3 w 5"/>
                <a:gd name="T49" fmla="*/ 9 h 9"/>
                <a:gd name="T50" fmla="*/ 5 w 5"/>
                <a:gd name="T51" fmla="*/ 8 h 9"/>
                <a:gd name="T52" fmla="*/ 5 w 5"/>
                <a:gd name="T53" fmla="*/ 8 h 9"/>
                <a:gd name="T54" fmla="*/ 5 w 5"/>
                <a:gd name="T55" fmla="*/ 6 h 9"/>
                <a:gd name="T56" fmla="*/ 5 w 5"/>
                <a:gd name="T57" fmla="*/ 6 h 9"/>
                <a:gd name="T58" fmla="*/ 5 w 5"/>
                <a:gd name="T59" fmla="*/ 4 h 9"/>
                <a:gd name="T60" fmla="*/ 5 w 5"/>
                <a:gd name="T61" fmla="*/ 4 h 9"/>
                <a:gd name="T62" fmla="*/ 5 w 5"/>
                <a:gd name="T63" fmla="*/ 4 h 9"/>
                <a:gd name="T64" fmla="*/ 5 w 5"/>
                <a:gd name="T65" fmla="*/ 4 h 9"/>
                <a:gd name="T66" fmla="*/ 5 w 5"/>
                <a:gd name="T67" fmla="*/ 2 h 9"/>
                <a:gd name="T68" fmla="*/ 5 w 5"/>
                <a:gd name="T69" fmla="*/ 2 h 9"/>
                <a:gd name="T70" fmla="*/ 5 w 5"/>
                <a:gd name="T71" fmla="*/ 2 h 9"/>
                <a:gd name="T72" fmla="*/ 5 w 5"/>
                <a:gd name="T73" fmla="*/ 2 h 9"/>
                <a:gd name="T74" fmla="*/ 5 w 5"/>
                <a:gd name="T75" fmla="*/ 0 h 9"/>
                <a:gd name="T76" fmla="*/ 5 w 5"/>
                <a:gd name="T77" fmla="*/ 0 h 9"/>
                <a:gd name="T78" fmla="*/ 3 w 5"/>
                <a:gd name="T79" fmla="*/ 2 h 9"/>
                <a:gd name="T80" fmla="*/ 3 w 5"/>
                <a:gd name="T81"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 h="9">
                  <a:moveTo>
                    <a:pt x="3" y="2"/>
                  </a:moveTo>
                  <a:lnTo>
                    <a:pt x="3" y="2"/>
                  </a:lnTo>
                  <a:lnTo>
                    <a:pt x="1" y="0"/>
                  </a:lnTo>
                  <a:lnTo>
                    <a:pt x="1" y="0"/>
                  </a:lnTo>
                  <a:lnTo>
                    <a:pt x="1" y="0"/>
                  </a:lnTo>
                  <a:lnTo>
                    <a:pt x="1" y="0"/>
                  </a:lnTo>
                  <a:lnTo>
                    <a:pt x="0" y="2"/>
                  </a:lnTo>
                  <a:lnTo>
                    <a:pt x="0" y="2"/>
                  </a:lnTo>
                  <a:lnTo>
                    <a:pt x="0" y="4"/>
                  </a:lnTo>
                  <a:lnTo>
                    <a:pt x="0" y="4"/>
                  </a:lnTo>
                  <a:lnTo>
                    <a:pt x="0" y="4"/>
                  </a:lnTo>
                  <a:lnTo>
                    <a:pt x="0" y="4"/>
                  </a:lnTo>
                  <a:lnTo>
                    <a:pt x="1" y="6"/>
                  </a:lnTo>
                  <a:lnTo>
                    <a:pt x="1" y="6"/>
                  </a:lnTo>
                  <a:lnTo>
                    <a:pt x="1" y="6"/>
                  </a:lnTo>
                  <a:lnTo>
                    <a:pt x="1" y="6"/>
                  </a:lnTo>
                  <a:lnTo>
                    <a:pt x="1" y="8"/>
                  </a:lnTo>
                  <a:lnTo>
                    <a:pt x="1" y="8"/>
                  </a:lnTo>
                  <a:lnTo>
                    <a:pt x="3" y="8"/>
                  </a:lnTo>
                  <a:lnTo>
                    <a:pt x="3" y="8"/>
                  </a:lnTo>
                  <a:lnTo>
                    <a:pt x="3" y="9"/>
                  </a:lnTo>
                  <a:lnTo>
                    <a:pt x="3" y="9"/>
                  </a:lnTo>
                  <a:lnTo>
                    <a:pt x="3" y="9"/>
                  </a:lnTo>
                  <a:lnTo>
                    <a:pt x="3" y="9"/>
                  </a:lnTo>
                  <a:lnTo>
                    <a:pt x="3" y="9"/>
                  </a:lnTo>
                  <a:lnTo>
                    <a:pt x="5" y="8"/>
                  </a:lnTo>
                  <a:lnTo>
                    <a:pt x="5" y="8"/>
                  </a:lnTo>
                  <a:lnTo>
                    <a:pt x="5" y="6"/>
                  </a:lnTo>
                  <a:lnTo>
                    <a:pt x="5" y="6"/>
                  </a:lnTo>
                  <a:lnTo>
                    <a:pt x="5" y="4"/>
                  </a:lnTo>
                  <a:lnTo>
                    <a:pt x="5" y="4"/>
                  </a:lnTo>
                  <a:lnTo>
                    <a:pt x="5" y="4"/>
                  </a:lnTo>
                  <a:lnTo>
                    <a:pt x="5" y="4"/>
                  </a:lnTo>
                  <a:lnTo>
                    <a:pt x="5" y="2"/>
                  </a:lnTo>
                  <a:lnTo>
                    <a:pt x="5" y="2"/>
                  </a:lnTo>
                  <a:lnTo>
                    <a:pt x="5" y="2"/>
                  </a:lnTo>
                  <a:lnTo>
                    <a:pt x="5" y="2"/>
                  </a:lnTo>
                  <a:lnTo>
                    <a:pt x="5" y="0"/>
                  </a:lnTo>
                  <a:lnTo>
                    <a:pt x="5" y="0"/>
                  </a:lnTo>
                  <a:lnTo>
                    <a:pt x="3" y="2"/>
                  </a:lnTo>
                  <a:lnTo>
                    <a:pt x="3" y="2"/>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74" name="Freeform 3453"/>
            <p:cNvSpPr>
              <a:spLocks/>
            </p:cNvSpPr>
            <p:nvPr/>
          </p:nvSpPr>
          <p:spPr bwMode="auto">
            <a:xfrm>
              <a:off x="4052035" y="3952118"/>
              <a:ext cx="8050" cy="8050"/>
            </a:xfrm>
            <a:custGeom>
              <a:avLst/>
              <a:gdLst>
                <a:gd name="T0" fmla="*/ 4 w 5"/>
                <a:gd name="T1" fmla="*/ 1 h 5"/>
                <a:gd name="T2" fmla="*/ 4 w 5"/>
                <a:gd name="T3" fmla="*/ 1 h 5"/>
                <a:gd name="T4" fmla="*/ 2 w 5"/>
                <a:gd name="T5" fmla="*/ 1 h 5"/>
                <a:gd name="T6" fmla="*/ 2 w 5"/>
                <a:gd name="T7" fmla="*/ 1 h 5"/>
                <a:gd name="T8" fmla="*/ 2 w 5"/>
                <a:gd name="T9" fmla="*/ 1 h 5"/>
                <a:gd name="T10" fmla="*/ 2 w 5"/>
                <a:gd name="T11" fmla="*/ 1 h 5"/>
                <a:gd name="T12" fmla="*/ 0 w 5"/>
                <a:gd name="T13" fmla="*/ 1 h 5"/>
                <a:gd name="T14" fmla="*/ 0 w 5"/>
                <a:gd name="T15" fmla="*/ 1 h 5"/>
                <a:gd name="T16" fmla="*/ 0 w 5"/>
                <a:gd name="T17" fmla="*/ 1 h 5"/>
                <a:gd name="T18" fmla="*/ 0 w 5"/>
                <a:gd name="T19" fmla="*/ 3 h 5"/>
                <a:gd name="T20" fmla="*/ 0 w 5"/>
                <a:gd name="T21" fmla="*/ 3 h 5"/>
                <a:gd name="T22" fmla="*/ 4 w 5"/>
                <a:gd name="T23" fmla="*/ 3 h 5"/>
                <a:gd name="T24" fmla="*/ 4 w 5"/>
                <a:gd name="T25" fmla="*/ 3 h 5"/>
                <a:gd name="T26" fmla="*/ 4 w 5"/>
                <a:gd name="T27" fmla="*/ 5 h 5"/>
                <a:gd name="T28" fmla="*/ 4 w 5"/>
                <a:gd name="T29" fmla="*/ 5 h 5"/>
                <a:gd name="T30" fmla="*/ 5 w 5"/>
                <a:gd name="T31" fmla="*/ 3 h 5"/>
                <a:gd name="T32" fmla="*/ 5 w 5"/>
                <a:gd name="T33" fmla="*/ 3 h 5"/>
                <a:gd name="T34" fmla="*/ 5 w 5"/>
                <a:gd name="T35" fmla="*/ 1 h 5"/>
                <a:gd name="T36" fmla="*/ 5 w 5"/>
                <a:gd name="T37" fmla="*/ 1 h 5"/>
                <a:gd name="T38" fmla="*/ 5 w 5"/>
                <a:gd name="T39" fmla="*/ 1 h 5"/>
                <a:gd name="T40" fmla="*/ 5 w 5"/>
                <a:gd name="T41" fmla="*/ 1 h 5"/>
                <a:gd name="T42" fmla="*/ 5 w 5"/>
                <a:gd name="T43" fmla="*/ 0 h 5"/>
                <a:gd name="T44" fmla="*/ 5 w 5"/>
                <a:gd name="T45" fmla="*/ 0 h 5"/>
                <a:gd name="T46" fmla="*/ 5 w 5"/>
                <a:gd name="T47" fmla="*/ 0 h 5"/>
                <a:gd name="T48" fmla="*/ 5 w 5"/>
                <a:gd name="T49" fmla="*/ 0 h 5"/>
                <a:gd name="T50" fmla="*/ 4 w 5"/>
                <a:gd name="T51" fmla="*/ 1 h 5"/>
                <a:gd name="T52" fmla="*/ 4 w 5"/>
                <a:gd name="T5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 h="5">
                  <a:moveTo>
                    <a:pt x="4" y="1"/>
                  </a:moveTo>
                  <a:lnTo>
                    <a:pt x="4" y="1"/>
                  </a:lnTo>
                  <a:lnTo>
                    <a:pt x="2" y="1"/>
                  </a:lnTo>
                  <a:lnTo>
                    <a:pt x="2" y="1"/>
                  </a:lnTo>
                  <a:lnTo>
                    <a:pt x="2" y="1"/>
                  </a:lnTo>
                  <a:lnTo>
                    <a:pt x="2" y="1"/>
                  </a:lnTo>
                  <a:lnTo>
                    <a:pt x="0" y="1"/>
                  </a:lnTo>
                  <a:lnTo>
                    <a:pt x="0" y="1"/>
                  </a:lnTo>
                  <a:lnTo>
                    <a:pt x="0" y="1"/>
                  </a:lnTo>
                  <a:lnTo>
                    <a:pt x="0" y="3"/>
                  </a:lnTo>
                  <a:lnTo>
                    <a:pt x="0" y="3"/>
                  </a:lnTo>
                  <a:lnTo>
                    <a:pt x="4" y="3"/>
                  </a:lnTo>
                  <a:lnTo>
                    <a:pt x="4" y="3"/>
                  </a:lnTo>
                  <a:lnTo>
                    <a:pt x="4" y="5"/>
                  </a:lnTo>
                  <a:lnTo>
                    <a:pt x="4" y="5"/>
                  </a:lnTo>
                  <a:lnTo>
                    <a:pt x="5" y="3"/>
                  </a:lnTo>
                  <a:lnTo>
                    <a:pt x="5" y="3"/>
                  </a:lnTo>
                  <a:lnTo>
                    <a:pt x="5" y="1"/>
                  </a:lnTo>
                  <a:lnTo>
                    <a:pt x="5" y="1"/>
                  </a:lnTo>
                  <a:lnTo>
                    <a:pt x="5" y="1"/>
                  </a:lnTo>
                  <a:lnTo>
                    <a:pt x="5" y="1"/>
                  </a:lnTo>
                  <a:lnTo>
                    <a:pt x="5" y="0"/>
                  </a:lnTo>
                  <a:lnTo>
                    <a:pt x="5" y="0"/>
                  </a:lnTo>
                  <a:lnTo>
                    <a:pt x="5" y="0"/>
                  </a:lnTo>
                  <a:lnTo>
                    <a:pt x="5" y="0"/>
                  </a:lnTo>
                  <a:lnTo>
                    <a:pt x="4" y="1"/>
                  </a:lnTo>
                  <a:lnTo>
                    <a:pt x="4" y="1"/>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75" name="Freeform 3454"/>
            <p:cNvSpPr>
              <a:spLocks/>
            </p:cNvSpPr>
            <p:nvPr/>
          </p:nvSpPr>
          <p:spPr bwMode="auto">
            <a:xfrm>
              <a:off x="4098725" y="3926358"/>
              <a:ext cx="25760" cy="19320"/>
            </a:xfrm>
            <a:custGeom>
              <a:avLst/>
              <a:gdLst>
                <a:gd name="T0" fmla="*/ 9 w 16"/>
                <a:gd name="T1" fmla="*/ 3 h 12"/>
                <a:gd name="T2" fmla="*/ 7 w 16"/>
                <a:gd name="T3" fmla="*/ 3 h 12"/>
                <a:gd name="T4" fmla="*/ 5 w 16"/>
                <a:gd name="T5" fmla="*/ 3 h 12"/>
                <a:gd name="T6" fmla="*/ 3 w 16"/>
                <a:gd name="T7" fmla="*/ 3 h 12"/>
                <a:gd name="T8" fmla="*/ 1 w 16"/>
                <a:gd name="T9" fmla="*/ 3 h 12"/>
                <a:gd name="T10" fmla="*/ 1 w 16"/>
                <a:gd name="T11" fmla="*/ 3 h 12"/>
                <a:gd name="T12" fmla="*/ 0 w 16"/>
                <a:gd name="T13" fmla="*/ 3 h 12"/>
                <a:gd name="T14" fmla="*/ 0 w 16"/>
                <a:gd name="T15" fmla="*/ 5 h 12"/>
                <a:gd name="T16" fmla="*/ 0 w 16"/>
                <a:gd name="T17" fmla="*/ 5 h 12"/>
                <a:gd name="T18" fmla="*/ 1 w 16"/>
                <a:gd name="T19" fmla="*/ 7 h 12"/>
                <a:gd name="T20" fmla="*/ 1 w 16"/>
                <a:gd name="T21" fmla="*/ 7 h 12"/>
                <a:gd name="T22" fmla="*/ 1 w 16"/>
                <a:gd name="T23" fmla="*/ 9 h 12"/>
                <a:gd name="T24" fmla="*/ 1 w 16"/>
                <a:gd name="T25" fmla="*/ 9 h 12"/>
                <a:gd name="T26" fmla="*/ 1 w 16"/>
                <a:gd name="T27" fmla="*/ 10 h 12"/>
                <a:gd name="T28" fmla="*/ 3 w 16"/>
                <a:gd name="T29" fmla="*/ 10 h 12"/>
                <a:gd name="T30" fmla="*/ 3 w 16"/>
                <a:gd name="T31" fmla="*/ 10 h 12"/>
                <a:gd name="T32" fmla="*/ 3 w 16"/>
                <a:gd name="T33" fmla="*/ 12 h 12"/>
                <a:gd name="T34" fmla="*/ 5 w 16"/>
                <a:gd name="T35" fmla="*/ 12 h 12"/>
                <a:gd name="T36" fmla="*/ 5 w 16"/>
                <a:gd name="T37" fmla="*/ 12 h 12"/>
                <a:gd name="T38" fmla="*/ 7 w 16"/>
                <a:gd name="T39" fmla="*/ 12 h 12"/>
                <a:gd name="T40" fmla="*/ 9 w 16"/>
                <a:gd name="T41" fmla="*/ 10 h 12"/>
                <a:gd name="T42" fmla="*/ 9 w 16"/>
                <a:gd name="T43" fmla="*/ 10 h 12"/>
                <a:gd name="T44" fmla="*/ 10 w 16"/>
                <a:gd name="T45" fmla="*/ 9 h 12"/>
                <a:gd name="T46" fmla="*/ 10 w 16"/>
                <a:gd name="T47" fmla="*/ 7 h 12"/>
                <a:gd name="T48" fmla="*/ 10 w 16"/>
                <a:gd name="T49" fmla="*/ 5 h 12"/>
                <a:gd name="T50" fmla="*/ 12 w 16"/>
                <a:gd name="T51" fmla="*/ 5 h 12"/>
                <a:gd name="T52" fmla="*/ 12 w 16"/>
                <a:gd name="T53" fmla="*/ 3 h 12"/>
                <a:gd name="T54" fmla="*/ 12 w 16"/>
                <a:gd name="T55" fmla="*/ 3 h 12"/>
                <a:gd name="T56" fmla="*/ 14 w 16"/>
                <a:gd name="T57" fmla="*/ 1 h 12"/>
                <a:gd name="T58" fmla="*/ 14 w 16"/>
                <a:gd name="T59" fmla="*/ 1 h 12"/>
                <a:gd name="T60" fmla="*/ 16 w 16"/>
                <a:gd name="T61" fmla="*/ 1 h 12"/>
                <a:gd name="T62" fmla="*/ 16 w 16"/>
                <a:gd name="T63" fmla="*/ 0 h 12"/>
                <a:gd name="T64" fmla="*/ 16 w 16"/>
                <a:gd name="T65" fmla="*/ 0 h 12"/>
                <a:gd name="T66" fmla="*/ 16 w 16"/>
                <a:gd name="T67" fmla="*/ 0 h 12"/>
                <a:gd name="T68" fmla="*/ 14 w 16"/>
                <a:gd name="T69" fmla="*/ 0 h 12"/>
                <a:gd name="T70" fmla="*/ 12 w 16"/>
                <a:gd name="T71" fmla="*/ 0 h 12"/>
                <a:gd name="T72" fmla="*/ 10 w 16"/>
                <a:gd name="T73" fmla="*/ 0 h 12"/>
                <a:gd name="T74" fmla="*/ 10 w 16"/>
                <a:gd name="T75" fmla="*/ 1 h 12"/>
                <a:gd name="T76" fmla="*/ 9 w 16"/>
                <a:gd name="T77" fmla="*/ 1 h 12"/>
                <a:gd name="T78" fmla="*/ 9 w 16"/>
                <a:gd name="T79"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 h="12">
                  <a:moveTo>
                    <a:pt x="9" y="3"/>
                  </a:moveTo>
                  <a:lnTo>
                    <a:pt x="9" y="3"/>
                  </a:lnTo>
                  <a:lnTo>
                    <a:pt x="7" y="3"/>
                  </a:lnTo>
                  <a:lnTo>
                    <a:pt x="7" y="3"/>
                  </a:lnTo>
                  <a:lnTo>
                    <a:pt x="5" y="3"/>
                  </a:lnTo>
                  <a:lnTo>
                    <a:pt x="5" y="3"/>
                  </a:lnTo>
                  <a:lnTo>
                    <a:pt x="3" y="3"/>
                  </a:lnTo>
                  <a:lnTo>
                    <a:pt x="3" y="3"/>
                  </a:lnTo>
                  <a:lnTo>
                    <a:pt x="1" y="3"/>
                  </a:lnTo>
                  <a:lnTo>
                    <a:pt x="1" y="3"/>
                  </a:lnTo>
                  <a:lnTo>
                    <a:pt x="1" y="3"/>
                  </a:lnTo>
                  <a:lnTo>
                    <a:pt x="1" y="3"/>
                  </a:lnTo>
                  <a:lnTo>
                    <a:pt x="0" y="3"/>
                  </a:lnTo>
                  <a:lnTo>
                    <a:pt x="0" y="3"/>
                  </a:lnTo>
                  <a:lnTo>
                    <a:pt x="0" y="5"/>
                  </a:lnTo>
                  <a:lnTo>
                    <a:pt x="0" y="5"/>
                  </a:lnTo>
                  <a:lnTo>
                    <a:pt x="0" y="5"/>
                  </a:lnTo>
                  <a:lnTo>
                    <a:pt x="0" y="5"/>
                  </a:lnTo>
                  <a:lnTo>
                    <a:pt x="0" y="5"/>
                  </a:lnTo>
                  <a:lnTo>
                    <a:pt x="1" y="7"/>
                  </a:lnTo>
                  <a:lnTo>
                    <a:pt x="1" y="7"/>
                  </a:lnTo>
                  <a:lnTo>
                    <a:pt x="1" y="7"/>
                  </a:lnTo>
                  <a:lnTo>
                    <a:pt x="1" y="7"/>
                  </a:lnTo>
                  <a:lnTo>
                    <a:pt x="1" y="9"/>
                  </a:lnTo>
                  <a:lnTo>
                    <a:pt x="1" y="9"/>
                  </a:lnTo>
                  <a:lnTo>
                    <a:pt x="1" y="9"/>
                  </a:lnTo>
                  <a:lnTo>
                    <a:pt x="1" y="9"/>
                  </a:lnTo>
                  <a:lnTo>
                    <a:pt x="1" y="10"/>
                  </a:lnTo>
                  <a:lnTo>
                    <a:pt x="1" y="10"/>
                  </a:lnTo>
                  <a:lnTo>
                    <a:pt x="3" y="10"/>
                  </a:lnTo>
                  <a:lnTo>
                    <a:pt x="3" y="10"/>
                  </a:lnTo>
                  <a:lnTo>
                    <a:pt x="3" y="10"/>
                  </a:lnTo>
                  <a:lnTo>
                    <a:pt x="3" y="10"/>
                  </a:lnTo>
                  <a:lnTo>
                    <a:pt x="3" y="12"/>
                  </a:lnTo>
                  <a:lnTo>
                    <a:pt x="3" y="12"/>
                  </a:lnTo>
                  <a:lnTo>
                    <a:pt x="5" y="12"/>
                  </a:lnTo>
                  <a:lnTo>
                    <a:pt x="5" y="12"/>
                  </a:lnTo>
                  <a:lnTo>
                    <a:pt x="5" y="12"/>
                  </a:lnTo>
                  <a:lnTo>
                    <a:pt x="5" y="12"/>
                  </a:lnTo>
                  <a:lnTo>
                    <a:pt x="7" y="12"/>
                  </a:lnTo>
                  <a:lnTo>
                    <a:pt x="7" y="12"/>
                  </a:lnTo>
                  <a:lnTo>
                    <a:pt x="9" y="10"/>
                  </a:lnTo>
                  <a:lnTo>
                    <a:pt x="9" y="10"/>
                  </a:lnTo>
                  <a:lnTo>
                    <a:pt x="9" y="10"/>
                  </a:lnTo>
                  <a:lnTo>
                    <a:pt x="9" y="10"/>
                  </a:lnTo>
                  <a:lnTo>
                    <a:pt x="10" y="9"/>
                  </a:lnTo>
                  <a:lnTo>
                    <a:pt x="10" y="9"/>
                  </a:lnTo>
                  <a:lnTo>
                    <a:pt x="10" y="7"/>
                  </a:lnTo>
                  <a:lnTo>
                    <a:pt x="10" y="7"/>
                  </a:lnTo>
                  <a:lnTo>
                    <a:pt x="10" y="5"/>
                  </a:lnTo>
                  <a:lnTo>
                    <a:pt x="10" y="5"/>
                  </a:lnTo>
                  <a:lnTo>
                    <a:pt x="12" y="5"/>
                  </a:lnTo>
                  <a:lnTo>
                    <a:pt x="12" y="5"/>
                  </a:lnTo>
                  <a:lnTo>
                    <a:pt x="12" y="3"/>
                  </a:lnTo>
                  <a:lnTo>
                    <a:pt x="12" y="3"/>
                  </a:lnTo>
                  <a:lnTo>
                    <a:pt x="12" y="3"/>
                  </a:lnTo>
                  <a:lnTo>
                    <a:pt x="12" y="3"/>
                  </a:lnTo>
                  <a:lnTo>
                    <a:pt x="14" y="1"/>
                  </a:lnTo>
                  <a:lnTo>
                    <a:pt x="14" y="1"/>
                  </a:lnTo>
                  <a:lnTo>
                    <a:pt x="14" y="1"/>
                  </a:lnTo>
                  <a:lnTo>
                    <a:pt x="14" y="1"/>
                  </a:lnTo>
                  <a:lnTo>
                    <a:pt x="16" y="1"/>
                  </a:lnTo>
                  <a:lnTo>
                    <a:pt x="16" y="1"/>
                  </a:lnTo>
                  <a:lnTo>
                    <a:pt x="16" y="0"/>
                  </a:lnTo>
                  <a:lnTo>
                    <a:pt x="16" y="0"/>
                  </a:lnTo>
                  <a:lnTo>
                    <a:pt x="16" y="0"/>
                  </a:lnTo>
                  <a:lnTo>
                    <a:pt x="16" y="0"/>
                  </a:lnTo>
                  <a:lnTo>
                    <a:pt x="16" y="0"/>
                  </a:lnTo>
                  <a:lnTo>
                    <a:pt x="14" y="0"/>
                  </a:lnTo>
                  <a:lnTo>
                    <a:pt x="14" y="0"/>
                  </a:lnTo>
                  <a:lnTo>
                    <a:pt x="12" y="0"/>
                  </a:lnTo>
                  <a:lnTo>
                    <a:pt x="12" y="0"/>
                  </a:lnTo>
                  <a:lnTo>
                    <a:pt x="10" y="0"/>
                  </a:lnTo>
                  <a:lnTo>
                    <a:pt x="10" y="0"/>
                  </a:lnTo>
                  <a:lnTo>
                    <a:pt x="10" y="1"/>
                  </a:lnTo>
                  <a:lnTo>
                    <a:pt x="10" y="1"/>
                  </a:lnTo>
                  <a:lnTo>
                    <a:pt x="9" y="1"/>
                  </a:lnTo>
                  <a:lnTo>
                    <a:pt x="9" y="1"/>
                  </a:lnTo>
                  <a:lnTo>
                    <a:pt x="9" y="3"/>
                  </a:lnTo>
                  <a:lnTo>
                    <a:pt x="9" y="3"/>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76" name="Freeform 3455"/>
            <p:cNvSpPr>
              <a:spLocks/>
            </p:cNvSpPr>
            <p:nvPr/>
          </p:nvSpPr>
          <p:spPr bwMode="auto">
            <a:xfrm>
              <a:off x="4081015" y="3937628"/>
              <a:ext cx="8050" cy="8050"/>
            </a:xfrm>
            <a:custGeom>
              <a:avLst/>
              <a:gdLst>
                <a:gd name="T0" fmla="*/ 2 w 5"/>
                <a:gd name="T1" fmla="*/ 0 h 5"/>
                <a:gd name="T2" fmla="*/ 2 w 5"/>
                <a:gd name="T3" fmla="*/ 0 h 5"/>
                <a:gd name="T4" fmla="*/ 0 w 5"/>
                <a:gd name="T5" fmla="*/ 2 h 5"/>
                <a:gd name="T6" fmla="*/ 0 w 5"/>
                <a:gd name="T7" fmla="*/ 2 h 5"/>
                <a:gd name="T8" fmla="*/ 0 w 5"/>
                <a:gd name="T9" fmla="*/ 3 h 5"/>
                <a:gd name="T10" fmla="*/ 2 w 5"/>
                <a:gd name="T11" fmla="*/ 3 h 5"/>
                <a:gd name="T12" fmla="*/ 2 w 5"/>
                <a:gd name="T13" fmla="*/ 3 h 5"/>
                <a:gd name="T14" fmla="*/ 3 w 5"/>
                <a:gd name="T15" fmla="*/ 5 h 5"/>
                <a:gd name="T16" fmla="*/ 5 w 5"/>
                <a:gd name="T17" fmla="*/ 3 h 5"/>
                <a:gd name="T18" fmla="*/ 5 w 5"/>
                <a:gd name="T19" fmla="*/ 3 h 5"/>
                <a:gd name="T20" fmla="*/ 5 w 5"/>
                <a:gd name="T21" fmla="*/ 3 h 5"/>
                <a:gd name="T22" fmla="*/ 5 w 5"/>
                <a:gd name="T23" fmla="*/ 2 h 5"/>
                <a:gd name="T24" fmla="*/ 5 w 5"/>
                <a:gd name="T25" fmla="*/ 2 h 5"/>
                <a:gd name="T26" fmla="*/ 3 w 5"/>
                <a:gd name="T27" fmla="*/ 0 h 5"/>
                <a:gd name="T28" fmla="*/ 3 w 5"/>
                <a:gd name="T29" fmla="*/ 0 h 5"/>
                <a:gd name="T30" fmla="*/ 2 w 5"/>
                <a:gd name="T31" fmla="*/ 0 h 5"/>
                <a:gd name="T32" fmla="*/ 2 w 5"/>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2" y="0"/>
                  </a:moveTo>
                  <a:lnTo>
                    <a:pt x="2" y="0"/>
                  </a:lnTo>
                  <a:lnTo>
                    <a:pt x="0" y="2"/>
                  </a:lnTo>
                  <a:lnTo>
                    <a:pt x="0" y="2"/>
                  </a:lnTo>
                  <a:lnTo>
                    <a:pt x="0" y="3"/>
                  </a:lnTo>
                  <a:lnTo>
                    <a:pt x="2" y="3"/>
                  </a:lnTo>
                  <a:lnTo>
                    <a:pt x="2" y="3"/>
                  </a:lnTo>
                  <a:lnTo>
                    <a:pt x="3" y="5"/>
                  </a:lnTo>
                  <a:lnTo>
                    <a:pt x="5" y="3"/>
                  </a:lnTo>
                  <a:lnTo>
                    <a:pt x="5" y="3"/>
                  </a:lnTo>
                  <a:lnTo>
                    <a:pt x="5" y="3"/>
                  </a:lnTo>
                  <a:lnTo>
                    <a:pt x="5" y="2"/>
                  </a:lnTo>
                  <a:lnTo>
                    <a:pt x="5" y="2"/>
                  </a:lnTo>
                  <a:lnTo>
                    <a:pt x="3" y="0"/>
                  </a:lnTo>
                  <a:lnTo>
                    <a:pt x="3" y="0"/>
                  </a:lnTo>
                  <a:lnTo>
                    <a:pt x="2" y="0"/>
                  </a:lnTo>
                  <a:lnTo>
                    <a:pt x="2"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77" name="Freeform 3456"/>
            <p:cNvSpPr>
              <a:spLocks/>
            </p:cNvSpPr>
            <p:nvPr/>
          </p:nvSpPr>
          <p:spPr bwMode="auto">
            <a:xfrm>
              <a:off x="4135754" y="3940848"/>
              <a:ext cx="17710" cy="12880"/>
            </a:xfrm>
            <a:custGeom>
              <a:avLst/>
              <a:gdLst>
                <a:gd name="T0" fmla="*/ 3 w 11"/>
                <a:gd name="T1" fmla="*/ 1 h 8"/>
                <a:gd name="T2" fmla="*/ 3 w 11"/>
                <a:gd name="T3" fmla="*/ 1 h 8"/>
                <a:gd name="T4" fmla="*/ 2 w 11"/>
                <a:gd name="T5" fmla="*/ 3 h 8"/>
                <a:gd name="T6" fmla="*/ 2 w 11"/>
                <a:gd name="T7" fmla="*/ 3 h 8"/>
                <a:gd name="T8" fmla="*/ 0 w 11"/>
                <a:gd name="T9" fmla="*/ 3 h 8"/>
                <a:gd name="T10" fmla="*/ 0 w 11"/>
                <a:gd name="T11" fmla="*/ 3 h 8"/>
                <a:gd name="T12" fmla="*/ 2 w 11"/>
                <a:gd name="T13" fmla="*/ 7 h 8"/>
                <a:gd name="T14" fmla="*/ 2 w 11"/>
                <a:gd name="T15" fmla="*/ 7 h 8"/>
                <a:gd name="T16" fmla="*/ 5 w 11"/>
                <a:gd name="T17" fmla="*/ 8 h 8"/>
                <a:gd name="T18" fmla="*/ 5 w 11"/>
                <a:gd name="T19" fmla="*/ 8 h 8"/>
                <a:gd name="T20" fmla="*/ 5 w 11"/>
                <a:gd name="T21" fmla="*/ 8 h 8"/>
                <a:gd name="T22" fmla="*/ 5 w 11"/>
                <a:gd name="T23" fmla="*/ 8 h 8"/>
                <a:gd name="T24" fmla="*/ 7 w 11"/>
                <a:gd name="T25" fmla="*/ 8 h 8"/>
                <a:gd name="T26" fmla="*/ 7 w 11"/>
                <a:gd name="T27" fmla="*/ 8 h 8"/>
                <a:gd name="T28" fmla="*/ 9 w 11"/>
                <a:gd name="T29" fmla="*/ 8 h 8"/>
                <a:gd name="T30" fmla="*/ 9 w 11"/>
                <a:gd name="T31" fmla="*/ 8 h 8"/>
                <a:gd name="T32" fmla="*/ 9 w 11"/>
                <a:gd name="T33" fmla="*/ 7 h 8"/>
                <a:gd name="T34" fmla="*/ 9 w 11"/>
                <a:gd name="T35" fmla="*/ 7 h 8"/>
                <a:gd name="T36" fmla="*/ 11 w 11"/>
                <a:gd name="T37" fmla="*/ 7 h 8"/>
                <a:gd name="T38" fmla="*/ 11 w 11"/>
                <a:gd name="T39" fmla="*/ 7 h 8"/>
                <a:gd name="T40" fmla="*/ 11 w 11"/>
                <a:gd name="T41" fmla="*/ 5 h 8"/>
                <a:gd name="T42" fmla="*/ 11 w 11"/>
                <a:gd name="T43" fmla="*/ 5 h 8"/>
                <a:gd name="T44" fmla="*/ 11 w 11"/>
                <a:gd name="T45" fmla="*/ 5 h 8"/>
                <a:gd name="T46" fmla="*/ 11 w 11"/>
                <a:gd name="T47" fmla="*/ 5 h 8"/>
                <a:gd name="T48" fmla="*/ 11 w 11"/>
                <a:gd name="T49" fmla="*/ 5 h 8"/>
                <a:gd name="T50" fmla="*/ 11 w 11"/>
                <a:gd name="T51" fmla="*/ 5 h 8"/>
                <a:gd name="T52" fmla="*/ 11 w 11"/>
                <a:gd name="T53" fmla="*/ 3 h 8"/>
                <a:gd name="T54" fmla="*/ 11 w 11"/>
                <a:gd name="T55" fmla="*/ 3 h 8"/>
                <a:gd name="T56" fmla="*/ 11 w 11"/>
                <a:gd name="T57" fmla="*/ 3 h 8"/>
                <a:gd name="T58" fmla="*/ 11 w 11"/>
                <a:gd name="T59" fmla="*/ 3 h 8"/>
                <a:gd name="T60" fmla="*/ 9 w 11"/>
                <a:gd name="T61" fmla="*/ 1 h 8"/>
                <a:gd name="T62" fmla="*/ 9 w 11"/>
                <a:gd name="T63" fmla="*/ 1 h 8"/>
                <a:gd name="T64" fmla="*/ 9 w 11"/>
                <a:gd name="T65" fmla="*/ 0 h 8"/>
                <a:gd name="T66" fmla="*/ 9 w 11"/>
                <a:gd name="T67" fmla="*/ 0 h 8"/>
                <a:gd name="T68" fmla="*/ 7 w 11"/>
                <a:gd name="T69" fmla="*/ 0 h 8"/>
                <a:gd name="T70" fmla="*/ 7 w 11"/>
                <a:gd name="T71" fmla="*/ 0 h 8"/>
                <a:gd name="T72" fmla="*/ 7 w 11"/>
                <a:gd name="T73" fmla="*/ 0 h 8"/>
                <a:gd name="T74" fmla="*/ 7 w 11"/>
                <a:gd name="T75" fmla="*/ 0 h 8"/>
                <a:gd name="T76" fmla="*/ 5 w 11"/>
                <a:gd name="T77" fmla="*/ 0 h 8"/>
                <a:gd name="T78" fmla="*/ 5 w 11"/>
                <a:gd name="T79" fmla="*/ 0 h 8"/>
                <a:gd name="T80" fmla="*/ 5 w 11"/>
                <a:gd name="T81" fmla="*/ 0 h 8"/>
                <a:gd name="T82" fmla="*/ 5 w 11"/>
                <a:gd name="T83" fmla="*/ 0 h 8"/>
                <a:gd name="T84" fmla="*/ 3 w 11"/>
                <a:gd name="T85" fmla="*/ 0 h 8"/>
                <a:gd name="T86" fmla="*/ 3 w 11"/>
                <a:gd name="T87" fmla="*/ 0 h 8"/>
                <a:gd name="T88" fmla="*/ 3 w 11"/>
                <a:gd name="T89" fmla="*/ 0 h 8"/>
                <a:gd name="T90" fmla="*/ 3 w 11"/>
                <a:gd name="T91" fmla="*/ 0 h 8"/>
                <a:gd name="T92" fmla="*/ 3 w 11"/>
                <a:gd name="T93" fmla="*/ 0 h 8"/>
                <a:gd name="T94" fmla="*/ 3 w 11"/>
                <a:gd name="T95" fmla="*/ 1 h 8"/>
                <a:gd name="T96" fmla="*/ 3 w 11"/>
                <a:gd name="T9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 h="8">
                  <a:moveTo>
                    <a:pt x="3" y="1"/>
                  </a:moveTo>
                  <a:lnTo>
                    <a:pt x="3" y="1"/>
                  </a:lnTo>
                  <a:lnTo>
                    <a:pt x="2" y="3"/>
                  </a:lnTo>
                  <a:lnTo>
                    <a:pt x="2" y="3"/>
                  </a:lnTo>
                  <a:lnTo>
                    <a:pt x="0" y="3"/>
                  </a:lnTo>
                  <a:lnTo>
                    <a:pt x="0" y="3"/>
                  </a:lnTo>
                  <a:lnTo>
                    <a:pt x="2" y="7"/>
                  </a:lnTo>
                  <a:lnTo>
                    <a:pt x="2" y="7"/>
                  </a:lnTo>
                  <a:lnTo>
                    <a:pt x="5" y="8"/>
                  </a:lnTo>
                  <a:lnTo>
                    <a:pt x="5" y="8"/>
                  </a:lnTo>
                  <a:lnTo>
                    <a:pt x="5" y="8"/>
                  </a:lnTo>
                  <a:lnTo>
                    <a:pt x="5" y="8"/>
                  </a:lnTo>
                  <a:lnTo>
                    <a:pt x="7" y="8"/>
                  </a:lnTo>
                  <a:lnTo>
                    <a:pt x="7" y="8"/>
                  </a:lnTo>
                  <a:lnTo>
                    <a:pt x="9" y="8"/>
                  </a:lnTo>
                  <a:lnTo>
                    <a:pt x="9" y="8"/>
                  </a:lnTo>
                  <a:lnTo>
                    <a:pt x="9" y="7"/>
                  </a:lnTo>
                  <a:lnTo>
                    <a:pt x="9" y="7"/>
                  </a:lnTo>
                  <a:lnTo>
                    <a:pt x="11" y="7"/>
                  </a:lnTo>
                  <a:lnTo>
                    <a:pt x="11" y="7"/>
                  </a:lnTo>
                  <a:lnTo>
                    <a:pt x="11" y="5"/>
                  </a:lnTo>
                  <a:lnTo>
                    <a:pt x="11" y="5"/>
                  </a:lnTo>
                  <a:lnTo>
                    <a:pt x="11" y="5"/>
                  </a:lnTo>
                  <a:lnTo>
                    <a:pt x="11" y="5"/>
                  </a:lnTo>
                  <a:lnTo>
                    <a:pt x="11" y="5"/>
                  </a:lnTo>
                  <a:lnTo>
                    <a:pt x="11" y="5"/>
                  </a:lnTo>
                  <a:lnTo>
                    <a:pt x="11" y="3"/>
                  </a:lnTo>
                  <a:lnTo>
                    <a:pt x="11" y="3"/>
                  </a:lnTo>
                  <a:lnTo>
                    <a:pt x="11" y="3"/>
                  </a:lnTo>
                  <a:lnTo>
                    <a:pt x="11" y="3"/>
                  </a:lnTo>
                  <a:lnTo>
                    <a:pt x="9" y="1"/>
                  </a:lnTo>
                  <a:lnTo>
                    <a:pt x="9" y="1"/>
                  </a:lnTo>
                  <a:lnTo>
                    <a:pt x="9" y="0"/>
                  </a:lnTo>
                  <a:lnTo>
                    <a:pt x="9" y="0"/>
                  </a:lnTo>
                  <a:lnTo>
                    <a:pt x="7" y="0"/>
                  </a:lnTo>
                  <a:lnTo>
                    <a:pt x="7" y="0"/>
                  </a:lnTo>
                  <a:lnTo>
                    <a:pt x="7" y="0"/>
                  </a:lnTo>
                  <a:lnTo>
                    <a:pt x="7" y="0"/>
                  </a:lnTo>
                  <a:lnTo>
                    <a:pt x="5" y="0"/>
                  </a:lnTo>
                  <a:lnTo>
                    <a:pt x="5" y="0"/>
                  </a:lnTo>
                  <a:lnTo>
                    <a:pt x="5" y="0"/>
                  </a:lnTo>
                  <a:lnTo>
                    <a:pt x="5" y="0"/>
                  </a:lnTo>
                  <a:lnTo>
                    <a:pt x="3" y="0"/>
                  </a:lnTo>
                  <a:lnTo>
                    <a:pt x="3" y="0"/>
                  </a:lnTo>
                  <a:lnTo>
                    <a:pt x="3" y="0"/>
                  </a:lnTo>
                  <a:lnTo>
                    <a:pt x="3" y="0"/>
                  </a:lnTo>
                  <a:lnTo>
                    <a:pt x="3" y="0"/>
                  </a:lnTo>
                  <a:lnTo>
                    <a:pt x="3" y="1"/>
                  </a:lnTo>
                  <a:lnTo>
                    <a:pt x="3" y="1"/>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78" name="Freeform 3457"/>
            <p:cNvSpPr>
              <a:spLocks/>
            </p:cNvSpPr>
            <p:nvPr/>
          </p:nvSpPr>
          <p:spPr bwMode="auto">
            <a:xfrm>
              <a:off x="4150244" y="3937628"/>
              <a:ext cx="3220" cy="3220"/>
            </a:xfrm>
            <a:custGeom>
              <a:avLst/>
              <a:gdLst>
                <a:gd name="T0" fmla="*/ 2 w 2"/>
                <a:gd name="T1" fmla="*/ 2 h 2"/>
                <a:gd name="T2" fmla="*/ 2 w 2"/>
                <a:gd name="T3" fmla="*/ 2 h 2"/>
                <a:gd name="T4" fmla="*/ 0 w 2"/>
                <a:gd name="T5" fmla="*/ 2 h 2"/>
                <a:gd name="T6" fmla="*/ 0 w 2"/>
                <a:gd name="T7" fmla="*/ 2 h 2"/>
                <a:gd name="T8" fmla="*/ 0 w 2"/>
                <a:gd name="T9" fmla="*/ 2 h 2"/>
                <a:gd name="T10" fmla="*/ 0 w 2"/>
                <a:gd name="T11" fmla="*/ 2 h 2"/>
                <a:gd name="T12" fmla="*/ 0 w 2"/>
                <a:gd name="T13" fmla="*/ 0 h 2"/>
                <a:gd name="T14" fmla="*/ 0 w 2"/>
                <a:gd name="T15" fmla="*/ 0 h 2"/>
                <a:gd name="T16" fmla="*/ 2 w 2"/>
                <a:gd name="T17" fmla="*/ 2 h 2"/>
                <a:gd name="T18" fmla="*/ 2 w 2"/>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2"/>
                  </a:moveTo>
                  <a:lnTo>
                    <a:pt x="2" y="2"/>
                  </a:lnTo>
                  <a:lnTo>
                    <a:pt x="0" y="2"/>
                  </a:lnTo>
                  <a:lnTo>
                    <a:pt x="0" y="2"/>
                  </a:lnTo>
                  <a:lnTo>
                    <a:pt x="0" y="2"/>
                  </a:lnTo>
                  <a:lnTo>
                    <a:pt x="0" y="2"/>
                  </a:lnTo>
                  <a:lnTo>
                    <a:pt x="0" y="0"/>
                  </a:lnTo>
                  <a:lnTo>
                    <a:pt x="0" y="0"/>
                  </a:lnTo>
                  <a:lnTo>
                    <a:pt x="2" y="2"/>
                  </a:lnTo>
                  <a:lnTo>
                    <a:pt x="2" y="2"/>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79" name="Freeform 3458"/>
            <p:cNvSpPr>
              <a:spLocks/>
            </p:cNvSpPr>
            <p:nvPr/>
          </p:nvSpPr>
          <p:spPr bwMode="auto">
            <a:xfrm>
              <a:off x="4184054" y="3919918"/>
              <a:ext cx="22540" cy="22540"/>
            </a:xfrm>
            <a:custGeom>
              <a:avLst/>
              <a:gdLst>
                <a:gd name="T0" fmla="*/ 13 w 14"/>
                <a:gd name="T1" fmla="*/ 0 h 14"/>
                <a:gd name="T2" fmla="*/ 13 w 14"/>
                <a:gd name="T3" fmla="*/ 0 h 14"/>
                <a:gd name="T4" fmla="*/ 11 w 14"/>
                <a:gd name="T5" fmla="*/ 0 h 14"/>
                <a:gd name="T6" fmla="*/ 11 w 14"/>
                <a:gd name="T7" fmla="*/ 0 h 14"/>
                <a:gd name="T8" fmla="*/ 11 w 14"/>
                <a:gd name="T9" fmla="*/ 2 h 14"/>
                <a:gd name="T10" fmla="*/ 11 w 14"/>
                <a:gd name="T11" fmla="*/ 2 h 14"/>
                <a:gd name="T12" fmla="*/ 11 w 14"/>
                <a:gd name="T13" fmla="*/ 2 h 14"/>
                <a:gd name="T14" fmla="*/ 11 w 14"/>
                <a:gd name="T15" fmla="*/ 2 h 14"/>
                <a:gd name="T16" fmla="*/ 9 w 14"/>
                <a:gd name="T17" fmla="*/ 4 h 14"/>
                <a:gd name="T18" fmla="*/ 9 w 14"/>
                <a:gd name="T19" fmla="*/ 4 h 14"/>
                <a:gd name="T20" fmla="*/ 9 w 14"/>
                <a:gd name="T21" fmla="*/ 5 h 14"/>
                <a:gd name="T22" fmla="*/ 9 w 14"/>
                <a:gd name="T23" fmla="*/ 5 h 14"/>
                <a:gd name="T24" fmla="*/ 7 w 14"/>
                <a:gd name="T25" fmla="*/ 7 h 14"/>
                <a:gd name="T26" fmla="*/ 7 w 14"/>
                <a:gd name="T27" fmla="*/ 7 h 14"/>
                <a:gd name="T28" fmla="*/ 7 w 14"/>
                <a:gd name="T29" fmla="*/ 7 h 14"/>
                <a:gd name="T30" fmla="*/ 7 w 14"/>
                <a:gd name="T31" fmla="*/ 7 h 14"/>
                <a:gd name="T32" fmla="*/ 6 w 14"/>
                <a:gd name="T33" fmla="*/ 9 h 14"/>
                <a:gd name="T34" fmla="*/ 6 w 14"/>
                <a:gd name="T35" fmla="*/ 9 h 14"/>
                <a:gd name="T36" fmla="*/ 6 w 14"/>
                <a:gd name="T37" fmla="*/ 11 h 14"/>
                <a:gd name="T38" fmla="*/ 6 w 14"/>
                <a:gd name="T39" fmla="*/ 13 h 14"/>
                <a:gd name="T40" fmla="*/ 6 w 14"/>
                <a:gd name="T41" fmla="*/ 13 h 14"/>
                <a:gd name="T42" fmla="*/ 2 w 14"/>
                <a:gd name="T43" fmla="*/ 14 h 14"/>
                <a:gd name="T44" fmla="*/ 2 w 14"/>
                <a:gd name="T45" fmla="*/ 14 h 14"/>
                <a:gd name="T46" fmla="*/ 0 w 14"/>
                <a:gd name="T47" fmla="*/ 14 h 14"/>
                <a:gd name="T48" fmla="*/ 0 w 14"/>
                <a:gd name="T49" fmla="*/ 14 h 14"/>
                <a:gd name="T50" fmla="*/ 0 w 14"/>
                <a:gd name="T51" fmla="*/ 14 h 14"/>
                <a:gd name="T52" fmla="*/ 4 w 14"/>
                <a:gd name="T53" fmla="*/ 14 h 14"/>
                <a:gd name="T54" fmla="*/ 4 w 14"/>
                <a:gd name="T55" fmla="*/ 14 h 14"/>
                <a:gd name="T56" fmla="*/ 6 w 14"/>
                <a:gd name="T57" fmla="*/ 14 h 14"/>
                <a:gd name="T58" fmla="*/ 6 w 14"/>
                <a:gd name="T59" fmla="*/ 14 h 14"/>
                <a:gd name="T60" fmla="*/ 7 w 14"/>
                <a:gd name="T61" fmla="*/ 13 h 14"/>
                <a:gd name="T62" fmla="*/ 7 w 14"/>
                <a:gd name="T63" fmla="*/ 13 h 14"/>
                <a:gd name="T64" fmla="*/ 11 w 14"/>
                <a:gd name="T65" fmla="*/ 11 h 14"/>
                <a:gd name="T66" fmla="*/ 11 w 14"/>
                <a:gd name="T67" fmla="*/ 11 h 14"/>
                <a:gd name="T68" fmla="*/ 13 w 14"/>
                <a:gd name="T69" fmla="*/ 11 h 14"/>
                <a:gd name="T70" fmla="*/ 13 w 14"/>
                <a:gd name="T71" fmla="*/ 11 h 14"/>
                <a:gd name="T72" fmla="*/ 13 w 14"/>
                <a:gd name="T73" fmla="*/ 9 h 14"/>
                <a:gd name="T74" fmla="*/ 13 w 14"/>
                <a:gd name="T75" fmla="*/ 9 h 14"/>
                <a:gd name="T76" fmla="*/ 14 w 14"/>
                <a:gd name="T77" fmla="*/ 7 h 14"/>
                <a:gd name="T78" fmla="*/ 14 w 14"/>
                <a:gd name="T79" fmla="*/ 7 h 14"/>
                <a:gd name="T80" fmla="*/ 14 w 14"/>
                <a:gd name="T81" fmla="*/ 5 h 14"/>
                <a:gd name="T82" fmla="*/ 14 w 14"/>
                <a:gd name="T83" fmla="*/ 5 h 14"/>
                <a:gd name="T84" fmla="*/ 14 w 14"/>
                <a:gd name="T85" fmla="*/ 5 h 14"/>
                <a:gd name="T86" fmla="*/ 14 w 14"/>
                <a:gd name="T87" fmla="*/ 5 h 14"/>
                <a:gd name="T88" fmla="*/ 14 w 14"/>
                <a:gd name="T89" fmla="*/ 2 h 14"/>
                <a:gd name="T90" fmla="*/ 14 w 14"/>
                <a:gd name="T91" fmla="*/ 2 h 14"/>
                <a:gd name="T92" fmla="*/ 14 w 14"/>
                <a:gd name="T93" fmla="*/ 0 h 14"/>
                <a:gd name="T94" fmla="*/ 14 w 14"/>
                <a:gd name="T95" fmla="*/ 0 h 14"/>
                <a:gd name="T96" fmla="*/ 13 w 14"/>
                <a:gd name="T97" fmla="*/ 0 h 14"/>
                <a:gd name="T98" fmla="*/ 13 w 14"/>
                <a:gd name="T9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 h="14">
                  <a:moveTo>
                    <a:pt x="13" y="0"/>
                  </a:moveTo>
                  <a:lnTo>
                    <a:pt x="13" y="0"/>
                  </a:lnTo>
                  <a:lnTo>
                    <a:pt x="11" y="0"/>
                  </a:lnTo>
                  <a:lnTo>
                    <a:pt x="11" y="0"/>
                  </a:lnTo>
                  <a:lnTo>
                    <a:pt x="11" y="2"/>
                  </a:lnTo>
                  <a:lnTo>
                    <a:pt x="11" y="2"/>
                  </a:lnTo>
                  <a:lnTo>
                    <a:pt x="11" y="2"/>
                  </a:lnTo>
                  <a:lnTo>
                    <a:pt x="11" y="2"/>
                  </a:lnTo>
                  <a:lnTo>
                    <a:pt x="9" y="4"/>
                  </a:lnTo>
                  <a:lnTo>
                    <a:pt x="9" y="4"/>
                  </a:lnTo>
                  <a:lnTo>
                    <a:pt x="9" y="5"/>
                  </a:lnTo>
                  <a:lnTo>
                    <a:pt x="9" y="5"/>
                  </a:lnTo>
                  <a:lnTo>
                    <a:pt x="7" y="7"/>
                  </a:lnTo>
                  <a:lnTo>
                    <a:pt x="7" y="7"/>
                  </a:lnTo>
                  <a:lnTo>
                    <a:pt x="7" y="7"/>
                  </a:lnTo>
                  <a:lnTo>
                    <a:pt x="7" y="7"/>
                  </a:lnTo>
                  <a:lnTo>
                    <a:pt x="6" y="9"/>
                  </a:lnTo>
                  <a:lnTo>
                    <a:pt x="6" y="9"/>
                  </a:lnTo>
                  <a:lnTo>
                    <a:pt x="6" y="11"/>
                  </a:lnTo>
                  <a:lnTo>
                    <a:pt x="6" y="13"/>
                  </a:lnTo>
                  <a:lnTo>
                    <a:pt x="6" y="13"/>
                  </a:lnTo>
                  <a:lnTo>
                    <a:pt x="2" y="14"/>
                  </a:lnTo>
                  <a:lnTo>
                    <a:pt x="2" y="14"/>
                  </a:lnTo>
                  <a:lnTo>
                    <a:pt x="0" y="14"/>
                  </a:lnTo>
                  <a:lnTo>
                    <a:pt x="0" y="14"/>
                  </a:lnTo>
                  <a:lnTo>
                    <a:pt x="0" y="14"/>
                  </a:lnTo>
                  <a:lnTo>
                    <a:pt x="4" y="14"/>
                  </a:lnTo>
                  <a:lnTo>
                    <a:pt x="4" y="14"/>
                  </a:lnTo>
                  <a:lnTo>
                    <a:pt x="6" y="14"/>
                  </a:lnTo>
                  <a:lnTo>
                    <a:pt x="6" y="14"/>
                  </a:lnTo>
                  <a:lnTo>
                    <a:pt x="7" y="13"/>
                  </a:lnTo>
                  <a:lnTo>
                    <a:pt x="7" y="13"/>
                  </a:lnTo>
                  <a:lnTo>
                    <a:pt x="11" y="11"/>
                  </a:lnTo>
                  <a:lnTo>
                    <a:pt x="11" y="11"/>
                  </a:lnTo>
                  <a:lnTo>
                    <a:pt x="13" y="11"/>
                  </a:lnTo>
                  <a:lnTo>
                    <a:pt x="13" y="11"/>
                  </a:lnTo>
                  <a:lnTo>
                    <a:pt x="13" y="9"/>
                  </a:lnTo>
                  <a:lnTo>
                    <a:pt x="13" y="9"/>
                  </a:lnTo>
                  <a:lnTo>
                    <a:pt x="14" y="7"/>
                  </a:lnTo>
                  <a:lnTo>
                    <a:pt x="14" y="7"/>
                  </a:lnTo>
                  <a:lnTo>
                    <a:pt x="14" y="5"/>
                  </a:lnTo>
                  <a:lnTo>
                    <a:pt x="14" y="5"/>
                  </a:lnTo>
                  <a:lnTo>
                    <a:pt x="14" y="5"/>
                  </a:lnTo>
                  <a:lnTo>
                    <a:pt x="14" y="5"/>
                  </a:lnTo>
                  <a:lnTo>
                    <a:pt x="14" y="2"/>
                  </a:lnTo>
                  <a:lnTo>
                    <a:pt x="14" y="2"/>
                  </a:lnTo>
                  <a:lnTo>
                    <a:pt x="14" y="0"/>
                  </a:lnTo>
                  <a:lnTo>
                    <a:pt x="14" y="0"/>
                  </a:lnTo>
                  <a:lnTo>
                    <a:pt x="13" y="0"/>
                  </a:lnTo>
                  <a:lnTo>
                    <a:pt x="13"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80" name="Freeform 3459"/>
            <p:cNvSpPr>
              <a:spLocks/>
            </p:cNvSpPr>
            <p:nvPr/>
          </p:nvSpPr>
          <p:spPr bwMode="auto">
            <a:xfrm>
              <a:off x="4206593" y="3916698"/>
              <a:ext cx="3220" cy="3220"/>
            </a:xfrm>
            <a:custGeom>
              <a:avLst/>
              <a:gdLst>
                <a:gd name="T0" fmla="*/ 0 w 2"/>
                <a:gd name="T1" fmla="*/ 0 h 2"/>
                <a:gd name="T2" fmla="*/ 0 w 2"/>
                <a:gd name="T3" fmla="*/ 0 h 2"/>
                <a:gd name="T4" fmla="*/ 2 w 2"/>
                <a:gd name="T5" fmla="*/ 2 h 2"/>
                <a:gd name="T6" fmla="*/ 2 w 2"/>
                <a:gd name="T7" fmla="*/ 2 h 2"/>
                <a:gd name="T8" fmla="*/ 0 w 2"/>
                <a:gd name="T9" fmla="*/ 2 h 2"/>
                <a:gd name="T10" fmla="*/ 0 w 2"/>
                <a:gd name="T11" fmla="*/ 2 h 2"/>
                <a:gd name="T12" fmla="*/ 0 w 2"/>
                <a:gd name="T13" fmla="*/ 0 h 2"/>
                <a:gd name="T14" fmla="*/ 0 w 2"/>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0"/>
                  </a:moveTo>
                  <a:lnTo>
                    <a:pt x="0" y="0"/>
                  </a:lnTo>
                  <a:lnTo>
                    <a:pt x="2" y="2"/>
                  </a:lnTo>
                  <a:lnTo>
                    <a:pt x="2" y="2"/>
                  </a:lnTo>
                  <a:lnTo>
                    <a:pt x="0" y="2"/>
                  </a:lnTo>
                  <a:lnTo>
                    <a:pt x="0" y="2"/>
                  </a:lnTo>
                  <a:lnTo>
                    <a:pt x="0" y="0"/>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81" name="Freeform 3460"/>
            <p:cNvSpPr>
              <a:spLocks/>
            </p:cNvSpPr>
            <p:nvPr/>
          </p:nvSpPr>
          <p:spPr bwMode="auto">
            <a:xfrm>
              <a:off x="4206593" y="3902208"/>
              <a:ext cx="14490" cy="14490"/>
            </a:xfrm>
            <a:custGeom>
              <a:avLst/>
              <a:gdLst>
                <a:gd name="T0" fmla="*/ 4 w 9"/>
                <a:gd name="T1" fmla="*/ 2 h 9"/>
                <a:gd name="T2" fmla="*/ 4 w 9"/>
                <a:gd name="T3" fmla="*/ 2 h 9"/>
                <a:gd name="T4" fmla="*/ 2 w 9"/>
                <a:gd name="T5" fmla="*/ 4 h 9"/>
                <a:gd name="T6" fmla="*/ 2 w 9"/>
                <a:gd name="T7" fmla="*/ 4 h 9"/>
                <a:gd name="T8" fmla="*/ 0 w 9"/>
                <a:gd name="T9" fmla="*/ 6 h 9"/>
                <a:gd name="T10" fmla="*/ 0 w 9"/>
                <a:gd name="T11" fmla="*/ 6 h 9"/>
                <a:gd name="T12" fmla="*/ 0 w 9"/>
                <a:gd name="T13" fmla="*/ 6 h 9"/>
                <a:gd name="T14" fmla="*/ 0 w 9"/>
                <a:gd name="T15" fmla="*/ 6 h 9"/>
                <a:gd name="T16" fmla="*/ 0 w 9"/>
                <a:gd name="T17" fmla="*/ 7 h 9"/>
                <a:gd name="T18" fmla="*/ 0 w 9"/>
                <a:gd name="T19" fmla="*/ 7 h 9"/>
                <a:gd name="T20" fmla="*/ 0 w 9"/>
                <a:gd name="T21" fmla="*/ 7 h 9"/>
                <a:gd name="T22" fmla="*/ 0 w 9"/>
                <a:gd name="T23" fmla="*/ 7 h 9"/>
                <a:gd name="T24" fmla="*/ 2 w 9"/>
                <a:gd name="T25" fmla="*/ 9 h 9"/>
                <a:gd name="T26" fmla="*/ 2 w 9"/>
                <a:gd name="T27" fmla="*/ 9 h 9"/>
                <a:gd name="T28" fmla="*/ 2 w 9"/>
                <a:gd name="T29" fmla="*/ 7 h 9"/>
                <a:gd name="T30" fmla="*/ 2 w 9"/>
                <a:gd name="T31" fmla="*/ 7 h 9"/>
                <a:gd name="T32" fmla="*/ 2 w 9"/>
                <a:gd name="T33" fmla="*/ 7 h 9"/>
                <a:gd name="T34" fmla="*/ 4 w 9"/>
                <a:gd name="T35" fmla="*/ 7 h 9"/>
                <a:gd name="T36" fmla="*/ 4 w 9"/>
                <a:gd name="T37" fmla="*/ 7 h 9"/>
                <a:gd name="T38" fmla="*/ 6 w 9"/>
                <a:gd name="T39" fmla="*/ 6 h 9"/>
                <a:gd name="T40" fmla="*/ 6 w 9"/>
                <a:gd name="T41" fmla="*/ 6 h 9"/>
                <a:gd name="T42" fmla="*/ 8 w 9"/>
                <a:gd name="T43" fmla="*/ 6 h 9"/>
                <a:gd name="T44" fmla="*/ 8 w 9"/>
                <a:gd name="T45" fmla="*/ 6 h 9"/>
                <a:gd name="T46" fmla="*/ 9 w 9"/>
                <a:gd name="T47" fmla="*/ 4 h 9"/>
                <a:gd name="T48" fmla="*/ 9 w 9"/>
                <a:gd name="T49" fmla="*/ 4 h 9"/>
                <a:gd name="T50" fmla="*/ 9 w 9"/>
                <a:gd name="T51" fmla="*/ 2 h 9"/>
                <a:gd name="T52" fmla="*/ 9 w 9"/>
                <a:gd name="T53" fmla="*/ 2 h 9"/>
                <a:gd name="T54" fmla="*/ 9 w 9"/>
                <a:gd name="T55" fmla="*/ 2 h 9"/>
                <a:gd name="T56" fmla="*/ 9 w 9"/>
                <a:gd name="T57" fmla="*/ 2 h 9"/>
                <a:gd name="T58" fmla="*/ 9 w 9"/>
                <a:gd name="T59" fmla="*/ 2 h 9"/>
                <a:gd name="T60" fmla="*/ 9 w 9"/>
                <a:gd name="T61" fmla="*/ 0 h 9"/>
                <a:gd name="T62" fmla="*/ 9 w 9"/>
                <a:gd name="T63" fmla="*/ 0 h 9"/>
                <a:gd name="T64" fmla="*/ 9 w 9"/>
                <a:gd name="T65" fmla="*/ 0 h 9"/>
                <a:gd name="T66" fmla="*/ 9 w 9"/>
                <a:gd name="T67" fmla="*/ 0 h 9"/>
                <a:gd name="T68" fmla="*/ 9 w 9"/>
                <a:gd name="T69" fmla="*/ 0 h 9"/>
                <a:gd name="T70" fmla="*/ 8 w 9"/>
                <a:gd name="T71" fmla="*/ 0 h 9"/>
                <a:gd name="T72" fmla="*/ 8 w 9"/>
                <a:gd name="T73" fmla="*/ 0 h 9"/>
                <a:gd name="T74" fmla="*/ 8 w 9"/>
                <a:gd name="T75" fmla="*/ 2 h 9"/>
                <a:gd name="T76" fmla="*/ 8 w 9"/>
                <a:gd name="T77" fmla="*/ 2 h 9"/>
                <a:gd name="T78" fmla="*/ 6 w 9"/>
                <a:gd name="T79" fmla="*/ 2 h 9"/>
                <a:gd name="T80" fmla="*/ 6 w 9"/>
                <a:gd name="T81" fmla="*/ 2 h 9"/>
                <a:gd name="T82" fmla="*/ 6 w 9"/>
                <a:gd name="T83" fmla="*/ 2 h 9"/>
                <a:gd name="T84" fmla="*/ 6 w 9"/>
                <a:gd name="T85" fmla="*/ 2 h 9"/>
                <a:gd name="T86" fmla="*/ 4 w 9"/>
                <a:gd name="T87" fmla="*/ 2 h 9"/>
                <a:gd name="T88" fmla="*/ 4 w 9"/>
                <a:gd name="T89" fmla="*/ 2 h 9"/>
                <a:gd name="T90" fmla="*/ 4 w 9"/>
                <a:gd name="T91" fmla="*/ 2 h 9"/>
                <a:gd name="T92" fmla="*/ 4 w 9"/>
                <a:gd name="T93" fmla="*/ 2 h 9"/>
                <a:gd name="T94" fmla="*/ 4 w 9"/>
                <a:gd name="T95" fmla="*/ 2 h 9"/>
                <a:gd name="T96" fmla="*/ 4 w 9"/>
                <a:gd name="T97"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 h="9">
                  <a:moveTo>
                    <a:pt x="4" y="2"/>
                  </a:moveTo>
                  <a:lnTo>
                    <a:pt x="4" y="2"/>
                  </a:lnTo>
                  <a:lnTo>
                    <a:pt x="2" y="4"/>
                  </a:lnTo>
                  <a:lnTo>
                    <a:pt x="2" y="4"/>
                  </a:lnTo>
                  <a:lnTo>
                    <a:pt x="0" y="6"/>
                  </a:lnTo>
                  <a:lnTo>
                    <a:pt x="0" y="6"/>
                  </a:lnTo>
                  <a:lnTo>
                    <a:pt x="0" y="6"/>
                  </a:lnTo>
                  <a:lnTo>
                    <a:pt x="0" y="6"/>
                  </a:lnTo>
                  <a:lnTo>
                    <a:pt x="0" y="7"/>
                  </a:lnTo>
                  <a:lnTo>
                    <a:pt x="0" y="7"/>
                  </a:lnTo>
                  <a:lnTo>
                    <a:pt x="0" y="7"/>
                  </a:lnTo>
                  <a:lnTo>
                    <a:pt x="0" y="7"/>
                  </a:lnTo>
                  <a:lnTo>
                    <a:pt x="2" y="9"/>
                  </a:lnTo>
                  <a:lnTo>
                    <a:pt x="2" y="9"/>
                  </a:lnTo>
                  <a:lnTo>
                    <a:pt x="2" y="7"/>
                  </a:lnTo>
                  <a:lnTo>
                    <a:pt x="2" y="7"/>
                  </a:lnTo>
                  <a:lnTo>
                    <a:pt x="2" y="7"/>
                  </a:lnTo>
                  <a:lnTo>
                    <a:pt x="4" y="7"/>
                  </a:lnTo>
                  <a:lnTo>
                    <a:pt x="4" y="7"/>
                  </a:lnTo>
                  <a:lnTo>
                    <a:pt x="6" y="6"/>
                  </a:lnTo>
                  <a:lnTo>
                    <a:pt x="6" y="6"/>
                  </a:lnTo>
                  <a:lnTo>
                    <a:pt x="8" y="6"/>
                  </a:lnTo>
                  <a:lnTo>
                    <a:pt x="8" y="6"/>
                  </a:lnTo>
                  <a:lnTo>
                    <a:pt x="9" y="4"/>
                  </a:lnTo>
                  <a:lnTo>
                    <a:pt x="9" y="4"/>
                  </a:lnTo>
                  <a:lnTo>
                    <a:pt x="9" y="2"/>
                  </a:lnTo>
                  <a:lnTo>
                    <a:pt x="9" y="2"/>
                  </a:lnTo>
                  <a:lnTo>
                    <a:pt x="9" y="2"/>
                  </a:lnTo>
                  <a:lnTo>
                    <a:pt x="9" y="2"/>
                  </a:lnTo>
                  <a:lnTo>
                    <a:pt x="9" y="2"/>
                  </a:lnTo>
                  <a:lnTo>
                    <a:pt x="9" y="0"/>
                  </a:lnTo>
                  <a:lnTo>
                    <a:pt x="9" y="0"/>
                  </a:lnTo>
                  <a:lnTo>
                    <a:pt x="9" y="0"/>
                  </a:lnTo>
                  <a:lnTo>
                    <a:pt x="9" y="0"/>
                  </a:lnTo>
                  <a:lnTo>
                    <a:pt x="9" y="0"/>
                  </a:lnTo>
                  <a:lnTo>
                    <a:pt x="8" y="0"/>
                  </a:lnTo>
                  <a:lnTo>
                    <a:pt x="8" y="0"/>
                  </a:lnTo>
                  <a:lnTo>
                    <a:pt x="8" y="2"/>
                  </a:lnTo>
                  <a:lnTo>
                    <a:pt x="8" y="2"/>
                  </a:lnTo>
                  <a:lnTo>
                    <a:pt x="6" y="2"/>
                  </a:lnTo>
                  <a:lnTo>
                    <a:pt x="6" y="2"/>
                  </a:lnTo>
                  <a:lnTo>
                    <a:pt x="6" y="2"/>
                  </a:lnTo>
                  <a:lnTo>
                    <a:pt x="6" y="2"/>
                  </a:lnTo>
                  <a:lnTo>
                    <a:pt x="4" y="2"/>
                  </a:lnTo>
                  <a:lnTo>
                    <a:pt x="4" y="2"/>
                  </a:lnTo>
                  <a:lnTo>
                    <a:pt x="4" y="2"/>
                  </a:lnTo>
                  <a:lnTo>
                    <a:pt x="4" y="2"/>
                  </a:lnTo>
                  <a:lnTo>
                    <a:pt x="4" y="2"/>
                  </a:lnTo>
                  <a:lnTo>
                    <a:pt x="4" y="2"/>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82" name="Freeform 3461"/>
            <p:cNvSpPr>
              <a:spLocks/>
            </p:cNvSpPr>
            <p:nvPr/>
          </p:nvSpPr>
          <p:spPr bwMode="auto">
            <a:xfrm>
              <a:off x="4216253" y="3900598"/>
              <a:ext cx="4830" cy="1610"/>
            </a:xfrm>
            <a:custGeom>
              <a:avLst/>
              <a:gdLst>
                <a:gd name="T0" fmla="*/ 0 w 3"/>
                <a:gd name="T1" fmla="*/ 0 h 1"/>
                <a:gd name="T2" fmla="*/ 0 w 3"/>
                <a:gd name="T3" fmla="*/ 0 h 1"/>
                <a:gd name="T4" fmla="*/ 2 w 3"/>
                <a:gd name="T5" fmla="*/ 1 h 1"/>
                <a:gd name="T6" fmla="*/ 2 w 3"/>
                <a:gd name="T7" fmla="*/ 1 h 1"/>
                <a:gd name="T8" fmla="*/ 2 w 3"/>
                <a:gd name="T9" fmla="*/ 1 h 1"/>
                <a:gd name="T10" fmla="*/ 2 w 3"/>
                <a:gd name="T11" fmla="*/ 1 h 1"/>
                <a:gd name="T12" fmla="*/ 2 w 3"/>
                <a:gd name="T13" fmla="*/ 0 h 1"/>
                <a:gd name="T14" fmla="*/ 2 w 3"/>
                <a:gd name="T15" fmla="*/ 0 h 1"/>
                <a:gd name="T16" fmla="*/ 3 w 3"/>
                <a:gd name="T17" fmla="*/ 0 h 1"/>
                <a:gd name="T18" fmla="*/ 3 w 3"/>
                <a:gd name="T19" fmla="*/ 0 h 1"/>
                <a:gd name="T20" fmla="*/ 2 w 3"/>
                <a:gd name="T21" fmla="*/ 0 h 1"/>
                <a:gd name="T22" fmla="*/ 2 w 3"/>
                <a:gd name="T23" fmla="*/ 0 h 1"/>
                <a:gd name="T24" fmla="*/ 0 w 3"/>
                <a:gd name="T25" fmla="*/ 0 h 1"/>
                <a:gd name="T26" fmla="*/ 0 w 3"/>
                <a:gd name="T2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1">
                  <a:moveTo>
                    <a:pt x="0" y="0"/>
                  </a:moveTo>
                  <a:lnTo>
                    <a:pt x="0" y="0"/>
                  </a:lnTo>
                  <a:lnTo>
                    <a:pt x="2" y="1"/>
                  </a:lnTo>
                  <a:lnTo>
                    <a:pt x="2" y="1"/>
                  </a:lnTo>
                  <a:lnTo>
                    <a:pt x="2" y="1"/>
                  </a:lnTo>
                  <a:lnTo>
                    <a:pt x="2" y="1"/>
                  </a:lnTo>
                  <a:lnTo>
                    <a:pt x="2" y="0"/>
                  </a:lnTo>
                  <a:lnTo>
                    <a:pt x="2" y="0"/>
                  </a:lnTo>
                  <a:lnTo>
                    <a:pt x="3" y="0"/>
                  </a:lnTo>
                  <a:lnTo>
                    <a:pt x="3" y="0"/>
                  </a:lnTo>
                  <a:lnTo>
                    <a:pt x="2" y="0"/>
                  </a:lnTo>
                  <a:lnTo>
                    <a:pt x="2" y="0"/>
                  </a:lnTo>
                  <a:lnTo>
                    <a:pt x="0" y="0"/>
                  </a:lnTo>
                  <a:lnTo>
                    <a:pt x="0" y="0"/>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83" name="Freeform 3462"/>
            <p:cNvSpPr>
              <a:spLocks/>
            </p:cNvSpPr>
            <p:nvPr/>
          </p:nvSpPr>
          <p:spPr bwMode="auto">
            <a:xfrm>
              <a:off x="4219473" y="3894158"/>
              <a:ext cx="0" cy="3220"/>
            </a:xfrm>
            <a:custGeom>
              <a:avLst/>
              <a:gdLst>
                <a:gd name="T0" fmla="*/ 2 h 2"/>
                <a:gd name="T1" fmla="*/ 2 h 2"/>
                <a:gd name="T2" fmla="*/ 2 h 2"/>
                <a:gd name="T3" fmla="*/ 0 h 2"/>
                <a:gd name="T4" fmla="*/ 0 h 2"/>
                <a:gd name="T5" fmla="*/ 0 h 2"/>
                <a:gd name="T6" fmla="*/ 0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2"/>
                  </a:lnTo>
                  <a:lnTo>
                    <a:pt x="0" y="0"/>
                  </a:lnTo>
                  <a:lnTo>
                    <a:pt x="0" y="0"/>
                  </a:lnTo>
                  <a:lnTo>
                    <a:pt x="0" y="0"/>
                  </a:lnTo>
                  <a:lnTo>
                    <a:pt x="0" y="0"/>
                  </a:lnTo>
                  <a:lnTo>
                    <a:pt x="0" y="2"/>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84" name="Freeform 3463"/>
            <p:cNvSpPr>
              <a:spLocks/>
            </p:cNvSpPr>
            <p:nvPr/>
          </p:nvSpPr>
          <p:spPr bwMode="auto">
            <a:xfrm>
              <a:off x="5124282" y="4080916"/>
              <a:ext cx="428254" cy="365465"/>
            </a:xfrm>
            <a:custGeom>
              <a:avLst/>
              <a:gdLst>
                <a:gd name="T0" fmla="*/ 263 w 266"/>
                <a:gd name="T1" fmla="*/ 82 h 227"/>
                <a:gd name="T2" fmla="*/ 261 w 266"/>
                <a:gd name="T3" fmla="*/ 82 h 227"/>
                <a:gd name="T4" fmla="*/ 257 w 266"/>
                <a:gd name="T5" fmla="*/ 77 h 227"/>
                <a:gd name="T6" fmla="*/ 248 w 266"/>
                <a:gd name="T7" fmla="*/ 70 h 227"/>
                <a:gd name="T8" fmla="*/ 245 w 266"/>
                <a:gd name="T9" fmla="*/ 34 h 227"/>
                <a:gd name="T10" fmla="*/ 241 w 266"/>
                <a:gd name="T11" fmla="*/ 27 h 227"/>
                <a:gd name="T12" fmla="*/ 236 w 266"/>
                <a:gd name="T13" fmla="*/ 13 h 227"/>
                <a:gd name="T14" fmla="*/ 230 w 266"/>
                <a:gd name="T15" fmla="*/ 7 h 227"/>
                <a:gd name="T16" fmla="*/ 220 w 266"/>
                <a:gd name="T17" fmla="*/ 0 h 227"/>
                <a:gd name="T18" fmla="*/ 209 w 266"/>
                <a:gd name="T19" fmla="*/ 4 h 227"/>
                <a:gd name="T20" fmla="*/ 196 w 266"/>
                <a:gd name="T21" fmla="*/ 14 h 227"/>
                <a:gd name="T22" fmla="*/ 188 w 266"/>
                <a:gd name="T23" fmla="*/ 21 h 227"/>
                <a:gd name="T24" fmla="*/ 154 w 266"/>
                <a:gd name="T25" fmla="*/ 18 h 227"/>
                <a:gd name="T26" fmla="*/ 154 w 266"/>
                <a:gd name="T27" fmla="*/ 14 h 227"/>
                <a:gd name="T28" fmla="*/ 152 w 266"/>
                <a:gd name="T29" fmla="*/ 14 h 227"/>
                <a:gd name="T30" fmla="*/ 50 w 266"/>
                <a:gd name="T31" fmla="*/ 18 h 227"/>
                <a:gd name="T32" fmla="*/ 36 w 266"/>
                <a:gd name="T33" fmla="*/ 50 h 227"/>
                <a:gd name="T34" fmla="*/ 34 w 266"/>
                <a:gd name="T35" fmla="*/ 123 h 227"/>
                <a:gd name="T36" fmla="*/ 18 w 266"/>
                <a:gd name="T37" fmla="*/ 125 h 227"/>
                <a:gd name="T38" fmla="*/ 7 w 266"/>
                <a:gd name="T39" fmla="*/ 143 h 227"/>
                <a:gd name="T40" fmla="*/ 7 w 266"/>
                <a:gd name="T41" fmla="*/ 152 h 227"/>
                <a:gd name="T42" fmla="*/ 5 w 266"/>
                <a:gd name="T43" fmla="*/ 152 h 227"/>
                <a:gd name="T44" fmla="*/ 4 w 266"/>
                <a:gd name="T45" fmla="*/ 161 h 227"/>
                <a:gd name="T46" fmla="*/ 0 w 266"/>
                <a:gd name="T47" fmla="*/ 173 h 227"/>
                <a:gd name="T48" fmla="*/ 7 w 266"/>
                <a:gd name="T49" fmla="*/ 171 h 227"/>
                <a:gd name="T50" fmla="*/ 13 w 266"/>
                <a:gd name="T51" fmla="*/ 191 h 227"/>
                <a:gd name="T52" fmla="*/ 14 w 266"/>
                <a:gd name="T53" fmla="*/ 193 h 227"/>
                <a:gd name="T54" fmla="*/ 16 w 266"/>
                <a:gd name="T55" fmla="*/ 198 h 227"/>
                <a:gd name="T56" fmla="*/ 27 w 266"/>
                <a:gd name="T57" fmla="*/ 216 h 227"/>
                <a:gd name="T58" fmla="*/ 27 w 266"/>
                <a:gd name="T59" fmla="*/ 221 h 227"/>
                <a:gd name="T60" fmla="*/ 32 w 266"/>
                <a:gd name="T61" fmla="*/ 221 h 227"/>
                <a:gd name="T62" fmla="*/ 41 w 266"/>
                <a:gd name="T63" fmla="*/ 220 h 227"/>
                <a:gd name="T64" fmla="*/ 52 w 266"/>
                <a:gd name="T65" fmla="*/ 216 h 227"/>
                <a:gd name="T66" fmla="*/ 66 w 266"/>
                <a:gd name="T67" fmla="*/ 211 h 227"/>
                <a:gd name="T68" fmla="*/ 71 w 266"/>
                <a:gd name="T69" fmla="*/ 223 h 227"/>
                <a:gd name="T70" fmla="*/ 86 w 266"/>
                <a:gd name="T71" fmla="*/ 223 h 227"/>
                <a:gd name="T72" fmla="*/ 100 w 266"/>
                <a:gd name="T73" fmla="*/ 227 h 227"/>
                <a:gd name="T74" fmla="*/ 116 w 266"/>
                <a:gd name="T75" fmla="*/ 221 h 227"/>
                <a:gd name="T76" fmla="*/ 125 w 266"/>
                <a:gd name="T77" fmla="*/ 216 h 227"/>
                <a:gd name="T78" fmla="*/ 145 w 266"/>
                <a:gd name="T79" fmla="*/ 221 h 227"/>
                <a:gd name="T80" fmla="*/ 163 w 266"/>
                <a:gd name="T81" fmla="*/ 207 h 227"/>
                <a:gd name="T82" fmla="*/ 170 w 266"/>
                <a:gd name="T83" fmla="*/ 189 h 227"/>
                <a:gd name="T84" fmla="*/ 175 w 266"/>
                <a:gd name="T85" fmla="*/ 186 h 227"/>
                <a:gd name="T86" fmla="*/ 184 w 266"/>
                <a:gd name="T87" fmla="*/ 180 h 227"/>
                <a:gd name="T88" fmla="*/ 182 w 266"/>
                <a:gd name="T89" fmla="*/ 198 h 227"/>
                <a:gd name="T90" fmla="*/ 195 w 266"/>
                <a:gd name="T91" fmla="*/ 214 h 227"/>
                <a:gd name="T92" fmla="*/ 193 w 266"/>
                <a:gd name="T93" fmla="*/ 225 h 227"/>
                <a:gd name="T94" fmla="*/ 196 w 266"/>
                <a:gd name="T95" fmla="*/ 225 h 227"/>
                <a:gd name="T96" fmla="*/ 198 w 266"/>
                <a:gd name="T97" fmla="*/ 209 h 227"/>
                <a:gd name="T98" fmla="*/ 204 w 266"/>
                <a:gd name="T99" fmla="*/ 202 h 227"/>
                <a:gd name="T100" fmla="*/ 209 w 266"/>
                <a:gd name="T101" fmla="*/ 202 h 227"/>
                <a:gd name="T102" fmla="*/ 225 w 266"/>
                <a:gd name="T103" fmla="*/ 171 h 227"/>
                <a:gd name="T104" fmla="*/ 229 w 266"/>
                <a:gd name="T105" fmla="*/ 170 h 227"/>
                <a:gd name="T106" fmla="*/ 234 w 266"/>
                <a:gd name="T107" fmla="*/ 138 h 227"/>
                <a:gd name="T108" fmla="*/ 246 w 266"/>
                <a:gd name="T109" fmla="*/ 100 h 227"/>
                <a:gd name="T110" fmla="*/ 250 w 266"/>
                <a:gd name="T111" fmla="*/ 96 h 227"/>
                <a:gd name="T112" fmla="*/ 266 w 266"/>
                <a:gd name="T113" fmla="*/ 84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6" h="227">
                  <a:moveTo>
                    <a:pt x="264" y="82"/>
                  </a:moveTo>
                  <a:lnTo>
                    <a:pt x="263" y="82"/>
                  </a:lnTo>
                  <a:lnTo>
                    <a:pt x="263" y="80"/>
                  </a:lnTo>
                  <a:lnTo>
                    <a:pt x="261" y="82"/>
                  </a:lnTo>
                  <a:lnTo>
                    <a:pt x="259" y="79"/>
                  </a:lnTo>
                  <a:lnTo>
                    <a:pt x="257" y="77"/>
                  </a:lnTo>
                  <a:lnTo>
                    <a:pt x="250" y="73"/>
                  </a:lnTo>
                  <a:lnTo>
                    <a:pt x="248" y="70"/>
                  </a:lnTo>
                  <a:lnTo>
                    <a:pt x="245" y="34"/>
                  </a:lnTo>
                  <a:lnTo>
                    <a:pt x="245" y="34"/>
                  </a:lnTo>
                  <a:lnTo>
                    <a:pt x="245" y="32"/>
                  </a:lnTo>
                  <a:lnTo>
                    <a:pt x="241" y="27"/>
                  </a:lnTo>
                  <a:lnTo>
                    <a:pt x="239" y="18"/>
                  </a:lnTo>
                  <a:lnTo>
                    <a:pt x="236" y="13"/>
                  </a:lnTo>
                  <a:lnTo>
                    <a:pt x="234" y="13"/>
                  </a:lnTo>
                  <a:lnTo>
                    <a:pt x="230" y="7"/>
                  </a:lnTo>
                  <a:lnTo>
                    <a:pt x="223" y="5"/>
                  </a:lnTo>
                  <a:lnTo>
                    <a:pt x="220" y="0"/>
                  </a:lnTo>
                  <a:lnTo>
                    <a:pt x="213" y="5"/>
                  </a:lnTo>
                  <a:lnTo>
                    <a:pt x="209" y="4"/>
                  </a:lnTo>
                  <a:lnTo>
                    <a:pt x="205" y="13"/>
                  </a:lnTo>
                  <a:lnTo>
                    <a:pt x="196" y="14"/>
                  </a:lnTo>
                  <a:lnTo>
                    <a:pt x="195" y="21"/>
                  </a:lnTo>
                  <a:lnTo>
                    <a:pt x="188" y="21"/>
                  </a:lnTo>
                  <a:lnTo>
                    <a:pt x="180" y="18"/>
                  </a:lnTo>
                  <a:lnTo>
                    <a:pt x="154" y="18"/>
                  </a:lnTo>
                  <a:lnTo>
                    <a:pt x="154" y="14"/>
                  </a:lnTo>
                  <a:lnTo>
                    <a:pt x="154" y="14"/>
                  </a:lnTo>
                  <a:lnTo>
                    <a:pt x="154" y="14"/>
                  </a:lnTo>
                  <a:lnTo>
                    <a:pt x="152" y="14"/>
                  </a:lnTo>
                  <a:lnTo>
                    <a:pt x="150" y="18"/>
                  </a:lnTo>
                  <a:lnTo>
                    <a:pt x="50" y="18"/>
                  </a:lnTo>
                  <a:lnTo>
                    <a:pt x="50" y="50"/>
                  </a:lnTo>
                  <a:lnTo>
                    <a:pt x="36" y="50"/>
                  </a:lnTo>
                  <a:lnTo>
                    <a:pt x="36" y="61"/>
                  </a:lnTo>
                  <a:lnTo>
                    <a:pt x="34" y="123"/>
                  </a:lnTo>
                  <a:lnTo>
                    <a:pt x="18" y="123"/>
                  </a:lnTo>
                  <a:lnTo>
                    <a:pt x="18" y="125"/>
                  </a:lnTo>
                  <a:lnTo>
                    <a:pt x="16" y="130"/>
                  </a:lnTo>
                  <a:lnTo>
                    <a:pt x="7" y="143"/>
                  </a:lnTo>
                  <a:lnTo>
                    <a:pt x="7" y="150"/>
                  </a:lnTo>
                  <a:lnTo>
                    <a:pt x="7" y="152"/>
                  </a:lnTo>
                  <a:lnTo>
                    <a:pt x="7" y="152"/>
                  </a:lnTo>
                  <a:lnTo>
                    <a:pt x="5" y="152"/>
                  </a:lnTo>
                  <a:lnTo>
                    <a:pt x="4" y="154"/>
                  </a:lnTo>
                  <a:lnTo>
                    <a:pt x="4" y="161"/>
                  </a:lnTo>
                  <a:lnTo>
                    <a:pt x="2" y="166"/>
                  </a:lnTo>
                  <a:lnTo>
                    <a:pt x="0" y="173"/>
                  </a:lnTo>
                  <a:lnTo>
                    <a:pt x="2" y="173"/>
                  </a:lnTo>
                  <a:lnTo>
                    <a:pt x="7" y="171"/>
                  </a:lnTo>
                  <a:lnTo>
                    <a:pt x="7" y="177"/>
                  </a:lnTo>
                  <a:lnTo>
                    <a:pt x="13" y="191"/>
                  </a:lnTo>
                  <a:lnTo>
                    <a:pt x="13" y="191"/>
                  </a:lnTo>
                  <a:lnTo>
                    <a:pt x="14" y="193"/>
                  </a:lnTo>
                  <a:lnTo>
                    <a:pt x="16" y="193"/>
                  </a:lnTo>
                  <a:lnTo>
                    <a:pt x="16" y="198"/>
                  </a:lnTo>
                  <a:lnTo>
                    <a:pt x="14" y="200"/>
                  </a:lnTo>
                  <a:lnTo>
                    <a:pt x="27" y="216"/>
                  </a:lnTo>
                  <a:lnTo>
                    <a:pt x="29" y="220"/>
                  </a:lnTo>
                  <a:lnTo>
                    <a:pt x="27" y="221"/>
                  </a:lnTo>
                  <a:lnTo>
                    <a:pt x="29" y="221"/>
                  </a:lnTo>
                  <a:lnTo>
                    <a:pt x="32" y="221"/>
                  </a:lnTo>
                  <a:lnTo>
                    <a:pt x="38" y="221"/>
                  </a:lnTo>
                  <a:lnTo>
                    <a:pt x="41" y="220"/>
                  </a:lnTo>
                  <a:lnTo>
                    <a:pt x="50" y="220"/>
                  </a:lnTo>
                  <a:lnTo>
                    <a:pt x="52" y="216"/>
                  </a:lnTo>
                  <a:lnTo>
                    <a:pt x="54" y="213"/>
                  </a:lnTo>
                  <a:lnTo>
                    <a:pt x="66" y="211"/>
                  </a:lnTo>
                  <a:lnTo>
                    <a:pt x="66" y="214"/>
                  </a:lnTo>
                  <a:lnTo>
                    <a:pt x="71" y="223"/>
                  </a:lnTo>
                  <a:lnTo>
                    <a:pt x="79" y="225"/>
                  </a:lnTo>
                  <a:lnTo>
                    <a:pt x="86" y="223"/>
                  </a:lnTo>
                  <a:lnTo>
                    <a:pt x="96" y="223"/>
                  </a:lnTo>
                  <a:lnTo>
                    <a:pt x="100" y="227"/>
                  </a:lnTo>
                  <a:lnTo>
                    <a:pt x="111" y="227"/>
                  </a:lnTo>
                  <a:lnTo>
                    <a:pt x="116" y="221"/>
                  </a:lnTo>
                  <a:lnTo>
                    <a:pt x="123" y="220"/>
                  </a:lnTo>
                  <a:lnTo>
                    <a:pt x="125" y="216"/>
                  </a:lnTo>
                  <a:lnTo>
                    <a:pt x="132" y="213"/>
                  </a:lnTo>
                  <a:lnTo>
                    <a:pt x="145" y="221"/>
                  </a:lnTo>
                  <a:lnTo>
                    <a:pt x="152" y="220"/>
                  </a:lnTo>
                  <a:lnTo>
                    <a:pt x="163" y="207"/>
                  </a:lnTo>
                  <a:lnTo>
                    <a:pt x="171" y="200"/>
                  </a:lnTo>
                  <a:lnTo>
                    <a:pt x="170" y="189"/>
                  </a:lnTo>
                  <a:lnTo>
                    <a:pt x="164" y="184"/>
                  </a:lnTo>
                  <a:lnTo>
                    <a:pt x="175" y="186"/>
                  </a:lnTo>
                  <a:lnTo>
                    <a:pt x="175" y="180"/>
                  </a:lnTo>
                  <a:lnTo>
                    <a:pt x="184" y="180"/>
                  </a:lnTo>
                  <a:lnTo>
                    <a:pt x="182" y="188"/>
                  </a:lnTo>
                  <a:lnTo>
                    <a:pt x="182" y="198"/>
                  </a:lnTo>
                  <a:lnTo>
                    <a:pt x="184" y="205"/>
                  </a:lnTo>
                  <a:lnTo>
                    <a:pt x="195" y="214"/>
                  </a:lnTo>
                  <a:lnTo>
                    <a:pt x="195" y="220"/>
                  </a:lnTo>
                  <a:lnTo>
                    <a:pt x="193" y="225"/>
                  </a:lnTo>
                  <a:lnTo>
                    <a:pt x="196" y="225"/>
                  </a:lnTo>
                  <a:lnTo>
                    <a:pt x="196" y="225"/>
                  </a:lnTo>
                  <a:lnTo>
                    <a:pt x="198" y="209"/>
                  </a:lnTo>
                  <a:lnTo>
                    <a:pt x="198" y="209"/>
                  </a:lnTo>
                  <a:lnTo>
                    <a:pt x="202" y="204"/>
                  </a:lnTo>
                  <a:lnTo>
                    <a:pt x="204" y="202"/>
                  </a:lnTo>
                  <a:lnTo>
                    <a:pt x="207" y="202"/>
                  </a:lnTo>
                  <a:lnTo>
                    <a:pt x="209" y="202"/>
                  </a:lnTo>
                  <a:lnTo>
                    <a:pt x="211" y="189"/>
                  </a:lnTo>
                  <a:lnTo>
                    <a:pt x="225" y="171"/>
                  </a:lnTo>
                  <a:lnTo>
                    <a:pt x="227" y="171"/>
                  </a:lnTo>
                  <a:lnTo>
                    <a:pt x="229" y="170"/>
                  </a:lnTo>
                  <a:lnTo>
                    <a:pt x="234" y="148"/>
                  </a:lnTo>
                  <a:lnTo>
                    <a:pt x="234" y="138"/>
                  </a:lnTo>
                  <a:lnTo>
                    <a:pt x="243" y="100"/>
                  </a:lnTo>
                  <a:lnTo>
                    <a:pt x="246" y="100"/>
                  </a:lnTo>
                  <a:lnTo>
                    <a:pt x="248" y="98"/>
                  </a:lnTo>
                  <a:lnTo>
                    <a:pt x="250" y="96"/>
                  </a:lnTo>
                  <a:lnTo>
                    <a:pt x="263" y="91"/>
                  </a:lnTo>
                  <a:lnTo>
                    <a:pt x="266" y="84"/>
                  </a:lnTo>
                  <a:lnTo>
                    <a:pt x="264" y="82"/>
                  </a:lnTo>
                  <a:close/>
                </a:path>
              </a:pathLst>
            </a:custGeom>
            <a:solidFill>
              <a:srgbClr val="D9D9D9"/>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85" name="Freeform 3464"/>
            <p:cNvSpPr>
              <a:spLocks/>
            </p:cNvSpPr>
            <p:nvPr/>
          </p:nvSpPr>
          <p:spPr bwMode="auto">
            <a:xfrm>
              <a:off x="5164531" y="4370712"/>
              <a:ext cx="321996" cy="225397"/>
            </a:xfrm>
            <a:custGeom>
              <a:avLst/>
              <a:gdLst>
                <a:gd name="T0" fmla="*/ 188 w 200"/>
                <a:gd name="T1" fmla="*/ 108 h 140"/>
                <a:gd name="T2" fmla="*/ 171 w 200"/>
                <a:gd name="T3" fmla="*/ 84 h 140"/>
                <a:gd name="T4" fmla="*/ 170 w 200"/>
                <a:gd name="T5" fmla="*/ 79 h 140"/>
                <a:gd name="T6" fmla="*/ 164 w 200"/>
                <a:gd name="T7" fmla="*/ 74 h 140"/>
                <a:gd name="T8" fmla="*/ 159 w 200"/>
                <a:gd name="T9" fmla="*/ 74 h 140"/>
                <a:gd name="T10" fmla="*/ 155 w 200"/>
                <a:gd name="T11" fmla="*/ 72 h 140"/>
                <a:gd name="T12" fmla="*/ 155 w 200"/>
                <a:gd name="T13" fmla="*/ 68 h 140"/>
                <a:gd name="T14" fmla="*/ 157 w 200"/>
                <a:gd name="T15" fmla="*/ 63 h 140"/>
                <a:gd name="T16" fmla="*/ 166 w 200"/>
                <a:gd name="T17" fmla="*/ 63 h 140"/>
                <a:gd name="T18" fmla="*/ 171 w 200"/>
                <a:gd name="T19" fmla="*/ 59 h 140"/>
                <a:gd name="T20" fmla="*/ 171 w 200"/>
                <a:gd name="T21" fmla="*/ 45 h 140"/>
                <a:gd name="T22" fmla="*/ 170 w 200"/>
                <a:gd name="T23" fmla="*/ 40 h 140"/>
                <a:gd name="T24" fmla="*/ 159 w 200"/>
                <a:gd name="T25" fmla="*/ 25 h 140"/>
                <a:gd name="T26" fmla="*/ 157 w 200"/>
                <a:gd name="T27" fmla="*/ 8 h 140"/>
                <a:gd name="T28" fmla="*/ 150 w 200"/>
                <a:gd name="T29" fmla="*/ 0 h 140"/>
                <a:gd name="T30" fmla="*/ 139 w 200"/>
                <a:gd name="T31" fmla="*/ 4 h 140"/>
                <a:gd name="T32" fmla="*/ 146 w 200"/>
                <a:gd name="T33" fmla="*/ 20 h 140"/>
                <a:gd name="T34" fmla="*/ 127 w 200"/>
                <a:gd name="T35" fmla="*/ 40 h 140"/>
                <a:gd name="T36" fmla="*/ 107 w 200"/>
                <a:gd name="T37" fmla="*/ 33 h 140"/>
                <a:gd name="T38" fmla="*/ 98 w 200"/>
                <a:gd name="T39" fmla="*/ 40 h 140"/>
                <a:gd name="T40" fmla="*/ 86 w 200"/>
                <a:gd name="T41" fmla="*/ 47 h 140"/>
                <a:gd name="T42" fmla="*/ 71 w 200"/>
                <a:gd name="T43" fmla="*/ 43 h 140"/>
                <a:gd name="T44" fmla="*/ 54 w 200"/>
                <a:gd name="T45" fmla="*/ 45 h 140"/>
                <a:gd name="T46" fmla="*/ 41 w 200"/>
                <a:gd name="T47" fmla="*/ 34 h 140"/>
                <a:gd name="T48" fmla="*/ 29 w 200"/>
                <a:gd name="T49" fmla="*/ 33 h 140"/>
                <a:gd name="T50" fmla="*/ 25 w 200"/>
                <a:gd name="T51" fmla="*/ 40 h 140"/>
                <a:gd name="T52" fmla="*/ 13 w 200"/>
                <a:gd name="T53" fmla="*/ 41 h 140"/>
                <a:gd name="T54" fmla="*/ 4 w 200"/>
                <a:gd name="T55" fmla="*/ 41 h 140"/>
                <a:gd name="T56" fmla="*/ 0 w 200"/>
                <a:gd name="T57" fmla="*/ 50 h 140"/>
                <a:gd name="T58" fmla="*/ 4 w 200"/>
                <a:gd name="T59" fmla="*/ 58 h 140"/>
                <a:gd name="T60" fmla="*/ 13 w 200"/>
                <a:gd name="T61" fmla="*/ 63 h 140"/>
                <a:gd name="T62" fmla="*/ 23 w 200"/>
                <a:gd name="T63" fmla="*/ 65 h 140"/>
                <a:gd name="T64" fmla="*/ 29 w 200"/>
                <a:gd name="T65" fmla="*/ 70 h 140"/>
                <a:gd name="T66" fmla="*/ 30 w 200"/>
                <a:gd name="T67" fmla="*/ 75 h 140"/>
                <a:gd name="T68" fmla="*/ 43 w 200"/>
                <a:gd name="T69" fmla="*/ 86 h 140"/>
                <a:gd name="T70" fmla="*/ 48 w 200"/>
                <a:gd name="T71" fmla="*/ 93 h 140"/>
                <a:gd name="T72" fmla="*/ 52 w 200"/>
                <a:gd name="T73" fmla="*/ 100 h 140"/>
                <a:gd name="T74" fmla="*/ 63 w 200"/>
                <a:gd name="T75" fmla="*/ 106 h 140"/>
                <a:gd name="T76" fmla="*/ 64 w 200"/>
                <a:gd name="T77" fmla="*/ 113 h 140"/>
                <a:gd name="T78" fmla="*/ 71 w 200"/>
                <a:gd name="T79" fmla="*/ 120 h 140"/>
                <a:gd name="T80" fmla="*/ 82 w 200"/>
                <a:gd name="T81" fmla="*/ 127 h 140"/>
                <a:gd name="T82" fmla="*/ 86 w 200"/>
                <a:gd name="T83" fmla="*/ 124 h 140"/>
                <a:gd name="T84" fmla="*/ 96 w 200"/>
                <a:gd name="T85" fmla="*/ 125 h 140"/>
                <a:gd name="T86" fmla="*/ 118 w 200"/>
                <a:gd name="T87" fmla="*/ 140 h 140"/>
                <a:gd name="T88" fmla="*/ 123 w 200"/>
                <a:gd name="T89" fmla="*/ 138 h 140"/>
                <a:gd name="T90" fmla="*/ 130 w 200"/>
                <a:gd name="T91" fmla="*/ 138 h 140"/>
                <a:gd name="T92" fmla="*/ 136 w 200"/>
                <a:gd name="T93" fmla="*/ 138 h 140"/>
                <a:gd name="T94" fmla="*/ 161 w 200"/>
                <a:gd name="T95" fmla="*/ 136 h 140"/>
                <a:gd name="T96" fmla="*/ 170 w 200"/>
                <a:gd name="T97" fmla="*/ 133 h 140"/>
                <a:gd name="T98" fmla="*/ 177 w 200"/>
                <a:gd name="T99" fmla="*/ 124 h 140"/>
                <a:gd name="T100" fmla="*/ 200 w 200"/>
                <a:gd name="T101" fmla="*/ 113 h 140"/>
                <a:gd name="T102" fmla="*/ 191 w 200"/>
                <a:gd name="T103" fmla="*/ 10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 h="140">
                  <a:moveTo>
                    <a:pt x="191" y="109"/>
                  </a:moveTo>
                  <a:lnTo>
                    <a:pt x="188" y="108"/>
                  </a:lnTo>
                  <a:lnTo>
                    <a:pt x="180" y="90"/>
                  </a:lnTo>
                  <a:lnTo>
                    <a:pt x="171" y="84"/>
                  </a:lnTo>
                  <a:lnTo>
                    <a:pt x="170" y="83"/>
                  </a:lnTo>
                  <a:lnTo>
                    <a:pt x="170" y="79"/>
                  </a:lnTo>
                  <a:lnTo>
                    <a:pt x="168" y="75"/>
                  </a:lnTo>
                  <a:lnTo>
                    <a:pt x="164" y="74"/>
                  </a:lnTo>
                  <a:lnTo>
                    <a:pt x="163" y="74"/>
                  </a:lnTo>
                  <a:lnTo>
                    <a:pt x="159" y="74"/>
                  </a:lnTo>
                  <a:lnTo>
                    <a:pt x="157" y="72"/>
                  </a:lnTo>
                  <a:lnTo>
                    <a:pt x="155" y="72"/>
                  </a:lnTo>
                  <a:lnTo>
                    <a:pt x="154" y="70"/>
                  </a:lnTo>
                  <a:lnTo>
                    <a:pt x="155" y="68"/>
                  </a:lnTo>
                  <a:lnTo>
                    <a:pt x="157" y="66"/>
                  </a:lnTo>
                  <a:lnTo>
                    <a:pt x="157" y="63"/>
                  </a:lnTo>
                  <a:lnTo>
                    <a:pt x="159" y="61"/>
                  </a:lnTo>
                  <a:lnTo>
                    <a:pt x="166" y="63"/>
                  </a:lnTo>
                  <a:lnTo>
                    <a:pt x="170" y="61"/>
                  </a:lnTo>
                  <a:lnTo>
                    <a:pt x="171" y="59"/>
                  </a:lnTo>
                  <a:lnTo>
                    <a:pt x="171" y="45"/>
                  </a:lnTo>
                  <a:lnTo>
                    <a:pt x="171" y="45"/>
                  </a:lnTo>
                  <a:lnTo>
                    <a:pt x="168" y="45"/>
                  </a:lnTo>
                  <a:lnTo>
                    <a:pt x="170" y="40"/>
                  </a:lnTo>
                  <a:lnTo>
                    <a:pt x="170" y="34"/>
                  </a:lnTo>
                  <a:lnTo>
                    <a:pt x="159" y="25"/>
                  </a:lnTo>
                  <a:lnTo>
                    <a:pt x="157" y="18"/>
                  </a:lnTo>
                  <a:lnTo>
                    <a:pt x="157" y="8"/>
                  </a:lnTo>
                  <a:lnTo>
                    <a:pt x="159" y="0"/>
                  </a:lnTo>
                  <a:lnTo>
                    <a:pt x="150" y="0"/>
                  </a:lnTo>
                  <a:lnTo>
                    <a:pt x="150" y="6"/>
                  </a:lnTo>
                  <a:lnTo>
                    <a:pt x="139" y="4"/>
                  </a:lnTo>
                  <a:lnTo>
                    <a:pt x="145" y="9"/>
                  </a:lnTo>
                  <a:lnTo>
                    <a:pt x="146" y="20"/>
                  </a:lnTo>
                  <a:lnTo>
                    <a:pt x="138" y="27"/>
                  </a:lnTo>
                  <a:lnTo>
                    <a:pt x="127" y="40"/>
                  </a:lnTo>
                  <a:lnTo>
                    <a:pt x="120" y="41"/>
                  </a:lnTo>
                  <a:lnTo>
                    <a:pt x="107" y="33"/>
                  </a:lnTo>
                  <a:lnTo>
                    <a:pt x="100" y="36"/>
                  </a:lnTo>
                  <a:lnTo>
                    <a:pt x="98" y="40"/>
                  </a:lnTo>
                  <a:lnTo>
                    <a:pt x="91" y="41"/>
                  </a:lnTo>
                  <a:lnTo>
                    <a:pt x="86" y="47"/>
                  </a:lnTo>
                  <a:lnTo>
                    <a:pt x="75" y="47"/>
                  </a:lnTo>
                  <a:lnTo>
                    <a:pt x="71" y="43"/>
                  </a:lnTo>
                  <a:lnTo>
                    <a:pt x="61" y="43"/>
                  </a:lnTo>
                  <a:lnTo>
                    <a:pt x="54" y="45"/>
                  </a:lnTo>
                  <a:lnTo>
                    <a:pt x="46" y="43"/>
                  </a:lnTo>
                  <a:lnTo>
                    <a:pt x="41" y="34"/>
                  </a:lnTo>
                  <a:lnTo>
                    <a:pt x="41" y="31"/>
                  </a:lnTo>
                  <a:lnTo>
                    <a:pt x="29" y="33"/>
                  </a:lnTo>
                  <a:lnTo>
                    <a:pt x="27" y="36"/>
                  </a:lnTo>
                  <a:lnTo>
                    <a:pt x="25" y="40"/>
                  </a:lnTo>
                  <a:lnTo>
                    <a:pt x="16" y="40"/>
                  </a:lnTo>
                  <a:lnTo>
                    <a:pt x="13" y="41"/>
                  </a:lnTo>
                  <a:lnTo>
                    <a:pt x="7" y="41"/>
                  </a:lnTo>
                  <a:lnTo>
                    <a:pt x="4" y="41"/>
                  </a:lnTo>
                  <a:lnTo>
                    <a:pt x="2" y="41"/>
                  </a:lnTo>
                  <a:lnTo>
                    <a:pt x="0" y="50"/>
                  </a:lnTo>
                  <a:lnTo>
                    <a:pt x="2" y="54"/>
                  </a:lnTo>
                  <a:lnTo>
                    <a:pt x="4" y="58"/>
                  </a:lnTo>
                  <a:lnTo>
                    <a:pt x="11" y="58"/>
                  </a:lnTo>
                  <a:lnTo>
                    <a:pt x="13" y="63"/>
                  </a:lnTo>
                  <a:lnTo>
                    <a:pt x="16" y="65"/>
                  </a:lnTo>
                  <a:lnTo>
                    <a:pt x="23" y="65"/>
                  </a:lnTo>
                  <a:lnTo>
                    <a:pt x="29" y="68"/>
                  </a:lnTo>
                  <a:lnTo>
                    <a:pt x="29" y="70"/>
                  </a:lnTo>
                  <a:lnTo>
                    <a:pt x="29" y="72"/>
                  </a:lnTo>
                  <a:lnTo>
                    <a:pt x="30" y="75"/>
                  </a:lnTo>
                  <a:lnTo>
                    <a:pt x="41" y="83"/>
                  </a:lnTo>
                  <a:lnTo>
                    <a:pt x="43" y="86"/>
                  </a:lnTo>
                  <a:lnTo>
                    <a:pt x="46" y="88"/>
                  </a:lnTo>
                  <a:lnTo>
                    <a:pt x="48" y="93"/>
                  </a:lnTo>
                  <a:lnTo>
                    <a:pt x="50" y="97"/>
                  </a:lnTo>
                  <a:lnTo>
                    <a:pt x="52" y="100"/>
                  </a:lnTo>
                  <a:lnTo>
                    <a:pt x="54" y="100"/>
                  </a:lnTo>
                  <a:lnTo>
                    <a:pt x="63" y="106"/>
                  </a:lnTo>
                  <a:lnTo>
                    <a:pt x="64" y="109"/>
                  </a:lnTo>
                  <a:lnTo>
                    <a:pt x="64" y="113"/>
                  </a:lnTo>
                  <a:lnTo>
                    <a:pt x="68" y="116"/>
                  </a:lnTo>
                  <a:lnTo>
                    <a:pt x="71" y="120"/>
                  </a:lnTo>
                  <a:lnTo>
                    <a:pt x="75" y="125"/>
                  </a:lnTo>
                  <a:lnTo>
                    <a:pt x="82" y="127"/>
                  </a:lnTo>
                  <a:lnTo>
                    <a:pt x="84" y="127"/>
                  </a:lnTo>
                  <a:lnTo>
                    <a:pt x="86" y="124"/>
                  </a:lnTo>
                  <a:lnTo>
                    <a:pt x="93" y="125"/>
                  </a:lnTo>
                  <a:lnTo>
                    <a:pt x="96" y="125"/>
                  </a:lnTo>
                  <a:lnTo>
                    <a:pt x="100" y="124"/>
                  </a:lnTo>
                  <a:lnTo>
                    <a:pt x="118" y="140"/>
                  </a:lnTo>
                  <a:lnTo>
                    <a:pt x="120" y="138"/>
                  </a:lnTo>
                  <a:lnTo>
                    <a:pt x="123" y="138"/>
                  </a:lnTo>
                  <a:lnTo>
                    <a:pt x="127" y="138"/>
                  </a:lnTo>
                  <a:lnTo>
                    <a:pt x="130" y="138"/>
                  </a:lnTo>
                  <a:lnTo>
                    <a:pt x="132" y="138"/>
                  </a:lnTo>
                  <a:lnTo>
                    <a:pt x="136" y="138"/>
                  </a:lnTo>
                  <a:lnTo>
                    <a:pt x="138" y="140"/>
                  </a:lnTo>
                  <a:lnTo>
                    <a:pt x="161" y="136"/>
                  </a:lnTo>
                  <a:lnTo>
                    <a:pt x="170" y="131"/>
                  </a:lnTo>
                  <a:lnTo>
                    <a:pt x="170" y="133"/>
                  </a:lnTo>
                  <a:lnTo>
                    <a:pt x="173" y="125"/>
                  </a:lnTo>
                  <a:lnTo>
                    <a:pt x="177" y="124"/>
                  </a:lnTo>
                  <a:lnTo>
                    <a:pt x="198" y="124"/>
                  </a:lnTo>
                  <a:lnTo>
                    <a:pt x="200" y="113"/>
                  </a:lnTo>
                  <a:lnTo>
                    <a:pt x="196" y="111"/>
                  </a:lnTo>
                  <a:lnTo>
                    <a:pt x="191" y="109"/>
                  </a:lnTo>
                  <a:close/>
                </a:path>
              </a:pathLst>
            </a:custGeom>
            <a:solidFill>
              <a:srgbClr val="D9D9D9"/>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86" name="Freeform 3465"/>
            <p:cNvSpPr>
              <a:spLocks/>
            </p:cNvSpPr>
            <p:nvPr/>
          </p:nvSpPr>
          <p:spPr bwMode="auto">
            <a:xfrm>
              <a:off x="242825" y="2031412"/>
              <a:ext cx="767960" cy="965988"/>
            </a:xfrm>
            <a:custGeom>
              <a:avLst/>
              <a:gdLst>
                <a:gd name="T0" fmla="*/ 393 w 477"/>
                <a:gd name="T1" fmla="*/ 59 h 600"/>
                <a:gd name="T2" fmla="*/ 354 w 477"/>
                <a:gd name="T3" fmla="*/ 57 h 600"/>
                <a:gd name="T4" fmla="*/ 272 w 477"/>
                <a:gd name="T5" fmla="*/ 44 h 600"/>
                <a:gd name="T6" fmla="*/ 243 w 477"/>
                <a:gd name="T7" fmla="*/ 23 h 600"/>
                <a:gd name="T8" fmla="*/ 206 w 477"/>
                <a:gd name="T9" fmla="*/ 14 h 600"/>
                <a:gd name="T10" fmla="*/ 195 w 477"/>
                <a:gd name="T11" fmla="*/ 18 h 600"/>
                <a:gd name="T12" fmla="*/ 179 w 477"/>
                <a:gd name="T13" fmla="*/ 9 h 600"/>
                <a:gd name="T14" fmla="*/ 145 w 477"/>
                <a:gd name="T15" fmla="*/ 21 h 600"/>
                <a:gd name="T16" fmla="*/ 129 w 477"/>
                <a:gd name="T17" fmla="*/ 52 h 600"/>
                <a:gd name="T18" fmla="*/ 100 w 477"/>
                <a:gd name="T19" fmla="*/ 52 h 600"/>
                <a:gd name="T20" fmla="*/ 84 w 477"/>
                <a:gd name="T21" fmla="*/ 82 h 600"/>
                <a:gd name="T22" fmla="*/ 31 w 477"/>
                <a:gd name="T23" fmla="*/ 132 h 600"/>
                <a:gd name="T24" fmla="*/ 70 w 477"/>
                <a:gd name="T25" fmla="*/ 182 h 600"/>
                <a:gd name="T26" fmla="*/ 104 w 477"/>
                <a:gd name="T27" fmla="*/ 194 h 600"/>
                <a:gd name="T28" fmla="*/ 131 w 477"/>
                <a:gd name="T29" fmla="*/ 211 h 600"/>
                <a:gd name="T30" fmla="*/ 116 w 477"/>
                <a:gd name="T31" fmla="*/ 219 h 600"/>
                <a:gd name="T32" fmla="*/ 115 w 477"/>
                <a:gd name="T33" fmla="*/ 225 h 600"/>
                <a:gd name="T34" fmla="*/ 86 w 477"/>
                <a:gd name="T35" fmla="*/ 234 h 600"/>
                <a:gd name="T36" fmla="*/ 50 w 477"/>
                <a:gd name="T37" fmla="*/ 218 h 600"/>
                <a:gd name="T38" fmla="*/ 13 w 477"/>
                <a:gd name="T39" fmla="*/ 239 h 600"/>
                <a:gd name="T40" fmla="*/ 20 w 477"/>
                <a:gd name="T41" fmla="*/ 268 h 600"/>
                <a:gd name="T42" fmla="*/ 81 w 477"/>
                <a:gd name="T43" fmla="*/ 296 h 600"/>
                <a:gd name="T44" fmla="*/ 109 w 477"/>
                <a:gd name="T45" fmla="*/ 280 h 600"/>
                <a:gd name="T46" fmla="*/ 118 w 477"/>
                <a:gd name="T47" fmla="*/ 316 h 600"/>
                <a:gd name="T48" fmla="*/ 70 w 477"/>
                <a:gd name="T49" fmla="*/ 348 h 600"/>
                <a:gd name="T50" fmla="*/ 38 w 477"/>
                <a:gd name="T51" fmla="*/ 386 h 600"/>
                <a:gd name="T52" fmla="*/ 45 w 477"/>
                <a:gd name="T53" fmla="*/ 396 h 600"/>
                <a:gd name="T54" fmla="*/ 50 w 477"/>
                <a:gd name="T55" fmla="*/ 414 h 600"/>
                <a:gd name="T56" fmla="*/ 66 w 477"/>
                <a:gd name="T57" fmla="*/ 446 h 600"/>
                <a:gd name="T58" fmla="*/ 90 w 477"/>
                <a:gd name="T59" fmla="*/ 443 h 600"/>
                <a:gd name="T60" fmla="*/ 97 w 477"/>
                <a:gd name="T61" fmla="*/ 469 h 600"/>
                <a:gd name="T62" fmla="*/ 106 w 477"/>
                <a:gd name="T63" fmla="*/ 486 h 600"/>
                <a:gd name="T64" fmla="*/ 136 w 477"/>
                <a:gd name="T65" fmla="*/ 482 h 600"/>
                <a:gd name="T66" fmla="*/ 172 w 477"/>
                <a:gd name="T67" fmla="*/ 482 h 600"/>
                <a:gd name="T68" fmla="*/ 157 w 477"/>
                <a:gd name="T69" fmla="*/ 530 h 600"/>
                <a:gd name="T70" fmla="*/ 120 w 477"/>
                <a:gd name="T71" fmla="*/ 571 h 600"/>
                <a:gd name="T72" fmla="*/ 82 w 477"/>
                <a:gd name="T73" fmla="*/ 589 h 600"/>
                <a:gd name="T74" fmla="*/ 81 w 477"/>
                <a:gd name="T75" fmla="*/ 594 h 600"/>
                <a:gd name="T76" fmla="*/ 104 w 477"/>
                <a:gd name="T77" fmla="*/ 578 h 600"/>
                <a:gd name="T78" fmla="*/ 129 w 477"/>
                <a:gd name="T79" fmla="*/ 573 h 600"/>
                <a:gd name="T80" fmla="*/ 143 w 477"/>
                <a:gd name="T81" fmla="*/ 553 h 600"/>
                <a:gd name="T82" fmla="*/ 173 w 477"/>
                <a:gd name="T83" fmla="*/ 544 h 600"/>
                <a:gd name="T84" fmla="*/ 195 w 477"/>
                <a:gd name="T85" fmla="*/ 521 h 600"/>
                <a:gd name="T86" fmla="*/ 223 w 477"/>
                <a:gd name="T87" fmla="*/ 496 h 600"/>
                <a:gd name="T88" fmla="*/ 229 w 477"/>
                <a:gd name="T89" fmla="*/ 462 h 600"/>
                <a:gd name="T90" fmla="*/ 240 w 477"/>
                <a:gd name="T91" fmla="*/ 437 h 600"/>
                <a:gd name="T92" fmla="*/ 281 w 477"/>
                <a:gd name="T93" fmla="*/ 407 h 600"/>
                <a:gd name="T94" fmla="*/ 281 w 477"/>
                <a:gd name="T95" fmla="*/ 416 h 600"/>
                <a:gd name="T96" fmla="*/ 266 w 477"/>
                <a:gd name="T97" fmla="*/ 462 h 600"/>
                <a:gd name="T98" fmla="*/ 270 w 477"/>
                <a:gd name="T99" fmla="*/ 468 h 600"/>
                <a:gd name="T100" fmla="*/ 297 w 477"/>
                <a:gd name="T101" fmla="*/ 448 h 600"/>
                <a:gd name="T102" fmla="*/ 318 w 477"/>
                <a:gd name="T103" fmla="*/ 434 h 600"/>
                <a:gd name="T104" fmla="*/ 315 w 477"/>
                <a:gd name="T105" fmla="*/ 419 h 600"/>
                <a:gd name="T106" fmla="*/ 334 w 477"/>
                <a:gd name="T107" fmla="*/ 416 h 600"/>
                <a:gd name="T108" fmla="*/ 352 w 477"/>
                <a:gd name="T109" fmla="*/ 425 h 600"/>
                <a:gd name="T110" fmla="*/ 373 w 477"/>
                <a:gd name="T111" fmla="*/ 439 h 600"/>
                <a:gd name="T112" fmla="*/ 407 w 477"/>
                <a:gd name="T113" fmla="*/ 444 h 600"/>
                <a:gd name="T114" fmla="*/ 461 w 477"/>
                <a:gd name="T115" fmla="*/ 453 h 600"/>
                <a:gd name="T116" fmla="*/ 452 w 477"/>
                <a:gd name="T117" fmla="*/ 464 h 600"/>
                <a:gd name="T118" fmla="*/ 477 w 477"/>
                <a:gd name="T119" fmla="*/ 466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7" h="600">
                  <a:moveTo>
                    <a:pt x="434" y="428"/>
                  </a:moveTo>
                  <a:lnTo>
                    <a:pt x="434" y="77"/>
                  </a:lnTo>
                  <a:lnTo>
                    <a:pt x="432" y="77"/>
                  </a:lnTo>
                  <a:lnTo>
                    <a:pt x="431" y="77"/>
                  </a:lnTo>
                  <a:lnTo>
                    <a:pt x="431" y="78"/>
                  </a:lnTo>
                  <a:lnTo>
                    <a:pt x="429" y="82"/>
                  </a:lnTo>
                  <a:lnTo>
                    <a:pt x="427" y="80"/>
                  </a:lnTo>
                  <a:lnTo>
                    <a:pt x="425" y="75"/>
                  </a:lnTo>
                  <a:lnTo>
                    <a:pt x="416" y="71"/>
                  </a:lnTo>
                  <a:lnTo>
                    <a:pt x="416" y="69"/>
                  </a:lnTo>
                  <a:lnTo>
                    <a:pt x="411" y="68"/>
                  </a:lnTo>
                  <a:lnTo>
                    <a:pt x="411" y="66"/>
                  </a:lnTo>
                  <a:lnTo>
                    <a:pt x="409" y="64"/>
                  </a:lnTo>
                  <a:lnTo>
                    <a:pt x="398" y="59"/>
                  </a:lnTo>
                  <a:lnTo>
                    <a:pt x="397" y="59"/>
                  </a:lnTo>
                  <a:lnTo>
                    <a:pt x="395" y="61"/>
                  </a:lnTo>
                  <a:lnTo>
                    <a:pt x="393" y="59"/>
                  </a:lnTo>
                  <a:lnTo>
                    <a:pt x="395" y="62"/>
                  </a:lnTo>
                  <a:lnTo>
                    <a:pt x="393" y="64"/>
                  </a:lnTo>
                  <a:lnTo>
                    <a:pt x="391" y="61"/>
                  </a:lnTo>
                  <a:lnTo>
                    <a:pt x="390" y="59"/>
                  </a:lnTo>
                  <a:lnTo>
                    <a:pt x="388" y="61"/>
                  </a:lnTo>
                  <a:lnTo>
                    <a:pt x="381" y="62"/>
                  </a:lnTo>
                  <a:lnTo>
                    <a:pt x="379" y="62"/>
                  </a:lnTo>
                  <a:lnTo>
                    <a:pt x="375" y="66"/>
                  </a:lnTo>
                  <a:lnTo>
                    <a:pt x="373" y="66"/>
                  </a:lnTo>
                  <a:lnTo>
                    <a:pt x="372" y="64"/>
                  </a:lnTo>
                  <a:lnTo>
                    <a:pt x="370" y="66"/>
                  </a:lnTo>
                  <a:lnTo>
                    <a:pt x="365" y="64"/>
                  </a:lnTo>
                  <a:lnTo>
                    <a:pt x="365" y="64"/>
                  </a:lnTo>
                  <a:lnTo>
                    <a:pt x="365" y="62"/>
                  </a:lnTo>
                  <a:lnTo>
                    <a:pt x="359" y="62"/>
                  </a:lnTo>
                  <a:lnTo>
                    <a:pt x="356" y="59"/>
                  </a:lnTo>
                  <a:lnTo>
                    <a:pt x="354" y="57"/>
                  </a:lnTo>
                  <a:lnTo>
                    <a:pt x="338" y="57"/>
                  </a:lnTo>
                  <a:lnTo>
                    <a:pt x="329" y="53"/>
                  </a:lnTo>
                  <a:lnTo>
                    <a:pt x="325" y="53"/>
                  </a:lnTo>
                  <a:lnTo>
                    <a:pt x="323" y="50"/>
                  </a:lnTo>
                  <a:lnTo>
                    <a:pt x="318" y="48"/>
                  </a:lnTo>
                  <a:lnTo>
                    <a:pt x="313" y="48"/>
                  </a:lnTo>
                  <a:lnTo>
                    <a:pt x="313" y="44"/>
                  </a:lnTo>
                  <a:lnTo>
                    <a:pt x="300" y="41"/>
                  </a:lnTo>
                  <a:lnTo>
                    <a:pt x="295" y="41"/>
                  </a:lnTo>
                  <a:lnTo>
                    <a:pt x="291" y="43"/>
                  </a:lnTo>
                  <a:lnTo>
                    <a:pt x="284" y="46"/>
                  </a:lnTo>
                  <a:lnTo>
                    <a:pt x="284" y="44"/>
                  </a:lnTo>
                  <a:lnTo>
                    <a:pt x="288" y="44"/>
                  </a:lnTo>
                  <a:lnTo>
                    <a:pt x="286" y="41"/>
                  </a:lnTo>
                  <a:lnTo>
                    <a:pt x="284" y="41"/>
                  </a:lnTo>
                  <a:lnTo>
                    <a:pt x="282" y="41"/>
                  </a:lnTo>
                  <a:lnTo>
                    <a:pt x="272" y="44"/>
                  </a:lnTo>
                  <a:lnTo>
                    <a:pt x="263" y="43"/>
                  </a:lnTo>
                  <a:lnTo>
                    <a:pt x="265" y="41"/>
                  </a:lnTo>
                  <a:lnTo>
                    <a:pt x="265" y="39"/>
                  </a:lnTo>
                  <a:lnTo>
                    <a:pt x="254" y="39"/>
                  </a:lnTo>
                  <a:lnTo>
                    <a:pt x="252" y="37"/>
                  </a:lnTo>
                  <a:lnTo>
                    <a:pt x="259" y="37"/>
                  </a:lnTo>
                  <a:lnTo>
                    <a:pt x="257" y="36"/>
                  </a:lnTo>
                  <a:lnTo>
                    <a:pt x="254" y="36"/>
                  </a:lnTo>
                  <a:lnTo>
                    <a:pt x="254" y="34"/>
                  </a:lnTo>
                  <a:lnTo>
                    <a:pt x="256" y="28"/>
                  </a:lnTo>
                  <a:lnTo>
                    <a:pt x="256" y="25"/>
                  </a:lnTo>
                  <a:lnTo>
                    <a:pt x="250" y="23"/>
                  </a:lnTo>
                  <a:lnTo>
                    <a:pt x="245" y="23"/>
                  </a:lnTo>
                  <a:lnTo>
                    <a:pt x="247" y="27"/>
                  </a:lnTo>
                  <a:lnTo>
                    <a:pt x="245" y="27"/>
                  </a:lnTo>
                  <a:lnTo>
                    <a:pt x="243" y="27"/>
                  </a:lnTo>
                  <a:lnTo>
                    <a:pt x="243" y="23"/>
                  </a:lnTo>
                  <a:lnTo>
                    <a:pt x="241" y="19"/>
                  </a:lnTo>
                  <a:lnTo>
                    <a:pt x="236" y="19"/>
                  </a:lnTo>
                  <a:lnTo>
                    <a:pt x="231" y="25"/>
                  </a:lnTo>
                  <a:lnTo>
                    <a:pt x="229" y="21"/>
                  </a:lnTo>
                  <a:lnTo>
                    <a:pt x="227" y="23"/>
                  </a:lnTo>
                  <a:lnTo>
                    <a:pt x="225" y="27"/>
                  </a:lnTo>
                  <a:lnTo>
                    <a:pt x="222" y="27"/>
                  </a:lnTo>
                  <a:lnTo>
                    <a:pt x="220" y="25"/>
                  </a:lnTo>
                  <a:lnTo>
                    <a:pt x="218" y="23"/>
                  </a:lnTo>
                  <a:lnTo>
                    <a:pt x="216" y="23"/>
                  </a:lnTo>
                  <a:lnTo>
                    <a:pt x="216" y="19"/>
                  </a:lnTo>
                  <a:lnTo>
                    <a:pt x="215" y="12"/>
                  </a:lnTo>
                  <a:lnTo>
                    <a:pt x="209" y="11"/>
                  </a:lnTo>
                  <a:lnTo>
                    <a:pt x="209" y="14"/>
                  </a:lnTo>
                  <a:lnTo>
                    <a:pt x="207" y="12"/>
                  </a:lnTo>
                  <a:lnTo>
                    <a:pt x="207" y="14"/>
                  </a:lnTo>
                  <a:lnTo>
                    <a:pt x="206" y="14"/>
                  </a:lnTo>
                  <a:lnTo>
                    <a:pt x="204" y="16"/>
                  </a:lnTo>
                  <a:lnTo>
                    <a:pt x="202" y="21"/>
                  </a:lnTo>
                  <a:lnTo>
                    <a:pt x="206" y="25"/>
                  </a:lnTo>
                  <a:lnTo>
                    <a:pt x="206" y="27"/>
                  </a:lnTo>
                  <a:lnTo>
                    <a:pt x="206" y="30"/>
                  </a:lnTo>
                  <a:lnTo>
                    <a:pt x="202" y="30"/>
                  </a:lnTo>
                  <a:lnTo>
                    <a:pt x="202" y="27"/>
                  </a:lnTo>
                  <a:lnTo>
                    <a:pt x="200" y="25"/>
                  </a:lnTo>
                  <a:lnTo>
                    <a:pt x="198" y="27"/>
                  </a:lnTo>
                  <a:lnTo>
                    <a:pt x="198" y="23"/>
                  </a:lnTo>
                  <a:lnTo>
                    <a:pt x="197" y="28"/>
                  </a:lnTo>
                  <a:lnTo>
                    <a:pt x="191" y="23"/>
                  </a:lnTo>
                  <a:lnTo>
                    <a:pt x="190" y="23"/>
                  </a:lnTo>
                  <a:lnTo>
                    <a:pt x="188" y="25"/>
                  </a:lnTo>
                  <a:lnTo>
                    <a:pt x="191" y="19"/>
                  </a:lnTo>
                  <a:lnTo>
                    <a:pt x="193" y="19"/>
                  </a:lnTo>
                  <a:lnTo>
                    <a:pt x="195" y="18"/>
                  </a:lnTo>
                  <a:lnTo>
                    <a:pt x="200" y="14"/>
                  </a:lnTo>
                  <a:lnTo>
                    <a:pt x="200" y="12"/>
                  </a:lnTo>
                  <a:lnTo>
                    <a:pt x="200" y="9"/>
                  </a:lnTo>
                  <a:lnTo>
                    <a:pt x="198" y="7"/>
                  </a:lnTo>
                  <a:lnTo>
                    <a:pt x="193" y="9"/>
                  </a:lnTo>
                  <a:lnTo>
                    <a:pt x="193" y="7"/>
                  </a:lnTo>
                  <a:lnTo>
                    <a:pt x="191" y="5"/>
                  </a:lnTo>
                  <a:lnTo>
                    <a:pt x="190" y="3"/>
                  </a:lnTo>
                  <a:lnTo>
                    <a:pt x="188" y="3"/>
                  </a:lnTo>
                  <a:lnTo>
                    <a:pt x="184" y="2"/>
                  </a:lnTo>
                  <a:lnTo>
                    <a:pt x="182" y="0"/>
                  </a:lnTo>
                  <a:lnTo>
                    <a:pt x="181" y="2"/>
                  </a:lnTo>
                  <a:lnTo>
                    <a:pt x="181" y="3"/>
                  </a:lnTo>
                  <a:lnTo>
                    <a:pt x="179" y="5"/>
                  </a:lnTo>
                  <a:lnTo>
                    <a:pt x="179" y="7"/>
                  </a:lnTo>
                  <a:lnTo>
                    <a:pt x="177" y="7"/>
                  </a:lnTo>
                  <a:lnTo>
                    <a:pt x="179" y="9"/>
                  </a:lnTo>
                  <a:lnTo>
                    <a:pt x="177" y="11"/>
                  </a:lnTo>
                  <a:lnTo>
                    <a:pt x="175" y="9"/>
                  </a:lnTo>
                  <a:lnTo>
                    <a:pt x="175" y="11"/>
                  </a:lnTo>
                  <a:lnTo>
                    <a:pt x="170" y="18"/>
                  </a:lnTo>
                  <a:lnTo>
                    <a:pt x="163" y="25"/>
                  </a:lnTo>
                  <a:lnTo>
                    <a:pt x="156" y="25"/>
                  </a:lnTo>
                  <a:lnTo>
                    <a:pt x="156" y="27"/>
                  </a:lnTo>
                  <a:lnTo>
                    <a:pt x="148" y="28"/>
                  </a:lnTo>
                  <a:lnTo>
                    <a:pt x="143" y="27"/>
                  </a:lnTo>
                  <a:lnTo>
                    <a:pt x="145" y="28"/>
                  </a:lnTo>
                  <a:lnTo>
                    <a:pt x="141" y="28"/>
                  </a:lnTo>
                  <a:lnTo>
                    <a:pt x="143" y="32"/>
                  </a:lnTo>
                  <a:lnTo>
                    <a:pt x="138" y="30"/>
                  </a:lnTo>
                  <a:lnTo>
                    <a:pt x="140" y="27"/>
                  </a:lnTo>
                  <a:lnTo>
                    <a:pt x="141" y="25"/>
                  </a:lnTo>
                  <a:lnTo>
                    <a:pt x="145" y="23"/>
                  </a:lnTo>
                  <a:lnTo>
                    <a:pt x="145" y="21"/>
                  </a:lnTo>
                  <a:lnTo>
                    <a:pt x="136" y="25"/>
                  </a:lnTo>
                  <a:lnTo>
                    <a:pt x="132" y="28"/>
                  </a:lnTo>
                  <a:lnTo>
                    <a:pt x="131" y="32"/>
                  </a:lnTo>
                  <a:lnTo>
                    <a:pt x="131" y="32"/>
                  </a:lnTo>
                  <a:lnTo>
                    <a:pt x="129" y="34"/>
                  </a:lnTo>
                  <a:lnTo>
                    <a:pt x="129" y="36"/>
                  </a:lnTo>
                  <a:lnTo>
                    <a:pt x="132" y="36"/>
                  </a:lnTo>
                  <a:lnTo>
                    <a:pt x="132" y="39"/>
                  </a:lnTo>
                  <a:lnTo>
                    <a:pt x="136" y="41"/>
                  </a:lnTo>
                  <a:lnTo>
                    <a:pt x="138" y="41"/>
                  </a:lnTo>
                  <a:lnTo>
                    <a:pt x="134" y="43"/>
                  </a:lnTo>
                  <a:lnTo>
                    <a:pt x="132" y="43"/>
                  </a:lnTo>
                  <a:lnTo>
                    <a:pt x="131" y="44"/>
                  </a:lnTo>
                  <a:lnTo>
                    <a:pt x="132" y="46"/>
                  </a:lnTo>
                  <a:lnTo>
                    <a:pt x="132" y="50"/>
                  </a:lnTo>
                  <a:lnTo>
                    <a:pt x="131" y="53"/>
                  </a:lnTo>
                  <a:lnTo>
                    <a:pt x="129" y="52"/>
                  </a:lnTo>
                  <a:lnTo>
                    <a:pt x="129" y="46"/>
                  </a:lnTo>
                  <a:lnTo>
                    <a:pt x="127" y="50"/>
                  </a:lnTo>
                  <a:lnTo>
                    <a:pt x="129" y="46"/>
                  </a:lnTo>
                  <a:lnTo>
                    <a:pt x="127" y="43"/>
                  </a:lnTo>
                  <a:lnTo>
                    <a:pt x="129" y="41"/>
                  </a:lnTo>
                  <a:lnTo>
                    <a:pt x="129" y="37"/>
                  </a:lnTo>
                  <a:lnTo>
                    <a:pt x="125" y="37"/>
                  </a:lnTo>
                  <a:lnTo>
                    <a:pt x="118" y="43"/>
                  </a:lnTo>
                  <a:lnTo>
                    <a:pt x="118" y="44"/>
                  </a:lnTo>
                  <a:lnTo>
                    <a:pt x="122" y="43"/>
                  </a:lnTo>
                  <a:lnTo>
                    <a:pt x="118" y="44"/>
                  </a:lnTo>
                  <a:lnTo>
                    <a:pt x="106" y="53"/>
                  </a:lnTo>
                  <a:lnTo>
                    <a:pt x="102" y="55"/>
                  </a:lnTo>
                  <a:lnTo>
                    <a:pt x="98" y="59"/>
                  </a:lnTo>
                  <a:lnTo>
                    <a:pt x="98" y="55"/>
                  </a:lnTo>
                  <a:lnTo>
                    <a:pt x="100" y="53"/>
                  </a:lnTo>
                  <a:lnTo>
                    <a:pt x="100" y="52"/>
                  </a:lnTo>
                  <a:lnTo>
                    <a:pt x="98" y="52"/>
                  </a:lnTo>
                  <a:lnTo>
                    <a:pt x="95" y="59"/>
                  </a:lnTo>
                  <a:lnTo>
                    <a:pt x="95" y="62"/>
                  </a:lnTo>
                  <a:lnTo>
                    <a:pt x="100" y="66"/>
                  </a:lnTo>
                  <a:lnTo>
                    <a:pt x="102" y="68"/>
                  </a:lnTo>
                  <a:lnTo>
                    <a:pt x="102" y="69"/>
                  </a:lnTo>
                  <a:lnTo>
                    <a:pt x="95" y="66"/>
                  </a:lnTo>
                  <a:lnTo>
                    <a:pt x="93" y="64"/>
                  </a:lnTo>
                  <a:lnTo>
                    <a:pt x="91" y="62"/>
                  </a:lnTo>
                  <a:lnTo>
                    <a:pt x="82" y="73"/>
                  </a:lnTo>
                  <a:lnTo>
                    <a:pt x="86" y="75"/>
                  </a:lnTo>
                  <a:lnTo>
                    <a:pt x="93" y="75"/>
                  </a:lnTo>
                  <a:lnTo>
                    <a:pt x="91" y="77"/>
                  </a:lnTo>
                  <a:lnTo>
                    <a:pt x="84" y="77"/>
                  </a:lnTo>
                  <a:lnTo>
                    <a:pt x="82" y="77"/>
                  </a:lnTo>
                  <a:lnTo>
                    <a:pt x="81" y="78"/>
                  </a:lnTo>
                  <a:lnTo>
                    <a:pt x="84" y="82"/>
                  </a:lnTo>
                  <a:lnTo>
                    <a:pt x="88" y="84"/>
                  </a:lnTo>
                  <a:lnTo>
                    <a:pt x="88" y="86"/>
                  </a:lnTo>
                  <a:lnTo>
                    <a:pt x="81" y="80"/>
                  </a:lnTo>
                  <a:lnTo>
                    <a:pt x="82" y="84"/>
                  </a:lnTo>
                  <a:lnTo>
                    <a:pt x="79" y="93"/>
                  </a:lnTo>
                  <a:lnTo>
                    <a:pt x="79" y="94"/>
                  </a:lnTo>
                  <a:lnTo>
                    <a:pt x="79" y="89"/>
                  </a:lnTo>
                  <a:lnTo>
                    <a:pt x="73" y="103"/>
                  </a:lnTo>
                  <a:lnTo>
                    <a:pt x="66" y="111"/>
                  </a:lnTo>
                  <a:lnTo>
                    <a:pt x="36" y="118"/>
                  </a:lnTo>
                  <a:lnTo>
                    <a:pt x="34" y="116"/>
                  </a:lnTo>
                  <a:lnTo>
                    <a:pt x="36" y="116"/>
                  </a:lnTo>
                  <a:lnTo>
                    <a:pt x="36" y="114"/>
                  </a:lnTo>
                  <a:lnTo>
                    <a:pt x="29" y="116"/>
                  </a:lnTo>
                  <a:lnTo>
                    <a:pt x="29" y="132"/>
                  </a:lnTo>
                  <a:lnTo>
                    <a:pt x="31" y="132"/>
                  </a:lnTo>
                  <a:lnTo>
                    <a:pt x="31" y="132"/>
                  </a:lnTo>
                  <a:lnTo>
                    <a:pt x="29" y="134"/>
                  </a:lnTo>
                  <a:lnTo>
                    <a:pt x="25" y="136"/>
                  </a:lnTo>
                  <a:lnTo>
                    <a:pt x="23" y="137"/>
                  </a:lnTo>
                  <a:lnTo>
                    <a:pt x="23" y="137"/>
                  </a:lnTo>
                  <a:lnTo>
                    <a:pt x="25" y="136"/>
                  </a:lnTo>
                  <a:lnTo>
                    <a:pt x="25" y="134"/>
                  </a:lnTo>
                  <a:lnTo>
                    <a:pt x="20" y="136"/>
                  </a:lnTo>
                  <a:lnTo>
                    <a:pt x="20" y="137"/>
                  </a:lnTo>
                  <a:lnTo>
                    <a:pt x="29" y="143"/>
                  </a:lnTo>
                  <a:lnTo>
                    <a:pt x="34" y="148"/>
                  </a:lnTo>
                  <a:lnTo>
                    <a:pt x="41" y="153"/>
                  </a:lnTo>
                  <a:lnTo>
                    <a:pt x="45" y="153"/>
                  </a:lnTo>
                  <a:lnTo>
                    <a:pt x="65" y="171"/>
                  </a:lnTo>
                  <a:lnTo>
                    <a:pt x="65" y="173"/>
                  </a:lnTo>
                  <a:lnTo>
                    <a:pt x="66" y="175"/>
                  </a:lnTo>
                  <a:lnTo>
                    <a:pt x="68" y="180"/>
                  </a:lnTo>
                  <a:lnTo>
                    <a:pt x="70" y="182"/>
                  </a:lnTo>
                  <a:lnTo>
                    <a:pt x="70" y="184"/>
                  </a:lnTo>
                  <a:lnTo>
                    <a:pt x="72" y="191"/>
                  </a:lnTo>
                  <a:lnTo>
                    <a:pt x="84" y="196"/>
                  </a:lnTo>
                  <a:lnTo>
                    <a:pt x="84" y="196"/>
                  </a:lnTo>
                  <a:lnTo>
                    <a:pt x="84" y="194"/>
                  </a:lnTo>
                  <a:lnTo>
                    <a:pt x="86" y="193"/>
                  </a:lnTo>
                  <a:lnTo>
                    <a:pt x="90" y="193"/>
                  </a:lnTo>
                  <a:lnTo>
                    <a:pt x="90" y="191"/>
                  </a:lnTo>
                  <a:lnTo>
                    <a:pt x="90" y="189"/>
                  </a:lnTo>
                  <a:lnTo>
                    <a:pt x="91" y="189"/>
                  </a:lnTo>
                  <a:lnTo>
                    <a:pt x="93" y="189"/>
                  </a:lnTo>
                  <a:lnTo>
                    <a:pt x="90" y="196"/>
                  </a:lnTo>
                  <a:lnTo>
                    <a:pt x="90" y="198"/>
                  </a:lnTo>
                  <a:lnTo>
                    <a:pt x="93" y="194"/>
                  </a:lnTo>
                  <a:lnTo>
                    <a:pt x="97" y="194"/>
                  </a:lnTo>
                  <a:lnTo>
                    <a:pt x="100" y="194"/>
                  </a:lnTo>
                  <a:lnTo>
                    <a:pt x="104" y="194"/>
                  </a:lnTo>
                  <a:lnTo>
                    <a:pt x="106" y="198"/>
                  </a:lnTo>
                  <a:lnTo>
                    <a:pt x="104" y="198"/>
                  </a:lnTo>
                  <a:lnTo>
                    <a:pt x="102" y="200"/>
                  </a:lnTo>
                  <a:lnTo>
                    <a:pt x="100" y="205"/>
                  </a:lnTo>
                  <a:lnTo>
                    <a:pt x="104" y="211"/>
                  </a:lnTo>
                  <a:lnTo>
                    <a:pt x="107" y="214"/>
                  </a:lnTo>
                  <a:lnTo>
                    <a:pt x="109" y="212"/>
                  </a:lnTo>
                  <a:lnTo>
                    <a:pt x="109" y="209"/>
                  </a:lnTo>
                  <a:lnTo>
                    <a:pt x="109" y="209"/>
                  </a:lnTo>
                  <a:lnTo>
                    <a:pt x="109" y="211"/>
                  </a:lnTo>
                  <a:lnTo>
                    <a:pt x="111" y="212"/>
                  </a:lnTo>
                  <a:lnTo>
                    <a:pt x="111" y="211"/>
                  </a:lnTo>
                  <a:lnTo>
                    <a:pt x="116" y="211"/>
                  </a:lnTo>
                  <a:lnTo>
                    <a:pt x="120" y="212"/>
                  </a:lnTo>
                  <a:lnTo>
                    <a:pt x="125" y="212"/>
                  </a:lnTo>
                  <a:lnTo>
                    <a:pt x="127" y="209"/>
                  </a:lnTo>
                  <a:lnTo>
                    <a:pt x="131" y="211"/>
                  </a:lnTo>
                  <a:lnTo>
                    <a:pt x="132" y="209"/>
                  </a:lnTo>
                  <a:lnTo>
                    <a:pt x="136" y="209"/>
                  </a:lnTo>
                  <a:lnTo>
                    <a:pt x="136" y="211"/>
                  </a:lnTo>
                  <a:lnTo>
                    <a:pt x="129" y="212"/>
                  </a:lnTo>
                  <a:lnTo>
                    <a:pt x="127" y="216"/>
                  </a:lnTo>
                  <a:lnTo>
                    <a:pt x="129" y="216"/>
                  </a:lnTo>
                  <a:lnTo>
                    <a:pt x="129" y="214"/>
                  </a:lnTo>
                  <a:lnTo>
                    <a:pt x="136" y="212"/>
                  </a:lnTo>
                  <a:lnTo>
                    <a:pt x="138" y="212"/>
                  </a:lnTo>
                  <a:lnTo>
                    <a:pt x="138" y="216"/>
                  </a:lnTo>
                  <a:lnTo>
                    <a:pt x="136" y="218"/>
                  </a:lnTo>
                  <a:lnTo>
                    <a:pt x="129" y="218"/>
                  </a:lnTo>
                  <a:lnTo>
                    <a:pt x="127" y="219"/>
                  </a:lnTo>
                  <a:lnTo>
                    <a:pt x="125" y="221"/>
                  </a:lnTo>
                  <a:lnTo>
                    <a:pt x="120" y="221"/>
                  </a:lnTo>
                  <a:lnTo>
                    <a:pt x="118" y="221"/>
                  </a:lnTo>
                  <a:lnTo>
                    <a:pt x="116" y="219"/>
                  </a:lnTo>
                  <a:lnTo>
                    <a:pt x="115" y="218"/>
                  </a:lnTo>
                  <a:lnTo>
                    <a:pt x="113" y="216"/>
                  </a:lnTo>
                  <a:lnTo>
                    <a:pt x="111" y="216"/>
                  </a:lnTo>
                  <a:lnTo>
                    <a:pt x="111" y="214"/>
                  </a:lnTo>
                  <a:lnTo>
                    <a:pt x="109" y="216"/>
                  </a:lnTo>
                  <a:lnTo>
                    <a:pt x="107" y="218"/>
                  </a:lnTo>
                  <a:lnTo>
                    <a:pt x="102" y="216"/>
                  </a:lnTo>
                  <a:lnTo>
                    <a:pt x="100" y="214"/>
                  </a:lnTo>
                  <a:lnTo>
                    <a:pt x="97" y="209"/>
                  </a:lnTo>
                  <a:lnTo>
                    <a:pt x="100" y="218"/>
                  </a:lnTo>
                  <a:lnTo>
                    <a:pt x="98" y="219"/>
                  </a:lnTo>
                  <a:lnTo>
                    <a:pt x="98" y="223"/>
                  </a:lnTo>
                  <a:lnTo>
                    <a:pt x="100" y="225"/>
                  </a:lnTo>
                  <a:lnTo>
                    <a:pt x="100" y="223"/>
                  </a:lnTo>
                  <a:lnTo>
                    <a:pt x="102" y="219"/>
                  </a:lnTo>
                  <a:lnTo>
                    <a:pt x="113" y="223"/>
                  </a:lnTo>
                  <a:lnTo>
                    <a:pt x="115" y="225"/>
                  </a:lnTo>
                  <a:lnTo>
                    <a:pt x="115" y="227"/>
                  </a:lnTo>
                  <a:lnTo>
                    <a:pt x="113" y="230"/>
                  </a:lnTo>
                  <a:lnTo>
                    <a:pt x="113" y="228"/>
                  </a:lnTo>
                  <a:lnTo>
                    <a:pt x="111" y="227"/>
                  </a:lnTo>
                  <a:lnTo>
                    <a:pt x="106" y="225"/>
                  </a:lnTo>
                  <a:lnTo>
                    <a:pt x="102" y="234"/>
                  </a:lnTo>
                  <a:lnTo>
                    <a:pt x="102" y="236"/>
                  </a:lnTo>
                  <a:lnTo>
                    <a:pt x="100" y="237"/>
                  </a:lnTo>
                  <a:lnTo>
                    <a:pt x="98" y="236"/>
                  </a:lnTo>
                  <a:lnTo>
                    <a:pt x="98" y="234"/>
                  </a:lnTo>
                  <a:lnTo>
                    <a:pt x="97" y="232"/>
                  </a:lnTo>
                  <a:lnTo>
                    <a:pt x="93" y="234"/>
                  </a:lnTo>
                  <a:lnTo>
                    <a:pt x="93" y="234"/>
                  </a:lnTo>
                  <a:lnTo>
                    <a:pt x="91" y="234"/>
                  </a:lnTo>
                  <a:lnTo>
                    <a:pt x="88" y="234"/>
                  </a:lnTo>
                  <a:lnTo>
                    <a:pt x="88" y="232"/>
                  </a:lnTo>
                  <a:lnTo>
                    <a:pt x="86" y="234"/>
                  </a:lnTo>
                  <a:lnTo>
                    <a:pt x="86" y="232"/>
                  </a:lnTo>
                  <a:lnTo>
                    <a:pt x="84" y="232"/>
                  </a:lnTo>
                  <a:lnTo>
                    <a:pt x="82" y="234"/>
                  </a:lnTo>
                  <a:lnTo>
                    <a:pt x="82" y="234"/>
                  </a:lnTo>
                  <a:lnTo>
                    <a:pt x="72" y="234"/>
                  </a:lnTo>
                  <a:lnTo>
                    <a:pt x="68" y="230"/>
                  </a:lnTo>
                  <a:lnTo>
                    <a:pt x="68" y="228"/>
                  </a:lnTo>
                  <a:lnTo>
                    <a:pt x="65" y="228"/>
                  </a:lnTo>
                  <a:lnTo>
                    <a:pt x="70" y="223"/>
                  </a:lnTo>
                  <a:lnTo>
                    <a:pt x="68" y="221"/>
                  </a:lnTo>
                  <a:lnTo>
                    <a:pt x="70" y="218"/>
                  </a:lnTo>
                  <a:lnTo>
                    <a:pt x="68" y="214"/>
                  </a:lnTo>
                  <a:lnTo>
                    <a:pt x="66" y="212"/>
                  </a:lnTo>
                  <a:lnTo>
                    <a:pt x="66" y="212"/>
                  </a:lnTo>
                  <a:lnTo>
                    <a:pt x="72" y="211"/>
                  </a:lnTo>
                  <a:lnTo>
                    <a:pt x="54" y="212"/>
                  </a:lnTo>
                  <a:lnTo>
                    <a:pt x="50" y="218"/>
                  </a:lnTo>
                  <a:lnTo>
                    <a:pt x="47" y="218"/>
                  </a:lnTo>
                  <a:lnTo>
                    <a:pt x="45" y="219"/>
                  </a:lnTo>
                  <a:lnTo>
                    <a:pt x="43" y="219"/>
                  </a:lnTo>
                  <a:lnTo>
                    <a:pt x="36" y="225"/>
                  </a:lnTo>
                  <a:lnTo>
                    <a:pt x="40" y="227"/>
                  </a:lnTo>
                  <a:lnTo>
                    <a:pt x="41" y="230"/>
                  </a:lnTo>
                  <a:lnTo>
                    <a:pt x="40" y="230"/>
                  </a:lnTo>
                  <a:lnTo>
                    <a:pt x="32" y="232"/>
                  </a:lnTo>
                  <a:lnTo>
                    <a:pt x="32" y="230"/>
                  </a:lnTo>
                  <a:lnTo>
                    <a:pt x="32" y="228"/>
                  </a:lnTo>
                  <a:lnTo>
                    <a:pt x="22" y="234"/>
                  </a:lnTo>
                  <a:lnTo>
                    <a:pt x="20" y="236"/>
                  </a:lnTo>
                  <a:lnTo>
                    <a:pt x="20" y="236"/>
                  </a:lnTo>
                  <a:lnTo>
                    <a:pt x="18" y="237"/>
                  </a:lnTo>
                  <a:lnTo>
                    <a:pt x="18" y="239"/>
                  </a:lnTo>
                  <a:lnTo>
                    <a:pt x="15" y="241"/>
                  </a:lnTo>
                  <a:lnTo>
                    <a:pt x="13" y="239"/>
                  </a:lnTo>
                  <a:lnTo>
                    <a:pt x="11" y="241"/>
                  </a:lnTo>
                  <a:lnTo>
                    <a:pt x="9" y="243"/>
                  </a:lnTo>
                  <a:lnTo>
                    <a:pt x="9" y="244"/>
                  </a:lnTo>
                  <a:lnTo>
                    <a:pt x="9" y="246"/>
                  </a:lnTo>
                  <a:lnTo>
                    <a:pt x="4" y="250"/>
                  </a:lnTo>
                  <a:lnTo>
                    <a:pt x="2" y="250"/>
                  </a:lnTo>
                  <a:lnTo>
                    <a:pt x="4" y="246"/>
                  </a:lnTo>
                  <a:lnTo>
                    <a:pt x="0" y="248"/>
                  </a:lnTo>
                  <a:lnTo>
                    <a:pt x="0" y="250"/>
                  </a:lnTo>
                  <a:lnTo>
                    <a:pt x="13" y="259"/>
                  </a:lnTo>
                  <a:lnTo>
                    <a:pt x="20" y="262"/>
                  </a:lnTo>
                  <a:lnTo>
                    <a:pt x="22" y="262"/>
                  </a:lnTo>
                  <a:lnTo>
                    <a:pt x="20" y="259"/>
                  </a:lnTo>
                  <a:lnTo>
                    <a:pt x="31" y="262"/>
                  </a:lnTo>
                  <a:lnTo>
                    <a:pt x="25" y="266"/>
                  </a:lnTo>
                  <a:lnTo>
                    <a:pt x="23" y="269"/>
                  </a:lnTo>
                  <a:lnTo>
                    <a:pt x="20" y="268"/>
                  </a:lnTo>
                  <a:lnTo>
                    <a:pt x="22" y="266"/>
                  </a:lnTo>
                  <a:lnTo>
                    <a:pt x="20" y="264"/>
                  </a:lnTo>
                  <a:lnTo>
                    <a:pt x="20" y="268"/>
                  </a:lnTo>
                  <a:lnTo>
                    <a:pt x="23" y="275"/>
                  </a:lnTo>
                  <a:lnTo>
                    <a:pt x="27" y="277"/>
                  </a:lnTo>
                  <a:lnTo>
                    <a:pt x="27" y="280"/>
                  </a:lnTo>
                  <a:lnTo>
                    <a:pt x="25" y="284"/>
                  </a:lnTo>
                  <a:lnTo>
                    <a:pt x="29" y="289"/>
                  </a:lnTo>
                  <a:lnTo>
                    <a:pt x="31" y="289"/>
                  </a:lnTo>
                  <a:lnTo>
                    <a:pt x="31" y="291"/>
                  </a:lnTo>
                  <a:lnTo>
                    <a:pt x="47" y="293"/>
                  </a:lnTo>
                  <a:lnTo>
                    <a:pt x="52" y="294"/>
                  </a:lnTo>
                  <a:lnTo>
                    <a:pt x="61" y="291"/>
                  </a:lnTo>
                  <a:lnTo>
                    <a:pt x="66" y="291"/>
                  </a:lnTo>
                  <a:lnTo>
                    <a:pt x="72" y="291"/>
                  </a:lnTo>
                  <a:lnTo>
                    <a:pt x="77" y="293"/>
                  </a:lnTo>
                  <a:lnTo>
                    <a:pt x="81" y="296"/>
                  </a:lnTo>
                  <a:lnTo>
                    <a:pt x="81" y="294"/>
                  </a:lnTo>
                  <a:lnTo>
                    <a:pt x="81" y="293"/>
                  </a:lnTo>
                  <a:lnTo>
                    <a:pt x="79" y="291"/>
                  </a:lnTo>
                  <a:lnTo>
                    <a:pt x="77" y="291"/>
                  </a:lnTo>
                  <a:lnTo>
                    <a:pt x="75" y="289"/>
                  </a:lnTo>
                  <a:lnTo>
                    <a:pt x="81" y="287"/>
                  </a:lnTo>
                  <a:lnTo>
                    <a:pt x="82" y="291"/>
                  </a:lnTo>
                  <a:lnTo>
                    <a:pt x="84" y="293"/>
                  </a:lnTo>
                  <a:lnTo>
                    <a:pt x="86" y="302"/>
                  </a:lnTo>
                  <a:lnTo>
                    <a:pt x="86" y="302"/>
                  </a:lnTo>
                  <a:lnTo>
                    <a:pt x="91" y="293"/>
                  </a:lnTo>
                  <a:lnTo>
                    <a:pt x="97" y="286"/>
                  </a:lnTo>
                  <a:lnTo>
                    <a:pt x="102" y="284"/>
                  </a:lnTo>
                  <a:lnTo>
                    <a:pt x="102" y="282"/>
                  </a:lnTo>
                  <a:lnTo>
                    <a:pt x="106" y="284"/>
                  </a:lnTo>
                  <a:lnTo>
                    <a:pt x="107" y="282"/>
                  </a:lnTo>
                  <a:lnTo>
                    <a:pt x="109" y="280"/>
                  </a:lnTo>
                  <a:lnTo>
                    <a:pt x="113" y="278"/>
                  </a:lnTo>
                  <a:lnTo>
                    <a:pt x="116" y="282"/>
                  </a:lnTo>
                  <a:lnTo>
                    <a:pt x="118" y="284"/>
                  </a:lnTo>
                  <a:lnTo>
                    <a:pt x="118" y="287"/>
                  </a:lnTo>
                  <a:lnTo>
                    <a:pt x="115" y="293"/>
                  </a:lnTo>
                  <a:lnTo>
                    <a:pt x="111" y="294"/>
                  </a:lnTo>
                  <a:lnTo>
                    <a:pt x="109" y="293"/>
                  </a:lnTo>
                  <a:lnTo>
                    <a:pt x="106" y="293"/>
                  </a:lnTo>
                  <a:lnTo>
                    <a:pt x="106" y="296"/>
                  </a:lnTo>
                  <a:lnTo>
                    <a:pt x="107" y="298"/>
                  </a:lnTo>
                  <a:lnTo>
                    <a:pt x="109" y="296"/>
                  </a:lnTo>
                  <a:lnTo>
                    <a:pt x="111" y="298"/>
                  </a:lnTo>
                  <a:lnTo>
                    <a:pt x="116" y="307"/>
                  </a:lnTo>
                  <a:lnTo>
                    <a:pt x="115" y="309"/>
                  </a:lnTo>
                  <a:lnTo>
                    <a:pt x="115" y="311"/>
                  </a:lnTo>
                  <a:lnTo>
                    <a:pt x="116" y="312"/>
                  </a:lnTo>
                  <a:lnTo>
                    <a:pt x="118" y="316"/>
                  </a:lnTo>
                  <a:lnTo>
                    <a:pt x="118" y="319"/>
                  </a:lnTo>
                  <a:lnTo>
                    <a:pt x="113" y="328"/>
                  </a:lnTo>
                  <a:lnTo>
                    <a:pt x="111" y="330"/>
                  </a:lnTo>
                  <a:lnTo>
                    <a:pt x="107" y="330"/>
                  </a:lnTo>
                  <a:lnTo>
                    <a:pt x="106" y="330"/>
                  </a:lnTo>
                  <a:lnTo>
                    <a:pt x="102" y="332"/>
                  </a:lnTo>
                  <a:lnTo>
                    <a:pt x="100" y="332"/>
                  </a:lnTo>
                  <a:lnTo>
                    <a:pt x="95" y="334"/>
                  </a:lnTo>
                  <a:lnTo>
                    <a:pt x="93" y="334"/>
                  </a:lnTo>
                  <a:lnTo>
                    <a:pt x="97" y="330"/>
                  </a:lnTo>
                  <a:lnTo>
                    <a:pt x="97" y="330"/>
                  </a:lnTo>
                  <a:lnTo>
                    <a:pt x="93" y="330"/>
                  </a:lnTo>
                  <a:lnTo>
                    <a:pt x="81" y="344"/>
                  </a:lnTo>
                  <a:lnTo>
                    <a:pt x="79" y="346"/>
                  </a:lnTo>
                  <a:lnTo>
                    <a:pt x="75" y="344"/>
                  </a:lnTo>
                  <a:lnTo>
                    <a:pt x="73" y="344"/>
                  </a:lnTo>
                  <a:lnTo>
                    <a:pt x="70" y="348"/>
                  </a:lnTo>
                  <a:lnTo>
                    <a:pt x="65" y="350"/>
                  </a:lnTo>
                  <a:lnTo>
                    <a:pt x="63" y="352"/>
                  </a:lnTo>
                  <a:lnTo>
                    <a:pt x="63" y="352"/>
                  </a:lnTo>
                  <a:lnTo>
                    <a:pt x="65" y="353"/>
                  </a:lnTo>
                  <a:lnTo>
                    <a:pt x="65" y="355"/>
                  </a:lnTo>
                  <a:lnTo>
                    <a:pt x="63" y="357"/>
                  </a:lnTo>
                  <a:lnTo>
                    <a:pt x="59" y="355"/>
                  </a:lnTo>
                  <a:lnTo>
                    <a:pt x="56" y="357"/>
                  </a:lnTo>
                  <a:lnTo>
                    <a:pt x="52" y="361"/>
                  </a:lnTo>
                  <a:lnTo>
                    <a:pt x="50" y="364"/>
                  </a:lnTo>
                  <a:lnTo>
                    <a:pt x="48" y="362"/>
                  </a:lnTo>
                  <a:lnTo>
                    <a:pt x="47" y="362"/>
                  </a:lnTo>
                  <a:lnTo>
                    <a:pt x="41" y="369"/>
                  </a:lnTo>
                  <a:lnTo>
                    <a:pt x="41" y="369"/>
                  </a:lnTo>
                  <a:lnTo>
                    <a:pt x="40" y="371"/>
                  </a:lnTo>
                  <a:lnTo>
                    <a:pt x="38" y="378"/>
                  </a:lnTo>
                  <a:lnTo>
                    <a:pt x="38" y="386"/>
                  </a:lnTo>
                  <a:lnTo>
                    <a:pt x="36" y="387"/>
                  </a:lnTo>
                  <a:lnTo>
                    <a:pt x="34" y="387"/>
                  </a:lnTo>
                  <a:lnTo>
                    <a:pt x="32" y="387"/>
                  </a:lnTo>
                  <a:lnTo>
                    <a:pt x="31" y="387"/>
                  </a:lnTo>
                  <a:lnTo>
                    <a:pt x="31" y="389"/>
                  </a:lnTo>
                  <a:lnTo>
                    <a:pt x="34" y="393"/>
                  </a:lnTo>
                  <a:lnTo>
                    <a:pt x="32" y="393"/>
                  </a:lnTo>
                  <a:lnTo>
                    <a:pt x="31" y="394"/>
                  </a:lnTo>
                  <a:lnTo>
                    <a:pt x="29" y="398"/>
                  </a:lnTo>
                  <a:lnTo>
                    <a:pt x="31" y="398"/>
                  </a:lnTo>
                  <a:lnTo>
                    <a:pt x="36" y="396"/>
                  </a:lnTo>
                  <a:lnTo>
                    <a:pt x="38" y="396"/>
                  </a:lnTo>
                  <a:lnTo>
                    <a:pt x="40" y="394"/>
                  </a:lnTo>
                  <a:lnTo>
                    <a:pt x="45" y="393"/>
                  </a:lnTo>
                  <a:lnTo>
                    <a:pt x="45" y="394"/>
                  </a:lnTo>
                  <a:lnTo>
                    <a:pt x="43" y="394"/>
                  </a:lnTo>
                  <a:lnTo>
                    <a:pt x="45" y="396"/>
                  </a:lnTo>
                  <a:lnTo>
                    <a:pt x="40" y="396"/>
                  </a:lnTo>
                  <a:lnTo>
                    <a:pt x="36" y="398"/>
                  </a:lnTo>
                  <a:lnTo>
                    <a:pt x="34" y="400"/>
                  </a:lnTo>
                  <a:lnTo>
                    <a:pt x="34" y="402"/>
                  </a:lnTo>
                  <a:lnTo>
                    <a:pt x="38" y="405"/>
                  </a:lnTo>
                  <a:lnTo>
                    <a:pt x="41" y="402"/>
                  </a:lnTo>
                  <a:lnTo>
                    <a:pt x="43" y="402"/>
                  </a:lnTo>
                  <a:lnTo>
                    <a:pt x="43" y="403"/>
                  </a:lnTo>
                  <a:lnTo>
                    <a:pt x="41" y="407"/>
                  </a:lnTo>
                  <a:lnTo>
                    <a:pt x="43" y="411"/>
                  </a:lnTo>
                  <a:lnTo>
                    <a:pt x="43" y="411"/>
                  </a:lnTo>
                  <a:lnTo>
                    <a:pt x="45" y="414"/>
                  </a:lnTo>
                  <a:lnTo>
                    <a:pt x="45" y="416"/>
                  </a:lnTo>
                  <a:lnTo>
                    <a:pt x="47" y="416"/>
                  </a:lnTo>
                  <a:lnTo>
                    <a:pt x="48" y="416"/>
                  </a:lnTo>
                  <a:lnTo>
                    <a:pt x="50" y="412"/>
                  </a:lnTo>
                  <a:lnTo>
                    <a:pt x="50" y="414"/>
                  </a:lnTo>
                  <a:lnTo>
                    <a:pt x="52" y="414"/>
                  </a:lnTo>
                  <a:lnTo>
                    <a:pt x="56" y="414"/>
                  </a:lnTo>
                  <a:lnTo>
                    <a:pt x="54" y="418"/>
                  </a:lnTo>
                  <a:lnTo>
                    <a:pt x="63" y="421"/>
                  </a:lnTo>
                  <a:lnTo>
                    <a:pt x="66" y="419"/>
                  </a:lnTo>
                  <a:lnTo>
                    <a:pt x="70" y="419"/>
                  </a:lnTo>
                  <a:lnTo>
                    <a:pt x="70" y="423"/>
                  </a:lnTo>
                  <a:lnTo>
                    <a:pt x="68" y="425"/>
                  </a:lnTo>
                  <a:lnTo>
                    <a:pt x="65" y="427"/>
                  </a:lnTo>
                  <a:lnTo>
                    <a:pt x="57" y="437"/>
                  </a:lnTo>
                  <a:lnTo>
                    <a:pt x="57" y="439"/>
                  </a:lnTo>
                  <a:lnTo>
                    <a:pt x="57" y="441"/>
                  </a:lnTo>
                  <a:lnTo>
                    <a:pt x="59" y="446"/>
                  </a:lnTo>
                  <a:lnTo>
                    <a:pt x="61" y="448"/>
                  </a:lnTo>
                  <a:lnTo>
                    <a:pt x="63" y="446"/>
                  </a:lnTo>
                  <a:lnTo>
                    <a:pt x="65" y="444"/>
                  </a:lnTo>
                  <a:lnTo>
                    <a:pt x="66" y="446"/>
                  </a:lnTo>
                  <a:lnTo>
                    <a:pt x="65" y="448"/>
                  </a:lnTo>
                  <a:lnTo>
                    <a:pt x="65" y="448"/>
                  </a:lnTo>
                  <a:lnTo>
                    <a:pt x="70" y="448"/>
                  </a:lnTo>
                  <a:lnTo>
                    <a:pt x="68" y="450"/>
                  </a:lnTo>
                  <a:lnTo>
                    <a:pt x="65" y="450"/>
                  </a:lnTo>
                  <a:lnTo>
                    <a:pt x="63" y="452"/>
                  </a:lnTo>
                  <a:lnTo>
                    <a:pt x="65" y="453"/>
                  </a:lnTo>
                  <a:lnTo>
                    <a:pt x="68" y="455"/>
                  </a:lnTo>
                  <a:lnTo>
                    <a:pt x="70" y="455"/>
                  </a:lnTo>
                  <a:lnTo>
                    <a:pt x="72" y="457"/>
                  </a:lnTo>
                  <a:lnTo>
                    <a:pt x="72" y="457"/>
                  </a:lnTo>
                  <a:lnTo>
                    <a:pt x="73" y="457"/>
                  </a:lnTo>
                  <a:lnTo>
                    <a:pt x="75" y="457"/>
                  </a:lnTo>
                  <a:lnTo>
                    <a:pt x="79" y="459"/>
                  </a:lnTo>
                  <a:lnTo>
                    <a:pt x="81" y="459"/>
                  </a:lnTo>
                  <a:lnTo>
                    <a:pt x="88" y="448"/>
                  </a:lnTo>
                  <a:lnTo>
                    <a:pt x="90" y="443"/>
                  </a:lnTo>
                  <a:lnTo>
                    <a:pt x="91" y="443"/>
                  </a:lnTo>
                  <a:lnTo>
                    <a:pt x="91" y="441"/>
                  </a:lnTo>
                  <a:lnTo>
                    <a:pt x="88" y="439"/>
                  </a:lnTo>
                  <a:lnTo>
                    <a:pt x="88" y="436"/>
                  </a:lnTo>
                  <a:lnTo>
                    <a:pt x="93" y="428"/>
                  </a:lnTo>
                  <a:lnTo>
                    <a:pt x="100" y="421"/>
                  </a:lnTo>
                  <a:lnTo>
                    <a:pt x="106" y="419"/>
                  </a:lnTo>
                  <a:lnTo>
                    <a:pt x="91" y="436"/>
                  </a:lnTo>
                  <a:lnTo>
                    <a:pt x="90" y="437"/>
                  </a:lnTo>
                  <a:lnTo>
                    <a:pt x="91" y="439"/>
                  </a:lnTo>
                  <a:lnTo>
                    <a:pt x="93" y="441"/>
                  </a:lnTo>
                  <a:lnTo>
                    <a:pt x="93" y="446"/>
                  </a:lnTo>
                  <a:lnTo>
                    <a:pt x="102" y="462"/>
                  </a:lnTo>
                  <a:lnTo>
                    <a:pt x="102" y="464"/>
                  </a:lnTo>
                  <a:lnTo>
                    <a:pt x="98" y="468"/>
                  </a:lnTo>
                  <a:lnTo>
                    <a:pt x="98" y="469"/>
                  </a:lnTo>
                  <a:lnTo>
                    <a:pt x="97" y="469"/>
                  </a:lnTo>
                  <a:lnTo>
                    <a:pt x="97" y="471"/>
                  </a:lnTo>
                  <a:lnTo>
                    <a:pt x="98" y="477"/>
                  </a:lnTo>
                  <a:lnTo>
                    <a:pt x="100" y="475"/>
                  </a:lnTo>
                  <a:lnTo>
                    <a:pt x="102" y="475"/>
                  </a:lnTo>
                  <a:lnTo>
                    <a:pt x="104" y="475"/>
                  </a:lnTo>
                  <a:lnTo>
                    <a:pt x="102" y="477"/>
                  </a:lnTo>
                  <a:lnTo>
                    <a:pt x="100" y="478"/>
                  </a:lnTo>
                  <a:lnTo>
                    <a:pt x="100" y="484"/>
                  </a:lnTo>
                  <a:lnTo>
                    <a:pt x="102" y="484"/>
                  </a:lnTo>
                  <a:lnTo>
                    <a:pt x="104" y="484"/>
                  </a:lnTo>
                  <a:lnTo>
                    <a:pt x="102" y="484"/>
                  </a:lnTo>
                  <a:lnTo>
                    <a:pt x="98" y="487"/>
                  </a:lnTo>
                  <a:lnTo>
                    <a:pt x="97" y="487"/>
                  </a:lnTo>
                  <a:lnTo>
                    <a:pt x="95" y="489"/>
                  </a:lnTo>
                  <a:lnTo>
                    <a:pt x="100" y="491"/>
                  </a:lnTo>
                  <a:lnTo>
                    <a:pt x="104" y="489"/>
                  </a:lnTo>
                  <a:lnTo>
                    <a:pt x="106" y="486"/>
                  </a:lnTo>
                  <a:lnTo>
                    <a:pt x="109" y="484"/>
                  </a:lnTo>
                  <a:lnTo>
                    <a:pt x="113" y="480"/>
                  </a:lnTo>
                  <a:lnTo>
                    <a:pt x="116" y="480"/>
                  </a:lnTo>
                  <a:lnTo>
                    <a:pt x="120" y="477"/>
                  </a:lnTo>
                  <a:lnTo>
                    <a:pt x="123" y="469"/>
                  </a:lnTo>
                  <a:lnTo>
                    <a:pt x="125" y="475"/>
                  </a:lnTo>
                  <a:lnTo>
                    <a:pt x="123" y="477"/>
                  </a:lnTo>
                  <a:lnTo>
                    <a:pt x="123" y="478"/>
                  </a:lnTo>
                  <a:lnTo>
                    <a:pt x="123" y="480"/>
                  </a:lnTo>
                  <a:lnTo>
                    <a:pt x="125" y="482"/>
                  </a:lnTo>
                  <a:lnTo>
                    <a:pt x="127" y="482"/>
                  </a:lnTo>
                  <a:lnTo>
                    <a:pt x="129" y="484"/>
                  </a:lnTo>
                  <a:lnTo>
                    <a:pt x="131" y="484"/>
                  </a:lnTo>
                  <a:lnTo>
                    <a:pt x="132" y="482"/>
                  </a:lnTo>
                  <a:lnTo>
                    <a:pt x="134" y="480"/>
                  </a:lnTo>
                  <a:lnTo>
                    <a:pt x="134" y="482"/>
                  </a:lnTo>
                  <a:lnTo>
                    <a:pt x="136" y="482"/>
                  </a:lnTo>
                  <a:lnTo>
                    <a:pt x="136" y="484"/>
                  </a:lnTo>
                  <a:lnTo>
                    <a:pt x="138" y="484"/>
                  </a:lnTo>
                  <a:lnTo>
                    <a:pt x="143" y="496"/>
                  </a:lnTo>
                  <a:lnTo>
                    <a:pt x="145" y="496"/>
                  </a:lnTo>
                  <a:lnTo>
                    <a:pt x="147" y="496"/>
                  </a:lnTo>
                  <a:lnTo>
                    <a:pt x="148" y="494"/>
                  </a:lnTo>
                  <a:lnTo>
                    <a:pt x="148" y="489"/>
                  </a:lnTo>
                  <a:lnTo>
                    <a:pt x="147" y="486"/>
                  </a:lnTo>
                  <a:lnTo>
                    <a:pt x="148" y="482"/>
                  </a:lnTo>
                  <a:lnTo>
                    <a:pt x="152" y="480"/>
                  </a:lnTo>
                  <a:lnTo>
                    <a:pt x="152" y="478"/>
                  </a:lnTo>
                  <a:lnTo>
                    <a:pt x="154" y="478"/>
                  </a:lnTo>
                  <a:lnTo>
                    <a:pt x="154" y="480"/>
                  </a:lnTo>
                  <a:lnTo>
                    <a:pt x="152" y="484"/>
                  </a:lnTo>
                  <a:lnTo>
                    <a:pt x="157" y="489"/>
                  </a:lnTo>
                  <a:lnTo>
                    <a:pt x="159" y="489"/>
                  </a:lnTo>
                  <a:lnTo>
                    <a:pt x="172" y="482"/>
                  </a:lnTo>
                  <a:lnTo>
                    <a:pt x="177" y="477"/>
                  </a:lnTo>
                  <a:lnTo>
                    <a:pt x="181" y="475"/>
                  </a:lnTo>
                  <a:lnTo>
                    <a:pt x="181" y="477"/>
                  </a:lnTo>
                  <a:lnTo>
                    <a:pt x="177" y="484"/>
                  </a:lnTo>
                  <a:lnTo>
                    <a:pt x="175" y="486"/>
                  </a:lnTo>
                  <a:lnTo>
                    <a:pt x="175" y="486"/>
                  </a:lnTo>
                  <a:lnTo>
                    <a:pt x="175" y="486"/>
                  </a:lnTo>
                  <a:lnTo>
                    <a:pt x="173" y="489"/>
                  </a:lnTo>
                  <a:lnTo>
                    <a:pt x="170" y="491"/>
                  </a:lnTo>
                  <a:lnTo>
                    <a:pt x="168" y="500"/>
                  </a:lnTo>
                  <a:lnTo>
                    <a:pt x="172" y="500"/>
                  </a:lnTo>
                  <a:lnTo>
                    <a:pt x="168" y="505"/>
                  </a:lnTo>
                  <a:lnTo>
                    <a:pt x="165" y="519"/>
                  </a:lnTo>
                  <a:lnTo>
                    <a:pt x="159" y="528"/>
                  </a:lnTo>
                  <a:lnTo>
                    <a:pt x="159" y="528"/>
                  </a:lnTo>
                  <a:lnTo>
                    <a:pt x="157" y="528"/>
                  </a:lnTo>
                  <a:lnTo>
                    <a:pt x="157" y="530"/>
                  </a:lnTo>
                  <a:lnTo>
                    <a:pt x="152" y="536"/>
                  </a:lnTo>
                  <a:lnTo>
                    <a:pt x="152" y="536"/>
                  </a:lnTo>
                  <a:lnTo>
                    <a:pt x="148" y="544"/>
                  </a:lnTo>
                  <a:lnTo>
                    <a:pt x="147" y="543"/>
                  </a:lnTo>
                  <a:lnTo>
                    <a:pt x="147" y="544"/>
                  </a:lnTo>
                  <a:lnTo>
                    <a:pt x="145" y="543"/>
                  </a:lnTo>
                  <a:lnTo>
                    <a:pt x="141" y="548"/>
                  </a:lnTo>
                  <a:lnTo>
                    <a:pt x="138" y="548"/>
                  </a:lnTo>
                  <a:lnTo>
                    <a:pt x="132" y="552"/>
                  </a:lnTo>
                  <a:lnTo>
                    <a:pt x="131" y="552"/>
                  </a:lnTo>
                  <a:lnTo>
                    <a:pt x="122" y="564"/>
                  </a:lnTo>
                  <a:lnTo>
                    <a:pt x="120" y="569"/>
                  </a:lnTo>
                  <a:lnTo>
                    <a:pt x="120" y="569"/>
                  </a:lnTo>
                  <a:lnTo>
                    <a:pt x="123" y="571"/>
                  </a:lnTo>
                  <a:lnTo>
                    <a:pt x="123" y="573"/>
                  </a:lnTo>
                  <a:lnTo>
                    <a:pt x="122" y="573"/>
                  </a:lnTo>
                  <a:lnTo>
                    <a:pt x="120" y="571"/>
                  </a:lnTo>
                  <a:lnTo>
                    <a:pt x="118" y="569"/>
                  </a:lnTo>
                  <a:lnTo>
                    <a:pt x="118" y="571"/>
                  </a:lnTo>
                  <a:lnTo>
                    <a:pt x="116" y="573"/>
                  </a:lnTo>
                  <a:lnTo>
                    <a:pt x="115" y="571"/>
                  </a:lnTo>
                  <a:lnTo>
                    <a:pt x="113" y="569"/>
                  </a:lnTo>
                  <a:lnTo>
                    <a:pt x="115" y="568"/>
                  </a:lnTo>
                  <a:lnTo>
                    <a:pt x="115" y="566"/>
                  </a:lnTo>
                  <a:lnTo>
                    <a:pt x="111" y="568"/>
                  </a:lnTo>
                  <a:lnTo>
                    <a:pt x="109" y="566"/>
                  </a:lnTo>
                  <a:lnTo>
                    <a:pt x="107" y="566"/>
                  </a:lnTo>
                  <a:lnTo>
                    <a:pt x="90" y="578"/>
                  </a:lnTo>
                  <a:lnTo>
                    <a:pt x="88" y="582"/>
                  </a:lnTo>
                  <a:lnTo>
                    <a:pt x="88" y="582"/>
                  </a:lnTo>
                  <a:lnTo>
                    <a:pt x="88" y="582"/>
                  </a:lnTo>
                  <a:lnTo>
                    <a:pt x="88" y="586"/>
                  </a:lnTo>
                  <a:lnTo>
                    <a:pt x="84" y="587"/>
                  </a:lnTo>
                  <a:lnTo>
                    <a:pt x="82" y="589"/>
                  </a:lnTo>
                  <a:lnTo>
                    <a:pt x="82" y="589"/>
                  </a:lnTo>
                  <a:lnTo>
                    <a:pt x="81" y="589"/>
                  </a:lnTo>
                  <a:lnTo>
                    <a:pt x="79" y="589"/>
                  </a:lnTo>
                  <a:lnTo>
                    <a:pt x="79" y="589"/>
                  </a:lnTo>
                  <a:lnTo>
                    <a:pt x="77" y="591"/>
                  </a:lnTo>
                  <a:lnTo>
                    <a:pt x="75" y="591"/>
                  </a:lnTo>
                  <a:lnTo>
                    <a:pt x="73" y="593"/>
                  </a:lnTo>
                  <a:lnTo>
                    <a:pt x="73" y="593"/>
                  </a:lnTo>
                  <a:lnTo>
                    <a:pt x="75" y="593"/>
                  </a:lnTo>
                  <a:lnTo>
                    <a:pt x="75" y="596"/>
                  </a:lnTo>
                  <a:lnTo>
                    <a:pt x="75" y="600"/>
                  </a:lnTo>
                  <a:lnTo>
                    <a:pt x="77" y="600"/>
                  </a:lnTo>
                  <a:lnTo>
                    <a:pt x="79" y="598"/>
                  </a:lnTo>
                  <a:lnTo>
                    <a:pt x="79" y="596"/>
                  </a:lnTo>
                  <a:lnTo>
                    <a:pt x="79" y="593"/>
                  </a:lnTo>
                  <a:lnTo>
                    <a:pt x="79" y="593"/>
                  </a:lnTo>
                  <a:lnTo>
                    <a:pt x="81" y="594"/>
                  </a:lnTo>
                  <a:lnTo>
                    <a:pt x="82" y="596"/>
                  </a:lnTo>
                  <a:lnTo>
                    <a:pt x="88" y="594"/>
                  </a:lnTo>
                  <a:lnTo>
                    <a:pt x="86" y="589"/>
                  </a:lnTo>
                  <a:lnTo>
                    <a:pt x="86" y="587"/>
                  </a:lnTo>
                  <a:lnTo>
                    <a:pt x="90" y="589"/>
                  </a:lnTo>
                  <a:lnTo>
                    <a:pt x="90" y="591"/>
                  </a:lnTo>
                  <a:lnTo>
                    <a:pt x="90" y="593"/>
                  </a:lnTo>
                  <a:lnTo>
                    <a:pt x="91" y="593"/>
                  </a:lnTo>
                  <a:lnTo>
                    <a:pt x="91" y="594"/>
                  </a:lnTo>
                  <a:lnTo>
                    <a:pt x="93" y="593"/>
                  </a:lnTo>
                  <a:lnTo>
                    <a:pt x="95" y="591"/>
                  </a:lnTo>
                  <a:lnTo>
                    <a:pt x="95" y="593"/>
                  </a:lnTo>
                  <a:lnTo>
                    <a:pt x="97" y="591"/>
                  </a:lnTo>
                  <a:lnTo>
                    <a:pt x="97" y="589"/>
                  </a:lnTo>
                  <a:lnTo>
                    <a:pt x="98" y="587"/>
                  </a:lnTo>
                  <a:lnTo>
                    <a:pt x="102" y="580"/>
                  </a:lnTo>
                  <a:lnTo>
                    <a:pt x="104" y="578"/>
                  </a:lnTo>
                  <a:lnTo>
                    <a:pt x="106" y="578"/>
                  </a:lnTo>
                  <a:lnTo>
                    <a:pt x="106" y="580"/>
                  </a:lnTo>
                  <a:lnTo>
                    <a:pt x="104" y="584"/>
                  </a:lnTo>
                  <a:lnTo>
                    <a:pt x="106" y="586"/>
                  </a:lnTo>
                  <a:lnTo>
                    <a:pt x="109" y="584"/>
                  </a:lnTo>
                  <a:lnTo>
                    <a:pt x="113" y="582"/>
                  </a:lnTo>
                  <a:lnTo>
                    <a:pt x="116" y="582"/>
                  </a:lnTo>
                  <a:lnTo>
                    <a:pt x="116" y="580"/>
                  </a:lnTo>
                  <a:lnTo>
                    <a:pt x="118" y="580"/>
                  </a:lnTo>
                  <a:lnTo>
                    <a:pt x="118" y="578"/>
                  </a:lnTo>
                  <a:lnTo>
                    <a:pt x="120" y="580"/>
                  </a:lnTo>
                  <a:lnTo>
                    <a:pt x="122" y="578"/>
                  </a:lnTo>
                  <a:lnTo>
                    <a:pt x="122" y="577"/>
                  </a:lnTo>
                  <a:lnTo>
                    <a:pt x="123" y="577"/>
                  </a:lnTo>
                  <a:lnTo>
                    <a:pt x="125" y="577"/>
                  </a:lnTo>
                  <a:lnTo>
                    <a:pt x="127" y="575"/>
                  </a:lnTo>
                  <a:lnTo>
                    <a:pt x="129" y="573"/>
                  </a:lnTo>
                  <a:lnTo>
                    <a:pt x="131" y="573"/>
                  </a:lnTo>
                  <a:lnTo>
                    <a:pt x="131" y="571"/>
                  </a:lnTo>
                  <a:lnTo>
                    <a:pt x="132" y="571"/>
                  </a:lnTo>
                  <a:lnTo>
                    <a:pt x="134" y="575"/>
                  </a:lnTo>
                  <a:lnTo>
                    <a:pt x="134" y="580"/>
                  </a:lnTo>
                  <a:lnTo>
                    <a:pt x="134" y="580"/>
                  </a:lnTo>
                  <a:lnTo>
                    <a:pt x="138" y="569"/>
                  </a:lnTo>
                  <a:lnTo>
                    <a:pt x="138" y="571"/>
                  </a:lnTo>
                  <a:lnTo>
                    <a:pt x="145" y="569"/>
                  </a:lnTo>
                  <a:lnTo>
                    <a:pt x="147" y="568"/>
                  </a:lnTo>
                  <a:lnTo>
                    <a:pt x="148" y="568"/>
                  </a:lnTo>
                  <a:lnTo>
                    <a:pt x="150" y="566"/>
                  </a:lnTo>
                  <a:lnTo>
                    <a:pt x="150" y="561"/>
                  </a:lnTo>
                  <a:lnTo>
                    <a:pt x="147" y="561"/>
                  </a:lnTo>
                  <a:lnTo>
                    <a:pt x="145" y="559"/>
                  </a:lnTo>
                  <a:lnTo>
                    <a:pt x="143" y="557"/>
                  </a:lnTo>
                  <a:lnTo>
                    <a:pt x="143" y="553"/>
                  </a:lnTo>
                  <a:lnTo>
                    <a:pt x="145" y="553"/>
                  </a:lnTo>
                  <a:lnTo>
                    <a:pt x="147" y="559"/>
                  </a:lnTo>
                  <a:lnTo>
                    <a:pt x="150" y="559"/>
                  </a:lnTo>
                  <a:lnTo>
                    <a:pt x="154" y="555"/>
                  </a:lnTo>
                  <a:lnTo>
                    <a:pt x="157" y="553"/>
                  </a:lnTo>
                  <a:lnTo>
                    <a:pt x="163" y="553"/>
                  </a:lnTo>
                  <a:lnTo>
                    <a:pt x="163" y="552"/>
                  </a:lnTo>
                  <a:lnTo>
                    <a:pt x="163" y="552"/>
                  </a:lnTo>
                  <a:lnTo>
                    <a:pt x="159" y="552"/>
                  </a:lnTo>
                  <a:lnTo>
                    <a:pt x="161" y="550"/>
                  </a:lnTo>
                  <a:lnTo>
                    <a:pt x="165" y="548"/>
                  </a:lnTo>
                  <a:lnTo>
                    <a:pt x="166" y="550"/>
                  </a:lnTo>
                  <a:lnTo>
                    <a:pt x="168" y="550"/>
                  </a:lnTo>
                  <a:lnTo>
                    <a:pt x="168" y="546"/>
                  </a:lnTo>
                  <a:lnTo>
                    <a:pt x="168" y="544"/>
                  </a:lnTo>
                  <a:lnTo>
                    <a:pt x="170" y="543"/>
                  </a:lnTo>
                  <a:lnTo>
                    <a:pt x="173" y="544"/>
                  </a:lnTo>
                  <a:lnTo>
                    <a:pt x="177" y="541"/>
                  </a:lnTo>
                  <a:lnTo>
                    <a:pt x="179" y="539"/>
                  </a:lnTo>
                  <a:lnTo>
                    <a:pt x="179" y="539"/>
                  </a:lnTo>
                  <a:lnTo>
                    <a:pt x="181" y="539"/>
                  </a:lnTo>
                  <a:lnTo>
                    <a:pt x="181" y="537"/>
                  </a:lnTo>
                  <a:lnTo>
                    <a:pt x="182" y="539"/>
                  </a:lnTo>
                  <a:lnTo>
                    <a:pt x="182" y="537"/>
                  </a:lnTo>
                  <a:lnTo>
                    <a:pt x="184" y="536"/>
                  </a:lnTo>
                  <a:lnTo>
                    <a:pt x="186" y="534"/>
                  </a:lnTo>
                  <a:lnTo>
                    <a:pt x="186" y="530"/>
                  </a:lnTo>
                  <a:lnTo>
                    <a:pt x="184" y="530"/>
                  </a:lnTo>
                  <a:lnTo>
                    <a:pt x="184" y="530"/>
                  </a:lnTo>
                  <a:lnTo>
                    <a:pt x="184" y="528"/>
                  </a:lnTo>
                  <a:lnTo>
                    <a:pt x="190" y="525"/>
                  </a:lnTo>
                  <a:lnTo>
                    <a:pt x="191" y="525"/>
                  </a:lnTo>
                  <a:lnTo>
                    <a:pt x="191" y="521"/>
                  </a:lnTo>
                  <a:lnTo>
                    <a:pt x="195" y="521"/>
                  </a:lnTo>
                  <a:lnTo>
                    <a:pt x="197" y="519"/>
                  </a:lnTo>
                  <a:lnTo>
                    <a:pt x="197" y="519"/>
                  </a:lnTo>
                  <a:lnTo>
                    <a:pt x="197" y="516"/>
                  </a:lnTo>
                  <a:lnTo>
                    <a:pt x="198" y="516"/>
                  </a:lnTo>
                  <a:lnTo>
                    <a:pt x="202" y="518"/>
                  </a:lnTo>
                  <a:lnTo>
                    <a:pt x="204" y="514"/>
                  </a:lnTo>
                  <a:lnTo>
                    <a:pt x="204" y="514"/>
                  </a:lnTo>
                  <a:lnTo>
                    <a:pt x="207" y="511"/>
                  </a:lnTo>
                  <a:lnTo>
                    <a:pt x="207" y="509"/>
                  </a:lnTo>
                  <a:lnTo>
                    <a:pt x="215" y="507"/>
                  </a:lnTo>
                  <a:lnTo>
                    <a:pt x="218" y="505"/>
                  </a:lnTo>
                  <a:lnTo>
                    <a:pt x="220" y="505"/>
                  </a:lnTo>
                  <a:lnTo>
                    <a:pt x="222" y="503"/>
                  </a:lnTo>
                  <a:lnTo>
                    <a:pt x="222" y="500"/>
                  </a:lnTo>
                  <a:lnTo>
                    <a:pt x="220" y="500"/>
                  </a:lnTo>
                  <a:lnTo>
                    <a:pt x="223" y="498"/>
                  </a:lnTo>
                  <a:lnTo>
                    <a:pt x="223" y="496"/>
                  </a:lnTo>
                  <a:lnTo>
                    <a:pt x="223" y="494"/>
                  </a:lnTo>
                  <a:lnTo>
                    <a:pt x="223" y="493"/>
                  </a:lnTo>
                  <a:lnTo>
                    <a:pt x="225" y="493"/>
                  </a:lnTo>
                  <a:lnTo>
                    <a:pt x="227" y="491"/>
                  </a:lnTo>
                  <a:lnTo>
                    <a:pt x="232" y="489"/>
                  </a:lnTo>
                  <a:lnTo>
                    <a:pt x="234" y="486"/>
                  </a:lnTo>
                  <a:lnTo>
                    <a:pt x="234" y="482"/>
                  </a:lnTo>
                  <a:lnTo>
                    <a:pt x="234" y="480"/>
                  </a:lnTo>
                  <a:lnTo>
                    <a:pt x="229" y="478"/>
                  </a:lnTo>
                  <a:lnTo>
                    <a:pt x="229" y="477"/>
                  </a:lnTo>
                  <a:lnTo>
                    <a:pt x="225" y="477"/>
                  </a:lnTo>
                  <a:lnTo>
                    <a:pt x="222" y="478"/>
                  </a:lnTo>
                  <a:lnTo>
                    <a:pt x="220" y="477"/>
                  </a:lnTo>
                  <a:lnTo>
                    <a:pt x="223" y="468"/>
                  </a:lnTo>
                  <a:lnTo>
                    <a:pt x="227" y="466"/>
                  </a:lnTo>
                  <a:lnTo>
                    <a:pt x="229" y="464"/>
                  </a:lnTo>
                  <a:lnTo>
                    <a:pt x="229" y="462"/>
                  </a:lnTo>
                  <a:lnTo>
                    <a:pt x="231" y="461"/>
                  </a:lnTo>
                  <a:lnTo>
                    <a:pt x="231" y="459"/>
                  </a:lnTo>
                  <a:lnTo>
                    <a:pt x="231" y="457"/>
                  </a:lnTo>
                  <a:lnTo>
                    <a:pt x="232" y="457"/>
                  </a:lnTo>
                  <a:lnTo>
                    <a:pt x="232" y="455"/>
                  </a:lnTo>
                  <a:lnTo>
                    <a:pt x="234" y="455"/>
                  </a:lnTo>
                  <a:lnTo>
                    <a:pt x="234" y="457"/>
                  </a:lnTo>
                  <a:lnTo>
                    <a:pt x="238" y="457"/>
                  </a:lnTo>
                  <a:lnTo>
                    <a:pt x="240" y="455"/>
                  </a:lnTo>
                  <a:lnTo>
                    <a:pt x="240" y="453"/>
                  </a:lnTo>
                  <a:lnTo>
                    <a:pt x="236" y="452"/>
                  </a:lnTo>
                  <a:lnTo>
                    <a:pt x="238" y="452"/>
                  </a:lnTo>
                  <a:lnTo>
                    <a:pt x="243" y="450"/>
                  </a:lnTo>
                  <a:lnTo>
                    <a:pt x="245" y="446"/>
                  </a:lnTo>
                  <a:lnTo>
                    <a:pt x="245" y="444"/>
                  </a:lnTo>
                  <a:lnTo>
                    <a:pt x="245" y="443"/>
                  </a:lnTo>
                  <a:lnTo>
                    <a:pt x="240" y="437"/>
                  </a:lnTo>
                  <a:lnTo>
                    <a:pt x="241" y="437"/>
                  </a:lnTo>
                  <a:lnTo>
                    <a:pt x="243" y="439"/>
                  </a:lnTo>
                  <a:lnTo>
                    <a:pt x="247" y="439"/>
                  </a:lnTo>
                  <a:lnTo>
                    <a:pt x="252" y="434"/>
                  </a:lnTo>
                  <a:lnTo>
                    <a:pt x="254" y="428"/>
                  </a:lnTo>
                  <a:lnTo>
                    <a:pt x="259" y="421"/>
                  </a:lnTo>
                  <a:lnTo>
                    <a:pt x="259" y="418"/>
                  </a:lnTo>
                  <a:lnTo>
                    <a:pt x="270" y="412"/>
                  </a:lnTo>
                  <a:lnTo>
                    <a:pt x="277" y="405"/>
                  </a:lnTo>
                  <a:lnTo>
                    <a:pt x="277" y="403"/>
                  </a:lnTo>
                  <a:lnTo>
                    <a:pt x="277" y="400"/>
                  </a:lnTo>
                  <a:lnTo>
                    <a:pt x="284" y="371"/>
                  </a:lnTo>
                  <a:lnTo>
                    <a:pt x="286" y="373"/>
                  </a:lnTo>
                  <a:lnTo>
                    <a:pt x="286" y="387"/>
                  </a:lnTo>
                  <a:lnTo>
                    <a:pt x="281" y="398"/>
                  </a:lnTo>
                  <a:lnTo>
                    <a:pt x="279" y="405"/>
                  </a:lnTo>
                  <a:lnTo>
                    <a:pt x="281" y="407"/>
                  </a:lnTo>
                  <a:lnTo>
                    <a:pt x="286" y="407"/>
                  </a:lnTo>
                  <a:lnTo>
                    <a:pt x="291" y="400"/>
                  </a:lnTo>
                  <a:lnTo>
                    <a:pt x="297" y="398"/>
                  </a:lnTo>
                  <a:lnTo>
                    <a:pt x="298" y="398"/>
                  </a:lnTo>
                  <a:lnTo>
                    <a:pt x="297" y="400"/>
                  </a:lnTo>
                  <a:lnTo>
                    <a:pt x="295" y="402"/>
                  </a:lnTo>
                  <a:lnTo>
                    <a:pt x="291" y="403"/>
                  </a:lnTo>
                  <a:lnTo>
                    <a:pt x="290" y="407"/>
                  </a:lnTo>
                  <a:lnTo>
                    <a:pt x="288" y="409"/>
                  </a:lnTo>
                  <a:lnTo>
                    <a:pt x="288" y="412"/>
                  </a:lnTo>
                  <a:lnTo>
                    <a:pt x="290" y="414"/>
                  </a:lnTo>
                  <a:lnTo>
                    <a:pt x="304" y="419"/>
                  </a:lnTo>
                  <a:lnTo>
                    <a:pt x="291" y="416"/>
                  </a:lnTo>
                  <a:lnTo>
                    <a:pt x="286" y="419"/>
                  </a:lnTo>
                  <a:lnTo>
                    <a:pt x="284" y="418"/>
                  </a:lnTo>
                  <a:lnTo>
                    <a:pt x="282" y="414"/>
                  </a:lnTo>
                  <a:lnTo>
                    <a:pt x="281" y="416"/>
                  </a:lnTo>
                  <a:lnTo>
                    <a:pt x="268" y="423"/>
                  </a:lnTo>
                  <a:lnTo>
                    <a:pt x="266" y="425"/>
                  </a:lnTo>
                  <a:lnTo>
                    <a:pt x="268" y="434"/>
                  </a:lnTo>
                  <a:lnTo>
                    <a:pt x="266" y="439"/>
                  </a:lnTo>
                  <a:lnTo>
                    <a:pt x="265" y="441"/>
                  </a:lnTo>
                  <a:lnTo>
                    <a:pt x="263" y="444"/>
                  </a:lnTo>
                  <a:lnTo>
                    <a:pt x="261" y="448"/>
                  </a:lnTo>
                  <a:lnTo>
                    <a:pt x="261" y="450"/>
                  </a:lnTo>
                  <a:lnTo>
                    <a:pt x="259" y="452"/>
                  </a:lnTo>
                  <a:lnTo>
                    <a:pt x="259" y="455"/>
                  </a:lnTo>
                  <a:lnTo>
                    <a:pt x="259" y="457"/>
                  </a:lnTo>
                  <a:lnTo>
                    <a:pt x="265" y="459"/>
                  </a:lnTo>
                  <a:lnTo>
                    <a:pt x="272" y="455"/>
                  </a:lnTo>
                  <a:lnTo>
                    <a:pt x="273" y="455"/>
                  </a:lnTo>
                  <a:lnTo>
                    <a:pt x="270" y="461"/>
                  </a:lnTo>
                  <a:lnTo>
                    <a:pt x="268" y="462"/>
                  </a:lnTo>
                  <a:lnTo>
                    <a:pt x="266" y="462"/>
                  </a:lnTo>
                  <a:lnTo>
                    <a:pt x="266" y="464"/>
                  </a:lnTo>
                  <a:lnTo>
                    <a:pt x="266" y="464"/>
                  </a:lnTo>
                  <a:lnTo>
                    <a:pt x="265" y="464"/>
                  </a:lnTo>
                  <a:lnTo>
                    <a:pt x="263" y="464"/>
                  </a:lnTo>
                  <a:lnTo>
                    <a:pt x="263" y="464"/>
                  </a:lnTo>
                  <a:lnTo>
                    <a:pt x="261" y="466"/>
                  </a:lnTo>
                  <a:lnTo>
                    <a:pt x="259" y="464"/>
                  </a:lnTo>
                  <a:lnTo>
                    <a:pt x="259" y="466"/>
                  </a:lnTo>
                  <a:lnTo>
                    <a:pt x="259" y="468"/>
                  </a:lnTo>
                  <a:lnTo>
                    <a:pt x="257" y="469"/>
                  </a:lnTo>
                  <a:lnTo>
                    <a:pt x="257" y="471"/>
                  </a:lnTo>
                  <a:lnTo>
                    <a:pt x="259" y="471"/>
                  </a:lnTo>
                  <a:lnTo>
                    <a:pt x="261" y="473"/>
                  </a:lnTo>
                  <a:lnTo>
                    <a:pt x="265" y="471"/>
                  </a:lnTo>
                  <a:lnTo>
                    <a:pt x="270" y="471"/>
                  </a:lnTo>
                  <a:lnTo>
                    <a:pt x="268" y="469"/>
                  </a:lnTo>
                  <a:lnTo>
                    <a:pt x="270" y="468"/>
                  </a:lnTo>
                  <a:lnTo>
                    <a:pt x="272" y="469"/>
                  </a:lnTo>
                  <a:lnTo>
                    <a:pt x="273" y="471"/>
                  </a:lnTo>
                  <a:lnTo>
                    <a:pt x="279" y="462"/>
                  </a:lnTo>
                  <a:lnTo>
                    <a:pt x="281" y="462"/>
                  </a:lnTo>
                  <a:lnTo>
                    <a:pt x="282" y="461"/>
                  </a:lnTo>
                  <a:lnTo>
                    <a:pt x="282" y="468"/>
                  </a:lnTo>
                  <a:lnTo>
                    <a:pt x="286" y="462"/>
                  </a:lnTo>
                  <a:lnTo>
                    <a:pt x="286" y="459"/>
                  </a:lnTo>
                  <a:lnTo>
                    <a:pt x="290" y="457"/>
                  </a:lnTo>
                  <a:lnTo>
                    <a:pt x="291" y="457"/>
                  </a:lnTo>
                  <a:lnTo>
                    <a:pt x="291" y="455"/>
                  </a:lnTo>
                  <a:lnTo>
                    <a:pt x="291" y="452"/>
                  </a:lnTo>
                  <a:lnTo>
                    <a:pt x="291" y="452"/>
                  </a:lnTo>
                  <a:lnTo>
                    <a:pt x="293" y="450"/>
                  </a:lnTo>
                  <a:lnTo>
                    <a:pt x="295" y="457"/>
                  </a:lnTo>
                  <a:lnTo>
                    <a:pt x="295" y="450"/>
                  </a:lnTo>
                  <a:lnTo>
                    <a:pt x="297" y="448"/>
                  </a:lnTo>
                  <a:lnTo>
                    <a:pt x="297" y="444"/>
                  </a:lnTo>
                  <a:lnTo>
                    <a:pt x="298" y="448"/>
                  </a:lnTo>
                  <a:lnTo>
                    <a:pt x="300" y="448"/>
                  </a:lnTo>
                  <a:lnTo>
                    <a:pt x="302" y="448"/>
                  </a:lnTo>
                  <a:lnTo>
                    <a:pt x="302" y="448"/>
                  </a:lnTo>
                  <a:lnTo>
                    <a:pt x="307" y="450"/>
                  </a:lnTo>
                  <a:lnTo>
                    <a:pt x="309" y="448"/>
                  </a:lnTo>
                  <a:lnTo>
                    <a:pt x="311" y="446"/>
                  </a:lnTo>
                  <a:lnTo>
                    <a:pt x="313" y="443"/>
                  </a:lnTo>
                  <a:lnTo>
                    <a:pt x="315" y="443"/>
                  </a:lnTo>
                  <a:lnTo>
                    <a:pt x="316" y="443"/>
                  </a:lnTo>
                  <a:lnTo>
                    <a:pt x="318" y="441"/>
                  </a:lnTo>
                  <a:lnTo>
                    <a:pt x="316" y="439"/>
                  </a:lnTo>
                  <a:lnTo>
                    <a:pt x="316" y="439"/>
                  </a:lnTo>
                  <a:lnTo>
                    <a:pt x="315" y="439"/>
                  </a:lnTo>
                  <a:lnTo>
                    <a:pt x="315" y="436"/>
                  </a:lnTo>
                  <a:lnTo>
                    <a:pt x="318" y="434"/>
                  </a:lnTo>
                  <a:lnTo>
                    <a:pt x="318" y="434"/>
                  </a:lnTo>
                  <a:lnTo>
                    <a:pt x="320" y="430"/>
                  </a:lnTo>
                  <a:lnTo>
                    <a:pt x="318" y="428"/>
                  </a:lnTo>
                  <a:lnTo>
                    <a:pt x="316" y="430"/>
                  </a:lnTo>
                  <a:lnTo>
                    <a:pt x="315" y="430"/>
                  </a:lnTo>
                  <a:lnTo>
                    <a:pt x="311" y="432"/>
                  </a:lnTo>
                  <a:lnTo>
                    <a:pt x="309" y="430"/>
                  </a:lnTo>
                  <a:lnTo>
                    <a:pt x="313" y="428"/>
                  </a:lnTo>
                  <a:lnTo>
                    <a:pt x="316" y="427"/>
                  </a:lnTo>
                  <a:lnTo>
                    <a:pt x="316" y="423"/>
                  </a:lnTo>
                  <a:lnTo>
                    <a:pt x="315" y="425"/>
                  </a:lnTo>
                  <a:lnTo>
                    <a:pt x="315" y="423"/>
                  </a:lnTo>
                  <a:lnTo>
                    <a:pt x="311" y="425"/>
                  </a:lnTo>
                  <a:lnTo>
                    <a:pt x="311" y="423"/>
                  </a:lnTo>
                  <a:lnTo>
                    <a:pt x="309" y="421"/>
                  </a:lnTo>
                  <a:lnTo>
                    <a:pt x="311" y="419"/>
                  </a:lnTo>
                  <a:lnTo>
                    <a:pt x="315" y="419"/>
                  </a:lnTo>
                  <a:lnTo>
                    <a:pt x="316" y="416"/>
                  </a:lnTo>
                  <a:lnTo>
                    <a:pt x="313" y="416"/>
                  </a:lnTo>
                  <a:lnTo>
                    <a:pt x="316" y="412"/>
                  </a:lnTo>
                  <a:lnTo>
                    <a:pt x="316" y="411"/>
                  </a:lnTo>
                  <a:lnTo>
                    <a:pt x="318" y="414"/>
                  </a:lnTo>
                  <a:lnTo>
                    <a:pt x="318" y="412"/>
                  </a:lnTo>
                  <a:lnTo>
                    <a:pt x="320" y="409"/>
                  </a:lnTo>
                  <a:lnTo>
                    <a:pt x="323" y="407"/>
                  </a:lnTo>
                  <a:lnTo>
                    <a:pt x="323" y="409"/>
                  </a:lnTo>
                  <a:lnTo>
                    <a:pt x="320" y="418"/>
                  </a:lnTo>
                  <a:lnTo>
                    <a:pt x="322" y="419"/>
                  </a:lnTo>
                  <a:lnTo>
                    <a:pt x="323" y="419"/>
                  </a:lnTo>
                  <a:lnTo>
                    <a:pt x="325" y="418"/>
                  </a:lnTo>
                  <a:lnTo>
                    <a:pt x="325" y="409"/>
                  </a:lnTo>
                  <a:lnTo>
                    <a:pt x="327" y="414"/>
                  </a:lnTo>
                  <a:lnTo>
                    <a:pt x="327" y="416"/>
                  </a:lnTo>
                  <a:lnTo>
                    <a:pt x="334" y="416"/>
                  </a:lnTo>
                  <a:lnTo>
                    <a:pt x="336" y="416"/>
                  </a:lnTo>
                  <a:lnTo>
                    <a:pt x="338" y="416"/>
                  </a:lnTo>
                  <a:lnTo>
                    <a:pt x="340" y="412"/>
                  </a:lnTo>
                  <a:lnTo>
                    <a:pt x="343" y="411"/>
                  </a:lnTo>
                  <a:lnTo>
                    <a:pt x="347" y="411"/>
                  </a:lnTo>
                  <a:lnTo>
                    <a:pt x="347" y="412"/>
                  </a:lnTo>
                  <a:lnTo>
                    <a:pt x="341" y="412"/>
                  </a:lnTo>
                  <a:lnTo>
                    <a:pt x="341" y="419"/>
                  </a:lnTo>
                  <a:lnTo>
                    <a:pt x="343" y="421"/>
                  </a:lnTo>
                  <a:lnTo>
                    <a:pt x="348" y="418"/>
                  </a:lnTo>
                  <a:lnTo>
                    <a:pt x="348" y="419"/>
                  </a:lnTo>
                  <a:lnTo>
                    <a:pt x="341" y="425"/>
                  </a:lnTo>
                  <a:lnTo>
                    <a:pt x="345" y="425"/>
                  </a:lnTo>
                  <a:lnTo>
                    <a:pt x="350" y="421"/>
                  </a:lnTo>
                  <a:lnTo>
                    <a:pt x="352" y="421"/>
                  </a:lnTo>
                  <a:lnTo>
                    <a:pt x="347" y="427"/>
                  </a:lnTo>
                  <a:lnTo>
                    <a:pt x="352" y="425"/>
                  </a:lnTo>
                  <a:lnTo>
                    <a:pt x="354" y="427"/>
                  </a:lnTo>
                  <a:lnTo>
                    <a:pt x="356" y="427"/>
                  </a:lnTo>
                  <a:lnTo>
                    <a:pt x="357" y="427"/>
                  </a:lnTo>
                  <a:lnTo>
                    <a:pt x="354" y="430"/>
                  </a:lnTo>
                  <a:lnTo>
                    <a:pt x="357" y="430"/>
                  </a:lnTo>
                  <a:lnTo>
                    <a:pt x="361" y="436"/>
                  </a:lnTo>
                  <a:lnTo>
                    <a:pt x="363" y="437"/>
                  </a:lnTo>
                  <a:lnTo>
                    <a:pt x="365" y="437"/>
                  </a:lnTo>
                  <a:lnTo>
                    <a:pt x="365" y="436"/>
                  </a:lnTo>
                  <a:lnTo>
                    <a:pt x="366" y="434"/>
                  </a:lnTo>
                  <a:lnTo>
                    <a:pt x="366" y="434"/>
                  </a:lnTo>
                  <a:lnTo>
                    <a:pt x="366" y="432"/>
                  </a:lnTo>
                  <a:lnTo>
                    <a:pt x="368" y="432"/>
                  </a:lnTo>
                  <a:lnTo>
                    <a:pt x="370" y="434"/>
                  </a:lnTo>
                  <a:lnTo>
                    <a:pt x="370" y="436"/>
                  </a:lnTo>
                  <a:lnTo>
                    <a:pt x="370" y="437"/>
                  </a:lnTo>
                  <a:lnTo>
                    <a:pt x="373" y="439"/>
                  </a:lnTo>
                  <a:lnTo>
                    <a:pt x="373" y="441"/>
                  </a:lnTo>
                  <a:lnTo>
                    <a:pt x="375" y="441"/>
                  </a:lnTo>
                  <a:lnTo>
                    <a:pt x="375" y="441"/>
                  </a:lnTo>
                  <a:lnTo>
                    <a:pt x="379" y="441"/>
                  </a:lnTo>
                  <a:lnTo>
                    <a:pt x="379" y="441"/>
                  </a:lnTo>
                  <a:lnTo>
                    <a:pt x="381" y="443"/>
                  </a:lnTo>
                  <a:lnTo>
                    <a:pt x="382" y="444"/>
                  </a:lnTo>
                  <a:lnTo>
                    <a:pt x="382" y="446"/>
                  </a:lnTo>
                  <a:lnTo>
                    <a:pt x="382" y="446"/>
                  </a:lnTo>
                  <a:lnTo>
                    <a:pt x="384" y="448"/>
                  </a:lnTo>
                  <a:lnTo>
                    <a:pt x="386" y="448"/>
                  </a:lnTo>
                  <a:lnTo>
                    <a:pt x="390" y="446"/>
                  </a:lnTo>
                  <a:lnTo>
                    <a:pt x="400" y="446"/>
                  </a:lnTo>
                  <a:lnTo>
                    <a:pt x="400" y="444"/>
                  </a:lnTo>
                  <a:lnTo>
                    <a:pt x="404" y="446"/>
                  </a:lnTo>
                  <a:lnTo>
                    <a:pt x="404" y="444"/>
                  </a:lnTo>
                  <a:lnTo>
                    <a:pt x="407" y="444"/>
                  </a:lnTo>
                  <a:lnTo>
                    <a:pt x="409" y="446"/>
                  </a:lnTo>
                  <a:lnTo>
                    <a:pt x="422" y="448"/>
                  </a:lnTo>
                  <a:lnTo>
                    <a:pt x="425" y="446"/>
                  </a:lnTo>
                  <a:lnTo>
                    <a:pt x="427" y="448"/>
                  </a:lnTo>
                  <a:lnTo>
                    <a:pt x="427" y="448"/>
                  </a:lnTo>
                  <a:lnTo>
                    <a:pt x="425" y="450"/>
                  </a:lnTo>
                  <a:lnTo>
                    <a:pt x="425" y="450"/>
                  </a:lnTo>
                  <a:lnTo>
                    <a:pt x="432" y="453"/>
                  </a:lnTo>
                  <a:lnTo>
                    <a:pt x="443" y="457"/>
                  </a:lnTo>
                  <a:lnTo>
                    <a:pt x="448" y="453"/>
                  </a:lnTo>
                  <a:lnTo>
                    <a:pt x="454" y="448"/>
                  </a:lnTo>
                  <a:lnTo>
                    <a:pt x="454" y="446"/>
                  </a:lnTo>
                  <a:lnTo>
                    <a:pt x="456" y="444"/>
                  </a:lnTo>
                  <a:lnTo>
                    <a:pt x="461" y="452"/>
                  </a:lnTo>
                  <a:lnTo>
                    <a:pt x="465" y="452"/>
                  </a:lnTo>
                  <a:lnTo>
                    <a:pt x="463" y="452"/>
                  </a:lnTo>
                  <a:lnTo>
                    <a:pt x="461" y="453"/>
                  </a:lnTo>
                  <a:lnTo>
                    <a:pt x="461" y="461"/>
                  </a:lnTo>
                  <a:lnTo>
                    <a:pt x="461" y="461"/>
                  </a:lnTo>
                  <a:lnTo>
                    <a:pt x="459" y="461"/>
                  </a:lnTo>
                  <a:lnTo>
                    <a:pt x="459" y="455"/>
                  </a:lnTo>
                  <a:lnTo>
                    <a:pt x="459" y="453"/>
                  </a:lnTo>
                  <a:lnTo>
                    <a:pt x="459" y="450"/>
                  </a:lnTo>
                  <a:lnTo>
                    <a:pt x="457" y="448"/>
                  </a:lnTo>
                  <a:lnTo>
                    <a:pt x="457" y="448"/>
                  </a:lnTo>
                  <a:lnTo>
                    <a:pt x="456" y="450"/>
                  </a:lnTo>
                  <a:lnTo>
                    <a:pt x="456" y="452"/>
                  </a:lnTo>
                  <a:lnTo>
                    <a:pt x="456" y="455"/>
                  </a:lnTo>
                  <a:lnTo>
                    <a:pt x="456" y="455"/>
                  </a:lnTo>
                  <a:lnTo>
                    <a:pt x="456" y="457"/>
                  </a:lnTo>
                  <a:lnTo>
                    <a:pt x="456" y="461"/>
                  </a:lnTo>
                  <a:lnTo>
                    <a:pt x="454" y="461"/>
                  </a:lnTo>
                  <a:lnTo>
                    <a:pt x="452" y="462"/>
                  </a:lnTo>
                  <a:lnTo>
                    <a:pt x="452" y="464"/>
                  </a:lnTo>
                  <a:lnTo>
                    <a:pt x="457" y="466"/>
                  </a:lnTo>
                  <a:lnTo>
                    <a:pt x="457" y="466"/>
                  </a:lnTo>
                  <a:lnTo>
                    <a:pt x="459" y="468"/>
                  </a:lnTo>
                  <a:lnTo>
                    <a:pt x="461" y="468"/>
                  </a:lnTo>
                  <a:lnTo>
                    <a:pt x="461" y="468"/>
                  </a:lnTo>
                  <a:lnTo>
                    <a:pt x="461" y="468"/>
                  </a:lnTo>
                  <a:lnTo>
                    <a:pt x="466" y="471"/>
                  </a:lnTo>
                  <a:lnTo>
                    <a:pt x="470" y="475"/>
                  </a:lnTo>
                  <a:lnTo>
                    <a:pt x="470" y="473"/>
                  </a:lnTo>
                  <a:lnTo>
                    <a:pt x="472" y="473"/>
                  </a:lnTo>
                  <a:lnTo>
                    <a:pt x="475" y="473"/>
                  </a:lnTo>
                  <a:lnTo>
                    <a:pt x="475" y="471"/>
                  </a:lnTo>
                  <a:lnTo>
                    <a:pt x="475" y="469"/>
                  </a:lnTo>
                  <a:lnTo>
                    <a:pt x="475" y="466"/>
                  </a:lnTo>
                  <a:lnTo>
                    <a:pt x="475" y="466"/>
                  </a:lnTo>
                  <a:lnTo>
                    <a:pt x="477" y="468"/>
                  </a:lnTo>
                  <a:lnTo>
                    <a:pt x="477" y="466"/>
                  </a:lnTo>
                  <a:lnTo>
                    <a:pt x="461" y="446"/>
                  </a:lnTo>
                  <a:lnTo>
                    <a:pt x="463" y="446"/>
                  </a:lnTo>
                  <a:lnTo>
                    <a:pt x="463" y="437"/>
                  </a:lnTo>
                  <a:lnTo>
                    <a:pt x="454" y="437"/>
                  </a:lnTo>
                  <a:lnTo>
                    <a:pt x="450" y="443"/>
                  </a:lnTo>
                  <a:lnTo>
                    <a:pt x="448" y="441"/>
                  </a:lnTo>
                  <a:lnTo>
                    <a:pt x="443" y="439"/>
                  </a:lnTo>
                  <a:lnTo>
                    <a:pt x="440" y="441"/>
                  </a:lnTo>
                  <a:lnTo>
                    <a:pt x="434" y="437"/>
                  </a:lnTo>
                  <a:lnTo>
                    <a:pt x="434" y="428"/>
                  </a:lnTo>
                  <a:close/>
                </a:path>
              </a:pathLst>
            </a:custGeom>
            <a:solidFill>
              <a:schemeClr val="bg1">
                <a:lumMod val="85000"/>
              </a:schemeClr>
            </a:solidFill>
            <a:ln w="3175">
              <a:solidFill>
                <a:schemeClr val="bg1"/>
              </a:solidFill>
              <a:round/>
              <a:headEnd/>
              <a:tailEnd/>
            </a:ln>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87" name="Freeform 3466"/>
            <p:cNvSpPr>
              <a:spLocks/>
            </p:cNvSpPr>
            <p:nvPr/>
          </p:nvSpPr>
          <p:spPr bwMode="auto">
            <a:xfrm>
              <a:off x="242825" y="2031412"/>
              <a:ext cx="767960" cy="965988"/>
            </a:xfrm>
            <a:custGeom>
              <a:avLst/>
              <a:gdLst>
                <a:gd name="T0" fmla="*/ 393 w 477"/>
                <a:gd name="T1" fmla="*/ 59 h 600"/>
                <a:gd name="T2" fmla="*/ 354 w 477"/>
                <a:gd name="T3" fmla="*/ 57 h 600"/>
                <a:gd name="T4" fmla="*/ 272 w 477"/>
                <a:gd name="T5" fmla="*/ 44 h 600"/>
                <a:gd name="T6" fmla="*/ 243 w 477"/>
                <a:gd name="T7" fmla="*/ 23 h 600"/>
                <a:gd name="T8" fmla="*/ 206 w 477"/>
                <a:gd name="T9" fmla="*/ 14 h 600"/>
                <a:gd name="T10" fmla="*/ 195 w 477"/>
                <a:gd name="T11" fmla="*/ 18 h 600"/>
                <a:gd name="T12" fmla="*/ 179 w 477"/>
                <a:gd name="T13" fmla="*/ 9 h 600"/>
                <a:gd name="T14" fmla="*/ 145 w 477"/>
                <a:gd name="T15" fmla="*/ 21 h 600"/>
                <a:gd name="T16" fmla="*/ 129 w 477"/>
                <a:gd name="T17" fmla="*/ 52 h 600"/>
                <a:gd name="T18" fmla="*/ 100 w 477"/>
                <a:gd name="T19" fmla="*/ 52 h 600"/>
                <a:gd name="T20" fmla="*/ 84 w 477"/>
                <a:gd name="T21" fmla="*/ 82 h 600"/>
                <a:gd name="T22" fmla="*/ 31 w 477"/>
                <a:gd name="T23" fmla="*/ 132 h 600"/>
                <a:gd name="T24" fmla="*/ 70 w 477"/>
                <a:gd name="T25" fmla="*/ 182 h 600"/>
                <a:gd name="T26" fmla="*/ 104 w 477"/>
                <a:gd name="T27" fmla="*/ 194 h 600"/>
                <a:gd name="T28" fmla="*/ 131 w 477"/>
                <a:gd name="T29" fmla="*/ 211 h 600"/>
                <a:gd name="T30" fmla="*/ 116 w 477"/>
                <a:gd name="T31" fmla="*/ 219 h 600"/>
                <a:gd name="T32" fmla="*/ 115 w 477"/>
                <a:gd name="T33" fmla="*/ 225 h 600"/>
                <a:gd name="T34" fmla="*/ 86 w 477"/>
                <a:gd name="T35" fmla="*/ 234 h 600"/>
                <a:gd name="T36" fmla="*/ 50 w 477"/>
                <a:gd name="T37" fmla="*/ 218 h 600"/>
                <a:gd name="T38" fmla="*/ 13 w 477"/>
                <a:gd name="T39" fmla="*/ 239 h 600"/>
                <a:gd name="T40" fmla="*/ 20 w 477"/>
                <a:gd name="T41" fmla="*/ 268 h 600"/>
                <a:gd name="T42" fmla="*/ 81 w 477"/>
                <a:gd name="T43" fmla="*/ 296 h 600"/>
                <a:gd name="T44" fmla="*/ 109 w 477"/>
                <a:gd name="T45" fmla="*/ 280 h 600"/>
                <a:gd name="T46" fmla="*/ 118 w 477"/>
                <a:gd name="T47" fmla="*/ 316 h 600"/>
                <a:gd name="T48" fmla="*/ 70 w 477"/>
                <a:gd name="T49" fmla="*/ 348 h 600"/>
                <a:gd name="T50" fmla="*/ 38 w 477"/>
                <a:gd name="T51" fmla="*/ 386 h 600"/>
                <a:gd name="T52" fmla="*/ 45 w 477"/>
                <a:gd name="T53" fmla="*/ 396 h 600"/>
                <a:gd name="T54" fmla="*/ 50 w 477"/>
                <a:gd name="T55" fmla="*/ 414 h 600"/>
                <a:gd name="T56" fmla="*/ 66 w 477"/>
                <a:gd name="T57" fmla="*/ 446 h 600"/>
                <a:gd name="T58" fmla="*/ 90 w 477"/>
                <a:gd name="T59" fmla="*/ 443 h 600"/>
                <a:gd name="T60" fmla="*/ 97 w 477"/>
                <a:gd name="T61" fmla="*/ 469 h 600"/>
                <a:gd name="T62" fmla="*/ 106 w 477"/>
                <a:gd name="T63" fmla="*/ 486 h 600"/>
                <a:gd name="T64" fmla="*/ 136 w 477"/>
                <a:gd name="T65" fmla="*/ 482 h 600"/>
                <a:gd name="T66" fmla="*/ 172 w 477"/>
                <a:gd name="T67" fmla="*/ 482 h 600"/>
                <a:gd name="T68" fmla="*/ 157 w 477"/>
                <a:gd name="T69" fmla="*/ 530 h 600"/>
                <a:gd name="T70" fmla="*/ 120 w 477"/>
                <a:gd name="T71" fmla="*/ 571 h 600"/>
                <a:gd name="T72" fmla="*/ 82 w 477"/>
                <a:gd name="T73" fmla="*/ 589 h 600"/>
                <a:gd name="T74" fmla="*/ 81 w 477"/>
                <a:gd name="T75" fmla="*/ 594 h 600"/>
                <a:gd name="T76" fmla="*/ 104 w 477"/>
                <a:gd name="T77" fmla="*/ 578 h 600"/>
                <a:gd name="T78" fmla="*/ 129 w 477"/>
                <a:gd name="T79" fmla="*/ 573 h 600"/>
                <a:gd name="T80" fmla="*/ 143 w 477"/>
                <a:gd name="T81" fmla="*/ 553 h 600"/>
                <a:gd name="T82" fmla="*/ 173 w 477"/>
                <a:gd name="T83" fmla="*/ 544 h 600"/>
                <a:gd name="T84" fmla="*/ 195 w 477"/>
                <a:gd name="T85" fmla="*/ 521 h 600"/>
                <a:gd name="T86" fmla="*/ 223 w 477"/>
                <a:gd name="T87" fmla="*/ 496 h 600"/>
                <a:gd name="T88" fmla="*/ 229 w 477"/>
                <a:gd name="T89" fmla="*/ 462 h 600"/>
                <a:gd name="T90" fmla="*/ 240 w 477"/>
                <a:gd name="T91" fmla="*/ 437 h 600"/>
                <a:gd name="T92" fmla="*/ 281 w 477"/>
                <a:gd name="T93" fmla="*/ 407 h 600"/>
                <a:gd name="T94" fmla="*/ 281 w 477"/>
                <a:gd name="T95" fmla="*/ 416 h 600"/>
                <a:gd name="T96" fmla="*/ 266 w 477"/>
                <a:gd name="T97" fmla="*/ 462 h 600"/>
                <a:gd name="T98" fmla="*/ 270 w 477"/>
                <a:gd name="T99" fmla="*/ 468 h 600"/>
                <a:gd name="T100" fmla="*/ 297 w 477"/>
                <a:gd name="T101" fmla="*/ 448 h 600"/>
                <a:gd name="T102" fmla="*/ 318 w 477"/>
                <a:gd name="T103" fmla="*/ 434 h 600"/>
                <a:gd name="T104" fmla="*/ 315 w 477"/>
                <a:gd name="T105" fmla="*/ 419 h 600"/>
                <a:gd name="T106" fmla="*/ 334 w 477"/>
                <a:gd name="T107" fmla="*/ 416 h 600"/>
                <a:gd name="T108" fmla="*/ 352 w 477"/>
                <a:gd name="T109" fmla="*/ 425 h 600"/>
                <a:gd name="T110" fmla="*/ 373 w 477"/>
                <a:gd name="T111" fmla="*/ 439 h 600"/>
                <a:gd name="T112" fmla="*/ 407 w 477"/>
                <a:gd name="T113" fmla="*/ 444 h 600"/>
                <a:gd name="T114" fmla="*/ 461 w 477"/>
                <a:gd name="T115" fmla="*/ 453 h 600"/>
                <a:gd name="T116" fmla="*/ 452 w 477"/>
                <a:gd name="T117" fmla="*/ 464 h 600"/>
                <a:gd name="T118" fmla="*/ 477 w 477"/>
                <a:gd name="T119" fmla="*/ 466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7" h="600">
                  <a:moveTo>
                    <a:pt x="434" y="428"/>
                  </a:moveTo>
                  <a:lnTo>
                    <a:pt x="434" y="77"/>
                  </a:lnTo>
                  <a:lnTo>
                    <a:pt x="432" y="77"/>
                  </a:lnTo>
                  <a:lnTo>
                    <a:pt x="431" y="77"/>
                  </a:lnTo>
                  <a:lnTo>
                    <a:pt x="431" y="78"/>
                  </a:lnTo>
                  <a:lnTo>
                    <a:pt x="429" y="82"/>
                  </a:lnTo>
                  <a:lnTo>
                    <a:pt x="427" y="80"/>
                  </a:lnTo>
                  <a:lnTo>
                    <a:pt x="425" y="75"/>
                  </a:lnTo>
                  <a:lnTo>
                    <a:pt x="416" y="71"/>
                  </a:lnTo>
                  <a:lnTo>
                    <a:pt x="416" y="69"/>
                  </a:lnTo>
                  <a:lnTo>
                    <a:pt x="411" y="68"/>
                  </a:lnTo>
                  <a:lnTo>
                    <a:pt x="411" y="66"/>
                  </a:lnTo>
                  <a:lnTo>
                    <a:pt x="409" y="64"/>
                  </a:lnTo>
                  <a:lnTo>
                    <a:pt x="398" y="59"/>
                  </a:lnTo>
                  <a:lnTo>
                    <a:pt x="397" y="59"/>
                  </a:lnTo>
                  <a:lnTo>
                    <a:pt x="395" y="61"/>
                  </a:lnTo>
                  <a:lnTo>
                    <a:pt x="393" y="59"/>
                  </a:lnTo>
                  <a:lnTo>
                    <a:pt x="395" y="62"/>
                  </a:lnTo>
                  <a:lnTo>
                    <a:pt x="393" y="64"/>
                  </a:lnTo>
                  <a:lnTo>
                    <a:pt x="391" y="61"/>
                  </a:lnTo>
                  <a:lnTo>
                    <a:pt x="390" y="59"/>
                  </a:lnTo>
                  <a:lnTo>
                    <a:pt x="388" y="61"/>
                  </a:lnTo>
                  <a:lnTo>
                    <a:pt x="381" y="62"/>
                  </a:lnTo>
                  <a:lnTo>
                    <a:pt x="379" y="62"/>
                  </a:lnTo>
                  <a:lnTo>
                    <a:pt x="375" y="66"/>
                  </a:lnTo>
                  <a:lnTo>
                    <a:pt x="373" y="66"/>
                  </a:lnTo>
                  <a:lnTo>
                    <a:pt x="372" y="64"/>
                  </a:lnTo>
                  <a:lnTo>
                    <a:pt x="370" y="66"/>
                  </a:lnTo>
                  <a:lnTo>
                    <a:pt x="365" y="64"/>
                  </a:lnTo>
                  <a:lnTo>
                    <a:pt x="365" y="64"/>
                  </a:lnTo>
                  <a:lnTo>
                    <a:pt x="365" y="62"/>
                  </a:lnTo>
                  <a:lnTo>
                    <a:pt x="359" y="62"/>
                  </a:lnTo>
                  <a:lnTo>
                    <a:pt x="356" y="59"/>
                  </a:lnTo>
                  <a:lnTo>
                    <a:pt x="354" y="57"/>
                  </a:lnTo>
                  <a:lnTo>
                    <a:pt x="338" y="57"/>
                  </a:lnTo>
                  <a:lnTo>
                    <a:pt x="329" y="53"/>
                  </a:lnTo>
                  <a:lnTo>
                    <a:pt x="325" y="53"/>
                  </a:lnTo>
                  <a:lnTo>
                    <a:pt x="323" y="50"/>
                  </a:lnTo>
                  <a:lnTo>
                    <a:pt x="318" y="48"/>
                  </a:lnTo>
                  <a:lnTo>
                    <a:pt x="313" y="48"/>
                  </a:lnTo>
                  <a:lnTo>
                    <a:pt x="313" y="44"/>
                  </a:lnTo>
                  <a:lnTo>
                    <a:pt x="300" y="41"/>
                  </a:lnTo>
                  <a:lnTo>
                    <a:pt x="295" y="41"/>
                  </a:lnTo>
                  <a:lnTo>
                    <a:pt x="291" y="43"/>
                  </a:lnTo>
                  <a:lnTo>
                    <a:pt x="284" y="46"/>
                  </a:lnTo>
                  <a:lnTo>
                    <a:pt x="284" y="44"/>
                  </a:lnTo>
                  <a:lnTo>
                    <a:pt x="288" y="44"/>
                  </a:lnTo>
                  <a:lnTo>
                    <a:pt x="286" y="41"/>
                  </a:lnTo>
                  <a:lnTo>
                    <a:pt x="284" y="41"/>
                  </a:lnTo>
                  <a:lnTo>
                    <a:pt x="282" y="41"/>
                  </a:lnTo>
                  <a:lnTo>
                    <a:pt x="272" y="44"/>
                  </a:lnTo>
                  <a:lnTo>
                    <a:pt x="263" y="43"/>
                  </a:lnTo>
                  <a:lnTo>
                    <a:pt x="265" y="41"/>
                  </a:lnTo>
                  <a:lnTo>
                    <a:pt x="265" y="39"/>
                  </a:lnTo>
                  <a:lnTo>
                    <a:pt x="254" y="39"/>
                  </a:lnTo>
                  <a:lnTo>
                    <a:pt x="252" y="37"/>
                  </a:lnTo>
                  <a:lnTo>
                    <a:pt x="259" y="37"/>
                  </a:lnTo>
                  <a:lnTo>
                    <a:pt x="257" y="36"/>
                  </a:lnTo>
                  <a:lnTo>
                    <a:pt x="254" y="36"/>
                  </a:lnTo>
                  <a:lnTo>
                    <a:pt x="254" y="34"/>
                  </a:lnTo>
                  <a:lnTo>
                    <a:pt x="256" y="28"/>
                  </a:lnTo>
                  <a:lnTo>
                    <a:pt x="256" y="25"/>
                  </a:lnTo>
                  <a:lnTo>
                    <a:pt x="250" y="23"/>
                  </a:lnTo>
                  <a:lnTo>
                    <a:pt x="245" y="23"/>
                  </a:lnTo>
                  <a:lnTo>
                    <a:pt x="247" y="27"/>
                  </a:lnTo>
                  <a:lnTo>
                    <a:pt x="245" y="27"/>
                  </a:lnTo>
                  <a:lnTo>
                    <a:pt x="243" y="27"/>
                  </a:lnTo>
                  <a:lnTo>
                    <a:pt x="243" y="23"/>
                  </a:lnTo>
                  <a:lnTo>
                    <a:pt x="241" y="19"/>
                  </a:lnTo>
                  <a:lnTo>
                    <a:pt x="236" y="19"/>
                  </a:lnTo>
                  <a:lnTo>
                    <a:pt x="231" y="25"/>
                  </a:lnTo>
                  <a:lnTo>
                    <a:pt x="229" y="21"/>
                  </a:lnTo>
                  <a:lnTo>
                    <a:pt x="227" y="23"/>
                  </a:lnTo>
                  <a:lnTo>
                    <a:pt x="225" y="27"/>
                  </a:lnTo>
                  <a:lnTo>
                    <a:pt x="222" y="27"/>
                  </a:lnTo>
                  <a:lnTo>
                    <a:pt x="220" y="25"/>
                  </a:lnTo>
                  <a:lnTo>
                    <a:pt x="218" y="23"/>
                  </a:lnTo>
                  <a:lnTo>
                    <a:pt x="216" y="23"/>
                  </a:lnTo>
                  <a:lnTo>
                    <a:pt x="216" y="19"/>
                  </a:lnTo>
                  <a:lnTo>
                    <a:pt x="215" y="12"/>
                  </a:lnTo>
                  <a:lnTo>
                    <a:pt x="209" y="11"/>
                  </a:lnTo>
                  <a:lnTo>
                    <a:pt x="209" y="14"/>
                  </a:lnTo>
                  <a:lnTo>
                    <a:pt x="207" y="12"/>
                  </a:lnTo>
                  <a:lnTo>
                    <a:pt x="207" y="14"/>
                  </a:lnTo>
                  <a:lnTo>
                    <a:pt x="206" y="14"/>
                  </a:lnTo>
                  <a:lnTo>
                    <a:pt x="204" y="16"/>
                  </a:lnTo>
                  <a:lnTo>
                    <a:pt x="202" y="21"/>
                  </a:lnTo>
                  <a:lnTo>
                    <a:pt x="206" y="25"/>
                  </a:lnTo>
                  <a:lnTo>
                    <a:pt x="206" y="27"/>
                  </a:lnTo>
                  <a:lnTo>
                    <a:pt x="206" y="30"/>
                  </a:lnTo>
                  <a:lnTo>
                    <a:pt x="202" y="30"/>
                  </a:lnTo>
                  <a:lnTo>
                    <a:pt x="202" y="27"/>
                  </a:lnTo>
                  <a:lnTo>
                    <a:pt x="200" y="25"/>
                  </a:lnTo>
                  <a:lnTo>
                    <a:pt x="198" y="27"/>
                  </a:lnTo>
                  <a:lnTo>
                    <a:pt x="198" y="23"/>
                  </a:lnTo>
                  <a:lnTo>
                    <a:pt x="197" y="28"/>
                  </a:lnTo>
                  <a:lnTo>
                    <a:pt x="191" y="23"/>
                  </a:lnTo>
                  <a:lnTo>
                    <a:pt x="190" y="23"/>
                  </a:lnTo>
                  <a:lnTo>
                    <a:pt x="188" y="25"/>
                  </a:lnTo>
                  <a:lnTo>
                    <a:pt x="191" y="19"/>
                  </a:lnTo>
                  <a:lnTo>
                    <a:pt x="193" y="19"/>
                  </a:lnTo>
                  <a:lnTo>
                    <a:pt x="195" y="18"/>
                  </a:lnTo>
                  <a:lnTo>
                    <a:pt x="200" y="14"/>
                  </a:lnTo>
                  <a:lnTo>
                    <a:pt x="200" y="12"/>
                  </a:lnTo>
                  <a:lnTo>
                    <a:pt x="200" y="9"/>
                  </a:lnTo>
                  <a:lnTo>
                    <a:pt x="198" y="7"/>
                  </a:lnTo>
                  <a:lnTo>
                    <a:pt x="193" y="9"/>
                  </a:lnTo>
                  <a:lnTo>
                    <a:pt x="193" y="7"/>
                  </a:lnTo>
                  <a:lnTo>
                    <a:pt x="191" y="5"/>
                  </a:lnTo>
                  <a:lnTo>
                    <a:pt x="190" y="3"/>
                  </a:lnTo>
                  <a:lnTo>
                    <a:pt x="188" y="3"/>
                  </a:lnTo>
                  <a:lnTo>
                    <a:pt x="184" y="2"/>
                  </a:lnTo>
                  <a:lnTo>
                    <a:pt x="182" y="0"/>
                  </a:lnTo>
                  <a:lnTo>
                    <a:pt x="181" y="2"/>
                  </a:lnTo>
                  <a:lnTo>
                    <a:pt x="181" y="3"/>
                  </a:lnTo>
                  <a:lnTo>
                    <a:pt x="179" y="5"/>
                  </a:lnTo>
                  <a:lnTo>
                    <a:pt x="179" y="7"/>
                  </a:lnTo>
                  <a:lnTo>
                    <a:pt x="177" y="7"/>
                  </a:lnTo>
                  <a:lnTo>
                    <a:pt x="179" y="9"/>
                  </a:lnTo>
                  <a:lnTo>
                    <a:pt x="177" y="11"/>
                  </a:lnTo>
                  <a:lnTo>
                    <a:pt x="175" y="9"/>
                  </a:lnTo>
                  <a:lnTo>
                    <a:pt x="175" y="11"/>
                  </a:lnTo>
                  <a:lnTo>
                    <a:pt x="170" y="18"/>
                  </a:lnTo>
                  <a:lnTo>
                    <a:pt x="163" y="25"/>
                  </a:lnTo>
                  <a:lnTo>
                    <a:pt x="156" y="25"/>
                  </a:lnTo>
                  <a:lnTo>
                    <a:pt x="156" y="27"/>
                  </a:lnTo>
                  <a:lnTo>
                    <a:pt x="148" y="28"/>
                  </a:lnTo>
                  <a:lnTo>
                    <a:pt x="143" y="27"/>
                  </a:lnTo>
                  <a:lnTo>
                    <a:pt x="145" y="28"/>
                  </a:lnTo>
                  <a:lnTo>
                    <a:pt x="141" y="28"/>
                  </a:lnTo>
                  <a:lnTo>
                    <a:pt x="143" y="32"/>
                  </a:lnTo>
                  <a:lnTo>
                    <a:pt x="138" y="30"/>
                  </a:lnTo>
                  <a:lnTo>
                    <a:pt x="140" y="27"/>
                  </a:lnTo>
                  <a:lnTo>
                    <a:pt x="141" y="25"/>
                  </a:lnTo>
                  <a:lnTo>
                    <a:pt x="145" y="23"/>
                  </a:lnTo>
                  <a:lnTo>
                    <a:pt x="145" y="21"/>
                  </a:lnTo>
                  <a:lnTo>
                    <a:pt x="136" y="25"/>
                  </a:lnTo>
                  <a:lnTo>
                    <a:pt x="132" y="28"/>
                  </a:lnTo>
                  <a:lnTo>
                    <a:pt x="131" y="32"/>
                  </a:lnTo>
                  <a:lnTo>
                    <a:pt x="131" y="32"/>
                  </a:lnTo>
                  <a:lnTo>
                    <a:pt x="129" y="34"/>
                  </a:lnTo>
                  <a:lnTo>
                    <a:pt x="129" y="36"/>
                  </a:lnTo>
                  <a:lnTo>
                    <a:pt x="132" y="36"/>
                  </a:lnTo>
                  <a:lnTo>
                    <a:pt x="132" y="39"/>
                  </a:lnTo>
                  <a:lnTo>
                    <a:pt x="136" y="41"/>
                  </a:lnTo>
                  <a:lnTo>
                    <a:pt x="138" y="41"/>
                  </a:lnTo>
                  <a:lnTo>
                    <a:pt x="134" y="43"/>
                  </a:lnTo>
                  <a:lnTo>
                    <a:pt x="132" y="43"/>
                  </a:lnTo>
                  <a:lnTo>
                    <a:pt x="131" y="44"/>
                  </a:lnTo>
                  <a:lnTo>
                    <a:pt x="132" y="46"/>
                  </a:lnTo>
                  <a:lnTo>
                    <a:pt x="132" y="50"/>
                  </a:lnTo>
                  <a:lnTo>
                    <a:pt x="131" y="53"/>
                  </a:lnTo>
                  <a:lnTo>
                    <a:pt x="129" y="52"/>
                  </a:lnTo>
                  <a:lnTo>
                    <a:pt x="129" y="46"/>
                  </a:lnTo>
                  <a:lnTo>
                    <a:pt x="127" y="50"/>
                  </a:lnTo>
                  <a:lnTo>
                    <a:pt x="129" y="46"/>
                  </a:lnTo>
                  <a:lnTo>
                    <a:pt x="127" y="43"/>
                  </a:lnTo>
                  <a:lnTo>
                    <a:pt x="129" y="41"/>
                  </a:lnTo>
                  <a:lnTo>
                    <a:pt x="129" y="37"/>
                  </a:lnTo>
                  <a:lnTo>
                    <a:pt x="125" y="37"/>
                  </a:lnTo>
                  <a:lnTo>
                    <a:pt x="118" y="43"/>
                  </a:lnTo>
                  <a:lnTo>
                    <a:pt x="118" y="44"/>
                  </a:lnTo>
                  <a:lnTo>
                    <a:pt x="122" y="43"/>
                  </a:lnTo>
                  <a:lnTo>
                    <a:pt x="118" y="44"/>
                  </a:lnTo>
                  <a:lnTo>
                    <a:pt x="106" y="53"/>
                  </a:lnTo>
                  <a:lnTo>
                    <a:pt x="102" y="55"/>
                  </a:lnTo>
                  <a:lnTo>
                    <a:pt x="98" y="59"/>
                  </a:lnTo>
                  <a:lnTo>
                    <a:pt x="98" y="55"/>
                  </a:lnTo>
                  <a:lnTo>
                    <a:pt x="100" y="53"/>
                  </a:lnTo>
                  <a:lnTo>
                    <a:pt x="100" y="52"/>
                  </a:lnTo>
                  <a:lnTo>
                    <a:pt x="98" y="52"/>
                  </a:lnTo>
                  <a:lnTo>
                    <a:pt x="95" y="59"/>
                  </a:lnTo>
                  <a:lnTo>
                    <a:pt x="95" y="62"/>
                  </a:lnTo>
                  <a:lnTo>
                    <a:pt x="100" y="66"/>
                  </a:lnTo>
                  <a:lnTo>
                    <a:pt x="102" y="68"/>
                  </a:lnTo>
                  <a:lnTo>
                    <a:pt x="102" y="69"/>
                  </a:lnTo>
                  <a:lnTo>
                    <a:pt x="95" y="66"/>
                  </a:lnTo>
                  <a:lnTo>
                    <a:pt x="93" y="64"/>
                  </a:lnTo>
                  <a:lnTo>
                    <a:pt x="91" y="62"/>
                  </a:lnTo>
                  <a:lnTo>
                    <a:pt x="82" y="73"/>
                  </a:lnTo>
                  <a:lnTo>
                    <a:pt x="86" y="75"/>
                  </a:lnTo>
                  <a:lnTo>
                    <a:pt x="93" y="75"/>
                  </a:lnTo>
                  <a:lnTo>
                    <a:pt x="91" y="77"/>
                  </a:lnTo>
                  <a:lnTo>
                    <a:pt x="84" y="77"/>
                  </a:lnTo>
                  <a:lnTo>
                    <a:pt x="82" y="77"/>
                  </a:lnTo>
                  <a:lnTo>
                    <a:pt x="81" y="78"/>
                  </a:lnTo>
                  <a:lnTo>
                    <a:pt x="84" y="82"/>
                  </a:lnTo>
                  <a:lnTo>
                    <a:pt x="88" y="84"/>
                  </a:lnTo>
                  <a:lnTo>
                    <a:pt x="88" y="86"/>
                  </a:lnTo>
                  <a:lnTo>
                    <a:pt x="81" y="80"/>
                  </a:lnTo>
                  <a:lnTo>
                    <a:pt x="82" y="84"/>
                  </a:lnTo>
                  <a:lnTo>
                    <a:pt x="79" y="93"/>
                  </a:lnTo>
                  <a:lnTo>
                    <a:pt x="79" y="94"/>
                  </a:lnTo>
                  <a:lnTo>
                    <a:pt x="79" y="89"/>
                  </a:lnTo>
                  <a:lnTo>
                    <a:pt x="73" y="103"/>
                  </a:lnTo>
                  <a:lnTo>
                    <a:pt x="66" y="111"/>
                  </a:lnTo>
                  <a:lnTo>
                    <a:pt x="36" y="118"/>
                  </a:lnTo>
                  <a:lnTo>
                    <a:pt x="34" y="116"/>
                  </a:lnTo>
                  <a:lnTo>
                    <a:pt x="36" y="116"/>
                  </a:lnTo>
                  <a:lnTo>
                    <a:pt x="36" y="114"/>
                  </a:lnTo>
                  <a:lnTo>
                    <a:pt x="29" y="116"/>
                  </a:lnTo>
                  <a:lnTo>
                    <a:pt x="29" y="132"/>
                  </a:lnTo>
                  <a:lnTo>
                    <a:pt x="31" y="132"/>
                  </a:lnTo>
                  <a:lnTo>
                    <a:pt x="31" y="132"/>
                  </a:lnTo>
                  <a:lnTo>
                    <a:pt x="29" y="134"/>
                  </a:lnTo>
                  <a:lnTo>
                    <a:pt x="25" y="136"/>
                  </a:lnTo>
                  <a:lnTo>
                    <a:pt x="23" y="137"/>
                  </a:lnTo>
                  <a:lnTo>
                    <a:pt x="23" y="137"/>
                  </a:lnTo>
                  <a:lnTo>
                    <a:pt x="25" y="136"/>
                  </a:lnTo>
                  <a:lnTo>
                    <a:pt x="25" y="134"/>
                  </a:lnTo>
                  <a:lnTo>
                    <a:pt x="20" y="136"/>
                  </a:lnTo>
                  <a:lnTo>
                    <a:pt x="20" y="137"/>
                  </a:lnTo>
                  <a:lnTo>
                    <a:pt x="29" y="143"/>
                  </a:lnTo>
                  <a:lnTo>
                    <a:pt x="34" y="148"/>
                  </a:lnTo>
                  <a:lnTo>
                    <a:pt x="41" y="153"/>
                  </a:lnTo>
                  <a:lnTo>
                    <a:pt x="45" y="153"/>
                  </a:lnTo>
                  <a:lnTo>
                    <a:pt x="65" y="171"/>
                  </a:lnTo>
                  <a:lnTo>
                    <a:pt x="65" y="173"/>
                  </a:lnTo>
                  <a:lnTo>
                    <a:pt x="66" y="175"/>
                  </a:lnTo>
                  <a:lnTo>
                    <a:pt x="68" y="180"/>
                  </a:lnTo>
                  <a:lnTo>
                    <a:pt x="70" y="182"/>
                  </a:lnTo>
                  <a:lnTo>
                    <a:pt x="70" y="184"/>
                  </a:lnTo>
                  <a:lnTo>
                    <a:pt x="72" y="191"/>
                  </a:lnTo>
                  <a:lnTo>
                    <a:pt x="84" y="196"/>
                  </a:lnTo>
                  <a:lnTo>
                    <a:pt x="84" y="196"/>
                  </a:lnTo>
                  <a:lnTo>
                    <a:pt x="84" y="194"/>
                  </a:lnTo>
                  <a:lnTo>
                    <a:pt x="86" y="193"/>
                  </a:lnTo>
                  <a:lnTo>
                    <a:pt x="90" y="193"/>
                  </a:lnTo>
                  <a:lnTo>
                    <a:pt x="90" y="191"/>
                  </a:lnTo>
                  <a:lnTo>
                    <a:pt x="90" y="189"/>
                  </a:lnTo>
                  <a:lnTo>
                    <a:pt x="91" y="189"/>
                  </a:lnTo>
                  <a:lnTo>
                    <a:pt x="93" y="189"/>
                  </a:lnTo>
                  <a:lnTo>
                    <a:pt x="90" y="196"/>
                  </a:lnTo>
                  <a:lnTo>
                    <a:pt x="90" y="198"/>
                  </a:lnTo>
                  <a:lnTo>
                    <a:pt x="93" y="194"/>
                  </a:lnTo>
                  <a:lnTo>
                    <a:pt x="97" y="194"/>
                  </a:lnTo>
                  <a:lnTo>
                    <a:pt x="100" y="194"/>
                  </a:lnTo>
                  <a:lnTo>
                    <a:pt x="104" y="194"/>
                  </a:lnTo>
                  <a:lnTo>
                    <a:pt x="106" y="198"/>
                  </a:lnTo>
                  <a:lnTo>
                    <a:pt x="104" y="198"/>
                  </a:lnTo>
                  <a:lnTo>
                    <a:pt x="102" y="200"/>
                  </a:lnTo>
                  <a:lnTo>
                    <a:pt x="100" y="205"/>
                  </a:lnTo>
                  <a:lnTo>
                    <a:pt x="104" y="211"/>
                  </a:lnTo>
                  <a:lnTo>
                    <a:pt x="107" y="214"/>
                  </a:lnTo>
                  <a:lnTo>
                    <a:pt x="109" y="212"/>
                  </a:lnTo>
                  <a:lnTo>
                    <a:pt x="109" y="209"/>
                  </a:lnTo>
                  <a:lnTo>
                    <a:pt x="109" y="209"/>
                  </a:lnTo>
                  <a:lnTo>
                    <a:pt x="109" y="211"/>
                  </a:lnTo>
                  <a:lnTo>
                    <a:pt x="111" y="212"/>
                  </a:lnTo>
                  <a:lnTo>
                    <a:pt x="111" y="211"/>
                  </a:lnTo>
                  <a:lnTo>
                    <a:pt x="116" y="211"/>
                  </a:lnTo>
                  <a:lnTo>
                    <a:pt x="120" y="212"/>
                  </a:lnTo>
                  <a:lnTo>
                    <a:pt x="125" y="212"/>
                  </a:lnTo>
                  <a:lnTo>
                    <a:pt x="127" y="209"/>
                  </a:lnTo>
                  <a:lnTo>
                    <a:pt x="131" y="211"/>
                  </a:lnTo>
                  <a:lnTo>
                    <a:pt x="132" y="209"/>
                  </a:lnTo>
                  <a:lnTo>
                    <a:pt x="136" y="209"/>
                  </a:lnTo>
                  <a:lnTo>
                    <a:pt x="136" y="211"/>
                  </a:lnTo>
                  <a:lnTo>
                    <a:pt x="129" y="212"/>
                  </a:lnTo>
                  <a:lnTo>
                    <a:pt x="127" y="216"/>
                  </a:lnTo>
                  <a:lnTo>
                    <a:pt x="129" y="216"/>
                  </a:lnTo>
                  <a:lnTo>
                    <a:pt x="129" y="214"/>
                  </a:lnTo>
                  <a:lnTo>
                    <a:pt x="136" y="212"/>
                  </a:lnTo>
                  <a:lnTo>
                    <a:pt x="138" y="212"/>
                  </a:lnTo>
                  <a:lnTo>
                    <a:pt x="138" y="216"/>
                  </a:lnTo>
                  <a:lnTo>
                    <a:pt x="136" y="218"/>
                  </a:lnTo>
                  <a:lnTo>
                    <a:pt x="129" y="218"/>
                  </a:lnTo>
                  <a:lnTo>
                    <a:pt x="127" y="219"/>
                  </a:lnTo>
                  <a:lnTo>
                    <a:pt x="125" y="221"/>
                  </a:lnTo>
                  <a:lnTo>
                    <a:pt x="120" y="221"/>
                  </a:lnTo>
                  <a:lnTo>
                    <a:pt x="118" y="221"/>
                  </a:lnTo>
                  <a:lnTo>
                    <a:pt x="116" y="219"/>
                  </a:lnTo>
                  <a:lnTo>
                    <a:pt x="115" y="218"/>
                  </a:lnTo>
                  <a:lnTo>
                    <a:pt x="113" y="216"/>
                  </a:lnTo>
                  <a:lnTo>
                    <a:pt x="111" y="216"/>
                  </a:lnTo>
                  <a:lnTo>
                    <a:pt x="111" y="214"/>
                  </a:lnTo>
                  <a:lnTo>
                    <a:pt x="109" y="216"/>
                  </a:lnTo>
                  <a:lnTo>
                    <a:pt x="107" y="218"/>
                  </a:lnTo>
                  <a:lnTo>
                    <a:pt x="102" y="216"/>
                  </a:lnTo>
                  <a:lnTo>
                    <a:pt x="100" y="214"/>
                  </a:lnTo>
                  <a:lnTo>
                    <a:pt x="97" y="209"/>
                  </a:lnTo>
                  <a:lnTo>
                    <a:pt x="100" y="218"/>
                  </a:lnTo>
                  <a:lnTo>
                    <a:pt x="98" y="219"/>
                  </a:lnTo>
                  <a:lnTo>
                    <a:pt x="98" y="223"/>
                  </a:lnTo>
                  <a:lnTo>
                    <a:pt x="100" y="225"/>
                  </a:lnTo>
                  <a:lnTo>
                    <a:pt x="100" y="223"/>
                  </a:lnTo>
                  <a:lnTo>
                    <a:pt x="102" y="219"/>
                  </a:lnTo>
                  <a:lnTo>
                    <a:pt x="113" y="223"/>
                  </a:lnTo>
                  <a:lnTo>
                    <a:pt x="115" y="225"/>
                  </a:lnTo>
                  <a:lnTo>
                    <a:pt x="115" y="227"/>
                  </a:lnTo>
                  <a:lnTo>
                    <a:pt x="113" y="230"/>
                  </a:lnTo>
                  <a:lnTo>
                    <a:pt x="113" y="228"/>
                  </a:lnTo>
                  <a:lnTo>
                    <a:pt x="111" y="227"/>
                  </a:lnTo>
                  <a:lnTo>
                    <a:pt x="106" y="225"/>
                  </a:lnTo>
                  <a:lnTo>
                    <a:pt x="102" y="234"/>
                  </a:lnTo>
                  <a:lnTo>
                    <a:pt x="102" y="236"/>
                  </a:lnTo>
                  <a:lnTo>
                    <a:pt x="100" y="237"/>
                  </a:lnTo>
                  <a:lnTo>
                    <a:pt x="98" y="236"/>
                  </a:lnTo>
                  <a:lnTo>
                    <a:pt x="98" y="234"/>
                  </a:lnTo>
                  <a:lnTo>
                    <a:pt x="97" y="232"/>
                  </a:lnTo>
                  <a:lnTo>
                    <a:pt x="93" y="234"/>
                  </a:lnTo>
                  <a:lnTo>
                    <a:pt x="93" y="234"/>
                  </a:lnTo>
                  <a:lnTo>
                    <a:pt x="91" y="234"/>
                  </a:lnTo>
                  <a:lnTo>
                    <a:pt x="88" y="234"/>
                  </a:lnTo>
                  <a:lnTo>
                    <a:pt x="88" y="232"/>
                  </a:lnTo>
                  <a:lnTo>
                    <a:pt x="86" y="234"/>
                  </a:lnTo>
                  <a:lnTo>
                    <a:pt x="86" y="232"/>
                  </a:lnTo>
                  <a:lnTo>
                    <a:pt x="84" y="232"/>
                  </a:lnTo>
                  <a:lnTo>
                    <a:pt x="82" y="234"/>
                  </a:lnTo>
                  <a:lnTo>
                    <a:pt x="82" y="234"/>
                  </a:lnTo>
                  <a:lnTo>
                    <a:pt x="72" y="234"/>
                  </a:lnTo>
                  <a:lnTo>
                    <a:pt x="68" y="230"/>
                  </a:lnTo>
                  <a:lnTo>
                    <a:pt x="68" y="228"/>
                  </a:lnTo>
                  <a:lnTo>
                    <a:pt x="65" y="228"/>
                  </a:lnTo>
                  <a:lnTo>
                    <a:pt x="70" y="223"/>
                  </a:lnTo>
                  <a:lnTo>
                    <a:pt x="68" y="221"/>
                  </a:lnTo>
                  <a:lnTo>
                    <a:pt x="70" y="218"/>
                  </a:lnTo>
                  <a:lnTo>
                    <a:pt x="68" y="214"/>
                  </a:lnTo>
                  <a:lnTo>
                    <a:pt x="66" y="212"/>
                  </a:lnTo>
                  <a:lnTo>
                    <a:pt x="66" y="212"/>
                  </a:lnTo>
                  <a:lnTo>
                    <a:pt x="72" y="211"/>
                  </a:lnTo>
                  <a:lnTo>
                    <a:pt x="54" y="212"/>
                  </a:lnTo>
                  <a:lnTo>
                    <a:pt x="50" y="218"/>
                  </a:lnTo>
                  <a:lnTo>
                    <a:pt x="47" y="218"/>
                  </a:lnTo>
                  <a:lnTo>
                    <a:pt x="45" y="219"/>
                  </a:lnTo>
                  <a:lnTo>
                    <a:pt x="43" y="219"/>
                  </a:lnTo>
                  <a:lnTo>
                    <a:pt x="36" y="225"/>
                  </a:lnTo>
                  <a:lnTo>
                    <a:pt x="40" y="227"/>
                  </a:lnTo>
                  <a:lnTo>
                    <a:pt x="41" y="230"/>
                  </a:lnTo>
                  <a:lnTo>
                    <a:pt x="40" y="230"/>
                  </a:lnTo>
                  <a:lnTo>
                    <a:pt x="32" y="232"/>
                  </a:lnTo>
                  <a:lnTo>
                    <a:pt x="32" y="230"/>
                  </a:lnTo>
                  <a:lnTo>
                    <a:pt x="32" y="228"/>
                  </a:lnTo>
                  <a:lnTo>
                    <a:pt x="22" y="234"/>
                  </a:lnTo>
                  <a:lnTo>
                    <a:pt x="20" y="236"/>
                  </a:lnTo>
                  <a:lnTo>
                    <a:pt x="20" y="236"/>
                  </a:lnTo>
                  <a:lnTo>
                    <a:pt x="18" y="237"/>
                  </a:lnTo>
                  <a:lnTo>
                    <a:pt x="18" y="239"/>
                  </a:lnTo>
                  <a:lnTo>
                    <a:pt x="15" y="241"/>
                  </a:lnTo>
                  <a:lnTo>
                    <a:pt x="13" y="239"/>
                  </a:lnTo>
                  <a:lnTo>
                    <a:pt x="11" y="241"/>
                  </a:lnTo>
                  <a:lnTo>
                    <a:pt x="9" y="243"/>
                  </a:lnTo>
                  <a:lnTo>
                    <a:pt x="9" y="244"/>
                  </a:lnTo>
                  <a:lnTo>
                    <a:pt x="9" y="246"/>
                  </a:lnTo>
                  <a:lnTo>
                    <a:pt x="4" y="250"/>
                  </a:lnTo>
                  <a:lnTo>
                    <a:pt x="2" y="250"/>
                  </a:lnTo>
                  <a:lnTo>
                    <a:pt x="4" y="246"/>
                  </a:lnTo>
                  <a:lnTo>
                    <a:pt x="0" y="248"/>
                  </a:lnTo>
                  <a:lnTo>
                    <a:pt x="0" y="250"/>
                  </a:lnTo>
                  <a:lnTo>
                    <a:pt x="13" y="259"/>
                  </a:lnTo>
                  <a:lnTo>
                    <a:pt x="20" y="262"/>
                  </a:lnTo>
                  <a:lnTo>
                    <a:pt x="22" y="262"/>
                  </a:lnTo>
                  <a:lnTo>
                    <a:pt x="20" y="259"/>
                  </a:lnTo>
                  <a:lnTo>
                    <a:pt x="31" y="262"/>
                  </a:lnTo>
                  <a:lnTo>
                    <a:pt x="25" y="266"/>
                  </a:lnTo>
                  <a:lnTo>
                    <a:pt x="23" y="269"/>
                  </a:lnTo>
                  <a:lnTo>
                    <a:pt x="20" y="268"/>
                  </a:lnTo>
                  <a:lnTo>
                    <a:pt x="22" y="266"/>
                  </a:lnTo>
                  <a:lnTo>
                    <a:pt x="20" y="264"/>
                  </a:lnTo>
                  <a:lnTo>
                    <a:pt x="20" y="268"/>
                  </a:lnTo>
                  <a:lnTo>
                    <a:pt x="23" y="275"/>
                  </a:lnTo>
                  <a:lnTo>
                    <a:pt x="27" y="277"/>
                  </a:lnTo>
                  <a:lnTo>
                    <a:pt x="27" y="280"/>
                  </a:lnTo>
                  <a:lnTo>
                    <a:pt x="25" y="284"/>
                  </a:lnTo>
                  <a:lnTo>
                    <a:pt x="29" y="289"/>
                  </a:lnTo>
                  <a:lnTo>
                    <a:pt x="31" y="289"/>
                  </a:lnTo>
                  <a:lnTo>
                    <a:pt x="31" y="291"/>
                  </a:lnTo>
                  <a:lnTo>
                    <a:pt x="47" y="293"/>
                  </a:lnTo>
                  <a:lnTo>
                    <a:pt x="52" y="294"/>
                  </a:lnTo>
                  <a:lnTo>
                    <a:pt x="61" y="291"/>
                  </a:lnTo>
                  <a:lnTo>
                    <a:pt x="66" y="291"/>
                  </a:lnTo>
                  <a:lnTo>
                    <a:pt x="72" y="291"/>
                  </a:lnTo>
                  <a:lnTo>
                    <a:pt x="77" y="293"/>
                  </a:lnTo>
                  <a:lnTo>
                    <a:pt x="81" y="296"/>
                  </a:lnTo>
                  <a:lnTo>
                    <a:pt x="81" y="294"/>
                  </a:lnTo>
                  <a:lnTo>
                    <a:pt x="81" y="293"/>
                  </a:lnTo>
                  <a:lnTo>
                    <a:pt x="79" y="291"/>
                  </a:lnTo>
                  <a:lnTo>
                    <a:pt x="77" y="291"/>
                  </a:lnTo>
                  <a:lnTo>
                    <a:pt x="75" y="289"/>
                  </a:lnTo>
                  <a:lnTo>
                    <a:pt x="81" y="287"/>
                  </a:lnTo>
                  <a:lnTo>
                    <a:pt x="82" y="291"/>
                  </a:lnTo>
                  <a:lnTo>
                    <a:pt x="84" y="293"/>
                  </a:lnTo>
                  <a:lnTo>
                    <a:pt x="86" y="302"/>
                  </a:lnTo>
                  <a:lnTo>
                    <a:pt x="86" y="302"/>
                  </a:lnTo>
                  <a:lnTo>
                    <a:pt x="91" y="293"/>
                  </a:lnTo>
                  <a:lnTo>
                    <a:pt x="97" y="286"/>
                  </a:lnTo>
                  <a:lnTo>
                    <a:pt x="102" y="284"/>
                  </a:lnTo>
                  <a:lnTo>
                    <a:pt x="102" y="282"/>
                  </a:lnTo>
                  <a:lnTo>
                    <a:pt x="106" y="284"/>
                  </a:lnTo>
                  <a:lnTo>
                    <a:pt x="107" y="282"/>
                  </a:lnTo>
                  <a:lnTo>
                    <a:pt x="109" y="280"/>
                  </a:lnTo>
                  <a:lnTo>
                    <a:pt x="113" y="278"/>
                  </a:lnTo>
                  <a:lnTo>
                    <a:pt x="116" y="282"/>
                  </a:lnTo>
                  <a:lnTo>
                    <a:pt x="118" y="284"/>
                  </a:lnTo>
                  <a:lnTo>
                    <a:pt x="118" y="287"/>
                  </a:lnTo>
                  <a:lnTo>
                    <a:pt x="115" y="293"/>
                  </a:lnTo>
                  <a:lnTo>
                    <a:pt x="111" y="294"/>
                  </a:lnTo>
                  <a:lnTo>
                    <a:pt x="109" y="293"/>
                  </a:lnTo>
                  <a:lnTo>
                    <a:pt x="106" y="293"/>
                  </a:lnTo>
                  <a:lnTo>
                    <a:pt x="106" y="296"/>
                  </a:lnTo>
                  <a:lnTo>
                    <a:pt x="107" y="298"/>
                  </a:lnTo>
                  <a:lnTo>
                    <a:pt x="109" y="296"/>
                  </a:lnTo>
                  <a:lnTo>
                    <a:pt x="111" y="298"/>
                  </a:lnTo>
                  <a:lnTo>
                    <a:pt x="116" y="307"/>
                  </a:lnTo>
                  <a:lnTo>
                    <a:pt x="115" y="309"/>
                  </a:lnTo>
                  <a:lnTo>
                    <a:pt x="115" y="311"/>
                  </a:lnTo>
                  <a:lnTo>
                    <a:pt x="116" y="312"/>
                  </a:lnTo>
                  <a:lnTo>
                    <a:pt x="118" y="316"/>
                  </a:lnTo>
                  <a:lnTo>
                    <a:pt x="118" y="319"/>
                  </a:lnTo>
                  <a:lnTo>
                    <a:pt x="113" y="328"/>
                  </a:lnTo>
                  <a:lnTo>
                    <a:pt x="111" y="330"/>
                  </a:lnTo>
                  <a:lnTo>
                    <a:pt x="107" y="330"/>
                  </a:lnTo>
                  <a:lnTo>
                    <a:pt x="106" y="330"/>
                  </a:lnTo>
                  <a:lnTo>
                    <a:pt x="102" y="332"/>
                  </a:lnTo>
                  <a:lnTo>
                    <a:pt x="100" y="332"/>
                  </a:lnTo>
                  <a:lnTo>
                    <a:pt x="95" y="334"/>
                  </a:lnTo>
                  <a:lnTo>
                    <a:pt x="93" y="334"/>
                  </a:lnTo>
                  <a:lnTo>
                    <a:pt x="97" y="330"/>
                  </a:lnTo>
                  <a:lnTo>
                    <a:pt x="97" y="330"/>
                  </a:lnTo>
                  <a:lnTo>
                    <a:pt x="93" y="330"/>
                  </a:lnTo>
                  <a:lnTo>
                    <a:pt x="81" y="344"/>
                  </a:lnTo>
                  <a:lnTo>
                    <a:pt x="79" y="346"/>
                  </a:lnTo>
                  <a:lnTo>
                    <a:pt x="75" y="344"/>
                  </a:lnTo>
                  <a:lnTo>
                    <a:pt x="73" y="344"/>
                  </a:lnTo>
                  <a:lnTo>
                    <a:pt x="70" y="348"/>
                  </a:lnTo>
                  <a:lnTo>
                    <a:pt x="65" y="350"/>
                  </a:lnTo>
                  <a:lnTo>
                    <a:pt x="63" y="352"/>
                  </a:lnTo>
                  <a:lnTo>
                    <a:pt x="63" y="352"/>
                  </a:lnTo>
                  <a:lnTo>
                    <a:pt x="65" y="353"/>
                  </a:lnTo>
                  <a:lnTo>
                    <a:pt x="65" y="355"/>
                  </a:lnTo>
                  <a:lnTo>
                    <a:pt x="63" y="357"/>
                  </a:lnTo>
                  <a:lnTo>
                    <a:pt x="59" y="355"/>
                  </a:lnTo>
                  <a:lnTo>
                    <a:pt x="56" y="357"/>
                  </a:lnTo>
                  <a:lnTo>
                    <a:pt x="52" y="361"/>
                  </a:lnTo>
                  <a:lnTo>
                    <a:pt x="50" y="364"/>
                  </a:lnTo>
                  <a:lnTo>
                    <a:pt x="48" y="362"/>
                  </a:lnTo>
                  <a:lnTo>
                    <a:pt x="47" y="362"/>
                  </a:lnTo>
                  <a:lnTo>
                    <a:pt x="41" y="369"/>
                  </a:lnTo>
                  <a:lnTo>
                    <a:pt x="41" y="369"/>
                  </a:lnTo>
                  <a:lnTo>
                    <a:pt x="40" y="371"/>
                  </a:lnTo>
                  <a:lnTo>
                    <a:pt x="38" y="378"/>
                  </a:lnTo>
                  <a:lnTo>
                    <a:pt x="38" y="386"/>
                  </a:lnTo>
                  <a:lnTo>
                    <a:pt x="36" y="387"/>
                  </a:lnTo>
                  <a:lnTo>
                    <a:pt x="34" y="387"/>
                  </a:lnTo>
                  <a:lnTo>
                    <a:pt x="32" y="387"/>
                  </a:lnTo>
                  <a:lnTo>
                    <a:pt x="31" y="387"/>
                  </a:lnTo>
                  <a:lnTo>
                    <a:pt x="31" y="389"/>
                  </a:lnTo>
                  <a:lnTo>
                    <a:pt x="34" y="393"/>
                  </a:lnTo>
                  <a:lnTo>
                    <a:pt x="32" y="393"/>
                  </a:lnTo>
                  <a:lnTo>
                    <a:pt x="31" y="394"/>
                  </a:lnTo>
                  <a:lnTo>
                    <a:pt x="29" y="398"/>
                  </a:lnTo>
                  <a:lnTo>
                    <a:pt x="31" y="398"/>
                  </a:lnTo>
                  <a:lnTo>
                    <a:pt x="36" y="396"/>
                  </a:lnTo>
                  <a:lnTo>
                    <a:pt x="38" y="396"/>
                  </a:lnTo>
                  <a:lnTo>
                    <a:pt x="40" y="394"/>
                  </a:lnTo>
                  <a:lnTo>
                    <a:pt x="45" y="393"/>
                  </a:lnTo>
                  <a:lnTo>
                    <a:pt x="45" y="394"/>
                  </a:lnTo>
                  <a:lnTo>
                    <a:pt x="43" y="394"/>
                  </a:lnTo>
                  <a:lnTo>
                    <a:pt x="45" y="396"/>
                  </a:lnTo>
                  <a:lnTo>
                    <a:pt x="40" y="396"/>
                  </a:lnTo>
                  <a:lnTo>
                    <a:pt x="36" y="398"/>
                  </a:lnTo>
                  <a:lnTo>
                    <a:pt x="34" y="400"/>
                  </a:lnTo>
                  <a:lnTo>
                    <a:pt x="34" y="402"/>
                  </a:lnTo>
                  <a:lnTo>
                    <a:pt x="38" y="405"/>
                  </a:lnTo>
                  <a:lnTo>
                    <a:pt x="41" y="402"/>
                  </a:lnTo>
                  <a:lnTo>
                    <a:pt x="43" y="402"/>
                  </a:lnTo>
                  <a:lnTo>
                    <a:pt x="43" y="403"/>
                  </a:lnTo>
                  <a:lnTo>
                    <a:pt x="41" y="407"/>
                  </a:lnTo>
                  <a:lnTo>
                    <a:pt x="43" y="411"/>
                  </a:lnTo>
                  <a:lnTo>
                    <a:pt x="43" y="411"/>
                  </a:lnTo>
                  <a:lnTo>
                    <a:pt x="45" y="414"/>
                  </a:lnTo>
                  <a:lnTo>
                    <a:pt x="45" y="416"/>
                  </a:lnTo>
                  <a:lnTo>
                    <a:pt x="47" y="416"/>
                  </a:lnTo>
                  <a:lnTo>
                    <a:pt x="48" y="416"/>
                  </a:lnTo>
                  <a:lnTo>
                    <a:pt x="50" y="412"/>
                  </a:lnTo>
                  <a:lnTo>
                    <a:pt x="50" y="414"/>
                  </a:lnTo>
                  <a:lnTo>
                    <a:pt x="52" y="414"/>
                  </a:lnTo>
                  <a:lnTo>
                    <a:pt x="56" y="414"/>
                  </a:lnTo>
                  <a:lnTo>
                    <a:pt x="54" y="418"/>
                  </a:lnTo>
                  <a:lnTo>
                    <a:pt x="63" y="421"/>
                  </a:lnTo>
                  <a:lnTo>
                    <a:pt x="66" y="419"/>
                  </a:lnTo>
                  <a:lnTo>
                    <a:pt x="70" y="419"/>
                  </a:lnTo>
                  <a:lnTo>
                    <a:pt x="70" y="423"/>
                  </a:lnTo>
                  <a:lnTo>
                    <a:pt x="68" y="425"/>
                  </a:lnTo>
                  <a:lnTo>
                    <a:pt x="65" y="427"/>
                  </a:lnTo>
                  <a:lnTo>
                    <a:pt x="57" y="437"/>
                  </a:lnTo>
                  <a:lnTo>
                    <a:pt x="57" y="439"/>
                  </a:lnTo>
                  <a:lnTo>
                    <a:pt x="57" y="441"/>
                  </a:lnTo>
                  <a:lnTo>
                    <a:pt x="59" y="446"/>
                  </a:lnTo>
                  <a:lnTo>
                    <a:pt x="61" y="448"/>
                  </a:lnTo>
                  <a:lnTo>
                    <a:pt x="63" y="446"/>
                  </a:lnTo>
                  <a:lnTo>
                    <a:pt x="65" y="444"/>
                  </a:lnTo>
                  <a:lnTo>
                    <a:pt x="66" y="446"/>
                  </a:lnTo>
                  <a:lnTo>
                    <a:pt x="65" y="448"/>
                  </a:lnTo>
                  <a:lnTo>
                    <a:pt x="65" y="448"/>
                  </a:lnTo>
                  <a:lnTo>
                    <a:pt x="70" y="448"/>
                  </a:lnTo>
                  <a:lnTo>
                    <a:pt x="68" y="450"/>
                  </a:lnTo>
                  <a:lnTo>
                    <a:pt x="65" y="450"/>
                  </a:lnTo>
                  <a:lnTo>
                    <a:pt x="63" y="452"/>
                  </a:lnTo>
                  <a:lnTo>
                    <a:pt x="65" y="453"/>
                  </a:lnTo>
                  <a:lnTo>
                    <a:pt x="68" y="455"/>
                  </a:lnTo>
                  <a:lnTo>
                    <a:pt x="70" y="455"/>
                  </a:lnTo>
                  <a:lnTo>
                    <a:pt x="72" y="457"/>
                  </a:lnTo>
                  <a:lnTo>
                    <a:pt x="72" y="457"/>
                  </a:lnTo>
                  <a:lnTo>
                    <a:pt x="73" y="457"/>
                  </a:lnTo>
                  <a:lnTo>
                    <a:pt x="75" y="457"/>
                  </a:lnTo>
                  <a:lnTo>
                    <a:pt x="79" y="459"/>
                  </a:lnTo>
                  <a:lnTo>
                    <a:pt x="81" y="459"/>
                  </a:lnTo>
                  <a:lnTo>
                    <a:pt x="88" y="448"/>
                  </a:lnTo>
                  <a:lnTo>
                    <a:pt x="90" y="443"/>
                  </a:lnTo>
                  <a:lnTo>
                    <a:pt x="91" y="443"/>
                  </a:lnTo>
                  <a:lnTo>
                    <a:pt x="91" y="441"/>
                  </a:lnTo>
                  <a:lnTo>
                    <a:pt x="88" y="439"/>
                  </a:lnTo>
                  <a:lnTo>
                    <a:pt x="88" y="436"/>
                  </a:lnTo>
                  <a:lnTo>
                    <a:pt x="93" y="428"/>
                  </a:lnTo>
                  <a:lnTo>
                    <a:pt x="100" y="421"/>
                  </a:lnTo>
                  <a:lnTo>
                    <a:pt x="106" y="419"/>
                  </a:lnTo>
                  <a:lnTo>
                    <a:pt x="91" y="436"/>
                  </a:lnTo>
                  <a:lnTo>
                    <a:pt x="90" y="437"/>
                  </a:lnTo>
                  <a:lnTo>
                    <a:pt x="91" y="439"/>
                  </a:lnTo>
                  <a:lnTo>
                    <a:pt x="93" y="441"/>
                  </a:lnTo>
                  <a:lnTo>
                    <a:pt x="93" y="446"/>
                  </a:lnTo>
                  <a:lnTo>
                    <a:pt x="102" y="462"/>
                  </a:lnTo>
                  <a:lnTo>
                    <a:pt x="102" y="464"/>
                  </a:lnTo>
                  <a:lnTo>
                    <a:pt x="98" y="468"/>
                  </a:lnTo>
                  <a:lnTo>
                    <a:pt x="98" y="469"/>
                  </a:lnTo>
                  <a:lnTo>
                    <a:pt x="97" y="469"/>
                  </a:lnTo>
                  <a:lnTo>
                    <a:pt x="97" y="471"/>
                  </a:lnTo>
                  <a:lnTo>
                    <a:pt x="98" y="477"/>
                  </a:lnTo>
                  <a:lnTo>
                    <a:pt x="100" y="475"/>
                  </a:lnTo>
                  <a:lnTo>
                    <a:pt x="102" y="475"/>
                  </a:lnTo>
                  <a:lnTo>
                    <a:pt x="104" y="475"/>
                  </a:lnTo>
                  <a:lnTo>
                    <a:pt x="102" y="477"/>
                  </a:lnTo>
                  <a:lnTo>
                    <a:pt x="100" y="478"/>
                  </a:lnTo>
                  <a:lnTo>
                    <a:pt x="100" y="484"/>
                  </a:lnTo>
                  <a:lnTo>
                    <a:pt x="102" y="484"/>
                  </a:lnTo>
                  <a:lnTo>
                    <a:pt x="104" y="484"/>
                  </a:lnTo>
                  <a:lnTo>
                    <a:pt x="102" y="484"/>
                  </a:lnTo>
                  <a:lnTo>
                    <a:pt x="98" y="487"/>
                  </a:lnTo>
                  <a:lnTo>
                    <a:pt x="97" y="487"/>
                  </a:lnTo>
                  <a:lnTo>
                    <a:pt x="95" y="489"/>
                  </a:lnTo>
                  <a:lnTo>
                    <a:pt x="100" y="491"/>
                  </a:lnTo>
                  <a:lnTo>
                    <a:pt x="104" y="489"/>
                  </a:lnTo>
                  <a:lnTo>
                    <a:pt x="106" y="486"/>
                  </a:lnTo>
                  <a:lnTo>
                    <a:pt x="109" y="484"/>
                  </a:lnTo>
                  <a:lnTo>
                    <a:pt x="113" y="480"/>
                  </a:lnTo>
                  <a:lnTo>
                    <a:pt x="116" y="480"/>
                  </a:lnTo>
                  <a:lnTo>
                    <a:pt x="120" y="477"/>
                  </a:lnTo>
                  <a:lnTo>
                    <a:pt x="123" y="469"/>
                  </a:lnTo>
                  <a:lnTo>
                    <a:pt x="125" y="475"/>
                  </a:lnTo>
                  <a:lnTo>
                    <a:pt x="123" y="477"/>
                  </a:lnTo>
                  <a:lnTo>
                    <a:pt x="123" y="478"/>
                  </a:lnTo>
                  <a:lnTo>
                    <a:pt x="123" y="480"/>
                  </a:lnTo>
                  <a:lnTo>
                    <a:pt x="125" y="482"/>
                  </a:lnTo>
                  <a:lnTo>
                    <a:pt x="127" y="482"/>
                  </a:lnTo>
                  <a:lnTo>
                    <a:pt x="129" y="484"/>
                  </a:lnTo>
                  <a:lnTo>
                    <a:pt x="131" y="484"/>
                  </a:lnTo>
                  <a:lnTo>
                    <a:pt x="132" y="482"/>
                  </a:lnTo>
                  <a:lnTo>
                    <a:pt x="134" y="480"/>
                  </a:lnTo>
                  <a:lnTo>
                    <a:pt x="134" y="482"/>
                  </a:lnTo>
                  <a:lnTo>
                    <a:pt x="136" y="482"/>
                  </a:lnTo>
                  <a:lnTo>
                    <a:pt x="136" y="484"/>
                  </a:lnTo>
                  <a:lnTo>
                    <a:pt x="138" y="484"/>
                  </a:lnTo>
                  <a:lnTo>
                    <a:pt x="143" y="496"/>
                  </a:lnTo>
                  <a:lnTo>
                    <a:pt x="145" y="496"/>
                  </a:lnTo>
                  <a:lnTo>
                    <a:pt x="147" y="496"/>
                  </a:lnTo>
                  <a:lnTo>
                    <a:pt x="148" y="494"/>
                  </a:lnTo>
                  <a:lnTo>
                    <a:pt x="148" y="489"/>
                  </a:lnTo>
                  <a:lnTo>
                    <a:pt x="147" y="486"/>
                  </a:lnTo>
                  <a:lnTo>
                    <a:pt x="148" y="482"/>
                  </a:lnTo>
                  <a:lnTo>
                    <a:pt x="152" y="480"/>
                  </a:lnTo>
                  <a:lnTo>
                    <a:pt x="152" y="478"/>
                  </a:lnTo>
                  <a:lnTo>
                    <a:pt x="154" y="478"/>
                  </a:lnTo>
                  <a:lnTo>
                    <a:pt x="154" y="480"/>
                  </a:lnTo>
                  <a:lnTo>
                    <a:pt x="152" y="484"/>
                  </a:lnTo>
                  <a:lnTo>
                    <a:pt x="157" y="489"/>
                  </a:lnTo>
                  <a:lnTo>
                    <a:pt x="159" y="489"/>
                  </a:lnTo>
                  <a:lnTo>
                    <a:pt x="172" y="482"/>
                  </a:lnTo>
                  <a:lnTo>
                    <a:pt x="177" y="477"/>
                  </a:lnTo>
                  <a:lnTo>
                    <a:pt x="181" y="475"/>
                  </a:lnTo>
                  <a:lnTo>
                    <a:pt x="181" y="477"/>
                  </a:lnTo>
                  <a:lnTo>
                    <a:pt x="177" y="484"/>
                  </a:lnTo>
                  <a:lnTo>
                    <a:pt x="175" y="486"/>
                  </a:lnTo>
                  <a:lnTo>
                    <a:pt x="175" y="486"/>
                  </a:lnTo>
                  <a:lnTo>
                    <a:pt x="175" y="486"/>
                  </a:lnTo>
                  <a:lnTo>
                    <a:pt x="173" y="489"/>
                  </a:lnTo>
                  <a:lnTo>
                    <a:pt x="170" y="491"/>
                  </a:lnTo>
                  <a:lnTo>
                    <a:pt x="168" y="500"/>
                  </a:lnTo>
                  <a:lnTo>
                    <a:pt x="172" y="500"/>
                  </a:lnTo>
                  <a:lnTo>
                    <a:pt x="168" y="505"/>
                  </a:lnTo>
                  <a:lnTo>
                    <a:pt x="165" y="519"/>
                  </a:lnTo>
                  <a:lnTo>
                    <a:pt x="159" y="528"/>
                  </a:lnTo>
                  <a:lnTo>
                    <a:pt x="159" y="528"/>
                  </a:lnTo>
                  <a:lnTo>
                    <a:pt x="157" y="528"/>
                  </a:lnTo>
                  <a:lnTo>
                    <a:pt x="157" y="530"/>
                  </a:lnTo>
                  <a:lnTo>
                    <a:pt x="152" y="536"/>
                  </a:lnTo>
                  <a:lnTo>
                    <a:pt x="152" y="536"/>
                  </a:lnTo>
                  <a:lnTo>
                    <a:pt x="148" y="544"/>
                  </a:lnTo>
                  <a:lnTo>
                    <a:pt x="147" y="543"/>
                  </a:lnTo>
                  <a:lnTo>
                    <a:pt x="147" y="544"/>
                  </a:lnTo>
                  <a:lnTo>
                    <a:pt x="145" y="543"/>
                  </a:lnTo>
                  <a:lnTo>
                    <a:pt x="141" y="548"/>
                  </a:lnTo>
                  <a:lnTo>
                    <a:pt x="138" y="548"/>
                  </a:lnTo>
                  <a:lnTo>
                    <a:pt x="132" y="552"/>
                  </a:lnTo>
                  <a:lnTo>
                    <a:pt x="131" y="552"/>
                  </a:lnTo>
                  <a:lnTo>
                    <a:pt x="122" y="564"/>
                  </a:lnTo>
                  <a:lnTo>
                    <a:pt x="120" y="569"/>
                  </a:lnTo>
                  <a:lnTo>
                    <a:pt x="120" y="569"/>
                  </a:lnTo>
                  <a:lnTo>
                    <a:pt x="123" y="571"/>
                  </a:lnTo>
                  <a:lnTo>
                    <a:pt x="123" y="573"/>
                  </a:lnTo>
                  <a:lnTo>
                    <a:pt x="122" y="573"/>
                  </a:lnTo>
                  <a:lnTo>
                    <a:pt x="120" y="571"/>
                  </a:lnTo>
                  <a:lnTo>
                    <a:pt x="118" y="569"/>
                  </a:lnTo>
                  <a:lnTo>
                    <a:pt x="118" y="571"/>
                  </a:lnTo>
                  <a:lnTo>
                    <a:pt x="116" y="573"/>
                  </a:lnTo>
                  <a:lnTo>
                    <a:pt x="115" y="571"/>
                  </a:lnTo>
                  <a:lnTo>
                    <a:pt x="113" y="569"/>
                  </a:lnTo>
                  <a:lnTo>
                    <a:pt x="115" y="568"/>
                  </a:lnTo>
                  <a:lnTo>
                    <a:pt x="115" y="566"/>
                  </a:lnTo>
                  <a:lnTo>
                    <a:pt x="111" y="568"/>
                  </a:lnTo>
                  <a:lnTo>
                    <a:pt x="109" y="566"/>
                  </a:lnTo>
                  <a:lnTo>
                    <a:pt x="107" y="566"/>
                  </a:lnTo>
                  <a:lnTo>
                    <a:pt x="90" y="578"/>
                  </a:lnTo>
                  <a:lnTo>
                    <a:pt x="88" y="582"/>
                  </a:lnTo>
                  <a:lnTo>
                    <a:pt x="88" y="582"/>
                  </a:lnTo>
                  <a:lnTo>
                    <a:pt x="88" y="582"/>
                  </a:lnTo>
                  <a:lnTo>
                    <a:pt x="88" y="586"/>
                  </a:lnTo>
                  <a:lnTo>
                    <a:pt x="84" y="587"/>
                  </a:lnTo>
                  <a:lnTo>
                    <a:pt x="82" y="589"/>
                  </a:lnTo>
                  <a:lnTo>
                    <a:pt x="82" y="589"/>
                  </a:lnTo>
                  <a:lnTo>
                    <a:pt x="81" y="589"/>
                  </a:lnTo>
                  <a:lnTo>
                    <a:pt x="79" y="589"/>
                  </a:lnTo>
                  <a:lnTo>
                    <a:pt x="79" y="589"/>
                  </a:lnTo>
                  <a:lnTo>
                    <a:pt x="77" y="591"/>
                  </a:lnTo>
                  <a:lnTo>
                    <a:pt x="75" y="591"/>
                  </a:lnTo>
                  <a:lnTo>
                    <a:pt x="73" y="593"/>
                  </a:lnTo>
                  <a:lnTo>
                    <a:pt x="73" y="593"/>
                  </a:lnTo>
                  <a:lnTo>
                    <a:pt x="75" y="593"/>
                  </a:lnTo>
                  <a:lnTo>
                    <a:pt x="75" y="596"/>
                  </a:lnTo>
                  <a:lnTo>
                    <a:pt x="75" y="600"/>
                  </a:lnTo>
                  <a:lnTo>
                    <a:pt x="77" y="600"/>
                  </a:lnTo>
                  <a:lnTo>
                    <a:pt x="79" y="598"/>
                  </a:lnTo>
                  <a:lnTo>
                    <a:pt x="79" y="596"/>
                  </a:lnTo>
                  <a:lnTo>
                    <a:pt x="79" y="593"/>
                  </a:lnTo>
                  <a:lnTo>
                    <a:pt x="79" y="593"/>
                  </a:lnTo>
                  <a:lnTo>
                    <a:pt x="81" y="594"/>
                  </a:lnTo>
                  <a:lnTo>
                    <a:pt x="82" y="596"/>
                  </a:lnTo>
                  <a:lnTo>
                    <a:pt x="88" y="594"/>
                  </a:lnTo>
                  <a:lnTo>
                    <a:pt x="86" y="589"/>
                  </a:lnTo>
                  <a:lnTo>
                    <a:pt x="86" y="587"/>
                  </a:lnTo>
                  <a:lnTo>
                    <a:pt x="90" y="589"/>
                  </a:lnTo>
                  <a:lnTo>
                    <a:pt x="90" y="591"/>
                  </a:lnTo>
                  <a:lnTo>
                    <a:pt x="90" y="593"/>
                  </a:lnTo>
                  <a:lnTo>
                    <a:pt x="91" y="593"/>
                  </a:lnTo>
                  <a:lnTo>
                    <a:pt x="91" y="594"/>
                  </a:lnTo>
                  <a:lnTo>
                    <a:pt x="93" y="593"/>
                  </a:lnTo>
                  <a:lnTo>
                    <a:pt x="95" y="591"/>
                  </a:lnTo>
                  <a:lnTo>
                    <a:pt x="95" y="593"/>
                  </a:lnTo>
                  <a:lnTo>
                    <a:pt x="97" y="591"/>
                  </a:lnTo>
                  <a:lnTo>
                    <a:pt x="97" y="589"/>
                  </a:lnTo>
                  <a:lnTo>
                    <a:pt x="98" y="587"/>
                  </a:lnTo>
                  <a:lnTo>
                    <a:pt x="102" y="580"/>
                  </a:lnTo>
                  <a:lnTo>
                    <a:pt x="104" y="578"/>
                  </a:lnTo>
                  <a:lnTo>
                    <a:pt x="106" y="578"/>
                  </a:lnTo>
                  <a:lnTo>
                    <a:pt x="106" y="580"/>
                  </a:lnTo>
                  <a:lnTo>
                    <a:pt x="104" y="584"/>
                  </a:lnTo>
                  <a:lnTo>
                    <a:pt x="106" y="586"/>
                  </a:lnTo>
                  <a:lnTo>
                    <a:pt x="109" y="584"/>
                  </a:lnTo>
                  <a:lnTo>
                    <a:pt x="113" y="582"/>
                  </a:lnTo>
                  <a:lnTo>
                    <a:pt x="116" y="582"/>
                  </a:lnTo>
                  <a:lnTo>
                    <a:pt x="116" y="580"/>
                  </a:lnTo>
                  <a:lnTo>
                    <a:pt x="118" y="580"/>
                  </a:lnTo>
                  <a:lnTo>
                    <a:pt x="118" y="578"/>
                  </a:lnTo>
                  <a:lnTo>
                    <a:pt x="120" y="580"/>
                  </a:lnTo>
                  <a:lnTo>
                    <a:pt x="122" y="578"/>
                  </a:lnTo>
                  <a:lnTo>
                    <a:pt x="122" y="577"/>
                  </a:lnTo>
                  <a:lnTo>
                    <a:pt x="123" y="577"/>
                  </a:lnTo>
                  <a:lnTo>
                    <a:pt x="125" y="577"/>
                  </a:lnTo>
                  <a:lnTo>
                    <a:pt x="127" y="575"/>
                  </a:lnTo>
                  <a:lnTo>
                    <a:pt x="129" y="573"/>
                  </a:lnTo>
                  <a:lnTo>
                    <a:pt x="131" y="573"/>
                  </a:lnTo>
                  <a:lnTo>
                    <a:pt x="131" y="571"/>
                  </a:lnTo>
                  <a:lnTo>
                    <a:pt x="132" y="571"/>
                  </a:lnTo>
                  <a:lnTo>
                    <a:pt x="134" y="575"/>
                  </a:lnTo>
                  <a:lnTo>
                    <a:pt x="134" y="580"/>
                  </a:lnTo>
                  <a:lnTo>
                    <a:pt x="134" y="580"/>
                  </a:lnTo>
                  <a:lnTo>
                    <a:pt x="138" y="569"/>
                  </a:lnTo>
                  <a:lnTo>
                    <a:pt x="138" y="571"/>
                  </a:lnTo>
                  <a:lnTo>
                    <a:pt x="145" y="569"/>
                  </a:lnTo>
                  <a:lnTo>
                    <a:pt x="147" y="568"/>
                  </a:lnTo>
                  <a:lnTo>
                    <a:pt x="148" y="568"/>
                  </a:lnTo>
                  <a:lnTo>
                    <a:pt x="150" y="566"/>
                  </a:lnTo>
                  <a:lnTo>
                    <a:pt x="150" y="561"/>
                  </a:lnTo>
                  <a:lnTo>
                    <a:pt x="147" y="561"/>
                  </a:lnTo>
                  <a:lnTo>
                    <a:pt x="145" y="559"/>
                  </a:lnTo>
                  <a:lnTo>
                    <a:pt x="143" y="557"/>
                  </a:lnTo>
                  <a:lnTo>
                    <a:pt x="143" y="553"/>
                  </a:lnTo>
                  <a:lnTo>
                    <a:pt x="145" y="553"/>
                  </a:lnTo>
                  <a:lnTo>
                    <a:pt x="147" y="559"/>
                  </a:lnTo>
                  <a:lnTo>
                    <a:pt x="150" y="559"/>
                  </a:lnTo>
                  <a:lnTo>
                    <a:pt x="154" y="555"/>
                  </a:lnTo>
                  <a:lnTo>
                    <a:pt x="157" y="553"/>
                  </a:lnTo>
                  <a:lnTo>
                    <a:pt x="163" y="553"/>
                  </a:lnTo>
                  <a:lnTo>
                    <a:pt x="163" y="552"/>
                  </a:lnTo>
                  <a:lnTo>
                    <a:pt x="163" y="552"/>
                  </a:lnTo>
                  <a:lnTo>
                    <a:pt x="159" y="552"/>
                  </a:lnTo>
                  <a:lnTo>
                    <a:pt x="161" y="550"/>
                  </a:lnTo>
                  <a:lnTo>
                    <a:pt x="165" y="548"/>
                  </a:lnTo>
                  <a:lnTo>
                    <a:pt x="166" y="550"/>
                  </a:lnTo>
                  <a:lnTo>
                    <a:pt x="168" y="550"/>
                  </a:lnTo>
                  <a:lnTo>
                    <a:pt x="168" y="546"/>
                  </a:lnTo>
                  <a:lnTo>
                    <a:pt x="168" y="544"/>
                  </a:lnTo>
                  <a:lnTo>
                    <a:pt x="170" y="543"/>
                  </a:lnTo>
                  <a:lnTo>
                    <a:pt x="173" y="544"/>
                  </a:lnTo>
                  <a:lnTo>
                    <a:pt x="177" y="541"/>
                  </a:lnTo>
                  <a:lnTo>
                    <a:pt x="179" y="539"/>
                  </a:lnTo>
                  <a:lnTo>
                    <a:pt x="179" y="539"/>
                  </a:lnTo>
                  <a:lnTo>
                    <a:pt x="181" y="539"/>
                  </a:lnTo>
                  <a:lnTo>
                    <a:pt x="181" y="537"/>
                  </a:lnTo>
                  <a:lnTo>
                    <a:pt x="182" y="539"/>
                  </a:lnTo>
                  <a:lnTo>
                    <a:pt x="182" y="537"/>
                  </a:lnTo>
                  <a:lnTo>
                    <a:pt x="184" y="536"/>
                  </a:lnTo>
                  <a:lnTo>
                    <a:pt x="186" y="534"/>
                  </a:lnTo>
                  <a:lnTo>
                    <a:pt x="186" y="530"/>
                  </a:lnTo>
                  <a:lnTo>
                    <a:pt x="184" y="530"/>
                  </a:lnTo>
                  <a:lnTo>
                    <a:pt x="184" y="530"/>
                  </a:lnTo>
                  <a:lnTo>
                    <a:pt x="184" y="528"/>
                  </a:lnTo>
                  <a:lnTo>
                    <a:pt x="190" y="525"/>
                  </a:lnTo>
                  <a:lnTo>
                    <a:pt x="191" y="525"/>
                  </a:lnTo>
                  <a:lnTo>
                    <a:pt x="191" y="521"/>
                  </a:lnTo>
                  <a:lnTo>
                    <a:pt x="195" y="521"/>
                  </a:lnTo>
                  <a:lnTo>
                    <a:pt x="197" y="519"/>
                  </a:lnTo>
                  <a:lnTo>
                    <a:pt x="197" y="519"/>
                  </a:lnTo>
                  <a:lnTo>
                    <a:pt x="197" y="516"/>
                  </a:lnTo>
                  <a:lnTo>
                    <a:pt x="198" y="516"/>
                  </a:lnTo>
                  <a:lnTo>
                    <a:pt x="202" y="518"/>
                  </a:lnTo>
                  <a:lnTo>
                    <a:pt x="204" y="514"/>
                  </a:lnTo>
                  <a:lnTo>
                    <a:pt x="204" y="514"/>
                  </a:lnTo>
                  <a:lnTo>
                    <a:pt x="207" y="511"/>
                  </a:lnTo>
                  <a:lnTo>
                    <a:pt x="207" y="509"/>
                  </a:lnTo>
                  <a:lnTo>
                    <a:pt x="215" y="507"/>
                  </a:lnTo>
                  <a:lnTo>
                    <a:pt x="218" y="505"/>
                  </a:lnTo>
                  <a:lnTo>
                    <a:pt x="220" y="505"/>
                  </a:lnTo>
                  <a:lnTo>
                    <a:pt x="222" y="503"/>
                  </a:lnTo>
                  <a:lnTo>
                    <a:pt x="222" y="500"/>
                  </a:lnTo>
                  <a:lnTo>
                    <a:pt x="220" y="500"/>
                  </a:lnTo>
                  <a:lnTo>
                    <a:pt x="223" y="498"/>
                  </a:lnTo>
                  <a:lnTo>
                    <a:pt x="223" y="496"/>
                  </a:lnTo>
                  <a:lnTo>
                    <a:pt x="223" y="494"/>
                  </a:lnTo>
                  <a:lnTo>
                    <a:pt x="223" y="493"/>
                  </a:lnTo>
                  <a:lnTo>
                    <a:pt x="225" y="493"/>
                  </a:lnTo>
                  <a:lnTo>
                    <a:pt x="227" y="491"/>
                  </a:lnTo>
                  <a:lnTo>
                    <a:pt x="232" y="489"/>
                  </a:lnTo>
                  <a:lnTo>
                    <a:pt x="234" y="486"/>
                  </a:lnTo>
                  <a:lnTo>
                    <a:pt x="234" y="482"/>
                  </a:lnTo>
                  <a:lnTo>
                    <a:pt x="234" y="480"/>
                  </a:lnTo>
                  <a:lnTo>
                    <a:pt x="229" y="478"/>
                  </a:lnTo>
                  <a:lnTo>
                    <a:pt x="229" y="477"/>
                  </a:lnTo>
                  <a:lnTo>
                    <a:pt x="225" y="477"/>
                  </a:lnTo>
                  <a:lnTo>
                    <a:pt x="222" y="478"/>
                  </a:lnTo>
                  <a:lnTo>
                    <a:pt x="220" y="477"/>
                  </a:lnTo>
                  <a:lnTo>
                    <a:pt x="223" y="468"/>
                  </a:lnTo>
                  <a:lnTo>
                    <a:pt x="227" y="466"/>
                  </a:lnTo>
                  <a:lnTo>
                    <a:pt x="229" y="464"/>
                  </a:lnTo>
                  <a:lnTo>
                    <a:pt x="229" y="462"/>
                  </a:lnTo>
                  <a:lnTo>
                    <a:pt x="231" y="461"/>
                  </a:lnTo>
                  <a:lnTo>
                    <a:pt x="231" y="459"/>
                  </a:lnTo>
                  <a:lnTo>
                    <a:pt x="231" y="457"/>
                  </a:lnTo>
                  <a:lnTo>
                    <a:pt x="232" y="457"/>
                  </a:lnTo>
                  <a:lnTo>
                    <a:pt x="232" y="455"/>
                  </a:lnTo>
                  <a:lnTo>
                    <a:pt x="234" y="455"/>
                  </a:lnTo>
                  <a:lnTo>
                    <a:pt x="234" y="457"/>
                  </a:lnTo>
                  <a:lnTo>
                    <a:pt x="238" y="457"/>
                  </a:lnTo>
                  <a:lnTo>
                    <a:pt x="240" y="455"/>
                  </a:lnTo>
                  <a:lnTo>
                    <a:pt x="240" y="453"/>
                  </a:lnTo>
                  <a:lnTo>
                    <a:pt x="236" y="452"/>
                  </a:lnTo>
                  <a:lnTo>
                    <a:pt x="238" y="452"/>
                  </a:lnTo>
                  <a:lnTo>
                    <a:pt x="243" y="450"/>
                  </a:lnTo>
                  <a:lnTo>
                    <a:pt x="245" y="446"/>
                  </a:lnTo>
                  <a:lnTo>
                    <a:pt x="245" y="444"/>
                  </a:lnTo>
                  <a:lnTo>
                    <a:pt x="245" y="443"/>
                  </a:lnTo>
                  <a:lnTo>
                    <a:pt x="240" y="437"/>
                  </a:lnTo>
                  <a:lnTo>
                    <a:pt x="241" y="437"/>
                  </a:lnTo>
                  <a:lnTo>
                    <a:pt x="243" y="439"/>
                  </a:lnTo>
                  <a:lnTo>
                    <a:pt x="247" y="439"/>
                  </a:lnTo>
                  <a:lnTo>
                    <a:pt x="252" y="434"/>
                  </a:lnTo>
                  <a:lnTo>
                    <a:pt x="254" y="428"/>
                  </a:lnTo>
                  <a:lnTo>
                    <a:pt x="259" y="421"/>
                  </a:lnTo>
                  <a:lnTo>
                    <a:pt x="259" y="418"/>
                  </a:lnTo>
                  <a:lnTo>
                    <a:pt x="270" y="412"/>
                  </a:lnTo>
                  <a:lnTo>
                    <a:pt x="277" y="405"/>
                  </a:lnTo>
                  <a:lnTo>
                    <a:pt x="277" y="403"/>
                  </a:lnTo>
                  <a:lnTo>
                    <a:pt x="277" y="400"/>
                  </a:lnTo>
                  <a:lnTo>
                    <a:pt x="284" y="371"/>
                  </a:lnTo>
                  <a:lnTo>
                    <a:pt x="286" y="373"/>
                  </a:lnTo>
                  <a:lnTo>
                    <a:pt x="286" y="387"/>
                  </a:lnTo>
                  <a:lnTo>
                    <a:pt x="281" y="398"/>
                  </a:lnTo>
                  <a:lnTo>
                    <a:pt x="279" y="405"/>
                  </a:lnTo>
                  <a:lnTo>
                    <a:pt x="281" y="407"/>
                  </a:lnTo>
                  <a:lnTo>
                    <a:pt x="286" y="407"/>
                  </a:lnTo>
                  <a:lnTo>
                    <a:pt x="291" y="400"/>
                  </a:lnTo>
                  <a:lnTo>
                    <a:pt x="297" y="398"/>
                  </a:lnTo>
                  <a:lnTo>
                    <a:pt x="298" y="398"/>
                  </a:lnTo>
                  <a:lnTo>
                    <a:pt x="297" y="400"/>
                  </a:lnTo>
                  <a:lnTo>
                    <a:pt x="295" y="402"/>
                  </a:lnTo>
                  <a:lnTo>
                    <a:pt x="291" y="403"/>
                  </a:lnTo>
                  <a:lnTo>
                    <a:pt x="290" y="407"/>
                  </a:lnTo>
                  <a:lnTo>
                    <a:pt x="288" y="409"/>
                  </a:lnTo>
                  <a:lnTo>
                    <a:pt x="288" y="412"/>
                  </a:lnTo>
                  <a:lnTo>
                    <a:pt x="290" y="414"/>
                  </a:lnTo>
                  <a:lnTo>
                    <a:pt x="304" y="419"/>
                  </a:lnTo>
                  <a:lnTo>
                    <a:pt x="291" y="416"/>
                  </a:lnTo>
                  <a:lnTo>
                    <a:pt x="286" y="419"/>
                  </a:lnTo>
                  <a:lnTo>
                    <a:pt x="284" y="418"/>
                  </a:lnTo>
                  <a:lnTo>
                    <a:pt x="282" y="414"/>
                  </a:lnTo>
                  <a:lnTo>
                    <a:pt x="281" y="416"/>
                  </a:lnTo>
                  <a:lnTo>
                    <a:pt x="268" y="423"/>
                  </a:lnTo>
                  <a:lnTo>
                    <a:pt x="266" y="425"/>
                  </a:lnTo>
                  <a:lnTo>
                    <a:pt x="268" y="434"/>
                  </a:lnTo>
                  <a:lnTo>
                    <a:pt x="266" y="439"/>
                  </a:lnTo>
                  <a:lnTo>
                    <a:pt x="265" y="441"/>
                  </a:lnTo>
                  <a:lnTo>
                    <a:pt x="263" y="444"/>
                  </a:lnTo>
                  <a:lnTo>
                    <a:pt x="261" y="448"/>
                  </a:lnTo>
                  <a:lnTo>
                    <a:pt x="261" y="450"/>
                  </a:lnTo>
                  <a:lnTo>
                    <a:pt x="259" y="452"/>
                  </a:lnTo>
                  <a:lnTo>
                    <a:pt x="259" y="455"/>
                  </a:lnTo>
                  <a:lnTo>
                    <a:pt x="259" y="457"/>
                  </a:lnTo>
                  <a:lnTo>
                    <a:pt x="265" y="459"/>
                  </a:lnTo>
                  <a:lnTo>
                    <a:pt x="272" y="455"/>
                  </a:lnTo>
                  <a:lnTo>
                    <a:pt x="273" y="455"/>
                  </a:lnTo>
                  <a:lnTo>
                    <a:pt x="270" y="461"/>
                  </a:lnTo>
                  <a:lnTo>
                    <a:pt x="268" y="462"/>
                  </a:lnTo>
                  <a:lnTo>
                    <a:pt x="266" y="462"/>
                  </a:lnTo>
                  <a:lnTo>
                    <a:pt x="266" y="464"/>
                  </a:lnTo>
                  <a:lnTo>
                    <a:pt x="266" y="464"/>
                  </a:lnTo>
                  <a:lnTo>
                    <a:pt x="265" y="464"/>
                  </a:lnTo>
                  <a:lnTo>
                    <a:pt x="263" y="464"/>
                  </a:lnTo>
                  <a:lnTo>
                    <a:pt x="263" y="464"/>
                  </a:lnTo>
                  <a:lnTo>
                    <a:pt x="261" y="466"/>
                  </a:lnTo>
                  <a:lnTo>
                    <a:pt x="259" y="464"/>
                  </a:lnTo>
                  <a:lnTo>
                    <a:pt x="259" y="466"/>
                  </a:lnTo>
                  <a:lnTo>
                    <a:pt x="259" y="468"/>
                  </a:lnTo>
                  <a:lnTo>
                    <a:pt x="257" y="469"/>
                  </a:lnTo>
                  <a:lnTo>
                    <a:pt x="257" y="471"/>
                  </a:lnTo>
                  <a:lnTo>
                    <a:pt x="259" y="471"/>
                  </a:lnTo>
                  <a:lnTo>
                    <a:pt x="261" y="473"/>
                  </a:lnTo>
                  <a:lnTo>
                    <a:pt x="265" y="471"/>
                  </a:lnTo>
                  <a:lnTo>
                    <a:pt x="270" y="471"/>
                  </a:lnTo>
                  <a:lnTo>
                    <a:pt x="268" y="469"/>
                  </a:lnTo>
                  <a:lnTo>
                    <a:pt x="270" y="468"/>
                  </a:lnTo>
                  <a:lnTo>
                    <a:pt x="272" y="469"/>
                  </a:lnTo>
                  <a:lnTo>
                    <a:pt x="273" y="471"/>
                  </a:lnTo>
                  <a:lnTo>
                    <a:pt x="279" y="462"/>
                  </a:lnTo>
                  <a:lnTo>
                    <a:pt x="281" y="462"/>
                  </a:lnTo>
                  <a:lnTo>
                    <a:pt x="282" y="461"/>
                  </a:lnTo>
                  <a:lnTo>
                    <a:pt x="282" y="468"/>
                  </a:lnTo>
                  <a:lnTo>
                    <a:pt x="286" y="462"/>
                  </a:lnTo>
                  <a:lnTo>
                    <a:pt x="286" y="459"/>
                  </a:lnTo>
                  <a:lnTo>
                    <a:pt x="290" y="457"/>
                  </a:lnTo>
                  <a:lnTo>
                    <a:pt x="291" y="457"/>
                  </a:lnTo>
                  <a:lnTo>
                    <a:pt x="291" y="455"/>
                  </a:lnTo>
                  <a:lnTo>
                    <a:pt x="291" y="452"/>
                  </a:lnTo>
                  <a:lnTo>
                    <a:pt x="291" y="452"/>
                  </a:lnTo>
                  <a:lnTo>
                    <a:pt x="293" y="450"/>
                  </a:lnTo>
                  <a:lnTo>
                    <a:pt x="295" y="457"/>
                  </a:lnTo>
                  <a:lnTo>
                    <a:pt x="295" y="450"/>
                  </a:lnTo>
                  <a:lnTo>
                    <a:pt x="297" y="448"/>
                  </a:lnTo>
                  <a:lnTo>
                    <a:pt x="297" y="444"/>
                  </a:lnTo>
                  <a:lnTo>
                    <a:pt x="298" y="448"/>
                  </a:lnTo>
                  <a:lnTo>
                    <a:pt x="300" y="448"/>
                  </a:lnTo>
                  <a:lnTo>
                    <a:pt x="302" y="448"/>
                  </a:lnTo>
                  <a:lnTo>
                    <a:pt x="302" y="448"/>
                  </a:lnTo>
                  <a:lnTo>
                    <a:pt x="307" y="450"/>
                  </a:lnTo>
                  <a:lnTo>
                    <a:pt x="309" y="448"/>
                  </a:lnTo>
                  <a:lnTo>
                    <a:pt x="311" y="446"/>
                  </a:lnTo>
                  <a:lnTo>
                    <a:pt x="313" y="443"/>
                  </a:lnTo>
                  <a:lnTo>
                    <a:pt x="315" y="443"/>
                  </a:lnTo>
                  <a:lnTo>
                    <a:pt x="316" y="443"/>
                  </a:lnTo>
                  <a:lnTo>
                    <a:pt x="318" y="441"/>
                  </a:lnTo>
                  <a:lnTo>
                    <a:pt x="316" y="439"/>
                  </a:lnTo>
                  <a:lnTo>
                    <a:pt x="316" y="439"/>
                  </a:lnTo>
                  <a:lnTo>
                    <a:pt x="315" y="439"/>
                  </a:lnTo>
                  <a:lnTo>
                    <a:pt x="315" y="436"/>
                  </a:lnTo>
                  <a:lnTo>
                    <a:pt x="318" y="434"/>
                  </a:lnTo>
                  <a:lnTo>
                    <a:pt x="318" y="434"/>
                  </a:lnTo>
                  <a:lnTo>
                    <a:pt x="320" y="430"/>
                  </a:lnTo>
                  <a:lnTo>
                    <a:pt x="318" y="428"/>
                  </a:lnTo>
                  <a:lnTo>
                    <a:pt x="316" y="430"/>
                  </a:lnTo>
                  <a:lnTo>
                    <a:pt x="315" y="430"/>
                  </a:lnTo>
                  <a:lnTo>
                    <a:pt x="311" y="432"/>
                  </a:lnTo>
                  <a:lnTo>
                    <a:pt x="309" y="430"/>
                  </a:lnTo>
                  <a:lnTo>
                    <a:pt x="313" y="428"/>
                  </a:lnTo>
                  <a:lnTo>
                    <a:pt x="316" y="427"/>
                  </a:lnTo>
                  <a:lnTo>
                    <a:pt x="316" y="423"/>
                  </a:lnTo>
                  <a:lnTo>
                    <a:pt x="315" y="425"/>
                  </a:lnTo>
                  <a:lnTo>
                    <a:pt x="315" y="423"/>
                  </a:lnTo>
                  <a:lnTo>
                    <a:pt x="311" y="425"/>
                  </a:lnTo>
                  <a:lnTo>
                    <a:pt x="311" y="423"/>
                  </a:lnTo>
                  <a:lnTo>
                    <a:pt x="309" y="421"/>
                  </a:lnTo>
                  <a:lnTo>
                    <a:pt x="311" y="419"/>
                  </a:lnTo>
                  <a:lnTo>
                    <a:pt x="315" y="419"/>
                  </a:lnTo>
                  <a:lnTo>
                    <a:pt x="316" y="416"/>
                  </a:lnTo>
                  <a:lnTo>
                    <a:pt x="313" y="416"/>
                  </a:lnTo>
                  <a:lnTo>
                    <a:pt x="316" y="412"/>
                  </a:lnTo>
                  <a:lnTo>
                    <a:pt x="316" y="411"/>
                  </a:lnTo>
                  <a:lnTo>
                    <a:pt x="318" y="414"/>
                  </a:lnTo>
                  <a:lnTo>
                    <a:pt x="318" y="412"/>
                  </a:lnTo>
                  <a:lnTo>
                    <a:pt x="320" y="409"/>
                  </a:lnTo>
                  <a:lnTo>
                    <a:pt x="323" y="407"/>
                  </a:lnTo>
                  <a:lnTo>
                    <a:pt x="323" y="409"/>
                  </a:lnTo>
                  <a:lnTo>
                    <a:pt x="320" y="418"/>
                  </a:lnTo>
                  <a:lnTo>
                    <a:pt x="322" y="419"/>
                  </a:lnTo>
                  <a:lnTo>
                    <a:pt x="323" y="419"/>
                  </a:lnTo>
                  <a:lnTo>
                    <a:pt x="325" y="418"/>
                  </a:lnTo>
                  <a:lnTo>
                    <a:pt x="325" y="409"/>
                  </a:lnTo>
                  <a:lnTo>
                    <a:pt x="327" y="414"/>
                  </a:lnTo>
                  <a:lnTo>
                    <a:pt x="327" y="416"/>
                  </a:lnTo>
                  <a:lnTo>
                    <a:pt x="334" y="416"/>
                  </a:lnTo>
                  <a:lnTo>
                    <a:pt x="336" y="416"/>
                  </a:lnTo>
                  <a:lnTo>
                    <a:pt x="338" y="416"/>
                  </a:lnTo>
                  <a:lnTo>
                    <a:pt x="340" y="412"/>
                  </a:lnTo>
                  <a:lnTo>
                    <a:pt x="343" y="411"/>
                  </a:lnTo>
                  <a:lnTo>
                    <a:pt x="347" y="411"/>
                  </a:lnTo>
                  <a:lnTo>
                    <a:pt x="347" y="412"/>
                  </a:lnTo>
                  <a:lnTo>
                    <a:pt x="341" y="412"/>
                  </a:lnTo>
                  <a:lnTo>
                    <a:pt x="341" y="419"/>
                  </a:lnTo>
                  <a:lnTo>
                    <a:pt x="343" y="421"/>
                  </a:lnTo>
                  <a:lnTo>
                    <a:pt x="348" y="418"/>
                  </a:lnTo>
                  <a:lnTo>
                    <a:pt x="348" y="419"/>
                  </a:lnTo>
                  <a:lnTo>
                    <a:pt x="341" y="425"/>
                  </a:lnTo>
                  <a:lnTo>
                    <a:pt x="345" y="425"/>
                  </a:lnTo>
                  <a:lnTo>
                    <a:pt x="350" y="421"/>
                  </a:lnTo>
                  <a:lnTo>
                    <a:pt x="352" y="421"/>
                  </a:lnTo>
                  <a:lnTo>
                    <a:pt x="347" y="427"/>
                  </a:lnTo>
                  <a:lnTo>
                    <a:pt x="352" y="425"/>
                  </a:lnTo>
                  <a:lnTo>
                    <a:pt x="354" y="427"/>
                  </a:lnTo>
                  <a:lnTo>
                    <a:pt x="356" y="427"/>
                  </a:lnTo>
                  <a:lnTo>
                    <a:pt x="357" y="427"/>
                  </a:lnTo>
                  <a:lnTo>
                    <a:pt x="354" y="430"/>
                  </a:lnTo>
                  <a:lnTo>
                    <a:pt x="357" y="430"/>
                  </a:lnTo>
                  <a:lnTo>
                    <a:pt x="361" y="436"/>
                  </a:lnTo>
                  <a:lnTo>
                    <a:pt x="363" y="437"/>
                  </a:lnTo>
                  <a:lnTo>
                    <a:pt x="365" y="437"/>
                  </a:lnTo>
                  <a:lnTo>
                    <a:pt x="365" y="436"/>
                  </a:lnTo>
                  <a:lnTo>
                    <a:pt x="366" y="434"/>
                  </a:lnTo>
                  <a:lnTo>
                    <a:pt x="366" y="434"/>
                  </a:lnTo>
                  <a:lnTo>
                    <a:pt x="366" y="432"/>
                  </a:lnTo>
                  <a:lnTo>
                    <a:pt x="368" y="432"/>
                  </a:lnTo>
                  <a:lnTo>
                    <a:pt x="370" y="434"/>
                  </a:lnTo>
                  <a:lnTo>
                    <a:pt x="370" y="436"/>
                  </a:lnTo>
                  <a:lnTo>
                    <a:pt x="370" y="437"/>
                  </a:lnTo>
                  <a:lnTo>
                    <a:pt x="373" y="439"/>
                  </a:lnTo>
                  <a:lnTo>
                    <a:pt x="373" y="441"/>
                  </a:lnTo>
                  <a:lnTo>
                    <a:pt x="375" y="441"/>
                  </a:lnTo>
                  <a:lnTo>
                    <a:pt x="375" y="441"/>
                  </a:lnTo>
                  <a:lnTo>
                    <a:pt x="379" y="441"/>
                  </a:lnTo>
                  <a:lnTo>
                    <a:pt x="379" y="441"/>
                  </a:lnTo>
                  <a:lnTo>
                    <a:pt x="381" y="443"/>
                  </a:lnTo>
                  <a:lnTo>
                    <a:pt x="382" y="444"/>
                  </a:lnTo>
                  <a:lnTo>
                    <a:pt x="382" y="446"/>
                  </a:lnTo>
                  <a:lnTo>
                    <a:pt x="382" y="446"/>
                  </a:lnTo>
                  <a:lnTo>
                    <a:pt x="384" y="448"/>
                  </a:lnTo>
                  <a:lnTo>
                    <a:pt x="386" y="448"/>
                  </a:lnTo>
                  <a:lnTo>
                    <a:pt x="390" y="446"/>
                  </a:lnTo>
                  <a:lnTo>
                    <a:pt x="400" y="446"/>
                  </a:lnTo>
                  <a:lnTo>
                    <a:pt x="400" y="444"/>
                  </a:lnTo>
                  <a:lnTo>
                    <a:pt x="404" y="446"/>
                  </a:lnTo>
                  <a:lnTo>
                    <a:pt x="404" y="444"/>
                  </a:lnTo>
                  <a:lnTo>
                    <a:pt x="407" y="444"/>
                  </a:lnTo>
                  <a:lnTo>
                    <a:pt x="409" y="446"/>
                  </a:lnTo>
                  <a:lnTo>
                    <a:pt x="422" y="448"/>
                  </a:lnTo>
                  <a:lnTo>
                    <a:pt x="425" y="446"/>
                  </a:lnTo>
                  <a:lnTo>
                    <a:pt x="427" y="448"/>
                  </a:lnTo>
                  <a:lnTo>
                    <a:pt x="427" y="448"/>
                  </a:lnTo>
                  <a:lnTo>
                    <a:pt x="425" y="450"/>
                  </a:lnTo>
                  <a:lnTo>
                    <a:pt x="425" y="450"/>
                  </a:lnTo>
                  <a:lnTo>
                    <a:pt x="432" y="453"/>
                  </a:lnTo>
                  <a:lnTo>
                    <a:pt x="443" y="457"/>
                  </a:lnTo>
                  <a:lnTo>
                    <a:pt x="448" y="453"/>
                  </a:lnTo>
                  <a:lnTo>
                    <a:pt x="454" y="448"/>
                  </a:lnTo>
                  <a:lnTo>
                    <a:pt x="454" y="446"/>
                  </a:lnTo>
                  <a:lnTo>
                    <a:pt x="456" y="444"/>
                  </a:lnTo>
                  <a:lnTo>
                    <a:pt x="461" y="452"/>
                  </a:lnTo>
                  <a:lnTo>
                    <a:pt x="465" y="452"/>
                  </a:lnTo>
                  <a:lnTo>
                    <a:pt x="463" y="452"/>
                  </a:lnTo>
                  <a:lnTo>
                    <a:pt x="461" y="453"/>
                  </a:lnTo>
                  <a:lnTo>
                    <a:pt x="461" y="461"/>
                  </a:lnTo>
                  <a:lnTo>
                    <a:pt x="461" y="461"/>
                  </a:lnTo>
                  <a:lnTo>
                    <a:pt x="459" y="461"/>
                  </a:lnTo>
                  <a:lnTo>
                    <a:pt x="459" y="455"/>
                  </a:lnTo>
                  <a:lnTo>
                    <a:pt x="459" y="453"/>
                  </a:lnTo>
                  <a:lnTo>
                    <a:pt x="459" y="450"/>
                  </a:lnTo>
                  <a:lnTo>
                    <a:pt x="457" y="448"/>
                  </a:lnTo>
                  <a:lnTo>
                    <a:pt x="457" y="448"/>
                  </a:lnTo>
                  <a:lnTo>
                    <a:pt x="456" y="450"/>
                  </a:lnTo>
                  <a:lnTo>
                    <a:pt x="456" y="452"/>
                  </a:lnTo>
                  <a:lnTo>
                    <a:pt x="456" y="455"/>
                  </a:lnTo>
                  <a:lnTo>
                    <a:pt x="456" y="455"/>
                  </a:lnTo>
                  <a:lnTo>
                    <a:pt x="456" y="457"/>
                  </a:lnTo>
                  <a:lnTo>
                    <a:pt x="456" y="461"/>
                  </a:lnTo>
                  <a:lnTo>
                    <a:pt x="454" y="461"/>
                  </a:lnTo>
                  <a:lnTo>
                    <a:pt x="452" y="462"/>
                  </a:lnTo>
                  <a:lnTo>
                    <a:pt x="452" y="464"/>
                  </a:lnTo>
                  <a:lnTo>
                    <a:pt x="457" y="466"/>
                  </a:lnTo>
                  <a:lnTo>
                    <a:pt x="457" y="466"/>
                  </a:lnTo>
                  <a:lnTo>
                    <a:pt x="459" y="468"/>
                  </a:lnTo>
                  <a:lnTo>
                    <a:pt x="461" y="468"/>
                  </a:lnTo>
                  <a:lnTo>
                    <a:pt x="461" y="468"/>
                  </a:lnTo>
                  <a:lnTo>
                    <a:pt x="461" y="468"/>
                  </a:lnTo>
                  <a:lnTo>
                    <a:pt x="466" y="471"/>
                  </a:lnTo>
                  <a:lnTo>
                    <a:pt x="470" y="475"/>
                  </a:lnTo>
                  <a:lnTo>
                    <a:pt x="470" y="473"/>
                  </a:lnTo>
                  <a:lnTo>
                    <a:pt x="472" y="473"/>
                  </a:lnTo>
                  <a:lnTo>
                    <a:pt x="475" y="473"/>
                  </a:lnTo>
                  <a:lnTo>
                    <a:pt x="475" y="471"/>
                  </a:lnTo>
                  <a:lnTo>
                    <a:pt x="475" y="469"/>
                  </a:lnTo>
                  <a:lnTo>
                    <a:pt x="475" y="466"/>
                  </a:lnTo>
                  <a:lnTo>
                    <a:pt x="475" y="466"/>
                  </a:lnTo>
                  <a:lnTo>
                    <a:pt x="477" y="468"/>
                  </a:lnTo>
                  <a:lnTo>
                    <a:pt x="477" y="466"/>
                  </a:lnTo>
                  <a:lnTo>
                    <a:pt x="461" y="446"/>
                  </a:lnTo>
                  <a:lnTo>
                    <a:pt x="463" y="446"/>
                  </a:lnTo>
                  <a:lnTo>
                    <a:pt x="463" y="437"/>
                  </a:lnTo>
                  <a:lnTo>
                    <a:pt x="454" y="437"/>
                  </a:lnTo>
                  <a:lnTo>
                    <a:pt x="450" y="443"/>
                  </a:lnTo>
                  <a:lnTo>
                    <a:pt x="448" y="441"/>
                  </a:lnTo>
                  <a:lnTo>
                    <a:pt x="443" y="439"/>
                  </a:lnTo>
                  <a:lnTo>
                    <a:pt x="440" y="441"/>
                  </a:lnTo>
                  <a:lnTo>
                    <a:pt x="434" y="437"/>
                  </a:lnTo>
                  <a:lnTo>
                    <a:pt x="434" y="428"/>
                  </a:lnTo>
                </a:path>
              </a:pathLst>
            </a:custGeom>
            <a:solidFill>
              <a:schemeClr val="bg1">
                <a:lumMod val="85000"/>
              </a:schemeClr>
            </a:solidFill>
            <a:ln w="3175">
              <a:solidFill>
                <a:schemeClr val="bg1"/>
              </a:solidFill>
              <a:prstDash val="solid"/>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sp>
          <p:nvSpPr>
            <p:cNvPr id="288" name="Freeform 3467"/>
            <p:cNvSpPr>
              <a:spLocks/>
            </p:cNvSpPr>
            <p:nvPr/>
          </p:nvSpPr>
          <p:spPr bwMode="auto">
            <a:xfrm>
              <a:off x="6504034" y="3784680"/>
              <a:ext cx="86939" cy="32200"/>
            </a:xfrm>
            <a:custGeom>
              <a:avLst/>
              <a:gdLst>
                <a:gd name="T0" fmla="*/ 0 w 54"/>
                <a:gd name="T1" fmla="*/ 18 h 20"/>
                <a:gd name="T2" fmla="*/ 0 w 54"/>
                <a:gd name="T3" fmla="*/ 18 h 20"/>
                <a:gd name="T4" fmla="*/ 2 w 54"/>
                <a:gd name="T5" fmla="*/ 18 h 20"/>
                <a:gd name="T6" fmla="*/ 5 w 54"/>
                <a:gd name="T7" fmla="*/ 20 h 20"/>
                <a:gd name="T8" fmla="*/ 11 w 54"/>
                <a:gd name="T9" fmla="*/ 16 h 20"/>
                <a:gd name="T10" fmla="*/ 11 w 54"/>
                <a:gd name="T11" fmla="*/ 14 h 20"/>
                <a:gd name="T12" fmla="*/ 13 w 54"/>
                <a:gd name="T13" fmla="*/ 11 h 20"/>
                <a:gd name="T14" fmla="*/ 13 w 54"/>
                <a:gd name="T15" fmla="*/ 11 h 20"/>
                <a:gd name="T16" fmla="*/ 14 w 54"/>
                <a:gd name="T17" fmla="*/ 4 h 20"/>
                <a:gd name="T18" fmla="*/ 16 w 54"/>
                <a:gd name="T19" fmla="*/ 0 h 20"/>
                <a:gd name="T20" fmla="*/ 20 w 54"/>
                <a:gd name="T21" fmla="*/ 0 h 20"/>
                <a:gd name="T22" fmla="*/ 22 w 54"/>
                <a:gd name="T23" fmla="*/ 0 h 20"/>
                <a:gd name="T24" fmla="*/ 22 w 54"/>
                <a:gd name="T25" fmla="*/ 0 h 20"/>
                <a:gd name="T26" fmla="*/ 27 w 54"/>
                <a:gd name="T27" fmla="*/ 0 h 20"/>
                <a:gd name="T28" fmla="*/ 32 w 54"/>
                <a:gd name="T29" fmla="*/ 2 h 20"/>
                <a:gd name="T30" fmla="*/ 36 w 54"/>
                <a:gd name="T31" fmla="*/ 4 h 20"/>
                <a:gd name="T32" fmla="*/ 36 w 54"/>
                <a:gd name="T33" fmla="*/ 4 h 20"/>
                <a:gd name="T34" fmla="*/ 38 w 54"/>
                <a:gd name="T35" fmla="*/ 7 h 20"/>
                <a:gd name="T36" fmla="*/ 41 w 54"/>
                <a:gd name="T37" fmla="*/ 9 h 20"/>
                <a:gd name="T38" fmla="*/ 45 w 54"/>
                <a:gd name="T39" fmla="*/ 9 h 20"/>
                <a:gd name="T40" fmla="*/ 47 w 54"/>
                <a:gd name="T41" fmla="*/ 7 h 20"/>
                <a:gd name="T42" fmla="*/ 47 w 54"/>
                <a:gd name="T43" fmla="*/ 7 h 20"/>
                <a:gd name="T44" fmla="*/ 48 w 54"/>
                <a:gd name="T45" fmla="*/ 7 h 20"/>
                <a:gd name="T46" fmla="*/ 50 w 54"/>
                <a:gd name="T47" fmla="*/ 7 h 20"/>
                <a:gd name="T48" fmla="*/ 52 w 54"/>
                <a:gd name="T49" fmla="*/ 9 h 20"/>
                <a:gd name="T50" fmla="*/ 54 w 54"/>
                <a:gd name="T51" fmla="*/ 1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20">
                  <a:moveTo>
                    <a:pt x="0" y="18"/>
                  </a:moveTo>
                  <a:lnTo>
                    <a:pt x="0" y="18"/>
                  </a:lnTo>
                  <a:lnTo>
                    <a:pt x="2" y="18"/>
                  </a:lnTo>
                  <a:lnTo>
                    <a:pt x="5" y="20"/>
                  </a:lnTo>
                  <a:lnTo>
                    <a:pt x="11" y="16"/>
                  </a:lnTo>
                  <a:lnTo>
                    <a:pt x="11" y="14"/>
                  </a:lnTo>
                  <a:lnTo>
                    <a:pt x="13" y="11"/>
                  </a:lnTo>
                  <a:lnTo>
                    <a:pt x="13" y="11"/>
                  </a:lnTo>
                  <a:lnTo>
                    <a:pt x="14" y="4"/>
                  </a:lnTo>
                  <a:lnTo>
                    <a:pt x="16" y="0"/>
                  </a:lnTo>
                  <a:lnTo>
                    <a:pt x="20" y="0"/>
                  </a:lnTo>
                  <a:lnTo>
                    <a:pt x="22" y="0"/>
                  </a:lnTo>
                  <a:lnTo>
                    <a:pt x="22" y="0"/>
                  </a:lnTo>
                  <a:lnTo>
                    <a:pt x="27" y="0"/>
                  </a:lnTo>
                  <a:lnTo>
                    <a:pt x="32" y="2"/>
                  </a:lnTo>
                  <a:lnTo>
                    <a:pt x="36" y="4"/>
                  </a:lnTo>
                  <a:lnTo>
                    <a:pt x="36" y="4"/>
                  </a:lnTo>
                  <a:lnTo>
                    <a:pt x="38" y="7"/>
                  </a:lnTo>
                  <a:lnTo>
                    <a:pt x="41" y="9"/>
                  </a:lnTo>
                  <a:lnTo>
                    <a:pt x="45" y="9"/>
                  </a:lnTo>
                  <a:lnTo>
                    <a:pt x="47" y="7"/>
                  </a:lnTo>
                  <a:lnTo>
                    <a:pt x="47" y="7"/>
                  </a:lnTo>
                  <a:lnTo>
                    <a:pt x="48" y="7"/>
                  </a:lnTo>
                  <a:lnTo>
                    <a:pt x="50" y="7"/>
                  </a:lnTo>
                  <a:lnTo>
                    <a:pt x="52" y="9"/>
                  </a:lnTo>
                  <a:lnTo>
                    <a:pt x="54" y="11"/>
                  </a:lnTo>
                </a:path>
              </a:pathLst>
            </a:custGeom>
            <a:solidFill>
              <a:schemeClr val="bg1">
                <a:lumMod val="85000"/>
              </a:schemeClr>
            </a:solidFill>
            <a:ln w="3175">
              <a:solidFill>
                <a:schemeClr val="bg1"/>
              </a:solidFill>
              <a:prstDash val="sysDash"/>
              <a:round/>
              <a:headEnd/>
              <a:tailEnd/>
            </a:ln>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en-US" sz="1662">
                <a:solidFill>
                  <a:srgbClr val="021631"/>
                </a:solidFill>
                <a:latin typeface="Calibri"/>
                <a:ea typeface="+mn-ea"/>
              </a:endParaRPr>
            </a:p>
          </p:txBody>
        </p:sp>
      </p:grpSp>
      <p:grpSp>
        <p:nvGrpSpPr>
          <p:cNvPr id="53" name="Group 52"/>
          <p:cNvGrpSpPr/>
          <p:nvPr/>
        </p:nvGrpSpPr>
        <p:grpSpPr>
          <a:xfrm>
            <a:off x="2470130" y="1108952"/>
            <a:ext cx="1193163" cy="1521628"/>
            <a:chOff x="3830910" y="1026182"/>
            <a:chExt cx="1400309" cy="1648430"/>
          </a:xfrm>
        </p:grpSpPr>
        <p:sp>
          <p:nvSpPr>
            <p:cNvPr id="50" name="Rounded Rectangle 49"/>
            <p:cNvSpPr/>
            <p:nvPr/>
          </p:nvSpPr>
          <p:spPr>
            <a:xfrm>
              <a:off x="3830910" y="1026182"/>
              <a:ext cx="1400309" cy="1648430"/>
            </a:xfrm>
            <a:prstGeom prst="roundRect">
              <a:avLst/>
            </a:prstGeom>
            <a:solidFill>
              <a:schemeClr val="bg1"/>
            </a:solidFill>
            <a:ln w="25400"/>
          </p:spPr>
          <p:style>
            <a:lnRef idx="1">
              <a:schemeClr val="accent1"/>
            </a:lnRef>
            <a:fillRef idx="3">
              <a:schemeClr val="accent1"/>
            </a:fillRef>
            <a:effectRef idx="2">
              <a:schemeClr val="accent1"/>
            </a:effectRef>
            <a:fontRef idx="minor">
              <a:schemeClr val="lt1"/>
            </a:fontRef>
          </p:style>
          <p:txBody>
            <a:bodyPr rtlCol="0" anchor="ctr"/>
            <a:lstStyle/>
            <a:p>
              <a:pPr algn="ctr" defTabSz="422041" eaLnBrk="1" fontAlgn="auto" hangingPunct="1">
                <a:spcBef>
                  <a:spcPts val="0"/>
                </a:spcBef>
                <a:spcAft>
                  <a:spcPts val="0"/>
                </a:spcAft>
                <a:defRPr/>
              </a:pPr>
              <a:endParaRPr lang="en-US" sz="1662">
                <a:solidFill>
                  <a:srgbClr val="FFFFFF"/>
                </a:solidFill>
              </a:endParaRPr>
            </a:p>
          </p:txBody>
        </p:sp>
        <p:sp>
          <p:nvSpPr>
            <p:cNvPr id="9" name="Rechteck 8"/>
            <p:cNvSpPr/>
            <p:nvPr/>
          </p:nvSpPr>
          <p:spPr bwMode="auto">
            <a:xfrm>
              <a:off x="4086343" y="1074176"/>
              <a:ext cx="755483" cy="248236"/>
            </a:xfrm>
            <a:prstGeom prst="rect">
              <a:avLst/>
            </a:prstGeom>
            <a:solidFill>
              <a:schemeClr val="bg1"/>
            </a:solidFill>
            <a:ln w="6350" cap="flat" cmpd="sng" algn="ctr">
              <a:noFill/>
              <a:prstDash val="solid"/>
              <a:round/>
              <a:headEnd type="none" w="med" len="med"/>
              <a:tailEnd type="none" w="med" len="med"/>
            </a:ln>
            <a:effectLst/>
            <a:extLst/>
          </p:spPr>
          <p:txBody>
            <a:bodyPr vert="horz" wrap="none" lIns="83077" tIns="43200" rIns="83077" bIns="43200" numCol="1" rtlCol="0" anchor="ctr" anchorCtr="0" compatLnSpc="1">
              <a:prstTxWarp prst="textNoShape">
                <a:avLst/>
              </a:prstTxWarp>
            </a:bodyPr>
            <a:lstStyle/>
            <a:p>
              <a:pPr defTabSz="422041" eaLnBrk="1" fontAlgn="auto" hangingPunct="1">
                <a:spcBef>
                  <a:spcPts val="0"/>
                </a:spcBef>
                <a:spcAft>
                  <a:spcPts val="0"/>
                </a:spcAft>
                <a:buClr>
                  <a:srgbClr val="444D54"/>
                </a:buClr>
                <a:defRPr/>
              </a:pPr>
              <a:r>
                <a:rPr lang="de-DE" sz="1292" b="1" dirty="0">
                  <a:solidFill>
                    <a:srgbClr val="E9EAED">
                      <a:lumMod val="10000"/>
                    </a:srgbClr>
                  </a:solidFill>
                  <a:latin typeface="Calibri"/>
                  <a:ea typeface="+mn-ea"/>
                </a:rPr>
                <a:t>ZAMBIA</a:t>
              </a:r>
            </a:p>
          </p:txBody>
        </p:sp>
        <p:grpSp>
          <p:nvGrpSpPr>
            <p:cNvPr id="10" name="Gruppieren 9"/>
            <p:cNvGrpSpPr/>
            <p:nvPr/>
          </p:nvGrpSpPr>
          <p:grpSpPr>
            <a:xfrm>
              <a:off x="3956816" y="1378130"/>
              <a:ext cx="1250335" cy="908312"/>
              <a:chOff x="2110305" y="2563838"/>
              <a:chExt cx="1035102" cy="359782"/>
            </a:xfrm>
            <a:gradFill>
              <a:gsLst>
                <a:gs pos="50000">
                  <a:schemeClr val="accent1">
                    <a:tint val="44500"/>
                    <a:satMod val="160000"/>
                  </a:schemeClr>
                </a:gs>
                <a:gs pos="100000">
                  <a:schemeClr val="accent1">
                    <a:tint val="23500"/>
                    <a:satMod val="160000"/>
                  </a:schemeClr>
                </a:gs>
              </a:gsLst>
              <a:lin ang="5400000" scaled="0"/>
            </a:gradFill>
          </p:grpSpPr>
          <p:pic>
            <p:nvPicPr>
              <p:cNvPr id="11" name="Picture 6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125392" y="2575322"/>
                <a:ext cx="315090" cy="156853"/>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2" name="Picture 70"/>
              <p:cNvPicPr>
                <a:picLocks noChangeAspect="1" noChangeArrowheads="1"/>
              </p:cNvPicPr>
              <p:nvPr/>
            </p:nvPicPr>
            <p:blipFill>
              <a:blip r:embed="rId4" cstate="print">
                <a:clrChange>
                  <a:clrFrom>
                    <a:srgbClr val="000000">
                      <a:alpha val="0"/>
                    </a:srgbClr>
                  </a:clrFrom>
                  <a:clrTo>
                    <a:srgbClr val="000000">
                      <a:alpha val="0"/>
                    </a:srgbClr>
                  </a:clrTo>
                </a:clrChange>
                <a:extLst>
                  <a:ext uri="{BEBA8EAE-BF5A-486C-A8C5-ECC9F3942E4B}">
                    <a14:imgProps xmlns:a14="http://schemas.microsoft.com/office/drawing/2010/main">
                      <a14:imgLayer r:embed="rId5">
                        <a14:imgEffect>
                          <a14:backgroundRemoval t="709" b="89362" l="9023" r="91729"/>
                        </a14:imgEffect>
                      </a14:imgLayer>
                    </a14:imgProps>
                  </a:ext>
                  <a:ext uri="{28A0092B-C50C-407E-A947-70E740481C1C}">
                    <a14:useLocalDpi xmlns:a14="http://schemas.microsoft.com/office/drawing/2010/main" val="0"/>
                  </a:ext>
                </a:extLst>
              </a:blip>
              <a:srcRect/>
              <a:stretch>
                <a:fillRect/>
              </a:stretch>
            </p:blipFill>
            <p:spPr bwMode="auto">
              <a:xfrm>
                <a:off x="2472049" y="2573328"/>
                <a:ext cx="334264" cy="195924"/>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3" name="Grafik 77" descr="http://www.greenpop.org/wp-content/uploads/2013/05/National-Heritage-Conservation-Commission-Zambia-logo.jpg"/>
              <p:cNvPicPr>
                <a:picLocks noChangeAspect="1"/>
              </p:cNvPicPr>
              <p:nvPr/>
            </p:nvPicPr>
            <p:blipFill>
              <a:blip r:embed="rId6" cstate="email">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a:fillRect/>
              </a:stretch>
            </p:blipFill>
            <p:spPr bwMode="auto">
              <a:xfrm>
                <a:off x="2814755" y="2777340"/>
                <a:ext cx="330652" cy="146280"/>
              </a:xfrm>
              <a:prstGeom prst="rect">
                <a:avLst/>
              </a:prstGeom>
              <a:grpFill/>
              <a:ln>
                <a:noFill/>
              </a:ln>
            </p:spPr>
          </p:pic>
          <p:pic>
            <p:nvPicPr>
              <p:cNvPr id="14" name="Grafik 78" descr="Coat of arms of Ndola"/>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2110305" y="2744786"/>
                <a:ext cx="330178" cy="176094"/>
              </a:xfrm>
              <a:prstGeom prst="rect">
                <a:avLst/>
              </a:prstGeom>
              <a:grpFill/>
              <a:ln>
                <a:noFill/>
              </a:ln>
            </p:spPr>
          </p:pic>
          <p:pic>
            <p:nvPicPr>
              <p:cNvPr id="15" name="Grafik 69" descr="http://www.fingertec.com/newsletter/Nov2012/images/gh01/01.jpg"/>
              <p:cNvPicPr/>
              <p:nvPr/>
            </p:nvPicPr>
            <p:blipFill rotWithShape="1">
              <a:blip r:embed="rId8" cstate="email">
                <a:extLst>
                  <a:ext uri="{28A0092B-C50C-407E-A947-70E740481C1C}">
                    <a14:useLocalDpi xmlns:a14="http://schemas.microsoft.com/office/drawing/2010/main"/>
                  </a:ext>
                </a:extLst>
              </a:blip>
              <a:srcRect/>
              <a:stretch/>
            </p:blipFill>
            <p:spPr bwMode="auto">
              <a:xfrm>
                <a:off x="2842969" y="2563838"/>
                <a:ext cx="274224" cy="195925"/>
              </a:xfrm>
              <a:prstGeom prst="rect">
                <a:avLst/>
              </a:prstGeom>
              <a:grpFill/>
              <a:ln>
                <a:noFill/>
              </a:ln>
              <a:extLst>
                <a:ext uri="{53640926-AAD7-44D8-BBD7-CCE9431645EC}">
                  <a14:shadowObscured xmlns:a14="http://schemas.microsoft.com/office/drawing/2010/main"/>
                </a:ext>
              </a:extLst>
            </p:spPr>
          </p:pic>
        </p:grpSp>
      </p:grpSp>
      <p:grpSp>
        <p:nvGrpSpPr>
          <p:cNvPr id="162" name="Group 161"/>
          <p:cNvGrpSpPr/>
          <p:nvPr/>
        </p:nvGrpSpPr>
        <p:grpSpPr>
          <a:xfrm>
            <a:off x="6872082" y="2944406"/>
            <a:ext cx="1845186" cy="1561182"/>
            <a:chOff x="7692027" y="2809463"/>
            <a:chExt cx="2165530" cy="1691281"/>
          </a:xfrm>
        </p:grpSpPr>
        <p:sp>
          <p:nvSpPr>
            <p:cNvPr id="26" name="Rounded Rectangle 25"/>
            <p:cNvSpPr/>
            <p:nvPr/>
          </p:nvSpPr>
          <p:spPr>
            <a:xfrm>
              <a:off x="7692027" y="2809463"/>
              <a:ext cx="2165530" cy="1691281"/>
            </a:xfrm>
            <a:prstGeom prst="roundRect">
              <a:avLst/>
            </a:prstGeom>
            <a:solidFill>
              <a:schemeClr val="bg1"/>
            </a:solidFill>
            <a:ln w="25400"/>
          </p:spPr>
          <p:style>
            <a:lnRef idx="1">
              <a:schemeClr val="accent1"/>
            </a:lnRef>
            <a:fillRef idx="3">
              <a:schemeClr val="accent1"/>
            </a:fillRef>
            <a:effectRef idx="2">
              <a:schemeClr val="accent1"/>
            </a:effectRef>
            <a:fontRef idx="minor">
              <a:schemeClr val="lt1"/>
            </a:fontRef>
          </p:style>
          <p:txBody>
            <a:bodyPr rtlCol="0" anchor="ctr"/>
            <a:lstStyle/>
            <a:p>
              <a:pPr algn="ctr" defTabSz="422041" eaLnBrk="1" fontAlgn="auto" hangingPunct="1">
                <a:spcBef>
                  <a:spcPts val="0"/>
                </a:spcBef>
                <a:spcAft>
                  <a:spcPts val="0"/>
                </a:spcAft>
                <a:defRPr/>
              </a:pPr>
              <a:endParaRPr lang="en-US" sz="1662">
                <a:solidFill>
                  <a:srgbClr val="FFFFFF"/>
                </a:solidFill>
              </a:endParaRPr>
            </a:p>
          </p:txBody>
        </p:sp>
        <p:grpSp>
          <p:nvGrpSpPr>
            <p:cNvPr id="27" name="Group 26"/>
            <p:cNvGrpSpPr/>
            <p:nvPr/>
          </p:nvGrpSpPr>
          <p:grpSpPr>
            <a:xfrm>
              <a:off x="7801437" y="2881893"/>
              <a:ext cx="2004333" cy="1564762"/>
              <a:chOff x="7652984" y="2887247"/>
              <a:chExt cx="2004333" cy="1564762"/>
            </a:xfrm>
          </p:grpSpPr>
          <p:grpSp>
            <p:nvGrpSpPr>
              <p:cNvPr id="68" name="Group 148"/>
              <p:cNvGrpSpPr/>
              <p:nvPr/>
            </p:nvGrpSpPr>
            <p:grpSpPr>
              <a:xfrm>
                <a:off x="7652984" y="2887247"/>
                <a:ext cx="1876316" cy="1117478"/>
                <a:chOff x="7737406" y="3870344"/>
                <a:chExt cx="1557473" cy="898599"/>
              </a:xfrm>
            </p:grpSpPr>
            <p:pic>
              <p:nvPicPr>
                <p:cNvPr id="69" name="Grafik 76"/>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7737406" y="3993971"/>
                  <a:ext cx="431429" cy="366715"/>
                </a:xfrm>
                <a:prstGeom prst="rect">
                  <a:avLst/>
                </a:prstGeom>
                <a:solidFill>
                  <a:schemeClr val="bg1"/>
                </a:solidFill>
              </p:spPr>
            </p:pic>
            <p:pic>
              <p:nvPicPr>
                <p:cNvPr id="71" name="Grafik 71" descr="http://www.nipefagio.com/ckfinder/userfiles/images/Nipe-Fagio-Logo-CMYK-sml.jpg"/>
                <p:cNvPicPr/>
                <p:nvPr/>
              </p:nvPicPr>
              <p:blipFill>
                <a:blip r:embed="rId10" cstate="email">
                  <a:extLst>
                    <a:ext uri="{28A0092B-C50C-407E-A947-70E740481C1C}">
                      <a14:useLocalDpi xmlns:a14="http://schemas.microsoft.com/office/drawing/2010/main"/>
                    </a:ext>
                  </a:extLst>
                </a:blip>
                <a:srcRect/>
                <a:stretch>
                  <a:fillRect/>
                </a:stretch>
              </p:blipFill>
              <p:spPr bwMode="auto">
                <a:xfrm>
                  <a:off x="8849546" y="4219410"/>
                  <a:ext cx="445333" cy="300000"/>
                </a:xfrm>
                <a:prstGeom prst="rect">
                  <a:avLst/>
                </a:prstGeom>
                <a:noFill/>
                <a:ln>
                  <a:noFill/>
                </a:ln>
              </p:spPr>
            </p:pic>
            <p:pic>
              <p:nvPicPr>
                <p:cNvPr id="72" name="Picture 8"/>
                <p:cNvPicPr>
                  <a:picLocks noChangeAspect="1" noChangeArrowheads="1"/>
                </p:cNvPicPr>
                <p:nvPr/>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t="6999"/>
                <a:stretch/>
              </p:blipFill>
              <p:spPr bwMode="auto">
                <a:xfrm>
                  <a:off x="7777644" y="4392839"/>
                  <a:ext cx="350953" cy="376104"/>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sp>
              <p:nvSpPr>
                <p:cNvPr id="73" name="TextBox 154"/>
                <p:cNvSpPr txBox="1"/>
                <p:nvPr/>
              </p:nvSpPr>
              <p:spPr>
                <a:xfrm>
                  <a:off x="8175865" y="3870344"/>
                  <a:ext cx="878623" cy="173215"/>
                </a:xfrm>
                <a:prstGeom prst="rect">
                  <a:avLst/>
                </a:prstGeom>
                <a:solidFill>
                  <a:schemeClr val="bg1"/>
                </a:solidFill>
              </p:spPr>
              <p:txBody>
                <a:bodyPr wrap="square" tIns="0" bIns="0" rtlCol="0">
                  <a:spAutoFit/>
                </a:bodyPr>
                <a:lstStyle/>
                <a:p>
                  <a:pPr defTabSz="422041" eaLnBrk="1" fontAlgn="auto" hangingPunct="1">
                    <a:spcBef>
                      <a:spcPts val="0"/>
                    </a:spcBef>
                    <a:spcAft>
                      <a:spcPts val="0"/>
                    </a:spcAft>
                    <a:buClr>
                      <a:srgbClr val="444D54"/>
                    </a:buClr>
                    <a:defRPr/>
                  </a:pPr>
                  <a:r>
                    <a:rPr lang="en-US" sz="1292" b="1" dirty="0">
                      <a:solidFill>
                        <a:srgbClr val="E9EAED">
                          <a:lumMod val="10000"/>
                        </a:srgbClr>
                      </a:solidFill>
                      <a:latin typeface="Calibri"/>
                      <a:ea typeface="+mn-ea"/>
                    </a:rPr>
                    <a:t>TANZANIA</a:t>
                  </a:r>
                </a:p>
              </p:txBody>
            </p:sp>
          </p:grpSp>
          <p:pic>
            <p:nvPicPr>
              <p:cNvPr id="63" name="Grafik 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291754" y="3108399"/>
                <a:ext cx="689673" cy="134410"/>
              </a:xfrm>
              <a:prstGeom prst="rect">
                <a:avLst/>
              </a:prstGeom>
              <a:noFill/>
              <a:ln>
                <a:noFill/>
              </a:ln>
            </p:spPr>
          </p:pic>
          <p:pic>
            <p:nvPicPr>
              <p:cNvPr id="64" name="Grafik 13"/>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715054" y="4042477"/>
                <a:ext cx="420243" cy="409532"/>
              </a:xfrm>
              <a:prstGeom prst="rect">
                <a:avLst/>
              </a:prstGeom>
              <a:noFill/>
            </p:spPr>
          </p:pic>
          <p:pic>
            <p:nvPicPr>
              <p:cNvPr id="65" name="Grafik 2" descr="Ruvuma Basin"/>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271478" y="3284200"/>
                <a:ext cx="482343" cy="354916"/>
              </a:xfrm>
              <a:prstGeom prst="rect">
                <a:avLst/>
              </a:prstGeom>
              <a:noFill/>
              <a:ln>
                <a:noFill/>
              </a:ln>
            </p:spPr>
          </p:pic>
          <p:pic>
            <p:nvPicPr>
              <p:cNvPr id="66" name="Grafik 6" descr="C:\Users\UserLA2983\Desktop\! IWASP\Mlalakwa River Restoration Project\PR - Information Material\Logos Partner\BORDA\BORDA logo neu_Stand 0103.jpg"/>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094100" y="3074189"/>
                <a:ext cx="549192" cy="201615"/>
              </a:xfrm>
              <a:prstGeom prst="rect">
                <a:avLst/>
              </a:prstGeom>
              <a:noFill/>
              <a:ln>
                <a:noFill/>
              </a:ln>
            </p:spPr>
          </p:pic>
          <p:pic>
            <p:nvPicPr>
              <p:cNvPr id="80" name="Grafik 2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997900" y="4031785"/>
                <a:ext cx="413804" cy="397182"/>
              </a:xfrm>
              <a:prstGeom prst="rect">
                <a:avLst/>
              </a:prstGeom>
            </p:spPr>
          </p:pic>
          <p:pic>
            <p:nvPicPr>
              <p:cNvPr id="81" name="Grafik 2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785955" y="3772981"/>
                <a:ext cx="871362" cy="204427"/>
              </a:xfrm>
              <a:prstGeom prst="rect">
                <a:avLst/>
              </a:prstGeom>
            </p:spPr>
          </p:pic>
        </p:grpSp>
      </p:grpSp>
      <p:cxnSp>
        <p:nvCxnSpPr>
          <p:cNvPr id="101" name="Gerade Verbindung 100"/>
          <p:cNvCxnSpPr/>
          <p:nvPr/>
        </p:nvCxnSpPr>
        <p:spPr bwMode="auto">
          <a:xfrm>
            <a:off x="1390848" y="2643756"/>
            <a:ext cx="1355388" cy="1584215"/>
          </a:xfrm>
          <a:prstGeom prst="line">
            <a:avLst/>
          </a:prstGeom>
          <a:ln>
            <a:solidFill>
              <a:schemeClr val="accent1">
                <a:lumMod val="75000"/>
              </a:schemeClr>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accent6"/>
          </a:lnRef>
          <a:fillRef idx="0">
            <a:schemeClr val="accent6"/>
          </a:fillRef>
          <a:effectRef idx="0">
            <a:schemeClr val="accent6"/>
          </a:effectRef>
          <a:fontRef idx="minor">
            <a:schemeClr val="tx1"/>
          </a:fontRef>
        </p:style>
      </p:cxnSp>
      <p:sp>
        <p:nvSpPr>
          <p:cNvPr id="102" name="Titel 11"/>
          <p:cNvSpPr txBox="1">
            <a:spLocks/>
          </p:cNvSpPr>
          <p:nvPr/>
        </p:nvSpPr>
        <p:spPr bwMode="gray">
          <a:xfrm>
            <a:off x="384657" y="417980"/>
            <a:ext cx="6498186" cy="516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66462" rIns="84406" bIns="42203" numCol="1" anchor="b" anchorCtr="0" compatLnSpc="1">
            <a:prstTxWarp prst="textNoShape">
              <a:avLst/>
            </a:prstTxWarp>
          </a:bodyPr>
          <a:lstStyle>
            <a:lvl1pPr algn="l" rtl="0" eaLnBrk="1" fontAlgn="base" hangingPunct="1">
              <a:lnSpc>
                <a:spcPct val="90000"/>
              </a:lnSpc>
              <a:spcBef>
                <a:spcPct val="0"/>
              </a:spcBef>
              <a:spcAft>
                <a:spcPct val="0"/>
              </a:spcAft>
              <a:defRPr kumimoji="1" sz="2800" b="1">
                <a:solidFill>
                  <a:srgbClr val="2260A8"/>
                </a:solidFill>
                <a:latin typeface="Calibri"/>
                <a:ea typeface="ＭＳ Ｐゴシック" charset="0"/>
                <a:cs typeface="ＭＳ Ｐゴシック" charset="0"/>
              </a:defRPr>
            </a:lvl1pPr>
            <a:lvl2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2pPr>
            <a:lvl3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3pPr>
            <a:lvl4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4pPr>
            <a:lvl5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5pPr>
            <a:lvl6pPr marL="457200" algn="l" rtl="0" eaLnBrk="1" fontAlgn="base" hangingPunct="1">
              <a:spcBef>
                <a:spcPct val="0"/>
              </a:spcBef>
              <a:spcAft>
                <a:spcPct val="0"/>
              </a:spcAft>
              <a:defRPr kumimoji="1" sz="2800" b="1">
                <a:solidFill>
                  <a:srgbClr val="FFFFFF"/>
                </a:solidFill>
                <a:latin typeface="Arial" charset="0"/>
                <a:ea typeface="ＭＳ Ｐゴシック" charset="0"/>
              </a:defRPr>
            </a:lvl6pPr>
            <a:lvl7pPr marL="914400" algn="l" rtl="0" eaLnBrk="1" fontAlgn="base" hangingPunct="1">
              <a:spcBef>
                <a:spcPct val="0"/>
              </a:spcBef>
              <a:spcAft>
                <a:spcPct val="0"/>
              </a:spcAft>
              <a:defRPr kumimoji="1" sz="2800" b="1">
                <a:solidFill>
                  <a:srgbClr val="FFFFFF"/>
                </a:solidFill>
                <a:latin typeface="Arial" charset="0"/>
                <a:ea typeface="ＭＳ Ｐゴシック" charset="0"/>
              </a:defRPr>
            </a:lvl7pPr>
            <a:lvl8pPr marL="1371600" algn="l" rtl="0" eaLnBrk="1" fontAlgn="base" hangingPunct="1">
              <a:spcBef>
                <a:spcPct val="0"/>
              </a:spcBef>
              <a:spcAft>
                <a:spcPct val="0"/>
              </a:spcAft>
              <a:defRPr kumimoji="1" sz="2800" b="1">
                <a:solidFill>
                  <a:srgbClr val="FFFFFF"/>
                </a:solidFill>
                <a:latin typeface="Arial" charset="0"/>
                <a:ea typeface="ＭＳ Ｐゴシック" charset="0"/>
              </a:defRPr>
            </a:lvl8pPr>
            <a:lvl9pPr marL="1828800" algn="l" rtl="0" eaLnBrk="1" fontAlgn="base" hangingPunct="1">
              <a:spcBef>
                <a:spcPct val="0"/>
              </a:spcBef>
              <a:spcAft>
                <a:spcPct val="0"/>
              </a:spcAft>
              <a:defRPr kumimoji="1" sz="2800" b="1">
                <a:solidFill>
                  <a:srgbClr val="FFFFFF"/>
                </a:solidFill>
                <a:latin typeface="Arial" charset="0"/>
                <a:ea typeface="ＭＳ Ｐゴシック" charset="0"/>
              </a:defRPr>
            </a:lvl9pPr>
          </a:lstStyle>
          <a:p>
            <a:pPr defTabSz="422041">
              <a:defRPr/>
            </a:pPr>
            <a:endParaRPr lang="en-GB" sz="2585" dirty="0"/>
          </a:p>
        </p:txBody>
      </p:sp>
      <p:sp>
        <p:nvSpPr>
          <p:cNvPr id="105" name="Textfeld 104"/>
          <p:cNvSpPr txBox="1"/>
          <p:nvPr/>
        </p:nvSpPr>
        <p:spPr>
          <a:xfrm>
            <a:off x="2015264" y="5911878"/>
            <a:ext cx="4391617" cy="887679"/>
          </a:xfrm>
          <a:prstGeom prst="rect">
            <a:avLst/>
          </a:prstGeom>
          <a:solidFill>
            <a:schemeClr val="tx1">
              <a:lumMod val="10000"/>
              <a:lumOff val="90000"/>
            </a:schemeClr>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defTabSz="422041" eaLnBrk="1" fontAlgn="auto" hangingPunct="1">
              <a:spcBef>
                <a:spcPts val="0"/>
              </a:spcBef>
              <a:spcAft>
                <a:spcPts val="0"/>
              </a:spcAft>
              <a:defRPr/>
            </a:pPr>
            <a:r>
              <a:rPr lang="de-DE" sz="1292" dirty="0">
                <a:solidFill>
                  <a:srgbClr val="021631"/>
                </a:solidFill>
              </a:rPr>
              <a:t>IWaSP: 26,5m (2013-2019) </a:t>
            </a:r>
            <a:r>
              <a:rPr lang="de-DE" sz="1292" dirty="0" err="1">
                <a:solidFill>
                  <a:srgbClr val="021631"/>
                </a:solidFill>
              </a:rPr>
              <a:t>from</a:t>
            </a:r>
            <a:r>
              <a:rPr lang="de-DE" sz="1292" dirty="0">
                <a:solidFill>
                  <a:srgbClr val="021631"/>
                </a:solidFill>
              </a:rPr>
              <a:t> German and British Government</a:t>
            </a:r>
          </a:p>
          <a:p>
            <a:pPr algn="ctr" defTabSz="422041" eaLnBrk="1" fontAlgn="auto" hangingPunct="1">
              <a:spcBef>
                <a:spcPts val="0"/>
              </a:spcBef>
              <a:spcAft>
                <a:spcPts val="0"/>
              </a:spcAft>
              <a:defRPr/>
            </a:pPr>
            <a:r>
              <a:rPr lang="de-DE" sz="1292" dirty="0">
                <a:solidFill>
                  <a:srgbClr val="021631"/>
                </a:solidFill>
              </a:rPr>
              <a:t>Over 25 </a:t>
            </a:r>
            <a:r>
              <a:rPr lang="de-DE" sz="1292" dirty="0" err="1">
                <a:solidFill>
                  <a:srgbClr val="021631"/>
                </a:solidFill>
              </a:rPr>
              <a:t>partnerships</a:t>
            </a:r>
            <a:r>
              <a:rPr lang="de-DE" sz="1292" dirty="0">
                <a:solidFill>
                  <a:srgbClr val="021631"/>
                </a:solidFill>
              </a:rPr>
              <a:t> &gt; 100 Partners; </a:t>
            </a:r>
            <a:r>
              <a:rPr lang="de-DE" sz="1292" dirty="0" err="1">
                <a:solidFill>
                  <a:srgbClr val="021631"/>
                </a:solidFill>
              </a:rPr>
              <a:t>Sectors</a:t>
            </a:r>
            <a:r>
              <a:rPr lang="de-DE" sz="1292" dirty="0">
                <a:solidFill>
                  <a:srgbClr val="021631"/>
                </a:solidFill>
              </a:rPr>
              <a:t>: </a:t>
            </a:r>
            <a:r>
              <a:rPr lang="de-DE" sz="1292" dirty="0" err="1">
                <a:solidFill>
                  <a:srgbClr val="021631"/>
                </a:solidFill>
              </a:rPr>
              <a:t>Food&amp;Beverage</a:t>
            </a:r>
            <a:r>
              <a:rPr lang="de-DE" sz="1292" dirty="0">
                <a:solidFill>
                  <a:srgbClr val="021631"/>
                </a:solidFill>
              </a:rPr>
              <a:t>, </a:t>
            </a:r>
            <a:r>
              <a:rPr lang="de-DE" sz="1292" dirty="0" err="1">
                <a:solidFill>
                  <a:srgbClr val="021631"/>
                </a:solidFill>
              </a:rPr>
              <a:t>Oil&amp;Gas</a:t>
            </a:r>
            <a:r>
              <a:rPr lang="de-DE" sz="1292" dirty="0">
                <a:solidFill>
                  <a:srgbClr val="021631"/>
                </a:solidFill>
              </a:rPr>
              <a:t>, Mining, Textile, </a:t>
            </a:r>
            <a:r>
              <a:rPr lang="de-DE" sz="1292" dirty="0" err="1">
                <a:solidFill>
                  <a:srgbClr val="021631"/>
                </a:solidFill>
              </a:rPr>
              <a:t>Agriculture</a:t>
            </a:r>
            <a:r>
              <a:rPr lang="de-DE" sz="1292" dirty="0">
                <a:solidFill>
                  <a:srgbClr val="021631"/>
                </a:solidFill>
              </a:rPr>
              <a:t>, Insurance</a:t>
            </a:r>
          </a:p>
        </p:txBody>
      </p:sp>
      <p:grpSp>
        <p:nvGrpSpPr>
          <p:cNvPr id="126" name="Group 125"/>
          <p:cNvGrpSpPr/>
          <p:nvPr/>
        </p:nvGrpSpPr>
        <p:grpSpPr>
          <a:xfrm>
            <a:off x="412081" y="1731227"/>
            <a:ext cx="1050393" cy="912526"/>
            <a:chOff x="259205" y="1362995"/>
            <a:chExt cx="1232753" cy="988570"/>
          </a:xfrm>
        </p:grpSpPr>
        <p:sp>
          <p:nvSpPr>
            <p:cNvPr id="133" name="Rounded Rectangle 132"/>
            <p:cNvSpPr/>
            <p:nvPr/>
          </p:nvSpPr>
          <p:spPr>
            <a:xfrm>
              <a:off x="259205" y="1362995"/>
              <a:ext cx="1232753" cy="988570"/>
            </a:xfrm>
            <a:prstGeom prst="roundRect">
              <a:avLst/>
            </a:prstGeom>
            <a:solidFill>
              <a:schemeClr val="bg1"/>
            </a:solidFill>
            <a:ln w="25400"/>
          </p:spPr>
          <p:style>
            <a:lnRef idx="1">
              <a:schemeClr val="accent1"/>
            </a:lnRef>
            <a:fillRef idx="3">
              <a:schemeClr val="accent1"/>
            </a:fillRef>
            <a:effectRef idx="2">
              <a:schemeClr val="accent1"/>
            </a:effectRef>
            <a:fontRef idx="minor">
              <a:schemeClr val="lt1"/>
            </a:fontRef>
          </p:style>
          <p:txBody>
            <a:bodyPr rtlCol="0" anchor="t"/>
            <a:lstStyle/>
            <a:p>
              <a:pPr algn="ctr" defTabSz="422041" eaLnBrk="1" fontAlgn="auto" hangingPunct="1">
                <a:spcBef>
                  <a:spcPts val="0"/>
                </a:spcBef>
                <a:spcAft>
                  <a:spcPts val="0"/>
                </a:spcAft>
                <a:defRPr/>
              </a:pPr>
              <a:r>
                <a:rPr lang="de-DE" sz="1292" b="1" dirty="0">
                  <a:solidFill>
                    <a:srgbClr val="E9EAED">
                      <a:lumMod val="10000"/>
                    </a:srgbClr>
                  </a:solidFill>
                </a:rPr>
                <a:t>GRENADA</a:t>
              </a:r>
            </a:p>
          </p:txBody>
        </p:sp>
        <p:pic>
          <p:nvPicPr>
            <p:cNvPr id="109" name="Picture 2" descr="Grenada logo">
              <a:hlinkClick r:id="rId18"/>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80956" y="2106682"/>
              <a:ext cx="510959" cy="200939"/>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4" descr="St. George's University Logo.png">
              <a:hlinkClick r:id="rId20"/>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59375" y="2008986"/>
              <a:ext cx="324074" cy="324074"/>
            </a:xfrm>
            <a:prstGeom prst="rect">
              <a:avLst/>
            </a:prstGeom>
            <a:noFill/>
            <a:extLst>
              <a:ext uri="{909E8E84-426E-40DD-AFC4-6F175D3DCCD1}">
                <a14:hiddenFill xmlns:a14="http://schemas.microsoft.com/office/drawing/2010/main">
                  <a:solidFill>
                    <a:srgbClr val="FFFFFF"/>
                  </a:solidFill>
                </a14:hiddenFill>
              </a:ext>
            </a:extLst>
          </p:spPr>
        </p:pic>
      </p:grpSp>
      <p:sp>
        <p:nvSpPr>
          <p:cNvPr id="28" name="Rounded Rectangle 27"/>
          <p:cNvSpPr/>
          <p:nvPr/>
        </p:nvSpPr>
        <p:spPr>
          <a:xfrm>
            <a:off x="6457957" y="4575182"/>
            <a:ext cx="2274738" cy="1983703"/>
          </a:xfrm>
          <a:prstGeom prst="roundRect">
            <a:avLst/>
          </a:prstGeom>
          <a:solidFill>
            <a:schemeClr val="bg1"/>
          </a:solidFill>
          <a:ln w="25400"/>
        </p:spPr>
        <p:style>
          <a:lnRef idx="1">
            <a:schemeClr val="accent1"/>
          </a:lnRef>
          <a:fillRef idx="3">
            <a:schemeClr val="accent1"/>
          </a:fillRef>
          <a:effectRef idx="2">
            <a:schemeClr val="accent1"/>
          </a:effectRef>
          <a:fontRef idx="minor">
            <a:schemeClr val="lt1"/>
          </a:fontRef>
        </p:style>
        <p:txBody>
          <a:bodyPr rtlCol="0" anchor="ctr"/>
          <a:lstStyle/>
          <a:p>
            <a:pPr algn="ctr" defTabSz="422041" eaLnBrk="1" fontAlgn="auto" hangingPunct="1">
              <a:spcBef>
                <a:spcPts val="0"/>
              </a:spcBef>
              <a:spcAft>
                <a:spcPts val="0"/>
              </a:spcAft>
              <a:defRPr/>
            </a:pPr>
            <a:endParaRPr lang="en-US" sz="1662">
              <a:solidFill>
                <a:srgbClr val="FFFFFF"/>
              </a:solidFill>
            </a:endParaRPr>
          </a:p>
        </p:txBody>
      </p:sp>
      <p:grpSp>
        <p:nvGrpSpPr>
          <p:cNvPr id="5" name="Group 4"/>
          <p:cNvGrpSpPr/>
          <p:nvPr/>
        </p:nvGrpSpPr>
        <p:grpSpPr>
          <a:xfrm>
            <a:off x="6469387" y="4618414"/>
            <a:ext cx="2224873" cy="1825668"/>
            <a:chOff x="7179793" y="4717531"/>
            <a:chExt cx="2611136" cy="1977807"/>
          </a:xfrm>
        </p:grpSpPr>
        <p:sp>
          <p:nvSpPr>
            <p:cNvPr id="32" name="TextBox 102"/>
            <p:cNvSpPr txBox="1"/>
            <p:nvPr/>
          </p:nvSpPr>
          <p:spPr>
            <a:xfrm>
              <a:off x="7859621" y="4717531"/>
              <a:ext cx="1394484" cy="530840"/>
            </a:xfrm>
            <a:prstGeom prst="rect">
              <a:avLst/>
            </a:prstGeom>
            <a:solidFill>
              <a:schemeClr val="bg1"/>
            </a:solidFill>
          </p:spPr>
          <p:txBody>
            <a:bodyPr wrap="square" rtlCol="0">
              <a:spAutoFit/>
            </a:bodyPr>
            <a:lstStyle/>
            <a:p>
              <a:pPr defTabSz="422041" eaLnBrk="1" fontAlgn="auto" hangingPunct="1">
                <a:spcBef>
                  <a:spcPts val="0"/>
                </a:spcBef>
                <a:spcAft>
                  <a:spcPts val="0"/>
                </a:spcAft>
                <a:buClr>
                  <a:srgbClr val="444D54"/>
                </a:buClr>
                <a:defRPr/>
              </a:pPr>
              <a:r>
                <a:rPr lang="en-US" sz="1292" b="1" dirty="0">
                  <a:solidFill>
                    <a:srgbClr val="021631"/>
                  </a:solidFill>
                  <a:latin typeface="Calibri"/>
                  <a:ea typeface="+mn-ea"/>
                </a:rPr>
                <a:t>SOUTH AFRICA</a:t>
              </a:r>
            </a:p>
          </p:txBody>
        </p:sp>
        <p:pic>
          <p:nvPicPr>
            <p:cNvPr id="88" name="Picture 173" descr="1122px-Woolworths_logo_2014.svg.png"/>
            <p:cNvPicPr>
              <a:picLocks noChangeAspect="1"/>
            </p:cNvPicPr>
            <p:nvPr/>
          </p:nvPicPr>
          <p:blipFill>
            <a:blip r:embed="rId22" cstate="print"/>
            <a:stretch>
              <a:fillRect/>
            </a:stretch>
          </p:blipFill>
          <p:spPr>
            <a:xfrm>
              <a:off x="9197162" y="6327727"/>
              <a:ext cx="383808" cy="350285"/>
            </a:xfrm>
            <a:prstGeom prst="rect">
              <a:avLst/>
            </a:prstGeom>
          </p:spPr>
        </p:pic>
        <p:pic>
          <p:nvPicPr>
            <p:cNvPr id="89" name="Picture 174" descr="Commonland_logo_Tagline_RGB.png"/>
            <p:cNvPicPr>
              <a:picLocks noChangeAspect="1"/>
            </p:cNvPicPr>
            <p:nvPr/>
          </p:nvPicPr>
          <p:blipFill>
            <a:blip r:embed="rId23" cstate="print"/>
            <a:stretch>
              <a:fillRect/>
            </a:stretch>
          </p:blipFill>
          <p:spPr>
            <a:xfrm>
              <a:off x="7320354" y="6342713"/>
              <a:ext cx="663569" cy="352625"/>
            </a:xfrm>
            <a:prstGeom prst="rect">
              <a:avLst/>
            </a:prstGeom>
          </p:spPr>
        </p:pic>
        <p:pic>
          <p:nvPicPr>
            <p:cNvPr id="178" name="Picture 37"/>
            <p:cNvPicPr>
              <a:picLocks noChangeAspect="1" noChangeArrowheads="1"/>
            </p:cNvPicPr>
            <p:nvPr/>
          </p:nvPicPr>
          <p:blipFill>
            <a:blip r:embed="rId2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108248" y="6359052"/>
              <a:ext cx="953434" cy="306000"/>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80" name="Picture 40" descr="http://www.wrc.org.za/images/BannerA.jpg"/>
            <p:cNvPicPr>
              <a:picLocks noChangeAspect="1" noChangeArrowheads="1"/>
            </p:cNvPicPr>
            <p:nvPr/>
          </p:nvPicPr>
          <p:blipFill rotWithShape="1">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r="17015"/>
            <a:stretch/>
          </p:blipFill>
          <p:spPr bwMode="auto">
            <a:xfrm>
              <a:off x="7179793" y="5363636"/>
              <a:ext cx="321075" cy="402769"/>
            </a:xfrm>
            <a:prstGeom prst="rect">
              <a:avLst/>
            </a:prstGeom>
            <a:solidFill>
              <a:schemeClr val="bg1"/>
            </a:solidFill>
            <a:extLst/>
          </p:spPr>
        </p:pic>
        <p:pic>
          <p:nvPicPr>
            <p:cNvPr id="183" name="Picture 26" descr="Santam short term insurer"/>
            <p:cNvPicPr>
              <a:picLocks noChangeAspect="1" noChangeArrowheads="1"/>
            </p:cNvPicPr>
            <p:nvPr/>
          </p:nvPicPr>
          <p:blipFill>
            <a:blip r:embed="rId2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26312" y="5020254"/>
              <a:ext cx="540924" cy="245875"/>
            </a:xfrm>
            <a:prstGeom prst="rect">
              <a:avLst/>
            </a:prstGeom>
            <a:solidFill>
              <a:schemeClr val="bg1"/>
            </a:solidFill>
            <a:extLst/>
          </p:spPr>
        </p:pic>
        <p:pic>
          <p:nvPicPr>
            <p:cNvPr id="184" name="Grafik 11" descr="Datei:Sasol logo.svg"/>
            <p:cNvPicPr/>
            <p:nvPr/>
          </p:nvPicPr>
          <p:blipFill>
            <a:blip r:embed="rId27" cstate="email">
              <a:extLst>
                <a:ext uri="{28A0092B-C50C-407E-A947-70E740481C1C}">
                  <a14:useLocalDpi xmlns:a14="http://schemas.microsoft.com/office/drawing/2010/main"/>
                </a:ext>
              </a:extLst>
            </a:blip>
            <a:srcRect/>
            <a:stretch>
              <a:fillRect/>
            </a:stretch>
          </p:blipFill>
          <p:spPr bwMode="auto">
            <a:xfrm>
              <a:off x="7741104" y="4982187"/>
              <a:ext cx="648171" cy="266407"/>
            </a:xfrm>
            <a:prstGeom prst="rect">
              <a:avLst/>
            </a:prstGeom>
            <a:solidFill>
              <a:schemeClr val="bg1"/>
            </a:solidFill>
            <a:ln>
              <a:noFill/>
            </a:ln>
          </p:spPr>
        </p:pic>
        <p:pic>
          <p:nvPicPr>
            <p:cNvPr id="185" name="Picture 46" descr="Anglo American">
              <a:hlinkClick r:id="rId28"/>
            </p:cNvPr>
            <p:cNvPicPr>
              <a:picLocks noChangeAspect="1" noChangeArrowheads="1"/>
            </p:cNvPicPr>
            <p:nvPr/>
          </p:nvPicPr>
          <p:blipFill rotWithShape="1">
            <a:blip r:embed="rId29" cstate="print">
              <a:clrChange>
                <a:clrFrom>
                  <a:srgbClr val="F9F9F9"/>
                </a:clrFrom>
                <a:clrTo>
                  <a:srgbClr val="F9F9F9">
                    <a:alpha val="0"/>
                  </a:srgbClr>
                </a:clrTo>
              </a:clrChange>
              <a:extLst>
                <a:ext uri="{28A0092B-C50C-407E-A947-70E740481C1C}">
                  <a14:useLocalDpi xmlns:a14="http://schemas.microsoft.com/office/drawing/2010/main" val="0"/>
                </a:ext>
              </a:extLst>
            </a:blip>
            <a:srcRect t="31496" b="24757"/>
            <a:stretch/>
          </p:blipFill>
          <p:spPr bwMode="auto">
            <a:xfrm>
              <a:off x="7995042" y="5539610"/>
              <a:ext cx="493792" cy="216024"/>
            </a:xfrm>
            <a:prstGeom prst="rect">
              <a:avLst/>
            </a:prstGeom>
            <a:solidFill>
              <a:schemeClr val="bg1"/>
            </a:solidFill>
            <a:extLst/>
          </p:spPr>
        </p:pic>
        <p:pic>
          <p:nvPicPr>
            <p:cNvPr id="188" name="Picture 48" descr="Eskom">
              <a:hlinkClick r:id="rId30"/>
            </p:cNvPr>
            <p:cNvPicPr>
              <a:picLocks noChangeAspect="1" noChangeArrowheads="1"/>
            </p:cNvPicPr>
            <p:nvPr/>
          </p:nvPicPr>
          <p:blipFill rotWithShape="1">
            <a:blip r:embed="rId31">
              <a:clrChange>
                <a:clrFrom>
                  <a:srgbClr val="F9F9F9"/>
                </a:clrFrom>
                <a:clrTo>
                  <a:srgbClr val="F9F9F9">
                    <a:alpha val="0"/>
                  </a:srgbClr>
                </a:clrTo>
              </a:clrChange>
              <a:extLst>
                <a:ext uri="{28A0092B-C50C-407E-A947-70E740481C1C}">
                  <a14:useLocalDpi xmlns:a14="http://schemas.microsoft.com/office/drawing/2010/main" val="0"/>
                </a:ext>
              </a:extLst>
            </a:blip>
            <a:srcRect t="19622" b="26802"/>
            <a:stretch/>
          </p:blipFill>
          <p:spPr bwMode="auto">
            <a:xfrm>
              <a:off x="8550049" y="5475869"/>
              <a:ext cx="515388" cy="276126"/>
            </a:xfrm>
            <a:prstGeom prst="rect">
              <a:avLst/>
            </a:prstGeom>
            <a:solidFill>
              <a:schemeClr val="bg1"/>
            </a:solidFill>
            <a:extLst/>
          </p:spPr>
        </p:pic>
        <p:pic>
          <p:nvPicPr>
            <p:cNvPr id="190" name="Grafik 14" descr="http://www.indiskretionehrensache.de/wp-content/uploads/wwf-logo.jpg"/>
            <p:cNvPicPr/>
            <p:nvPr/>
          </p:nvPicPr>
          <p:blipFill rotWithShape="1">
            <a:blip r:embed="rId32" cstate="email">
              <a:extLst>
                <a:ext uri="{28A0092B-C50C-407E-A947-70E740481C1C}">
                  <a14:useLocalDpi xmlns:a14="http://schemas.microsoft.com/office/drawing/2010/main"/>
                </a:ext>
              </a:extLst>
            </a:blip>
            <a:srcRect t="11812" b="8877"/>
            <a:stretch/>
          </p:blipFill>
          <p:spPr bwMode="auto">
            <a:xfrm>
              <a:off x="8431767" y="5089717"/>
              <a:ext cx="370211" cy="389760"/>
            </a:xfrm>
            <a:prstGeom prst="rect">
              <a:avLst/>
            </a:prstGeom>
            <a:noFill/>
            <a:ln>
              <a:noFill/>
            </a:ln>
            <a:extLst>
              <a:ext uri="{53640926-AAD7-44D8-BBD7-CCE9431645EC}">
                <a14:shadowObscured xmlns:a14="http://schemas.microsoft.com/office/drawing/2010/main"/>
              </a:ext>
            </a:extLst>
          </p:spPr>
        </p:pic>
        <p:pic>
          <p:nvPicPr>
            <p:cNvPr id="194" name="Picture 13" descr="Coca-Cola South Afica">
              <a:hlinkClick r:id="rId33"/>
            </p:cNvPr>
            <p:cNvPicPr>
              <a:picLocks noChangeAspect="1" noChangeArrowheads="1"/>
            </p:cNvPicPr>
            <p:nvPr/>
          </p:nvPicPr>
          <p:blipFill rotWithShape="1">
            <a:blip r:embed="rId34" cstate="print">
              <a:extLst>
                <a:ext uri="{28A0092B-C50C-407E-A947-70E740481C1C}">
                  <a14:useLocalDpi xmlns:a14="http://schemas.microsoft.com/office/drawing/2010/main" val="0"/>
                </a:ext>
              </a:extLst>
            </a:blip>
            <a:srcRect t="1" r="22010" b="-1"/>
            <a:stretch/>
          </p:blipFill>
          <p:spPr bwMode="auto">
            <a:xfrm>
              <a:off x="9246411" y="5320117"/>
              <a:ext cx="544518" cy="121561"/>
            </a:xfrm>
            <a:prstGeom prst="rect">
              <a:avLst/>
            </a:prstGeom>
            <a:solidFill>
              <a:schemeClr val="bg1"/>
            </a:solidFill>
            <a:extLst/>
          </p:spPr>
        </p:pic>
        <p:pic>
          <p:nvPicPr>
            <p:cNvPr id="197" name="Picture 19" descr="2030 Water Resources Group"/>
            <p:cNvPicPr>
              <a:picLocks noChangeAspect="1" noChangeArrowheads="1"/>
            </p:cNvPicPr>
            <p:nvPr/>
          </p:nvPicPr>
          <p:blipFill>
            <a:blip r:embed="rId3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64475" y="5374674"/>
              <a:ext cx="275881" cy="313127"/>
            </a:xfrm>
            <a:prstGeom prst="rect">
              <a:avLst/>
            </a:prstGeom>
            <a:solidFill>
              <a:schemeClr val="bg1"/>
            </a:solidFill>
            <a:extLst/>
          </p:spPr>
        </p:pic>
        <p:pic>
          <p:nvPicPr>
            <p:cNvPr id="198" name="Picture 26" descr="Unternehmenslogo">
              <a:hlinkClick r:id="rId36" tooltip="Unternehmenslogo"/>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8823528" y="5127682"/>
              <a:ext cx="367414" cy="367415"/>
            </a:xfrm>
            <a:prstGeom prst="rect">
              <a:avLst/>
            </a:prstGeom>
            <a:solidFill>
              <a:schemeClr val="bg1"/>
            </a:solidFill>
            <a:extLst/>
          </p:spPr>
        </p:pic>
        <p:pic>
          <p:nvPicPr>
            <p:cNvPr id="199" name="Picture 4" descr="Marks &amp; Spencer">
              <a:hlinkClick r:id="rId38"/>
            </p:cNvPr>
            <p:cNvPicPr>
              <a:picLocks noChangeAspect="1" noChangeArrowheads="1"/>
            </p:cNvPicPr>
            <p:nvPr/>
          </p:nvPicPr>
          <p:blipFill rotWithShape="1">
            <a:blip r:embed="rId39">
              <a:clrChange>
                <a:clrFrom>
                  <a:srgbClr val="FDFDFD"/>
                </a:clrFrom>
                <a:clrTo>
                  <a:srgbClr val="FDFDFD">
                    <a:alpha val="0"/>
                  </a:srgbClr>
                </a:clrTo>
              </a:clrChange>
              <a:extLst>
                <a:ext uri="{28A0092B-C50C-407E-A947-70E740481C1C}">
                  <a14:useLocalDpi xmlns:a14="http://schemas.microsoft.com/office/drawing/2010/main" val="0"/>
                </a:ext>
              </a:extLst>
            </a:blip>
            <a:srcRect t="22089" b="11761"/>
            <a:stretch/>
          </p:blipFill>
          <p:spPr bwMode="auto">
            <a:xfrm>
              <a:off x="9137000" y="5492614"/>
              <a:ext cx="538864" cy="242637"/>
            </a:xfrm>
            <a:prstGeom prst="rect">
              <a:avLst/>
            </a:prstGeom>
            <a:solidFill>
              <a:schemeClr val="bg1"/>
            </a:solidFill>
            <a:extLst/>
          </p:spPr>
        </p:pic>
        <p:pic>
          <p:nvPicPr>
            <p:cNvPr id="3074" name="Picture 2" descr="Home">
              <a:hlinkClick r:id="rId40" tooltip="Home"/>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7262514" y="5935546"/>
              <a:ext cx="1009443" cy="37147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breedegouritzcma.co.za/img/logo.gif">
              <a:hlinkClick r:id="rId42"/>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7398796" y="5726768"/>
              <a:ext cx="2220591" cy="208778"/>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http://www.metsimaholo.gov.za/images/head3.jpg"/>
            <p:cNvPicPr>
              <a:picLocks noChangeAspect="1" noChangeArrowheads="1"/>
            </p:cNvPicPr>
            <p:nvPr/>
          </p:nvPicPr>
          <p:blipFill rotWithShape="1">
            <a:blip r:embed="rId44" cstate="print">
              <a:extLst>
                <a:ext uri="{28A0092B-C50C-407E-A947-70E740481C1C}">
                  <a14:useLocalDpi xmlns:a14="http://schemas.microsoft.com/office/drawing/2010/main" val="0"/>
                </a:ext>
              </a:extLst>
            </a:blip>
            <a:srcRect r="83192"/>
            <a:stretch/>
          </p:blipFill>
          <p:spPr bwMode="auto">
            <a:xfrm>
              <a:off x="9311326" y="6013928"/>
              <a:ext cx="391790" cy="312193"/>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 Bild in Originalgröße anzeigen  "/>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8128125" y="5949653"/>
              <a:ext cx="451166" cy="325165"/>
            </a:xfrm>
            <a:prstGeom prst="rect">
              <a:avLst/>
            </a:prstGeom>
            <a:noFill/>
            <a:extLst>
              <a:ext uri="{909E8E84-426E-40DD-AFC4-6F175D3DCCD1}">
                <a14:hiddenFill xmlns:a14="http://schemas.microsoft.com/office/drawing/2010/main">
                  <a:solidFill>
                    <a:srgbClr val="FFFFFF"/>
                  </a:solidFill>
                </a14:hiddenFill>
              </a:ext>
            </a:extLst>
          </p:spPr>
        </p:pic>
        <p:pic>
          <p:nvPicPr>
            <p:cNvPr id="3086" name="Picture 14" descr=" Bild in Originalgröße anzeigen  "/>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8565506" y="5973605"/>
              <a:ext cx="222536" cy="30174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14" name="Gerade Verbindung 113"/>
          <p:cNvCxnSpPr/>
          <p:nvPr/>
        </p:nvCxnSpPr>
        <p:spPr bwMode="auto">
          <a:xfrm>
            <a:off x="1439363" y="3466679"/>
            <a:ext cx="714078" cy="759569"/>
          </a:xfrm>
          <a:prstGeom prst="line">
            <a:avLst/>
          </a:prstGeom>
          <a:ln>
            <a:solidFill>
              <a:schemeClr val="accent3"/>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accent6"/>
          </a:lnRef>
          <a:fillRef idx="0">
            <a:schemeClr val="accent6"/>
          </a:fillRef>
          <a:effectRef idx="0">
            <a:schemeClr val="accent6"/>
          </a:effectRef>
          <a:fontRef idx="minor">
            <a:schemeClr val="tx1"/>
          </a:fontRef>
        </p:style>
      </p:cxnSp>
      <p:cxnSp>
        <p:nvCxnSpPr>
          <p:cNvPr id="115" name="Gerade Verbindung 114"/>
          <p:cNvCxnSpPr/>
          <p:nvPr/>
        </p:nvCxnSpPr>
        <p:spPr bwMode="auto">
          <a:xfrm>
            <a:off x="1426381" y="4293101"/>
            <a:ext cx="1008910" cy="210461"/>
          </a:xfrm>
          <a:prstGeom prst="line">
            <a:avLst/>
          </a:prstGeom>
          <a:ln>
            <a:solidFill>
              <a:schemeClr val="accent3"/>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accent6"/>
          </a:lnRef>
          <a:fillRef idx="0">
            <a:schemeClr val="accent6"/>
          </a:fillRef>
          <a:effectRef idx="0">
            <a:schemeClr val="accent6"/>
          </a:effectRef>
          <a:fontRef idx="minor">
            <a:schemeClr val="tx1"/>
          </a:fontRef>
        </p:style>
      </p:cxnSp>
      <p:grpSp>
        <p:nvGrpSpPr>
          <p:cNvPr id="129" name="Group 128"/>
          <p:cNvGrpSpPr/>
          <p:nvPr/>
        </p:nvGrpSpPr>
        <p:grpSpPr>
          <a:xfrm>
            <a:off x="416267" y="3596897"/>
            <a:ext cx="1050393" cy="727088"/>
            <a:chOff x="43747" y="3772981"/>
            <a:chExt cx="1232753" cy="787679"/>
          </a:xfrm>
        </p:grpSpPr>
        <p:sp>
          <p:nvSpPr>
            <p:cNvPr id="135" name="Rounded Rectangle 134"/>
            <p:cNvSpPr/>
            <p:nvPr/>
          </p:nvSpPr>
          <p:spPr>
            <a:xfrm>
              <a:off x="43747" y="3772981"/>
              <a:ext cx="1232753" cy="787679"/>
            </a:xfrm>
            <a:prstGeom prst="roundRect">
              <a:avLst/>
            </a:prstGeom>
            <a:solidFill>
              <a:schemeClr val="bg1"/>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t"/>
            <a:lstStyle/>
            <a:p>
              <a:pPr algn="ctr" defTabSz="422041" eaLnBrk="1" fontAlgn="auto" hangingPunct="1">
                <a:spcBef>
                  <a:spcPts val="0"/>
                </a:spcBef>
                <a:spcAft>
                  <a:spcPts val="0"/>
                </a:spcAft>
                <a:defRPr/>
              </a:pPr>
              <a:r>
                <a:rPr lang="de-DE" sz="1292" b="1" dirty="0">
                  <a:solidFill>
                    <a:srgbClr val="E9EAED">
                      <a:lumMod val="10000"/>
                    </a:srgbClr>
                  </a:solidFill>
                </a:rPr>
                <a:t>COLOMBIA</a:t>
              </a:r>
            </a:p>
            <a:p>
              <a:pPr algn="ctr" defTabSz="422041" eaLnBrk="1" fontAlgn="auto" hangingPunct="1">
                <a:spcBef>
                  <a:spcPts val="0"/>
                </a:spcBef>
                <a:spcAft>
                  <a:spcPts val="0"/>
                </a:spcAft>
                <a:defRPr/>
              </a:pPr>
              <a:endParaRPr lang="en-US" sz="1662" dirty="0">
                <a:solidFill>
                  <a:srgbClr val="FFFFFF"/>
                </a:solidFill>
              </a:endParaRPr>
            </a:p>
          </p:txBody>
        </p:sp>
        <p:pic>
          <p:nvPicPr>
            <p:cNvPr id="29" name="Picture 4" descr="C:\Users\pham_min\Pictures\Colombia_-_Bavaria_Breweries.PNG"/>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101941" y="4131711"/>
              <a:ext cx="405418" cy="324931"/>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descr="C:\Users\pham_min\Pictures\logo-nature-notagline.png"/>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507359" y="4203321"/>
              <a:ext cx="703143" cy="253321"/>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17" name="Gerade Verbindung 116"/>
          <p:cNvCxnSpPr/>
          <p:nvPr/>
        </p:nvCxnSpPr>
        <p:spPr bwMode="auto">
          <a:xfrm>
            <a:off x="1486079" y="4659260"/>
            <a:ext cx="949213" cy="214230"/>
          </a:xfrm>
          <a:prstGeom prst="line">
            <a:avLst/>
          </a:prstGeom>
          <a:ln>
            <a:solidFill>
              <a:schemeClr val="accent3"/>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accent6"/>
          </a:lnRef>
          <a:fillRef idx="0">
            <a:schemeClr val="accent6"/>
          </a:fillRef>
          <a:effectRef idx="0">
            <a:schemeClr val="accent6"/>
          </a:effectRef>
          <a:fontRef idx="minor">
            <a:schemeClr val="tx1"/>
          </a:fontRef>
        </p:style>
      </p:cxnSp>
      <p:grpSp>
        <p:nvGrpSpPr>
          <p:cNvPr id="131" name="Group 130"/>
          <p:cNvGrpSpPr/>
          <p:nvPr/>
        </p:nvGrpSpPr>
        <p:grpSpPr>
          <a:xfrm>
            <a:off x="399174" y="4503560"/>
            <a:ext cx="1086905" cy="629054"/>
            <a:chOff x="55725" y="4527817"/>
            <a:chExt cx="1275603" cy="681475"/>
          </a:xfrm>
        </p:grpSpPr>
        <p:sp>
          <p:nvSpPr>
            <p:cNvPr id="138" name="Rounded Rectangle 137"/>
            <p:cNvSpPr/>
            <p:nvPr/>
          </p:nvSpPr>
          <p:spPr>
            <a:xfrm>
              <a:off x="55725" y="4527817"/>
              <a:ext cx="1275603" cy="681475"/>
            </a:xfrm>
            <a:prstGeom prst="roundRect">
              <a:avLst/>
            </a:prstGeom>
            <a:solidFill>
              <a:schemeClr val="bg1"/>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t"/>
            <a:lstStyle/>
            <a:p>
              <a:pPr algn="ctr" defTabSz="422041" eaLnBrk="1" fontAlgn="auto" hangingPunct="1">
                <a:spcBef>
                  <a:spcPts val="0"/>
                </a:spcBef>
                <a:spcAft>
                  <a:spcPts val="0"/>
                </a:spcAft>
                <a:defRPr/>
              </a:pPr>
              <a:r>
                <a:rPr lang="de-DE" sz="1292" b="1" dirty="0">
                  <a:solidFill>
                    <a:srgbClr val="E9EAED">
                      <a:lumMod val="10000"/>
                    </a:srgbClr>
                  </a:solidFill>
                </a:rPr>
                <a:t>PERU</a:t>
              </a:r>
            </a:p>
            <a:p>
              <a:pPr algn="ctr" defTabSz="422041" eaLnBrk="1" fontAlgn="auto" hangingPunct="1">
                <a:spcBef>
                  <a:spcPts val="0"/>
                </a:spcBef>
                <a:spcAft>
                  <a:spcPts val="0"/>
                </a:spcAft>
                <a:defRPr/>
              </a:pPr>
              <a:endParaRPr lang="en-US" sz="1662" dirty="0">
                <a:solidFill>
                  <a:srgbClr val="FFFFFF"/>
                </a:solidFill>
              </a:endParaRPr>
            </a:p>
          </p:txBody>
        </p:sp>
        <p:pic>
          <p:nvPicPr>
            <p:cNvPr id="30" name="Picture 6" descr="C:\Users\pham_min\Pictures\logo-backus.png"/>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334713" y="4860772"/>
              <a:ext cx="691086" cy="31896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 name="Group 1"/>
          <p:cNvGrpSpPr/>
          <p:nvPr/>
        </p:nvGrpSpPr>
        <p:grpSpPr>
          <a:xfrm>
            <a:off x="1412295" y="1139402"/>
            <a:ext cx="1048630" cy="1468789"/>
            <a:chOff x="2413692" y="997195"/>
            <a:chExt cx="1293784" cy="1648429"/>
          </a:xfrm>
        </p:grpSpPr>
        <p:sp>
          <p:nvSpPr>
            <p:cNvPr id="82" name="Rounded Rectangle 81"/>
            <p:cNvSpPr/>
            <p:nvPr/>
          </p:nvSpPr>
          <p:spPr>
            <a:xfrm>
              <a:off x="2484731" y="997195"/>
              <a:ext cx="1222745" cy="1648429"/>
            </a:xfrm>
            <a:prstGeom prst="roundRect">
              <a:avLst/>
            </a:prstGeom>
            <a:solidFill>
              <a:schemeClr val="bg1"/>
            </a:solidFill>
            <a:ln w="25400"/>
          </p:spPr>
          <p:style>
            <a:lnRef idx="1">
              <a:schemeClr val="accent1"/>
            </a:lnRef>
            <a:fillRef idx="3">
              <a:schemeClr val="accent1"/>
            </a:fillRef>
            <a:effectRef idx="2">
              <a:schemeClr val="accent1"/>
            </a:effectRef>
            <a:fontRef idx="minor">
              <a:schemeClr val="lt1"/>
            </a:fontRef>
          </p:style>
          <p:txBody>
            <a:bodyPr rtlCol="0" anchor="ctr"/>
            <a:lstStyle/>
            <a:p>
              <a:pPr algn="ctr" defTabSz="422041" eaLnBrk="1" fontAlgn="auto" hangingPunct="1">
                <a:spcBef>
                  <a:spcPts val="0"/>
                </a:spcBef>
                <a:spcAft>
                  <a:spcPts val="0"/>
                </a:spcAft>
                <a:defRPr/>
              </a:pPr>
              <a:endParaRPr lang="en-US" sz="1662">
                <a:solidFill>
                  <a:srgbClr val="FFFFFF"/>
                </a:solidFill>
              </a:endParaRPr>
            </a:p>
          </p:txBody>
        </p:sp>
        <p:pic>
          <p:nvPicPr>
            <p:cNvPr id="106" name="Picture 2" descr="https://encrypted-tbn3.gstatic.com/images?q=tbn:ANd9GcSDqziN_6ampdHNOVRGCMalQ6mXLk0Si5ptiUyVZ134EXIdUqZs3Q"/>
            <p:cNvPicPr>
              <a:picLocks noChangeAspect="1" noChangeArrowheads="1"/>
            </p:cNvPicPr>
            <p:nvPr/>
          </p:nvPicPr>
          <p:blipFill>
            <a:blip r:embed="rId50"/>
            <a:srcRect/>
            <a:stretch>
              <a:fillRect/>
            </a:stretch>
          </p:blipFill>
          <p:spPr bwMode="auto">
            <a:xfrm>
              <a:off x="2797889" y="1370998"/>
              <a:ext cx="517937" cy="314916"/>
            </a:xfrm>
            <a:prstGeom prst="rect">
              <a:avLst/>
            </a:prstGeom>
            <a:noFill/>
          </p:spPr>
        </p:pic>
        <p:pic>
          <p:nvPicPr>
            <p:cNvPr id="107" name="Picture 7"/>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2705861" y="1788422"/>
              <a:ext cx="701997" cy="1951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8" name="Picture 9" descr="http://www.wascosaintlucia.com/images/logo.png"/>
            <p:cNvPicPr>
              <a:picLocks noChangeAspect="1" noChangeArrowheads="1"/>
            </p:cNvPicPr>
            <p:nvPr/>
          </p:nvPicPr>
          <p:blipFill rotWithShape="1">
            <a:blip r:embed="rId52" cstate="print">
              <a:extLst>
                <a:ext uri="{28A0092B-C50C-407E-A947-70E740481C1C}">
                  <a14:useLocalDpi xmlns:a14="http://schemas.microsoft.com/office/drawing/2010/main" val="0"/>
                </a:ext>
              </a:extLst>
            </a:blip>
            <a:srcRect l="31841" r="30650" b="35809"/>
            <a:stretch/>
          </p:blipFill>
          <p:spPr bwMode="auto">
            <a:xfrm>
              <a:off x="2581001" y="2102985"/>
              <a:ext cx="951712" cy="339860"/>
            </a:xfrm>
            <a:prstGeom prst="rect">
              <a:avLst/>
            </a:prstGeom>
            <a:noFill/>
            <a:extLst>
              <a:ext uri="{909E8E84-426E-40DD-AFC4-6F175D3DCCD1}">
                <a14:hiddenFill xmlns:a14="http://schemas.microsoft.com/office/drawing/2010/main">
                  <a:solidFill>
                    <a:srgbClr val="FFFFFF"/>
                  </a:solidFill>
                </a14:hiddenFill>
              </a:ext>
            </a:extLst>
          </p:spPr>
        </p:pic>
        <p:sp>
          <p:nvSpPr>
            <p:cNvPr id="83" name="Rectangle 82"/>
            <p:cNvSpPr/>
            <p:nvPr/>
          </p:nvSpPr>
          <p:spPr>
            <a:xfrm>
              <a:off x="2413692" y="1028588"/>
              <a:ext cx="1286337" cy="326781"/>
            </a:xfrm>
            <a:prstGeom prst="rect">
              <a:avLst/>
            </a:prstGeom>
          </p:spPr>
          <p:txBody>
            <a:bodyPr wrap="none">
              <a:spAutoFit/>
            </a:bodyPr>
            <a:lstStyle/>
            <a:p>
              <a:pPr algn="ctr" defTabSz="422041" eaLnBrk="1" fontAlgn="auto" hangingPunct="1">
                <a:spcBef>
                  <a:spcPts val="0"/>
                </a:spcBef>
                <a:spcAft>
                  <a:spcPts val="0"/>
                </a:spcAft>
                <a:buClr>
                  <a:srgbClr val="444D54"/>
                </a:buClr>
                <a:defRPr/>
              </a:pPr>
              <a:r>
                <a:rPr lang="de-DE" sz="1292" b="1" dirty="0">
                  <a:solidFill>
                    <a:srgbClr val="E9EAED">
                      <a:lumMod val="10000"/>
                    </a:srgbClr>
                  </a:solidFill>
                  <a:latin typeface="Calibri" pitchFamily="34" charset="0"/>
                  <a:ea typeface="+mn-ea"/>
                </a:rPr>
                <a:t>SAINT LUCIA</a:t>
              </a:r>
            </a:p>
          </p:txBody>
        </p:sp>
      </p:grpSp>
      <p:grpSp>
        <p:nvGrpSpPr>
          <p:cNvPr id="128" name="Group 127"/>
          <p:cNvGrpSpPr/>
          <p:nvPr/>
        </p:nvGrpSpPr>
        <p:grpSpPr>
          <a:xfrm>
            <a:off x="435686" y="2759787"/>
            <a:ext cx="1050393" cy="751612"/>
            <a:chOff x="43747" y="2798074"/>
            <a:chExt cx="1232753" cy="814246"/>
          </a:xfrm>
        </p:grpSpPr>
        <p:sp>
          <p:nvSpPr>
            <p:cNvPr id="84" name="Rounded Rectangle 83"/>
            <p:cNvSpPr/>
            <p:nvPr/>
          </p:nvSpPr>
          <p:spPr>
            <a:xfrm>
              <a:off x="43747" y="2798074"/>
              <a:ext cx="1232753" cy="814246"/>
            </a:xfrm>
            <a:prstGeom prst="roundRect">
              <a:avLst/>
            </a:prstGeom>
            <a:solidFill>
              <a:schemeClr val="bg1"/>
            </a:solidFill>
            <a:ln>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22041" eaLnBrk="1" fontAlgn="auto" hangingPunct="1">
                <a:spcBef>
                  <a:spcPts val="0"/>
                </a:spcBef>
                <a:spcAft>
                  <a:spcPts val="0"/>
                </a:spcAft>
                <a:defRPr/>
              </a:pPr>
              <a:endParaRPr lang="en-US" sz="1662">
                <a:solidFill>
                  <a:srgbClr val="FFFFFF"/>
                </a:solidFill>
              </a:endParaRPr>
            </a:p>
          </p:txBody>
        </p:sp>
        <p:pic>
          <p:nvPicPr>
            <p:cNvPr id="121" name="Grafik 14" descr="http://www.indiskretionehrensache.de/wp-content/uploads/wwf-logo.jpg"/>
            <p:cNvPicPr/>
            <p:nvPr/>
          </p:nvPicPr>
          <p:blipFill rotWithShape="1">
            <a:blip r:embed="rId32" cstate="email">
              <a:extLst>
                <a:ext uri="{28A0092B-C50C-407E-A947-70E740481C1C}">
                  <a14:useLocalDpi xmlns:a14="http://schemas.microsoft.com/office/drawing/2010/main"/>
                </a:ext>
              </a:extLst>
            </a:blip>
            <a:srcRect t="11812" b="8877"/>
            <a:stretch/>
          </p:blipFill>
          <p:spPr bwMode="auto">
            <a:xfrm>
              <a:off x="777207" y="3197711"/>
              <a:ext cx="387528" cy="322307"/>
            </a:xfrm>
            <a:prstGeom prst="rect">
              <a:avLst/>
            </a:prstGeom>
            <a:noFill/>
            <a:ln>
              <a:noFill/>
            </a:ln>
            <a:extLst>
              <a:ext uri="{53640926-AAD7-44D8-BBD7-CCE9431645EC}">
                <a14:shadowObscured xmlns:a14="http://schemas.microsoft.com/office/drawing/2010/main"/>
              </a:ext>
            </a:extLst>
          </p:spPr>
        </p:pic>
        <p:pic>
          <p:nvPicPr>
            <p:cNvPr id="3075" name="Picture 3" descr="C:\Users\pham_min\Pictures\brand.gif"/>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148537" y="3185928"/>
              <a:ext cx="600385" cy="228573"/>
            </a:xfrm>
            <a:prstGeom prst="rect">
              <a:avLst/>
            </a:prstGeom>
            <a:noFill/>
            <a:extLst>
              <a:ext uri="{909E8E84-426E-40DD-AFC4-6F175D3DCCD1}">
                <a14:hiddenFill xmlns:a14="http://schemas.microsoft.com/office/drawing/2010/main">
                  <a:solidFill>
                    <a:srgbClr val="FFFFFF"/>
                  </a:solidFill>
                </a14:hiddenFill>
              </a:ext>
            </a:extLst>
          </p:spPr>
        </p:pic>
        <p:sp>
          <p:nvSpPr>
            <p:cNvPr id="85" name="Rectangle 84"/>
            <p:cNvSpPr/>
            <p:nvPr/>
          </p:nvSpPr>
          <p:spPr>
            <a:xfrm>
              <a:off x="65547" y="2814801"/>
              <a:ext cx="1166784" cy="315434"/>
            </a:xfrm>
            <a:prstGeom prst="rect">
              <a:avLst/>
            </a:prstGeom>
          </p:spPr>
          <p:txBody>
            <a:bodyPr wrap="none">
              <a:spAutoFit/>
            </a:bodyPr>
            <a:lstStyle/>
            <a:p>
              <a:pPr algn="ctr" defTabSz="422041" eaLnBrk="1" fontAlgn="auto" hangingPunct="1">
                <a:spcBef>
                  <a:spcPts val="0"/>
                </a:spcBef>
                <a:spcAft>
                  <a:spcPts val="0"/>
                </a:spcAft>
                <a:defRPr/>
              </a:pPr>
              <a:r>
                <a:rPr lang="de-DE" sz="1292" b="1" dirty="0">
                  <a:solidFill>
                    <a:srgbClr val="E9EAED">
                      <a:lumMod val="10000"/>
                    </a:srgbClr>
                  </a:solidFill>
                  <a:latin typeface="Calibri"/>
                  <a:ea typeface="+mn-ea"/>
                </a:rPr>
                <a:t>HONDURAS</a:t>
              </a:r>
            </a:p>
          </p:txBody>
        </p:sp>
      </p:grpSp>
      <p:cxnSp>
        <p:nvCxnSpPr>
          <p:cNvPr id="144" name="Gerade Verbindung 100"/>
          <p:cNvCxnSpPr>
            <a:stCxn id="82" idx="2"/>
          </p:cNvCxnSpPr>
          <p:nvPr/>
        </p:nvCxnSpPr>
        <p:spPr bwMode="auto">
          <a:xfrm>
            <a:off x="1974726" y="2608190"/>
            <a:ext cx="730922" cy="1697676"/>
          </a:xfrm>
          <a:prstGeom prst="line">
            <a:avLst/>
          </a:prstGeom>
          <a:ln>
            <a:solidFill>
              <a:schemeClr val="accent1">
                <a:lumMod val="75000"/>
              </a:schemeClr>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accent6"/>
          </a:lnRef>
          <a:fillRef idx="0">
            <a:schemeClr val="accent6"/>
          </a:fillRef>
          <a:effectRef idx="0">
            <a:schemeClr val="accent6"/>
          </a:effectRef>
          <a:fontRef idx="minor">
            <a:schemeClr val="tx1"/>
          </a:fontRef>
        </p:style>
      </p:cxnSp>
      <p:sp>
        <p:nvSpPr>
          <p:cNvPr id="123" name="Rectangle 122"/>
          <p:cNvSpPr/>
          <p:nvPr/>
        </p:nvSpPr>
        <p:spPr>
          <a:xfrm>
            <a:off x="438554" y="5536230"/>
            <a:ext cx="118374" cy="168595"/>
          </a:xfrm>
          <a:prstGeom prst="rect">
            <a:avLst/>
          </a:prstGeom>
          <a:solidFill>
            <a:srgbClr val="336699"/>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22041" eaLnBrk="1" fontAlgn="auto" hangingPunct="1">
              <a:spcBef>
                <a:spcPts val="0"/>
              </a:spcBef>
              <a:spcAft>
                <a:spcPts val="0"/>
              </a:spcAft>
              <a:defRPr/>
            </a:pPr>
            <a:endParaRPr lang="en-US" sz="1662">
              <a:solidFill>
                <a:srgbClr val="0070C0"/>
              </a:solidFill>
            </a:endParaRPr>
          </a:p>
        </p:txBody>
      </p:sp>
      <p:sp>
        <p:nvSpPr>
          <p:cNvPr id="150" name="Rectangle 149"/>
          <p:cNvSpPr/>
          <p:nvPr/>
        </p:nvSpPr>
        <p:spPr>
          <a:xfrm>
            <a:off x="441848" y="5917135"/>
            <a:ext cx="118374" cy="168595"/>
          </a:xfrm>
          <a:prstGeom prst="rect">
            <a:avLst/>
          </a:prstGeom>
          <a:pattFill prst="wdDnDiag">
            <a:fgClr>
              <a:schemeClr val="accent6">
                <a:lumMod val="50000"/>
              </a:schemeClr>
            </a:fgClr>
            <a:bgClr>
              <a:schemeClr val="bg1"/>
            </a:bgClr>
          </a:pattFill>
        </p:spPr>
        <p:style>
          <a:lnRef idx="1">
            <a:schemeClr val="accent1"/>
          </a:lnRef>
          <a:fillRef idx="3">
            <a:schemeClr val="accent1"/>
          </a:fillRef>
          <a:effectRef idx="2">
            <a:schemeClr val="accent1"/>
          </a:effectRef>
          <a:fontRef idx="minor">
            <a:schemeClr val="lt1"/>
          </a:fontRef>
        </p:style>
        <p:txBody>
          <a:bodyPr rtlCol="0" anchor="ctr"/>
          <a:lstStyle/>
          <a:p>
            <a:pPr algn="ctr" defTabSz="422041" eaLnBrk="1" fontAlgn="auto" hangingPunct="1">
              <a:spcBef>
                <a:spcPts val="0"/>
              </a:spcBef>
              <a:spcAft>
                <a:spcPts val="0"/>
              </a:spcAft>
              <a:defRPr/>
            </a:pPr>
            <a:endParaRPr lang="en-US" sz="1662">
              <a:solidFill>
                <a:srgbClr val="0070C0"/>
              </a:solidFill>
            </a:endParaRPr>
          </a:p>
        </p:txBody>
      </p:sp>
      <p:sp>
        <p:nvSpPr>
          <p:cNvPr id="122" name="TextBox 121"/>
          <p:cNvSpPr txBox="1"/>
          <p:nvPr/>
        </p:nvSpPr>
        <p:spPr>
          <a:xfrm>
            <a:off x="577324" y="5491902"/>
            <a:ext cx="1503357" cy="1028743"/>
          </a:xfrm>
          <a:prstGeom prst="rect">
            <a:avLst/>
          </a:prstGeom>
          <a:noFill/>
        </p:spPr>
        <p:txBody>
          <a:bodyPr wrap="square" rtlCol="0">
            <a:spAutoFit/>
          </a:bodyPr>
          <a:lstStyle/>
          <a:p>
            <a:pPr defTabSz="422041" eaLnBrk="1" fontAlgn="auto" hangingPunct="1">
              <a:spcBef>
                <a:spcPts val="0"/>
              </a:spcBef>
              <a:spcAft>
                <a:spcPts val="462"/>
              </a:spcAft>
              <a:defRPr/>
            </a:pPr>
            <a:r>
              <a:rPr lang="en-US" sz="1292" dirty="0">
                <a:solidFill>
                  <a:srgbClr val="021631"/>
                </a:solidFill>
                <a:latin typeface="Calibri"/>
                <a:ea typeface="+mn-ea"/>
              </a:rPr>
              <a:t>IWASP Countries </a:t>
            </a:r>
          </a:p>
          <a:p>
            <a:pPr defTabSz="844083">
              <a:spcBef>
                <a:spcPts val="554"/>
              </a:spcBef>
              <a:buClr>
                <a:srgbClr val="444D54"/>
              </a:buClr>
              <a:defRPr/>
            </a:pPr>
            <a:r>
              <a:rPr lang="de-DE" sz="1292" dirty="0">
                <a:solidFill>
                  <a:srgbClr val="E9EAED">
                    <a:lumMod val="10000"/>
                  </a:srgbClr>
                </a:solidFill>
                <a:latin typeface="Calibri"/>
                <a:ea typeface="+mn-ea"/>
              </a:rPr>
              <a:t>Other GIZ Water </a:t>
            </a:r>
          </a:p>
          <a:p>
            <a:pPr defTabSz="844083">
              <a:buClr>
                <a:srgbClr val="444D54"/>
              </a:buClr>
              <a:defRPr/>
            </a:pPr>
            <a:r>
              <a:rPr lang="de-DE" sz="1292" dirty="0">
                <a:solidFill>
                  <a:srgbClr val="E9EAED">
                    <a:lumMod val="10000"/>
                  </a:srgbClr>
                </a:solidFill>
                <a:latin typeface="Calibri"/>
                <a:ea typeface="+mn-ea"/>
              </a:rPr>
              <a:t>Stewardship Projects</a:t>
            </a:r>
            <a:endParaRPr lang="en-US" sz="1662" dirty="0">
              <a:solidFill>
                <a:srgbClr val="021631"/>
              </a:solidFill>
              <a:latin typeface="Calibri"/>
              <a:ea typeface="+mn-ea"/>
            </a:endParaRPr>
          </a:p>
        </p:txBody>
      </p:sp>
      <p:sp>
        <p:nvSpPr>
          <p:cNvPr id="3" name="Rounded Rectangle 2"/>
          <p:cNvSpPr/>
          <p:nvPr/>
        </p:nvSpPr>
        <p:spPr>
          <a:xfrm>
            <a:off x="5405679" y="1237087"/>
            <a:ext cx="1545254" cy="1359394"/>
          </a:xfrm>
          <a:prstGeom prst="roundRect">
            <a:avLst/>
          </a:prstGeom>
          <a:solidFill>
            <a:schemeClr val="bg1"/>
          </a:solidFill>
          <a:ln w="25400"/>
        </p:spPr>
        <p:style>
          <a:lnRef idx="1">
            <a:schemeClr val="accent1"/>
          </a:lnRef>
          <a:fillRef idx="3">
            <a:schemeClr val="accent1"/>
          </a:fillRef>
          <a:effectRef idx="2">
            <a:schemeClr val="accent1"/>
          </a:effectRef>
          <a:fontRef idx="minor">
            <a:schemeClr val="lt1"/>
          </a:fontRef>
        </p:style>
        <p:txBody>
          <a:bodyPr rtlCol="0" anchor="t"/>
          <a:lstStyle/>
          <a:p>
            <a:pPr algn="ctr" defTabSz="422041" eaLnBrk="1" fontAlgn="auto" hangingPunct="1">
              <a:spcBef>
                <a:spcPts val="0"/>
              </a:spcBef>
              <a:spcAft>
                <a:spcPts val="0"/>
              </a:spcAft>
              <a:defRPr/>
            </a:pPr>
            <a:r>
              <a:rPr lang="de-DE" sz="1292" b="1" dirty="0">
                <a:solidFill>
                  <a:srgbClr val="021631"/>
                </a:solidFill>
              </a:rPr>
              <a:t>PAKISTAN</a:t>
            </a:r>
          </a:p>
        </p:txBody>
      </p:sp>
      <p:cxnSp>
        <p:nvCxnSpPr>
          <p:cNvPr id="134" name="Gerade Verbindung 100"/>
          <p:cNvCxnSpPr>
            <a:stCxn id="50" idx="2"/>
          </p:cNvCxnSpPr>
          <p:nvPr/>
        </p:nvCxnSpPr>
        <p:spPr bwMode="auto">
          <a:xfrm>
            <a:off x="3066712" y="2630581"/>
            <a:ext cx="1607525" cy="2313471"/>
          </a:xfrm>
          <a:prstGeom prst="line">
            <a:avLst/>
          </a:prstGeom>
          <a:ln>
            <a:solidFill>
              <a:schemeClr val="accent1">
                <a:lumMod val="75000"/>
              </a:schemeClr>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accent6"/>
          </a:lnRef>
          <a:fillRef idx="0">
            <a:schemeClr val="accent6"/>
          </a:fillRef>
          <a:effectRef idx="0">
            <a:schemeClr val="accent6"/>
          </a:effectRef>
          <a:fontRef idx="minor">
            <a:schemeClr val="tx1"/>
          </a:fontRef>
        </p:style>
      </p:cxnSp>
      <p:cxnSp>
        <p:nvCxnSpPr>
          <p:cNvPr id="136" name="Gerade Verbindung 100"/>
          <p:cNvCxnSpPr>
            <a:stCxn id="3" idx="2"/>
            <a:endCxn id="611" idx="10"/>
          </p:cNvCxnSpPr>
          <p:nvPr/>
        </p:nvCxnSpPr>
        <p:spPr bwMode="auto">
          <a:xfrm flipH="1">
            <a:off x="5947319" y="2596483"/>
            <a:ext cx="214909" cy="1131319"/>
          </a:xfrm>
          <a:prstGeom prst="line">
            <a:avLst/>
          </a:prstGeom>
          <a:ln>
            <a:solidFill>
              <a:schemeClr val="accent1">
                <a:lumMod val="75000"/>
              </a:schemeClr>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accent6"/>
          </a:lnRef>
          <a:fillRef idx="0">
            <a:schemeClr val="accent6"/>
          </a:fillRef>
          <a:effectRef idx="0">
            <a:schemeClr val="accent6"/>
          </a:effectRef>
          <a:fontRef idx="minor">
            <a:schemeClr val="tx1"/>
          </a:fontRef>
        </p:style>
      </p:cxnSp>
      <p:cxnSp>
        <p:nvCxnSpPr>
          <p:cNvPr id="139" name="Gerade Verbindung 100"/>
          <p:cNvCxnSpPr/>
          <p:nvPr/>
        </p:nvCxnSpPr>
        <p:spPr bwMode="auto">
          <a:xfrm flipH="1">
            <a:off x="4972141" y="5469231"/>
            <a:ext cx="1485816" cy="15456"/>
          </a:xfrm>
          <a:prstGeom prst="line">
            <a:avLst/>
          </a:prstGeom>
          <a:ln>
            <a:solidFill>
              <a:schemeClr val="accent1">
                <a:lumMod val="75000"/>
              </a:schemeClr>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accent6"/>
          </a:lnRef>
          <a:fillRef idx="0">
            <a:schemeClr val="accent6"/>
          </a:fillRef>
          <a:effectRef idx="0">
            <a:schemeClr val="accent6"/>
          </a:effectRef>
          <a:fontRef idx="minor">
            <a:schemeClr val="tx1"/>
          </a:fontRef>
        </p:style>
      </p:cxnSp>
      <p:cxnSp>
        <p:nvCxnSpPr>
          <p:cNvPr id="142" name="Gerade Verbindung 100"/>
          <p:cNvCxnSpPr/>
          <p:nvPr/>
        </p:nvCxnSpPr>
        <p:spPr bwMode="auto">
          <a:xfrm flipH="1">
            <a:off x="5286207" y="2794922"/>
            <a:ext cx="1763165" cy="1864338"/>
          </a:xfrm>
          <a:prstGeom prst="line">
            <a:avLst/>
          </a:prstGeom>
          <a:ln>
            <a:solidFill>
              <a:schemeClr val="accent1">
                <a:lumMod val="75000"/>
              </a:schemeClr>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accent6"/>
          </a:lnRef>
          <a:fillRef idx="0">
            <a:schemeClr val="accent6"/>
          </a:fillRef>
          <a:effectRef idx="0">
            <a:schemeClr val="accent6"/>
          </a:effectRef>
          <a:fontRef idx="minor">
            <a:schemeClr val="tx1"/>
          </a:fontRef>
        </p:style>
      </p:cxnSp>
      <p:cxnSp>
        <p:nvCxnSpPr>
          <p:cNvPr id="145" name="Gerade Verbindung 100"/>
          <p:cNvCxnSpPr>
            <a:stCxn id="20" idx="2"/>
            <a:endCxn id="1184" idx="28"/>
          </p:cNvCxnSpPr>
          <p:nvPr/>
        </p:nvCxnSpPr>
        <p:spPr bwMode="auto">
          <a:xfrm>
            <a:off x="4525512" y="2663524"/>
            <a:ext cx="603822" cy="1903707"/>
          </a:xfrm>
          <a:prstGeom prst="line">
            <a:avLst/>
          </a:prstGeom>
          <a:ln>
            <a:solidFill>
              <a:schemeClr val="accent1">
                <a:lumMod val="75000"/>
              </a:schemeClr>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accent6"/>
          </a:lnRef>
          <a:fillRef idx="0">
            <a:schemeClr val="accent6"/>
          </a:fillRef>
          <a:effectRef idx="0">
            <a:schemeClr val="accent6"/>
          </a:effectRef>
          <a:fontRef idx="minor">
            <a:schemeClr val="tx1"/>
          </a:fontRef>
        </p:style>
      </p:cxnSp>
      <p:cxnSp>
        <p:nvCxnSpPr>
          <p:cNvPr id="154" name="Gerade Verbindung 100"/>
          <p:cNvCxnSpPr/>
          <p:nvPr/>
        </p:nvCxnSpPr>
        <p:spPr bwMode="auto">
          <a:xfrm flipH="1">
            <a:off x="5229396" y="4226246"/>
            <a:ext cx="1642463" cy="591840"/>
          </a:xfrm>
          <a:prstGeom prst="line">
            <a:avLst/>
          </a:prstGeom>
          <a:ln>
            <a:solidFill>
              <a:schemeClr val="accent1">
                <a:lumMod val="75000"/>
              </a:schemeClr>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accent6"/>
          </a:lnRef>
          <a:fillRef idx="0">
            <a:schemeClr val="accent6"/>
          </a:fillRef>
          <a:effectRef idx="0">
            <a:schemeClr val="accent6"/>
          </a:effectRef>
          <a:fontRef idx="minor">
            <a:schemeClr val="tx1"/>
          </a:fontRef>
        </p:style>
      </p:cxnSp>
      <p:cxnSp>
        <p:nvCxnSpPr>
          <p:cNvPr id="137" name="Gerade Verbindung 100"/>
          <p:cNvCxnSpPr/>
          <p:nvPr/>
        </p:nvCxnSpPr>
        <p:spPr bwMode="auto">
          <a:xfrm flipV="1">
            <a:off x="4430324" y="4240541"/>
            <a:ext cx="799071" cy="571591"/>
          </a:xfrm>
          <a:prstGeom prst="line">
            <a:avLst/>
          </a:prstGeom>
          <a:ln>
            <a:solidFill>
              <a:schemeClr val="accent1">
                <a:lumMod val="75000"/>
              </a:schemeClr>
            </a:solidFill>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p:spPr>
        <p:style>
          <a:lnRef idx="1">
            <a:schemeClr val="accent6"/>
          </a:lnRef>
          <a:fillRef idx="0">
            <a:schemeClr val="accent6"/>
          </a:fillRef>
          <a:effectRef idx="0">
            <a:schemeClr val="accent6"/>
          </a:effectRef>
          <a:fontRef idx="minor">
            <a:schemeClr val="tx1"/>
          </a:fontRef>
        </p:style>
      </p:cxnSp>
      <p:sp>
        <p:nvSpPr>
          <p:cNvPr id="229" name="Rounded Rectangle 228"/>
          <p:cNvSpPr/>
          <p:nvPr/>
        </p:nvSpPr>
        <p:spPr>
          <a:xfrm>
            <a:off x="3303855" y="4773860"/>
            <a:ext cx="1176167" cy="1104462"/>
          </a:xfrm>
          <a:prstGeom prst="roundRect">
            <a:avLst/>
          </a:prstGeom>
          <a:solidFill>
            <a:schemeClr val="bg1"/>
          </a:solidFill>
          <a:ln w="25400"/>
        </p:spPr>
        <p:style>
          <a:lnRef idx="1">
            <a:schemeClr val="accent1"/>
          </a:lnRef>
          <a:fillRef idx="3">
            <a:schemeClr val="accent1"/>
          </a:fillRef>
          <a:effectRef idx="2">
            <a:schemeClr val="accent1"/>
          </a:effectRef>
          <a:fontRef idx="minor">
            <a:schemeClr val="lt1"/>
          </a:fontRef>
        </p:style>
        <p:txBody>
          <a:bodyPr rtlCol="0" anchor="t"/>
          <a:lstStyle/>
          <a:p>
            <a:pPr algn="ctr" defTabSz="422041" eaLnBrk="1" fontAlgn="auto" hangingPunct="1">
              <a:spcBef>
                <a:spcPts val="0"/>
              </a:spcBef>
              <a:spcAft>
                <a:spcPts val="0"/>
              </a:spcAft>
              <a:defRPr/>
            </a:pPr>
            <a:r>
              <a:rPr lang="de-DE" sz="1292" b="1" dirty="0">
                <a:solidFill>
                  <a:srgbClr val="021631"/>
                </a:solidFill>
              </a:rPr>
              <a:t>ETHIOPIA</a:t>
            </a:r>
          </a:p>
        </p:txBody>
      </p:sp>
      <p:sp>
        <p:nvSpPr>
          <p:cNvPr id="120" name="Titel 3"/>
          <p:cNvSpPr>
            <a:spLocks noGrp="1"/>
          </p:cNvSpPr>
          <p:nvPr>
            <p:ph type="title"/>
          </p:nvPr>
        </p:nvSpPr>
        <p:spPr>
          <a:xfrm>
            <a:off x="788890" y="699430"/>
            <a:ext cx="6498186" cy="844062"/>
          </a:xfrm>
        </p:spPr>
        <p:txBody>
          <a:bodyPr/>
          <a:lstStyle/>
          <a:p>
            <a:pPr algn="ctr"/>
            <a:r>
              <a:rPr lang="en-GB" b="0" dirty="0" smtClean="0"/>
              <a:t>How have we responded? </a:t>
            </a:r>
            <a:br>
              <a:rPr lang="en-GB" b="0" dirty="0" smtClean="0"/>
            </a:br>
            <a:r>
              <a:rPr lang="en-GB" dirty="0" smtClean="0"/>
              <a:t>International Water Stewardship Program  Countries </a:t>
            </a:r>
            <a:r>
              <a:rPr lang="en-GB" dirty="0"/>
              <a:t>and </a:t>
            </a:r>
            <a:r>
              <a:rPr lang="en-GB" dirty="0" smtClean="0"/>
              <a:t>Key </a:t>
            </a:r>
            <a:r>
              <a:rPr lang="en-GB" dirty="0"/>
              <a:t>P</a:t>
            </a:r>
            <a:r>
              <a:rPr lang="en-GB" dirty="0" smtClean="0"/>
              <a:t>artners</a:t>
            </a:r>
            <a:r>
              <a:rPr lang="en-GB" dirty="0"/>
              <a:t/>
            </a:r>
            <a:br>
              <a:rPr lang="en-GB" dirty="0"/>
            </a:br>
            <a:endParaRPr lang="en-GB" dirty="0"/>
          </a:p>
        </p:txBody>
      </p:sp>
      <p:pic>
        <p:nvPicPr>
          <p:cNvPr id="124" name="Picture 2"/>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2762258" y="2300598"/>
            <a:ext cx="276030" cy="295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5" name="Picture 2" descr="C:\Users\beetle_phi\Pictures\10485648_262395693948872_3316792956480996072_n.jpg"/>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3086566" y="1936843"/>
            <a:ext cx="372669" cy="403725"/>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uppieren 3"/>
          <p:cNvGrpSpPr/>
          <p:nvPr/>
        </p:nvGrpSpPr>
        <p:grpSpPr>
          <a:xfrm>
            <a:off x="3672836" y="1141894"/>
            <a:ext cx="1721424" cy="1521628"/>
            <a:chOff x="4137008" y="1191340"/>
            <a:chExt cx="2020282" cy="1648430"/>
          </a:xfrm>
        </p:grpSpPr>
        <p:sp>
          <p:nvSpPr>
            <p:cNvPr id="20" name="Rounded Rectangle 19"/>
            <p:cNvSpPr/>
            <p:nvPr/>
          </p:nvSpPr>
          <p:spPr>
            <a:xfrm>
              <a:off x="4137008" y="1191340"/>
              <a:ext cx="2020282" cy="1648430"/>
            </a:xfrm>
            <a:prstGeom prst="roundRect">
              <a:avLst/>
            </a:prstGeom>
            <a:solidFill>
              <a:schemeClr val="bg1"/>
            </a:solidFill>
            <a:ln w="25400"/>
          </p:spPr>
          <p:style>
            <a:lnRef idx="1">
              <a:schemeClr val="accent1"/>
            </a:lnRef>
            <a:fillRef idx="3">
              <a:schemeClr val="accent1"/>
            </a:fillRef>
            <a:effectRef idx="2">
              <a:schemeClr val="accent1"/>
            </a:effectRef>
            <a:fontRef idx="minor">
              <a:schemeClr val="lt1"/>
            </a:fontRef>
          </p:style>
          <p:txBody>
            <a:bodyPr rtlCol="0" anchor="ctr"/>
            <a:lstStyle/>
            <a:p>
              <a:pPr algn="ctr" defTabSz="422041" eaLnBrk="1" fontAlgn="auto" hangingPunct="1">
                <a:spcBef>
                  <a:spcPts val="0"/>
                </a:spcBef>
                <a:spcAft>
                  <a:spcPts val="0"/>
                </a:spcAft>
                <a:defRPr/>
              </a:pPr>
              <a:endParaRPr lang="en-US" sz="1662">
                <a:solidFill>
                  <a:srgbClr val="FFFFFF"/>
                </a:solidFill>
              </a:endParaRPr>
            </a:p>
          </p:txBody>
        </p:sp>
        <p:sp>
          <p:nvSpPr>
            <p:cNvPr id="39" name="TextBox 106"/>
            <p:cNvSpPr txBox="1"/>
            <p:nvPr/>
          </p:nvSpPr>
          <p:spPr>
            <a:xfrm>
              <a:off x="4666909" y="1229205"/>
              <a:ext cx="874646" cy="530840"/>
            </a:xfrm>
            <a:prstGeom prst="rect">
              <a:avLst/>
            </a:prstGeom>
            <a:solidFill>
              <a:schemeClr val="bg1"/>
            </a:solidFill>
          </p:spPr>
          <p:txBody>
            <a:bodyPr wrap="square" rtlCol="0">
              <a:spAutoFit/>
            </a:bodyPr>
            <a:lstStyle/>
            <a:p>
              <a:pPr defTabSz="422041" eaLnBrk="1" fontAlgn="auto" hangingPunct="1">
                <a:spcBef>
                  <a:spcPts val="0"/>
                </a:spcBef>
                <a:spcAft>
                  <a:spcPts val="0"/>
                </a:spcAft>
                <a:buClr>
                  <a:srgbClr val="444D54"/>
                </a:buClr>
                <a:defRPr/>
              </a:pPr>
              <a:r>
                <a:rPr lang="en-US" sz="1292" b="1" dirty="0">
                  <a:solidFill>
                    <a:srgbClr val="E9EAED">
                      <a:lumMod val="10000"/>
                    </a:srgbClr>
                  </a:solidFill>
                  <a:latin typeface="Calibri"/>
                  <a:ea typeface="+mn-ea"/>
                </a:rPr>
                <a:t>UGANDA</a:t>
              </a:r>
            </a:p>
          </p:txBody>
        </p:sp>
        <p:grpSp>
          <p:nvGrpSpPr>
            <p:cNvPr id="23" name="Group 22"/>
            <p:cNvGrpSpPr/>
            <p:nvPr/>
          </p:nvGrpSpPr>
          <p:grpSpPr>
            <a:xfrm>
              <a:off x="4156058" y="1558492"/>
              <a:ext cx="1967921" cy="1226332"/>
              <a:chOff x="5267102" y="1372728"/>
              <a:chExt cx="1967921" cy="1226332"/>
            </a:xfrm>
          </p:grpSpPr>
          <p:pic>
            <p:nvPicPr>
              <p:cNvPr id="34" name="Picture 5" descr="MWE.jpg"/>
              <p:cNvPicPr>
                <a:picLocks noChangeAspect="1"/>
              </p:cNvPicPr>
              <p:nvPr/>
            </p:nvPicPr>
            <p:blipFill>
              <a:blip r:embed="rId56" cstate="email">
                <a:extLst>
                  <a:ext uri="{28A0092B-C50C-407E-A947-70E740481C1C}">
                    <a14:useLocalDpi xmlns:a14="http://schemas.microsoft.com/office/drawing/2010/main"/>
                  </a:ext>
                </a:extLst>
              </a:blip>
              <a:stretch>
                <a:fillRect/>
              </a:stretch>
            </p:blipFill>
            <p:spPr>
              <a:xfrm>
                <a:off x="5267102" y="1375911"/>
                <a:ext cx="561629" cy="420440"/>
              </a:xfrm>
              <a:prstGeom prst="rect">
                <a:avLst/>
              </a:prstGeom>
              <a:solidFill>
                <a:schemeClr val="bg1"/>
              </a:solidFill>
            </p:spPr>
          </p:pic>
          <p:pic>
            <p:nvPicPr>
              <p:cNvPr id="35" name="Grafik 81" descr="http://www.ecoprofiles.org/admin/images/dirLogos/ucpc-logo.png"/>
              <p:cNvPicPr>
                <a:picLocks noChangeAspect="1"/>
              </p:cNvPicPr>
              <p:nvPr/>
            </p:nvPicPr>
            <p:blipFill rotWithShape="1">
              <a:blip r:embed="rId57" cstate="email">
                <a:extLst>
                  <a:ext uri="{28A0092B-C50C-407E-A947-70E740481C1C}">
                    <a14:useLocalDpi xmlns:a14="http://schemas.microsoft.com/office/drawing/2010/main"/>
                  </a:ext>
                </a:extLst>
              </a:blip>
              <a:srcRect/>
              <a:stretch/>
            </p:blipFill>
            <p:spPr bwMode="auto">
              <a:xfrm>
                <a:off x="6726786" y="1388073"/>
                <a:ext cx="491857" cy="396116"/>
              </a:xfrm>
              <a:prstGeom prst="rect">
                <a:avLst/>
              </a:prstGeom>
              <a:solidFill>
                <a:schemeClr val="bg1"/>
              </a:solidFill>
              <a:ln>
                <a:noFill/>
              </a:ln>
              <a:extLst>
                <a:ext uri="{53640926-AAD7-44D8-BBD7-CCE9431645EC}">
                  <a14:shadowObscured xmlns:a14="http://schemas.microsoft.com/office/drawing/2010/main"/>
                </a:ext>
              </a:extLst>
            </p:spPr>
          </p:pic>
          <p:pic>
            <p:nvPicPr>
              <p:cNvPr id="37" name="Grafik 85" descr="http://directory.ugo.co.ug/wp-content/uploads/NEMA.jpg"/>
              <p:cNvPicPr/>
              <p:nvPr/>
            </p:nvPicPr>
            <p:blipFill>
              <a:blip r:embed="rId58" cstate="email">
                <a:extLst>
                  <a:ext uri="{28A0092B-C50C-407E-A947-70E740481C1C}">
                    <a14:useLocalDpi xmlns:a14="http://schemas.microsoft.com/office/drawing/2010/main"/>
                  </a:ext>
                </a:extLst>
              </a:blip>
              <a:srcRect/>
              <a:stretch>
                <a:fillRect/>
              </a:stretch>
            </p:blipFill>
            <p:spPr bwMode="auto">
              <a:xfrm>
                <a:off x="6741435" y="1874269"/>
                <a:ext cx="493588" cy="378315"/>
              </a:xfrm>
              <a:prstGeom prst="rect">
                <a:avLst/>
              </a:prstGeom>
              <a:solidFill>
                <a:schemeClr val="bg1"/>
              </a:solidFill>
              <a:ln>
                <a:noFill/>
              </a:ln>
            </p:spPr>
          </p:pic>
          <p:pic>
            <p:nvPicPr>
              <p:cNvPr id="38" name="Grafik 80" descr="http://web.nwsc.co.ug/images/nwsc%20logo.jpg"/>
              <p:cNvPicPr/>
              <p:nvPr/>
            </p:nvPicPr>
            <p:blipFill>
              <a:blip r:embed="rId5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379383" y="2147669"/>
                <a:ext cx="437142" cy="451391"/>
              </a:xfrm>
              <a:prstGeom prst="rect">
                <a:avLst/>
              </a:prstGeom>
              <a:solidFill>
                <a:schemeClr val="bg1"/>
              </a:solidFill>
              <a:ln>
                <a:noFill/>
              </a:ln>
            </p:spPr>
          </p:pic>
          <p:pic>
            <p:nvPicPr>
              <p:cNvPr id="56" name="Picture 131" descr="https://upload.wikimedia.org/wikipedia/en/thumb/5/52/Total.svg/819px-Total.svg.png"/>
              <p:cNvPicPr/>
              <p:nvPr/>
            </p:nvPicPr>
            <p:blipFill>
              <a:blip r:embed="rId60" cstate="print">
                <a:extLst>
                  <a:ext uri="{28A0092B-C50C-407E-A947-70E740481C1C}">
                    <a14:useLocalDpi xmlns:a14="http://schemas.microsoft.com/office/drawing/2010/main" val="0"/>
                  </a:ext>
                </a:extLst>
              </a:blip>
              <a:srcRect/>
              <a:stretch>
                <a:fillRect/>
              </a:stretch>
            </p:blipFill>
            <p:spPr bwMode="auto">
              <a:xfrm>
                <a:off x="6382744" y="1388458"/>
                <a:ext cx="299118" cy="533871"/>
              </a:xfrm>
              <a:prstGeom prst="rect">
                <a:avLst/>
              </a:prstGeom>
              <a:noFill/>
              <a:ln>
                <a:noFill/>
              </a:ln>
            </p:spPr>
          </p:pic>
          <p:pic>
            <p:nvPicPr>
              <p:cNvPr id="57" name="Picture 132" descr="https://encrypted-tbn2.gstatic.com/images?q=tbn:ANd9GcQYq7VzeBxVG4-7qJzywBAlqwcEDfCkE61f6jx1Nyo_d5CBjxAL"/>
              <p:cNvPicPr/>
              <p:nvPr/>
            </p:nvPicPr>
            <p:blipFill>
              <a:blip r:embed="rId61" cstate="print">
                <a:extLst>
                  <a:ext uri="{28A0092B-C50C-407E-A947-70E740481C1C}">
                    <a14:useLocalDpi xmlns:a14="http://schemas.microsoft.com/office/drawing/2010/main" val="0"/>
                  </a:ext>
                </a:extLst>
              </a:blip>
              <a:srcRect/>
              <a:stretch>
                <a:fillRect/>
              </a:stretch>
            </p:blipFill>
            <p:spPr bwMode="auto">
              <a:xfrm>
                <a:off x="5796611" y="1372728"/>
                <a:ext cx="442392" cy="512143"/>
              </a:xfrm>
              <a:prstGeom prst="rect">
                <a:avLst/>
              </a:prstGeom>
              <a:noFill/>
              <a:ln>
                <a:noFill/>
              </a:ln>
            </p:spPr>
          </p:pic>
          <p:pic>
            <p:nvPicPr>
              <p:cNvPr id="58" name="Picture 133" descr="http://www.wateraid.org/us/~/media/Images/USA/Buttons-icons-and-logos/Corporate-logos-302px/Coca-Cola-Africa-Foundation.jpg"/>
              <p:cNvPicPr/>
              <p:nvPr/>
            </p:nvPicPr>
            <p:blipFill rotWithShape="1">
              <a:blip r:embed="rId62" cstate="print">
                <a:extLst>
                  <a:ext uri="{28A0092B-C50C-407E-A947-70E740481C1C}">
                    <a14:useLocalDpi xmlns:a14="http://schemas.microsoft.com/office/drawing/2010/main" val="0"/>
                  </a:ext>
                </a:extLst>
              </a:blip>
              <a:srcRect t="15525" b="14104"/>
              <a:stretch/>
            </p:blipFill>
            <p:spPr bwMode="auto">
              <a:xfrm>
                <a:off x="5758085" y="1953898"/>
                <a:ext cx="624659" cy="419467"/>
              </a:xfrm>
              <a:prstGeom prst="rect">
                <a:avLst/>
              </a:prstGeom>
              <a:noFill/>
              <a:ln>
                <a:noFill/>
              </a:ln>
            </p:spPr>
          </p:pic>
          <p:pic>
            <p:nvPicPr>
              <p:cNvPr id="91" name="Picture 176" descr="uma-lOGO-copy-e1404296290511.jpg"/>
              <p:cNvPicPr>
                <a:picLocks noChangeAspect="1"/>
              </p:cNvPicPr>
              <p:nvPr/>
            </p:nvPicPr>
            <p:blipFill>
              <a:blip r:embed="rId63" cstate="print"/>
              <a:stretch>
                <a:fillRect/>
              </a:stretch>
            </p:blipFill>
            <p:spPr>
              <a:xfrm>
                <a:off x="6325875" y="2008191"/>
                <a:ext cx="415559" cy="437182"/>
              </a:xfrm>
              <a:prstGeom prst="rect">
                <a:avLst/>
              </a:prstGeom>
            </p:spPr>
          </p:pic>
          <p:pic>
            <p:nvPicPr>
              <p:cNvPr id="36" name="Picture 65"/>
              <p:cNvPicPr>
                <a:picLocks noChangeAspect="1" noChangeArrowheads="1"/>
              </p:cNvPicPr>
              <p:nvPr/>
            </p:nvPicPr>
            <p:blipFill>
              <a:blip r:embed="rId64" cstate="print">
                <a:clrChange>
                  <a:clrFrom>
                    <a:srgbClr val="FFF7E6"/>
                  </a:clrFrom>
                  <a:clrTo>
                    <a:srgbClr val="FFF7E6">
                      <a:alpha val="0"/>
                    </a:srgbClr>
                  </a:clrTo>
                </a:clrChange>
                <a:extLst>
                  <a:ext uri="{28A0092B-C50C-407E-A947-70E740481C1C}">
                    <a14:useLocalDpi xmlns:a14="http://schemas.microsoft.com/office/drawing/2010/main" val="0"/>
                  </a:ext>
                </a:extLst>
              </a:blip>
              <a:srcRect/>
              <a:stretch>
                <a:fillRect/>
              </a:stretch>
            </p:blipFill>
            <p:spPr bwMode="auto">
              <a:xfrm>
                <a:off x="5281171" y="1836675"/>
                <a:ext cx="401159" cy="350620"/>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grpSp>
        <p:pic>
          <p:nvPicPr>
            <p:cNvPr id="1026" name="Picture 2" descr="C:\Users\schmid_max1\Desktop\Jan\Quoniam\Bilder\Kinyara_Sugar.jpg"/>
            <p:cNvPicPr>
              <a:picLocks noChangeAspect="1" noChangeArrowheads="1"/>
            </p:cNvPicPr>
            <p:nvPr/>
          </p:nvPicPr>
          <p:blipFill>
            <a:blip r:embed="rId65" cstate="print">
              <a:extLst>
                <a:ext uri="{28A0092B-C50C-407E-A947-70E740481C1C}">
                  <a14:useLocalDpi xmlns:a14="http://schemas.microsoft.com/office/drawing/2010/main" val="0"/>
                </a:ext>
              </a:extLst>
            </a:blip>
            <a:srcRect/>
            <a:stretch>
              <a:fillRect/>
            </a:stretch>
          </p:blipFill>
          <p:spPr bwMode="auto">
            <a:xfrm>
              <a:off x="5677113" y="2438348"/>
              <a:ext cx="369113" cy="369113"/>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AutoShape 2" descr="Image result for grindrod"/>
          <p:cNvSpPr>
            <a:spLocks noChangeAspect="1" noChangeArrowheads="1"/>
          </p:cNvSpPr>
          <p:nvPr/>
        </p:nvSpPr>
        <p:spPr bwMode="auto">
          <a:xfrm>
            <a:off x="351693" y="137746"/>
            <a:ext cx="1225512" cy="685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pPr defTabSz="422041" eaLnBrk="1" fontAlgn="auto" hangingPunct="1">
              <a:spcBef>
                <a:spcPts val="0"/>
              </a:spcBef>
              <a:spcAft>
                <a:spcPts val="0"/>
              </a:spcAft>
              <a:defRPr/>
            </a:pPr>
            <a:endParaRPr lang="de-DE" sz="1662">
              <a:solidFill>
                <a:srgbClr val="021631"/>
              </a:solidFill>
              <a:latin typeface="Calibri"/>
              <a:ea typeface="+mn-ea"/>
            </a:endParaRPr>
          </a:p>
        </p:txBody>
      </p:sp>
      <p:pic>
        <p:nvPicPr>
          <p:cNvPr id="8" name="Picture 6" descr="Related image">
            <a:hlinkClick r:id="rId66"/>
          </p:cNvPr>
          <p:cNvPicPr>
            <a:picLocks noChangeAspect="1" noChangeArrowheads="1"/>
          </p:cNvPicPr>
          <p:nvPr/>
        </p:nvPicPr>
        <p:blipFill>
          <a:blip r:embed="rId67" cstate="print">
            <a:extLst>
              <a:ext uri="{28A0092B-C50C-407E-A947-70E740481C1C}">
                <a14:useLocalDpi xmlns:a14="http://schemas.microsoft.com/office/drawing/2010/main" val="0"/>
              </a:ext>
            </a:extLst>
          </a:blip>
          <a:srcRect/>
          <a:stretch>
            <a:fillRect/>
          </a:stretch>
        </p:blipFill>
        <p:spPr bwMode="auto">
          <a:xfrm>
            <a:off x="8228093" y="4862557"/>
            <a:ext cx="266066" cy="28823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7"/>
          <p:cNvPicPr>
            <a:picLocks noChangeAspect="1" noChangeArrowheads="1"/>
          </p:cNvPicPr>
          <p:nvPr/>
        </p:nvPicPr>
        <p:blipFill>
          <a:blip r:embed="rId68" cstate="print">
            <a:extLst>
              <a:ext uri="{28A0092B-C50C-407E-A947-70E740481C1C}">
                <a14:useLocalDpi xmlns:a14="http://schemas.microsoft.com/office/drawing/2010/main" val="0"/>
              </a:ext>
            </a:extLst>
          </a:blip>
          <a:srcRect/>
          <a:stretch>
            <a:fillRect/>
          </a:stretch>
        </p:blipFill>
        <p:spPr bwMode="auto">
          <a:xfrm>
            <a:off x="6584895" y="4670257"/>
            <a:ext cx="382582" cy="1708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9" descr="Rio Tinto">
            <a:hlinkClick r:id="rId69"/>
          </p:cNvPr>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7703810" y="6429363"/>
            <a:ext cx="389567" cy="7913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1" descr="Image result">
            <a:hlinkClick r:id="rId71"/>
          </p:cNvPr>
          <p:cNvPicPr>
            <a:picLocks noChangeAspect="1" noChangeArrowheads="1"/>
          </p:cNvPicPr>
          <p:nvPr/>
        </p:nvPicPr>
        <p:blipFill>
          <a:blip r:embed="rId72" cstate="print">
            <a:extLst>
              <a:ext uri="{28A0092B-C50C-407E-A947-70E740481C1C}">
                <a14:useLocalDpi xmlns:a14="http://schemas.microsoft.com/office/drawing/2010/main" val="0"/>
              </a:ext>
            </a:extLst>
          </a:blip>
          <a:srcRect/>
          <a:stretch>
            <a:fillRect/>
          </a:stretch>
        </p:blipFill>
        <p:spPr bwMode="auto">
          <a:xfrm>
            <a:off x="6970648" y="6279011"/>
            <a:ext cx="255708" cy="27701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3" descr="Transnet"/>
          <p:cNvPicPr>
            <a:picLocks noChangeAspect="1" noChangeArrowheads="1"/>
          </p:cNvPicPr>
          <p:nvPr/>
        </p:nvPicPr>
        <p:blipFill>
          <a:blip r:embed="rId73" cstate="print">
            <a:extLst>
              <a:ext uri="{28A0092B-C50C-407E-A947-70E740481C1C}">
                <a14:useLocalDpi xmlns:a14="http://schemas.microsoft.com/office/drawing/2010/main" val="0"/>
              </a:ext>
            </a:extLst>
          </a:blip>
          <a:srcRect/>
          <a:stretch>
            <a:fillRect/>
          </a:stretch>
        </p:blipFill>
        <p:spPr bwMode="auto">
          <a:xfrm>
            <a:off x="8123140" y="4728363"/>
            <a:ext cx="374738" cy="180429"/>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5" descr="Image result">
            <a:hlinkClick r:id="rId74"/>
          </p:cNvPr>
          <p:cNvPicPr>
            <a:picLocks noChangeAspect="1" noChangeArrowheads="1"/>
          </p:cNvPicPr>
          <p:nvPr/>
        </p:nvPicPr>
        <p:blipFill>
          <a:blip r:embed="rId75" cstate="print">
            <a:extLst>
              <a:ext uri="{28A0092B-C50C-407E-A947-70E740481C1C}">
                <a14:useLocalDpi xmlns:a14="http://schemas.microsoft.com/office/drawing/2010/main" val="0"/>
              </a:ext>
            </a:extLst>
          </a:blip>
          <a:srcRect/>
          <a:stretch>
            <a:fillRect/>
          </a:stretch>
        </p:blipFill>
        <p:spPr bwMode="auto">
          <a:xfrm>
            <a:off x="7116006" y="5093903"/>
            <a:ext cx="273825" cy="296644"/>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7" descr="Image result">
            <a:hlinkClick r:id="rId76"/>
          </p:cNvPr>
          <p:cNvPicPr>
            <a:picLocks noChangeAspect="1" noChangeArrowheads="1"/>
          </p:cNvPicPr>
          <p:nvPr/>
        </p:nvPicPr>
        <p:blipFill>
          <a:blip r:embed="rId77" cstate="print">
            <a:extLst>
              <a:ext uri="{28A0092B-C50C-407E-A947-70E740481C1C}">
                <a14:useLocalDpi xmlns:a14="http://schemas.microsoft.com/office/drawing/2010/main" val="0"/>
              </a:ext>
            </a:extLst>
          </a:blip>
          <a:srcRect/>
          <a:stretch>
            <a:fillRect/>
          </a:stretch>
        </p:blipFill>
        <p:spPr bwMode="auto">
          <a:xfrm>
            <a:off x="8520111" y="4945178"/>
            <a:ext cx="174150" cy="18596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9" descr="http://www.kiliflora.com/images/KiliLogo.jpg"/>
          <p:cNvPicPr>
            <a:picLocks noChangeAspect="1" noChangeArrowheads="1"/>
          </p:cNvPicPr>
          <p:nvPr/>
        </p:nvPicPr>
        <p:blipFill>
          <a:blip r:embed="rId78" cstate="print">
            <a:extLst>
              <a:ext uri="{28A0092B-C50C-407E-A947-70E740481C1C}">
                <a14:useLocalDpi xmlns:a14="http://schemas.microsoft.com/office/drawing/2010/main" val="0"/>
              </a:ext>
            </a:extLst>
          </a:blip>
          <a:srcRect/>
          <a:stretch>
            <a:fillRect/>
          </a:stretch>
        </p:blipFill>
        <p:spPr bwMode="auto">
          <a:xfrm>
            <a:off x="7543140" y="4139317"/>
            <a:ext cx="388939" cy="24116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1" descr="Site Logo">
            <a:hlinkClick r:id="rId79"/>
          </p:cNvPr>
          <p:cNvPicPr>
            <a:picLocks noChangeAspect="1" noChangeArrowheads="1"/>
          </p:cNvPicPr>
          <p:nvPr/>
        </p:nvPicPr>
        <p:blipFill>
          <a:blip r:embed="rId80" cstate="print">
            <a:extLst>
              <a:ext uri="{28A0092B-C50C-407E-A947-70E740481C1C}">
                <a14:useLocalDpi xmlns:a14="http://schemas.microsoft.com/office/drawing/2010/main" val="0"/>
              </a:ext>
            </a:extLst>
          </a:blip>
          <a:srcRect/>
          <a:stretch>
            <a:fillRect/>
          </a:stretch>
        </p:blipFill>
        <p:spPr bwMode="auto">
          <a:xfrm>
            <a:off x="7519300" y="3766128"/>
            <a:ext cx="404725" cy="310959"/>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3" descr="Mount Cinnamon Grenada Resort"/>
          <p:cNvPicPr>
            <a:picLocks noChangeAspect="1" noChangeArrowheads="1"/>
          </p:cNvPicPr>
          <p:nvPr/>
        </p:nvPicPr>
        <p:blipFill>
          <a:blip r:embed="rId81" cstate="print">
            <a:extLst>
              <a:ext uri="{28A0092B-C50C-407E-A947-70E740481C1C}">
                <a14:useLocalDpi xmlns:a14="http://schemas.microsoft.com/office/drawing/2010/main" val="0"/>
              </a:ext>
            </a:extLst>
          </a:blip>
          <a:srcRect/>
          <a:stretch>
            <a:fillRect/>
          </a:stretch>
        </p:blipFill>
        <p:spPr bwMode="auto">
          <a:xfrm>
            <a:off x="794132" y="2257979"/>
            <a:ext cx="558941" cy="136731"/>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7" descr="Image result for spice island beach resort">
            <a:hlinkClick r:id="rId82"/>
          </p:cNvPr>
          <p:cNvPicPr>
            <a:picLocks noChangeAspect="1" noChangeArrowheads="1"/>
          </p:cNvPicPr>
          <p:nvPr/>
        </p:nvPicPr>
        <p:blipFill>
          <a:blip r:embed="rId83" cstate="print">
            <a:extLst>
              <a:ext uri="{28A0092B-C50C-407E-A947-70E740481C1C}">
                <a14:useLocalDpi xmlns:a14="http://schemas.microsoft.com/office/drawing/2010/main" val="0"/>
              </a:ext>
            </a:extLst>
          </a:blip>
          <a:srcRect/>
          <a:stretch>
            <a:fillRect/>
          </a:stretch>
        </p:blipFill>
        <p:spPr bwMode="auto">
          <a:xfrm>
            <a:off x="517446" y="2039276"/>
            <a:ext cx="532362" cy="171731"/>
          </a:xfrm>
          <a:prstGeom prst="rect">
            <a:avLst/>
          </a:prstGeom>
          <a:noFill/>
          <a:extLst>
            <a:ext uri="{909E8E84-426E-40DD-AFC4-6F175D3DCCD1}">
              <a14:hiddenFill xmlns:a14="http://schemas.microsoft.com/office/drawing/2010/main">
                <a:solidFill>
                  <a:srgbClr val="FFFFFF"/>
                </a:solidFill>
              </a14:hiddenFill>
            </a:ext>
          </a:extLst>
        </p:spPr>
      </p:pic>
      <p:pic>
        <p:nvPicPr>
          <p:cNvPr id="1890" name="Grafik 1889"/>
          <p:cNvPicPr>
            <a:picLocks noChangeAspect="1"/>
          </p:cNvPicPr>
          <p:nvPr/>
        </p:nvPicPr>
        <p:blipFill>
          <a:blip r:embed="rId84" cstate="print">
            <a:extLst>
              <a:ext uri="{28A0092B-C50C-407E-A947-70E740481C1C}">
                <a14:useLocalDpi xmlns:a14="http://schemas.microsoft.com/office/drawing/2010/main" val="0"/>
              </a:ext>
            </a:extLst>
          </a:blip>
          <a:stretch>
            <a:fillRect/>
          </a:stretch>
        </p:blipFill>
        <p:spPr>
          <a:xfrm>
            <a:off x="7911757" y="5732531"/>
            <a:ext cx="364598" cy="394981"/>
          </a:xfrm>
          <a:prstGeom prst="rect">
            <a:avLst/>
          </a:prstGeom>
        </p:spPr>
      </p:pic>
      <p:grpSp>
        <p:nvGrpSpPr>
          <p:cNvPr id="54" name="Gruppieren 53"/>
          <p:cNvGrpSpPr/>
          <p:nvPr/>
        </p:nvGrpSpPr>
        <p:grpSpPr>
          <a:xfrm>
            <a:off x="3354833" y="5076367"/>
            <a:ext cx="1068265" cy="733387"/>
            <a:chOff x="6362380" y="1266850"/>
            <a:chExt cx="1253727" cy="794503"/>
          </a:xfrm>
        </p:grpSpPr>
        <p:pic>
          <p:nvPicPr>
            <p:cNvPr id="1894" name="Picture 2" descr="Résultat de recherche d'images pour &quot;dbl textile logo&quot;"/>
            <p:cNvPicPr>
              <a:picLocks noChangeAspect="1" noChangeArrowheads="1"/>
            </p:cNvPicPr>
            <p:nvPr/>
          </p:nvPicPr>
          <p:blipFill>
            <a:blip r:embed="rId85" cstate="print">
              <a:extLst>
                <a:ext uri="{28A0092B-C50C-407E-A947-70E740481C1C}">
                  <a14:useLocalDpi xmlns:a14="http://schemas.microsoft.com/office/drawing/2010/main" val="0"/>
                </a:ext>
              </a:extLst>
            </a:blip>
            <a:srcRect/>
            <a:stretch>
              <a:fillRect/>
            </a:stretch>
          </p:blipFill>
          <p:spPr bwMode="auto">
            <a:xfrm>
              <a:off x="7315356" y="1575271"/>
              <a:ext cx="283483" cy="283484"/>
            </a:xfrm>
            <a:prstGeom prst="rect">
              <a:avLst/>
            </a:prstGeom>
            <a:noFill/>
            <a:extLst>
              <a:ext uri="{909E8E84-426E-40DD-AFC4-6F175D3DCCD1}">
                <a14:hiddenFill xmlns:a14="http://schemas.microsoft.com/office/drawing/2010/main">
                  <a:solidFill>
                    <a:srgbClr val="FFFFFF"/>
                  </a:solidFill>
                </a14:hiddenFill>
              </a:ext>
            </a:extLst>
          </p:spPr>
        </p:pic>
        <p:pic>
          <p:nvPicPr>
            <p:cNvPr id="1895" name="Picture 16" descr="Résultat de recherche d'images pour &quot;moha ethiopia&quot;"/>
            <p:cNvPicPr>
              <a:picLocks noChangeAspect="1" noChangeArrowheads="1"/>
            </p:cNvPicPr>
            <p:nvPr/>
          </p:nvPicPr>
          <p:blipFill>
            <a:blip r:embed="rId86" cstate="print">
              <a:extLst>
                <a:ext uri="{28A0092B-C50C-407E-A947-70E740481C1C}">
                  <a14:useLocalDpi xmlns:a14="http://schemas.microsoft.com/office/drawing/2010/main" val="0"/>
                </a:ext>
              </a:extLst>
            </a:blip>
            <a:srcRect/>
            <a:stretch>
              <a:fillRect/>
            </a:stretch>
          </p:blipFill>
          <p:spPr bwMode="auto">
            <a:xfrm>
              <a:off x="6886376" y="1578261"/>
              <a:ext cx="317060" cy="210802"/>
            </a:xfrm>
            <a:prstGeom prst="rect">
              <a:avLst/>
            </a:prstGeom>
            <a:noFill/>
            <a:extLst>
              <a:ext uri="{909E8E84-426E-40DD-AFC4-6F175D3DCCD1}">
                <a14:hiddenFill xmlns:a14="http://schemas.microsoft.com/office/drawing/2010/main">
                  <a:solidFill>
                    <a:srgbClr val="FFFFFF"/>
                  </a:solidFill>
                </a14:hiddenFill>
              </a:ext>
            </a:extLst>
          </p:spPr>
        </p:pic>
        <p:pic>
          <p:nvPicPr>
            <p:cNvPr id="1896" name="Picture 2"/>
            <p:cNvPicPr>
              <a:picLocks noChangeAspect="1" noChangeArrowheads="1"/>
            </p:cNvPicPr>
            <p:nvPr/>
          </p:nvPicPr>
          <p:blipFill>
            <a:blip r:embed="rId87" cstate="print">
              <a:extLst>
                <a:ext uri="{28A0092B-C50C-407E-A947-70E740481C1C}">
                  <a14:useLocalDpi xmlns:a14="http://schemas.microsoft.com/office/drawing/2010/main" val="0"/>
                </a:ext>
              </a:extLst>
            </a:blip>
            <a:srcRect/>
            <a:stretch>
              <a:fillRect/>
            </a:stretch>
          </p:blipFill>
          <p:spPr bwMode="auto">
            <a:xfrm>
              <a:off x="6362380" y="1789062"/>
              <a:ext cx="469467" cy="2722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97" name="Picture 7"/>
            <p:cNvPicPr>
              <a:picLocks noChangeAspect="1" noChangeArrowheads="1"/>
            </p:cNvPicPr>
            <p:nvPr/>
          </p:nvPicPr>
          <p:blipFill>
            <a:blip r:embed="rId88" cstate="print">
              <a:extLst>
                <a:ext uri="{28A0092B-C50C-407E-A947-70E740481C1C}">
                  <a14:useLocalDpi xmlns:a14="http://schemas.microsoft.com/office/drawing/2010/main" val="0"/>
                </a:ext>
              </a:extLst>
            </a:blip>
            <a:srcRect/>
            <a:stretch>
              <a:fillRect/>
            </a:stretch>
          </p:blipFill>
          <p:spPr bwMode="auto">
            <a:xfrm>
              <a:off x="6803025" y="1851899"/>
              <a:ext cx="813082" cy="1867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99" name="Picture 21" descr="C:\Users\user\Desktop\download.jpg"/>
            <p:cNvPicPr>
              <a:picLocks noChangeAspect="1" noChangeArrowheads="1"/>
            </p:cNvPicPr>
            <p:nvPr/>
          </p:nvPicPr>
          <p:blipFill>
            <a:blip r:embed="rId89" cstate="print">
              <a:extLst>
                <a:ext uri="{28A0092B-C50C-407E-A947-70E740481C1C}">
                  <a14:useLocalDpi xmlns:a14="http://schemas.microsoft.com/office/drawing/2010/main" val="0"/>
                </a:ext>
              </a:extLst>
            </a:blip>
            <a:srcRect/>
            <a:stretch>
              <a:fillRect/>
            </a:stretch>
          </p:blipFill>
          <p:spPr bwMode="auto">
            <a:xfrm flipH="1">
              <a:off x="6992346" y="1266850"/>
              <a:ext cx="309045" cy="302863"/>
            </a:xfrm>
            <a:prstGeom prst="rect">
              <a:avLst/>
            </a:prstGeom>
            <a:noFill/>
            <a:extLst>
              <a:ext uri="{909E8E84-426E-40DD-AFC4-6F175D3DCCD1}">
                <a14:hiddenFill xmlns:a14="http://schemas.microsoft.com/office/drawing/2010/main">
                  <a:solidFill>
                    <a:srgbClr val="FFFFFF"/>
                  </a:solidFill>
                </a14:hiddenFill>
              </a:ext>
            </a:extLst>
          </p:spPr>
        </p:pic>
      </p:grpSp>
      <p:pic>
        <p:nvPicPr>
          <p:cNvPr id="1900" name="Grafik 16"/>
          <p:cNvPicPr>
            <a:picLocks noChangeAspect="1"/>
          </p:cNvPicPr>
          <p:nvPr/>
        </p:nvPicPr>
        <p:blipFill>
          <a:blip r:embed="rId90"/>
          <a:stretch>
            <a:fillRect/>
          </a:stretch>
        </p:blipFill>
        <p:spPr>
          <a:xfrm>
            <a:off x="5487760" y="1637866"/>
            <a:ext cx="725768" cy="209901"/>
          </a:xfrm>
          <a:prstGeom prst="rect">
            <a:avLst/>
          </a:prstGeom>
        </p:spPr>
      </p:pic>
      <p:grpSp>
        <p:nvGrpSpPr>
          <p:cNvPr id="1901" name="Group 30"/>
          <p:cNvGrpSpPr>
            <a:grpSpLocks noChangeAspect="1"/>
          </p:cNvGrpSpPr>
          <p:nvPr/>
        </p:nvGrpSpPr>
        <p:grpSpPr>
          <a:xfrm>
            <a:off x="5441566" y="1876750"/>
            <a:ext cx="1482187" cy="484546"/>
            <a:chOff x="2219069" y="4779393"/>
            <a:chExt cx="4505894" cy="1359723"/>
          </a:xfrm>
        </p:grpSpPr>
        <p:pic>
          <p:nvPicPr>
            <p:cNvPr id="1902" name="Picture 31"/>
            <p:cNvPicPr>
              <a:picLocks noChangeAspect="1"/>
            </p:cNvPicPr>
            <p:nvPr/>
          </p:nvPicPr>
          <p:blipFill>
            <a:blip r:embed="rId91" cstate="print">
              <a:extLst>
                <a:ext uri="{28A0092B-C50C-407E-A947-70E740481C1C}">
                  <a14:useLocalDpi xmlns:a14="http://schemas.microsoft.com/office/drawing/2010/main" val="0"/>
                </a:ext>
              </a:extLst>
            </a:blip>
            <a:stretch>
              <a:fillRect/>
            </a:stretch>
          </p:blipFill>
          <p:spPr>
            <a:xfrm>
              <a:off x="2219069" y="5683238"/>
              <a:ext cx="902401" cy="270075"/>
            </a:xfrm>
            <a:prstGeom prst="rect">
              <a:avLst/>
            </a:prstGeom>
          </p:spPr>
        </p:pic>
        <p:pic>
          <p:nvPicPr>
            <p:cNvPr id="1903" name="Picture 196"/>
            <p:cNvPicPr>
              <a:picLocks noChangeAspect="1" noChangeArrowheads="1"/>
            </p:cNvPicPr>
            <p:nvPr/>
          </p:nvPicPr>
          <p:blipFill>
            <a:blip r:embed="rId92" cstate="print">
              <a:extLst>
                <a:ext uri="{28A0092B-C50C-407E-A947-70E740481C1C}">
                  <a14:useLocalDpi xmlns:a14="http://schemas.microsoft.com/office/drawing/2010/main" val="0"/>
                </a:ext>
              </a:extLst>
            </a:blip>
            <a:srcRect/>
            <a:stretch>
              <a:fillRect/>
            </a:stretch>
          </p:blipFill>
          <p:spPr bwMode="auto">
            <a:xfrm>
              <a:off x="2445351" y="4969548"/>
              <a:ext cx="872661" cy="5070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04" name="Picture 197"/>
            <p:cNvPicPr>
              <a:picLocks noChangeAspect="1" noChangeArrowheads="1"/>
            </p:cNvPicPr>
            <p:nvPr/>
          </p:nvPicPr>
          <p:blipFill>
            <a:blip r:embed="rId93" cstate="print">
              <a:extLst>
                <a:ext uri="{28A0092B-C50C-407E-A947-70E740481C1C}">
                  <a14:useLocalDpi xmlns:a14="http://schemas.microsoft.com/office/drawing/2010/main" val="0"/>
                </a:ext>
              </a:extLst>
            </a:blip>
            <a:srcRect/>
            <a:stretch>
              <a:fillRect/>
            </a:stretch>
          </p:blipFill>
          <p:spPr bwMode="auto">
            <a:xfrm>
              <a:off x="5681852" y="4779393"/>
              <a:ext cx="735169" cy="762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05" name="Picture 198"/>
            <p:cNvPicPr>
              <a:picLocks noChangeAspect="1" noChangeArrowheads="1"/>
            </p:cNvPicPr>
            <p:nvPr/>
          </p:nvPicPr>
          <p:blipFill>
            <a:blip r:embed="rId94" cstate="print">
              <a:extLst>
                <a:ext uri="{28A0092B-C50C-407E-A947-70E740481C1C}">
                  <a14:useLocalDpi xmlns:a14="http://schemas.microsoft.com/office/drawing/2010/main" val="0"/>
                </a:ext>
              </a:extLst>
            </a:blip>
            <a:srcRect/>
            <a:stretch>
              <a:fillRect/>
            </a:stretch>
          </p:blipFill>
          <p:spPr bwMode="auto">
            <a:xfrm>
              <a:off x="4548581" y="4809217"/>
              <a:ext cx="740310" cy="6528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06" name="Picture 35"/>
            <p:cNvPicPr>
              <a:picLocks noChangeAspect="1"/>
            </p:cNvPicPr>
            <p:nvPr/>
          </p:nvPicPr>
          <p:blipFill rotWithShape="1">
            <a:blip r:embed="rId95" cstate="print">
              <a:extLst>
                <a:ext uri="{28A0092B-C50C-407E-A947-70E740481C1C}">
                  <a14:useLocalDpi xmlns:a14="http://schemas.microsoft.com/office/drawing/2010/main" val="0"/>
                </a:ext>
              </a:extLst>
            </a:blip>
            <a:srcRect t="2026"/>
            <a:stretch/>
          </p:blipFill>
          <p:spPr bwMode="auto">
            <a:xfrm>
              <a:off x="3351992" y="5012814"/>
              <a:ext cx="1078399" cy="336135"/>
            </a:xfrm>
            <a:prstGeom prst="rect">
              <a:avLst/>
            </a:prstGeom>
            <a:ln>
              <a:noFill/>
            </a:ln>
            <a:extLst>
              <a:ext uri="{53640926-AAD7-44D8-BBD7-CCE9431645EC}">
                <a14:shadowObscured xmlns:a14="http://schemas.microsoft.com/office/drawing/2010/main"/>
              </a:ext>
            </a:extLst>
          </p:spPr>
        </p:pic>
        <p:sp>
          <p:nvSpPr>
            <p:cNvPr id="1907" name="TextBox 37"/>
            <p:cNvSpPr txBox="1"/>
            <p:nvPr/>
          </p:nvSpPr>
          <p:spPr>
            <a:xfrm>
              <a:off x="4549554" y="5380945"/>
              <a:ext cx="688093" cy="657656"/>
            </a:xfrm>
            <a:prstGeom prst="rect">
              <a:avLst/>
            </a:prstGeom>
            <a:noFill/>
          </p:spPr>
          <p:txBody>
            <a:bodyPr wrap="none" rtlCol="0">
              <a:spAutoFit/>
            </a:bodyPr>
            <a:lstStyle/>
            <a:p>
              <a:pPr defTabSz="422041" eaLnBrk="1" fontAlgn="auto" hangingPunct="1">
                <a:spcBef>
                  <a:spcPts val="0"/>
                </a:spcBef>
                <a:spcAft>
                  <a:spcPts val="0"/>
                </a:spcAft>
                <a:defRPr/>
              </a:pPr>
              <a:r>
                <a:rPr lang="en-ZA" sz="923" b="1" dirty="0">
                  <a:solidFill>
                    <a:srgbClr val="021631"/>
                  </a:solidFill>
                  <a:latin typeface="Calibri"/>
                  <a:ea typeface="+mn-ea"/>
                </a:rPr>
                <a:t>t</a:t>
              </a:r>
            </a:p>
          </p:txBody>
        </p:sp>
        <p:pic>
          <p:nvPicPr>
            <p:cNvPr id="1909" name="Picture 39"/>
            <p:cNvPicPr>
              <a:picLocks noChangeAspect="1"/>
            </p:cNvPicPr>
            <p:nvPr/>
          </p:nvPicPr>
          <p:blipFill rotWithShape="1">
            <a:blip r:embed="rId96" cstate="print">
              <a:extLst>
                <a:ext uri="{28A0092B-C50C-407E-A947-70E740481C1C}">
                  <a14:useLocalDpi xmlns:a14="http://schemas.microsoft.com/office/drawing/2010/main" val="0"/>
                </a:ext>
              </a:extLst>
            </a:blip>
            <a:srcRect l="1" r="28137"/>
            <a:stretch/>
          </p:blipFill>
          <p:spPr bwMode="auto">
            <a:xfrm>
              <a:off x="3081040" y="5568032"/>
              <a:ext cx="1047314" cy="452288"/>
            </a:xfrm>
            <a:prstGeom prst="rect">
              <a:avLst/>
            </a:prstGeom>
            <a:ln>
              <a:noFill/>
            </a:ln>
            <a:extLst>
              <a:ext uri="{53640926-AAD7-44D8-BBD7-CCE9431645EC}">
                <a14:shadowObscured xmlns:a14="http://schemas.microsoft.com/office/drawing/2010/main"/>
              </a:ext>
            </a:extLst>
          </p:spPr>
        </p:pic>
        <p:pic>
          <p:nvPicPr>
            <p:cNvPr id="1910" name="Picture 40"/>
            <p:cNvPicPr>
              <a:picLocks noChangeAspect="1"/>
            </p:cNvPicPr>
            <p:nvPr/>
          </p:nvPicPr>
          <p:blipFill rotWithShape="1">
            <a:blip r:embed="rId97" cstate="print">
              <a:extLst>
                <a:ext uri="{28A0092B-C50C-407E-A947-70E740481C1C}">
                  <a14:useLocalDpi xmlns:a14="http://schemas.microsoft.com/office/drawing/2010/main" val="0"/>
                </a:ext>
              </a:extLst>
            </a:blip>
            <a:srcRect r="75979"/>
            <a:stretch/>
          </p:blipFill>
          <p:spPr bwMode="auto">
            <a:xfrm>
              <a:off x="6167776" y="5636637"/>
              <a:ext cx="557187" cy="422857"/>
            </a:xfrm>
            <a:prstGeom prst="rect">
              <a:avLst/>
            </a:prstGeom>
            <a:ln>
              <a:noFill/>
            </a:ln>
            <a:extLst>
              <a:ext uri="{53640926-AAD7-44D8-BBD7-CCE9431645EC}">
                <a14:shadowObscured xmlns:a14="http://schemas.microsoft.com/office/drawing/2010/main"/>
              </a:ext>
            </a:extLst>
          </p:spPr>
        </p:pic>
        <p:pic>
          <p:nvPicPr>
            <p:cNvPr id="1911" name="Picture 41"/>
            <p:cNvPicPr>
              <a:picLocks noChangeAspect="1"/>
            </p:cNvPicPr>
            <p:nvPr/>
          </p:nvPicPr>
          <p:blipFill rotWithShape="1">
            <a:blip r:embed="rId98" cstate="print">
              <a:extLst>
                <a:ext uri="{28A0092B-C50C-407E-A947-70E740481C1C}">
                  <a14:useLocalDpi xmlns:a14="http://schemas.microsoft.com/office/drawing/2010/main" val="0"/>
                </a:ext>
              </a:extLst>
            </a:blip>
            <a:srcRect r="77620"/>
            <a:stretch/>
          </p:blipFill>
          <p:spPr bwMode="auto">
            <a:xfrm>
              <a:off x="5359422" y="5627946"/>
              <a:ext cx="728455" cy="468475"/>
            </a:xfrm>
            <a:prstGeom prst="rect">
              <a:avLst/>
            </a:prstGeom>
            <a:ln>
              <a:noFill/>
            </a:ln>
            <a:extLst>
              <a:ext uri="{53640926-AAD7-44D8-BBD7-CCE9431645EC}">
                <a14:shadowObscured xmlns:a14="http://schemas.microsoft.com/office/drawing/2010/main"/>
              </a:ext>
            </a:extLst>
          </p:spPr>
        </p:pic>
        <p:pic>
          <p:nvPicPr>
            <p:cNvPr id="1912" name="Picture 2" descr="D:\YAWAR WORKING\KOHINOOR LOGO\kohinoor 12.jpg"/>
            <p:cNvPicPr>
              <a:picLocks noChangeAspect="1" noChangeArrowheads="1"/>
            </p:cNvPicPr>
            <p:nvPr/>
          </p:nvPicPr>
          <p:blipFill>
            <a:blip r:embed="rId99" cstate="print">
              <a:extLst>
                <a:ext uri="{28A0092B-C50C-407E-A947-70E740481C1C}">
                  <a14:useLocalDpi xmlns:a14="http://schemas.microsoft.com/office/drawing/2010/main" val="0"/>
                </a:ext>
              </a:extLst>
            </a:blip>
            <a:srcRect/>
            <a:stretch>
              <a:fillRect/>
            </a:stretch>
          </p:blipFill>
          <p:spPr bwMode="auto">
            <a:xfrm>
              <a:off x="4249975" y="5658546"/>
              <a:ext cx="352505" cy="402863"/>
            </a:xfrm>
            <a:prstGeom prst="rect">
              <a:avLst/>
            </a:prstGeom>
            <a:noFill/>
            <a:extLst>
              <a:ext uri="{909E8E84-426E-40DD-AFC4-6F175D3DCCD1}">
                <a14:hiddenFill xmlns:a14="http://schemas.microsoft.com/office/drawing/2010/main">
                  <a:solidFill>
                    <a:srgbClr val="FFFFFF"/>
                  </a:solidFill>
                </a14:hiddenFill>
              </a:ext>
            </a:extLst>
          </p:spPr>
        </p:pic>
        <p:pic>
          <p:nvPicPr>
            <p:cNvPr id="1913" name="Picture 2"/>
            <p:cNvPicPr>
              <a:picLocks noChangeAspect="1" noChangeArrowheads="1"/>
            </p:cNvPicPr>
            <p:nvPr/>
          </p:nvPicPr>
          <p:blipFill rotWithShape="1">
            <a:blip r:embed="rId100" cstate="print">
              <a:extLst>
                <a:ext uri="{28A0092B-C50C-407E-A947-70E740481C1C}">
                  <a14:useLocalDpi xmlns:a14="http://schemas.microsoft.com/office/drawing/2010/main" val="0"/>
                </a:ext>
              </a:extLst>
            </a:blip>
            <a:srcRect r="50000"/>
            <a:stretch/>
          </p:blipFill>
          <p:spPr bwMode="auto">
            <a:xfrm>
              <a:off x="4756656" y="5663715"/>
              <a:ext cx="573351" cy="4754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914" name="Grafik 2"/>
          <p:cNvPicPr>
            <a:picLocks noChangeAspect="1"/>
          </p:cNvPicPr>
          <p:nvPr/>
        </p:nvPicPr>
        <p:blipFill rotWithShape="1">
          <a:blip r:embed="rId101"/>
          <a:srcRect t="28180" b="31451"/>
          <a:stretch/>
        </p:blipFill>
        <p:spPr>
          <a:xfrm>
            <a:off x="3336787" y="5422772"/>
            <a:ext cx="398002" cy="123211"/>
          </a:xfrm>
          <a:prstGeom prst="rect">
            <a:avLst/>
          </a:prstGeom>
        </p:spPr>
      </p:pic>
      <p:pic>
        <p:nvPicPr>
          <p:cNvPr id="41" name="Picture 40"/>
          <p:cNvPicPr>
            <a:picLocks noChangeAspect="1"/>
          </p:cNvPicPr>
          <p:nvPr/>
        </p:nvPicPr>
        <p:blipFill>
          <a:blip r:embed="rId102" cstate="print">
            <a:extLst>
              <a:ext uri="{28A0092B-C50C-407E-A947-70E740481C1C}">
                <a14:useLocalDpi xmlns:a14="http://schemas.microsoft.com/office/drawing/2010/main" val="0"/>
              </a:ext>
            </a:extLst>
          </a:blip>
          <a:stretch>
            <a:fillRect/>
          </a:stretch>
        </p:blipFill>
        <p:spPr>
          <a:xfrm>
            <a:off x="3674052" y="5124300"/>
            <a:ext cx="179210" cy="194144"/>
          </a:xfrm>
          <a:prstGeom prst="rect">
            <a:avLst/>
          </a:prstGeom>
        </p:spPr>
      </p:pic>
      <p:grpSp>
        <p:nvGrpSpPr>
          <p:cNvPr id="25" name="Group 24"/>
          <p:cNvGrpSpPr/>
          <p:nvPr/>
        </p:nvGrpSpPr>
        <p:grpSpPr>
          <a:xfrm>
            <a:off x="6959863" y="1358059"/>
            <a:ext cx="1845186" cy="1546500"/>
            <a:chOff x="7549009" y="1005574"/>
            <a:chExt cx="2165530" cy="1675375"/>
          </a:xfrm>
        </p:grpSpPr>
        <p:sp>
          <p:nvSpPr>
            <p:cNvPr id="22" name="Rounded Rectangle 21"/>
            <p:cNvSpPr/>
            <p:nvPr/>
          </p:nvSpPr>
          <p:spPr>
            <a:xfrm>
              <a:off x="7549009" y="1005574"/>
              <a:ext cx="2165530" cy="1675375"/>
            </a:xfrm>
            <a:prstGeom prst="roundRect">
              <a:avLst/>
            </a:prstGeom>
            <a:solidFill>
              <a:schemeClr val="bg1"/>
            </a:solidFill>
            <a:ln w="25400"/>
          </p:spPr>
          <p:style>
            <a:lnRef idx="1">
              <a:schemeClr val="accent1"/>
            </a:lnRef>
            <a:fillRef idx="3">
              <a:schemeClr val="accent1"/>
            </a:fillRef>
            <a:effectRef idx="2">
              <a:schemeClr val="accent1"/>
            </a:effectRef>
            <a:fontRef idx="minor">
              <a:schemeClr val="lt1"/>
            </a:fontRef>
          </p:style>
          <p:txBody>
            <a:bodyPr rtlCol="0" anchor="ctr"/>
            <a:lstStyle/>
            <a:p>
              <a:pPr algn="ctr" defTabSz="422041" eaLnBrk="1" fontAlgn="auto" hangingPunct="1">
                <a:spcBef>
                  <a:spcPts val="0"/>
                </a:spcBef>
                <a:spcAft>
                  <a:spcPts val="0"/>
                </a:spcAft>
                <a:defRPr/>
              </a:pPr>
              <a:endParaRPr lang="en-US" sz="1662">
                <a:solidFill>
                  <a:srgbClr val="FFFFFF"/>
                </a:solidFill>
              </a:endParaRPr>
            </a:p>
          </p:txBody>
        </p:sp>
        <p:pic>
          <p:nvPicPr>
            <p:cNvPr id="43" name="Picture 2"/>
            <p:cNvPicPr>
              <a:picLocks noChangeAspect="1" noChangeArrowheads="1"/>
            </p:cNvPicPr>
            <p:nvPr/>
          </p:nvPicPr>
          <p:blipFill>
            <a:blip r:embed="rId103" cstate="print">
              <a:clrChange>
                <a:clrFrom>
                  <a:srgbClr val="FBFDFB"/>
                </a:clrFrom>
                <a:clrTo>
                  <a:srgbClr val="FBFDFB">
                    <a:alpha val="0"/>
                  </a:srgbClr>
                </a:clrTo>
              </a:clrChange>
              <a:extLst>
                <a:ext uri="{28A0092B-C50C-407E-A947-70E740481C1C}">
                  <a14:useLocalDpi xmlns:a14="http://schemas.microsoft.com/office/drawing/2010/main" val="0"/>
                </a:ext>
              </a:extLst>
            </a:blip>
            <a:srcRect/>
            <a:stretch>
              <a:fillRect/>
            </a:stretch>
          </p:blipFill>
          <p:spPr bwMode="auto">
            <a:xfrm>
              <a:off x="8178086" y="1322412"/>
              <a:ext cx="432549" cy="307550"/>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44" name="Picture 11"/>
            <p:cNvPicPr>
              <a:picLocks noChangeAspect="1" noChangeArrowheads="1"/>
            </p:cNvPicPr>
            <p:nvPr/>
          </p:nvPicPr>
          <p:blipFill>
            <a:blip r:embed="rId104" cstate="print">
              <a:extLst>
                <a:ext uri="{28A0092B-C50C-407E-A947-70E740481C1C}">
                  <a14:useLocalDpi xmlns:a14="http://schemas.microsoft.com/office/drawing/2010/main" val="0"/>
                </a:ext>
              </a:extLst>
            </a:blip>
            <a:srcRect/>
            <a:stretch>
              <a:fillRect/>
            </a:stretch>
          </p:blipFill>
          <p:spPr bwMode="auto">
            <a:xfrm>
              <a:off x="7644082" y="1703583"/>
              <a:ext cx="422070" cy="31545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 name="Picture 4" descr="Marks &amp; Spencer">
              <a:hlinkClick r:id="rId38"/>
            </p:cNvPr>
            <p:cNvPicPr>
              <a:picLocks noChangeAspect="1" noChangeArrowheads="1"/>
            </p:cNvPicPr>
            <p:nvPr/>
          </p:nvPicPr>
          <p:blipFill rotWithShape="1">
            <a:blip r:embed="rId39">
              <a:clrChange>
                <a:clrFrom>
                  <a:srgbClr val="FDFDFD"/>
                </a:clrFrom>
                <a:clrTo>
                  <a:srgbClr val="FDFDFD">
                    <a:alpha val="0"/>
                  </a:srgbClr>
                </a:clrTo>
              </a:clrChange>
              <a:extLst>
                <a:ext uri="{28A0092B-C50C-407E-A947-70E740481C1C}">
                  <a14:useLocalDpi xmlns:a14="http://schemas.microsoft.com/office/drawing/2010/main" val="0"/>
                </a:ext>
              </a:extLst>
            </a:blip>
            <a:srcRect t="22089" b="11761"/>
            <a:stretch/>
          </p:blipFill>
          <p:spPr bwMode="auto">
            <a:xfrm>
              <a:off x="8187118" y="1908081"/>
              <a:ext cx="538864" cy="227435"/>
            </a:xfrm>
            <a:prstGeom prst="rect">
              <a:avLst/>
            </a:prstGeom>
            <a:solidFill>
              <a:schemeClr val="bg1"/>
            </a:solidFill>
            <a:extLst/>
          </p:spPr>
        </p:pic>
        <p:pic>
          <p:nvPicPr>
            <p:cNvPr id="46" name="Picture 10" descr="J Sainsbury">
              <a:hlinkClick r:id="rId105"/>
            </p:cNvPr>
            <p:cNvPicPr>
              <a:picLocks noChangeAspect="1" noChangeArrowheads="1"/>
            </p:cNvPicPr>
            <p:nvPr/>
          </p:nvPicPr>
          <p:blipFill rotWithShape="1">
            <a:blip r:embed="rId106">
              <a:clrChange>
                <a:clrFrom>
                  <a:srgbClr val="F9F9F9"/>
                </a:clrFrom>
                <a:clrTo>
                  <a:srgbClr val="F9F9F9">
                    <a:alpha val="0"/>
                  </a:srgbClr>
                </a:clrTo>
              </a:clrChange>
              <a:extLst>
                <a:ext uri="{28A0092B-C50C-407E-A947-70E740481C1C}">
                  <a14:useLocalDpi xmlns:a14="http://schemas.microsoft.com/office/drawing/2010/main" val="0"/>
                </a:ext>
              </a:extLst>
            </a:blip>
            <a:srcRect t="27970" b="36015"/>
            <a:stretch/>
          </p:blipFill>
          <p:spPr bwMode="auto">
            <a:xfrm>
              <a:off x="7593621" y="2217865"/>
              <a:ext cx="760985" cy="202945"/>
            </a:xfrm>
            <a:prstGeom prst="rect">
              <a:avLst/>
            </a:prstGeom>
            <a:solidFill>
              <a:schemeClr val="bg1"/>
            </a:solidFill>
            <a:extLst/>
          </p:spPr>
        </p:pic>
        <p:pic>
          <p:nvPicPr>
            <p:cNvPr id="47" name="Picture 6" descr="Tesco">
              <a:hlinkClick r:id="rId107"/>
            </p:cNvPr>
            <p:cNvPicPr>
              <a:picLocks noChangeAspect="1" noChangeArrowheads="1"/>
            </p:cNvPicPr>
            <p:nvPr/>
          </p:nvPicPr>
          <p:blipFill rotWithShape="1">
            <a:blip r:embed="rId108" cstate="print">
              <a:clrChange>
                <a:clrFrom>
                  <a:srgbClr val="F9F9F9"/>
                </a:clrFrom>
                <a:clrTo>
                  <a:srgbClr val="F9F9F9">
                    <a:alpha val="0"/>
                  </a:srgbClr>
                </a:clrTo>
              </a:clrChange>
              <a:extLst>
                <a:ext uri="{28A0092B-C50C-407E-A947-70E740481C1C}">
                  <a14:useLocalDpi xmlns:a14="http://schemas.microsoft.com/office/drawing/2010/main" val="0"/>
                </a:ext>
              </a:extLst>
            </a:blip>
            <a:srcRect t="19615" b="25321"/>
            <a:stretch/>
          </p:blipFill>
          <p:spPr bwMode="auto">
            <a:xfrm>
              <a:off x="7619390" y="2013534"/>
              <a:ext cx="515907" cy="210357"/>
            </a:xfrm>
            <a:prstGeom prst="rect">
              <a:avLst/>
            </a:prstGeom>
            <a:solidFill>
              <a:schemeClr val="bg1"/>
            </a:solidFill>
            <a:extLst/>
          </p:spPr>
        </p:pic>
        <p:pic>
          <p:nvPicPr>
            <p:cNvPr id="48" name="Grafik 14" descr="http://www.indiskretionehrensache.de/wp-content/uploads/wwf-logo.jpg"/>
            <p:cNvPicPr/>
            <p:nvPr/>
          </p:nvPicPr>
          <p:blipFill rotWithShape="1">
            <a:blip r:embed="rId32" cstate="email">
              <a:extLst>
                <a:ext uri="{28A0092B-C50C-407E-A947-70E740481C1C}">
                  <a14:useLocalDpi xmlns:a14="http://schemas.microsoft.com/office/drawing/2010/main"/>
                </a:ext>
              </a:extLst>
            </a:blip>
            <a:srcRect t="11812" b="8877"/>
            <a:stretch/>
          </p:blipFill>
          <p:spPr bwMode="auto">
            <a:xfrm>
              <a:off x="8793338" y="1772626"/>
              <a:ext cx="387528" cy="302112"/>
            </a:xfrm>
            <a:prstGeom prst="rect">
              <a:avLst/>
            </a:prstGeom>
            <a:noFill/>
            <a:ln>
              <a:noFill/>
            </a:ln>
            <a:extLst>
              <a:ext uri="{53640926-AAD7-44D8-BBD7-CCE9431645EC}">
                <a14:shadowObscured xmlns:a14="http://schemas.microsoft.com/office/drawing/2010/main"/>
              </a:ext>
            </a:extLst>
          </p:spPr>
        </p:pic>
        <p:pic>
          <p:nvPicPr>
            <p:cNvPr id="49" name="Picture 5" descr="ASDA">
              <a:hlinkClick r:id="rId109"/>
            </p:cNvPr>
            <p:cNvPicPr>
              <a:picLocks noChangeAspect="1" noChangeArrowheads="1"/>
            </p:cNvPicPr>
            <p:nvPr/>
          </p:nvPicPr>
          <p:blipFill rotWithShape="1">
            <a:blip r:embed="rId110" cstate="print">
              <a:clrChange>
                <a:clrFrom>
                  <a:srgbClr val="FDFDFD"/>
                </a:clrFrom>
                <a:clrTo>
                  <a:srgbClr val="FDFDFD">
                    <a:alpha val="0"/>
                  </a:srgbClr>
                </a:clrTo>
              </a:clrChange>
              <a:extLst>
                <a:ext uri="{28A0092B-C50C-407E-A947-70E740481C1C}">
                  <a14:useLocalDpi xmlns:a14="http://schemas.microsoft.com/office/drawing/2010/main" val="0"/>
                </a:ext>
              </a:extLst>
            </a:blip>
            <a:srcRect t="15303" b="26515"/>
            <a:stretch/>
          </p:blipFill>
          <p:spPr bwMode="auto">
            <a:xfrm>
              <a:off x="8339076" y="1666286"/>
              <a:ext cx="425702" cy="183405"/>
            </a:xfrm>
            <a:prstGeom prst="rect">
              <a:avLst/>
            </a:prstGeom>
            <a:solidFill>
              <a:schemeClr val="bg1"/>
            </a:solidFill>
            <a:extLst/>
          </p:spPr>
        </p:pic>
        <p:sp>
          <p:nvSpPr>
            <p:cNvPr id="51" name="TextBox 108"/>
            <p:cNvSpPr txBox="1"/>
            <p:nvPr/>
          </p:nvSpPr>
          <p:spPr>
            <a:xfrm>
              <a:off x="7943393" y="1044020"/>
              <a:ext cx="1478199" cy="215407"/>
            </a:xfrm>
            <a:prstGeom prst="rect">
              <a:avLst/>
            </a:prstGeom>
            <a:solidFill>
              <a:schemeClr val="bg1"/>
            </a:solidFill>
          </p:spPr>
          <p:txBody>
            <a:bodyPr wrap="square" tIns="0" bIns="0" rtlCol="0">
              <a:spAutoFit/>
            </a:bodyPr>
            <a:lstStyle/>
            <a:p>
              <a:pPr algn="ctr" defTabSz="422041" eaLnBrk="1" fontAlgn="auto" hangingPunct="1">
                <a:spcBef>
                  <a:spcPts val="0"/>
                </a:spcBef>
                <a:spcAft>
                  <a:spcPts val="0"/>
                </a:spcAft>
                <a:buClr>
                  <a:srgbClr val="444D54"/>
                </a:buClr>
                <a:defRPr/>
              </a:pPr>
              <a:r>
                <a:rPr lang="en-US" sz="1292" b="1" dirty="0">
                  <a:solidFill>
                    <a:srgbClr val="E9EAED">
                      <a:lumMod val="10000"/>
                    </a:srgbClr>
                  </a:solidFill>
                  <a:latin typeface="Calibri"/>
                  <a:ea typeface="+mn-ea"/>
                </a:rPr>
                <a:t>KENYA</a:t>
              </a:r>
            </a:p>
          </p:txBody>
        </p:sp>
        <p:pic>
          <p:nvPicPr>
            <p:cNvPr id="74" name="Grafik 23"/>
            <p:cNvPicPr>
              <a:picLocks noChangeAspect="1"/>
            </p:cNvPicPr>
            <p:nvPr/>
          </p:nvPicPr>
          <p:blipFill>
            <a:blip r:embed="rId111" cstate="print">
              <a:extLst>
                <a:ext uri="{28A0092B-C50C-407E-A947-70E740481C1C}">
                  <a14:useLocalDpi xmlns:a14="http://schemas.microsoft.com/office/drawing/2010/main" val="0"/>
                </a:ext>
              </a:extLst>
            </a:blip>
            <a:stretch>
              <a:fillRect/>
            </a:stretch>
          </p:blipFill>
          <p:spPr>
            <a:xfrm>
              <a:off x="7665029" y="1253866"/>
              <a:ext cx="446819" cy="432048"/>
            </a:xfrm>
            <a:prstGeom prst="rect">
              <a:avLst/>
            </a:prstGeom>
          </p:spPr>
        </p:pic>
        <p:pic>
          <p:nvPicPr>
            <p:cNvPr id="75" name="Grafik 22"/>
            <p:cNvPicPr>
              <a:picLocks noChangeAspect="1"/>
            </p:cNvPicPr>
            <p:nvPr/>
          </p:nvPicPr>
          <p:blipFill>
            <a:blip r:embed="rId112" cstate="print">
              <a:extLst>
                <a:ext uri="{28A0092B-C50C-407E-A947-70E740481C1C}">
                  <a14:useLocalDpi xmlns:a14="http://schemas.microsoft.com/office/drawing/2010/main" val="0"/>
                </a:ext>
              </a:extLst>
            </a:blip>
            <a:stretch>
              <a:fillRect/>
            </a:stretch>
          </p:blipFill>
          <p:spPr>
            <a:xfrm>
              <a:off x="8686244" y="1303367"/>
              <a:ext cx="360040" cy="360040"/>
            </a:xfrm>
            <a:prstGeom prst="rect">
              <a:avLst/>
            </a:prstGeom>
          </p:spPr>
        </p:pic>
        <p:pic>
          <p:nvPicPr>
            <p:cNvPr id="76" name="Grafik 25"/>
            <p:cNvPicPr>
              <a:picLocks noChangeAspect="1"/>
            </p:cNvPicPr>
            <p:nvPr/>
          </p:nvPicPr>
          <p:blipFill>
            <a:blip r:embed="rId113" cstate="print">
              <a:extLst>
                <a:ext uri="{28A0092B-C50C-407E-A947-70E740481C1C}">
                  <a14:useLocalDpi xmlns:a14="http://schemas.microsoft.com/office/drawing/2010/main" val="0"/>
                </a:ext>
              </a:extLst>
            </a:blip>
            <a:stretch>
              <a:fillRect/>
            </a:stretch>
          </p:blipFill>
          <p:spPr>
            <a:xfrm>
              <a:off x="9137000" y="1628800"/>
              <a:ext cx="416342" cy="522192"/>
            </a:xfrm>
            <a:prstGeom prst="rect">
              <a:avLst/>
            </a:prstGeom>
          </p:spPr>
        </p:pic>
        <p:pic>
          <p:nvPicPr>
            <p:cNvPr id="77" name="Grafik 26"/>
            <p:cNvPicPr>
              <a:picLocks noChangeAspect="1"/>
            </p:cNvPicPr>
            <p:nvPr/>
          </p:nvPicPr>
          <p:blipFill>
            <a:blip r:embed="rId114" cstate="print">
              <a:extLst>
                <a:ext uri="{28A0092B-C50C-407E-A947-70E740481C1C}">
                  <a14:useLocalDpi xmlns:a14="http://schemas.microsoft.com/office/drawing/2010/main" val="0"/>
                </a:ext>
              </a:extLst>
            </a:blip>
            <a:stretch>
              <a:fillRect/>
            </a:stretch>
          </p:blipFill>
          <p:spPr>
            <a:xfrm>
              <a:off x="8516969" y="2301357"/>
              <a:ext cx="585962" cy="144016"/>
            </a:xfrm>
            <a:prstGeom prst="rect">
              <a:avLst/>
            </a:prstGeom>
          </p:spPr>
        </p:pic>
        <p:pic>
          <p:nvPicPr>
            <p:cNvPr id="78" name="Grafik 27"/>
            <p:cNvPicPr>
              <a:picLocks noChangeAspect="1"/>
            </p:cNvPicPr>
            <p:nvPr/>
          </p:nvPicPr>
          <p:blipFill>
            <a:blip r:embed="rId115" cstate="print">
              <a:extLst>
                <a:ext uri="{28A0092B-C50C-407E-A947-70E740481C1C}">
                  <a14:useLocalDpi xmlns:a14="http://schemas.microsoft.com/office/drawing/2010/main" val="0"/>
                </a:ext>
              </a:extLst>
            </a:blip>
            <a:stretch>
              <a:fillRect/>
            </a:stretch>
          </p:blipFill>
          <p:spPr>
            <a:xfrm>
              <a:off x="9064992" y="1233420"/>
              <a:ext cx="576064" cy="322595"/>
            </a:xfrm>
            <a:prstGeom prst="rect">
              <a:avLst/>
            </a:prstGeom>
          </p:spPr>
        </p:pic>
        <p:pic>
          <p:nvPicPr>
            <p:cNvPr id="79" name="Grafik 28"/>
            <p:cNvPicPr>
              <a:picLocks noChangeAspect="1"/>
            </p:cNvPicPr>
            <p:nvPr/>
          </p:nvPicPr>
          <p:blipFill>
            <a:blip r:embed="rId116" cstate="print">
              <a:extLst>
                <a:ext uri="{28A0092B-C50C-407E-A947-70E740481C1C}">
                  <a14:useLocalDpi xmlns:a14="http://schemas.microsoft.com/office/drawing/2010/main" val="0"/>
                </a:ext>
              </a:extLst>
            </a:blip>
            <a:stretch>
              <a:fillRect/>
            </a:stretch>
          </p:blipFill>
          <p:spPr>
            <a:xfrm>
              <a:off x="9137000" y="2204864"/>
              <a:ext cx="432048" cy="432048"/>
            </a:xfrm>
            <a:prstGeom prst="rect">
              <a:avLst/>
            </a:prstGeom>
          </p:spPr>
        </p:pic>
      </p:grpSp>
      <p:pic>
        <p:nvPicPr>
          <p:cNvPr id="59" name="Picture 3" descr="../../Users/sroth/Desktop/Lio"/>
          <p:cNvPicPr>
            <a:picLocks noChangeAspect="1" noChangeArrowheads="1"/>
          </p:cNvPicPr>
          <p:nvPr/>
        </p:nvPicPr>
        <p:blipFill>
          <a:blip r:embed="rId117" cstate="print">
            <a:extLst>
              <a:ext uri="{28A0092B-C50C-407E-A947-70E740481C1C}">
                <a14:useLocalDpi xmlns:a14="http://schemas.microsoft.com/office/drawing/2010/main" val="0"/>
              </a:ext>
            </a:extLst>
          </a:blip>
          <a:srcRect/>
          <a:stretch>
            <a:fillRect/>
          </a:stretch>
        </p:blipFill>
        <p:spPr bwMode="auto">
          <a:xfrm>
            <a:off x="3328744" y="5127925"/>
            <a:ext cx="326974" cy="239651"/>
          </a:xfrm>
          <a:prstGeom prst="rect">
            <a:avLst/>
          </a:prstGeom>
          <a:noFill/>
          <a:extLst>
            <a:ext uri="{909E8E84-426E-40DD-AFC4-6F175D3DCCD1}">
              <a14:hiddenFill xmlns:a14="http://schemas.microsoft.com/office/drawing/2010/main">
                <a:solidFill>
                  <a:srgbClr val="FFFFFF"/>
                </a:solidFill>
              </a14:hiddenFill>
            </a:ext>
          </a:extLst>
        </p:spPr>
      </p:pic>
      <p:pic>
        <p:nvPicPr>
          <p:cNvPr id="1915" name="Picture 1914" descr="C:\Users\user\Documents\IWaSP Ethiopia\@Projects\Hawassa\zBackground data\Logos\Logo-RVLB-7.png"/>
          <p:cNvPicPr>
            <a:picLocks noChangeAspect="1"/>
          </p:cNvPicPr>
          <p:nvPr/>
        </p:nvPicPr>
        <p:blipFill>
          <a:blip r:embed="rId118" cstate="print">
            <a:extLst>
              <a:ext uri="{28A0092B-C50C-407E-A947-70E740481C1C}">
                <a14:useLocalDpi xmlns:a14="http://schemas.microsoft.com/office/drawing/2010/main" val="0"/>
              </a:ext>
            </a:extLst>
          </a:blip>
          <a:srcRect/>
          <a:stretch>
            <a:fillRect/>
          </a:stretch>
        </p:blipFill>
        <p:spPr bwMode="auto">
          <a:xfrm>
            <a:off x="4178219" y="5059534"/>
            <a:ext cx="272008" cy="294675"/>
          </a:xfrm>
          <a:prstGeom prst="rect">
            <a:avLst/>
          </a:prstGeom>
          <a:noFill/>
          <a:extLst/>
        </p:spPr>
      </p:pic>
      <p:pic>
        <p:nvPicPr>
          <p:cNvPr id="1916" name="Picture 38"/>
          <p:cNvPicPr>
            <a:picLocks noChangeAspect="1"/>
          </p:cNvPicPr>
          <p:nvPr/>
        </p:nvPicPr>
        <p:blipFill>
          <a:blip r:embed="rId119"/>
          <a:stretch>
            <a:fillRect/>
          </a:stretch>
        </p:blipFill>
        <p:spPr>
          <a:xfrm>
            <a:off x="6285529" y="1663867"/>
            <a:ext cx="359312" cy="170690"/>
          </a:xfrm>
          <a:prstGeom prst="rect">
            <a:avLst/>
          </a:prstGeom>
        </p:spPr>
      </p:pic>
    </p:spTree>
    <p:extLst>
      <p:ext uri="{BB962C8B-B14F-4D97-AF65-F5344CB8AC3E}">
        <p14:creationId xmlns:p14="http://schemas.microsoft.com/office/powerpoint/2010/main" val="1138343825"/>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xmlns="" id="{78A7FBC4-993F-4ECB-BCCD-4644B625570E}"/>
              </a:ext>
            </a:extLst>
          </p:cNvPr>
          <p:cNvSpPr txBox="1"/>
          <p:nvPr/>
        </p:nvSpPr>
        <p:spPr>
          <a:xfrm>
            <a:off x="368066" y="1266707"/>
            <a:ext cx="3183300" cy="76944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b="1" i="0" u="none" strike="noStrike" kern="1200" cap="none" spc="0" normalizeH="0" baseline="0" noProof="0" dirty="0">
                <a:ln>
                  <a:noFill/>
                </a:ln>
                <a:solidFill>
                  <a:prstClr val="black"/>
                </a:solidFill>
                <a:effectLst/>
                <a:uLnTx/>
                <a:uFillTx/>
                <a:latin typeface="Clarendon Condensed" panose="02040706040705040204" pitchFamily="18" charset="0"/>
              </a:rPr>
              <a:t>Conceptual Framework</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prstClr val="black"/>
              </a:solidFill>
              <a:effectLst/>
              <a:uLnTx/>
              <a:uFillTx/>
              <a:latin typeface="Arial" pitchFamily="34" charset="0"/>
              <a:ea typeface="ＭＳ Ｐゴシック" pitchFamily="1" charset="-128"/>
              <a:cs typeface="+mn-cs"/>
            </a:endParaRPr>
          </a:p>
        </p:txBody>
      </p:sp>
      <p:pic>
        <p:nvPicPr>
          <p:cNvPr id="21" name="Picture 20">
            <a:extLst>
              <a:ext uri="{FF2B5EF4-FFF2-40B4-BE49-F238E27FC236}">
                <a16:creationId xmlns:a16="http://schemas.microsoft.com/office/drawing/2014/main" xmlns="" id="{8B294B7C-7126-49F3-83DB-980D2C660D6F}"/>
              </a:ext>
            </a:extLst>
          </p:cNvPr>
          <p:cNvPicPr>
            <a:picLocks noChangeAspect="1"/>
          </p:cNvPicPr>
          <p:nvPr/>
        </p:nvPicPr>
        <p:blipFill rotWithShape="1">
          <a:blip r:embed="rId3"/>
          <a:srcRect t="6230" b="8044"/>
          <a:stretch/>
        </p:blipFill>
        <p:spPr>
          <a:xfrm>
            <a:off x="368066" y="39945"/>
            <a:ext cx="8702454" cy="1209998"/>
          </a:xfrm>
          <a:prstGeom prst="rect">
            <a:avLst/>
          </a:prstGeom>
        </p:spPr>
      </p:pic>
      <p:sp>
        <p:nvSpPr>
          <p:cNvPr id="4" name="Content Placeholder 3">
            <a:extLst>
              <a:ext uri="{FF2B5EF4-FFF2-40B4-BE49-F238E27FC236}">
                <a16:creationId xmlns:a16="http://schemas.microsoft.com/office/drawing/2014/main" xmlns="" id="{ECA5EEDC-68B9-4F5B-9AC2-E2F03FAC3FEC}"/>
              </a:ext>
            </a:extLst>
          </p:cNvPr>
          <p:cNvSpPr>
            <a:spLocks noGrp="1"/>
          </p:cNvSpPr>
          <p:nvPr>
            <p:ph sz="half" idx="2"/>
          </p:nvPr>
        </p:nvSpPr>
        <p:spPr>
          <a:xfrm>
            <a:off x="4005943" y="2285519"/>
            <a:ext cx="5064577" cy="1286049"/>
          </a:xfrm>
        </p:spPr>
        <p:txBody>
          <a:bodyPr/>
          <a:lstStyle/>
          <a:p>
            <a:pPr marL="0" lvl="0" indent="0">
              <a:buNone/>
            </a:pPr>
            <a:r>
              <a:rPr lang="en-US" sz="2000" dirty="0">
                <a:solidFill>
                  <a:sysClr val="windowText" lastClr="000000">
                    <a:lumMod val="75000"/>
                    <a:lumOff val="25000"/>
                  </a:sysClr>
                </a:solidFill>
              </a:rPr>
              <a:t>The WSAIP is an</a:t>
            </a:r>
            <a:r>
              <a:rPr lang="en-US" sz="2000" b="1" dirty="0">
                <a:solidFill>
                  <a:sysClr val="windowText" lastClr="000000">
                    <a:lumMod val="75000"/>
                    <a:lumOff val="25000"/>
                  </a:sysClr>
                </a:solidFill>
              </a:rPr>
              <a:t> integrated water security action and investment plan</a:t>
            </a:r>
            <a:r>
              <a:rPr lang="en-US" sz="2000" dirty="0">
                <a:solidFill>
                  <a:sysClr val="windowText" lastClr="000000">
                    <a:lumMod val="75000"/>
                    <a:lumOff val="25000"/>
                  </a:sysClr>
                </a:solidFill>
              </a:rPr>
              <a:t> in the Greater Kampala Metropolitan Area (GKMA) to support sustainable social and economic development. </a:t>
            </a:r>
          </a:p>
          <a:p>
            <a:pPr marL="0" indent="0">
              <a:buNone/>
            </a:pPr>
            <a:endParaRPr lang="en-US" sz="2000" dirty="0">
              <a:solidFill>
                <a:schemeClr val="tx1">
                  <a:lumMod val="85000"/>
                  <a:lumOff val="15000"/>
                </a:schemeClr>
              </a:solidFill>
            </a:endParaRPr>
          </a:p>
        </p:txBody>
      </p:sp>
      <p:grpSp>
        <p:nvGrpSpPr>
          <p:cNvPr id="6" name="Group 5">
            <a:extLst>
              <a:ext uri="{FF2B5EF4-FFF2-40B4-BE49-F238E27FC236}">
                <a16:creationId xmlns:a16="http://schemas.microsoft.com/office/drawing/2014/main" xmlns="" id="{CD11B579-BE3F-402D-BD43-F01B53D8D803}"/>
              </a:ext>
            </a:extLst>
          </p:cNvPr>
          <p:cNvGrpSpPr/>
          <p:nvPr/>
        </p:nvGrpSpPr>
        <p:grpSpPr>
          <a:xfrm>
            <a:off x="188128" y="1882833"/>
            <a:ext cx="3683766" cy="4975167"/>
            <a:chOff x="188769" y="1846935"/>
            <a:chExt cx="3683766" cy="4975167"/>
          </a:xfrm>
        </p:grpSpPr>
        <p:grpSp>
          <p:nvGrpSpPr>
            <p:cNvPr id="7" name="Group 6">
              <a:extLst>
                <a:ext uri="{FF2B5EF4-FFF2-40B4-BE49-F238E27FC236}">
                  <a16:creationId xmlns:a16="http://schemas.microsoft.com/office/drawing/2014/main" xmlns="" id="{FF21F1AB-2115-4D49-A90E-A4C756799FB2}"/>
                </a:ext>
              </a:extLst>
            </p:cNvPr>
            <p:cNvGrpSpPr/>
            <p:nvPr/>
          </p:nvGrpSpPr>
          <p:grpSpPr>
            <a:xfrm>
              <a:off x="188769" y="1846935"/>
              <a:ext cx="3683766" cy="4251644"/>
              <a:chOff x="207945" y="2008992"/>
              <a:chExt cx="3326644" cy="5054530"/>
            </a:xfrm>
          </p:grpSpPr>
          <p:pic>
            <p:nvPicPr>
              <p:cNvPr id="10" name="Picture 2">
                <a:extLst>
                  <a:ext uri="{FF2B5EF4-FFF2-40B4-BE49-F238E27FC236}">
                    <a16:creationId xmlns:a16="http://schemas.microsoft.com/office/drawing/2014/main" xmlns="" id="{8568F16F-DC92-4E69-9247-2EEFD94B142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7043" y="2008992"/>
                <a:ext cx="2633663" cy="50482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sp>
            <p:nvSpPr>
              <p:cNvPr id="13" name="AutoShape 3">
                <a:extLst>
                  <a:ext uri="{FF2B5EF4-FFF2-40B4-BE49-F238E27FC236}">
                    <a16:creationId xmlns:a16="http://schemas.microsoft.com/office/drawing/2014/main" xmlns="" id="{5FD1CB7E-8CCA-4092-8C87-5B5D8189FAA3}"/>
                  </a:ext>
                </a:extLst>
              </p:cNvPr>
              <p:cNvSpPr>
                <a:spLocks noChangeArrowheads="1"/>
              </p:cNvSpPr>
              <p:nvPr/>
            </p:nvSpPr>
            <p:spPr bwMode="auto">
              <a:xfrm>
                <a:off x="207945" y="2018959"/>
                <a:ext cx="409575" cy="5044562"/>
              </a:xfrm>
              <a:prstGeom prst="downArrow">
                <a:avLst>
                  <a:gd name="adj1" fmla="val 50000"/>
                  <a:gd name="adj2" fmla="val 304845"/>
                </a:avLst>
              </a:prstGeom>
              <a:gradFill rotWithShape="0">
                <a:gsLst>
                  <a:gs pos="0">
                    <a:srgbClr val="E1E1E1"/>
                  </a:gs>
                  <a:gs pos="50000">
                    <a:srgbClr val="CCCCCC"/>
                  </a:gs>
                  <a:gs pos="100000">
                    <a:srgbClr val="E1E1E1"/>
                  </a:gs>
                </a:gsLst>
                <a:lin ang="5400000" scaled="1"/>
              </a:gradFill>
              <a:ln w="12700" algn="in">
                <a:solidFill>
                  <a:srgbClr val="CCCCCC"/>
                </a:solidFill>
                <a:miter lim="800000"/>
                <a:headEnd/>
                <a:tailEnd/>
              </a:ln>
              <a:effectLst>
                <a:outerShdw dist="28398" dir="3806097" algn="ctr" rotWithShape="0">
                  <a:srgbClr val="666666"/>
                </a:outerShdw>
              </a:effectLst>
            </p:spPr>
            <p:txBody>
              <a:bodyPr vert="eaVert"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Calibri" pitchFamily="34" charset="0"/>
                    <a:cs typeface="Arial" pitchFamily="34" charset="0"/>
                  </a:rPr>
                  <a:t>CAPACITY BUILDING AND EMPOWEMENT</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14" name="AutoShape 4">
                <a:extLst>
                  <a:ext uri="{FF2B5EF4-FFF2-40B4-BE49-F238E27FC236}">
                    <a16:creationId xmlns:a16="http://schemas.microsoft.com/office/drawing/2014/main" xmlns="" id="{6A232952-1A36-45AB-84B2-9AA5959AFB4C}"/>
                  </a:ext>
                </a:extLst>
              </p:cNvPr>
              <p:cNvSpPr>
                <a:spLocks noChangeArrowheads="1"/>
              </p:cNvSpPr>
              <p:nvPr/>
            </p:nvSpPr>
            <p:spPr bwMode="auto">
              <a:xfrm>
                <a:off x="3119267" y="2015270"/>
                <a:ext cx="415322" cy="5048252"/>
              </a:xfrm>
              <a:prstGeom prst="downArrow">
                <a:avLst>
                  <a:gd name="adj1" fmla="val 50000"/>
                  <a:gd name="adj2" fmla="val 293727"/>
                </a:avLst>
              </a:prstGeom>
              <a:gradFill rotWithShape="0">
                <a:gsLst>
                  <a:gs pos="0">
                    <a:srgbClr val="E1E1E1"/>
                  </a:gs>
                  <a:gs pos="50000">
                    <a:srgbClr val="CCCCCC"/>
                  </a:gs>
                  <a:gs pos="100000">
                    <a:srgbClr val="E1E1E1"/>
                  </a:gs>
                </a:gsLst>
                <a:lin ang="5400000" scaled="1"/>
              </a:gradFill>
              <a:ln w="12700" algn="in">
                <a:solidFill>
                  <a:srgbClr val="CCCCCC"/>
                </a:solidFill>
                <a:miter lim="800000"/>
                <a:headEnd/>
                <a:tailEnd/>
              </a:ln>
              <a:effectLst>
                <a:outerShdw dist="28398" dir="3806097" algn="ctr" rotWithShape="0">
                  <a:srgbClr val="666666"/>
                </a:outerShdw>
              </a:effectLst>
            </p:spPr>
            <p:txBody>
              <a:bodyPr vert="eaVert"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GB" altLang="en-US" sz="1000" b="0" i="0" u="none" strike="noStrike" cap="none" normalizeH="0" baseline="0" dirty="0">
                    <a:ln>
                      <a:noFill/>
                    </a:ln>
                    <a:solidFill>
                      <a:srgbClr val="000000"/>
                    </a:solidFill>
                    <a:effectLst/>
                    <a:latin typeface="Calibri" pitchFamily="34" charset="0"/>
                    <a:cs typeface="Arial" pitchFamily="34" charset="0"/>
                  </a:rPr>
                  <a:t>METHODOLOGY DEVELOPMENT, REFINEMENT AND DISSEMINATION</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grpSp>
        <p:sp>
          <p:nvSpPr>
            <p:cNvPr id="5" name="TextBox 4">
              <a:extLst>
                <a:ext uri="{FF2B5EF4-FFF2-40B4-BE49-F238E27FC236}">
                  <a16:creationId xmlns:a16="http://schemas.microsoft.com/office/drawing/2014/main" xmlns="" id="{DEF22212-243B-4A1A-A516-6551A75B6F4E}"/>
                </a:ext>
              </a:extLst>
            </p:cNvPr>
            <p:cNvSpPr txBox="1"/>
            <p:nvPr/>
          </p:nvSpPr>
          <p:spPr>
            <a:xfrm>
              <a:off x="467544" y="6268104"/>
              <a:ext cx="3299660" cy="553998"/>
            </a:xfrm>
            <a:prstGeom prst="rect">
              <a:avLst/>
            </a:prstGeom>
            <a:solidFill>
              <a:schemeClr val="accent6">
                <a:lumMod val="40000"/>
                <a:lumOff val="60000"/>
              </a:schemeClr>
            </a:solidFill>
          </p:spPr>
          <p:txBody>
            <a:bodyPr wrap="square" rtlCol="0">
              <a:spAutoFit/>
            </a:bodyPr>
            <a:lstStyle/>
            <a:p>
              <a:r>
                <a:rPr lang="en-GB" sz="1500" dirty="0">
                  <a:latin typeface="+mn-lt"/>
                </a:rPr>
                <a:t>Strong Evidence Base, X20 Prioritised Projects, and Empowered Stakeholders</a:t>
              </a:r>
              <a:endParaRPr lang="en-US" sz="1500" dirty="0">
                <a:latin typeface="+mn-lt"/>
              </a:endParaRPr>
            </a:p>
          </p:txBody>
        </p:sp>
      </p:grpSp>
      <p:graphicFrame>
        <p:nvGraphicFramePr>
          <p:cNvPr id="15" name="Diagram 14">
            <a:extLst>
              <a:ext uri="{FF2B5EF4-FFF2-40B4-BE49-F238E27FC236}">
                <a16:creationId xmlns:a16="http://schemas.microsoft.com/office/drawing/2014/main" xmlns="" id="{84308E2B-CEE5-477E-B642-9C8190D14960}"/>
              </a:ext>
            </a:extLst>
          </p:cNvPr>
          <p:cNvGraphicFramePr/>
          <p:nvPr>
            <p:extLst>
              <p:ext uri="{D42A27DB-BD31-4B8C-83A1-F6EECF244321}">
                <p14:modId xmlns:p14="http://schemas.microsoft.com/office/powerpoint/2010/main" val="3295243715"/>
              </p:ext>
            </p:extLst>
          </p:nvPr>
        </p:nvGraphicFramePr>
        <p:xfrm>
          <a:off x="9782000" y="3429000"/>
          <a:ext cx="2661468" cy="179713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6" name="Picture 2">
            <a:extLst>
              <a:ext uri="{FF2B5EF4-FFF2-40B4-BE49-F238E27FC236}">
                <a16:creationId xmlns:a16="http://schemas.microsoft.com/office/drawing/2014/main" xmlns="" id="{78DF3002-E270-4F7E-997F-355B57BC0E66}"/>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315127" y="3655654"/>
            <a:ext cx="2650113" cy="29992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in">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CCCCCC"/>
                  </a:outerShdw>
                </a:effectLst>
              </a14:hiddenEffects>
            </a:ext>
          </a:extLst>
        </p:spPr>
      </p:pic>
      <p:pic>
        <p:nvPicPr>
          <p:cNvPr id="17" name="Picture 16">
            <a:extLst>
              <a:ext uri="{FF2B5EF4-FFF2-40B4-BE49-F238E27FC236}">
                <a16:creationId xmlns:a16="http://schemas.microsoft.com/office/drawing/2014/main" xmlns="" id="{BDE05967-DF42-4743-8F3A-5C79569D2D26}"/>
              </a:ext>
            </a:extLst>
          </p:cNvPr>
          <p:cNvPicPr/>
          <p:nvPr/>
        </p:nvPicPr>
        <p:blipFill>
          <a:blip r:embed="rId11" cstate="print">
            <a:extLst>
              <a:ext uri="{28A0092B-C50C-407E-A947-70E740481C1C}">
                <a14:useLocalDpi xmlns:a14="http://schemas.microsoft.com/office/drawing/2010/main" val="0"/>
              </a:ext>
            </a:extLst>
          </a:blip>
          <a:stretch>
            <a:fillRect/>
          </a:stretch>
        </p:blipFill>
        <p:spPr>
          <a:xfrm>
            <a:off x="4146405" y="4266478"/>
            <a:ext cx="2052608" cy="1629766"/>
          </a:xfrm>
          <a:prstGeom prst="rect">
            <a:avLst/>
          </a:prstGeom>
        </p:spPr>
      </p:pic>
      <p:sp>
        <p:nvSpPr>
          <p:cNvPr id="22" name="Title 1"/>
          <p:cNvSpPr txBox="1">
            <a:spLocks/>
          </p:cNvSpPr>
          <p:nvPr/>
        </p:nvSpPr>
        <p:spPr bwMode="gray">
          <a:xfrm>
            <a:off x="3871894" y="1267606"/>
            <a:ext cx="5198626" cy="8990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72000" rIns="91440" bIns="45720" numCol="1" anchor="b" anchorCtr="0" compatLnSpc="1">
            <a:prstTxWarp prst="textNoShape">
              <a:avLst/>
            </a:prstTxWarp>
          </a:bodyPr>
          <a:lstStyle>
            <a:lvl1pPr algn="l" rtl="0" eaLnBrk="1" fontAlgn="base" hangingPunct="1">
              <a:lnSpc>
                <a:spcPct val="90000"/>
              </a:lnSpc>
              <a:spcBef>
                <a:spcPct val="0"/>
              </a:spcBef>
              <a:spcAft>
                <a:spcPct val="0"/>
              </a:spcAft>
              <a:defRPr kumimoji="1" sz="2800" b="1">
                <a:solidFill>
                  <a:srgbClr val="2260A8"/>
                </a:solidFill>
                <a:latin typeface="Calibri"/>
                <a:ea typeface="ＭＳ Ｐゴシック" charset="0"/>
                <a:cs typeface="ＭＳ Ｐゴシック" charset="0"/>
              </a:defRPr>
            </a:lvl1pPr>
            <a:lvl2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2pPr>
            <a:lvl3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3pPr>
            <a:lvl4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4pPr>
            <a:lvl5pPr algn="l" rtl="0" eaLnBrk="1" fontAlgn="base" hangingPunct="1">
              <a:spcBef>
                <a:spcPct val="0"/>
              </a:spcBef>
              <a:spcAft>
                <a:spcPct val="0"/>
              </a:spcAft>
              <a:defRPr kumimoji="1" sz="2800" b="1">
                <a:solidFill>
                  <a:srgbClr val="082957"/>
                </a:solidFill>
                <a:latin typeface="Calibri" charset="0"/>
                <a:ea typeface="ＭＳ Ｐゴシック" charset="0"/>
                <a:cs typeface="ＭＳ Ｐゴシック" charset="0"/>
              </a:defRPr>
            </a:lvl5pPr>
            <a:lvl6pPr marL="457200" algn="l" rtl="0" eaLnBrk="1" fontAlgn="base" hangingPunct="1">
              <a:spcBef>
                <a:spcPct val="0"/>
              </a:spcBef>
              <a:spcAft>
                <a:spcPct val="0"/>
              </a:spcAft>
              <a:defRPr kumimoji="1" sz="2800" b="1">
                <a:solidFill>
                  <a:srgbClr val="FFFFFF"/>
                </a:solidFill>
                <a:latin typeface="Arial" charset="0"/>
                <a:ea typeface="ＭＳ Ｐゴシック" charset="0"/>
              </a:defRPr>
            </a:lvl6pPr>
            <a:lvl7pPr marL="914400" algn="l" rtl="0" eaLnBrk="1" fontAlgn="base" hangingPunct="1">
              <a:spcBef>
                <a:spcPct val="0"/>
              </a:spcBef>
              <a:spcAft>
                <a:spcPct val="0"/>
              </a:spcAft>
              <a:defRPr kumimoji="1" sz="2800" b="1">
                <a:solidFill>
                  <a:srgbClr val="FFFFFF"/>
                </a:solidFill>
                <a:latin typeface="Arial" charset="0"/>
                <a:ea typeface="ＭＳ Ｐゴシック" charset="0"/>
              </a:defRPr>
            </a:lvl7pPr>
            <a:lvl8pPr marL="1371600" algn="l" rtl="0" eaLnBrk="1" fontAlgn="base" hangingPunct="1">
              <a:spcBef>
                <a:spcPct val="0"/>
              </a:spcBef>
              <a:spcAft>
                <a:spcPct val="0"/>
              </a:spcAft>
              <a:defRPr kumimoji="1" sz="2800" b="1">
                <a:solidFill>
                  <a:srgbClr val="FFFFFF"/>
                </a:solidFill>
                <a:latin typeface="Arial" charset="0"/>
                <a:ea typeface="ＭＳ Ｐゴシック" charset="0"/>
              </a:defRPr>
            </a:lvl8pPr>
            <a:lvl9pPr marL="1828800" algn="l" rtl="0" eaLnBrk="1" fontAlgn="base" hangingPunct="1">
              <a:spcBef>
                <a:spcPct val="0"/>
              </a:spcBef>
              <a:spcAft>
                <a:spcPct val="0"/>
              </a:spcAft>
              <a:defRPr kumimoji="1" sz="2800" b="1">
                <a:solidFill>
                  <a:srgbClr val="FFFFFF"/>
                </a:solidFill>
                <a:latin typeface="Arial" charset="0"/>
                <a:ea typeface="ＭＳ Ｐゴシック" charset="0"/>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r>
              <a:rPr kumimoji="1" lang="en-GB" sz="2800" b="1" i="0" u="none" strike="noStrike" kern="0" cap="none" spc="0" normalizeH="0" baseline="0" noProof="0" dirty="0" smtClean="0">
                <a:ln>
                  <a:noFill/>
                </a:ln>
                <a:solidFill>
                  <a:srgbClr val="2260A8"/>
                </a:solidFill>
                <a:effectLst/>
                <a:uLnTx/>
                <a:uFillTx/>
                <a:latin typeface="Calibri"/>
                <a:ea typeface="ＭＳ Ｐゴシック" charset="0"/>
              </a:rPr>
              <a:t/>
            </a:r>
            <a:br>
              <a:rPr kumimoji="1" lang="en-GB" sz="2800" b="1" i="0" u="none" strike="noStrike" kern="0" cap="none" spc="0" normalizeH="0" baseline="0" noProof="0" dirty="0" smtClean="0">
                <a:ln>
                  <a:noFill/>
                </a:ln>
                <a:solidFill>
                  <a:srgbClr val="2260A8"/>
                </a:solidFill>
                <a:effectLst/>
                <a:uLnTx/>
                <a:uFillTx/>
                <a:latin typeface="Calibri"/>
                <a:ea typeface="ＭＳ Ｐゴシック" charset="0"/>
              </a:rPr>
            </a:br>
            <a:r>
              <a:rPr kumimoji="1" lang="en-GB" sz="2800" b="1" i="0" u="none" strike="noStrike" kern="0" cap="none" spc="0" normalizeH="0" baseline="0" noProof="0" dirty="0" smtClean="0">
                <a:ln>
                  <a:noFill/>
                </a:ln>
                <a:solidFill>
                  <a:srgbClr val="2260A8"/>
                </a:solidFill>
                <a:effectLst/>
                <a:uLnTx/>
                <a:uFillTx/>
                <a:latin typeface="Calibri"/>
                <a:ea typeface="ＭＳ Ｐゴシック" charset="0"/>
              </a:rPr>
              <a:t/>
            </a:r>
            <a:br>
              <a:rPr kumimoji="1" lang="en-GB" sz="2800" b="1" i="0" u="none" strike="noStrike" kern="0" cap="none" spc="0" normalizeH="0" baseline="0" noProof="0" dirty="0" smtClean="0">
                <a:ln>
                  <a:noFill/>
                </a:ln>
                <a:solidFill>
                  <a:srgbClr val="2260A8"/>
                </a:solidFill>
                <a:effectLst/>
                <a:uLnTx/>
                <a:uFillTx/>
                <a:latin typeface="Calibri"/>
                <a:ea typeface="ＭＳ Ｐゴシック" charset="0"/>
              </a:rPr>
            </a:br>
            <a:r>
              <a:rPr kumimoji="1" lang="en-GB" sz="2800" i="0" u="none" strike="noStrike" kern="0" cap="none" spc="0" normalizeH="0" baseline="0" noProof="0" dirty="0" smtClean="0">
                <a:ln>
                  <a:noFill/>
                </a:ln>
                <a:solidFill>
                  <a:srgbClr val="2260A8"/>
                </a:solidFill>
                <a:effectLst/>
                <a:uLnTx/>
                <a:uFillTx/>
                <a:latin typeface="Calibri"/>
                <a:ea typeface="ＭＳ Ｐゴシック" charset="0"/>
              </a:rPr>
              <a:t>How can we address the challenge in Greater Kampala?</a:t>
            </a:r>
            <a:endParaRPr kumimoji="1" lang="en-GB" sz="2800" i="0" u="none" strike="noStrike" kern="0" cap="none" spc="0" normalizeH="0" baseline="0" noProof="0" dirty="0">
              <a:ln>
                <a:noFill/>
              </a:ln>
              <a:solidFill>
                <a:srgbClr val="2260A8"/>
              </a:solidFill>
              <a:effectLst/>
              <a:uLnTx/>
              <a:uFillTx/>
              <a:latin typeface="Calibri"/>
              <a:ea typeface="ＭＳ Ｐゴシック" charset="0"/>
            </a:endParaRPr>
          </a:p>
        </p:txBody>
      </p:sp>
    </p:spTree>
    <p:extLst>
      <p:ext uri="{BB962C8B-B14F-4D97-AF65-F5344CB8AC3E}">
        <p14:creationId xmlns:p14="http://schemas.microsoft.com/office/powerpoint/2010/main" val="25153446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a:extLst>
              <a:ext uri="{FF2B5EF4-FFF2-40B4-BE49-F238E27FC236}">
                <a16:creationId xmlns:a16="http://schemas.microsoft.com/office/drawing/2014/main" xmlns="" id="{2A926A4D-34B4-4B16-88E3-CBE31AB893F2}"/>
              </a:ext>
            </a:extLst>
          </p:cNvPr>
          <p:cNvSpPr txBox="1">
            <a:spLocks/>
          </p:cNvSpPr>
          <p:nvPr/>
        </p:nvSpPr>
        <p:spPr>
          <a:xfrm>
            <a:off x="0" y="6643710"/>
            <a:ext cx="2428860" cy="214290"/>
          </a:xfrm>
          <a:prstGeom prst="rect">
            <a:avLst/>
          </a:prstGeom>
        </p:spPr>
        <p:txBody>
          <a:bodyPr vert="horz" lIns="91440" tIns="45720" rIns="91440" bIns="45720" rtlCol="0" anchor="ctr"/>
          <a:lstStyle>
            <a:defPPr>
              <a:defRPr lang="en-US"/>
            </a:defPPr>
            <a:lvl1pPr algn="l" rtl="0" eaLnBrk="0" fontAlgn="base" hangingPunct="0">
              <a:spcBef>
                <a:spcPct val="0"/>
              </a:spcBef>
              <a:spcAft>
                <a:spcPct val="0"/>
              </a:spcAft>
              <a:defRPr sz="1200" kern="1200">
                <a:solidFill>
                  <a:schemeClr val="bg1"/>
                </a:solidFill>
                <a:latin typeface="Arial" charset="0"/>
                <a:ea typeface="ＭＳ Ｐゴシック" pitchFamily="1" charset="-128"/>
                <a:cs typeface="+mn-cs"/>
              </a:defRPr>
            </a:lvl1pPr>
            <a:lvl2pPr marL="457200" algn="l" rtl="0" eaLnBrk="0" fontAlgn="base" hangingPunct="0">
              <a:spcBef>
                <a:spcPct val="0"/>
              </a:spcBef>
              <a:spcAft>
                <a:spcPct val="0"/>
              </a:spcAft>
              <a:defRPr sz="2400" kern="1200">
                <a:solidFill>
                  <a:schemeClr val="tx1"/>
                </a:solidFill>
                <a:latin typeface="Arial" pitchFamily="34" charset="0"/>
                <a:ea typeface="ＭＳ Ｐゴシック" pitchFamily="1" charset="-128"/>
                <a:cs typeface="+mn-cs"/>
              </a:defRPr>
            </a:lvl2pPr>
            <a:lvl3pPr marL="914400" algn="l" rtl="0" eaLnBrk="0" fontAlgn="base" hangingPunct="0">
              <a:spcBef>
                <a:spcPct val="0"/>
              </a:spcBef>
              <a:spcAft>
                <a:spcPct val="0"/>
              </a:spcAft>
              <a:defRPr sz="2400" kern="1200">
                <a:solidFill>
                  <a:schemeClr val="tx1"/>
                </a:solidFill>
                <a:latin typeface="Arial" pitchFamily="34" charset="0"/>
                <a:ea typeface="ＭＳ Ｐゴシック" pitchFamily="1" charset="-128"/>
                <a:cs typeface="+mn-cs"/>
              </a:defRPr>
            </a:lvl3pPr>
            <a:lvl4pPr marL="1371600" algn="l" rtl="0" eaLnBrk="0" fontAlgn="base" hangingPunct="0">
              <a:spcBef>
                <a:spcPct val="0"/>
              </a:spcBef>
              <a:spcAft>
                <a:spcPct val="0"/>
              </a:spcAft>
              <a:defRPr sz="2400" kern="1200">
                <a:solidFill>
                  <a:schemeClr val="tx1"/>
                </a:solidFill>
                <a:latin typeface="Arial" pitchFamily="34" charset="0"/>
                <a:ea typeface="ＭＳ Ｐゴシック" pitchFamily="1" charset="-128"/>
                <a:cs typeface="+mn-cs"/>
              </a:defRPr>
            </a:lvl4pPr>
            <a:lvl5pPr marL="1828800" algn="l" rtl="0" eaLnBrk="0" fontAlgn="base" hangingPunct="0">
              <a:spcBef>
                <a:spcPct val="0"/>
              </a:spcBef>
              <a:spcAft>
                <a:spcPct val="0"/>
              </a:spcAft>
              <a:defRPr sz="2400" kern="1200">
                <a:solidFill>
                  <a:schemeClr val="tx1"/>
                </a:solidFill>
                <a:latin typeface="Arial" pitchFamily="34" charset="0"/>
                <a:ea typeface="ＭＳ Ｐゴシック" pitchFamily="1"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1"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1"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1"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1" charset="-128"/>
                <a:cs typeface="+mn-cs"/>
              </a:defRPr>
            </a:lvl9pPr>
          </a:lstStyle>
          <a:p>
            <a:pPr>
              <a:defRPr/>
            </a:pPr>
            <a:fld id="{49741077-B706-466E-A1B1-65FE2F36042D}" type="slidenum">
              <a:rPr lang="en-US" smtClean="0"/>
              <a:pPr>
                <a:defRPr/>
              </a:pPr>
              <a:t>5</a:t>
            </a:fld>
            <a:endParaRPr lang="en-US" dirty="0"/>
          </a:p>
        </p:txBody>
      </p:sp>
      <p:sp>
        <p:nvSpPr>
          <p:cNvPr id="10" name="TextBox 9">
            <a:extLst>
              <a:ext uri="{FF2B5EF4-FFF2-40B4-BE49-F238E27FC236}">
                <a16:creationId xmlns:a16="http://schemas.microsoft.com/office/drawing/2014/main" xmlns="" id="{41C80BEB-E04C-419B-B278-A4C9AD081E70}"/>
              </a:ext>
            </a:extLst>
          </p:cNvPr>
          <p:cNvSpPr txBox="1"/>
          <p:nvPr/>
        </p:nvSpPr>
        <p:spPr>
          <a:xfrm>
            <a:off x="238014" y="1471309"/>
            <a:ext cx="4319396" cy="461665"/>
          </a:xfrm>
          <a:prstGeom prst="rect">
            <a:avLst/>
          </a:prstGeom>
          <a:noFill/>
        </p:spPr>
        <p:txBody>
          <a:bodyPr wrap="square" rtlCol="0">
            <a:spAutoFit/>
          </a:bodyPr>
          <a:lstStyle>
            <a:defPPr>
              <a:defRPr lang="en-US"/>
            </a:defPPr>
            <a:lvl1pPr algn="ctr">
              <a:defRPr b="1"/>
            </a:lvl1pPr>
          </a:lstStyle>
          <a:p>
            <a:pPr algn="l" eaLnBrk="1" hangingPunct="1">
              <a:spcBef>
                <a:spcPct val="20000"/>
              </a:spcBef>
            </a:pPr>
            <a:r>
              <a:rPr lang="en-GB" dirty="0" smtClean="0">
                <a:solidFill>
                  <a:schemeClr val="tx1">
                    <a:lumMod val="85000"/>
                    <a:lumOff val="15000"/>
                  </a:schemeClr>
                </a:solidFill>
                <a:latin typeface="Clarendon Condensed" panose="02040706040705040204" pitchFamily="18" charset="0"/>
              </a:rPr>
              <a:t>a. Stakeholder </a:t>
            </a:r>
            <a:r>
              <a:rPr lang="en-GB" dirty="0">
                <a:solidFill>
                  <a:schemeClr val="tx1">
                    <a:lumMod val="85000"/>
                    <a:lumOff val="15000"/>
                  </a:schemeClr>
                </a:solidFill>
                <a:latin typeface="Clarendon Condensed" panose="02040706040705040204" pitchFamily="18" charset="0"/>
              </a:rPr>
              <a:t>Engagement Plan  </a:t>
            </a:r>
          </a:p>
        </p:txBody>
      </p:sp>
      <p:sp>
        <p:nvSpPr>
          <p:cNvPr id="11" name="Content Placeholder 10">
            <a:extLst>
              <a:ext uri="{FF2B5EF4-FFF2-40B4-BE49-F238E27FC236}">
                <a16:creationId xmlns:a16="http://schemas.microsoft.com/office/drawing/2014/main" xmlns="" id="{61286B86-89C8-4701-8521-064D0B462057}"/>
              </a:ext>
            </a:extLst>
          </p:cNvPr>
          <p:cNvSpPr>
            <a:spLocks noGrp="1"/>
          </p:cNvSpPr>
          <p:nvPr>
            <p:ph sz="half" idx="2"/>
          </p:nvPr>
        </p:nvSpPr>
        <p:spPr>
          <a:xfrm>
            <a:off x="4426728" y="1824818"/>
            <a:ext cx="4663432" cy="4973351"/>
          </a:xfrm>
        </p:spPr>
        <p:txBody>
          <a:bodyPr/>
          <a:lstStyle/>
          <a:p>
            <a:pPr marL="0" indent="0">
              <a:buNone/>
            </a:pPr>
            <a:r>
              <a:rPr lang="en-GB" sz="2000" b="1" dirty="0">
                <a:solidFill>
                  <a:schemeClr val="tx1"/>
                </a:solidFill>
              </a:rPr>
              <a:t>Stakeholders</a:t>
            </a:r>
          </a:p>
          <a:p>
            <a:pPr>
              <a:buFont typeface="Wingdings" panose="05000000000000000000" pitchFamily="2" charset="2"/>
              <a:buChar char="§"/>
            </a:pPr>
            <a:r>
              <a:rPr lang="en-GB" sz="2000" dirty="0">
                <a:solidFill>
                  <a:schemeClr val="tx1"/>
                </a:solidFill>
              </a:rPr>
              <a:t>Government </a:t>
            </a:r>
          </a:p>
          <a:p>
            <a:pPr>
              <a:buFont typeface="Wingdings" panose="05000000000000000000" pitchFamily="2" charset="2"/>
              <a:buChar char="§"/>
            </a:pPr>
            <a:r>
              <a:rPr lang="en-GB" sz="2000" dirty="0">
                <a:solidFill>
                  <a:schemeClr val="tx1"/>
                </a:solidFill>
              </a:rPr>
              <a:t>Private sector </a:t>
            </a:r>
          </a:p>
          <a:p>
            <a:pPr>
              <a:buFont typeface="Wingdings" panose="05000000000000000000" pitchFamily="2" charset="2"/>
              <a:buChar char="§"/>
            </a:pPr>
            <a:r>
              <a:rPr lang="en-GB" sz="2000" dirty="0">
                <a:solidFill>
                  <a:schemeClr val="tx1"/>
                </a:solidFill>
              </a:rPr>
              <a:t>Communities</a:t>
            </a:r>
          </a:p>
          <a:p>
            <a:pPr>
              <a:buFont typeface="Wingdings" panose="05000000000000000000" pitchFamily="2" charset="2"/>
              <a:buChar char="§"/>
            </a:pPr>
            <a:r>
              <a:rPr lang="en-GB" sz="2000" dirty="0">
                <a:solidFill>
                  <a:schemeClr val="tx1"/>
                </a:solidFill>
              </a:rPr>
              <a:t>Academia   </a:t>
            </a:r>
          </a:p>
          <a:p>
            <a:pPr marL="0" indent="0">
              <a:buNone/>
            </a:pPr>
            <a:r>
              <a:rPr lang="en-GB" sz="2000" b="1" dirty="0">
                <a:solidFill>
                  <a:schemeClr val="tx1"/>
                </a:solidFill>
              </a:rPr>
              <a:t>Target (.gov.com.org) </a:t>
            </a:r>
          </a:p>
          <a:p>
            <a:pPr>
              <a:buFont typeface="Wingdings" panose="05000000000000000000" pitchFamily="2" charset="2"/>
              <a:buChar char="§"/>
            </a:pPr>
            <a:r>
              <a:rPr lang="en-GB" sz="2000" dirty="0">
                <a:solidFill>
                  <a:schemeClr val="tx1"/>
                </a:solidFill>
              </a:rPr>
              <a:t>Multi-stakeholder engagement platforms (e.g. Workshops)</a:t>
            </a:r>
          </a:p>
          <a:p>
            <a:pPr>
              <a:buFont typeface="Wingdings" panose="05000000000000000000" pitchFamily="2" charset="2"/>
              <a:buChar char="§"/>
            </a:pPr>
            <a:r>
              <a:rPr lang="en-GB" sz="2000" dirty="0">
                <a:solidFill>
                  <a:schemeClr val="tx1"/>
                </a:solidFill>
              </a:rPr>
              <a:t>Bilateral meetings </a:t>
            </a:r>
          </a:p>
          <a:p>
            <a:pPr>
              <a:buFont typeface="Wingdings" panose="05000000000000000000" pitchFamily="2" charset="2"/>
              <a:buChar char="§"/>
            </a:pPr>
            <a:r>
              <a:rPr lang="en-GB" sz="2000" dirty="0">
                <a:solidFill>
                  <a:schemeClr val="tx1"/>
                </a:solidFill>
              </a:rPr>
              <a:t>Collaboration in projects  development</a:t>
            </a:r>
          </a:p>
          <a:p>
            <a:pPr>
              <a:buFont typeface="Wingdings" panose="05000000000000000000" pitchFamily="2" charset="2"/>
              <a:buChar char="§"/>
            </a:pPr>
            <a:r>
              <a:rPr lang="en-GB" sz="2000" dirty="0">
                <a:solidFill>
                  <a:schemeClr val="tx1"/>
                </a:solidFill>
              </a:rPr>
              <a:t>Seminars </a:t>
            </a:r>
          </a:p>
          <a:p>
            <a:pPr marL="0" indent="0">
              <a:buNone/>
            </a:pPr>
            <a:r>
              <a:rPr lang="en-GB" sz="2000" b="1" dirty="0">
                <a:solidFill>
                  <a:schemeClr val="tx1"/>
                </a:solidFill>
              </a:rPr>
              <a:t>Training Programme (TT)</a:t>
            </a:r>
          </a:p>
          <a:p>
            <a:pPr>
              <a:buFont typeface="Wingdings" panose="05000000000000000000" pitchFamily="2" charset="2"/>
              <a:buChar char="§"/>
            </a:pPr>
            <a:r>
              <a:rPr lang="en-GB" sz="2000" dirty="0">
                <a:solidFill>
                  <a:schemeClr val="tx1"/>
                </a:solidFill>
              </a:rPr>
              <a:t>Course + platform</a:t>
            </a:r>
            <a:endParaRPr lang="en-GB" sz="2000" b="1" dirty="0">
              <a:solidFill>
                <a:schemeClr val="tx1"/>
              </a:solidFill>
            </a:endParaRPr>
          </a:p>
        </p:txBody>
      </p:sp>
      <p:sp>
        <p:nvSpPr>
          <p:cNvPr id="12" name="Right Brace 11">
            <a:extLst>
              <a:ext uri="{FF2B5EF4-FFF2-40B4-BE49-F238E27FC236}">
                <a16:creationId xmlns:a16="http://schemas.microsoft.com/office/drawing/2014/main" xmlns="" id="{8893628B-A7AB-4480-9F1A-4046E0CF69BE}"/>
              </a:ext>
            </a:extLst>
          </p:cNvPr>
          <p:cNvSpPr/>
          <p:nvPr/>
        </p:nvSpPr>
        <p:spPr>
          <a:xfrm>
            <a:off x="6597544" y="1988840"/>
            <a:ext cx="160900" cy="144016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 name="TextBox 12">
            <a:extLst>
              <a:ext uri="{FF2B5EF4-FFF2-40B4-BE49-F238E27FC236}">
                <a16:creationId xmlns:a16="http://schemas.microsoft.com/office/drawing/2014/main" xmlns="" id="{07A23C78-372A-4ACF-ADDA-F46CCC225B02}"/>
              </a:ext>
            </a:extLst>
          </p:cNvPr>
          <p:cNvSpPr txBox="1"/>
          <p:nvPr/>
        </p:nvSpPr>
        <p:spPr>
          <a:xfrm>
            <a:off x="6841724" y="2047200"/>
            <a:ext cx="1846175" cy="1323439"/>
          </a:xfrm>
          <a:prstGeom prst="rect">
            <a:avLst/>
          </a:prstGeom>
          <a:noFill/>
        </p:spPr>
        <p:txBody>
          <a:bodyPr wrap="square" rtlCol="0">
            <a:spAutoFit/>
          </a:bodyPr>
          <a:lstStyle/>
          <a:p>
            <a:r>
              <a:rPr lang="en-GB" sz="1600" dirty="0">
                <a:latin typeface="+mn-lt"/>
              </a:rPr>
              <a:t>Individual engagements e.g. Bilateral meetings and workshops</a:t>
            </a:r>
          </a:p>
          <a:p>
            <a:r>
              <a:rPr lang="en-GB" sz="1600" b="1" dirty="0">
                <a:latin typeface="+mn-lt"/>
              </a:rPr>
              <a:t>(common ground)  </a:t>
            </a:r>
            <a:endParaRPr lang="en-US" sz="1600" b="1" dirty="0">
              <a:latin typeface="+mn-lt"/>
            </a:endParaRPr>
          </a:p>
        </p:txBody>
      </p:sp>
      <p:pic>
        <p:nvPicPr>
          <p:cNvPr id="17" name="Picture 16">
            <a:extLst>
              <a:ext uri="{FF2B5EF4-FFF2-40B4-BE49-F238E27FC236}">
                <a16:creationId xmlns:a16="http://schemas.microsoft.com/office/drawing/2014/main" xmlns="" id="{973BC76E-9195-4AF5-9415-E192EC712FCC}"/>
              </a:ext>
            </a:extLst>
          </p:cNvPr>
          <p:cNvPicPr>
            <a:picLocks noChangeAspect="1"/>
          </p:cNvPicPr>
          <p:nvPr/>
        </p:nvPicPr>
        <p:blipFill>
          <a:blip r:embed="rId3"/>
          <a:stretch>
            <a:fillRect/>
          </a:stretch>
        </p:blipFill>
        <p:spPr>
          <a:xfrm>
            <a:off x="62411" y="59831"/>
            <a:ext cx="8625488" cy="1411478"/>
          </a:xfrm>
          <a:prstGeom prst="rect">
            <a:avLst/>
          </a:prstGeom>
        </p:spPr>
      </p:pic>
      <p:pic>
        <p:nvPicPr>
          <p:cNvPr id="14" name="Content Placeholder 7">
            <a:extLst>
              <a:ext uri="{FF2B5EF4-FFF2-40B4-BE49-F238E27FC236}">
                <a16:creationId xmlns:a16="http://schemas.microsoft.com/office/drawing/2014/main" xmlns="" id="{D64B652F-49DF-4540-874C-61F1D9AE403B}"/>
              </a:ext>
            </a:extLst>
          </p:cNvPr>
          <p:cNvPicPr>
            <a:picLocks noGrp="1" noChangeAspect="1"/>
          </p:cNvPicPr>
          <p:nvPr/>
        </p:nvPicPr>
        <p:blipFill>
          <a:blip r:embed="rId4"/>
          <a:stretch>
            <a:fillRect/>
          </a:stretch>
        </p:blipFill>
        <p:spPr bwMode="auto">
          <a:xfrm>
            <a:off x="60166" y="2135972"/>
            <a:ext cx="4300466" cy="3843074"/>
          </a:xfrm>
          <a:prstGeom prst="rect">
            <a:avLst/>
          </a:prstGeom>
          <a:noFill/>
          <a:ln w="9525">
            <a:noFill/>
            <a:miter lim="800000"/>
            <a:headEnd/>
            <a:tailEnd/>
          </a:ln>
        </p:spPr>
      </p:pic>
      <p:sp>
        <p:nvSpPr>
          <p:cNvPr id="2" name="Rectangle 1"/>
          <p:cNvSpPr/>
          <p:nvPr/>
        </p:nvSpPr>
        <p:spPr>
          <a:xfrm>
            <a:off x="1032387" y="5206181"/>
            <a:ext cx="737419" cy="221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p:cNvSpPr/>
          <p:nvPr/>
        </p:nvSpPr>
        <p:spPr>
          <a:xfrm>
            <a:off x="2703872" y="5188976"/>
            <a:ext cx="806244" cy="172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10347938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33D7773F-EB59-4631-95C3-9D7BAA5FAA70}"/>
              </a:ext>
            </a:extLst>
          </p:cNvPr>
          <p:cNvSpPr>
            <a:spLocks noGrp="1"/>
          </p:cNvSpPr>
          <p:nvPr>
            <p:ph sz="half" idx="1"/>
          </p:nvPr>
        </p:nvSpPr>
        <p:spPr>
          <a:xfrm>
            <a:off x="139010" y="1706604"/>
            <a:ext cx="6558034" cy="2183003"/>
          </a:xfrm>
        </p:spPr>
        <p:txBody>
          <a:bodyPr/>
          <a:lstStyle/>
          <a:p>
            <a:pPr>
              <a:buFont typeface="Wingdings" panose="05000000000000000000" pitchFamily="2" charset="2"/>
              <a:buChar char="§"/>
            </a:pPr>
            <a:r>
              <a:rPr lang="en-GB" sz="1800" dirty="0">
                <a:solidFill>
                  <a:schemeClr val="tx1"/>
                </a:solidFill>
              </a:rPr>
              <a:t>Situation analysis- hotspot identification &amp; baseline for analysis </a:t>
            </a:r>
          </a:p>
          <a:p>
            <a:pPr>
              <a:buFont typeface="Wingdings" panose="05000000000000000000" pitchFamily="2" charset="2"/>
              <a:buChar char="§"/>
            </a:pPr>
            <a:r>
              <a:rPr lang="en-GB" sz="1800" dirty="0">
                <a:solidFill>
                  <a:schemeClr val="tx1"/>
                </a:solidFill>
              </a:rPr>
              <a:t>Economic analysis– Benefits assessment to build a case for investment. Formulation of alternative scenarios to estimate water security benefits</a:t>
            </a:r>
          </a:p>
          <a:p>
            <a:pPr marL="0" indent="0">
              <a:buNone/>
            </a:pPr>
            <a:r>
              <a:rPr lang="en-GB" sz="1800" dirty="0">
                <a:solidFill>
                  <a:schemeClr val="tx1"/>
                </a:solidFill>
              </a:rPr>
              <a:t>Based on The Contribution of Water Resource Development and Environmental Management to Uganda’s Economy” (Industrial Economics, 2016). </a:t>
            </a:r>
          </a:p>
          <a:p>
            <a:pPr>
              <a:buFont typeface="Wingdings" panose="05000000000000000000" pitchFamily="2" charset="2"/>
              <a:buChar char="§"/>
            </a:pPr>
            <a:endParaRPr lang="en-US" sz="2200" dirty="0"/>
          </a:p>
          <a:p>
            <a:pPr>
              <a:buFont typeface="Wingdings" panose="05000000000000000000" pitchFamily="2" charset="2"/>
              <a:buChar char="§"/>
            </a:pPr>
            <a:endParaRPr lang="en-GB" sz="2200" dirty="0"/>
          </a:p>
          <a:p>
            <a:pPr>
              <a:buFont typeface="Wingdings" panose="05000000000000000000" pitchFamily="2" charset="2"/>
              <a:buChar char="§"/>
            </a:pPr>
            <a:endParaRPr lang="en-US" sz="2200" dirty="0"/>
          </a:p>
          <a:p>
            <a:pPr marL="0" indent="0">
              <a:buNone/>
            </a:pPr>
            <a:endParaRPr lang="en-US" sz="2200" dirty="0"/>
          </a:p>
        </p:txBody>
      </p:sp>
      <p:sp>
        <p:nvSpPr>
          <p:cNvPr id="15" name="Content Placeholder 2">
            <a:extLst>
              <a:ext uri="{FF2B5EF4-FFF2-40B4-BE49-F238E27FC236}">
                <a16:creationId xmlns:a16="http://schemas.microsoft.com/office/drawing/2014/main" xmlns="" id="{AF59E3E8-250C-4365-8D03-22253828A103}"/>
              </a:ext>
            </a:extLst>
          </p:cNvPr>
          <p:cNvSpPr txBox="1">
            <a:spLocks/>
          </p:cNvSpPr>
          <p:nvPr/>
        </p:nvSpPr>
        <p:spPr bwMode="auto">
          <a:xfrm>
            <a:off x="590383" y="1155623"/>
            <a:ext cx="6258290" cy="5170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Arial" pitchFamily="34" charset="0"/>
              <a:buChar char="•"/>
              <a:defRPr sz="2800" kern="1200">
                <a:solidFill>
                  <a:schemeClr val="tx1">
                    <a:lumMod val="75000"/>
                    <a:lumOff val="25000"/>
                  </a:schemeClr>
                </a:solidFill>
                <a:latin typeface="+mn-lt"/>
                <a:ea typeface="+mn-ea"/>
                <a:cs typeface="+mn-cs"/>
              </a:defRPr>
            </a:lvl1pPr>
            <a:lvl2pPr marL="742950" indent="-285750" algn="l" rtl="0" eaLnBrk="1" fontAlgn="base" hangingPunct="1">
              <a:spcBef>
                <a:spcPct val="20000"/>
              </a:spcBef>
              <a:spcAft>
                <a:spcPct val="0"/>
              </a:spcAft>
              <a:buFont typeface="Arial" pitchFamily="34" charset="0"/>
              <a:buChar char="–"/>
              <a:defRPr sz="2400" kern="1200">
                <a:solidFill>
                  <a:schemeClr val="tx1">
                    <a:lumMod val="75000"/>
                    <a:lumOff val="25000"/>
                  </a:schemeClr>
                </a:solidFill>
                <a:latin typeface="+mn-lt"/>
                <a:ea typeface="+mn-ea"/>
                <a:cs typeface="+mn-cs"/>
              </a:defRPr>
            </a:lvl2pPr>
            <a:lvl3pPr marL="1143000" indent="-228600" algn="l" rtl="0" eaLnBrk="1" fontAlgn="base" hangingPunct="1">
              <a:spcBef>
                <a:spcPct val="20000"/>
              </a:spcBef>
              <a:spcAft>
                <a:spcPct val="0"/>
              </a:spcAft>
              <a:buFont typeface="Arial" pitchFamily="34" charset="0"/>
              <a:buChar char="•"/>
              <a:defRPr sz="2000" kern="1200">
                <a:solidFill>
                  <a:schemeClr val="tx1">
                    <a:lumMod val="75000"/>
                    <a:lumOff val="25000"/>
                  </a:schemeClr>
                </a:solidFill>
                <a:latin typeface="+mn-lt"/>
                <a:ea typeface="+mn-ea"/>
                <a:cs typeface="+mn-cs"/>
              </a:defRPr>
            </a:lvl3pPr>
            <a:lvl4pPr marL="16002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4pPr>
            <a:lvl5pPr marL="20574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GB" sz="2400" b="1" dirty="0">
                <a:solidFill>
                  <a:schemeClr val="tx1"/>
                </a:solidFill>
                <a:latin typeface="Clarendon Condensed" panose="02040706040705040204" pitchFamily="18" charset="0"/>
              </a:rPr>
              <a:t>b.  WSAIP Study &amp; Risk Assessment</a:t>
            </a:r>
          </a:p>
          <a:p>
            <a:pPr marL="0" indent="0">
              <a:buNone/>
            </a:pPr>
            <a:r>
              <a:rPr lang="en-GB" b="1" dirty="0">
                <a:latin typeface="Clarendon Condensed" panose="02040706040705040204" pitchFamily="18" charset="0"/>
              </a:rPr>
              <a:t>   </a:t>
            </a:r>
          </a:p>
        </p:txBody>
      </p:sp>
      <p:grpSp>
        <p:nvGrpSpPr>
          <p:cNvPr id="23" name="Group 22">
            <a:extLst>
              <a:ext uri="{FF2B5EF4-FFF2-40B4-BE49-F238E27FC236}">
                <a16:creationId xmlns:a16="http://schemas.microsoft.com/office/drawing/2014/main" xmlns="" id="{2ADBE81B-18F7-49FF-A33D-E0CA058CEDFE}"/>
              </a:ext>
            </a:extLst>
          </p:cNvPr>
          <p:cNvGrpSpPr/>
          <p:nvPr/>
        </p:nvGrpSpPr>
        <p:grpSpPr>
          <a:xfrm>
            <a:off x="19191" y="3784654"/>
            <a:ext cx="9143999" cy="3023851"/>
            <a:chOff x="300839" y="3212976"/>
            <a:chExt cx="8597735" cy="3023851"/>
          </a:xfrm>
        </p:grpSpPr>
        <p:sp>
          <p:nvSpPr>
            <p:cNvPr id="24" name="Rectangle 23">
              <a:extLst>
                <a:ext uri="{FF2B5EF4-FFF2-40B4-BE49-F238E27FC236}">
                  <a16:creationId xmlns:a16="http://schemas.microsoft.com/office/drawing/2014/main" xmlns="" id="{282CCDE4-D6D5-490E-BC5C-0EB16C742606}"/>
                </a:ext>
              </a:extLst>
            </p:cNvPr>
            <p:cNvSpPr/>
            <p:nvPr/>
          </p:nvSpPr>
          <p:spPr>
            <a:xfrm>
              <a:off x="1708478" y="3212976"/>
              <a:ext cx="1518479" cy="593066"/>
            </a:xfrm>
            <a:prstGeom prst="rect">
              <a:avLst/>
            </a:prstGeom>
            <a:noFill/>
            <a:ln w="12700" cap="flat" cmpd="sng" algn="ctr">
              <a:noFill/>
              <a:prstDash val="solid"/>
              <a:miter lim="800000"/>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a:ea typeface="+mn-ea"/>
                  <a:cs typeface="+mn-cs"/>
                </a:rPr>
                <a:t>Ecosystems Health  &amp; Extent </a:t>
              </a:r>
            </a:p>
          </p:txBody>
        </p:sp>
        <p:sp>
          <p:nvSpPr>
            <p:cNvPr id="25" name="Rectangle 24">
              <a:extLst>
                <a:ext uri="{FF2B5EF4-FFF2-40B4-BE49-F238E27FC236}">
                  <a16:creationId xmlns:a16="http://schemas.microsoft.com/office/drawing/2014/main" xmlns="" id="{355F95D9-B1C4-4BCA-9095-CD21CD68C212}"/>
                </a:ext>
              </a:extLst>
            </p:cNvPr>
            <p:cNvSpPr/>
            <p:nvPr/>
          </p:nvSpPr>
          <p:spPr>
            <a:xfrm>
              <a:off x="3512096" y="3212976"/>
              <a:ext cx="1391261" cy="432048"/>
            </a:xfrm>
            <a:prstGeom prst="rect">
              <a:avLst/>
            </a:prstGeom>
            <a:noFill/>
            <a:ln w="12700" cap="flat" cmpd="sng" algn="ctr">
              <a:noFill/>
              <a:prstDash val="solid"/>
              <a:miter lim="800000"/>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a:ea typeface="+mn-ea"/>
                  <a:cs typeface="+mn-cs"/>
                </a:rPr>
                <a:t>Solid Waste</a:t>
              </a:r>
            </a:p>
          </p:txBody>
        </p:sp>
        <p:sp>
          <p:nvSpPr>
            <p:cNvPr id="26" name="Rectangle 25">
              <a:extLst>
                <a:ext uri="{FF2B5EF4-FFF2-40B4-BE49-F238E27FC236}">
                  <a16:creationId xmlns:a16="http://schemas.microsoft.com/office/drawing/2014/main" xmlns="" id="{2505C336-EC13-46E2-9021-2DEEDD4E943F}"/>
                </a:ext>
              </a:extLst>
            </p:cNvPr>
            <p:cNvSpPr/>
            <p:nvPr/>
          </p:nvSpPr>
          <p:spPr>
            <a:xfrm>
              <a:off x="5188496" y="3212976"/>
              <a:ext cx="1391261" cy="593066"/>
            </a:xfrm>
            <a:prstGeom prst="rect">
              <a:avLst/>
            </a:prstGeom>
            <a:noFill/>
            <a:ln w="12700" cap="flat" cmpd="sng" algn="ctr">
              <a:noFill/>
              <a:prstDash val="solid"/>
              <a:miter lim="800000"/>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a:ea typeface="+mn-ea"/>
                  <a:cs typeface="+mn-cs"/>
                </a:rPr>
                <a:t>Stormwater Runoff</a:t>
              </a:r>
            </a:p>
          </p:txBody>
        </p:sp>
        <p:sp>
          <p:nvSpPr>
            <p:cNvPr id="27" name="Rectangle 26">
              <a:extLst>
                <a:ext uri="{FF2B5EF4-FFF2-40B4-BE49-F238E27FC236}">
                  <a16:creationId xmlns:a16="http://schemas.microsoft.com/office/drawing/2014/main" xmlns="" id="{1485CE7F-9327-4647-B97A-E329C452C846}"/>
                </a:ext>
              </a:extLst>
            </p:cNvPr>
            <p:cNvSpPr/>
            <p:nvPr/>
          </p:nvSpPr>
          <p:spPr>
            <a:xfrm>
              <a:off x="6864896" y="3212976"/>
              <a:ext cx="1391261" cy="593066"/>
            </a:xfrm>
            <a:prstGeom prst="rect">
              <a:avLst/>
            </a:prstGeom>
            <a:noFill/>
            <a:ln w="12700" cap="flat" cmpd="sng" algn="ctr">
              <a:noFill/>
              <a:prstDash val="solid"/>
              <a:miter lim="800000"/>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Calibri" panose="020F0502020204030204"/>
                  <a:ea typeface="+mn-ea"/>
                  <a:cs typeface="+mn-cs"/>
                </a:rPr>
                <a:t>Effluent Treatment</a:t>
              </a:r>
            </a:p>
          </p:txBody>
        </p:sp>
        <p:sp>
          <p:nvSpPr>
            <p:cNvPr id="28" name="Striped Right Arrow 4">
              <a:extLst>
                <a:ext uri="{FF2B5EF4-FFF2-40B4-BE49-F238E27FC236}">
                  <a16:creationId xmlns:a16="http://schemas.microsoft.com/office/drawing/2014/main" xmlns="" id="{8A8215E2-2F09-47D8-BD2E-9884E60EE692}"/>
                </a:ext>
              </a:extLst>
            </p:cNvPr>
            <p:cNvSpPr/>
            <p:nvPr/>
          </p:nvSpPr>
          <p:spPr>
            <a:xfrm>
              <a:off x="300839" y="5093827"/>
              <a:ext cx="8597735" cy="1143000"/>
            </a:xfrm>
            <a:prstGeom prst="stripedRightArrow">
              <a:avLst>
                <a:gd name="adj1" fmla="val 100000"/>
                <a:gd name="adj2" fmla="val 50000"/>
              </a:avLst>
            </a:prstGeom>
            <a:solidFill>
              <a:srgbClr val="70AD47">
                <a:lumMod val="60000"/>
                <a:lumOff val="40000"/>
              </a:srgbClr>
            </a:solidFill>
            <a:ln w="12700" cap="flat" cmpd="sng" algn="ctr">
              <a:solidFill>
                <a:srgbClr val="70AD47"/>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mn-cs"/>
                </a:rPr>
                <a:t>Water Secure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mn-cs"/>
                </a:rPr>
                <a:t>Focused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mn-cs"/>
                </a:rPr>
                <a:t>Development</a:t>
              </a:r>
              <a:endParaRPr kumimoji="0" lang="en-US" sz="18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29" name="Striped Right Arrow 5">
              <a:extLst>
                <a:ext uri="{FF2B5EF4-FFF2-40B4-BE49-F238E27FC236}">
                  <a16:creationId xmlns:a16="http://schemas.microsoft.com/office/drawing/2014/main" xmlns="" id="{CA16BBDC-C855-4B8B-AECD-ABF7CB8AD600}"/>
                </a:ext>
              </a:extLst>
            </p:cNvPr>
            <p:cNvSpPr/>
            <p:nvPr/>
          </p:nvSpPr>
          <p:spPr>
            <a:xfrm>
              <a:off x="300839" y="3802114"/>
              <a:ext cx="8597734" cy="1143000"/>
            </a:xfrm>
            <a:prstGeom prst="stripedRightArrow">
              <a:avLst>
                <a:gd name="adj1" fmla="val 100000"/>
                <a:gd name="adj2" fmla="val 49837"/>
              </a:avLst>
            </a:prstGeom>
            <a:solidFill>
              <a:srgbClr val="ED7D31">
                <a:lumMod val="60000"/>
                <a:lumOff val="40000"/>
              </a:srgbClr>
            </a:solidFill>
            <a:ln w="12700" cap="flat" cmpd="sng" algn="ctr">
              <a:solidFill>
                <a:srgbClr val="ED7D31"/>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mn-cs"/>
                </a:rPr>
                <a:t>BAU</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Calibri" panose="020F0502020204030204"/>
                  <a:ea typeface="+mn-ea"/>
                  <a:cs typeface="+mn-cs"/>
                </a:rPr>
                <a:t>Development</a:t>
              </a:r>
            </a:p>
          </p:txBody>
        </p:sp>
        <p:sp>
          <p:nvSpPr>
            <p:cNvPr id="30" name="Rectangle 29">
              <a:extLst>
                <a:ext uri="{FF2B5EF4-FFF2-40B4-BE49-F238E27FC236}">
                  <a16:creationId xmlns:a16="http://schemas.microsoft.com/office/drawing/2014/main" xmlns="" id="{DB86D160-CBFF-4249-A98D-C5F1E2C88AE3}"/>
                </a:ext>
              </a:extLst>
            </p:cNvPr>
            <p:cNvSpPr/>
            <p:nvPr/>
          </p:nvSpPr>
          <p:spPr>
            <a:xfrm>
              <a:off x="1835698" y="3950827"/>
              <a:ext cx="1391262" cy="845574"/>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prstClr val="white"/>
                  </a:solidFill>
                  <a:effectLst/>
                  <a:uLnTx/>
                  <a:uFillTx/>
                  <a:latin typeface="Calibri" panose="020F0502020204030204"/>
                  <a:ea typeface="+mn-ea"/>
                  <a:cs typeface="+mn-cs"/>
                </a:rPr>
                <a:t>Degraded and poorly functioning ecosystems</a:t>
              </a:r>
              <a:endPar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1" name="Rectangle 30">
              <a:extLst>
                <a:ext uri="{FF2B5EF4-FFF2-40B4-BE49-F238E27FC236}">
                  <a16:creationId xmlns:a16="http://schemas.microsoft.com/office/drawing/2014/main" xmlns="" id="{01B83C54-10B2-4D57-9C19-4F58210517C7}"/>
                </a:ext>
              </a:extLst>
            </p:cNvPr>
            <p:cNvSpPr/>
            <p:nvPr/>
          </p:nvSpPr>
          <p:spPr>
            <a:xfrm>
              <a:off x="1835694" y="5243281"/>
              <a:ext cx="1391262" cy="845574"/>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Restored and maintained ecosystems</a:t>
              </a: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xmlns="" id="{35E595CA-904B-4858-BAC9-46F05F9238BD}"/>
                </a:ext>
              </a:extLst>
            </p:cNvPr>
            <p:cNvSpPr/>
            <p:nvPr/>
          </p:nvSpPr>
          <p:spPr>
            <a:xfrm>
              <a:off x="3512097" y="3950827"/>
              <a:ext cx="1391262" cy="845574"/>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Only half of waste generated collected</a:t>
              </a: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xmlns="" id="{CBBE5666-8F78-4343-9554-EB6A2A552ECF}"/>
                </a:ext>
              </a:extLst>
            </p:cNvPr>
            <p:cNvSpPr/>
            <p:nvPr/>
          </p:nvSpPr>
          <p:spPr>
            <a:xfrm>
              <a:off x="5188496" y="3950827"/>
              <a:ext cx="1391262" cy="845574"/>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Increase the impervious land and limited drainage</a:t>
              </a: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xmlns="" id="{D9CF4DEA-AFAF-4D58-8A4E-F28B0D666F7E}"/>
                </a:ext>
              </a:extLst>
            </p:cNvPr>
            <p:cNvSpPr/>
            <p:nvPr/>
          </p:nvSpPr>
          <p:spPr>
            <a:xfrm>
              <a:off x="6864896" y="3950827"/>
              <a:ext cx="1391262" cy="845574"/>
            </a:xfrm>
            <a:prstGeom prst="rect">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Insufficient</a:t>
              </a:r>
              <a:r>
                <a:rPr kumimoji="0" lang="en-US" sz="1200" b="1" i="0" u="none" strike="noStrike" kern="0" cap="none" spc="0" normalizeH="0" noProof="0" dirty="0">
                  <a:ln>
                    <a:noFill/>
                  </a:ln>
                  <a:solidFill>
                    <a:prstClr val="white"/>
                  </a:solidFill>
                  <a:effectLst/>
                  <a:uLnTx/>
                  <a:uFillTx/>
                  <a:latin typeface="Calibri" panose="020F0502020204030204"/>
                  <a:ea typeface="+mn-ea"/>
                  <a:cs typeface="+mn-cs"/>
                </a:rPr>
                <a:t> </a:t>
              </a: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effluent management systems</a:t>
              </a: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5" name="Rectangle 34">
              <a:extLst>
                <a:ext uri="{FF2B5EF4-FFF2-40B4-BE49-F238E27FC236}">
                  <a16:creationId xmlns:a16="http://schemas.microsoft.com/office/drawing/2014/main" xmlns="" id="{C2A0C0C7-0FE6-4600-870D-C09A9D893FD4}"/>
                </a:ext>
              </a:extLst>
            </p:cNvPr>
            <p:cNvSpPr/>
            <p:nvPr/>
          </p:nvSpPr>
          <p:spPr>
            <a:xfrm>
              <a:off x="3512094" y="5243281"/>
              <a:ext cx="1391262" cy="845574"/>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95% waste generated collected </a:t>
              </a:r>
            </a:p>
          </p:txBody>
        </p:sp>
        <p:sp>
          <p:nvSpPr>
            <p:cNvPr id="36" name="Rectangle 35">
              <a:extLst>
                <a:ext uri="{FF2B5EF4-FFF2-40B4-BE49-F238E27FC236}">
                  <a16:creationId xmlns:a16="http://schemas.microsoft.com/office/drawing/2014/main" xmlns="" id="{064C6E85-05FD-4844-8896-ABEFD557A5BA}"/>
                </a:ext>
              </a:extLst>
            </p:cNvPr>
            <p:cNvSpPr/>
            <p:nvPr/>
          </p:nvSpPr>
          <p:spPr>
            <a:xfrm>
              <a:off x="5188494" y="5243281"/>
              <a:ext cx="1391262" cy="845574"/>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75% of region with adequate stormwater management</a:t>
              </a: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sp>
          <p:nvSpPr>
            <p:cNvPr id="37" name="Rectangle 36">
              <a:extLst>
                <a:ext uri="{FF2B5EF4-FFF2-40B4-BE49-F238E27FC236}">
                  <a16:creationId xmlns:a16="http://schemas.microsoft.com/office/drawing/2014/main" xmlns="" id="{7DBD6BBA-7684-4D2D-B11E-F8AA089499C4}"/>
                </a:ext>
              </a:extLst>
            </p:cNvPr>
            <p:cNvSpPr/>
            <p:nvPr/>
          </p:nvSpPr>
          <p:spPr>
            <a:xfrm>
              <a:off x="6864894" y="5243281"/>
              <a:ext cx="1391262" cy="845574"/>
            </a:xfrm>
            <a:prstGeom prst="rect">
              <a:avLst/>
            </a:prstGeom>
            <a:solidFill>
              <a:srgbClr val="70AD47"/>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Calibri" panose="020F0502020204030204"/>
                  <a:ea typeface="+mn-ea"/>
                  <a:cs typeface="+mn-cs"/>
                </a:rPr>
                <a:t>Comprehensive effluent management systems</a:t>
              </a:r>
              <a:endParaRPr kumimoji="0" lang="en-US" sz="1200" b="0" i="0" u="none" strike="noStrike" kern="0" cap="none" spc="0" normalizeH="0" baseline="0" noProof="0" dirty="0">
                <a:ln>
                  <a:noFill/>
                </a:ln>
                <a:solidFill>
                  <a:prstClr val="white"/>
                </a:solidFill>
                <a:effectLst/>
                <a:uLnTx/>
                <a:uFillTx/>
                <a:latin typeface="Calibri" panose="020F0502020204030204"/>
                <a:ea typeface="+mn-ea"/>
                <a:cs typeface="+mn-cs"/>
              </a:endParaRPr>
            </a:p>
          </p:txBody>
        </p:sp>
      </p:grpSp>
      <p:pic>
        <p:nvPicPr>
          <p:cNvPr id="22" name="Picture 2">
            <a:extLst>
              <a:ext uri="{FF2B5EF4-FFF2-40B4-BE49-F238E27FC236}">
                <a16:creationId xmlns:a16="http://schemas.microsoft.com/office/drawing/2014/main" xmlns="" id="{C1EEE662-CA02-47FA-8FAD-7F6C6CCE22A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41518" y="1157736"/>
            <a:ext cx="2631751" cy="27000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37">
            <a:extLst>
              <a:ext uri="{FF2B5EF4-FFF2-40B4-BE49-F238E27FC236}">
                <a16:creationId xmlns:a16="http://schemas.microsoft.com/office/drawing/2014/main" xmlns="" id="{F91A2A29-B3FA-4097-B5C7-E25D19A3CD44}"/>
              </a:ext>
            </a:extLst>
          </p:cNvPr>
          <p:cNvPicPr>
            <a:picLocks noChangeAspect="1"/>
          </p:cNvPicPr>
          <p:nvPr/>
        </p:nvPicPr>
        <p:blipFill rotWithShape="1">
          <a:blip r:embed="rId4"/>
          <a:srcRect t="6230" b="8044"/>
          <a:stretch/>
        </p:blipFill>
        <p:spPr>
          <a:xfrm>
            <a:off x="289291" y="-27910"/>
            <a:ext cx="8565418" cy="1149602"/>
          </a:xfrm>
          <a:prstGeom prst="rect">
            <a:avLst/>
          </a:prstGeom>
        </p:spPr>
      </p:pic>
    </p:spTree>
    <p:extLst>
      <p:ext uri="{BB962C8B-B14F-4D97-AF65-F5344CB8AC3E}">
        <p14:creationId xmlns:p14="http://schemas.microsoft.com/office/powerpoint/2010/main" val="219975340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xmlns="" id="{8B294B7C-7126-49F3-83DB-980D2C660D6F}"/>
              </a:ext>
            </a:extLst>
          </p:cNvPr>
          <p:cNvPicPr>
            <a:picLocks noChangeAspect="1"/>
          </p:cNvPicPr>
          <p:nvPr/>
        </p:nvPicPr>
        <p:blipFill rotWithShape="1">
          <a:blip r:embed="rId3"/>
          <a:srcRect t="6230" b="8044"/>
          <a:stretch/>
        </p:blipFill>
        <p:spPr>
          <a:xfrm>
            <a:off x="368066" y="39945"/>
            <a:ext cx="8702454" cy="1209998"/>
          </a:xfrm>
          <a:prstGeom prst="rect">
            <a:avLst/>
          </a:prstGeom>
        </p:spPr>
      </p:pic>
      <p:sp>
        <p:nvSpPr>
          <p:cNvPr id="3" name="Content Placeholder 2">
            <a:extLst>
              <a:ext uri="{FF2B5EF4-FFF2-40B4-BE49-F238E27FC236}">
                <a16:creationId xmlns:a16="http://schemas.microsoft.com/office/drawing/2014/main" xmlns="" id="{33D7773F-EB59-4631-95C3-9D7BAA5FAA70}"/>
              </a:ext>
            </a:extLst>
          </p:cNvPr>
          <p:cNvSpPr>
            <a:spLocks noGrp="1"/>
          </p:cNvSpPr>
          <p:nvPr>
            <p:ph sz="half" idx="1"/>
          </p:nvPr>
        </p:nvSpPr>
        <p:spPr>
          <a:xfrm>
            <a:off x="368066" y="1862658"/>
            <a:ext cx="8801485" cy="4842942"/>
          </a:xfrm>
        </p:spPr>
        <p:txBody>
          <a:bodyPr/>
          <a:lstStyle/>
          <a:p>
            <a:pPr>
              <a:buFont typeface="Wingdings" panose="05000000000000000000" pitchFamily="2" charset="2"/>
              <a:buChar char="§"/>
            </a:pPr>
            <a:r>
              <a:rPr lang="en-GB" sz="2200" dirty="0">
                <a:solidFill>
                  <a:schemeClr val="tx1">
                    <a:lumMod val="85000"/>
                    <a:lumOff val="15000"/>
                  </a:schemeClr>
                </a:solidFill>
              </a:rPr>
              <a:t>Develop long list of project</a:t>
            </a:r>
          </a:p>
          <a:p>
            <a:pPr>
              <a:buFont typeface="Wingdings" panose="05000000000000000000" pitchFamily="2" charset="2"/>
              <a:buChar char="§"/>
            </a:pPr>
            <a:r>
              <a:rPr lang="en-GB" sz="2200" dirty="0">
                <a:solidFill>
                  <a:schemeClr val="tx1">
                    <a:lumMod val="85000"/>
                    <a:lumOff val="15000"/>
                  </a:schemeClr>
                </a:solidFill>
              </a:rPr>
              <a:t>Screening long list to short list using qualitative approach (multicriteria analysis).</a:t>
            </a:r>
          </a:p>
          <a:p>
            <a:pPr>
              <a:buFont typeface="Wingdings" panose="05000000000000000000" pitchFamily="2" charset="2"/>
              <a:buChar char="§"/>
            </a:pPr>
            <a:r>
              <a:rPr lang="en-GB" sz="2200" dirty="0">
                <a:solidFill>
                  <a:schemeClr val="tx1">
                    <a:lumMod val="85000"/>
                    <a:lumOff val="15000"/>
                  </a:schemeClr>
                </a:solidFill>
              </a:rPr>
              <a:t>Prioritisation projects on short list using quantitative approach</a:t>
            </a:r>
            <a:endParaRPr lang="en-US" sz="2200" dirty="0">
              <a:solidFill>
                <a:schemeClr val="tx1">
                  <a:lumMod val="85000"/>
                  <a:lumOff val="15000"/>
                </a:schemeClr>
              </a:solidFill>
            </a:endParaRPr>
          </a:p>
          <a:p>
            <a:pPr>
              <a:buFont typeface="Wingdings" panose="05000000000000000000" pitchFamily="2" charset="2"/>
              <a:buChar char="§"/>
            </a:pPr>
            <a:endParaRPr lang="en-GB" sz="2200" dirty="0"/>
          </a:p>
          <a:p>
            <a:pPr>
              <a:buFont typeface="Wingdings" panose="05000000000000000000" pitchFamily="2" charset="2"/>
              <a:buChar char="§"/>
            </a:pPr>
            <a:endParaRPr lang="en-US" sz="2200" dirty="0"/>
          </a:p>
          <a:p>
            <a:pPr marL="0" indent="0">
              <a:buNone/>
            </a:pPr>
            <a:endParaRPr lang="en-US" sz="2200" dirty="0"/>
          </a:p>
        </p:txBody>
      </p:sp>
      <p:sp>
        <p:nvSpPr>
          <p:cNvPr id="15" name="Content Placeholder 2">
            <a:extLst>
              <a:ext uri="{FF2B5EF4-FFF2-40B4-BE49-F238E27FC236}">
                <a16:creationId xmlns:a16="http://schemas.microsoft.com/office/drawing/2014/main" xmlns="" id="{AF59E3E8-250C-4365-8D03-22253828A103}"/>
              </a:ext>
            </a:extLst>
          </p:cNvPr>
          <p:cNvSpPr txBox="1">
            <a:spLocks/>
          </p:cNvSpPr>
          <p:nvPr/>
        </p:nvSpPr>
        <p:spPr bwMode="auto">
          <a:xfrm>
            <a:off x="368066" y="1345608"/>
            <a:ext cx="8702454" cy="5170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Arial" pitchFamily="34" charset="0"/>
              <a:buChar char="•"/>
              <a:defRPr sz="2800" kern="1200">
                <a:solidFill>
                  <a:schemeClr val="tx1">
                    <a:lumMod val="75000"/>
                    <a:lumOff val="25000"/>
                  </a:schemeClr>
                </a:solidFill>
                <a:latin typeface="+mn-lt"/>
                <a:ea typeface="+mn-ea"/>
                <a:cs typeface="+mn-cs"/>
              </a:defRPr>
            </a:lvl1pPr>
            <a:lvl2pPr marL="742950" indent="-285750" algn="l" rtl="0" eaLnBrk="1" fontAlgn="base" hangingPunct="1">
              <a:spcBef>
                <a:spcPct val="20000"/>
              </a:spcBef>
              <a:spcAft>
                <a:spcPct val="0"/>
              </a:spcAft>
              <a:buFont typeface="Arial" pitchFamily="34" charset="0"/>
              <a:buChar char="–"/>
              <a:defRPr sz="2400" kern="1200">
                <a:solidFill>
                  <a:schemeClr val="tx1">
                    <a:lumMod val="75000"/>
                    <a:lumOff val="25000"/>
                  </a:schemeClr>
                </a:solidFill>
                <a:latin typeface="+mn-lt"/>
                <a:ea typeface="+mn-ea"/>
                <a:cs typeface="+mn-cs"/>
              </a:defRPr>
            </a:lvl2pPr>
            <a:lvl3pPr marL="1143000" indent="-228600" algn="l" rtl="0" eaLnBrk="1" fontAlgn="base" hangingPunct="1">
              <a:spcBef>
                <a:spcPct val="20000"/>
              </a:spcBef>
              <a:spcAft>
                <a:spcPct val="0"/>
              </a:spcAft>
              <a:buFont typeface="Arial" pitchFamily="34" charset="0"/>
              <a:buChar char="•"/>
              <a:defRPr sz="2000" kern="1200">
                <a:solidFill>
                  <a:schemeClr val="tx1">
                    <a:lumMod val="75000"/>
                    <a:lumOff val="25000"/>
                  </a:schemeClr>
                </a:solidFill>
                <a:latin typeface="+mn-lt"/>
                <a:ea typeface="+mn-ea"/>
                <a:cs typeface="+mn-cs"/>
              </a:defRPr>
            </a:lvl3pPr>
            <a:lvl4pPr marL="16002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4pPr>
            <a:lvl5pPr marL="20574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GB" sz="2400" b="1" dirty="0">
                <a:solidFill>
                  <a:schemeClr val="tx1">
                    <a:lumMod val="85000"/>
                    <a:lumOff val="15000"/>
                  </a:schemeClr>
                </a:solidFill>
                <a:latin typeface="Clarendon Condensed" panose="02040706040705040204" pitchFamily="18" charset="0"/>
              </a:rPr>
              <a:t>c.  Scenario Development – Project Screening &amp; Prioritization</a:t>
            </a:r>
          </a:p>
        </p:txBody>
      </p:sp>
      <p:pic>
        <p:nvPicPr>
          <p:cNvPr id="6" name="Picture 5">
            <a:extLst>
              <a:ext uri="{FF2B5EF4-FFF2-40B4-BE49-F238E27FC236}">
                <a16:creationId xmlns:a16="http://schemas.microsoft.com/office/drawing/2014/main" xmlns="" id="{525354F6-F6B7-4797-AD70-986A2F685C7A}"/>
              </a:ext>
            </a:extLst>
          </p:cNvPr>
          <p:cNvPicPr>
            <a:picLocks noChangeAspect="1"/>
          </p:cNvPicPr>
          <p:nvPr/>
        </p:nvPicPr>
        <p:blipFill>
          <a:blip r:embed="rId4"/>
          <a:stretch>
            <a:fillRect/>
          </a:stretch>
        </p:blipFill>
        <p:spPr>
          <a:xfrm>
            <a:off x="1970468" y="3505423"/>
            <a:ext cx="5801932" cy="3200177"/>
          </a:xfrm>
          <a:prstGeom prst="rect">
            <a:avLst/>
          </a:prstGeom>
        </p:spPr>
      </p:pic>
    </p:spTree>
    <p:extLst>
      <p:ext uri="{BB962C8B-B14F-4D97-AF65-F5344CB8AC3E}">
        <p14:creationId xmlns:p14="http://schemas.microsoft.com/office/powerpoint/2010/main" val="3566691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xmlns="" id="{8B294B7C-7126-49F3-83DB-980D2C660D6F}"/>
              </a:ext>
            </a:extLst>
          </p:cNvPr>
          <p:cNvPicPr>
            <a:picLocks noChangeAspect="1"/>
          </p:cNvPicPr>
          <p:nvPr/>
        </p:nvPicPr>
        <p:blipFill rotWithShape="1">
          <a:blip r:embed="rId3"/>
          <a:srcRect t="6230" b="8044"/>
          <a:stretch/>
        </p:blipFill>
        <p:spPr>
          <a:xfrm>
            <a:off x="368066" y="39945"/>
            <a:ext cx="8702454" cy="1209998"/>
          </a:xfrm>
          <a:prstGeom prst="rect">
            <a:avLst/>
          </a:prstGeom>
        </p:spPr>
      </p:pic>
      <p:sp>
        <p:nvSpPr>
          <p:cNvPr id="3" name="Content Placeholder 2">
            <a:extLst>
              <a:ext uri="{FF2B5EF4-FFF2-40B4-BE49-F238E27FC236}">
                <a16:creationId xmlns:a16="http://schemas.microsoft.com/office/drawing/2014/main" xmlns="" id="{33D7773F-EB59-4631-95C3-9D7BAA5FAA70}"/>
              </a:ext>
            </a:extLst>
          </p:cNvPr>
          <p:cNvSpPr>
            <a:spLocks noGrp="1"/>
          </p:cNvSpPr>
          <p:nvPr>
            <p:ph sz="half" idx="1"/>
          </p:nvPr>
        </p:nvSpPr>
        <p:spPr>
          <a:xfrm>
            <a:off x="368066" y="1856637"/>
            <a:ext cx="8702454" cy="4882241"/>
          </a:xfrm>
        </p:spPr>
        <p:txBody>
          <a:bodyPr/>
          <a:lstStyle/>
          <a:p>
            <a:pPr>
              <a:spcAft>
                <a:spcPts val="600"/>
              </a:spcAft>
              <a:buFont typeface="Wingdings" panose="05000000000000000000" pitchFamily="2" charset="2"/>
              <a:buChar char="§"/>
            </a:pPr>
            <a:r>
              <a:rPr lang="en-US" sz="2200" b="1" dirty="0">
                <a:solidFill>
                  <a:schemeClr val="tx1">
                    <a:lumMod val="85000"/>
                    <a:lumOff val="15000"/>
                  </a:schemeClr>
                </a:solidFill>
              </a:rPr>
              <a:t>Criteria</a:t>
            </a:r>
            <a:r>
              <a:rPr lang="en-US" sz="2200" dirty="0">
                <a:solidFill>
                  <a:schemeClr val="tx1">
                    <a:lumMod val="85000"/>
                    <a:lumOff val="15000"/>
                  </a:schemeClr>
                </a:solidFill>
              </a:rPr>
              <a:t> used to evaluate the merits of these investments and actions</a:t>
            </a:r>
          </a:p>
          <a:p>
            <a:pPr>
              <a:spcAft>
                <a:spcPts val="600"/>
              </a:spcAft>
              <a:buFont typeface="Wingdings" panose="05000000000000000000" pitchFamily="2" charset="2"/>
              <a:buChar char="§"/>
            </a:pPr>
            <a:r>
              <a:rPr lang="en-US" sz="2200" b="1" dirty="0">
                <a:solidFill>
                  <a:schemeClr val="tx1">
                    <a:lumMod val="85000"/>
                    <a:lumOff val="15000"/>
                  </a:schemeClr>
                </a:solidFill>
              </a:rPr>
              <a:t>Weights</a:t>
            </a:r>
            <a:r>
              <a:rPr lang="en-US" sz="2200" dirty="0">
                <a:solidFill>
                  <a:schemeClr val="tx1">
                    <a:lumMod val="85000"/>
                    <a:lumOff val="15000"/>
                  </a:schemeClr>
                </a:solidFill>
              </a:rPr>
              <a:t> measure the importance of the criteria</a:t>
            </a:r>
          </a:p>
          <a:p>
            <a:pPr>
              <a:spcAft>
                <a:spcPts val="600"/>
              </a:spcAft>
              <a:buFont typeface="Wingdings" panose="05000000000000000000" pitchFamily="2" charset="2"/>
              <a:buChar char="§"/>
            </a:pPr>
            <a:r>
              <a:rPr lang="en-US" sz="2200" b="1" dirty="0">
                <a:solidFill>
                  <a:schemeClr val="tx1">
                    <a:lumMod val="85000"/>
                    <a:lumOff val="15000"/>
                  </a:schemeClr>
                </a:solidFill>
              </a:rPr>
              <a:t>Ratings - </a:t>
            </a:r>
            <a:r>
              <a:rPr lang="en-US" sz="2200" dirty="0">
                <a:solidFill>
                  <a:schemeClr val="tx1">
                    <a:lumMod val="85000"/>
                    <a:lumOff val="15000"/>
                  </a:schemeClr>
                </a:solidFill>
              </a:rPr>
              <a:t>the scores for each investment/action and criteria combination </a:t>
            </a:r>
            <a:endParaRPr lang="en-US" sz="2200" b="1" dirty="0">
              <a:solidFill>
                <a:schemeClr val="tx1">
                  <a:lumMod val="85000"/>
                  <a:lumOff val="15000"/>
                </a:schemeClr>
              </a:solidFill>
            </a:endParaRPr>
          </a:p>
          <a:p>
            <a:pPr>
              <a:buFont typeface="Wingdings" panose="05000000000000000000" pitchFamily="2" charset="2"/>
              <a:buChar char="§"/>
            </a:pPr>
            <a:endParaRPr lang="en-US" sz="2200" dirty="0"/>
          </a:p>
          <a:p>
            <a:pPr marL="0" indent="0">
              <a:buNone/>
            </a:pPr>
            <a:endParaRPr lang="en-US" sz="2200" dirty="0"/>
          </a:p>
        </p:txBody>
      </p:sp>
      <p:sp>
        <p:nvSpPr>
          <p:cNvPr id="15" name="Content Placeholder 2">
            <a:extLst>
              <a:ext uri="{FF2B5EF4-FFF2-40B4-BE49-F238E27FC236}">
                <a16:creationId xmlns:a16="http://schemas.microsoft.com/office/drawing/2014/main" xmlns="" id="{AF59E3E8-250C-4365-8D03-22253828A103}"/>
              </a:ext>
            </a:extLst>
          </p:cNvPr>
          <p:cNvSpPr txBox="1">
            <a:spLocks/>
          </p:cNvSpPr>
          <p:nvPr/>
        </p:nvSpPr>
        <p:spPr bwMode="auto">
          <a:xfrm>
            <a:off x="73480" y="1339587"/>
            <a:ext cx="9222920" cy="5170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Font typeface="Arial" pitchFamily="34" charset="0"/>
              <a:buChar char="•"/>
              <a:defRPr sz="2800" kern="1200">
                <a:solidFill>
                  <a:schemeClr val="tx1">
                    <a:lumMod val="75000"/>
                    <a:lumOff val="25000"/>
                  </a:schemeClr>
                </a:solidFill>
                <a:latin typeface="+mn-lt"/>
                <a:ea typeface="+mn-ea"/>
                <a:cs typeface="+mn-cs"/>
              </a:defRPr>
            </a:lvl1pPr>
            <a:lvl2pPr marL="742950" indent="-285750" algn="l" rtl="0" eaLnBrk="1" fontAlgn="base" hangingPunct="1">
              <a:spcBef>
                <a:spcPct val="20000"/>
              </a:spcBef>
              <a:spcAft>
                <a:spcPct val="0"/>
              </a:spcAft>
              <a:buFont typeface="Arial" pitchFamily="34" charset="0"/>
              <a:buChar char="–"/>
              <a:defRPr sz="2400" kern="1200">
                <a:solidFill>
                  <a:schemeClr val="tx1">
                    <a:lumMod val="75000"/>
                    <a:lumOff val="25000"/>
                  </a:schemeClr>
                </a:solidFill>
                <a:latin typeface="+mn-lt"/>
                <a:ea typeface="+mn-ea"/>
                <a:cs typeface="+mn-cs"/>
              </a:defRPr>
            </a:lvl2pPr>
            <a:lvl3pPr marL="1143000" indent="-228600" algn="l" rtl="0" eaLnBrk="1" fontAlgn="base" hangingPunct="1">
              <a:spcBef>
                <a:spcPct val="20000"/>
              </a:spcBef>
              <a:spcAft>
                <a:spcPct val="0"/>
              </a:spcAft>
              <a:buFont typeface="Arial" pitchFamily="34" charset="0"/>
              <a:buChar char="•"/>
              <a:defRPr sz="2000" kern="1200">
                <a:solidFill>
                  <a:schemeClr val="tx1">
                    <a:lumMod val="75000"/>
                    <a:lumOff val="25000"/>
                  </a:schemeClr>
                </a:solidFill>
                <a:latin typeface="+mn-lt"/>
                <a:ea typeface="+mn-ea"/>
                <a:cs typeface="+mn-cs"/>
              </a:defRPr>
            </a:lvl3pPr>
            <a:lvl4pPr marL="16002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4pPr>
            <a:lvl5pPr marL="2057400" indent="-228600" algn="l" rtl="0" eaLnBrk="1" fontAlgn="base" hangingPunct="1">
              <a:spcBef>
                <a:spcPct val="20000"/>
              </a:spcBef>
              <a:spcAft>
                <a:spcPct val="0"/>
              </a:spcAft>
              <a:buFont typeface="Arial" pitchFamily="34" charset="0"/>
              <a:buChar char="»"/>
              <a:defRPr sz="18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buNone/>
            </a:pPr>
            <a:r>
              <a:rPr lang="en-GB" sz="2400" b="1" dirty="0">
                <a:solidFill>
                  <a:schemeClr val="tx1">
                    <a:lumMod val="85000"/>
                    <a:lumOff val="15000"/>
                  </a:schemeClr>
                </a:solidFill>
                <a:latin typeface="Clarendon Condensed" panose="02040706040705040204" pitchFamily="18" charset="0"/>
              </a:rPr>
              <a:t>Scenario Development – Project screening  (Stage I - Multicriteria Analysis)</a:t>
            </a:r>
          </a:p>
        </p:txBody>
      </p:sp>
      <p:pic>
        <p:nvPicPr>
          <p:cNvPr id="9" name="Picture 8">
            <a:extLst>
              <a:ext uri="{FF2B5EF4-FFF2-40B4-BE49-F238E27FC236}">
                <a16:creationId xmlns:a16="http://schemas.microsoft.com/office/drawing/2014/main" xmlns="" id="{C678187A-9641-4727-89A8-A6714E381C88}"/>
              </a:ext>
            </a:extLst>
          </p:cNvPr>
          <p:cNvPicPr>
            <a:picLocks noChangeAspect="1"/>
          </p:cNvPicPr>
          <p:nvPr/>
        </p:nvPicPr>
        <p:blipFill>
          <a:blip r:embed="rId4"/>
          <a:stretch>
            <a:fillRect/>
          </a:stretch>
        </p:blipFill>
        <p:spPr>
          <a:xfrm>
            <a:off x="1994750" y="3389237"/>
            <a:ext cx="5760646" cy="3349641"/>
          </a:xfrm>
          <a:prstGeom prst="rect">
            <a:avLst/>
          </a:prstGeom>
        </p:spPr>
      </p:pic>
      <p:sp>
        <p:nvSpPr>
          <p:cNvPr id="10" name="Oval 9">
            <a:extLst>
              <a:ext uri="{FF2B5EF4-FFF2-40B4-BE49-F238E27FC236}">
                <a16:creationId xmlns:a16="http://schemas.microsoft.com/office/drawing/2014/main" xmlns="" id="{A90DE5BF-39A6-40C3-AED5-9221DE6E8015}"/>
              </a:ext>
            </a:extLst>
          </p:cNvPr>
          <p:cNvSpPr/>
          <p:nvPr/>
        </p:nvSpPr>
        <p:spPr>
          <a:xfrm>
            <a:off x="1015421" y="5848309"/>
            <a:ext cx="3456384" cy="837873"/>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xmlns="" id="{CEB6B75F-F000-4353-88D3-D9D1F30C9565}"/>
              </a:ext>
            </a:extLst>
          </p:cNvPr>
          <p:cNvSpPr/>
          <p:nvPr/>
        </p:nvSpPr>
        <p:spPr>
          <a:xfrm>
            <a:off x="4982366" y="3572030"/>
            <a:ext cx="1044111" cy="2088232"/>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xmlns="" id="{03E1E44B-9443-4FDD-B555-368BC3A0B3BA}"/>
              </a:ext>
            </a:extLst>
          </p:cNvPr>
          <p:cNvSpPr/>
          <p:nvPr/>
        </p:nvSpPr>
        <p:spPr>
          <a:xfrm>
            <a:off x="4910355" y="5901005"/>
            <a:ext cx="1188134" cy="837873"/>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xmlns="" id="{E5F69A04-60DE-4199-B503-2F3505B030FE}"/>
              </a:ext>
            </a:extLst>
          </p:cNvPr>
          <p:cNvSpPr/>
          <p:nvPr/>
        </p:nvSpPr>
        <p:spPr>
          <a:xfrm>
            <a:off x="4893078" y="5631166"/>
            <a:ext cx="1152125" cy="288831"/>
          </a:xfrm>
          <a:prstGeom prst="ellipse">
            <a:avLst/>
          </a:prstGeom>
          <a:no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48776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872895B0-9FBB-48E3-BE7B-021C80E8880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9678"/>
          <a:stretch/>
        </p:blipFill>
        <p:spPr>
          <a:xfrm>
            <a:off x="327837" y="3279992"/>
            <a:ext cx="2780939" cy="1757117"/>
          </a:xfrm>
          <a:prstGeom prst="rect">
            <a:avLst/>
          </a:prstGeom>
        </p:spPr>
      </p:pic>
      <p:sp>
        <p:nvSpPr>
          <p:cNvPr id="2" name="Oval 1">
            <a:extLst>
              <a:ext uri="{FF2B5EF4-FFF2-40B4-BE49-F238E27FC236}">
                <a16:creationId xmlns:a16="http://schemas.microsoft.com/office/drawing/2014/main" xmlns="" id="{7B148188-6656-45D1-A63A-B15F290BC0FA}"/>
              </a:ext>
            </a:extLst>
          </p:cNvPr>
          <p:cNvSpPr/>
          <p:nvPr/>
        </p:nvSpPr>
        <p:spPr>
          <a:xfrm>
            <a:off x="3215914" y="1841268"/>
            <a:ext cx="593161" cy="59222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GB" sz="1000" b="1" dirty="0">
                <a:solidFill>
                  <a:prstClr val="white"/>
                </a:solidFill>
                <a:latin typeface="Calibri" panose="020F0502020204030204"/>
              </a:rPr>
              <a:t>.Org</a:t>
            </a:r>
            <a:endParaRPr lang="en-US" sz="1000" b="1" dirty="0">
              <a:solidFill>
                <a:prstClr val="white"/>
              </a:solidFill>
              <a:latin typeface="Calibri" panose="020F0502020204030204"/>
            </a:endParaRPr>
          </a:p>
        </p:txBody>
      </p:sp>
      <p:sp>
        <p:nvSpPr>
          <p:cNvPr id="10" name="Oval 9">
            <a:extLst>
              <a:ext uri="{FF2B5EF4-FFF2-40B4-BE49-F238E27FC236}">
                <a16:creationId xmlns:a16="http://schemas.microsoft.com/office/drawing/2014/main" xmlns="" id="{582795C6-D93D-42CC-98A4-617597C1A206}"/>
              </a:ext>
            </a:extLst>
          </p:cNvPr>
          <p:cNvSpPr/>
          <p:nvPr/>
        </p:nvSpPr>
        <p:spPr>
          <a:xfrm>
            <a:off x="3258595" y="5754741"/>
            <a:ext cx="671953" cy="64605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GB" sz="1000" b="1" dirty="0">
                <a:solidFill>
                  <a:prstClr val="white"/>
                </a:solidFill>
                <a:latin typeface="Calibri" panose="020F0502020204030204"/>
              </a:rPr>
              <a:t>.Com</a:t>
            </a:r>
            <a:endParaRPr lang="en-US" sz="1000" b="1" dirty="0">
              <a:solidFill>
                <a:prstClr val="white"/>
              </a:solidFill>
              <a:latin typeface="Calibri" panose="020F0502020204030204"/>
            </a:endParaRPr>
          </a:p>
        </p:txBody>
      </p:sp>
      <p:pic>
        <p:nvPicPr>
          <p:cNvPr id="11" name="Picture 10">
            <a:extLst>
              <a:ext uri="{FF2B5EF4-FFF2-40B4-BE49-F238E27FC236}">
                <a16:creationId xmlns:a16="http://schemas.microsoft.com/office/drawing/2014/main" xmlns="" id="{ABB398E0-324E-4E1E-A34A-D595ED1B4629}"/>
              </a:ext>
            </a:extLst>
          </p:cNvPr>
          <p:cNvPicPr>
            <a:picLocks noChangeAspect="1"/>
          </p:cNvPicPr>
          <p:nvPr/>
        </p:nvPicPr>
        <p:blipFill rotWithShape="1">
          <a:blip r:embed="rId3"/>
          <a:srcRect t="12079" b="8044"/>
          <a:stretch/>
        </p:blipFill>
        <p:spPr>
          <a:xfrm>
            <a:off x="186484" y="11872"/>
            <a:ext cx="8702454" cy="1127432"/>
          </a:xfrm>
          <a:prstGeom prst="rect">
            <a:avLst/>
          </a:prstGeom>
        </p:spPr>
      </p:pic>
      <p:sp>
        <p:nvSpPr>
          <p:cNvPr id="4" name="Rectangle 3">
            <a:extLst>
              <a:ext uri="{FF2B5EF4-FFF2-40B4-BE49-F238E27FC236}">
                <a16:creationId xmlns:a16="http://schemas.microsoft.com/office/drawing/2014/main" xmlns="" id="{375E52D0-74CF-40D8-B804-0C40DBDD7F9E}"/>
              </a:ext>
            </a:extLst>
          </p:cNvPr>
          <p:cNvSpPr/>
          <p:nvPr/>
        </p:nvSpPr>
        <p:spPr>
          <a:xfrm>
            <a:off x="186484" y="1065342"/>
            <a:ext cx="8497583" cy="461665"/>
          </a:xfrm>
          <a:prstGeom prst="rect">
            <a:avLst/>
          </a:prstGeom>
        </p:spPr>
        <p:txBody>
          <a:bodyPr wrap="square">
            <a:spAutoFit/>
          </a:bodyPr>
          <a:lstStyle/>
          <a:p>
            <a:pPr algn="ctr"/>
            <a:r>
              <a:rPr lang="en-GB" dirty="0">
                <a:latin typeface="Clarendon Condensed" panose="02040706040705040204" pitchFamily="18" charset="0"/>
              </a:rPr>
              <a:t>Criteria developed from Multi-Stakeholder Engagements</a:t>
            </a:r>
            <a:endParaRPr lang="en-US" dirty="0"/>
          </a:p>
        </p:txBody>
      </p:sp>
      <p:sp>
        <p:nvSpPr>
          <p:cNvPr id="12" name="Content Placeholder 3">
            <a:extLst>
              <a:ext uri="{FF2B5EF4-FFF2-40B4-BE49-F238E27FC236}">
                <a16:creationId xmlns:a16="http://schemas.microsoft.com/office/drawing/2014/main" xmlns="" id="{4836B32D-B498-4723-B4FC-6F992EA04B14}"/>
              </a:ext>
            </a:extLst>
          </p:cNvPr>
          <p:cNvSpPr txBox="1">
            <a:spLocks/>
          </p:cNvSpPr>
          <p:nvPr/>
        </p:nvSpPr>
        <p:spPr>
          <a:xfrm>
            <a:off x="4704428" y="1670638"/>
            <a:ext cx="4726790" cy="4407132"/>
          </a:xfrm>
          <a:prstGeom prst="rect">
            <a:avLst/>
          </a:prstGeom>
        </p:spPr>
        <p:txBody>
          <a:bodyPr>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fontAlgn="auto">
              <a:spcAft>
                <a:spcPts val="0"/>
              </a:spcAft>
              <a:buNone/>
            </a:pPr>
            <a:endParaRPr lang="en-US" sz="2400" b="1" u="sng" dirty="0"/>
          </a:p>
          <a:p>
            <a:pPr marL="457200" indent="-457200" fontAlgn="auto">
              <a:spcAft>
                <a:spcPts val="0"/>
              </a:spcAft>
              <a:buFont typeface="+mj-lt"/>
              <a:buAutoNum type="arabicPeriod"/>
            </a:pPr>
            <a:r>
              <a:rPr lang="en-US" sz="2300" dirty="0"/>
              <a:t>Environmental Quality Improvement </a:t>
            </a:r>
          </a:p>
          <a:p>
            <a:pPr marL="457200" indent="-457200" fontAlgn="auto">
              <a:spcAft>
                <a:spcPts val="0"/>
              </a:spcAft>
              <a:buFont typeface="+mj-lt"/>
              <a:buAutoNum type="arabicPeriod"/>
            </a:pPr>
            <a:endParaRPr lang="en-US" sz="2300" dirty="0"/>
          </a:p>
          <a:p>
            <a:pPr marL="457200" indent="-457200" fontAlgn="auto">
              <a:spcAft>
                <a:spcPts val="0"/>
              </a:spcAft>
              <a:buFont typeface="+mj-lt"/>
              <a:buAutoNum type="arabicPeriod"/>
            </a:pPr>
            <a:r>
              <a:rPr lang="en-US" sz="2300" dirty="0"/>
              <a:t>Socio- economic Benefits Provision</a:t>
            </a:r>
          </a:p>
          <a:p>
            <a:pPr marL="457200" indent="-457200" fontAlgn="auto">
              <a:spcAft>
                <a:spcPts val="0"/>
              </a:spcAft>
              <a:buFont typeface="+mj-lt"/>
              <a:buAutoNum type="arabicPeriod"/>
            </a:pPr>
            <a:endParaRPr lang="en-US" sz="2300" dirty="0"/>
          </a:p>
          <a:p>
            <a:pPr marL="457200" indent="-457200" fontAlgn="auto">
              <a:spcAft>
                <a:spcPts val="0"/>
              </a:spcAft>
              <a:buFont typeface="+mj-lt"/>
              <a:buAutoNum type="arabicPeriod"/>
            </a:pPr>
            <a:r>
              <a:rPr lang="en-US" sz="2300" dirty="0"/>
              <a:t>Public Health Improvement</a:t>
            </a:r>
          </a:p>
          <a:p>
            <a:pPr marL="457200" indent="-457200" fontAlgn="auto">
              <a:spcAft>
                <a:spcPts val="0"/>
              </a:spcAft>
              <a:buFont typeface="+mj-lt"/>
              <a:buAutoNum type="arabicPeriod"/>
            </a:pPr>
            <a:endParaRPr lang="en-US" sz="2300" dirty="0"/>
          </a:p>
          <a:p>
            <a:pPr marL="457200" indent="-457200" fontAlgn="auto">
              <a:spcAft>
                <a:spcPts val="0"/>
              </a:spcAft>
              <a:buFont typeface="+mj-lt"/>
              <a:buAutoNum type="arabicPeriod"/>
            </a:pPr>
            <a:r>
              <a:rPr lang="en-US" sz="2300" dirty="0"/>
              <a:t>Project Characteristics and Sustainability.</a:t>
            </a:r>
          </a:p>
          <a:p>
            <a:pPr marL="457200" indent="-457200" fontAlgn="auto">
              <a:spcAft>
                <a:spcPts val="0"/>
              </a:spcAft>
              <a:buFont typeface="+mj-lt"/>
              <a:buAutoNum type="arabicPeriod"/>
            </a:pPr>
            <a:endParaRPr lang="en-US" sz="2400" b="1" dirty="0"/>
          </a:p>
          <a:p>
            <a:pPr marL="457200" indent="-457200" fontAlgn="auto">
              <a:spcAft>
                <a:spcPts val="0"/>
              </a:spcAft>
              <a:buFont typeface="+mj-lt"/>
              <a:buAutoNum type="arabicPeriod"/>
            </a:pPr>
            <a:endParaRPr lang="en-US" sz="2400" b="1" dirty="0"/>
          </a:p>
        </p:txBody>
      </p:sp>
      <p:pic>
        <p:nvPicPr>
          <p:cNvPr id="3" name="Picture 2">
            <a:extLst>
              <a:ext uri="{FF2B5EF4-FFF2-40B4-BE49-F238E27FC236}">
                <a16:creationId xmlns:a16="http://schemas.microsoft.com/office/drawing/2014/main" xmlns="" id="{5A80777B-2ED9-433E-A6E1-7E503AA885E9}"/>
              </a:ext>
            </a:extLst>
          </p:cNvPr>
          <p:cNvPicPr>
            <a:picLocks noChangeAspect="1"/>
          </p:cNvPicPr>
          <p:nvPr/>
        </p:nvPicPr>
        <p:blipFill>
          <a:blip r:embed="rId4"/>
          <a:stretch>
            <a:fillRect/>
          </a:stretch>
        </p:blipFill>
        <p:spPr>
          <a:xfrm>
            <a:off x="315205" y="1568981"/>
            <a:ext cx="2806201" cy="1711011"/>
          </a:xfrm>
          <a:prstGeom prst="rect">
            <a:avLst/>
          </a:prstGeom>
        </p:spPr>
      </p:pic>
      <p:pic>
        <p:nvPicPr>
          <p:cNvPr id="13" name="Picture 12">
            <a:extLst>
              <a:ext uri="{FF2B5EF4-FFF2-40B4-BE49-F238E27FC236}">
                <a16:creationId xmlns:a16="http://schemas.microsoft.com/office/drawing/2014/main" xmlns="" id="{12EF29CE-8DE1-4F29-946D-A88157F5FC30}"/>
              </a:ext>
            </a:extLst>
          </p:cNvPr>
          <p:cNvPicPr/>
          <p:nvPr/>
        </p:nvPicPr>
        <p:blipFill rotWithShape="1">
          <a:blip r:embed="rId5" cstate="print">
            <a:extLst>
              <a:ext uri="{28A0092B-C50C-407E-A947-70E740481C1C}">
                <a14:useLocalDpi xmlns:a14="http://schemas.microsoft.com/office/drawing/2010/main" val="0"/>
              </a:ext>
            </a:extLst>
          </a:blip>
          <a:srcRect l="9123" r="2679"/>
          <a:stretch/>
        </p:blipFill>
        <p:spPr bwMode="auto">
          <a:xfrm>
            <a:off x="350838" y="5100883"/>
            <a:ext cx="2780939" cy="1757117"/>
          </a:xfrm>
          <a:prstGeom prst="rect">
            <a:avLst/>
          </a:prstGeom>
          <a:noFill/>
          <a:ln>
            <a:noFill/>
          </a:ln>
          <a:extLst>
            <a:ext uri="{53640926-AAD7-44D8-BBD7-CCE9431645EC}">
              <a14:shadowObscured xmlns:a14="http://schemas.microsoft.com/office/drawing/2010/main"/>
            </a:ext>
          </a:extLst>
        </p:spPr>
      </p:pic>
      <p:sp>
        <p:nvSpPr>
          <p:cNvPr id="18" name="Arrow: Left-Right-Up 17">
            <a:extLst>
              <a:ext uri="{FF2B5EF4-FFF2-40B4-BE49-F238E27FC236}">
                <a16:creationId xmlns:a16="http://schemas.microsoft.com/office/drawing/2014/main" xmlns="" id="{FA8DE5EA-6882-421D-980B-A49F9CEE7919}"/>
              </a:ext>
            </a:extLst>
          </p:cNvPr>
          <p:cNvSpPr/>
          <p:nvPr/>
        </p:nvSpPr>
        <p:spPr>
          <a:xfrm rot="5400000">
            <a:off x="2342249" y="3324716"/>
            <a:ext cx="3151707" cy="1460194"/>
          </a:xfrm>
          <a:prstGeom prst="leftRightUpArrow">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
        <p:nvSpPr>
          <p:cNvPr id="9" name="Oval 8">
            <a:extLst>
              <a:ext uri="{FF2B5EF4-FFF2-40B4-BE49-F238E27FC236}">
                <a16:creationId xmlns:a16="http://schemas.microsoft.com/office/drawing/2014/main" xmlns="" id="{F2E411D7-C8C3-4C53-AC8E-F8A5137DB8A0}"/>
              </a:ext>
            </a:extLst>
          </p:cNvPr>
          <p:cNvSpPr/>
          <p:nvPr/>
        </p:nvSpPr>
        <p:spPr>
          <a:xfrm>
            <a:off x="3205244" y="3753612"/>
            <a:ext cx="671953" cy="6023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pPr>
            <a:r>
              <a:rPr lang="en-GB" sz="1050" b="1" dirty="0">
                <a:solidFill>
                  <a:prstClr val="white"/>
                </a:solidFill>
                <a:latin typeface="Calibri" panose="020F0502020204030204"/>
              </a:rPr>
              <a:t>.Gov</a:t>
            </a:r>
            <a:endParaRPr lang="en-US" sz="1050" b="1" dirty="0">
              <a:solidFill>
                <a:prstClr val="white"/>
              </a:solidFill>
              <a:latin typeface="Calibri" panose="020F0502020204030204"/>
            </a:endParaRPr>
          </a:p>
        </p:txBody>
      </p:sp>
    </p:spTree>
    <p:extLst>
      <p:ext uri="{BB962C8B-B14F-4D97-AF65-F5344CB8AC3E}">
        <p14:creationId xmlns:p14="http://schemas.microsoft.com/office/powerpoint/2010/main" val="32594950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PresentatieTemplate2011">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resentatieTemplate2011">
  <a:themeElements>
    <a:clrScheme name="Elemental">
      <a:dk1>
        <a:sysClr val="windowText" lastClr="000000"/>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40826_PPTe_EnDev_final_white">
  <a:themeElements>
    <a:clrScheme name="IWaSP">
      <a:dk1>
        <a:srgbClr val="021631"/>
      </a:dk1>
      <a:lt1>
        <a:srgbClr val="FFFFFF"/>
      </a:lt1>
      <a:dk2>
        <a:srgbClr val="141313"/>
      </a:dk2>
      <a:lt2>
        <a:srgbClr val="E9EAED"/>
      </a:lt2>
      <a:accent1>
        <a:srgbClr val="2260A8"/>
      </a:accent1>
      <a:accent2>
        <a:srgbClr val="444D54"/>
      </a:accent2>
      <a:accent3>
        <a:srgbClr val="E5671D"/>
      </a:accent3>
      <a:accent4>
        <a:srgbClr val="F4BE28"/>
      </a:accent4>
      <a:accent5>
        <a:srgbClr val="88B327"/>
      </a:accent5>
      <a:accent6>
        <a:srgbClr val="C90E19"/>
      </a:accent6>
      <a:hlink>
        <a:srgbClr val="172C4B"/>
      </a:hlink>
      <a:folHlink>
        <a:srgbClr val="676E7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blipFill rotWithShape="1">
          <a:blip xmlns:r="http://schemas.openxmlformats.org/officeDocument/2006/relationships" r:embed="rId1"/>
          <a:stretch>
            <a:fillRect/>
          </a:stretch>
        </a:blipFill>
        <a:ln w="6350" cap="flat" cmpd="sng" algn="ctr">
          <a:noFill/>
          <a:prstDash val="solid"/>
          <a:round/>
          <a:headEnd type="none" w="med" len="med"/>
          <a:tailEnd type="none" w="med" len="med"/>
        </a:ln>
        <a:effectLst/>
        <a:extLst/>
      </a:spPr>
      <a:bodyPr vert="horz" wrap="none" lIns="90000" tIns="46800" rIns="90000" bIns="46800" numCol="1" rtlCol="0"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
            <a:schemeClr val="accent2"/>
          </a:buClr>
          <a:buSzTx/>
          <a:buFontTx/>
          <a:buNone/>
          <a:tabLst/>
          <a:defRPr kumimoji="0" sz="1800" b="0" i="0" u="none" strike="noStrike" cap="none" normalizeH="0" baseline="0">
            <a:ln>
              <a:noFill/>
            </a:ln>
            <a:solidFill>
              <a:schemeClr val="tx1"/>
            </a:solidFill>
            <a:effectLst/>
            <a:latin typeface="Arial" charset="0"/>
            <a:ea typeface="ＭＳ Ｐゴシック" charset="0"/>
          </a:defRPr>
        </a:defPPr>
      </a:lstStyle>
    </a:spDef>
    <a:lnDef>
      <a:spPr bwMode="auto">
        <a:ln>
          <a:headEnd type="none" w="med" len="med"/>
          <a:tailEnd type="none" w="med" len="med"/>
        </a:ln>
        <a:extLst>
          <a:ext uri="{AF507438-7753-43E0-B8FC-AC1667EBCBE1}">
            <a14:hiddenEffects xmlns:a14="http://schemas.microsoft.com/office/drawing/2010/main">
              <a:effectLst>
                <a:outerShdw blurRad="63500" dist="35921" dir="2700000" algn="ctr" rotWithShape="0">
                  <a:schemeClr val="bg2"/>
                </a:outerShdw>
              </a:effectLst>
            </a14:hiddenEffects>
          </a:ext>
        </a:extLst>
      </a:spPr>
      <a:bodyPr/>
      <a:lstStyle/>
      <a:style>
        <a:lnRef idx="1">
          <a:schemeClr val="accent6"/>
        </a:lnRef>
        <a:fillRef idx="0">
          <a:schemeClr val="accent6"/>
        </a:fillRef>
        <a:effectRef idx="0">
          <a:schemeClr val="accent6"/>
        </a:effectRef>
        <a:fontRef idx="minor">
          <a:schemeClr val="tx1"/>
        </a:fontRef>
      </a:style>
    </a:lnDef>
  </a:objectDefaults>
  <a:extraClrSchemeLst>
    <a:extraClrScheme>
      <a:clrScheme name="neuPP 1">
        <a:dk1>
          <a:srgbClr val="000000"/>
        </a:dk1>
        <a:lt1>
          <a:srgbClr val="FFFFFF"/>
        </a:lt1>
        <a:dk2>
          <a:srgbClr val="697B8E"/>
        </a:dk2>
        <a:lt2>
          <a:srgbClr val="143B68"/>
        </a:lt2>
        <a:accent1>
          <a:srgbClr val="89A5C7"/>
        </a:accent1>
        <a:accent2>
          <a:srgbClr val="99CCCC"/>
        </a:accent2>
        <a:accent3>
          <a:srgbClr val="FFFFFF"/>
        </a:accent3>
        <a:accent4>
          <a:srgbClr val="000000"/>
        </a:accent4>
        <a:accent5>
          <a:srgbClr val="C4CFE0"/>
        </a:accent5>
        <a:accent6>
          <a:srgbClr val="8AB9B9"/>
        </a:accent6>
        <a:hlink>
          <a:srgbClr val="9ED67D"/>
        </a:hlink>
        <a:folHlink>
          <a:srgbClr val="D6E6D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269</Words>
  <Application>Microsoft Office PowerPoint</Application>
  <PresentationFormat>On-screen Show (4:3)</PresentationFormat>
  <Paragraphs>215</Paragraphs>
  <Slides>15</Slides>
  <Notes>14</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15</vt:i4>
      </vt:variant>
    </vt:vector>
  </HeadingPairs>
  <TitlesOfParts>
    <vt:vector size="19" baseType="lpstr">
      <vt:lpstr>PresentatieTemplate2011</vt:lpstr>
      <vt:lpstr>1_PresentatieTemplate2011</vt:lpstr>
      <vt:lpstr>140826_PPTe_EnDev_final_white</vt:lpstr>
      <vt:lpstr>think-cell Slide</vt:lpstr>
      <vt:lpstr>PowerPoint Presentation</vt:lpstr>
      <vt:lpstr>Why leaders put water high on the agenda? The Economics of Water</vt:lpstr>
      <vt:lpstr>How have we responded?  International Water Stewardship Program  Countries and Key Partner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Water Security Action and Investment Pla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eriences and Approaches for Developing a Water Security Action and Investment Plan for Greater Kampala</dc:title>
  <dc:creator>Vanessa Tyaba</dc:creator>
  <cp:lastModifiedBy>Mathew Parr</cp:lastModifiedBy>
  <cp:revision>45</cp:revision>
  <dcterms:modified xsi:type="dcterms:W3CDTF">2019-08-08T07:53:55Z</dcterms:modified>
</cp:coreProperties>
</file>